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Ex1.xml" ContentType="application/vnd.ms-office.chartex+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5.xml" ContentType="application/vnd.ms-office.chartstyle+xml"/>
  <Override PartName="/ppt/charts/colors5.xml" ContentType="application/vnd.ms-office.chartcolorstyl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0" r:id="rId4"/>
  </p:sldMasterIdLst>
  <p:notesMasterIdLst>
    <p:notesMasterId r:id="rId47"/>
  </p:notesMasterIdLst>
  <p:sldIdLst>
    <p:sldId id="1759" r:id="rId5"/>
    <p:sldId id="1730" r:id="rId6"/>
    <p:sldId id="270" r:id="rId7"/>
    <p:sldId id="1731" r:id="rId8"/>
    <p:sldId id="276" r:id="rId9"/>
    <p:sldId id="1762" r:id="rId10"/>
    <p:sldId id="1760" r:id="rId11"/>
    <p:sldId id="1782" r:id="rId12"/>
    <p:sldId id="1749" r:id="rId13"/>
    <p:sldId id="1796" r:id="rId14"/>
    <p:sldId id="1763" r:id="rId15"/>
    <p:sldId id="1790" r:id="rId16"/>
    <p:sldId id="1606" r:id="rId17"/>
    <p:sldId id="1764" r:id="rId18"/>
    <p:sldId id="1794" r:id="rId19"/>
    <p:sldId id="1769" r:id="rId20"/>
    <p:sldId id="1789" r:id="rId21"/>
    <p:sldId id="1727" r:id="rId22"/>
    <p:sldId id="1775" r:id="rId23"/>
    <p:sldId id="1791" r:id="rId24"/>
    <p:sldId id="1780" r:id="rId25"/>
    <p:sldId id="1745" r:id="rId26"/>
    <p:sldId id="1788" r:id="rId27"/>
    <p:sldId id="1792" r:id="rId28"/>
    <p:sldId id="1784" r:id="rId29"/>
    <p:sldId id="1736" r:id="rId30"/>
    <p:sldId id="1773" r:id="rId31"/>
    <p:sldId id="1508" r:id="rId32"/>
    <p:sldId id="1681" r:id="rId33"/>
    <p:sldId id="1744" r:id="rId34"/>
    <p:sldId id="1746" r:id="rId35"/>
    <p:sldId id="1748" r:id="rId36"/>
    <p:sldId id="1767" r:id="rId37"/>
    <p:sldId id="1752" r:id="rId38"/>
    <p:sldId id="1755" r:id="rId39"/>
    <p:sldId id="1758" r:id="rId40"/>
    <p:sldId id="1779" r:id="rId41"/>
    <p:sldId id="1771" r:id="rId42"/>
    <p:sldId id="1774" r:id="rId43"/>
    <p:sldId id="1768" r:id="rId44"/>
    <p:sldId id="1770" r:id="rId45"/>
    <p:sldId id="1772"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aron Baker" initials="AB" lastIdx="1" clrIdx="0">
    <p:extLst>
      <p:ext uri="{19B8F6BF-5375-455C-9EA6-DF929625EA0E}">
        <p15:presenceInfo xmlns:p15="http://schemas.microsoft.com/office/powerpoint/2012/main" userId="S-1-5-21-1600405185-321671752-1990678075-8998" providerId="AD"/>
      </p:ext>
    </p:extLst>
  </p:cmAuthor>
  <p:cmAuthor id="2" name="Katy Koon" initials="KK" lastIdx="1" clrIdx="1">
    <p:extLst>
      <p:ext uri="{19B8F6BF-5375-455C-9EA6-DF929625EA0E}">
        <p15:presenceInfo xmlns:p15="http://schemas.microsoft.com/office/powerpoint/2012/main" userId="S::katyk@remi.com::b514701d-d30d-45c5-9898-7b285917e0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A80532"/>
    <a:srgbClr val="0070C0"/>
    <a:srgbClr val="FCFCFC"/>
    <a:srgbClr val="4059AD"/>
    <a:srgbClr val="E8A6A6"/>
    <a:srgbClr val="CF4242"/>
    <a:srgbClr val="5A5B5D"/>
    <a:srgbClr val="FF8F8F"/>
    <a:srgbClr val="4466A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D4C06F-CB4F-B4EA-DE11-057B60C8889C}" v="703" dt="2022-04-26T17:58:38.489"/>
    <p1510:client id="{3FDE6EA2-0FD8-F9DB-2F75-CD7DEFE2F0FF}" v="44" dt="2021-07-30T20:46:48.249"/>
    <p1510:client id="{5313467F-6E98-9FA3-608D-505EB90DFD14}" v="3361" dt="2022-05-18T13:03:20.955"/>
    <p1510:client id="{868E563B-15DA-A657-8AE7-AFBC2AD061E3}" v="22" dt="2022-04-25T20:51:14.633"/>
    <p1510:client id="{B7CB0B0D-9DFE-0B5A-BCD5-8F44CC3288BF}" v="16" dt="2021-07-30T17:33:31.641"/>
    <p1510:client id="{BA0A0E32-D34F-7902-EC1F-38BF8EB7DE82}" v="172" dt="2022-05-13T15:41:33.650"/>
    <p1510:client id="{EA0BC1C6-4AFC-439E-9469-9E3413C17335}" v="11" dt="2021-09-02T14:17:13.695"/>
    <p1510:client id="{F0D21DF1-F3D7-2572-B1AA-C4B0615D15C0}" v="151" dt="2021-07-30T21:31:08.820"/>
    <p1510:client id="{F63A982C-DDDA-A2F4-2A1E-15703874B565}" v="3768" dt="2021-09-02T17:54:08.965"/>
    <p1510:client id="{FA8486C9-6EF6-C5DA-3F19-0AA1D9097E9E}" v="1588" dt="2021-08-27T15:44:41.3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viewProps" Target="view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microsoft.com/office/2016/11/relationships/changesInfo" Target="changesInfos/changesInfo1.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aron Baker" userId="d002b17f-d855-4973-bb9c-c439a7ee68af" providerId="ADAL" clId="{0F9092C3-2A9E-48C8-91B7-A669FC02E31A}"/>
    <pc:docChg chg="undo custSel addSld modSld modMainMaster">
      <pc:chgData name="Aaron Baker" userId="d002b17f-d855-4973-bb9c-c439a7ee68af" providerId="ADAL" clId="{0F9092C3-2A9E-48C8-91B7-A669FC02E31A}" dt="2021-06-29T14:50:17.827" v="742" actId="207"/>
      <pc:docMkLst>
        <pc:docMk/>
      </pc:docMkLst>
      <pc:sldChg chg="modSp modNotesTx">
        <pc:chgData name="Aaron Baker" userId="d002b17f-d855-4973-bb9c-c439a7ee68af" providerId="ADAL" clId="{0F9092C3-2A9E-48C8-91B7-A669FC02E31A}" dt="2021-06-28T15:58:16.423" v="558" actId="20577"/>
        <pc:sldMkLst>
          <pc:docMk/>
          <pc:sldMk cId="2411642527" sldId="270"/>
        </pc:sldMkLst>
        <pc:spChg chg="mod">
          <ac:chgData name="Aaron Baker" userId="d002b17f-d855-4973-bb9c-c439a7ee68af" providerId="ADAL" clId="{0F9092C3-2A9E-48C8-91B7-A669FC02E31A}" dt="2021-06-28T15:58:16.423" v="558" actId="20577"/>
          <ac:spMkLst>
            <pc:docMk/>
            <pc:sldMk cId="2411642527" sldId="270"/>
            <ac:spMk id="21" creationId="{B27C0C2E-0482-4CF5-B0F5-AAE94C4525D6}"/>
          </ac:spMkLst>
        </pc:spChg>
      </pc:sldChg>
      <pc:sldChg chg="modSp modNotesTx">
        <pc:chgData name="Aaron Baker" userId="d002b17f-d855-4973-bb9c-c439a7ee68af" providerId="ADAL" clId="{0F9092C3-2A9E-48C8-91B7-A669FC02E31A}" dt="2021-06-28T15:58:33.418" v="566" actId="20577"/>
        <pc:sldMkLst>
          <pc:docMk/>
          <pc:sldMk cId="1552178269" sldId="271"/>
        </pc:sldMkLst>
        <pc:spChg chg="mod">
          <ac:chgData name="Aaron Baker" userId="d002b17f-d855-4973-bb9c-c439a7ee68af" providerId="ADAL" clId="{0F9092C3-2A9E-48C8-91B7-A669FC02E31A}" dt="2021-06-28T15:58:33.418" v="566" actId="20577"/>
          <ac:spMkLst>
            <pc:docMk/>
            <pc:sldMk cId="1552178269" sldId="271"/>
            <ac:spMk id="12" creationId="{9FB22180-C995-4503-B114-07A1DEAD1475}"/>
          </ac:spMkLst>
        </pc:spChg>
      </pc:sldChg>
      <pc:sldChg chg="modSp">
        <pc:chgData name="Aaron Baker" userId="d002b17f-d855-4973-bb9c-c439a7ee68af" providerId="ADAL" clId="{0F9092C3-2A9E-48C8-91B7-A669FC02E31A}" dt="2021-06-29T14:24:55.541" v="572" actId="113"/>
        <pc:sldMkLst>
          <pc:docMk/>
          <pc:sldMk cId="3065236496" sldId="1605"/>
        </pc:sldMkLst>
        <pc:spChg chg="mod">
          <ac:chgData name="Aaron Baker" userId="d002b17f-d855-4973-bb9c-c439a7ee68af" providerId="ADAL" clId="{0F9092C3-2A9E-48C8-91B7-A669FC02E31A}" dt="2021-06-28T15:55:55.729" v="554" actId="20577"/>
          <ac:spMkLst>
            <pc:docMk/>
            <pc:sldMk cId="3065236496" sldId="1605"/>
            <ac:spMk id="14" creationId="{0E62B70B-369D-408E-97E0-A1AB12F38A1A}"/>
          </ac:spMkLst>
        </pc:spChg>
        <pc:spChg chg="mod">
          <ac:chgData name="Aaron Baker" userId="d002b17f-d855-4973-bb9c-c439a7ee68af" providerId="ADAL" clId="{0F9092C3-2A9E-48C8-91B7-A669FC02E31A}" dt="2021-06-29T14:24:46.808" v="570" actId="113"/>
          <ac:spMkLst>
            <pc:docMk/>
            <pc:sldMk cId="3065236496" sldId="1605"/>
            <ac:spMk id="29" creationId="{CAF734AB-AC4B-4AE0-96E0-309F1C5422CF}"/>
          </ac:spMkLst>
        </pc:spChg>
        <pc:spChg chg="mod">
          <ac:chgData name="Aaron Baker" userId="d002b17f-d855-4973-bb9c-c439a7ee68af" providerId="ADAL" clId="{0F9092C3-2A9E-48C8-91B7-A669FC02E31A}" dt="2021-06-29T14:24:55.541" v="572" actId="113"/>
          <ac:spMkLst>
            <pc:docMk/>
            <pc:sldMk cId="3065236496" sldId="1605"/>
            <ac:spMk id="30" creationId="{DCECA1A4-331D-4E03-8F30-AD2BE8E8FA8E}"/>
          </ac:spMkLst>
        </pc:spChg>
      </pc:sldChg>
      <pc:sldChg chg="modSp">
        <pc:chgData name="Aaron Baker" userId="d002b17f-d855-4973-bb9c-c439a7ee68af" providerId="ADAL" clId="{0F9092C3-2A9E-48C8-91B7-A669FC02E31A}" dt="2021-06-29T14:47:31.328" v="675" actId="1035"/>
        <pc:sldMkLst>
          <pc:docMk/>
          <pc:sldMk cId="827155553" sldId="1606"/>
        </pc:sldMkLst>
        <pc:spChg chg="mod">
          <ac:chgData name="Aaron Baker" userId="d002b17f-d855-4973-bb9c-c439a7ee68af" providerId="ADAL" clId="{0F9092C3-2A9E-48C8-91B7-A669FC02E31A}" dt="2021-06-29T14:47:31.328" v="675" actId="1035"/>
          <ac:spMkLst>
            <pc:docMk/>
            <pc:sldMk cId="827155553" sldId="1606"/>
            <ac:spMk id="4" creationId="{EC2B8DFB-B291-41D2-BD0B-2C7F1A267334}"/>
          </ac:spMkLst>
        </pc:spChg>
        <pc:spChg chg="mod">
          <ac:chgData name="Aaron Baker" userId="d002b17f-d855-4973-bb9c-c439a7ee68af" providerId="ADAL" clId="{0F9092C3-2A9E-48C8-91B7-A669FC02E31A}" dt="2021-06-29T14:47:31.328" v="675" actId="1035"/>
          <ac:spMkLst>
            <pc:docMk/>
            <pc:sldMk cId="827155553" sldId="1606"/>
            <ac:spMk id="5" creationId="{053FADAE-B100-43A3-909F-19DBCD8D6DF2}"/>
          </ac:spMkLst>
        </pc:spChg>
        <pc:spChg chg="mod">
          <ac:chgData name="Aaron Baker" userId="d002b17f-d855-4973-bb9c-c439a7ee68af" providerId="ADAL" clId="{0F9092C3-2A9E-48C8-91B7-A669FC02E31A}" dt="2021-06-29T14:47:31.328" v="675" actId="1035"/>
          <ac:spMkLst>
            <pc:docMk/>
            <pc:sldMk cId="827155553" sldId="1606"/>
            <ac:spMk id="6" creationId="{E539FE80-07DA-4ECE-A9FE-3D747243FCA9}"/>
          </ac:spMkLst>
        </pc:spChg>
        <pc:spChg chg="mod">
          <ac:chgData name="Aaron Baker" userId="d002b17f-d855-4973-bb9c-c439a7ee68af" providerId="ADAL" clId="{0F9092C3-2A9E-48C8-91B7-A669FC02E31A}" dt="2021-06-29T14:47:31.328" v="675" actId="1035"/>
          <ac:spMkLst>
            <pc:docMk/>
            <pc:sldMk cId="827155553" sldId="1606"/>
            <ac:spMk id="7" creationId="{C73BAEE8-B3B3-4417-9C70-A61223047EE1}"/>
          </ac:spMkLst>
        </pc:spChg>
        <pc:spChg chg="mod">
          <ac:chgData name="Aaron Baker" userId="d002b17f-d855-4973-bb9c-c439a7ee68af" providerId="ADAL" clId="{0F9092C3-2A9E-48C8-91B7-A669FC02E31A}" dt="2021-06-29T14:47:31.328" v="675" actId="1035"/>
          <ac:spMkLst>
            <pc:docMk/>
            <pc:sldMk cId="827155553" sldId="1606"/>
            <ac:spMk id="8" creationId="{BE61E7D6-17B8-49E7-9AB9-4C4DA91BCBEA}"/>
          </ac:spMkLst>
        </pc:spChg>
        <pc:spChg chg="mod">
          <ac:chgData name="Aaron Baker" userId="d002b17f-d855-4973-bb9c-c439a7ee68af" providerId="ADAL" clId="{0F9092C3-2A9E-48C8-91B7-A669FC02E31A}" dt="2021-06-29T14:47:31.328" v="675" actId="1035"/>
          <ac:spMkLst>
            <pc:docMk/>
            <pc:sldMk cId="827155553" sldId="1606"/>
            <ac:spMk id="9" creationId="{61081428-B10F-4C65-9819-DEA6BBC230C8}"/>
          </ac:spMkLst>
        </pc:spChg>
        <pc:spChg chg="mod">
          <ac:chgData name="Aaron Baker" userId="d002b17f-d855-4973-bb9c-c439a7ee68af" providerId="ADAL" clId="{0F9092C3-2A9E-48C8-91B7-A669FC02E31A}" dt="2021-06-29T14:47:31.328" v="675" actId="1035"/>
          <ac:spMkLst>
            <pc:docMk/>
            <pc:sldMk cId="827155553" sldId="1606"/>
            <ac:spMk id="10" creationId="{7FE5A42F-FF8D-4F8E-96C2-5C9B5799F9AD}"/>
          </ac:spMkLst>
        </pc:spChg>
        <pc:spChg chg="mod">
          <ac:chgData name="Aaron Baker" userId="d002b17f-d855-4973-bb9c-c439a7ee68af" providerId="ADAL" clId="{0F9092C3-2A9E-48C8-91B7-A669FC02E31A}" dt="2021-06-29T14:47:31.328" v="675" actId="1035"/>
          <ac:spMkLst>
            <pc:docMk/>
            <pc:sldMk cId="827155553" sldId="1606"/>
            <ac:spMk id="11" creationId="{5DAF25FB-BCF9-4BED-95ED-E4A1E09BABC9}"/>
          </ac:spMkLst>
        </pc:spChg>
        <pc:spChg chg="mod">
          <ac:chgData name="Aaron Baker" userId="d002b17f-d855-4973-bb9c-c439a7ee68af" providerId="ADAL" clId="{0F9092C3-2A9E-48C8-91B7-A669FC02E31A}" dt="2021-06-29T14:47:31.328" v="675" actId="1035"/>
          <ac:spMkLst>
            <pc:docMk/>
            <pc:sldMk cId="827155553" sldId="1606"/>
            <ac:spMk id="12" creationId="{9805AA5D-E1ED-4B26-97FA-778A03103E2C}"/>
          </ac:spMkLst>
        </pc:spChg>
        <pc:spChg chg="mod">
          <ac:chgData name="Aaron Baker" userId="d002b17f-d855-4973-bb9c-c439a7ee68af" providerId="ADAL" clId="{0F9092C3-2A9E-48C8-91B7-A669FC02E31A}" dt="2021-06-29T14:47:31.328" v="675" actId="1035"/>
          <ac:spMkLst>
            <pc:docMk/>
            <pc:sldMk cId="827155553" sldId="1606"/>
            <ac:spMk id="13" creationId="{E58CDB61-A376-4BAD-926E-0C9F7AF81AC6}"/>
          </ac:spMkLst>
        </pc:spChg>
        <pc:spChg chg="mod">
          <ac:chgData name="Aaron Baker" userId="d002b17f-d855-4973-bb9c-c439a7ee68af" providerId="ADAL" clId="{0F9092C3-2A9E-48C8-91B7-A669FC02E31A}" dt="2021-06-29T14:47:31.328" v="675" actId="1035"/>
          <ac:spMkLst>
            <pc:docMk/>
            <pc:sldMk cId="827155553" sldId="1606"/>
            <ac:spMk id="14" creationId="{542E6E0A-77E3-4B99-8356-DD61D511B89B}"/>
          </ac:spMkLst>
        </pc:spChg>
        <pc:spChg chg="mod">
          <ac:chgData name="Aaron Baker" userId="d002b17f-d855-4973-bb9c-c439a7ee68af" providerId="ADAL" clId="{0F9092C3-2A9E-48C8-91B7-A669FC02E31A}" dt="2021-06-29T14:47:31.328" v="675" actId="1035"/>
          <ac:spMkLst>
            <pc:docMk/>
            <pc:sldMk cId="827155553" sldId="1606"/>
            <ac:spMk id="17" creationId="{3E11C882-C769-45EF-B500-D8905EF21869}"/>
          </ac:spMkLst>
        </pc:spChg>
      </pc:sldChg>
      <pc:sldChg chg="modSp">
        <pc:chgData name="Aaron Baker" userId="d002b17f-d855-4973-bb9c-c439a7ee68af" providerId="ADAL" clId="{0F9092C3-2A9E-48C8-91B7-A669FC02E31A}" dt="2021-06-29T14:49:18.360" v="719" actId="255"/>
        <pc:sldMkLst>
          <pc:docMk/>
          <pc:sldMk cId="1370314611" sldId="1681"/>
        </pc:sldMkLst>
        <pc:spChg chg="mod">
          <ac:chgData name="Aaron Baker" userId="d002b17f-d855-4973-bb9c-c439a7ee68af" providerId="ADAL" clId="{0F9092C3-2A9E-48C8-91B7-A669FC02E31A}" dt="2021-06-29T14:49:02.423" v="717" actId="1035"/>
          <ac:spMkLst>
            <pc:docMk/>
            <pc:sldMk cId="1370314611" sldId="1681"/>
            <ac:spMk id="4" creationId="{DFFF3695-D2A9-4627-9AE1-B943AC109AE5}"/>
          </ac:spMkLst>
        </pc:spChg>
        <pc:spChg chg="mod">
          <ac:chgData name="Aaron Baker" userId="d002b17f-d855-4973-bb9c-c439a7ee68af" providerId="ADAL" clId="{0F9092C3-2A9E-48C8-91B7-A669FC02E31A}" dt="2021-06-29T14:49:02.423" v="717" actId="1035"/>
          <ac:spMkLst>
            <pc:docMk/>
            <pc:sldMk cId="1370314611" sldId="1681"/>
            <ac:spMk id="6" creationId="{14CA24D9-DA02-49D9-89F6-6176E3FC98A5}"/>
          </ac:spMkLst>
        </pc:spChg>
        <pc:spChg chg="mod">
          <ac:chgData name="Aaron Baker" userId="d002b17f-d855-4973-bb9c-c439a7ee68af" providerId="ADAL" clId="{0F9092C3-2A9E-48C8-91B7-A669FC02E31A}" dt="2021-06-29T14:49:02.423" v="717" actId="1035"/>
          <ac:spMkLst>
            <pc:docMk/>
            <pc:sldMk cId="1370314611" sldId="1681"/>
            <ac:spMk id="8" creationId="{AE6E3E50-B764-4F28-8C3D-88C2963F8CBE}"/>
          </ac:spMkLst>
        </pc:spChg>
        <pc:spChg chg="mod">
          <ac:chgData name="Aaron Baker" userId="d002b17f-d855-4973-bb9c-c439a7ee68af" providerId="ADAL" clId="{0F9092C3-2A9E-48C8-91B7-A669FC02E31A}" dt="2021-06-29T14:49:02.423" v="717" actId="1035"/>
          <ac:spMkLst>
            <pc:docMk/>
            <pc:sldMk cId="1370314611" sldId="1681"/>
            <ac:spMk id="10" creationId="{5B794968-4FC8-4DDF-8002-0C9198DF5004}"/>
          </ac:spMkLst>
        </pc:spChg>
        <pc:spChg chg="mod">
          <ac:chgData name="Aaron Baker" userId="d002b17f-d855-4973-bb9c-c439a7ee68af" providerId="ADAL" clId="{0F9092C3-2A9E-48C8-91B7-A669FC02E31A}" dt="2021-06-29T14:49:02.423" v="717" actId="1035"/>
          <ac:spMkLst>
            <pc:docMk/>
            <pc:sldMk cId="1370314611" sldId="1681"/>
            <ac:spMk id="12" creationId="{605A9200-8EE8-4C12-AF9C-788F8CE69235}"/>
          </ac:spMkLst>
        </pc:spChg>
        <pc:spChg chg="mod">
          <ac:chgData name="Aaron Baker" userId="d002b17f-d855-4973-bb9c-c439a7ee68af" providerId="ADAL" clId="{0F9092C3-2A9E-48C8-91B7-A669FC02E31A}" dt="2021-06-29T14:49:02.423" v="717" actId="1035"/>
          <ac:spMkLst>
            <pc:docMk/>
            <pc:sldMk cId="1370314611" sldId="1681"/>
            <ac:spMk id="14" creationId="{E3911CB2-707D-418D-A25B-F44779CA6020}"/>
          </ac:spMkLst>
        </pc:spChg>
        <pc:spChg chg="mod">
          <ac:chgData name="Aaron Baker" userId="d002b17f-d855-4973-bb9c-c439a7ee68af" providerId="ADAL" clId="{0F9092C3-2A9E-48C8-91B7-A669FC02E31A}" dt="2021-06-29T14:49:02.423" v="717" actId="1035"/>
          <ac:spMkLst>
            <pc:docMk/>
            <pc:sldMk cId="1370314611" sldId="1681"/>
            <ac:spMk id="16" creationId="{178B979A-EFB4-4402-A562-A71CA15EF15F}"/>
          </ac:spMkLst>
        </pc:spChg>
        <pc:spChg chg="mod">
          <ac:chgData name="Aaron Baker" userId="d002b17f-d855-4973-bb9c-c439a7ee68af" providerId="ADAL" clId="{0F9092C3-2A9E-48C8-91B7-A669FC02E31A}" dt="2021-06-29T14:49:02.423" v="717" actId="1035"/>
          <ac:spMkLst>
            <pc:docMk/>
            <pc:sldMk cId="1370314611" sldId="1681"/>
            <ac:spMk id="18" creationId="{E32CC58C-CFE5-489C-BA82-62D718C12CCC}"/>
          </ac:spMkLst>
        </pc:spChg>
        <pc:spChg chg="mod">
          <ac:chgData name="Aaron Baker" userId="d002b17f-d855-4973-bb9c-c439a7ee68af" providerId="ADAL" clId="{0F9092C3-2A9E-48C8-91B7-A669FC02E31A}" dt="2021-06-29T14:49:02.423" v="717" actId="1035"/>
          <ac:spMkLst>
            <pc:docMk/>
            <pc:sldMk cId="1370314611" sldId="1681"/>
            <ac:spMk id="19" creationId="{D4BD68EF-79FA-4B9E-B2B1-66AFBDCBB38D}"/>
          </ac:spMkLst>
        </pc:spChg>
        <pc:spChg chg="mod">
          <ac:chgData name="Aaron Baker" userId="d002b17f-d855-4973-bb9c-c439a7ee68af" providerId="ADAL" clId="{0F9092C3-2A9E-48C8-91B7-A669FC02E31A}" dt="2021-06-29T14:49:02.423" v="717" actId="1035"/>
          <ac:spMkLst>
            <pc:docMk/>
            <pc:sldMk cId="1370314611" sldId="1681"/>
            <ac:spMk id="20" creationId="{B2CEBA1E-80D5-43B2-859A-E9600542D2FF}"/>
          </ac:spMkLst>
        </pc:spChg>
        <pc:spChg chg="mod">
          <ac:chgData name="Aaron Baker" userId="d002b17f-d855-4973-bb9c-c439a7ee68af" providerId="ADAL" clId="{0F9092C3-2A9E-48C8-91B7-A669FC02E31A}" dt="2021-06-29T14:49:02.423" v="717" actId="1035"/>
          <ac:spMkLst>
            <pc:docMk/>
            <pc:sldMk cId="1370314611" sldId="1681"/>
            <ac:spMk id="21" creationId="{722BCA64-2AD7-48CF-8959-916FCFD9385F}"/>
          </ac:spMkLst>
        </pc:spChg>
        <pc:spChg chg="mod">
          <ac:chgData name="Aaron Baker" userId="d002b17f-d855-4973-bb9c-c439a7ee68af" providerId="ADAL" clId="{0F9092C3-2A9E-48C8-91B7-A669FC02E31A}" dt="2021-06-29T14:49:02.423" v="717" actId="1035"/>
          <ac:spMkLst>
            <pc:docMk/>
            <pc:sldMk cId="1370314611" sldId="1681"/>
            <ac:spMk id="22" creationId="{58125F9A-A7EC-46D1-9355-DBEA9ACAE330}"/>
          </ac:spMkLst>
        </pc:spChg>
        <pc:spChg chg="mod">
          <ac:chgData name="Aaron Baker" userId="d002b17f-d855-4973-bb9c-c439a7ee68af" providerId="ADAL" clId="{0F9092C3-2A9E-48C8-91B7-A669FC02E31A}" dt="2021-06-29T14:49:02.423" v="717" actId="1035"/>
          <ac:spMkLst>
            <pc:docMk/>
            <pc:sldMk cId="1370314611" sldId="1681"/>
            <ac:spMk id="23" creationId="{B5D0DD11-13EA-458C-BDF9-5769B40BF905}"/>
          </ac:spMkLst>
        </pc:spChg>
        <pc:spChg chg="mod">
          <ac:chgData name="Aaron Baker" userId="d002b17f-d855-4973-bb9c-c439a7ee68af" providerId="ADAL" clId="{0F9092C3-2A9E-48C8-91B7-A669FC02E31A}" dt="2021-06-29T14:49:18.360" v="719" actId="255"/>
          <ac:spMkLst>
            <pc:docMk/>
            <pc:sldMk cId="1370314611" sldId="1681"/>
            <ac:spMk id="24" creationId="{8D6CD59C-71C3-4999-A82F-D7BA3C753315}"/>
          </ac:spMkLst>
        </pc:spChg>
        <pc:spChg chg="mod">
          <ac:chgData name="Aaron Baker" userId="d002b17f-d855-4973-bb9c-c439a7ee68af" providerId="ADAL" clId="{0F9092C3-2A9E-48C8-91B7-A669FC02E31A}" dt="2021-06-29T14:49:18.360" v="719" actId="255"/>
          <ac:spMkLst>
            <pc:docMk/>
            <pc:sldMk cId="1370314611" sldId="1681"/>
            <ac:spMk id="25" creationId="{3C678FA2-40F5-4773-822A-439C3BDD1CEF}"/>
          </ac:spMkLst>
        </pc:spChg>
        <pc:picChg chg="mod">
          <ac:chgData name="Aaron Baker" userId="d002b17f-d855-4973-bb9c-c439a7ee68af" providerId="ADAL" clId="{0F9092C3-2A9E-48C8-91B7-A669FC02E31A}" dt="2021-06-29T14:49:02.423" v="717" actId="1035"/>
          <ac:picMkLst>
            <pc:docMk/>
            <pc:sldMk cId="1370314611" sldId="1681"/>
            <ac:picMk id="34" creationId="{612D5EB9-72C5-994F-ADEC-2A897F2C2C85}"/>
          </ac:picMkLst>
        </pc:picChg>
        <pc:picChg chg="mod">
          <ac:chgData name="Aaron Baker" userId="d002b17f-d855-4973-bb9c-c439a7ee68af" providerId="ADAL" clId="{0F9092C3-2A9E-48C8-91B7-A669FC02E31A}" dt="2021-06-29T14:49:02.423" v="717" actId="1035"/>
          <ac:picMkLst>
            <pc:docMk/>
            <pc:sldMk cId="1370314611" sldId="1681"/>
            <ac:picMk id="36" creationId="{8A3CA01D-21A0-AE47-9AC7-E63BA858B33F}"/>
          </ac:picMkLst>
        </pc:picChg>
        <pc:picChg chg="mod">
          <ac:chgData name="Aaron Baker" userId="d002b17f-d855-4973-bb9c-c439a7ee68af" providerId="ADAL" clId="{0F9092C3-2A9E-48C8-91B7-A669FC02E31A}" dt="2021-06-29T14:49:02.423" v="717" actId="1035"/>
          <ac:picMkLst>
            <pc:docMk/>
            <pc:sldMk cId="1370314611" sldId="1681"/>
            <ac:picMk id="37" creationId="{14B5E239-5269-B34B-AC20-54A351C896B3}"/>
          </ac:picMkLst>
        </pc:picChg>
        <pc:picChg chg="mod">
          <ac:chgData name="Aaron Baker" userId="d002b17f-d855-4973-bb9c-c439a7ee68af" providerId="ADAL" clId="{0F9092C3-2A9E-48C8-91B7-A669FC02E31A}" dt="2021-06-29T14:49:02.423" v="717" actId="1035"/>
          <ac:picMkLst>
            <pc:docMk/>
            <pc:sldMk cId="1370314611" sldId="1681"/>
            <ac:picMk id="39" creationId="{1AA0008E-D2BC-2047-925F-A5414B355801}"/>
          </ac:picMkLst>
        </pc:picChg>
        <pc:picChg chg="mod">
          <ac:chgData name="Aaron Baker" userId="d002b17f-d855-4973-bb9c-c439a7ee68af" providerId="ADAL" clId="{0F9092C3-2A9E-48C8-91B7-A669FC02E31A}" dt="2021-06-29T14:49:02.423" v="717" actId="1035"/>
          <ac:picMkLst>
            <pc:docMk/>
            <pc:sldMk cId="1370314611" sldId="1681"/>
            <ac:picMk id="41" creationId="{73F737D2-B55D-5940-9FF4-956614BDD62E}"/>
          </ac:picMkLst>
        </pc:picChg>
        <pc:picChg chg="mod">
          <ac:chgData name="Aaron Baker" userId="d002b17f-d855-4973-bb9c-c439a7ee68af" providerId="ADAL" clId="{0F9092C3-2A9E-48C8-91B7-A669FC02E31A}" dt="2021-06-29T14:49:02.423" v="717" actId="1035"/>
          <ac:picMkLst>
            <pc:docMk/>
            <pc:sldMk cId="1370314611" sldId="1681"/>
            <ac:picMk id="43" creationId="{769B17F7-5BB9-3446-9EED-A0B82A41778C}"/>
          </ac:picMkLst>
        </pc:picChg>
        <pc:cxnChg chg="mod">
          <ac:chgData name="Aaron Baker" userId="d002b17f-d855-4973-bb9c-c439a7ee68af" providerId="ADAL" clId="{0F9092C3-2A9E-48C8-91B7-A669FC02E31A}" dt="2021-06-29T14:49:02.423" v="717" actId="1035"/>
          <ac:cxnSpMkLst>
            <pc:docMk/>
            <pc:sldMk cId="1370314611" sldId="1681"/>
            <ac:cxnSpMk id="7" creationId="{C9DBAB4A-1D41-4DE1-B178-27FA00863E12}"/>
          </ac:cxnSpMkLst>
        </pc:cxnChg>
      </pc:sldChg>
      <pc:sldChg chg="modSp">
        <pc:chgData name="Aaron Baker" userId="d002b17f-d855-4973-bb9c-c439a7ee68af" providerId="ADAL" clId="{0F9092C3-2A9E-48C8-91B7-A669FC02E31A}" dt="2021-06-29T14:47:46.821" v="685" actId="1035"/>
        <pc:sldMkLst>
          <pc:docMk/>
          <pc:sldMk cId="1461574562" sldId="1727"/>
        </pc:sldMkLst>
        <pc:spChg chg="mod">
          <ac:chgData name="Aaron Baker" userId="d002b17f-d855-4973-bb9c-c439a7ee68af" providerId="ADAL" clId="{0F9092C3-2A9E-48C8-91B7-A669FC02E31A}" dt="2021-06-29T14:47:46.821" v="685" actId="1035"/>
          <ac:spMkLst>
            <pc:docMk/>
            <pc:sldMk cId="1461574562" sldId="1727"/>
            <ac:spMk id="2" creationId="{EDB05DF2-2B1B-6C4F-A18E-E26258EDD979}"/>
          </ac:spMkLst>
        </pc:spChg>
        <pc:spChg chg="mod">
          <ac:chgData name="Aaron Baker" userId="d002b17f-d855-4973-bb9c-c439a7ee68af" providerId="ADAL" clId="{0F9092C3-2A9E-48C8-91B7-A669FC02E31A}" dt="2021-06-29T14:47:46.821" v="685" actId="1035"/>
          <ac:spMkLst>
            <pc:docMk/>
            <pc:sldMk cId="1461574562" sldId="1727"/>
            <ac:spMk id="3" creationId="{2638EF42-C234-4E82-9FAD-CDB08B8002FE}"/>
          </ac:spMkLst>
        </pc:spChg>
        <pc:spChg chg="mod">
          <ac:chgData name="Aaron Baker" userId="d002b17f-d855-4973-bb9c-c439a7ee68af" providerId="ADAL" clId="{0F9092C3-2A9E-48C8-91B7-A669FC02E31A}" dt="2021-06-29T14:47:46.821" v="685" actId="1035"/>
          <ac:spMkLst>
            <pc:docMk/>
            <pc:sldMk cId="1461574562" sldId="1727"/>
            <ac:spMk id="5" creationId="{3345687C-B03A-8744-958F-947CB4E69000}"/>
          </ac:spMkLst>
        </pc:spChg>
        <pc:spChg chg="mod">
          <ac:chgData name="Aaron Baker" userId="d002b17f-d855-4973-bb9c-c439a7ee68af" providerId="ADAL" clId="{0F9092C3-2A9E-48C8-91B7-A669FC02E31A}" dt="2021-06-29T14:47:46.821" v="685" actId="1035"/>
          <ac:spMkLst>
            <pc:docMk/>
            <pc:sldMk cId="1461574562" sldId="1727"/>
            <ac:spMk id="14" creationId="{255680B3-CE07-3440-B14C-3CB5BCD48CCA}"/>
          </ac:spMkLst>
        </pc:spChg>
        <pc:spChg chg="mod">
          <ac:chgData name="Aaron Baker" userId="d002b17f-d855-4973-bb9c-c439a7ee68af" providerId="ADAL" clId="{0F9092C3-2A9E-48C8-91B7-A669FC02E31A}" dt="2021-06-29T14:47:46.821" v="685" actId="1035"/>
          <ac:spMkLst>
            <pc:docMk/>
            <pc:sldMk cId="1461574562" sldId="1727"/>
            <ac:spMk id="16" creationId="{C145DEA4-1BB2-1043-8B94-A66E809753BD}"/>
          </ac:spMkLst>
        </pc:spChg>
        <pc:spChg chg="mod">
          <ac:chgData name="Aaron Baker" userId="d002b17f-d855-4973-bb9c-c439a7ee68af" providerId="ADAL" clId="{0F9092C3-2A9E-48C8-91B7-A669FC02E31A}" dt="2021-06-29T14:47:46.821" v="685" actId="1035"/>
          <ac:spMkLst>
            <pc:docMk/>
            <pc:sldMk cId="1461574562" sldId="1727"/>
            <ac:spMk id="17" creationId="{E8D7AF9B-681E-2041-AD7C-9CD0CBFFB7C7}"/>
          </ac:spMkLst>
        </pc:spChg>
        <pc:spChg chg="mod">
          <ac:chgData name="Aaron Baker" userId="d002b17f-d855-4973-bb9c-c439a7ee68af" providerId="ADAL" clId="{0F9092C3-2A9E-48C8-91B7-A669FC02E31A}" dt="2021-06-29T14:47:46.821" v="685" actId="1035"/>
          <ac:spMkLst>
            <pc:docMk/>
            <pc:sldMk cId="1461574562" sldId="1727"/>
            <ac:spMk id="18" creationId="{11F6754F-4B22-EC41-8241-7CE1A95E6BD6}"/>
          </ac:spMkLst>
        </pc:spChg>
        <pc:spChg chg="mod">
          <ac:chgData name="Aaron Baker" userId="d002b17f-d855-4973-bb9c-c439a7ee68af" providerId="ADAL" clId="{0F9092C3-2A9E-48C8-91B7-A669FC02E31A}" dt="2021-06-29T14:47:46.821" v="685" actId="1035"/>
          <ac:spMkLst>
            <pc:docMk/>
            <pc:sldMk cId="1461574562" sldId="1727"/>
            <ac:spMk id="19" creationId="{399DA44A-E800-4A39-9AE8-DFEDDD7CD174}"/>
          </ac:spMkLst>
        </pc:spChg>
        <pc:spChg chg="mod">
          <ac:chgData name="Aaron Baker" userId="d002b17f-d855-4973-bb9c-c439a7ee68af" providerId="ADAL" clId="{0F9092C3-2A9E-48C8-91B7-A669FC02E31A}" dt="2021-06-29T14:47:46.821" v="685" actId="1035"/>
          <ac:spMkLst>
            <pc:docMk/>
            <pc:sldMk cId="1461574562" sldId="1727"/>
            <ac:spMk id="21" creationId="{18335FFB-951C-454A-830B-AE2C31BC6C56}"/>
          </ac:spMkLst>
        </pc:spChg>
        <pc:spChg chg="mod">
          <ac:chgData name="Aaron Baker" userId="d002b17f-d855-4973-bb9c-c439a7ee68af" providerId="ADAL" clId="{0F9092C3-2A9E-48C8-91B7-A669FC02E31A}" dt="2021-06-29T14:47:46.821" v="685" actId="1035"/>
          <ac:spMkLst>
            <pc:docMk/>
            <pc:sldMk cId="1461574562" sldId="1727"/>
            <ac:spMk id="22" creationId="{BCDCCE1B-4014-4C7A-B4F0-B92D7719337C}"/>
          </ac:spMkLst>
        </pc:spChg>
        <pc:spChg chg="mod">
          <ac:chgData name="Aaron Baker" userId="d002b17f-d855-4973-bb9c-c439a7ee68af" providerId="ADAL" clId="{0F9092C3-2A9E-48C8-91B7-A669FC02E31A}" dt="2021-06-29T14:47:46.821" v="685" actId="1035"/>
          <ac:spMkLst>
            <pc:docMk/>
            <pc:sldMk cId="1461574562" sldId="1727"/>
            <ac:spMk id="23" creationId="{3E4B5007-9F33-4328-9699-3E5153A4734F}"/>
          </ac:spMkLst>
        </pc:spChg>
        <pc:spChg chg="mod">
          <ac:chgData name="Aaron Baker" userId="d002b17f-d855-4973-bb9c-c439a7ee68af" providerId="ADAL" clId="{0F9092C3-2A9E-48C8-91B7-A669FC02E31A}" dt="2021-06-29T14:47:46.821" v="685" actId="1035"/>
          <ac:spMkLst>
            <pc:docMk/>
            <pc:sldMk cId="1461574562" sldId="1727"/>
            <ac:spMk id="24" creationId="{6ED5C1C0-88E2-4BDE-849A-7F546F8EBC67}"/>
          </ac:spMkLst>
        </pc:spChg>
        <pc:spChg chg="mod">
          <ac:chgData name="Aaron Baker" userId="d002b17f-d855-4973-bb9c-c439a7ee68af" providerId="ADAL" clId="{0F9092C3-2A9E-48C8-91B7-A669FC02E31A}" dt="2021-06-29T14:47:46.821" v="685" actId="1035"/>
          <ac:spMkLst>
            <pc:docMk/>
            <pc:sldMk cId="1461574562" sldId="1727"/>
            <ac:spMk id="31" creationId="{FAC1BA8D-3D9A-4847-AE91-8CCBDC1CB3EB}"/>
          </ac:spMkLst>
        </pc:spChg>
        <pc:spChg chg="mod">
          <ac:chgData name="Aaron Baker" userId="d002b17f-d855-4973-bb9c-c439a7ee68af" providerId="ADAL" clId="{0F9092C3-2A9E-48C8-91B7-A669FC02E31A}" dt="2021-06-29T14:47:46.821" v="685" actId="1035"/>
          <ac:spMkLst>
            <pc:docMk/>
            <pc:sldMk cId="1461574562" sldId="1727"/>
            <ac:spMk id="32" creationId="{8627BB8B-4D78-554D-AD0E-7646F64F5578}"/>
          </ac:spMkLst>
        </pc:spChg>
        <pc:spChg chg="mod">
          <ac:chgData name="Aaron Baker" userId="d002b17f-d855-4973-bb9c-c439a7ee68af" providerId="ADAL" clId="{0F9092C3-2A9E-48C8-91B7-A669FC02E31A}" dt="2021-06-29T14:47:46.821" v="685" actId="1035"/>
          <ac:spMkLst>
            <pc:docMk/>
            <pc:sldMk cId="1461574562" sldId="1727"/>
            <ac:spMk id="33" creationId="{07E425C5-81C7-194F-846C-7F83CEE9AA2F}"/>
          </ac:spMkLst>
        </pc:spChg>
        <pc:spChg chg="mod">
          <ac:chgData name="Aaron Baker" userId="d002b17f-d855-4973-bb9c-c439a7ee68af" providerId="ADAL" clId="{0F9092C3-2A9E-48C8-91B7-A669FC02E31A}" dt="2021-06-29T14:47:46.821" v="685" actId="1035"/>
          <ac:spMkLst>
            <pc:docMk/>
            <pc:sldMk cId="1461574562" sldId="1727"/>
            <ac:spMk id="34" creationId="{4AD6873C-E40A-FD4D-925C-087D48FD725F}"/>
          </ac:spMkLst>
        </pc:spChg>
        <pc:spChg chg="mod">
          <ac:chgData name="Aaron Baker" userId="d002b17f-d855-4973-bb9c-c439a7ee68af" providerId="ADAL" clId="{0F9092C3-2A9E-48C8-91B7-A669FC02E31A}" dt="2021-06-29T14:47:46.821" v="685" actId="1035"/>
          <ac:spMkLst>
            <pc:docMk/>
            <pc:sldMk cId="1461574562" sldId="1727"/>
            <ac:spMk id="35" creationId="{BEE2F092-68FE-F34A-90DE-743482EA1962}"/>
          </ac:spMkLst>
        </pc:spChg>
        <pc:spChg chg="mod">
          <ac:chgData name="Aaron Baker" userId="d002b17f-d855-4973-bb9c-c439a7ee68af" providerId="ADAL" clId="{0F9092C3-2A9E-48C8-91B7-A669FC02E31A}" dt="2021-06-29T14:47:46.821" v="685" actId="1035"/>
          <ac:spMkLst>
            <pc:docMk/>
            <pc:sldMk cId="1461574562" sldId="1727"/>
            <ac:spMk id="36" creationId="{BADB7A6F-8B3C-614C-A5CE-7D7233A1AAA9}"/>
          </ac:spMkLst>
        </pc:spChg>
      </pc:sldChg>
      <pc:sldChg chg="modSp">
        <pc:chgData name="Aaron Baker" userId="d002b17f-d855-4973-bb9c-c439a7ee68af" providerId="ADAL" clId="{0F9092C3-2A9E-48C8-91B7-A669FC02E31A}" dt="2021-06-29T14:49:34.689" v="729" actId="1035"/>
        <pc:sldMkLst>
          <pc:docMk/>
          <pc:sldMk cId="3583990922" sldId="1742"/>
        </pc:sldMkLst>
        <pc:spChg chg="mod">
          <ac:chgData name="Aaron Baker" userId="d002b17f-d855-4973-bb9c-c439a7ee68af" providerId="ADAL" clId="{0F9092C3-2A9E-48C8-91B7-A669FC02E31A}" dt="2021-06-29T14:49:34.689" v="729" actId="1035"/>
          <ac:spMkLst>
            <pc:docMk/>
            <pc:sldMk cId="3583990922" sldId="1742"/>
            <ac:spMk id="2" creationId="{5AE1AB33-B1AE-425F-83CF-576BCC23F88E}"/>
          </ac:spMkLst>
        </pc:spChg>
        <pc:spChg chg="mod">
          <ac:chgData name="Aaron Baker" userId="d002b17f-d855-4973-bb9c-c439a7ee68af" providerId="ADAL" clId="{0F9092C3-2A9E-48C8-91B7-A669FC02E31A}" dt="2021-06-29T14:49:34.689" v="729" actId="1035"/>
          <ac:spMkLst>
            <pc:docMk/>
            <pc:sldMk cId="3583990922" sldId="1742"/>
            <ac:spMk id="5" creationId="{48C94578-EE60-48AE-8029-B1633EC9CD2F}"/>
          </ac:spMkLst>
        </pc:spChg>
        <pc:spChg chg="mod">
          <ac:chgData name="Aaron Baker" userId="d002b17f-d855-4973-bb9c-c439a7ee68af" providerId="ADAL" clId="{0F9092C3-2A9E-48C8-91B7-A669FC02E31A}" dt="2021-06-29T14:49:34.689" v="729" actId="1035"/>
          <ac:spMkLst>
            <pc:docMk/>
            <pc:sldMk cId="3583990922" sldId="1742"/>
            <ac:spMk id="6" creationId="{6B853868-C158-4189-BFEF-C0EFDAECFD29}"/>
          </ac:spMkLst>
        </pc:spChg>
        <pc:spChg chg="mod">
          <ac:chgData name="Aaron Baker" userId="d002b17f-d855-4973-bb9c-c439a7ee68af" providerId="ADAL" clId="{0F9092C3-2A9E-48C8-91B7-A669FC02E31A}" dt="2021-06-29T14:49:34.689" v="729" actId="1035"/>
          <ac:spMkLst>
            <pc:docMk/>
            <pc:sldMk cId="3583990922" sldId="1742"/>
            <ac:spMk id="7" creationId="{133016CE-6EDE-4E6D-A2F8-67BBAC2AF879}"/>
          </ac:spMkLst>
        </pc:spChg>
        <pc:spChg chg="mod">
          <ac:chgData name="Aaron Baker" userId="d002b17f-d855-4973-bb9c-c439a7ee68af" providerId="ADAL" clId="{0F9092C3-2A9E-48C8-91B7-A669FC02E31A}" dt="2021-06-29T14:49:34.689" v="729" actId="1035"/>
          <ac:spMkLst>
            <pc:docMk/>
            <pc:sldMk cId="3583990922" sldId="1742"/>
            <ac:spMk id="8" creationId="{6A95F3B2-AA01-4E68-AD8A-843CEA4FA163}"/>
          </ac:spMkLst>
        </pc:spChg>
        <pc:spChg chg="mod">
          <ac:chgData name="Aaron Baker" userId="d002b17f-d855-4973-bb9c-c439a7ee68af" providerId="ADAL" clId="{0F9092C3-2A9E-48C8-91B7-A669FC02E31A}" dt="2021-06-29T14:49:34.689" v="729" actId="1035"/>
          <ac:spMkLst>
            <pc:docMk/>
            <pc:sldMk cId="3583990922" sldId="1742"/>
            <ac:spMk id="10" creationId="{E4661F39-DB5B-4398-9626-C7ED4CFCAE90}"/>
          </ac:spMkLst>
        </pc:spChg>
        <pc:spChg chg="mod">
          <ac:chgData name="Aaron Baker" userId="d002b17f-d855-4973-bb9c-c439a7ee68af" providerId="ADAL" clId="{0F9092C3-2A9E-48C8-91B7-A669FC02E31A}" dt="2021-06-29T14:49:34.689" v="729" actId="1035"/>
          <ac:spMkLst>
            <pc:docMk/>
            <pc:sldMk cId="3583990922" sldId="1742"/>
            <ac:spMk id="11" creationId="{7085DF5C-4AAE-4909-8A60-C8E463858DF5}"/>
          </ac:spMkLst>
        </pc:spChg>
        <pc:spChg chg="mod">
          <ac:chgData name="Aaron Baker" userId="d002b17f-d855-4973-bb9c-c439a7ee68af" providerId="ADAL" clId="{0F9092C3-2A9E-48C8-91B7-A669FC02E31A}" dt="2021-06-29T14:49:34.689" v="729" actId="1035"/>
          <ac:spMkLst>
            <pc:docMk/>
            <pc:sldMk cId="3583990922" sldId="1742"/>
            <ac:spMk id="16" creationId="{01850168-CFF4-451F-86B9-F7B58BB66CC0}"/>
          </ac:spMkLst>
        </pc:spChg>
        <pc:spChg chg="mod">
          <ac:chgData name="Aaron Baker" userId="d002b17f-d855-4973-bb9c-c439a7ee68af" providerId="ADAL" clId="{0F9092C3-2A9E-48C8-91B7-A669FC02E31A}" dt="2021-06-29T14:49:34.689" v="729" actId="1035"/>
          <ac:spMkLst>
            <pc:docMk/>
            <pc:sldMk cId="3583990922" sldId="1742"/>
            <ac:spMk id="23" creationId="{F5EF64D9-2A93-444F-B749-78426506AD93}"/>
          </ac:spMkLst>
        </pc:spChg>
        <pc:spChg chg="mod">
          <ac:chgData name="Aaron Baker" userId="d002b17f-d855-4973-bb9c-c439a7ee68af" providerId="ADAL" clId="{0F9092C3-2A9E-48C8-91B7-A669FC02E31A}" dt="2021-06-29T14:49:34.689" v="729" actId="1035"/>
          <ac:spMkLst>
            <pc:docMk/>
            <pc:sldMk cId="3583990922" sldId="1742"/>
            <ac:spMk id="24" creationId="{872CAEAA-5A0A-4A95-9D9B-D3FD53B57157}"/>
          </ac:spMkLst>
        </pc:spChg>
        <pc:spChg chg="mod">
          <ac:chgData name="Aaron Baker" userId="d002b17f-d855-4973-bb9c-c439a7ee68af" providerId="ADAL" clId="{0F9092C3-2A9E-48C8-91B7-A669FC02E31A}" dt="2021-06-29T14:49:34.689" v="729" actId="1035"/>
          <ac:spMkLst>
            <pc:docMk/>
            <pc:sldMk cId="3583990922" sldId="1742"/>
            <ac:spMk id="29" creationId="{B551BD48-BD66-4E24-B084-10A7DBD3C799}"/>
          </ac:spMkLst>
        </pc:spChg>
        <pc:spChg chg="mod">
          <ac:chgData name="Aaron Baker" userId="d002b17f-d855-4973-bb9c-c439a7ee68af" providerId="ADAL" clId="{0F9092C3-2A9E-48C8-91B7-A669FC02E31A}" dt="2021-06-29T14:49:34.689" v="729" actId="1035"/>
          <ac:spMkLst>
            <pc:docMk/>
            <pc:sldMk cId="3583990922" sldId="1742"/>
            <ac:spMk id="30" creationId="{77FA7127-2F34-4F6F-B1E0-65BFBBF35ABC}"/>
          </ac:spMkLst>
        </pc:spChg>
        <pc:picChg chg="mod">
          <ac:chgData name="Aaron Baker" userId="d002b17f-d855-4973-bb9c-c439a7ee68af" providerId="ADAL" clId="{0F9092C3-2A9E-48C8-91B7-A669FC02E31A}" dt="2021-06-29T14:49:34.689" v="729" actId="1035"/>
          <ac:picMkLst>
            <pc:docMk/>
            <pc:sldMk cId="3583990922" sldId="1742"/>
            <ac:picMk id="31" creationId="{5DF3F791-EF00-4C08-A307-E2BFB229F9B1}"/>
          </ac:picMkLst>
        </pc:picChg>
        <pc:picChg chg="mod">
          <ac:chgData name="Aaron Baker" userId="d002b17f-d855-4973-bb9c-c439a7ee68af" providerId="ADAL" clId="{0F9092C3-2A9E-48C8-91B7-A669FC02E31A}" dt="2021-06-29T14:49:34.689" v="729" actId="1035"/>
          <ac:picMkLst>
            <pc:docMk/>
            <pc:sldMk cId="3583990922" sldId="1742"/>
            <ac:picMk id="32" creationId="{5CB1618B-F21C-4407-95AF-381E4333E5EE}"/>
          </ac:picMkLst>
        </pc:picChg>
        <pc:picChg chg="mod">
          <ac:chgData name="Aaron Baker" userId="d002b17f-d855-4973-bb9c-c439a7ee68af" providerId="ADAL" clId="{0F9092C3-2A9E-48C8-91B7-A669FC02E31A}" dt="2021-06-29T14:49:34.689" v="729" actId="1035"/>
          <ac:picMkLst>
            <pc:docMk/>
            <pc:sldMk cId="3583990922" sldId="1742"/>
            <ac:picMk id="33" creationId="{B18DAB4B-B983-4765-BD8B-750FEAF32438}"/>
          </ac:picMkLst>
        </pc:picChg>
        <pc:cxnChg chg="mod">
          <ac:chgData name="Aaron Baker" userId="d002b17f-d855-4973-bb9c-c439a7ee68af" providerId="ADAL" clId="{0F9092C3-2A9E-48C8-91B7-A669FC02E31A}" dt="2021-06-29T14:49:34.689" v="729" actId="1035"/>
          <ac:cxnSpMkLst>
            <pc:docMk/>
            <pc:sldMk cId="3583990922" sldId="1742"/>
            <ac:cxnSpMk id="12" creationId="{4F5A43F0-ED50-4AF8-B590-FF55DC070B2D}"/>
          </ac:cxnSpMkLst>
        </pc:cxnChg>
        <pc:cxnChg chg="mod">
          <ac:chgData name="Aaron Baker" userId="d002b17f-d855-4973-bb9c-c439a7ee68af" providerId="ADAL" clId="{0F9092C3-2A9E-48C8-91B7-A669FC02E31A}" dt="2021-06-29T14:49:34.689" v="729" actId="1035"/>
          <ac:cxnSpMkLst>
            <pc:docMk/>
            <pc:sldMk cId="3583990922" sldId="1742"/>
            <ac:cxnSpMk id="13" creationId="{6E31107B-3104-4890-B027-A5913EB03333}"/>
          </ac:cxnSpMkLst>
        </pc:cxnChg>
      </pc:sldChg>
      <pc:sldChg chg="modSp">
        <pc:chgData name="Aaron Baker" userId="d002b17f-d855-4973-bb9c-c439a7ee68af" providerId="ADAL" clId="{0F9092C3-2A9E-48C8-91B7-A669FC02E31A}" dt="2021-06-29T14:49:43.453" v="738" actId="1035"/>
        <pc:sldMkLst>
          <pc:docMk/>
          <pc:sldMk cId="1821981459" sldId="1745"/>
        </pc:sldMkLst>
        <pc:spChg chg="mod">
          <ac:chgData name="Aaron Baker" userId="d002b17f-d855-4973-bb9c-c439a7ee68af" providerId="ADAL" clId="{0F9092C3-2A9E-48C8-91B7-A669FC02E31A}" dt="2021-06-29T14:49:43.453" v="738" actId="1035"/>
          <ac:spMkLst>
            <pc:docMk/>
            <pc:sldMk cId="1821981459" sldId="1745"/>
            <ac:spMk id="2" creationId="{142BDDD7-59D9-4392-9B0B-41252DE79449}"/>
          </ac:spMkLst>
        </pc:spChg>
        <pc:spChg chg="mod">
          <ac:chgData name="Aaron Baker" userId="d002b17f-d855-4973-bb9c-c439a7ee68af" providerId="ADAL" clId="{0F9092C3-2A9E-48C8-91B7-A669FC02E31A}" dt="2021-06-29T14:49:43.453" v="738" actId="1035"/>
          <ac:spMkLst>
            <pc:docMk/>
            <pc:sldMk cId="1821981459" sldId="1745"/>
            <ac:spMk id="3" creationId="{B44CEBD2-99A9-4E0B-A95C-2F6231D698AA}"/>
          </ac:spMkLst>
        </pc:spChg>
        <pc:spChg chg="mod">
          <ac:chgData name="Aaron Baker" userId="d002b17f-d855-4973-bb9c-c439a7ee68af" providerId="ADAL" clId="{0F9092C3-2A9E-48C8-91B7-A669FC02E31A}" dt="2021-06-29T14:49:43.453" v="738" actId="1035"/>
          <ac:spMkLst>
            <pc:docMk/>
            <pc:sldMk cId="1821981459" sldId="1745"/>
            <ac:spMk id="4" creationId="{AC4F887D-D265-4C15-A214-10A4DF5D80FE}"/>
          </ac:spMkLst>
        </pc:spChg>
        <pc:grpChg chg="mod">
          <ac:chgData name="Aaron Baker" userId="d002b17f-d855-4973-bb9c-c439a7ee68af" providerId="ADAL" clId="{0F9092C3-2A9E-48C8-91B7-A669FC02E31A}" dt="2021-06-29T14:49:43.453" v="738" actId="1035"/>
          <ac:grpSpMkLst>
            <pc:docMk/>
            <pc:sldMk cId="1821981459" sldId="1745"/>
            <ac:grpSpMk id="19" creationId="{F7982268-30F3-441A-9055-C92B43ECD53D}"/>
          </ac:grpSpMkLst>
        </pc:grpChg>
        <pc:grpChg chg="mod">
          <ac:chgData name="Aaron Baker" userId="d002b17f-d855-4973-bb9c-c439a7ee68af" providerId="ADAL" clId="{0F9092C3-2A9E-48C8-91B7-A669FC02E31A}" dt="2021-06-29T14:49:43.453" v="738" actId="1035"/>
          <ac:grpSpMkLst>
            <pc:docMk/>
            <pc:sldMk cId="1821981459" sldId="1745"/>
            <ac:grpSpMk id="20" creationId="{BF9D9B1F-9F93-4EBB-AAB4-F13C7D02BDB0}"/>
          </ac:grpSpMkLst>
        </pc:grpChg>
        <pc:grpChg chg="mod">
          <ac:chgData name="Aaron Baker" userId="d002b17f-d855-4973-bb9c-c439a7ee68af" providerId="ADAL" clId="{0F9092C3-2A9E-48C8-91B7-A669FC02E31A}" dt="2021-06-29T14:49:43.453" v="738" actId="1035"/>
          <ac:grpSpMkLst>
            <pc:docMk/>
            <pc:sldMk cId="1821981459" sldId="1745"/>
            <ac:grpSpMk id="25" creationId="{4A44C3BE-6AE0-4524-B5B3-718019DDD845}"/>
          </ac:grpSpMkLst>
        </pc:grpChg>
      </pc:sldChg>
      <pc:sldChg chg="modSp">
        <pc:chgData name="Aaron Baker" userId="d002b17f-d855-4973-bb9c-c439a7ee68af" providerId="ADAL" clId="{0F9092C3-2A9E-48C8-91B7-A669FC02E31A}" dt="2021-06-29T14:48:04.972" v="701" actId="1035"/>
        <pc:sldMkLst>
          <pc:docMk/>
          <pc:sldMk cId="1404404340" sldId="1751"/>
        </pc:sldMkLst>
        <pc:graphicFrameChg chg="mod">
          <ac:chgData name="Aaron Baker" userId="d002b17f-d855-4973-bb9c-c439a7ee68af" providerId="ADAL" clId="{0F9092C3-2A9E-48C8-91B7-A669FC02E31A}" dt="2021-06-29T14:48:04.972" v="701" actId="1035"/>
          <ac:graphicFrameMkLst>
            <pc:docMk/>
            <pc:sldMk cId="1404404340" sldId="1751"/>
            <ac:graphicFrameMk id="2" creationId="{440F296A-B10D-4886-9C4F-D8C43A3CDC19}"/>
          </ac:graphicFrameMkLst>
        </pc:graphicFrameChg>
      </pc:sldChg>
      <pc:sldChg chg="modSp modNotesTx">
        <pc:chgData name="Aaron Baker" userId="d002b17f-d855-4973-bb9c-c439a7ee68af" providerId="ADAL" clId="{0F9092C3-2A9E-48C8-91B7-A669FC02E31A}" dt="2021-06-29T14:47:15.199" v="655" actId="122"/>
        <pc:sldMkLst>
          <pc:docMk/>
          <pc:sldMk cId="3504958314" sldId="1754"/>
        </pc:sldMkLst>
        <pc:spChg chg="mod">
          <ac:chgData name="Aaron Baker" userId="d002b17f-d855-4973-bb9c-c439a7ee68af" providerId="ADAL" clId="{0F9092C3-2A9E-48C8-91B7-A669FC02E31A}" dt="2021-06-29T14:47:10.638" v="653" actId="122"/>
          <ac:spMkLst>
            <pc:docMk/>
            <pc:sldMk cId="3504958314" sldId="1754"/>
            <ac:spMk id="11" creationId="{ADD9CDE0-4167-411A-8E05-88DE6B31257A}"/>
          </ac:spMkLst>
        </pc:spChg>
        <pc:spChg chg="mod">
          <ac:chgData name="Aaron Baker" userId="d002b17f-d855-4973-bb9c-c439a7ee68af" providerId="ADAL" clId="{0F9092C3-2A9E-48C8-91B7-A669FC02E31A}" dt="2021-06-29T14:47:15.199" v="655" actId="122"/>
          <ac:spMkLst>
            <pc:docMk/>
            <pc:sldMk cId="3504958314" sldId="1754"/>
            <ac:spMk id="12" creationId="{5FBCE6A5-11F9-4AED-A008-95B3A577FDDC}"/>
          </ac:spMkLst>
        </pc:spChg>
        <pc:spChg chg="mod">
          <ac:chgData name="Aaron Baker" userId="d002b17f-d855-4973-bb9c-c439a7ee68af" providerId="ADAL" clId="{0F9092C3-2A9E-48C8-91B7-A669FC02E31A}" dt="2021-06-29T14:47:12.956" v="654" actId="122"/>
          <ac:spMkLst>
            <pc:docMk/>
            <pc:sldMk cId="3504958314" sldId="1754"/>
            <ac:spMk id="13" creationId="{DE79EDB4-6491-45DE-879E-ADE7E93DBE7C}"/>
          </ac:spMkLst>
        </pc:spChg>
        <pc:spChg chg="mod">
          <ac:chgData name="Aaron Baker" userId="d002b17f-d855-4973-bb9c-c439a7ee68af" providerId="ADAL" clId="{0F9092C3-2A9E-48C8-91B7-A669FC02E31A}" dt="2021-06-28T15:58:25.644" v="564" actId="20577"/>
          <ac:spMkLst>
            <pc:docMk/>
            <pc:sldMk cId="3504958314" sldId="1754"/>
            <ac:spMk id="16" creationId="{C84A88EE-C0C3-4E50-B07A-9AE184D40511}"/>
          </ac:spMkLst>
        </pc:spChg>
      </pc:sldChg>
      <pc:sldChg chg="modSp">
        <pc:chgData name="Aaron Baker" userId="d002b17f-d855-4973-bb9c-c439a7ee68af" providerId="ADAL" clId="{0F9092C3-2A9E-48C8-91B7-A669FC02E31A}" dt="2021-06-29T14:50:17.827" v="742" actId="207"/>
        <pc:sldMkLst>
          <pc:docMk/>
          <pc:sldMk cId="804086223" sldId="1767"/>
        </pc:sldMkLst>
        <pc:graphicFrameChg chg="mod">
          <ac:chgData name="Aaron Baker" userId="d002b17f-d855-4973-bb9c-c439a7ee68af" providerId="ADAL" clId="{0F9092C3-2A9E-48C8-91B7-A669FC02E31A}" dt="2021-06-29T14:50:10.138" v="740" actId="207"/>
          <ac:graphicFrameMkLst>
            <pc:docMk/>
            <pc:sldMk cId="804086223" sldId="1767"/>
            <ac:graphicFrameMk id="3" creationId="{94CEC40D-EEDB-43A1-B3AD-F46A396BF528}"/>
          </ac:graphicFrameMkLst>
        </pc:graphicFrameChg>
        <pc:graphicFrameChg chg="mod">
          <ac:chgData name="Aaron Baker" userId="d002b17f-d855-4973-bb9c-c439a7ee68af" providerId="ADAL" clId="{0F9092C3-2A9E-48C8-91B7-A669FC02E31A}" dt="2021-06-29T14:50:17.827" v="742" actId="207"/>
          <ac:graphicFrameMkLst>
            <pc:docMk/>
            <pc:sldMk cId="804086223" sldId="1767"/>
            <ac:graphicFrameMk id="4" creationId="{E9DEC770-C166-4AF3-83DA-B9454E117721}"/>
          </ac:graphicFrameMkLst>
        </pc:graphicFrameChg>
      </pc:sldChg>
      <pc:sldChg chg="modSp">
        <pc:chgData name="Aaron Baker" userId="d002b17f-d855-4973-bb9c-c439a7ee68af" providerId="ADAL" clId="{0F9092C3-2A9E-48C8-91B7-A669FC02E31A}" dt="2021-06-29T14:43:58.563" v="652" actId="20577"/>
        <pc:sldMkLst>
          <pc:docMk/>
          <pc:sldMk cId="2209526021" sldId="1781"/>
        </pc:sldMkLst>
        <pc:spChg chg="mod">
          <ac:chgData name="Aaron Baker" userId="d002b17f-d855-4973-bb9c-c439a7ee68af" providerId="ADAL" clId="{0F9092C3-2A9E-48C8-91B7-A669FC02E31A}" dt="2021-06-25T14:02:45.917" v="290" actId="1036"/>
          <ac:spMkLst>
            <pc:docMk/>
            <pc:sldMk cId="2209526021" sldId="1781"/>
            <ac:spMk id="2" creationId="{A8995444-F973-41B3-A78A-BEFB6C252BF6}"/>
          </ac:spMkLst>
        </pc:spChg>
        <pc:spChg chg="mod">
          <ac:chgData name="Aaron Baker" userId="d002b17f-d855-4973-bb9c-c439a7ee68af" providerId="ADAL" clId="{0F9092C3-2A9E-48C8-91B7-A669FC02E31A}" dt="2021-06-25T14:02:45.917" v="290" actId="1036"/>
          <ac:spMkLst>
            <pc:docMk/>
            <pc:sldMk cId="2209526021" sldId="1781"/>
            <ac:spMk id="3" creationId="{9385FC61-E1F6-4673-AE98-189542FC8EA3}"/>
          </ac:spMkLst>
        </pc:spChg>
        <pc:spChg chg="mod">
          <ac:chgData name="Aaron Baker" userId="d002b17f-d855-4973-bb9c-c439a7ee68af" providerId="ADAL" clId="{0F9092C3-2A9E-48C8-91B7-A669FC02E31A}" dt="2021-06-25T14:02:45.917" v="290" actId="1036"/>
          <ac:spMkLst>
            <pc:docMk/>
            <pc:sldMk cId="2209526021" sldId="1781"/>
            <ac:spMk id="4" creationId="{05EB1500-7578-4E35-8E83-4C0569F4BFFA}"/>
          </ac:spMkLst>
        </pc:spChg>
        <pc:spChg chg="mod">
          <ac:chgData name="Aaron Baker" userId="d002b17f-d855-4973-bb9c-c439a7ee68af" providerId="ADAL" clId="{0F9092C3-2A9E-48C8-91B7-A669FC02E31A}" dt="2021-06-25T14:02:45.917" v="290" actId="1036"/>
          <ac:spMkLst>
            <pc:docMk/>
            <pc:sldMk cId="2209526021" sldId="1781"/>
            <ac:spMk id="5" creationId="{96372881-37CD-4856-9C07-29CC62DE9ADD}"/>
          </ac:spMkLst>
        </pc:spChg>
        <pc:spChg chg="mod">
          <ac:chgData name="Aaron Baker" userId="d002b17f-d855-4973-bb9c-c439a7ee68af" providerId="ADAL" clId="{0F9092C3-2A9E-48C8-91B7-A669FC02E31A}" dt="2021-06-25T14:02:45.917" v="290" actId="1036"/>
          <ac:spMkLst>
            <pc:docMk/>
            <pc:sldMk cId="2209526021" sldId="1781"/>
            <ac:spMk id="6" creationId="{51A0C460-8903-4562-8582-BB4CCBA5351A}"/>
          </ac:spMkLst>
        </pc:spChg>
        <pc:spChg chg="mod">
          <ac:chgData name="Aaron Baker" userId="d002b17f-d855-4973-bb9c-c439a7ee68af" providerId="ADAL" clId="{0F9092C3-2A9E-48C8-91B7-A669FC02E31A}" dt="2021-06-25T14:02:45.917" v="290" actId="1036"/>
          <ac:spMkLst>
            <pc:docMk/>
            <pc:sldMk cId="2209526021" sldId="1781"/>
            <ac:spMk id="7" creationId="{E4F24E5F-BC60-4A2A-A20D-440DFC33DDD3}"/>
          </ac:spMkLst>
        </pc:spChg>
        <pc:spChg chg="mod">
          <ac:chgData name="Aaron Baker" userId="d002b17f-d855-4973-bb9c-c439a7ee68af" providerId="ADAL" clId="{0F9092C3-2A9E-48C8-91B7-A669FC02E31A}" dt="2021-06-25T14:02:45.917" v="290" actId="1036"/>
          <ac:spMkLst>
            <pc:docMk/>
            <pc:sldMk cId="2209526021" sldId="1781"/>
            <ac:spMk id="8" creationId="{36D79E65-A307-440C-B265-37585B271FD4}"/>
          </ac:spMkLst>
        </pc:spChg>
        <pc:spChg chg="mod">
          <ac:chgData name="Aaron Baker" userId="d002b17f-d855-4973-bb9c-c439a7ee68af" providerId="ADAL" clId="{0F9092C3-2A9E-48C8-91B7-A669FC02E31A}" dt="2021-06-25T14:02:45.917" v="290" actId="1036"/>
          <ac:spMkLst>
            <pc:docMk/>
            <pc:sldMk cId="2209526021" sldId="1781"/>
            <ac:spMk id="9" creationId="{B58C1420-689D-45A0-B44A-8D5469E8AECF}"/>
          </ac:spMkLst>
        </pc:spChg>
        <pc:spChg chg="mod">
          <ac:chgData name="Aaron Baker" userId="d002b17f-d855-4973-bb9c-c439a7ee68af" providerId="ADAL" clId="{0F9092C3-2A9E-48C8-91B7-A669FC02E31A}" dt="2021-06-25T14:02:45.917" v="290" actId="1036"/>
          <ac:spMkLst>
            <pc:docMk/>
            <pc:sldMk cId="2209526021" sldId="1781"/>
            <ac:spMk id="10" creationId="{460FCBD5-FDCA-4F22-BD04-6708B80E15FF}"/>
          </ac:spMkLst>
        </pc:spChg>
        <pc:spChg chg="mod">
          <ac:chgData name="Aaron Baker" userId="d002b17f-d855-4973-bb9c-c439a7ee68af" providerId="ADAL" clId="{0F9092C3-2A9E-48C8-91B7-A669FC02E31A}" dt="2021-06-25T14:02:45.917" v="290" actId="1036"/>
          <ac:spMkLst>
            <pc:docMk/>
            <pc:sldMk cId="2209526021" sldId="1781"/>
            <ac:spMk id="11" creationId="{5519A2F4-18AC-4098-9B61-5129558B367C}"/>
          </ac:spMkLst>
        </pc:spChg>
        <pc:spChg chg="mod">
          <ac:chgData name="Aaron Baker" userId="d002b17f-d855-4973-bb9c-c439a7ee68af" providerId="ADAL" clId="{0F9092C3-2A9E-48C8-91B7-A669FC02E31A}" dt="2021-06-25T14:02:45.917" v="290" actId="1036"/>
          <ac:spMkLst>
            <pc:docMk/>
            <pc:sldMk cId="2209526021" sldId="1781"/>
            <ac:spMk id="12" creationId="{625A790D-5D37-44AF-ACCE-C9E44DF42EDE}"/>
          </ac:spMkLst>
        </pc:spChg>
        <pc:spChg chg="mod">
          <ac:chgData name="Aaron Baker" userId="d002b17f-d855-4973-bb9c-c439a7ee68af" providerId="ADAL" clId="{0F9092C3-2A9E-48C8-91B7-A669FC02E31A}" dt="2021-06-25T14:02:45.917" v="290" actId="1036"/>
          <ac:spMkLst>
            <pc:docMk/>
            <pc:sldMk cId="2209526021" sldId="1781"/>
            <ac:spMk id="13" creationId="{5A645D35-5AA3-421D-B7F5-9783E2BEEEA9}"/>
          </ac:spMkLst>
        </pc:spChg>
        <pc:spChg chg="mod">
          <ac:chgData name="Aaron Baker" userId="d002b17f-d855-4973-bb9c-c439a7ee68af" providerId="ADAL" clId="{0F9092C3-2A9E-48C8-91B7-A669FC02E31A}" dt="2021-06-25T14:02:45.917" v="290" actId="1036"/>
          <ac:spMkLst>
            <pc:docMk/>
            <pc:sldMk cId="2209526021" sldId="1781"/>
            <ac:spMk id="14" creationId="{545DEA70-2386-4AAC-A335-3BBFF4314EBB}"/>
          </ac:spMkLst>
        </pc:spChg>
        <pc:spChg chg="mod">
          <ac:chgData name="Aaron Baker" userId="d002b17f-d855-4973-bb9c-c439a7ee68af" providerId="ADAL" clId="{0F9092C3-2A9E-48C8-91B7-A669FC02E31A}" dt="2021-06-25T14:02:45.917" v="290" actId="1036"/>
          <ac:spMkLst>
            <pc:docMk/>
            <pc:sldMk cId="2209526021" sldId="1781"/>
            <ac:spMk id="15" creationId="{7E4DC625-BAFD-4D4F-8FF5-D0B275F35289}"/>
          </ac:spMkLst>
        </pc:spChg>
        <pc:spChg chg="mod">
          <ac:chgData name="Aaron Baker" userId="d002b17f-d855-4973-bb9c-c439a7ee68af" providerId="ADAL" clId="{0F9092C3-2A9E-48C8-91B7-A669FC02E31A}" dt="2021-06-29T14:43:58.563" v="652" actId="20577"/>
          <ac:spMkLst>
            <pc:docMk/>
            <pc:sldMk cId="2209526021" sldId="1781"/>
            <ac:spMk id="16" creationId="{7ED3DF17-AB2A-4FDE-A28D-66C77168BE9A}"/>
          </ac:spMkLst>
        </pc:spChg>
      </pc:sldChg>
      <pc:sldChg chg="addSp modSp add">
        <pc:chgData name="Aaron Baker" userId="d002b17f-d855-4973-bb9c-c439a7ee68af" providerId="ADAL" clId="{0F9092C3-2A9E-48C8-91B7-A669FC02E31A}" dt="2021-06-28T13:16:14.231" v="524" actId="20577"/>
        <pc:sldMkLst>
          <pc:docMk/>
          <pc:sldMk cId="1709404293" sldId="1782"/>
        </pc:sldMkLst>
        <pc:spChg chg="add mod">
          <ac:chgData name="Aaron Baker" userId="d002b17f-d855-4973-bb9c-c439a7ee68af" providerId="ADAL" clId="{0F9092C3-2A9E-48C8-91B7-A669FC02E31A}" dt="2021-06-28T13:07:54.048" v="308" actId="207"/>
          <ac:spMkLst>
            <pc:docMk/>
            <pc:sldMk cId="1709404293" sldId="1782"/>
            <ac:spMk id="2" creationId="{DD742445-6D40-4532-9AB6-A3E7D128998C}"/>
          </ac:spMkLst>
        </pc:spChg>
        <pc:spChg chg="add mod">
          <ac:chgData name="Aaron Baker" userId="d002b17f-d855-4973-bb9c-c439a7ee68af" providerId="ADAL" clId="{0F9092C3-2A9E-48C8-91B7-A669FC02E31A}" dt="2021-06-28T13:08:03.281" v="310" actId="207"/>
          <ac:spMkLst>
            <pc:docMk/>
            <pc:sldMk cId="1709404293" sldId="1782"/>
            <ac:spMk id="3" creationId="{BDFA340D-BB48-49D9-BE36-346DEEF244F0}"/>
          </ac:spMkLst>
        </pc:spChg>
        <pc:spChg chg="add mod">
          <ac:chgData name="Aaron Baker" userId="d002b17f-d855-4973-bb9c-c439a7ee68af" providerId="ADAL" clId="{0F9092C3-2A9E-48C8-91B7-A669FC02E31A}" dt="2021-06-28T13:07:59.758" v="309" actId="207"/>
          <ac:spMkLst>
            <pc:docMk/>
            <pc:sldMk cId="1709404293" sldId="1782"/>
            <ac:spMk id="4" creationId="{F9B8089F-8AAD-42A9-942C-9EDB86F6998B}"/>
          </ac:spMkLst>
        </pc:spChg>
        <pc:spChg chg="add mod">
          <ac:chgData name="Aaron Baker" userId="d002b17f-d855-4973-bb9c-c439a7ee68af" providerId="ADAL" clId="{0F9092C3-2A9E-48C8-91B7-A669FC02E31A}" dt="2021-06-28T13:07:44.581" v="307" actId="408"/>
          <ac:spMkLst>
            <pc:docMk/>
            <pc:sldMk cId="1709404293" sldId="1782"/>
            <ac:spMk id="5" creationId="{388CF82D-CBDA-47EC-9124-739FF7C0F828}"/>
          </ac:spMkLst>
        </pc:spChg>
        <pc:spChg chg="add mod">
          <ac:chgData name="Aaron Baker" userId="d002b17f-d855-4973-bb9c-c439a7ee68af" providerId="ADAL" clId="{0F9092C3-2A9E-48C8-91B7-A669FC02E31A}" dt="2021-06-28T13:08:45.065" v="332" actId="1076"/>
          <ac:spMkLst>
            <pc:docMk/>
            <pc:sldMk cId="1709404293" sldId="1782"/>
            <ac:spMk id="6" creationId="{56EFAA6F-7DBB-4897-BC2D-98587AA9C86F}"/>
          </ac:spMkLst>
        </pc:spChg>
        <pc:spChg chg="add mod">
          <ac:chgData name="Aaron Baker" userId="d002b17f-d855-4973-bb9c-c439a7ee68af" providerId="ADAL" clId="{0F9092C3-2A9E-48C8-91B7-A669FC02E31A}" dt="2021-06-28T13:09:00.827" v="349" actId="20577"/>
          <ac:spMkLst>
            <pc:docMk/>
            <pc:sldMk cId="1709404293" sldId="1782"/>
            <ac:spMk id="7" creationId="{BE036866-204B-445C-9C15-29449760EF01}"/>
          </ac:spMkLst>
        </pc:spChg>
        <pc:spChg chg="add mod">
          <ac:chgData name="Aaron Baker" userId="d002b17f-d855-4973-bb9c-c439a7ee68af" providerId="ADAL" clId="{0F9092C3-2A9E-48C8-91B7-A669FC02E31A}" dt="2021-06-28T13:09:20.755" v="377" actId="20577"/>
          <ac:spMkLst>
            <pc:docMk/>
            <pc:sldMk cId="1709404293" sldId="1782"/>
            <ac:spMk id="8" creationId="{E11BEF0A-56CA-4B59-AABB-EB2A35893563}"/>
          </ac:spMkLst>
        </pc:spChg>
        <pc:spChg chg="add mod">
          <ac:chgData name="Aaron Baker" userId="d002b17f-d855-4973-bb9c-c439a7ee68af" providerId="ADAL" clId="{0F9092C3-2A9E-48C8-91B7-A669FC02E31A}" dt="2021-06-28T13:09:41.171" v="399" actId="20577"/>
          <ac:spMkLst>
            <pc:docMk/>
            <pc:sldMk cId="1709404293" sldId="1782"/>
            <ac:spMk id="9" creationId="{2BAFE946-C3F2-4BF0-843B-9E87DBC521D6}"/>
          </ac:spMkLst>
        </pc:spChg>
        <pc:spChg chg="add mod">
          <ac:chgData name="Aaron Baker" userId="d002b17f-d855-4973-bb9c-c439a7ee68af" providerId="ADAL" clId="{0F9092C3-2A9E-48C8-91B7-A669FC02E31A}" dt="2021-06-28T13:13:36.687" v="460" actId="403"/>
          <ac:spMkLst>
            <pc:docMk/>
            <pc:sldMk cId="1709404293" sldId="1782"/>
            <ac:spMk id="18" creationId="{57E5D393-07D5-4961-8CAE-F52C5E7B0571}"/>
          </ac:spMkLst>
        </pc:spChg>
        <pc:spChg chg="add mod">
          <ac:chgData name="Aaron Baker" userId="d002b17f-d855-4973-bb9c-c439a7ee68af" providerId="ADAL" clId="{0F9092C3-2A9E-48C8-91B7-A669FC02E31A}" dt="2021-06-28T13:14:50.953" v="493" actId="20577"/>
          <ac:spMkLst>
            <pc:docMk/>
            <pc:sldMk cId="1709404293" sldId="1782"/>
            <ac:spMk id="19" creationId="{6C9857F2-5095-418A-B21A-566A6CE2C700}"/>
          </ac:spMkLst>
        </pc:spChg>
        <pc:spChg chg="add mod">
          <ac:chgData name="Aaron Baker" userId="d002b17f-d855-4973-bb9c-c439a7ee68af" providerId="ADAL" clId="{0F9092C3-2A9E-48C8-91B7-A669FC02E31A}" dt="2021-06-28T13:15:00.325" v="495" actId="207"/>
          <ac:spMkLst>
            <pc:docMk/>
            <pc:sldMk cId="1709404293" sldId="1782"/>
            <ac:spMk id="20" creationId="{AEA2F1C6-99AE-4ACB-A0A4-3392BC99768C}"/>
          </ac:spMkLst>
        </pc:spChg>
        <pc:spChg chg="add mod">
          <ac:chgData name="Aaron Baker" userId="d002b17f-d855-4973-bb9c-c439a7ee68af" providerId="ADAL" clId="{0F9092C3-2A9E-48C8-91B7-A669FC02E31A}" dt="2021-06-28T13:15:53.277" v="509" actId="207"/>
          <ac:spMkLst>
            <pc:docMk/>
            <pc:sldMk cId="1709404293" sldId="1782"/>
            <ac:spMk id="21" creationId="{333764D8-F57C-46EC-8813-026E880B1EBA}"/>
          </ac:spMkLst>
        </pc:spChg>
        <pc:spChg chg="add mod">
          <ac:chgData name="Aaron Baker" userId="d002b17f-d855-4973-bb9c-c439a7ee68af" providerId="ADAL" clId="{0F9092C3-2A9E-48C8-91B7-A669FC02E31A}" dt="2021-06-28T13:16:14.231" v="524" actId="20577"/>
          <ac:spMkLst>
            <pc:docMk/>
            <pc:sldMk cId="1709404293" sldId="1782"/>
            <ac:spMk id="22" creationId="{E7CF822C-A0B3-4CDC-9C78-4B60CFD87688}"/>
          </ac:spMkLst>
        </pc:spChg>
        <pc:picChg chg="add mod">
          <ac:chgData name="Aaron Baker" userId="d002b17f-d855-4973-bb9c-c439a7ee68af" providerId="ADAL" clId="{0F9092C3-2A9E-48C8-91B7-A669FC02E31A}" dt="2021-06-28T13:10:21.678" v="404" actId="207"/>
          <ac:picMkLst>
            <pc:docMk/>
            <pc:sldMk cId="1709404293" sldId="1782"/>
            <ac:picMk id="11" creationId="{EA4A13E1-C69F-4188-915A-F837A9EEF79D}"/>
          </ac:picMkLst>
        </pc:picChg>
        <pc:picChg chg="add mod">
          <ac:chgData name="Aaron Baker" userId="d002b17f-d855-4973-bb9c-c439a7ee68af" providerId="ADAL" clId="{0F9092C3-2A9E-48C8-91B7-A669FC02E31A}" dt="2021-06-28T13:11:25.718" v="415" actId="207"/>
          <ac:picMkLst>
            <pc:docMk/>
            <pc:sldMk cId="1709404293" sldId="1782"/>
            <ac:picMk id="13" creationId="{64A652CD-0713-41ED-BEFE-2E45B7A6217E}"/>
          </ac:picMkLst>
        </pc:picChg>
        <pc:picChg chg="add mod">
          <ac:chgData name="Aaron Baker" userId="d002b17f-d855-4973-bb9c-c439a7ee68af" providerId="ADAL" clId="{0F9092C3-2A9E-48C8-91B7-A669FC02E31A}" dt="2021-06-28T13:11:32.547" v="417" actId="1076"/>
          <ac:picMkLst>
            <pc:docMk/>
            <pc:sldMk cId="1709404293" sldId="1782"/>
            <ac:picMk id="15" creationId="{E32B5D04-0AC7-4A49-A557-5837C578156E}"/>
          </ac:picMkLst>
        </pc:picChg>
        <pc:picChg chg="add mod">
          <ac:chgData name="Aaron Baker" userId="d002b17f-d855-4973-bb9c-c439a7ee68af" providerId="ADAL" clId="{0F9092C3-2A9E-48C8-91B7-A669FC02E31A}" dt="2021-06-28T13:11:03.726" v="409" actId="207"/>
          <ac:picMkLst>
            <pc:docMk/>
            <pc:sldMk cId="1709404293" sldId="1782"/>
            <ac:picMk id="17" creationId="{B9E28F4E-1490-4B01-AEB8-C578CB6C79E9}"/>
          </ac:picMkLst>
        </pc:picChg>
      </pc:sldChg>
      <pc:sldMasterChg chg="modSldLayout">
        <pc:chgData name="Aaron Baker" userId="d002b17f-d855-4973-bb9c-c439a7ee68af" providerId="ADAL" clId="{0F9092C3-2A9E-48C8-91B7-A669FC02E31A}" dt="2021-06-28T15:54:33.828" v="552" actId="478"/>
        <pc:sldMasterMkLst>
          <pc:docMk/>
          <pc:sldMasterMk cId="2625966092" sldId="2147483690"/>
        </pc:sldMasterMkLst>
        <pc:sldLayoutChg chg="addSp delSp modSp">
          <pc:chgData name="Aaron Baker" userId="d002b17f-d855-4973-bb9c-c439a7ee68af" providerId="ADAL" clId="{0F9092C3-2A9E-48C8-91B7-A669FC02E31A}" dt="2021-06-28T15:46:42.765" v="532" actId="478"/>
          <pc:sldLayoutMkLst>
            <pc:docMk/>
            <pc:sldMasterMk cId="2625966092" sldId="2147483690"/>
            <pc:sldLayoutMk cId="2550593417" sldId="2147483694"/>
          </pc:sldLayoutMkLst>
          <pc:picChg chg="add del">
            <ac:chgData name="Aaron Baker" userId="d002b17f-d855-4973-bb9c-c439a7ee68af" providerId="ADAL" clId="{0F9092C3-2A9E-48C8-91B7-A669FC02E31A}" dt="2021-06-28T15:45:40.631" v="526" actId="478"/>
            <ac:picMkLst>
              <pc:docMk/>
              <pc:sldMasterMk cId="2625966092" sldId="2147483690"/>
              <pc:sldLayoutMk cId="2550593417" sldId="2147483694"/>
              <ac:picMk id="3" creationId="{6AC776C1-DE3A-4748-9111-68D7A0EE9E9E}"/>
            </ac:picMkLst>
          </pc:picChg>
          <pc:picChg chg="add del mod">
            <ac:chgData name="Aaron Baker" userId="d002b17f-d855-4973-bb9c-c439a7ee68af" providerId="ADAL" clId="{0F9092C3-2A9E-48C8-91B7-A669FC02E31A}" dt="2021-06-28T15:46:42.765" v="532" actId="478"/>
            <ac:picMkLst>
              <pc:docMk/>
              <pc:sldMasterMk cId="2625966092" sldId="2147483690"/>
              <pc:sldLayoutMk cId="2550593417" sldId="2147483694"/>
              <ac:picMk id="4" creationId="{78192AB4-B579-4D5A-9090-EC2D2B43D92F}"/>
            </ac:picMkLst>
          </pc:picChg>
        </pc:sldLayoutChg>
        <pc:sldLayoutChg chg="addSp delSp modSp">
          <pc:chgData name="Aaron Baker" userId="d002b17f-d855-4973-bb9c-c439a7ee68af" providerId="ADAL" clId="{0F9092C3-2A9E-48C8-91B7-A669FC02E31A}" dt="2021-06-28T15:54:33.828" v="552" actId="478"/>
          <pc:sldLayoutMkLst>
            <pc:docMk/>
            <pc:sldMasterMk cId="2625966092" sldId="2147483690"/>
            <pc:sldLayoutMk cId="2460727115" sldId="2147483721"/>
          </pc:sldLayoutMkLst>
          <pc:picChg chg="del">
            <ac:chgData name="Aaron Baker" userId="d002b17f-d855-4973-bb9c-c439a7ee68af" providerId="ADAL" clId="{0F9092C3-2A9E-48C8-91B7-A669FC02E31A}" dt="2021-06-28T15:54:33.828" v="552" actId="478"/>
            <ac:picMkLst>
              <pc:docMk/>
              <pc:sldMasterMk cId="2625966092" sldId="2147483690"/>
              <pc:sldLayoutMk cId="2460727115" sldId="2147483721"/>
              <ac:picMk id="3" creationId="{6AC776C1-DE3A-4748-9111-68D7A0EE9E9E}"/>
            </ac:picMkLst>
          </pc:picChg>
          <pc:picChg chg="add mod modCrop">
            <ac:chgData name="Aaron Baker" userId="d002b17f-d855-4973-bb9c-c439a7ee68af" providerId="ADAL" clId="{0F9092C3-2A9E-48C8-91B7-A669FC02E31A}" dt="2021-06-28T15:54:31.044" v="551" actId="14100"/>
            <ac:picMkLst>
              <pc:docMk/>
              <pc:sldMasterMk cId="2625966092" sldId="2147483690"/>
              <pc:sldLayoutMk cId="2460727115" sldId="2147483721"/>
              <ac:picMk id="4" creationId="{8A9CB62E-FAC4-46E3-895A-91EEED03DD58}"/>
            </ac:picMkLst>
          </pc:picChg>
        </pc:sldLayoutChg>
      </pc:sldMasterChg>
    </pc:docChg>
  </pc:docChgLst>
  <pc:docChgLst>
    <pc:chgData name="Nyree Christianian" userId="S::nyreec@remi.com::5e1f2310-4d3e-488c-8120-70d2c83afed0" providerId="AD" clId="Web-{3FDE6EA2-0FD8-F9DB-2F75-CD7DEFE2F0FF}"/>
    <pc:docChg chg="modSld">
      <pc:chgData name="Nyree Christianian" userId="S::nyreec@remi.com::5e1f2310-4d3e-488c-8120-70d2c83afed0" providerId="AD" clId="Web-{3FDE6EA2-0FD8-F9DB-2F75-CD7DEFE2F0FF}" dt="2021-07-30T20:46:48.249" v="39" actId="1076"/>
      <pc:docMkLst>
        <pc:docMk/>
      </pc:docMkLst>
      <pc:sldChg chg="addSp delSp modSp">
        <pc:chgData name="Nyree Christianian" userId="S::nyreec@remi.com::5e1f2310-4d3e-488c-8120-70d2c83afed0" providerId="AD" clId="Web-{3FDE6EA2-0FD8-F9DB-2F75-CD7DEFE2F0FF}" dt="2021-07-30T20:46:48.249" v="39" actId="1076"/>
        <pc:sldMkLst>
          <pc:docMk/>
          <pc:sldMk cId="74395322" sldId="1786"/>
        </pc:sldMkLst>
        <pc:spChg chg="mod">
          <ac:chgData name="Nyree Christianian" userId="S::nyreec@remi.com::5e1f2310-4d3e-488c-8120-70d2c83afed0" providerId="AD" clId="Web-{3FDE6EA2-0FD8-F9DB-2F75-CD7DEFE2F0FF}" dt="2021-07-30T20:46:48.249" v="39" actId="1076"/>
          <ac:spMkLst>
            <pc:docMk/>
            <pc:sldMk cId="74395322" sldId="1786"/>
            <ac:spMk id="5" creationId="{97B4DD64-D80B-41D8-B33E-AD981CF1FB41}"/>
          </ac:spMkLst>
        </pc:spChg>
        <pc:spChg chg="del">
          <ac:chgData name="Nyree Christianian" userId="S::nyreec@remi.com::5e1f2310-4d3e-488c-8120-70d2c83afed0" providerId="AD" clId="Web-{3FDE6EA2-0FD8-F9DB-2F75-CD7DEFE2F0FF}" dt="2021-07-30T20:44:58.855" v="13"/>
          <ac:spMkLst>
            <pc:docMk/>
            <pc:sldMk cId="74395322" sldId="1786"/>
            <ac:spMk id="134" creationId="{39149CD3-11CA-4966-ABF4-AA1EFFF245B0}"/>
          </ac:spMkLst>
        </pc:spChg>
        <pc:spChg chg="del">
          <ac:chgData name="Nyree Christianian" userId="S::nyreec@remi.com::5e1f2310-4d3e-488c-8120-70d2c83afed0" providerId="AD" clId="Web-{3FDE6EA2-0FD8-F9DB-2F75-CD7DEFE2F0FF}" dt="2021-07-30T20:45:07.762" v="17"/>
          <ac:spMkLst>
            <pc:docMk/>
            <pc:sldMk cId="74395322" sldId="1786"/>
            <ac:spMk id="140" creationId="{26747107-FC01-459B-BD4E-F9B77AACD9DC}"/>
          </ac:spMkLst>
        </pc:spChg>
        <pc:spChg chg="del">
          <ac:chgData name="Nyree Christianian" userId="S::nyreec@remi.com::5e1f2310-4d3e-488c-8120-70d2c83afed0" providerId="AD" clId="Web-{3FDE6EA2-0FD8-F9DB-2F75-CD7DEFE2F0FF}" dt="2021-07-30T20:44:58.855" v="7"/>
          <ac:spMkLst>
            <pc:docMk/>
            <pc:sldMk cId="74395322" sldId="1786"/>
            <ac:spMk id="141" creationId="{51203D22-6F6E-4C1C-82C2-39B5BCAAA18A}"/>
          </ac:spMkLst>
        </pc:spChg>
        <pc:spChg chg="del">
          <ac:chgData name="Nyree Christianian" userId="S::nyreec@remi.com::5e1f2310-4d3e-488c-8120-70d2c83afed0" providerId="AD" clId="Web-{3FDE6EA2-0FD8-F9DB-2F75-CD7DEFE2F0FF}" dt="2021-07-30T20:45:10.293" v="18"/>
          <ac:spMkLst>
            <pc:docMk/>
            <pc:sldMk cId="74395322" sldId="1786"/>
            <ac:spMk id="142" creationId="{81A255F6-C8BA-450F-84C9-908BD44FD5D3}"/>
          </ac:spMkLst>
        </pc:spChg>
        <pc:spChg chg="del">
          <ac:chgData name="Nyree Christianian" userId="S::nyreec@remi.com::5e1f2310-4d3e-488c-8120-70d2c83afed0" providerId="AD" clId="Web-{3FDE6EA2-0FD8-F9DB-2F75-CD7DEFE2F0FF}" dt="2021-07-30T20:44:58.855" v="6"/>
          <ac:spMkLst>
            <pc:docMk/>
            <pc:sldMk cId="74395322" sldId="1786"/>
            <ac:spMk id="143" creationId="{5640BD85-9223-4B08-B8B3-D7122D61A427}"/>
          </ac:spMkLst>
        </pc:spChg>
        <pc:spChg chg="del mod">
          <ac:chgData name="Nyree Christianian" userId="S::nyreec@remi.com::5e1f2310-4d3e-488c-8120-70d2c83afed0" providerId="AD" clId="Web-{3FDE6EA2-0FD8-F9DB-2F75-CD7DEFE2F0FF}" dt="2021-07-30T20:45:04.527" v="16"/>
          <ac:spMkLst>
            <pc:docMk/>
            <pc:sldMk cId="74395322" sldId="1786"/>
            <ac:spMk id="144" creationId="{6068F24F-24CD-4648-879B-497B43A19413}"/>
          </ac:spMkLst>
        </pc:spChg>
        <pc:spChg chg="del">
          <ac:chgData name="Nyree Christianian" userId="S::nyreec@remi.com::5e1f2310-4d3e-488c-8120-70d2c83afed0" providerId="AD" clId="Web-{3FDE6EA2-0FD8-F9DB-2F75-CD7DEFE2F0FF}" dt="2021-07-30T20:44:58.855" v="5"/>
          <ac:spMkLst>
            <pc:docMk/>
            <pc:sldMk cId="74395322" sldId="1786"/>
            <ac:spMk id="145" creationId="{4AD11FEA-0D26-44A7-9110-C6416E09AEE6}"/>
          </ac:spMkLst>
        </pc:spChg>
        <pc:spChg chg="del">
          <ac:chgData name="Nyree Christianian" userId="S::nyreec@remi.com::5e1f2310-4d3e-488c-8120-70d2c83afed0" providerId="AD" clId="Web-{3FDE6EA2-0FD8-F9DB-2F75-CD7DEFE2F0FF}" dt="2021-07-30T20:45:12.215" v="19"/>
          <ac:spMkLst>
            <pc:docMk/>
            <pc:sldMk cId="74395322" sldId="1786"/>
            <ac:spMk id="147" creationId="{93454988-474F-44E0-AAAF-2B32CAEE0E70}"/>
          </ac:spMkLst>
        </pc:spChg>
        <pc:spChg chg="del">
          <ac:chgData name="Nyree Christianian" userId="S::nyreec@remi.com::5e1f2310-4d3e-488c-8120-70d2c83afed0" providerId="AD" clId="Web-{3FDE6EA2-0FD8-F9DB-2F75-CD7DEFE2F0FF}" dt="2021-07-30T20:45:15.168" v="20"/>
          <ac:spMkLst>
            <pc:docMk/>
            <pc:sldMk cId="74395322" sldId="1786"/>
            <ac:spMk id="149" creationId="{772923BC-586F-4A3B-98E2-84133FDBECAB}"/>
          </ac:spMkLst>
        </pc:spChg>
        <pc:spChg chg="del">
          <ac:chgData name="Nyree Christianian" userId="S::nyreec@remi.com::5e1f2310-4d3e-488c-8120-70d2c83afed0" providerId="AD" clId="Web-{3FDE6EA2-0FD8-F9DB-2F75-CD7DEFE2F0FF}" dt="2021-07-30T20:44:58.840" v="1"/>
          <ac:spMkLst>
            <pc:docMk/>
            <pc:sldMk cId="74395322" sldId="1786"/>
            <ac:spMk id="151" creationId="{C642B46E-3545-43BB-A990-9F03AAE23EE4}"/>
          </ac:spMkLst>
        </pc:spChg>
        <pc:grpChg chg="del">
          <ac:chgData name="Nyree Christianian" userId="S::nyreec@remi.com::5e1f2310-4d3e-488c-8120-70d2c83afed0" providerId="AD" clId="Web-{3FDE6EA2-0FD8-F9DB-2F75-CD7DEFE2F0FF}" dt="2021-07-30T20:44:58.871" v="14"/>
          <ac:grpSpMkLst>
            <pc:docMk/>
            <pc:sldMk cId="74395322" sldId="1786"/>
            <ac:grpSpMk id="81" creationId="{DBCDE500-C7D9-4EA7-B2E1-29D1B65C67D7}"/>
          </ac:grpSpMkLst>
        </pc:grpChg>
        <pc:picChg chg="add mod">
          <ac:chgData name="Nyree Christianian" userId="S::nyreec@remi.com::5e1f2310-4d3e-488c-8120-70d2c83afed0" providerId="AD" clId="Web-{3FDE6EA2-0FD8-F9DB-2F75-CD7DEFE2F0FF}" dt="2021-07-30T20:46:32.248" v="38" actId="1076"/>
          <ac:picMkLst>
            <pc:docMk/>
            <pc:sldMk cId="74395322" sldId="1786"/>
            <ac:picMk id="2" creationId="{61130670-EE05-46B9-AF53-5360417BF0C2}"/>
          </ac:picMkLst>
        </pc:picChg>
        <pc:cxnChg chg="del">
          <ac:chgData name="Nyree Christianian" userId="S::nyreec@remi.com::5e1f2310-4d3e-488c-8120-70d2c83afed0" providerId="AD" clId="Web-{3FDE6EA2-0FD8-F9DB-2F75-CD7DEFE2F0FF}" dt="2021-07-30T20:44:58.855" v="12"/>
          <ac:cxnSpMkLst>
            <pc:docMk/>
            <pc:sldMk cId="74395322" sldId="1786"/>
            <ac:cxnSpMk id="135" creationId="{66EB669C-EBE1-44BD-8B66-6F8D7118433D}"/>
          </ac:cxnSpMkLst>
        </pc:cxnChg>
        <pc:cxnChg chg="del mod">
          <ac:chgData name="Nyree Christianian" userId="S::nyreec@remi.com::5e1f2310-4d3e-488c-8120-70d2c83afed0" providerId="AD" clId="Web-{3FDE6EA2-0FD8-F9DB-2F75-CD7DEFE2F0FF}" dt="2021-07-30T20:44:58.855" v="11"/>
          <ac:cxnSpMkLst>
            <pc:docMk/>
            <pc:sldMk cId="74395322" sldId="1786"/>
            <ac:cxnSpMk id="136" creationId="{84EA459B-DC47-4CBF-9BA2-2AA2EB096631}"/>
          </ac:cxnSpMkLst>
        </pc:cxnChg>
        <pc:cxnChg chg="del">
          <ac:chgData name="Nyree Christianian" userId="S::nyreec@remi.com::5e1f2310-4d3e-488c-8120-70d2c83afed0" providerId="AD" clId="Web-{3FDE6EA2-0FD8-F9DB-2F75-CD7DEFE2F0FF}" dt="2021-07-30T20:44:58.855" v="10"/>
          <ac:cxnSpMkLst>
            <pc:docMk/>
            <pc:sldMk cId="74395322" sldId="1786"/>
            <ac:cxnSpMk id="137" creationId="{FB23C748-570C-459E-9649-4F07FAAB25A5}"/>
          </ac:cxnSpMkLst>
        </pc:cxnChg>
        <pc:cxnChg chg="del">
          <ac:chgData name="Nyree Christianian" userId="S::nyreec@remi.com::5e1f2310-4d3e-488c-8120-70d2c83afed0" providerId="AD" clId="Web-{3FDE6EA2-0FD8-F9DB-2F75-CD7DEFE2F0FF}" dt="2021-07-30T20:44:58.855" v="9"/>
          <ac:cxnSpMkLst>
            <pc:docMk/>
            <pc:sldMk cId="74395322" sldId="1786"/>
            <ac:cxnSpMk id="138" creationId="{F500656A-F379-4573-BD2A-0C1FDED07EF8}"/>
          </ac:cxnSpMkLst>
        </pc:cxnChg>
        <pc:cxnChg chg="del">
          <ac:chgData name="Nyree Christianian" userId="S::nyreec@remi.com::5e1f2310-4d3e-488c-8120-70d2c83afed0" providerId="AD" clId="Web-{3FDE6EA2-0FD8-F9DB-2F75-CD7DEFE2F0FF}" dt="2021-07-30T20:44:58.855" v="8"/>
          <ac:cxnSpMkLst>
            <pc:docMk/>
            <pc:sldMk cId="74395322" sldId="1786"/>
            <ac:cxnSpMk id="139" creationId="{31CFBD74-0044-4E19-9584-5C3482E8B5DA}"/>
          </ac:cxnSpMkLst>
        </pc:cxnChg>
        <pc:cxnChg chg="del mod">
          <ac:chgData name="Nyree Christianian" userId="S::nyreec@remi.com::5e1f2310-4d3e-488c-8120-70d2c83afed0" providerId="AD" clId="Web-{3FDE6EA2-0FD8-F9DB-2F75-CD7DEFE2F0FF}" dt="2021-07-30T20:44:58.855" v="4"/>
          <ac:cxnSpMkLst>
            <pc:docMk/>
            <pc:sldMk cId="74395322" sldId="1786"/>
            <ac:cxnSpMk id="146" creationId="{39CC8738-62E3-4D32-8CB7-AF48D04D5376}"/>
          </ac:cxnSpMkLst>
        </pc:cxnChg>
        <pc:cxnChg chg="del">
          <ac:chgData name="Nyree Christianian" userId="S::nyreec@remi.com::5e1f2310-4d3e-488c-8120-70d2c83afed0" providerId="AD" clId="Web-{3FDE6EA2-0FD8-F9DB-2F75-CD7DEFE2F0FF}" dt="2021-07-30T20:44:58.855" v="3"/>
          <ac:cxnSpMkLst>
            <pc:docMk/>
            <pc:sldMk cId="74395322" sldId="1786"/>
            <ac:cxnSpMk id="148" creationId="{70EBFA9E-E24E-4B0E-8291-7422993AF1ED}"/>
          </ac:cxnSpMkLst>
        </pc:cxnChg>
        <pc:cxnChg chg="del">
          <ac:chgData name="Nyree Christianian" userId="S::nyreec@remi.com::5e1f2310-4d3e-488c-8120-70d2c83afed0" providerId="AD" clId="Web-{3FDE6EA2-0FD8-F9DB-2F75-CD7DEFE2F0FF}" dt="2021-07-30T20:44:58.855" v="2"/>
          <ac:cxnSpMkLst>
            <pc:docMk/>
            <pc:sldMk cId="74395322" sldId="1786"/>
            <ac:cxnSpMk id="150" creationId="{59C3C4B0-A7A4-420D-9EE5-A078DE5C5AF5}"/>
          </ac:cxnSpMkLst>
        </pc:cxnChg>
        <pc:cxnChg chg="del">
          <ac:chgData name="Nyree Christianian" userId="S::nyreec@remi.com::5e1f2310-4d3e-488c-8120-70d2c83afed0" providerId="AD" clId="Web-{3FDE6EA2-0FD8-F9DB-2F75-CD7DEFE2F0FF}" dt="2021-07-30T20:44:58.840" v="0"/>
          <ac:cxnSpMkLst>
            <pc:docMk/>
            <pc:sldMk cId="74395322" sldId="1786"/>
            <ac:cxnSpMk id="152" creationId="{CC3ADDD1-10D3-4890-9757-D83C59D9CFC5}"/>
          </ac:cxnSpMkLst>
        </pc:cxnChg>
      </pc:sldChg>
    </pc:docChg>
  </pc:docChgLst>
  <pc:docChgLst>
    <pc:chgData name="Amanda Lambert" userId="S::amandal@remi.com::65f8b1f4-b15f-407c-b397-bc240439b16d" providerId="AD" clId="Web-{BA0A0E32-D34F-7902-EC1F-38BF8EB7DE82}"/>
    <pc:docChg chg="modSld">
      <pc:chgData name="Amanda Lambert" userId="S::amandal@remi.com::65f8b1f4-b15f-407c-b397-bc240439b16d" providerId="AD" clId="Web-{BA0A0E32-D34F-7902-EC1F-38BF8EB7DE82}" dt="2022-05-13T15:41:33.650" v="99" actId="20577"/>
      <pc:docMkLst>
        <pc:docMk/>
      </pc:docMkLst>
      <pc:sldChg chg="modSp">
        <pc:chgData name="Amanda Lambert" userId="S::amandal@remi.com::65f8b1f4-b15f-407c-b397-bc240439b16d" providerId="AD" clId="Web-{BA0A0E32-D34F-7902-EC1F-38BF8EB7DE82}" dt="2022-05-13T15:38:47.646" v="25" actId="20577"/>
        <pc:sldMkLst>
          <pc:docMk/>
          <pc:sldMk cId="0" sldId="276"/>
        </pc:sldMkLst>
        <pc:spChg chg="mod">
          <ac:chgData name="Amanda Lambert" userId="S::amandal@remi.com::65f8b1f4-b15f-407c-b397-bc240439b16d" providerId="AD" clId="Web-{BA0A0E32-D34F-7902-EC1F-38BF8EB7DE82}" dt="2022-05-13T15:38:21.864" v="14" actId="20577"/>
          <ac:spMkLst>
            <pc:docMk/>
            <pc:sldMk cId="0" sldId="276"/>
            <ac:spMk id="30" creationId="{266DB3D7-60CE-4123-ADA8-4FD298AAB2E8}"/>
          </ac:spMkLst>
        </pc:spChg>
        <pc:spChg chg="mod">
          <ac:chgData name="Amanda Lambert" userId="S::amandal@remi.com::65f8b1f4-b15f-407c-b397-bc240439b16d" providerId="AD" clId="Web-{BA0A0E32-D34F-7902-EC1F-38BF8EB7DE82}" dt="2022-05-13T15:38:25.505" v="15" actId="20577"/>
          <ac:spMkLst>
            <pc:docMk/>
            <pc:sldMk cId="0" sldId="276"/>
            <ac:spMk id="983" creationId="{00000000-0000-0000-0000-000000000000}"/>
          </ac:spMkLst>
        </pc:spChg>
        <pc:spChg chg="mod">
          <ac:chgData name="Amanda Lambert" userId="S::amandal@remi.com::65f8b1f4-b15f-407c-b397-bc240439b16d" providerId="AD" clId="Web-{BA0A0E32-D34F-7902-EC1F-38BF8EB7DE82}" dt="2022-05-13T15:38:32.864" v="17" actId="20577"/>
          <ac:spMkLst>
            <pc:docMk/>
            <pc:sldMk cId="0" sldId="276"/>
            <ac:spMk id="984" creationId="{00000000-0000-0000-0000-000000000000}"/>
          </ac:spMkLst>
        </pc:spChg>
        <pc:spChg chg="mod">
          <ac:chgData name="Amanda Lambert" userId="S::amandal@remi.com::65f8b1f4-b15f-407c-b397-bc240439b16d" providerId="AD" clId="Web-{BA0A0E32-D34F-7902-EC1F-38BF8EB7DE82}" dt="2022-05-13T15:38:45.083" v="24" actId="20577"/>
          <ac:spMkLst>
            <pc:docMk/>
            <pc:sldMk cId="0" sldId="276"/>
            <ac:spMk id="985" creationId="{00000000-0000-0000-0000-000000000000}"/>
          </ac:spMkLst>
        </pc:spChg>
        <pc:spChg chg="mod">
          <ac:chgData name="Amanda Lambert" userId="S::amandal@remi.com::65f8b1f4-b15f-407c-b397-bc240439b16d" providerId="AD" clId="Web-{BA0A0E32-D34F-7902-EC1F-38BF8EB7DE82}" dt="2022-05-13T15:38:43.068" v="23" actId="20577"/>
          <ac:spMkLst>
            <pc:docMk/>
            <pc:sldMk cId="0" sldId="276"/>
            <ac:spMk id="986" creationId="{00000000-0000-0000-0000-000000000000}"/>
          </ac:spMkLst>
        </pc:spChg>
        <pc:spChg chg="mod">
          <ac:chgData name="Amanda Lambert" userId="S::amandal@remi.com::65f8b1f4-b15f-407c-b397-bc240439b16d" providerId="AD" clId="Web-{BA0A0E32-D34F-7902-EC1F-38BF8EB7DE82}" dt="2022-05-13T15:38:47.646" v="25" actId="20577"/>
          <ac:spMkLst>
            <pc:docMk/>
            <pc:sldMk cId="0" sldId="276"/>
            <ac:spMk id="988" creationId="{00000000-0000-0000-0000-000000000000}"/>
          </ac:spMkLst>
        </pc:spChg>
        <pc:spChg chg="mod">
          <ac:chgData name="Amanda Lambert" userId="S::amandal@remi.com::65f8b1f4-b15f-407c-b397-bc240439b16d" providerId="AD" clId="Web-{BA0A0E32-D34F-7902-EC1F-38BF8EB7DE82}" dt="2022-05-13T15:38:29.364" v="16" actId="20577"/>
          <ac:spMkLst>
            <pc:docMk/>
            <pc:sldMk cId="0" sldId="276"/>
            <ac:spMk id="991" creationId="{00000000-0000-0000-0000-000000000000}"/>
          </ac:spMkLst>
        </pc:spChg>
        <pc:spChg chg="mod">
          <ac:chgData name="Amanda Lambert" userId="S::amandal@remi.com::65f8b1f4-b15f-407c-b397-bc240439b16d" providerId="AD" clId="Web-{BA0A0E32-D34F-7902-EC1F-38BF8EB7DE82}" dt="2022-05-13T15:38:41.193" v="21" actId="20577"/>
          <ac:spMkLst>
            <pc:docMk/>
            <pc:sldMk cId="0" sldId="276"/>
            <ac:spMk id="992" creationId="{00000000-0000-0000-0000-000000000000}"/>
          </ac:spMkLst>
        </pc:spChg>
      </pc:sldChg>
      <pc:sldChg chg="modSp">
        <pc:chgData name="Amanda Lambert" userId="S::amandal@remi.com::65f8b1f4-b15f-407c-b397-bc240439b16d" providerId="AD" clId="Web-{BA0A0E32-D34F-7902-EC1F-38BF8EB7DE82}" dt="2022-05-13T15:41:33.650" v="99" actId="20577"/>
        <pc:sldMkLst>
          <pc:docMk/>
          <pc:sldMk cId="827155553" sldId="1606"/>
        </pc:sldMkLst>
        <pc:spChg chg="mod">
          <ac:chgData name="Amanda Lambert" userId="S::amandal@remi.com::65f8b1f4-b15f-407c-b397-bc240439b16d" providerId="AD" clId="Web-{BA0A0E32-D34F-7902-EC1F-38BF8EB7DE82}" dt="2022-05-13T15:41:33.650" v="99" actId="20577"/>
          <ac:spMkLst>
            <pc:docMk/>
            <pc:sldMk cId="827155553" sldId="1606"/>
            <ac:spMk id="12" creationId="{9805AA5D-E1ED-4B26-97FA-778A03103E2C}"/>
          </ac:spMkLst>
        </pc:spChg>
        <pc:spChg chg="mod">
          <ac:chgData name="Amanda Lambert" userId="S::amandal@remi.com::65f8b1f4-b15f-407c-b397-bc240439b16d" providerId="AD" clId="Web-{BA0A0E32-D34F-7902-EC1F-38BF8EB7DE82}" dt="2022-05-13T15:41:30.416" v="95" actId="20577"/>
          <ac:spMkLst>
            <pc:docMk/>
            <pc:sldMk cId="827155553" sldId="1606"/>
            <ac:spMk id="14" creationId="{542E6E0A-77E3-4B99-8356-DD61D511B89B}"/>
          </ac:spMkLst>
        </pc:spChg>
      </pc:sldChg>
      <pc:sldChg chg="modSp">
        <pc:chgData name="Amanda Lambert" userId="S::amandal@remi.com::65f8b1f4-b15f-407c-b397-bc240439b16d" providerId="AD" clId="Web-{BA0A0E32-D34F-7902-EC1F-38BF8EB7DE82}" dt="2022-05-13T15:41:22.775" v="92" actId="20577"/>
        <pc:sldMkLst>
          <pc:docMk/>
          <pc:sldMk cId="1737056815" sldId="1738"/>
        </pc:sldMkLst>
        <pc:spChg chg="mod">
          <ac:chgData name="Amanda Lambert" userId="S::amandal@remi.com::65f8b1f4-b15f-407c-b397-bc240439b16d" providerId="AD" clId="Web-{BA0A0E32-D34F-7902-EC1F-38BF8EB7DE82}" dt="2022-05-13T15:41:03.696" v="85" actId="20577"/>
          <ac:spMkLst>
            <pc:docMk/>
            <pc:sldMk cId="1737056815" sldId="1738"/>
            <ac:spMk id="2" creationId="{0EFDCA29-EB23-44CF-8CFA-375AE59D25E0}"/>
          </ac:spMkLst>
        </pc:spChg>
        <pc:spChg chg="mod">
          <ac:chgData name="Amanda Lambert" userId="S::amandal@remi.com::65f8b1f4-b15f-407c-b397-bc240439b16d" providerId="AD" clId="Web-{BA0A0E32-D34F-7902-EC1F-38BF8EB7DE82}" dt="2022-05-13T15:41:06.478" v="86" actId="20577"/>
          <ac:spMkLst>
            <pc:docMk/>
            <pc:sldMk cId="1737056815" sldId="1738"/>
            <ac:spMk id="3" creationId="{ECC94A80-0683-474F-A5F0-472242D56EE5}"/>
          </ac:spMkLst>
        </pc:spChg>
        <pc:spChg chg="mod">
          <ac:chgData name="Amanda Lambert" userId="S::amandal@remi.com::65f8b1f4-b15f-407c-b397-bc240439b16d" providerId="AD" clId="Web-{BA0A0E32-D34F-7902-EC1F-38BF8EB7DE82}" dt="2022-05-13T15:41:19.400" v="90" actId="20577"/>
          <ac:spMkLst>
            <pc:docMk/>
            <pc:sldMk cId="1737056815" sldId="1738"/>
            <ac:spMk id="5" creationId="{13FD05DB-D9C3-49F0-B219-2780FDC04281}"/>
          </ac:spMkLst>
        </pc:spChg>
        <pc:spChg chg="mod">
          <ac:chgData name="Amanda Lambert" userId="S::amandal@remi.com::65f8b1f4-b15f-407c-b397-bc240439b16d" providerId="AD" clId="Web-{BA0A0E32-D34F-7902-EC1F-38BF8EB7DE82}" dt="2022-05-13T15:41:22.775" v="92" actId="20577"/>
          <ac:spMkLst>
            <pc:docMk/>
            <pc:sldMk cId="1737056815" sldId="1738"/>
            <ac:spMk id="6" creationId="{B1A0B7C0-D6AA-4D0F-BFFA-AE3F422A199B}"/>
          </ac:spMkLst>
        </pc:spChg>
        <pc:spChg chg="mod">
          <ac:chgData name="Amanda Lambert" userId="S::amandal@remi.com::65f8b1f4-b15f-407c-b397-bc240439b16d" providerId="AD" clId="Web-{BA0A0E32-D34F-7902-EC1F-38BF8EB7DE82}" dt="2022-05-13T15:40:51.665" v="75" actId="20577"/>
          <ac:spMkLst>
            <pc:docMk/>
            <pc:sldMk cId="1737056815" sldId="1738"/>
            <ac:spMk id="9" creationId="{4AF82A68-1FE8-46D4-999C-BFB7CC8B683A}"/>
          </ac:spMkLst>
        </pc:spChg>
      </pc:sldChg>
      <pc:sldChg chg="modSp">
        <pc:chgData name="Amanda Lambert" userId="S::amandal@remi.com::65f8b1f4-b15f-407c-b397-bc240439b16d" providerId="AD" clId="Web-{BA0A0E32-D34F-7902-EC1F-38BF8EB7DE82}" dt="2022-05-13T15:39:38.429" v="45" actId="20577"/>
        <pc:sldMkLst>
          <pc:docMk/>
          <pc:sldMk cId="2702560065" sldId="1740"/>
        </pc:sldMkLst>
        <pc:spChg chg="mod">
          <ac:chgData name="Amanda Lambert" userId="S::amandal@remi.com::65f8b1f4-b15f-407c-b397-bc240439b16d" providerId="AD" clId="Web-{BA0A0E32-D34F-7902-EC1F-38BF8EB7DE82}" dt="2022-05-13T15:39:08.256" v="31" actId="20577"/>
          <ac:spMkLst>
            <pc:docMk/>
            <pc:sldMk cId="2702560065" sldId="1740"/>
            <ac:spMk id="5" creationId="{A9C3AAA7-BFF2-42F1-BCD0-E995BC0EAD92}"/>
          </ac:spMkLst>
        </pc:spChg>
        <pc:spChg chg="mod">
          <ac:chgData name="Amanda Lambert" userId="S::amandal@remi.com::65f8b1f4-b15f-407c-b397-bc240439b16d" providerId="AD" clId="Web-{BA0A0E32-D34F-7902-EC1F-38BF8EB7DE82}" dt="2022-05-13T15:39:11.193" v="33" actId="20577"/>
          <ac:spMkLst>
            <pc:docMk/>
            <pc:sldMk cId="2702560065" sldId="1740"/>
            <ac:spMk id="14" creationId="{BEE15A1B-2193-4E8A-BE3A-1EB870F612B7}"/>
          </ac:spMkLst>
        </pc:spChg>
        <pc:spChg chg="mod">
          <ac:chgData name="Amanda Lambert" userId="S::amandal@remi.com::65f8b1f4-b15f-407c-b397-bc240439b16d" providerId="AD" clId="Web-{BA0A0E32-D34F-7902-EC1F-38BF8EB7DE82}" dt="2022-05-13T15:39:38.429" v="45" actId="20577"/>
          <ac:spMkLst>
            <pc:docMk/>
            <pc:sldMk cId="2702560065" sldId="1740"/>
            <ac:spMk id="17" creationId="{91D44765-93D8-4414-AEE1-4829A4AE0F19}"/>
          </ac:spMkLst>
        </pc:spChg>
        <pc:spChg chg="mod">
          <ac:chgData name="Amanda Lambert" userId="S::amandal@remi.com::65f8b1f4-b15f-407c-b397-bc240439b16d" providerId="AD" clId="Web-{BA0A0E32-D34F-7902-EC1F-38BF8EB7DE82}" dt="2022-05-13T15:39:29.975" v="41"/>
          <ac:spMkLst>
            <pc:docMk/>
            <pc:sldMk cId="2702560065" sldId="1740"/>
            <ac:spMk id="20" creationId="{AF897A22-49EC-477C-B92B-9D8E56B32AE2}"/>
          </ac:spMkLst>
        </pc:spChg>
        <pc:spChg chg="mod">
          <ac:chgData name="Amanda Lambert" userId="S::amandal@remi.com::65f8b1f4-b15f-407c-b397-bc240439b16d" providerId="AD" clId="Web-{BA0A0E32-D34F-7902-EC1F-38BF8EB7DE82}" dt="2022-05-13T15:38:52.130" v="26" actId="20577"/>
          <ac:spMkLst>
            <pc:docMk/>
            <pc:sldMk cId="2702560065" sldId="1740"/>
            <ac:spMk id="23" creationId="{FA80D60B-02D0-4656-9AB4-950E09914C42}"/>
          </ac:spMkLst>
        </pc:spChg>
      </pc:sldChg>
      <pc:sldChg chg="modSp">
        <pc:chgData name="Amanda Lambert" userId="S::amandal@remi.com::65f8b1f4-b15f-407c-b397-bc240439b16d" providerId="AD" clId="Web-{BA0A0E32-D34F-7902-EC1F-38BF8EB7DE82}" dt="2022-05-13T15:40:18.992" v="58" actId="20577"/>
        <pc:sldMkLst>
          <pc:docMk/>
          <pc:sldMk cId="3947175949" sldId="1741"/>
        </pc:sldMkLst>
        <pc:spChg chg="mod">
          <ac:chgData name="Amanda Lambert" userId="S::amandal@remi.com::65f8b1f4-b15f-407c-b397-bc240439b16d" providerId="AD" clId="Web-{BA0A0E32-D34F-7902-EC1F-38BF8EB7DE82}" dt="2022-05-13T15:39:54.304" v="47" actId="20577"/>
          <ac:spMkLst>
            <pc:docMk/>
            <pc:sldMk cId="3947175949" sldId="1741"/>
            <ac:spMk id="2" creationId="{8FA1B7E0-D45F-FF72-B822-EAB98B529EC0}"/>
          </ac:spMkLst>
        </pc:spChg>
        <pc:spChg chg="mod">
          <ac:chgData name="Amanda Lambert" userId="S::amandal@remi.com::65f8b1f4-b15f-407c-b397-bc240439b16d" providerId="AD" clId="Web-{BA0A0E32-D34F-7902-EC1F-38BF8EB7DE82}" dt="2022-05-13T15:39:57.023" v="49" actId="20577"/>
          <ac:spMkLst>
            <pc:docMk/>
            <pc:sldMk cId="3947175949" sldId="1741"/>
            <ac:spMk id="41" creationId="{F14534C0-E389-4D7B-B400-2213F3524980}"/>
          </ac:spMkLst>
        </pc:spChg>
        <pc:spChg chg="mod">
          <ac:chgData name="Amanda Lambert" userId="S::amandal@remi.com::65f8b1f4-b15f-407c-b397-bc240439b16d" providerId="AD" clId="Web-{BA0A0E32-D34F-7902-EC1F-38BF8EB7DE82}" dt="2022-05-13T15:40:09.867" v="54" actId="20577"/>
          <ac:spMkLst>
            <pc:docMk/>
            <pc:sldMk cId="3947175949" sldId="1741"/>
            <ac:spMk id="42" creationId="{FEF70403-D928-4038-9705-087572C0E23F}"/>
          </ac:spMkLst>
        </pc:spChg>
        <pc:spChg chg="mod">
          <ac:chgData name="Amanda Lambert" userId="S::amandal@remi.com::65f8b1f4-b15f-407c-b397-bc240439b16d" providerId="AD" clId="Web-{BA0A0E32-D34F-7902-EC1F-38BF8EB7DE82}" dt="2022-05-13T15:40:18.992" v="58" actId="20577"/>
          <ac:spMkLst>
            <pc:docMk/>
            <pc:sldMk cId="3947175949" sldId="1741"/>
            <ac:spMk id="43" creationId="{CD98F38D-D544-48E5-9AA7-2166BCD5DCBC}"/>
          </ac:spMkLst>
        </pc:spChg>
        <pc:spChg chg="mod">
          <ac:chgData name="Amanda Lambert" userId="S::amandal@remi.com::65f8b1f4-b15f-407c-b397-bc240439b16d" providerId="AD" clId="Web-{BA0A0E32-D34F-7902-EC1F-38BF8EB7DE82}" dt="2022-05-13T15:40:14.898" v="57" actId="20577"/>
          <ac:spMkLst>
            <pc:docMk/>
            <pc:sldMk cId="3947175949" sldId="1741"/>
            <ac:spMk id="44" creationId="{6098C9B1-185B-4721-99B5-14F0410A1264}"/>
          </ac:spMkLst>
        </pc:spChg>
        <pc:spChg chg="mod">
          <ac:chgData name="Amanda Lambert" userId="S::amandal@remi.com::65f8b1f4-b15f-407c-b397-bc240439b16d" providerId="AD" clId="Web-{BA0A0E32-D34F-7902-EC1F-38BF8EB7DE82}" dt="2022-05-13T15:39:59.710" v="50" actId="20577"/>
          <ac:spMkLst>
            <pc:docMk/>
            <pc:sldMk cId="3947175949" sldId="1741"/>
            <ac:spMk id="45" creationId="{4FA0CFE4-A01C-4839-BA63-6BC59085E1B8}"/>
          </ac:spMkLst>
        </pc:spChg>
        <pc:spChg chg="mod">
          <ac:chgData name="Amanda Lambert" userId="S::amandal@remi.com::65f8b1f4-b15f-407c-b397-bc240439b16d" providerId="AD" clId="Web-{BA0A0E32-D34F-7902-EC1F-38BF8EB7DE82}" dt="2022-05-13T15:40:02.320" v="51" actId="20577"/>
          <ac:spMkLst>
            <pc:docMk/>
            <pc:sldMk cId="3947175949" sldId="1741"/>
            <ac:spMk id="46" creationId="{91BA52E9-05A9-411E-9F64-20FE9B3551F2}"/>
          </ac:spMkLst>
        </pc:spChg>
        <pc:spChg chg="mod">
          <ac:chgData name="Amanda Lambert" userId="S::amandal@remi.com::65f8b1f4-b15f-407c-b397-bc240439b16d" providerId="AD" clId="Web-{BA0A0E32-D34F-7902-EC1F-38BF8EB7DE82}" dt="2022-05-13T15:40:06.398" v="53" actId="20577"/>
          <ac:spMkLst>
            <pc:docMk/>
            <pc:sldMk cId="3947175949" sldId="1741"/>
            <ac:spMk id="47" creationId="{7D65EBE0-74D4-4F0C-BDB7-E099883FDA8B}"/>
          </ac:spMkLst>
        </pc:spChg>
        <pc:spChg chg="mod">
          <ac:chgData name="Amanda Lambert" userId="S::amandal@remi.com::65f8b1f4-b15f-407c-b397-bc240439b16d" providerId="AD" clId="Web-{BA0A0E32-D34F-7902-EC1F-38BF8EB7DE82}" dt="2022-05-13T15:40:04.695" v="52" actId="20577"/>
          <ac:spMkLst>
            <pc:docMk/>
            <pc:sldMk cId="3947175949" sldId="1741"/>
            <ac:spMk id="48" creationId="{DB250AFE-B6EE-4E7E-8E2D-1B507CE717FD}"/>
          </ac:spMkLst>
        </pc:spChg>
        <pc:spChg chg="mod">
          <ac:chgData name="Amanda Lambert" userId="S::amandal@remi.com::65f8b1f4-b15f-407c-b397-bc240439b16d" providerId="AD" clId="Web-{BA0A0E32-D34F-7902-EC1F-38BF8EB7DE82}" dt="2022-05-13T15:39:49.694" v="46" actId="20577"/>
          <ac:spMkLst>
            <pc:docMk/>
            <pc:sldMk cId="3947175949" sldId="1741"/>
            <ac:spMk id="49" creationId="{393171B0-E513-49EF-8BB3-C15A4CDCFEF2}"/>
          </ac:spMkLst>
        </pc:spChg>
      </pc:sldChg>
      <pc:sldChg chg="modSp">
        <pc:chgData name="Amanda Lambert" userId="S::amandal@remi.com::65f8b1f4-b15f-407c-b397-bc240439b16d" providerId="AD" clId="Web-{BA0A0E32-D34F-7902-EC1F-38BF8EB7DE82}" dt="2022-05-13T15:38:11.817" v="9" actId="20577"/>
        <pc:sldMkLst>
          <pc:docMk/>
          <pc:sldMk cId="3655581026" sldId="1759"/>
        </pc:sldMkLst>
        <pc:spChg chg="mod">
          <ac:chgData name="Amanda Lambert" userId="S::amandal@remi.com::65f8b1f4-b15f-407c-b397-bc240439b16d" providerId="AD" clId="Web-{BA0A0E32-D34F-7902-EC1F-38BF8EB7DE82}" dt="2022-05-13T15:38:04.489" v="3" actId="20577"/>
          <ac:spMkLst>
            <pc:docMk/>
            <pc:sldMk cId="3655581026" sldId="1759"/>
            <ac:spMk id="4" creationId="{B92A55C0-12DF-48E8-B7E5-31BFDD761913}"/>
          </ac:spMkLst>
        </pc:spChg>
        <pc:spChg chg="mod">
          <ac:chgData name="Amanda Lambert" userId="S::amandal@remi.com::65f8b1f4-b15f-407c-b397-bc240439b16d" providerId="AD" clId="Web-{BA0A0E32-D34F-7902-EC1F-38BF8EB7DE82}" dt="2022-05-13T15:38:11.817" v="9" actId="20577"/>
          <ac:spMkLst>
            <pc:docMk/>
            <pc:sldMk cId="3655581026" sldId="1759"/>
            <ac:spMk id="9" creationId="{972318B3-EA50-47FE-B4A8-8A719C31EAB6}"/>
          </ac:spMkLst>
        </pc:spChg>
      </pc:sldChg>
      <pc:sldChg chg="modSp">
        <pc:chgData name="Amanda Lambert" userId="S::amandal@remi.com::65f8b1f4-b15f-407c-b397-bc240439b16d" providerId="AD" clId="Web-{BA0A0E32-D34F-7902-EC1F-38BF8EB7DE82}" dt="2022-05-13T15:40:47.477" v="73" actId="20577"/>
        <pc:sldMkLst>
          <pc:docMk/>
          <pc:sldMk cId="4286962187" sldId="1795"/>
        </pc:sldMkLst>
        <pc:spChg chg="mod">
          <ac:chgData name="Amanda Lambert" userId="S::amandal@remi.com::65f8b1f4-b15f-407c-b397-bc240439b16d" providerId="AD" clId="Web-{BA0A0E32-D34F-7902-EC1F-38BF8EB7DE82}" dt="2022-05-13T15:40:35.524" v="64" actId="20577"/>
          <ac:spMkLst>
            <pc:docMk/>
            <pc:sldMk cId="4286962187" sldId="1795"/>
            <ac:spMk id="2" creationId="{0EFDCA29-EB23-44CF-8CFA-375AE59D25E0}"/>
          </ac:spMkLst>
        </pc:spChg>
        <pc:spChg chg="mod">
          <ac:chgData name="Amanda Lambert" userId="S::amandal@remi.com::65f8b1f4-b15f-407c-b397-bc240439b16d" providerId="AD" clId="Web-{BA0A0E32-D34F-7902-EC1F-38BF8EB7DE82}" dt="2022-05-13T15:40:47.477" v="73" actId="20577"/>
          <ac:spMkLst>
            <pc:docMk/>
            <pc:sldMk cId="4286962187" sldId="1795"/>
            <ac:spMk id="5" creationId="{13FD05DB-D9C3-49F0-B219-2780FDC04281}"/>
          </ac:spMkLst>
        </pc:spChg>
        <pc:spChg chg="mod">
          <ac:chgData name="Amanda Lambert" userId="S::amandal@remi.com::65f8b1f4-b15f-407c-b397-bc240439b16d" providerId="AD" clId="Web-{BA0A0E32-D34F-7902-EC1F-38BF8EB7DE82}" dt="2022-05-13T15:40:22.789" v="59" actId="20577"/>
          <ac:spMkLst>
            <pc:docMk/>
            <pc:sldMk cId="4286962187" sldId="1795"/>
            <ac:spMk id="9" creationId="{4AF82A68-1FE8-46D4-999C-BFB7CC8B683A}"/>
          </ac:spMkLst>
        </pc:spChg>
      </pc:sldChg>
    </pc:docChg>
  </pc:docChgLst>
  <pc:docChgLst>
    <pc:chgData name="Dee Scott" userId="S::dees@remi.com::f6f0b954-d125-4e7a-a1cf-44665707f955" providerId="AD" clId="Web-{EA0BC1C6-4AFC-439E-9469-9E3413C17335}"/>
    <pc:docChg chg="modSld">
      <pc:chgData name="Dee Scott" userId="S::dees@remi.com::f6f0b954-d125-4e7a-a1cf-44665707f955" providerId="AD" clId="Web-{EA0BC1C6-4AFC-439E-9469-9E3413C17335}" dt="2021-09-02T14:17:12.257" v="9" actId="20577"/>
      <pc:docMkLst>
        <pc:docMk/>
      </pc:docMkLst>
      <pc:sldChg chg="modSp">
        <pc:chgData name="Dee Scott" userId="S::dees@remi.com::f6f0b954-d125-4e7a-a1cf-44665707f955" providerId="AD" clId="Web-{EA0BC1C6-4AFC-439E-9469-9E3413C17335}" dt="2021-09-02T14:17:12.257" v="9" actId="20577"/>
        <pc:sldMkLst>
          <pc:docMk/>
          <pc:sldMk cId="3947175949" sldId="1741"/>
        </pc:sldMkLst>
        <pc:spChg chg="mod">
          <ac:chgData name="Dee Scott" userId="S::dees@remi.com::f6f0b954-d125-4e7a-a1cf-44665707f955" providerId="AD" clId="Web-{EA0BC1C6-4AFC-439E-9469-9E3413C17335}" dt="2021-09-02T14:17:12.257" v="9" actId="20577"/>
          <ac:spMkLst>
            <pc:docMk/>
            <pc:sldMk cId="3947175949" sldId="1741"/>
            <ac:spMk id="43" creationId="{CD98F38D-D544-48E5-9AA7-2166BCD5DCBC}"/>
          </ac:spMkLst>
        </pc:spChg>
      </pc:sldChg>
    </pc:docChg>
  </pc:docChgLst>
  <pc:docChgLst>
    <pc:chgData name="Aaron Baker" userId="d002b17f-d855-4973-bb9c-c439a7ee68af" providerId="ADAL" clId="{0DF4E0D4-EC0A-4E96-9AED-F4F3759A8A49}"/>
    <pc:docChg chg="custSel addSld delSld modSld">
      <pc:chgData name="Aaron Baker" userId="d002b17f-d855-4973-bb9c-c439a7ee68af" providerId="ADAL" clId="{0DF4E0D4-EC0A-4E96-9AED-F4F3759A8A49}" dt="2021-06-30T12:44:50.440" v="421" actId="2696"/>
      <pc:docMkLst>
        <pc:docMk/>
      </pc:docMkLst>
      <pc:sldChg chg="del">
        <pc:chgData name="Aaron Baker" userId="d002b17f-d855-4973-bb9c-c439a7ee68af" providerId="ADAL" clId="{0DF4E0D4-EC0A-4E96-9AED-F4F3759A8A49}" dt="2021-06-30T12:44:50.440" v="421" actId="2696"/>
        <pc:sldMkLst>
          <pc:docMk/>
          <pc:sldMk cId="3504958314" sldId="1754"/>
        </pc:sldMkLst>
      </pc:sldChg>
      <pc:sldChg chg="del">
        <pc:chgData name="Aaron Baker" userId="d002b17f-d855-4973-bb9c-c439a7ee68af" providerId="ADAL" clId="{0DF4E0D4-EC0A-4E96-9AED-F4F3759A8A49}" dt="2021-06-29T20:57:41.036" v="0" actId="2696"/>
        <pc:sldMkLst>
          <pc:docMk/>
          <pc:sldMk cId="3138799584" sldId="1783"/>
        </pc:sldMkLst>
      </pc:sldChg>
      <pc:sldChg chg="addSp delSp modSp add">
        <pc:chgData name="Aaron Baker" userId="d002b17f-d855-4973-bb9c-c439a7ee68af" providerId="ADAL" clId="{0DF4E0D4-EC0A-4E96-9AED-F4F3759A8A49}" dt="2021-06-30T12:44:15.507" v="420" actId="1076"/>
        <pc:sldMkLst>
          <pc:docMk/>
          <pc:sldMk cId="3361905198" sldId="1785"/>
        </pc:sldMkLst>
        <pc:spChg chg="mod">
          <ac:chgData name="Aaron Baker" userId="d002b17f-d855-4973-bb9c-c439a7ee68af" providerId="ADAL" clId="{0DF4E0D4-EC0A-4E96-9AED-F4F3759A8A49}" dt="2021-06-30T12:37:39.914" v="47" actId="20577"/>
          <ac:spMkLst>
            <pc:docMk/>
            <pc:sldMk cId="3361905198" sldId="1785"/>
            <ac:spMk id="5" creationId="{48C94578-EE60-48AE-8029-B1633EC9CD2F}"/>
          </ac:spMkLst>
        </pc:spChg>
        <pc:spChg chg="mod">
          <ac:chgData name="Aaron Baker" userId="d002b17f-d855-4973-bb9c-c439a7ee68af" providerId="ADAL" clId="{0DF4E0D4-EC0A-4E96-9AED-F4F3759A8A49}" dt="2021-06-30T12:41:39.733" v="224" actId="20577"/>
          <ac:spMkLst>
            <pc:docMk/>
            <pc:sldMk cId="3361905198" sldId="1785"/>
            <ac:spMk id="8" creationId="{6A95F3B2-AA01-4E68-AD8A-843CEA4FA163}"/>
          </ac:spMkLst>
        </pc:spChg>
        <pc:spChg chg="mod">
          <ac:chgData name="Aaron Baker" userId="d002b17f-d855-4973-bb9c-c439a7ee68af" providerId="ADAL" clId="{0DF4E0D4-EC0A-4E96-9AED-F4F3759A8A49}" dt="2021-06-30T12:40:34.474" v="217" actId="14100"/>
          <ac:spMkLst>
            <pc:docMk/>
            <pc:sldMk cId="3361905198" sldId="1785"/>
            <ac:spMk id="16" creationId="{01850168-CFF4-451F-86B9-F7B58BB66CC0}"/>
          </ac:spMkLst>
        </pc:spChg>
        <pc:spChg chg="mod">
          <ac:chgData name="Aaron Baker" userId="d002b17f-d855-4973-bb9c-c439a7ee68af" providerId="ADAL" clId="{0DF4E0D4-EC0A-4E96-9AED-F4F3759A8A49}" dt="2021-06-30T12:37:28.628" v="35" actId="20577"/>
          <ac:spMkLst>
            <pc:docMk/>
            <pc:sldMk cId="3361905198" sldId="1785"/>
            <ac:spMk id="21" creationId="{447DC469-90F3-48B8-B344-29DA5F9798A5}"/>
          </ac:spMkLst>
        </pc:spChg>
        <pc:spChg chg="mod">
          <ac:chgData name="Aaron Baker" userId="d002b17f-d855-4973-bb9c-c439a7ee68af" providerId="ADAL" clId="{0DF4E0D4-EC0A-4E96-9AED-F4F3759A8A49}" dt="2021-06-30T12:42:35.098" v="412" actId="20577"/>
          <ac:spMkLst>
            <pc:docMk/>
            <pc:sldMk cId="3361905198" sldId="1785"/>
            <ac:spMk id="29" creationId="{B551BD48-BD66-4E24-B084-10A7DBD3C799}"/>
          </ac:spMkLst>
        </pc:spChg>
        <pc:picChg chg="add mod">
          <ac:chgData name="Aaron Baker" userId="d002b17f-d855-4973-bb9c-c439a7ee68af" providerId="ADAL" clId="{0DF4E0D4-EC0A-4E96-9AED-F4F3759A8A49}" dt="2021-06-30T12:44:15.507" v="420" actId="1076"/>
          <ac:picMkLst>
            <pc:docMk/>
            <pc:sldMk cId="3361905198" sldId="1785"/>
            <ac:picMk id="4" creationId="{57B9F11B-26A7-4229-8B2A-F5D208E48FFD}"/>
          </ac:picMkLst>
        </pc:picChg>
        <pc:picChg chg="add mod">
          <ac:chgData name="Aaron Baker" userId="d002b17f-d855-4973-bb9c-c439a7ee68af" providerId="ADAL" clId="{0DF4E0D4-EC0A-4E96-9AED-F4F3759A8A49}" dt="2021-06-30T12:40:17.290" v="216" actId="1076"/>
          <ac:picMkLst>
            <pc:docMk/>
            <pc:sldMk cId="3361905198" sldId="1785"/>
            <ac:picMk id="20" creationId="{C1260A0C-D886-40E3-BE23-9E541F1CC945}"/>
          </ac:picMkLst>
        </pc:picChg>
        <pc:picChg chg="del">
          <ac:chgData name="Aaron Baker" userId="d002b17f-d855-4973-bb9c-c439a7ee68af" providerId="ADAL" clId="{0DF4E0D4-EC0A-4E96-9AED-F4F3759A8A49}" dt="2021-06-30T12:40:04.338" v="211" actId="478"/>
          <ac:picMkLst>
            <pc:docMk/>
            <pc:sldMk cId="3361905198" sldId="1785"/>
            <ac:picMk id="31" creationId="{5DF3F791-EF00-4C08-A307-E2BFB229F9B1}"/>
          </ac:picMkLst>
        </pc:picChg>
        <pc:picChg chg="del">
          <ac:chgData name="Aaron Baker" userId="d002b17f-d855-4973-bb9c-c439a7ee68af" providerId="ADAL" clId="{0DF4E0D4-EC0A-4E96-9AED-F4F3759A8A49}" dt="2021-06-30T12:43:56.094" v="414" actId="478"/>
          <ac:picMkLst>
            <pc:docMk/>
            <pc:sldMk cId="3361905198" sldId="1785"/>
            <ac:picMk id="32" creationId="{5CB1618B-F21C-4407-95AF-381E4333E5EE}"/>
          </ac:picMkLst>
        </pc:picChg>
      </pc:sldChg>
    </pc:docChg>
  </pc:docChgLst>
  <pc:docChgLst>
    <pc:chgData name="Aaron Baker" userId="d002b17f-d855-4973-bb9c-c439a7ee68af" providerId="ADAL" clId="{440386D7-524A-4627-8872-C108C9E5DB36}"/>
    <pc:docChg chg="undo custSel addSld modSld modMainMaster">
      <pc:chgData name="Aaron Baker" userId="d002b17f-d855-4973-bb9c-c439a7ee68af" providerId="ADAL" clId="{440386D7-524A-4627-8872-C108C9E5DB36}" dt="2021-06-24T20:56:37.511" v="301" actId="692"/>
      <pc:docMkLst>
        <pc:docMk/>
      </pc:docMkLst>
      <pc:sldChg chg="modSp">
        <pc:chgData name="Aaron Baker" userId="d002b17f-d855-4973-bb9c-c439a7ee68af" providerId="ADAL" clId="{440386D7-524A-4627-8872-C108C9E5DB36}" dt="2021-06-24T20:56:11.428" v="298" actId="1076"/>
        <pc:sldMkLst>
          <pc:docMk/>
          <pc:sldMk cId="1370314611" sldId="1681"/>
        </pc:sldMkLst>
        <pc:spChg chg="mod">
          <ac:chgData name="Aaron Baker" userId="d002b17f-d855-4973-bb9c-c439a7ee68af" providerId="ADAL" clId="{440386D7-524A-4627-8872-C108C9E5DB36}" dt="2021-06-24T20:56:11.428" v="298" actId="1076"/>
          <ac:spMkLst>
            <pc:docMk/>
            <pc:sldMk cId="1370314611" sldId="1681"/>
            <ac:spMk id="26" creationId="{CA2A1889-4956-4CFA-BD38-6BDE55E00C99}"/>
          </ac:spMkLst>
        </pc:spChg>
      </pc:sldChg>
      <pc:sldChg chg="modSp">
        <pc:chgData name="Aaron Baker" userId="d002b17f-d855-4973-bb9c-c439a7ee68af" providerId="ADAL" clId="{440386D7-524A-4627-8872-C108C9E5DB36}" dt="2021-06-24T20:24:27.873" v="68" actId="20577"/>
        <pc:sldMkLst>
          <pc:docMk/>
          <pc:sldMk cId="500535565" sldId="1755"/>
        </pc:sldMkLst>
        <pc:spChg chg="mod">
          <ac:chgData name="Aaron Baker" userId="d002b17f-d855-4973-bb9c-c439a7ee68af" providerId="ADAL" clId="{440386D7-524A-4627-8872-C108C9E5DB36}" dt="2021-06-24T20:24:27.873" v="68" actId="20577"/>
          <ac:spMkLst>
            <pc:docMk/>
            <pc:sldMk cId="500535565" sldId="1755"/>
            <ac:spMk id="12" creationId="{E0261B38-C76F-4635-8759-ABA055E31A58}"/>
          </ac:spMkLst>
        </pc:spChg>
      </pc:sldChg>
      <pc:sldChg chg="modSp">
        <pc:chgData name="Aaron Baker" userId="d002b17f-d855-4973-bb9c-c439a7ee68af" providerId="ADAL" clId="{440386D7-524A-4627-8872-C108C9E5DB36}" dt="2021-06-24T20:31:28.826" v="77" actId="1076"/>
        <pc:sldMkLst>
          <pc:docMk/>
          <pc:sldMk cId="3655581026" sldId="1759"/>
        </pc:sldMkLst>
        <pc:spChg chg="mod">
          <ac:chgData name="Aaron Baker" userId="d002b17f-d855-4973-bb9c-c439a7ee68af" providerId="ADAL" clId="{440386D7-524A-4627-8872-C108C9E5DB36}" dt="2021-06-24T20:31:28.826" v="77" actId="1076"/>
          <ac:spMkLst>
            <pc:docMk/>
            <pc:sldMk cId="3655581026" sldId="1759"/>
            <ac:spMk id="4" creationId="{B92A55C0-12DF-48E8-B7E5-31BFDD761913}"/>
          </ac:spMkLst>
        </pc:spChg>
      </pc:sldChg>
      <pc:sldChg chg="delSp modSp">
        <pc:chgData name="Aaron Baker" userId="d002b17f-d855-4973-bb9c-c439a7ee68af" providerId="ADAL" clId="{440386D7-524A-4627-8872-C108C9E5DB36}" dt="2021-06-24T20:33:20.195" v="296" actId="20577"/>
        <pc:sldMkLst>
          <pc:docMk/>
          <pc:sldMk cId="2954732908" sldId="1777"/>
        </pc:sldMkLst>
        <pc:spChg chg="del">
          <ac:chgData name="Aaron Baker" userId="d002b17f-d855-4973-bb9c-c439a7ee68af" providerId="ADAL" clId="{440386D7-524A-4627-8872-C108C9E5DB36}" dt="2021-06-24T20:32:51.467" v="261" actId="478"/>
          <ac:spMkLst>
            <pc:docMk/>
            <pc:sldMk cId="2954732908" sldId="1777"/>
            <ac:spMk id="2" creationId="{A8995444-F973-41B3-A78A-BEFB6C252BF6}"/>
          </ac:spMkLst>
        </pc:spChg>
        <pc:spChg chg="del">
          <ac:chgData name="Aaron Baker" userId="d002b17f-d855-4973-bb9c-c439a7ee68af" providerId="ADAL" clId="{440386D7-524A-4627-8872-C108C9E5DB36}" dt="2021-06-24T20:32:51.467" v="261" actId="478"/>
          <ac:spMkLst>
            <pc:docMk/>
            <pc:sldMk cId="2954732908" sldId="1777"/>
            <ac:spMk id="3" creationId="{9385FC61-E1F6-4673-AE98-189542FC8EA3}"/>
          </ac:spMkLst>
        </pc:spChg>
        <pc:spChg chg="del">
          <ac:chgData name="Aaron Baker" userId="d002b17f-d855-4973-bb9c-c439a7ee68af" providerId="ADAL" clId="{440386D7-524A-4627-8872-C108C9E5DB36}" dt="2021-06-24T20:32:51.467" v="261" actId="478"/>
          <ac:spMkLst>
            <pc:docMk/>
            <pc:sldMk cId="2954732908" sldId="1777"/>
            <ac:spMk id="4" creationId="{05EB1500-7578-4E35-8E83-4C0569F4BFFA}"/>
          </ac:spMkLst>
        </pc:spChg>
        <pc:spChg chg="del">
          <ac:chgData name="Aaron Baker" userId="d002b17f-d855-4973-bb9c-c439a7ee68af" providerId="ADAL" clId="{440386D7-524A-4627-8872-C108C9E5DB36}" dt="2021-06-24T20:32:51.467" v="261" actId="478"/>
          <ac:spMkLst>
            <pc:docMk/>
            <pc:sldMk cId="2954732908" sldId="1777"/>
            <ac:spMk id="5" creationId="{96372881-37CD-4856-9C07-29CC62DE9ADD}"/>
          </ac:spMkLst>
        </pc:spChg>
        <pc:spChg chg="del">
          <ac:chgData name="Aaron Baker" userId="d002b17f-d855-4973-bb9c-c439a7ee68af" providerId="ADAL" clId="{440386D7-524A-4627-8872-C108C9E5DB36}" dt="2021-06-24T20:32:51.467" v="261" actId="478"/>
          <ac:spMkLst>
            <pc:docMk/>
            <pc:sldMk cId="2954732908" sldId="1777"/>
            <ac:spMk id="6" creationId="{51A0C460-8903-4562-8582-BB4CCBA5351A}"/>
          </ac:spMkLst>
        </pc:spChg>
        <pc:spChg chg="del">
          <ac:chgData name="Aaron Baker" userId="d002b17f-d855-4973-bb9c-c439a7ee68af" providerId="ADAL" clId="{440386D7-524A-4627-8872-C108C9E5DB36}" dt="2021-06-24T20:32:51.467" v="261" actId="478"/>
          <ac:spMkLst>
            <pc:docMk/>
            <pc:sldMk cId="2954732908" sldId="1777"/>
            <ac:spMk id="7" creationId="{E4F24E5F-BC60-4A2A-A20D-440DFC33DDD3}"/>
          </ac:spMkLst>
        </pc:spChg>
        <pc:spChg chg="del">
          <ac:chgData name="Aaron Baker" userId="d002b17f-d855-4973-bb9c-c439a7ee68af" providerId="ADAL" clId="{440386D7-524A-4627-8872-C108C9E5DB36}" dt="2021-06-24T20:32:51.467" v="261" actId="478"/>
          <ac:spMkLst>
            <pc:docMk/>
            <pc:sldMk cId="2954732908" sldId="1777"/>
            <ac:spMk id="8" creationId="{36D79E65-A307-440C-B265-37585B271FD4}"/>
          </ac:spMkLst>
        </pc:spChg>
        <pc:spChg chg="del">
          <ac:chgData name="Aaron Baker" userId="d002b17f-d855-4973-bb9c-c439a7ee68af" providerId="ADAL" clId="{440386D7-524A-4627-8872-C108C9E5DB36}" dt="2021-06-24T20:32:51.467" v="261" actId="478"/>
          <ac:spMkLst>
            <pc:docMk/>
            <pc:sldMk cId="2954732908" sldId="1777"/>
            <ac:spMk id="9" creationId="{B58C1420-689D-45A0-B44A-8D5469E8AECF}"/>
          </ac:spMkLst>
        </pc:spChg>
        <pc:spChg chg="del">
          <ac:chgData name="Aaron Baker" userId="d002b17f-d855-4973-bb9c-c439a7ee68af" providerId="ADAL" clId="{440386D7-524A-4627-8872-C108C9E5DB36}" dt="2021-06-24T20:32:51.467" v="261" actId="478"/>
          <ac:spMkLst>
            <pc:docMk/>
            <pc:sldMk cId="2954732908" sldId="1777"/>
            <ac:spMk id="10" creationId="{460FCBD5-FDCA-4F22-BD04-6708B80E15FF}"/>
          </ac:spMkLst>
        </pc:spChg>
        <pc:spChg chg="del">
          <ac:chgData name="Aaron Baker" userId="d002b17f-d855-4973-bb9c-c439a7ee68af" providerId="ADAL" clId="{440386D7-524A-4627-8872-C108C9E5DB36}" dt="2021-06-24T20:32:51.467" v="261" actId="478"/>
          <ac:spMkLst>
            <pc:docMk/>
            <pc:sldMk cId="2954732908" sldId="1777"/>
            <ac:spMk id="11" creationId="{5519A2F4-18AC-4098-9B61-5129558B367C}"/>
          </ac:spMkLst>
        </pc:spChg>
        <pc:spChg chg="del">
          <ac:chgData name="Aaron Baker" userId="d002b17f-d855-4973-bb9c-c439a7ee68af" providerId="ADAL" clId="{440386D7-524A-4627-8872-C108C9E5DB36}" dt="2021-06-24T20:32:51.467" v="261" actId="478"/>
          <ac:spMkLst>
            <pc:docMk/>
            <pc:sldMk cId="2954732908" sldId="1777"/>
            <ac:spMk id="12" creationId="{625A790D-5D37-44AF-ACCE-C9E44DF42EDE}"/>
          </ac:spMkLst>
        </pc:spChg>
        <pc:spChg chg="del">
          <ac:chgData name="Aaron Baker" userId="d002b17f-d855-4973-bb9c-c439a7ee68af" providerId="ADAL" clId="{440386D7-524A-4627-8872-C108C9E5DB36}" dt="2021-06-24T20:32:51.467" v="261" actId="478"/>
          <ac:spMkLst>
            <pc:docMk/>
            <pc:sldMk cId="2954732908" sldId="1777"/>
            <ac:spMk id="13" creationId="{5A645D35-5AA3-421D-B7F5-9783E2BEEEA9}"/>
          </ac:spMkLst>
        </pc:spChg>
        <pc:spChg chg="del">
          <ac:chgData name="Aaron Baker" userId="d002b17f-d855-4973-bb9c-c439a7ee68af" providerId="ADAL" clId="{440386D7-524A-4627-8872-C108C9E5DB36}" dt="2021-06-24T20:32:51.467" v="261" actId="478"/>
          <ac:spMkLst>
            <pc:docMk/>
            <pc:sldMk cId="2954732908" sldId="1777"/>
            <ac:spMk id="14" creationId="{545DEA70-2386-4AAC-A335-3BBFF4314EBB}"/>
          </ac:spMkLst>
        </pc:spChg>
        <pc:spChg chg="del">
          <ac:chgData name="Aaron Baker" userId="d002b17f-d855-4973-bb9c-c439a7ee68af" providerId="ADAL" clId="{440386D7-524A-4627-8872-C108C9E5DB36}" dt="2021-06-24T20:32:51.467" v="261" actId="478"/>
          <ac:spMkLst>
            <pc:docMk/>
            <pc:sldMk cId="2954732908" sldId="1777"/>
            <ac:spMk id="15" creationId="{7E4DC625-BAFD-4D4F-8FF5-D0B275F35289}"/>
          </ac:spMkLst>
        </pc:spChg>
        <pc:spChg chg="mod">
          <ac:chgData name="Aaron Baker" userId="d002b17f-d855-4973-bb9c-c439a7ee68af" providerId="ADAL" clId="{440386D7-524A-4627-8872-C108C9E5DB36}" dt="2021-06-24T20:33:20.195" v="296" actId="20577"/>
          <ac:spMkLst>
            <pc:docMk/>
            <pc:sldMk cId="2954732908" sldId="1777"/>
            <ac:spMk id="16" creationId="{7ED3DF17-AB2A-4FDE-A28D-66C77168BE9A}"/>
          </ac:spMkLst>
        </pc:spChg>
        <pc:spChg chg="mod">
          <ac:chgData name="Aaron Baker" userId="d002b17f-d855-4973-bb9c-c439a7ee68af" providerId="ADAL" clId="{440386D7-524A-4627-8872-C108C9E5DB36}" dt="2021-06-24T20:32:01.602" v="119" actId="20577"/>
          <ac:spMkLst>
            <pc:docMk/>
            <pc:sldMk cId="2954732908" sldId="1777"/>
            <ac:spMk id="17" creationId="{31823911-5270-4E41-BEE0-0F5CD6180E2E}"/>
          </ac:spMkLst>
        </pc:spChg>
      </pc:sldChg>
      <pc:sldChg chg="add">
        <pc:chgData name="Aaron Baker" userId="d002b17f-d855-4973-bb9c-c439a7ee68af" providerId="ADAL" clId="{440386D7-524A-4627-8872-C108C9E5DB36}" dt="2021-06-24T20:31:52.765" v="78"/>
        <pc:sldMkLst>
          <pc:docMk/>
          <pc:sldMk cId="2209526021" sldId="1781"/>
        </pc:sldMkLst>
      </pc:sldChg>
      <pc:sldMasterChg chg="modSldLayout">
        <pc:chgData name="Aaron Baker" userId="d002b17f-d855-4973-bb9c-c439a7ee68af" providerId="ADAL" clId="{440386D7-524A-4627-8872-C108C9E5DB36}" dt="2021-06-24T20:56:37.511" v="301" actId="692"/>
        <pc:sldMasterMkLst>
          <pc:docMk/>
          <pc:sldMasterMk cId="2625966092" sldId="2147483690"/>
        </pc:sldMasterMkLst>
        <pc:sldLayoutChg chg="modSp">
          <pc:chgData name="Aaron Baker" userId="d002b17f-d855-4973-bb9c-c439a7ee68af" providerId="ADAL" clId="{440386D7-524A-4627-8872-C108C9E5DB36}" dt="2021-06-24T20:56:37.511" v="301" actId="692"/>
          <pc:sldLayoutMkLst>
            <pc:docMk/>
            <pc:sldMasterMk cId="2625966092" sldId="2147483690"/>
            <pc:sldLayoutMk cId="2550593417" sldId="2147483694"/>
          </pc:sldLayoutMkLst>
          <pc:picChg chg="mod">
            <ac:chgData name="Aaron Baker" userId="d002b17f-d855-4973-bb9c-c439a7ee68af" providerId="ADAL" clId="{440386D7-524A-4627-8872-C108C9E5DB36}" dt="2021-06-24T20:25:51.101" v="70" actId="1076"/>
            <ac:picMkLst>
              <pc:docMk/>
              <pc:sldMasterMk cId="2625966092" sldId="2147483690"/>
              <pc:sldLayoutMk cId="2550593417" sldId="2147483694"/>
              <ac:picMk id="8" creationId="{56D9AD62-5692-48D5-995C-F92F41003B00}"/>
            </ac:picMkLst>
          </pc:picChg>
          <pc:cxnChg chg="mod">
            <ac:chgData name="Aaron Baker" userId="d002b17f-d855-4973-bb9c-c439a7ee68af" providerId="ADAL" clId="{440386D7-524A-4627-8872-C108C9E5DB36}" dt="2021-06-24T20:56:37.511" v="301" actId="692"/>
            <ac:cxnSpMkLst>
              <pc:docMk/>
              <pc:sldMasterMk cId="2625966092" sldId="2147483690"/>
              <pc:sldLayoutMk cId="2550593417" sldId="2147483694"/>
              <ac:cxnSpMk id="5" creationId="{5427948A-3F5C-4E6A-AFA5-AB1EFE5B4E12}"/>
            </ac:cxnSpMkLst>
          </pc:cxnChg>
        </pc:sldLayoutChg>
        <pc:sldLayoutChg chg="addSp delSp">
          <pc:chgData name="Aaron Baker" userId="d002b17f-d855-4973-bb9c-c439a7ee68af" providerId="ADAL" clId="{440386D7-524A-4627-8872-C108C9E5DB36}" dt="2021-06-24T20:26:01.041" v="72"/>
          <pc:sldLayoutMkLst>
            <pc:docMk/>
            <pc:sldMasterMk cId="2625966092" sldId="2147483690"/>
            <pc:sldLayoutMk cId="2182607330" sldId="2147483717"/>
          </pc:sldLayoutMkLst>
          <pc:picChg chg="del">
            <ac:chgData name="Aaron Baker" userId="d002b17f-d855-4973-bb9c-c439a7ee68af" providerId="ADAL" clId="{440386D7-524A-4627-8872-C108C9E5DB36}" dt="2021-06-24T20:26:00.656" v="71" actId="478"/>
            <ac:picMkLst>
              <pc:docMk/>
              <pc:sldMasterMk cId="2625966092" sldId="2147483690"/>
              <pc:sldLayoutMk cId="2182607330" sldId="2147483717"/>
              <ac:picMk id="4" creationId="{5B6A089A-BA5D-4415-A894-73DE50C68F99}"/>
            </ac:picMkLst>
          </pc:picChg>
          <pc:picChg chg="add">
            <ac:chgData name="Aaron Baker" userId="d002b17f-d855-4973-bb9c-c439a7ee68af" providerId="ADAL" clId="{440386D7-524A-4627-8872-C108C9E5DB36}" dt="2021-06-24T20:26:01.041" v="72"/>
            <ac:picMkLst>
              <pc:docMk/>
              <pc:sldMasterMk cId="2625966092" sldId="2147483690"/>
              <pc:sldLayoutMk cId="2182607330" sldId="2147483717"/>
              <ac:picMk id="5" creationId="{C5E710F0-7B04-407D-84AF-7FD7623A6B8E}"/>
            </ac:picMkLst>
          </pc:picChg>
        </pc:sldLayoutChg>
        <pc:sldLayoutChg chg="addSp delSp">
          <pc:chgData name="Aaron Baker" userId="d002b17f-d855-4973-bb9c-c439a7ee68af" providerId="ADAL" clId="{440386D7-524A-4627-8872-C108C9E5DB36}" dt="2021-06-24T20:26:26.488" v="75"/>
          <pc:sldLayoutMkLst>
            <pc:docMk/>
            <pc:sldMasterMk cId="2625966092" sldId="2147483690"/>
            <pc:sldLayoutMk cId="3475644600" sldId="2147483719"/>
          </pc:sldLayoutMkLst>
          <pc:picChg chg="del">
            <ac:chgData name="Aaron Baker" userId="d002b17f-d855-4973-bb9c-c439a7ee68af" providerId="ADAL" clId="{440386D7-524A-4627-8872-C108C9E5DB36}" dt="2021-06-24T20:26:26.182" v="74" actId="478"/>
            <ac:picMkLst>
              <pc:docMk/>
              <pc:sldMasterMk cId="2625966092" sldId="2147483690"/>
              <pc:sldLayoutMk cId="3475644600" sldId="2147483719"/>
              <ac:picMk id="5" creationId="{FF1D4050-FA51-4484-B45D-CFD3577C6099}"/>
            </ac:picMkLst>
          </pc:picChg>
          <pc:picChg chg="add">
            <ac:chgData name="Aaron Baker" userId="d002b17f-d855-4973-bb9c-c439a7ee68af" providerId="ADAL" clId="{440386D7-524A-4627-8872-C108C9E5DB36}" dt="2021-06-24T20:26:26.488" v="75"/>
            <ac:picMkLst>
              <pc:docMk/>
              <pc:sldMasterMk cId="2625966092" sldId="2147483690"/>
              <pc:sldLayoutMk cId="3475644600" sldId="2147483719"/>
              <ac:picMk id="6" creationId="{65F6E81B-9424-4E36-922D-8441DCCCDE5C}"/>
            </ac:picMkLst>
          </pc:picChg>
        </pc:sldLayoutChg>
        <pc:sldLayoutChg chg="addSp">
          <pc:chgData name="Aaron Baker" userId="d002b17f-d855-4973-bb9c-c439a7ee68af" providerId="ADAL" clId="{440386D7-524A-4627-8872-C108C9E5DB36}" dt="2021-06-24T20:26:12.498" v="73"/>
          <pc:sldLayoutMkLst>
            <pc:docMk/>
            <pc:sldMasterMk cId="2625966092" sldId="2147483690"/>
            <pc:sldLayoutMk cId="424493555" sldId="2147483720"/>
          </pc:sldLayoutMkLst>
          <pc:cxnChg chg="add">
            <ac:chgData name="Aaron Baker" userId="d002b17f-d855-4973-bb9c-c439a7ee68af" providerId="ADAL" clId="{440386D7-524A-4627-8872-C108C9E5DB36}" dt="2021-06-24T20:26:12.498" v="73"/>
            <ac:cxnSpMkLst>
              <pc:docMk/>
              <pc:sldMasterMk cId="2625966092" sldId="2147483690"/>
              <pc:sldLayoutMk cId="424493555" sldId="2147483720"/>
              <ac:cxnSpMk id="6" creationId="{52F7A228-F6E4-4955-8241-23AA6CBFE32F}"/>
            </ac:cxnSpMkLst>
          </pc:cxnChg>
        </pc:sldLayoutChg>
      </pc:sldMasterChg>
    </pc:docChg>
  </pc:docChgLst>
  <pc:docChgLst>
    <pc:chgData name="Amanda Lambert" userId="S::amandal@remi.com::65f8b1f4-b15f-407c-b397-bc240439b16d" providerId="AD" clId="Web-{36D4C06F-CB4F-B4EA-DE11-057B60C8889C}"/>
    <pc:docChg chg="delSld modSld sldOrd">
      <pc:chgData name="Amanda Lambert" userId="S::amandal@remi.com::65f8b1f4-b15f-407c-b397-bc240439b16d" providerId="AD" clId="Web-{36D4C06F-CB4F-B4EA-DE11-057B60C8889C}" dt="2022-04-26T17:58:38.489" v="629" actId="20577"/>
      <pc:docMkLst>
        <pc:docMk/>
      </pc:docMkLst>
      <pc:sldChg chg="ord">
        <pc:chgData name="Amanda Lambert" userId="S::amandal@remi.com::65f8b1f4-b15f-407c-b397-bc240439b16d" providerId="AD" clId="Web-{36D4C06F-CB4F-B4EA-DE11-057B60C8889C}" dt="2022-04-26T16:41:36.859" v="102"/>
        <pc:sldMkLst>
          <pc:docMk/>
          <pc:sldMk cId="0" sldId="276"/>
        </pc:sldMkLst>
      </pc:sldChg>
      <pc:sldChg chg="modSp">
        <pc:chgData name="Amanda Lambert" userId="S::amandal@remi.com::65f8b1f4-b15f-407c-b397-bc240439b16d" providerId="AD" clId="Web-{36D4C06F-CB4F-B4EA-DE11-057B60C8889C}" dt="2022-04-26T17:10:11.945" v="394" actId="20577"/>
        <pc:sldMkLst>
          <pc:docMk/>
          <pc:sldMk cId="827155553" sldId="1606"/>
        </pc:sldMkLst>
        <pc:spChg chg="mod">
          <ac:chgData name="Amanda Lambert" userId="S::amandal@remi.com::65f8b1f4-b15f-407c-b397-bc240439b16d" providerId="AD" clId="Web-{36D4C06F-CB4F-B4EA-DE11-057B60C8889C}" dt="2022-04-26T17:10:11.945" v="394" actId="20577"/>
          <ac:spMkLst>
            <pc:docMk/>
            <pc:sldMk cId="827155553" sldId="1606"/>
            <ac:spMk id="12" creationId="{9805AA5D-E1ED-4B26-97FA-778A03103E2C}"/>
          </ac:spMkLst>
        </pc:spChg>
        <pc:spChg chg="mod">
          <ac:chgData name="Amanda Lambert" userId="S::amandal@remi.com::65f8b1f4-b15f-407c-b397-bc240439b16d" providerId="AD" clId="Web-{36D4C06F-CB4F-B4EA-DE11-057B60C8889C}" dt="2022-04-26T16:55:03.994" v="205" actId="20577"/>
          <ac:spMkLst>
            <pc:docMk/>
            <pc:sldMk cId="827155553" sldId="1606"/>
            <ac:spMk id="17" creationId="{3E11C882-C769-45EF-B500-D8905EF21869}"/>
          </ac:spMkLst>
        </pc:spChg>
      </pc:sldChg>
      <pc:sldChg chg="modSp">
        <pc:chgData name="Amanda Lambert" userId="S::amandal@remi.com::65f8b1f4-b15f-407c-b397-bc240439b16d" providerId="AD" clId="Web-{36D4C06F-CB4F-B4EA-DE11-057B60C8889C}" dt="2022-04-26T17:30:18.498" v="560" actId="20577"/>
        <pc:sldMkLst>
          <pc:docMk/>
          <pc:sldMk cId="3691047474" sldId="1730"/>
        </pc:sldMkLst>
        <pc:spChg chg="mod">
          <ac:chgData name="Amanda Lambert" userId="S::amandal@remi.com::65f8b1f4-b15f-407c-b397-bc240439b16d" providerId="AD" clId="Web-{36D4C06F-CB4F-B4EA-DE11-057B60C8889C}" dt="2022-04-26T17:30:06.232" v="558"/>
          <ac:spMkLst>
            <pc:docMk/>
            <pc:sldMk cId="3691047474" sldId="1730"/>
            <ac:spMk id="4" creationId="{F36E724F-3E46-4340-8ED2-CDBAC2C41CB1}"/>
          </ac:spMkLst>
        </pc:spChg>
        <pc:spChg chg="mod">
          <ac:chgData name="Amanda Lambert" userId="S::amandal@remi.com::65f8b1f4-b15f-407c-b397-bc240439b16d" providerId="AD" clId="Web-{36D4C06F-CB4F-B4EA-DE11-057B60C8889C}" dt="2022-04-26T17:30:18.498" v="560" actId="20577"/>
          <ac:spMkLst>
            <pc:docMk/>
            <pc:sldMk cId="3691047474" sldId="1730"/>
            <ac:spMk id="7" creationId="{E608611A-508E-4925-B8D8-09DA03F0FEA8}"/>
          </ac:spMkLst>
        </pc:spChg>
      </pc:sldChg>
      <pc:sldChg chg="modSp">
        <pc:chgData name="Amanda Lambert" userId="S::amandal@remi.com::65f8b1f4-b15f-407c-b397-bc240439b16d" providerId="AD" clId="Web-{36D4C06F-CB4F-B4EA-DE11-057B60C8889C}" dt="2022-04-26T16:59:42.456" v="234"/>
        <pc:sldMkLst>
          <pc:docMk/>
          <pc:sldMk cId="2942803301" sldId="1731"/>
        </pc:sldMkLst>
        <pc:spChg chg="mod">
          <ac:chgData name="Amanda Lambert" userId="S::amandal@remi.com::65f8b1f4-b15f-407c-b397-bc240439b16d" providerId="AD" clId="Web-{36D4C06F-CB4F-B4EA-DE11-057B60C8889C}" dt="2022-04-26T16:59:42.456" v="234"/>
          <ac:spMkLst>
            <pc:docMk/>
            <pc:sldMk cId="2942803301" sldId="1731"/>
            <ac:spMk id="19" creationId="{16E5DDE6-FD6D-41D1-8A4E-D02F0FF4F673}"/>
          </ac:spMkLst>
        </pc:spChg>
      </pc:sldChg>
      <pc:sldChg chg="ord">
        <pc:chgData name="Amanda Lambert" userId="S::amandal@remi.com::65f8b1f4-b15f-407c-b397-bc240439b16d" providerId="AD" clId="Web-{36D4C06F-CB4F-B4EA-DE11-057B60C8889C}" dt="2022-04-26T16:49:20.046" v="148"/>
        <pc:sldMkLst>
          <pc:docMk/>
          <pc:sldMk cId="1737056815" sldId="1738"/>
        </pc:sldMkLst>
      </pc:sldChg>
      <pc:sldChg chg="modSp ord">
        <pc:chgData name="Amanda Lambert" userId="S::amandal@remi.com::65f8b1f4-b15f-407c-b397-bc240439b16d" providerId="AD" clId="Web-{36D4C06F-CB4F-B4EA-DE11-057B60C8889C}" dt="2022-04-26T17:29:50.248" v="554" actId="20577"/>
        <pc:sldMkLst>
          <pc:docMk/>
          <pc:sldMk cId="2702560065" sldId="1740"/>
        </pc:sldMkLst>
        <pc:spChg chg="mod">
          <ac:chgData name="Amanda Lambert" userId="S::amandal@remi.com::65f8b1f4-b15f-407c-b397-bc240439b16d" providerId="AD" clId="Web-{36D4C06F-CB4F-B4EA-DE11-057B60C8889C}" dt="2022-04-26T17:28:32.948" v="538" actId="20577"/>
          <ac:spMkLst>
            <pc:docMk/>
            <pc:sldMk cId="2702560065" sldId="1740"/>
            <ac:spMk id="5" creationId="{A9C3AAA7-BFF2-42F1-BCD0-E995BC0EAD92}"/>
          </ac:spMkLst>
        </pc:spChg>
        <pc:spChg chg="mod">
          <ac:chgData name="Amanda Lambert" userId="S::amandal@remi.com::65f8b1f4-b15f-407c-b397-bc240439b16d" providerId="AD" clId="Web-{36D4C06F-CB4F-B4EA-DE11-057B60C8889C}" dt="2022-04-26T17:29:50.248" v="554" actId="20577"/>
          <ac:spMkLst>
            <pc:docMk/>
            <pc:sldMk cId="2702560065" sldId="1740"/>
            <ac:spMk id="14" creationId="{BEE15A1B-2193-4E8A-BE3A-1EB870F612B7}"/>
          </ac:spMkLst>
        </pc:spChg>
      </pc:sldChg>
      <pc:sldChg chg="addSp delSp modSp">
        <pc:chgData name="Amanda Lambert" userId="S::amandal@remi.com::65f8b1f4-b15f-407c-b397-bc240439b16d" providerId="AD" clId="Web-{36D4C06F-CB4F-B4EA-DE11-057B60C8889C}" dt="2022-04-26T17:43:31.289" v="609" actId="20577"/>
        <pc:sldMkLst>
          <pc:docMk/>
          <pc:sldMk cId="3947175949" sldId="1741"/>
        </pc:sldMkLst>
        <pc:spChg chg="add mod">
          <ac:chgData name="Amanda Lambert" userId="S::amandal@remi.com::65f8b1f4-b15f-407c-b397-bc240439b16d" providerId="AD" clId="Web-{36D4C06F-CB4F-B4EA-DE11-057B60C8889C}" dt="2022-04-26T16:58:43.751" v="221"/>
          <ac:spMkLst>
            <pc:docMk/>
            <pc:sldMk cId="3947175949" sldId="1741"/>
            <ac:spMk id="2" creationId="{8FA1B7E0-D45F-FF72-B822-EAB98B529EC0}"/>
          </ac:spMkLst>
        </pc:spChg>
        <pc:spChg chg="add del mod">
          <ac:chgData name="Amanda Lambert" userId="S::amandal@remi.com::65f8b1f4-b15f-407c-b397-bc240439b16d" providerId="AD" clId="Web-{36D4C06F-CB4F-B4EA-DE11-057B60C8889C}" dt="2022-04-26T16:50:45.783" v="160"/>
          <ac:spMkLst>
            <pc:docMk/>
            <pc:sldMk cId="3947175949" sldId="1741"/>
            <ac:spMk id="3" creationId="{52B53197-4559-A013-CD1E-C0F991F3239C}"/>
          </ac:spMkLst>
        </pc:spChg>
        <pc:spChg chg="del">
          <ac:chgData name="Amanda Lambert" userId="S::amandal@remi.com::65f8b1f4-b15f-407c-b397-bc240439b16d" providerId="AD" clId="Web-{36D4C06F-CB4F-B4EA-DE11-057B60C8889C}" dt="2022-04-26T16:50:26.626" v="155"/>
          <ac:spMkLst>
            <pc:docMk/>
            <pc:sldMk cId="3947175949" sldId="1741"/>
            <ac:spMk id="33" creationId="{EA680D70-E9BF-4D44-86E1-0871D2DCF33F}"/>
          </ac:spMkLst>
        </pc:spChg>
        <pc:spChg chg="mod">
          <ac:chgData name="Amanda Lambert" userId="S::amandal@remi.com::65f8b1f4-b15f-407c-b397-bc240439b16d" providerId="AD" clId="Web-{36D4C06F-CB4F-B4EA-DE11-057B60C8889C}" dt="2022-04-26T17:15:33.205" v="444" actId="1076"/>
          <ac:spMkLst>
            <pc:docMk/>
            <pc:sldMk cId="3947175949" sldId="1741"/>
            <ac:spMk id="34" creationId="{7D441915-BA5A-4093-BF74-C6BA5BC434F4}"/>
          </ac:spMkLst>
        </pc:spChg>
        <pc:spChg chg="mod">
          <ac:chgData name="Amanda Lambert" userId="S::amandal@remi.com::65f8b1f4-b15f-407c-b397-bc240439b16d" providerId="AD" clId="Web-{36D4C06F-CB4F-B4EA-DE11-057B60C8889C}" dt="2022-04-26T17:15:28.017" v="442" actId="1076"/>
          <ac:spMkLst>
            <pc:docMk/>
            <pc:sldMk cId="3947175949" sldId="1741"/>
            <ac:spMk id="35" creationId="{5E4FF452-52E5-4092-A13D-779C3FF58D15}"/>
          </ac:spMkLst>
        </pc:spChg>
        <pc:spChg chg="mod">
          <ac:chgData name="Amanda Lambert" userId="S::amandal@remi.com::65f8b1f4-b15f-407c-b397-bc240439b16d" providerId="AD" clId="Web-{36D4C06F-CB4F-B4EA-DE11-057B60C8889C}" dt="2022-04-26T17:15:21.205" v="440" actId="1076"/>
          <ac:spMkLst>
            <pc:docMk/>
            <pc:sldMk cId="3947175949" sldId="1741"/>
            <ac:spMk id="36" creationId="{DFCBD6C0-A885-49DB-9352-3DF5FAEAF766}"/>
          </ac:spMkLst>
        </pc:spChg>
        <pc:spChg chg="mod">
          <ac:chgData name="Amanda Lambert" userId="S::amandal@remi.com::65f8b1f4-b15f-407c-b397-bc240439b16d" providerId="AD" clId="Web-{36D4C06F-CB4F-B4EA-DE11-057B60C8889C}" dt="2022-04-26T17:15:16.955" v="438" actId="1076"/>
          <ac:spMkLst>
            <pc:docMk/>
            <pc:sldMk cId="3947175949" sldId="1741"/>
            <ac:spMk id="38" creationId="{74F37F67-82F4-4C79-B6C7-3D50767BDC0D}"/>
          </ac:spMkLst>
        </pc:spChg>
        <pc:spChg chg="mod">
          <ac:chgData name="Amanda Lambert" userId="S::amandal@remi.com::65f8b1f4-b15f-407c-b397-bc240439b16d" providerId="AD" clId="Web-{36D4C06F-CB4F-B4EA-DE11-057B60C8889C}" dt="2022-04-26T17:16:34.223" v="461" actId="1076"/>
          <ac:spMkLst>
            <pc:docMk/>
            <pc:sldMk cId="3947175949" sldId="1741"/>
            <ac:spMk id="41" creationId="{F14534C0-E389-4D7B-B400-2213F3524980}"/>
          </ac:spMkLst>
        </pc:spChg>
        <pc:spChg chg="mod">
          <ac:chgData name="Amanda Lambert" userId="S::amandal@remi.com::65f8b1f4-b15f-407c-b397-bc240439b16d" providerId="AD" clId="Web-{36D4C06F-CB4F-B4EA-DE11-057B60C8889C}" dt="2022-04-26T17:16:25.035" v="458" actId="1076"/>
          <ac:spMkLst>
            <pc:docMk/>
            <pc:sldMk cId="3947175949" sldId="1741"/>
            <ac:spMk id="42" creationId="{FEF70403-D928-4038-9705-087572C0E23F}"/>
          </ac:spMkLst>
        </pc:spChg>
        <pc:spChg chg="mod">
          <ac:chgData name="Amanda Lambert" userId="S::amandal@remi.com::65f8b1f4-b15f-407c-b397-bc240439b16d" providerId="AD" clId="Web-{36D4C06F-CB4F-B4EA-DE11-057B60C8889C}" dt="2022-04-26T17:16:30.613" v="460" actId="1076"/>
          <ac:spMkLst>
            <pc:docMk/>
            <pc:sldMk cId="3947175949" sldId="1741"/>
            <ac:spMk id="43" creationId="{CD98F38D-D544-48E5-9AA7-2166BCD5DCBC}"/>
          </ac:spMkLst>
        </pc:spChg>
        <pc:spChg chg="mod">
          <ac:chgData name="Amanda Lambert" userId="S::amandal@remi.com::65f8b1f4-b15f-407c-b397-bc240439b16d" providerId="AD" clId="Web-{36D4C06F-CB4F-B4EA-DE11-057B60C8889C}" dt="2022-04-26T17:16:27.097" v="459" actId="1076"/>
          <ac:spMkLst>
            <pc:docMk/>
            <pc:sldMk cId="3947175949" sldId="1741"/>
            <ac:spMk id="44" creationId="{6098C9B1-185B-4721-99B5-14F0410A1264}"/>
          </ac:spMkLst>
        </pc:spChg>
        <pc:spChg chg="mod">
          <ac:chgData name="Amanda Lambert" userId="S::amandal@remi.com::65f8b1f4-b15f-407c-b397-bc240439b16d" providerId="AD" clId="Web-{36D4C06F-CB4F-B4EA-DE11-057B60C8889C}" dt="2022-04-26T17:25:21.114" v="526" actId="20577"/>
          <ac:spMkLst>
            <pc:docMk/>
            <pc:sldMk cId="3947175949" sldId="1741"/>
            <ac:spMk id="45" creationId="{4FA0CFE4-A01C-4839-BA63-6BC59085E1B8}"/>
          </ac:spMkLst>
        </pc:spChg>
        <pc:spChg chg="mod">
          <ac:chgData name="Amanda Lambert" userId="S::amandal@remi.com::65f8b1f4-b15f-407c-b397-bc240439b16d" providerId="AD" clId="Web-{36D4C06F-CB4F-B4EA-DE11-057B60C8889C}" dt="2022-04-26T17:43:31.289" v="609" actId="20577"/>
          <ac:spMkLst>
            <pc:docMk/>
            <pc:sldMk cId="3947175949" sldId="1741"/>
            <ac:spMk id="46" creationId="{91BA52E9-05A9-411E-9F64-20FE9B3551F2}"/>
          </ac:spMkLst>
        </pc:spChg>
        <pc:spChg chg="mod">
          <ac:chgData name="Amanda Lambert" userId="S::amandal@remi.com::65f8b1f4-b15f-407c-b397-bc240439b16d" providerId="AD" clId="Web-{36D4C06F-CB4F-B4EA-DE11-057B60C8889C}" dt="2022-04-26T17:25:25.692" v="529" actId="20577"/>
          <ac:spMkLst>
            <pc:docMk/>
            <pc:sldMk cId="3947175949" sldId="1741"/>
            <ac:spMk id="47" creationId="{7D65EBE0-74D4-4F0C-BDB7-E099883FDA8B}"/>
          </ac:spMkLst>
        </pc:spChg>
        <pc:spChg chg="mod">
          <ac:chgData name="Amanda Lambert" userId="S::amandal@remi.com::65f8b1f4-b15f-407c-b397-bc240439b16d" providerId="AD" clId="Web-{36D4C06F-CB4F-B4EA-DE11-057B60C8889C}" dt="2022-04-26T17:25:23.020" v="528" actId="20577"/>
          <ac:spMkLst>
            <pc:docMk/>
            <pc:sldMk cId="3947175949" sldId="1741"/>
            <ac:spMk id="48" creationId="{DB250AFE-B6EE-4E7E-8E2D-1B507CE717FD}"/>
          </ac:spMkLst>
        </pc:spChg>
        <pc:picChg chg="mod">
          <ac:chgData name="Amanda Lambert" userId="S::amandal@remi.com::65f8b1f4-b15f-407c-b397-bc240439b16d" providerId="AD" clId="Web-{36D4C06F-CB4F-B4EA-DE11-057B60C8889C}" dt="2022-04-26T17:15:31.049" v="443" actId="1076"/>
          <ac:picMkLst>
            <pc:docMk/>
            <pc:sldMk cId="3947175949" sldId="1741"/>
            <ac:picMk id="37" creationId="{539A43A1-0BC0-4CD7-A695-AF0AEF3560E8}"/>
          </ac:picMkLst>
        </pc:picChg>
        <pc:picChg chg="mod">
          <ac:chgData name="Amanda Lambert" userId="S::amandal@remi.com::65f8b1f4-b15f-407c-b397-bc240439b16d" providerId="AD" clId="Web-{36D4C06F-CB4F-B4EA-DE11-057B60C8889C}" dt="2022-04-26T17:15:35.393" v="445" actId="1076"/>
          <ac:picMkLst>
            <pc:docMk/>
            <pc:sldMk cId="3947175949" sldId="1741"/>
            <ac:picMk id="39" creationId="{6160C340-74FF-4676-ABF5-F3A86B763C1F}"/>
          </ac:picMkLst>
        </pc:picChg>
        <pc:picChg chg="mod">
          <ac:chgData name="Amanda Lambert" userId="S::amandal@remi.com::65f8b1f4-b15f-407c-b397-bc240439b16d" providerId="AD" clId="Web-{36D4C06F-CB4F-B4EA-DE11-057B60C8889C}" dt="2022-04-26T17:15:18.642" v="439" actId="1076"/>
          <ac:picMkLst>
            <pc:docMk/>
            <pc:sldMk cId="3947175949" sldId="1741"/>
            <ac:picMk id="40" creationId="{6108FD8F-E130-43B5-B44F-D6EE3E94C727}"/>
          </ac:picMkLst>
        </pc:picChg>
        <pc:picChg chg="mod">
          <ac:chgData name="Amanda Lambert" userId="S::amandal@remi.com::65f8b1f4-b15f-407c-b397-bc240439b16d" providerId="AD" clId="Web-{36D4C06F-CB4F-B4EA-DE11-057B60C8889C}" dt="2022-04-26T17:15:22.908" v="441" actId="1076"/>
          <ac:picMkLst>
            <pc:docMk/>
            <pc:sldMk cId="3947175949" sldId="1741"/>
            <ac:picMk id="50" creationId="{1C0D7112-389F-438E-9B41-2AB720F54E1B}"/>
          </ac:picMkLst>
        </pc:picChg>
      </pc:sldChg>
      <pc:sldChg chg="modSp">
        <pc:chgData name="Amanda Lambert" userId="S::amandal@remi.com::65f8b1f4-b15f-407c-b397-bc240439b16d" providerId="AD" clId="Web-{36D4C06F-CB4F-B4EA-DE11-057B60C8889C}" dt="2022-04-26T17:58:38.489" v="629" actId="20577"/>
        <pc:sldMkLst>
          <pc:docMk/>
          <pc:sldMk cId="3655581026" sldId="1759"/>
        </pc:sldMkLst>
        <pc:spChg chg="mod">
          <ac:chgData name="Amanda Lambert" userId="S::amandal@remi.com::65f8b1f4-b15f-407c-b397-bc240439b16d" providerId="AD" clId="Web-{36D4C06F-CB4F-B4EA-DE11-057B60C8889C}" dt="2022-04-26T17:58:38.489" v="629" actId="20577"/>
          <ac:spMkLst>
            <pc:docMk/>
            <pc:sldMk cId="3655581026" sldId="1759"/>
            <ac:spMk id="9" creationId="{972318B3-EA50-47FE-B4A8-8A719C31EAB6}"/>
          </ac:spMkLst>
        </pc:spChg>
      </pc:sldChg>
      <pc:sldChg chg="addSp delSp modSp ord">
        <pc:chgData name="Amanda Lambert" userId="S::amandal@remi.com::65f8b1f4-b15f-407c-b397-bc240439b16d" providerId="AD" clId="Web-{36D4C06F-CB4F-B4EA-DE11-057B60C8889C}" dt="2022-04-26T17:42:37.365" v="600" actId="20577"/>
        <pc:sldMkLst>
          <pc:docMk/>
          <pc:sldMk cId="1792675798" sldId="1760"/>
        </pc:sldMkLst>
        <pc:spChg chg="del mod">
          <ac:chgData name="Amanda Lambert" userId="S::amandal@remi.com::65f8b1f4-b15f-407c-b397-bc240439b16d" providerId="AD" clId="Web-{36D4C06F-CB4F-B4EA-DE11-057B60C8889C}" dt="2022-04-26T16:51:32.472" v="163"/>
          <ac:spMkLst>
            <pc:docMk/>
            <pc:sldMk cId="1792675798" sldId="1760"/>
            <ac:spMk id="2" creationId="{A7CC3804-D56C-4BBF-81B4-B94603FFF05D}"/>
          </ac:spMkLst>
        </pc:spChg>
        <pc:spChg chg="del mod">
          <ac:chgData name="Amanda Lambert" userId="S::amandal@remi.com::65f8b1f4-b15f-407c-b397-bc240439b16d" providerId="AD" clId="Web-{36D4C06F-CB4F-B4EA-DE11-057B60C8889C}" dt="2022-04-26T16:54:04.024" v="196"/>
          <ac:spMkLst>
            <pc:docMk/>
            <pc:sldMk cId="1792675798" sldId="1760"/>
            <ac:spMk id="3" creationId="{D1EBD988-1306-415C-B7F1-37BFD5261AF0}"/>
          </ac:spMkLst>
        </pc:spChg>
        <pc:spChg chg="mod">
          <ac:chgData name="Amanda Lambert" userId="S::amandal@remi.com::65f8b1f4-b15f-407c-b397-bc240439b16d" providerId="AD" clId="Web-{36D4C06F-CB4F-B4EA-DE11-057B60C8889C}" dt="2022-04-26T17:42:08.177" v="582" actId="20577"/>
          <ac:spMkLst>
            <pc:docMk/>
            <pc:sldMk cId="1792675798" sldId="1760"/>
            <ac:spMk id="6" creationId="{FA06EEC6-C475-42DB-87C6-B1BAACA23A97}"/>
          </ac:spMkLst>
        </pc:spChg>
        <pc:spChg chg="del">
          <ac:chgData name="Amanda Lambert" userId="S::amandal@remi.com::65f8b1f4-b15f-407c-b397-bc240439b16d" providerId="AD" clId="Web-{36D4C06F-CB4F-B4EA-DE11-057B60C8889C}" dt="2022-04-26T16:51:36.175" v="164"/>
          <ac:spMkLst>
            <pc:docMk/>
            <pc:sldMk cId="1792675798" sldId="1760"/>
            <ac:spMk id="7" creationId="{F24801FF-8FA3-4E2C-8395-48DFBB1A4302}"/>
          </ac:spMkLst>
        </pc:spChg>
        <pc:spChg chg="add mod">
          <ac:chgData name="Amanda Lambert" userId="S::amandal@remi.com::65f8b1f4-b15f-407c-b397-bc240439b16d" providerId="AD" clId="Web-{36D4C06F-CB4F-B4EA-DE11-057B60C8889C}" dt="2022-04-26T17:42:37.365" v="600" actId="20577"/>
          <ac:spMkLst>
            <pc:docMk/>
            <pc:sldMk cId="1792675798" sldId="1760"/>
            <ac:spMk id="9" creationId="{05309671-7FB5-FC47-4A51-5D71E472AB38}"/>
          </ac:spMkLst>
        </pc:spChg>
        <pc:grpChg chg="del mod">
          <ac:chgData name="Amanda Lambert" userId="S::amandal@remi.com::65f8b1f4-b15f-407c-b397-bc240439b16d" providerId="AD" clId="Web-{36D4C06F-CB4F-B4EA-DE11-057B60C8889C}" dt="2022-04-26T17:42:10.286" v="583"/>
          <ac:grpSpMkLst>
            <pc:docMk/>
            <pc:sldMk cId="1792675798" sldId="1760"/>
            <ac:grpSpMk id="4" creationId="{8B018A86-66A1-4228-A5F6-DAE36EE891B9}"/>
          </ac:grpSpMkLst>
        </pc:grpChg>
      </pc:sldChg>
      <pc:sldChg chg="modSp ord">
        <pc:chgData name="Amanda Lambert" userId="S::amandal@remi.com::65f8b1f4-b15f-407c-b397-bc240439b16d" providerId="AD" clId="Web-{36D4C06F-CB4F-B4EA-DE11-057B60C8889C}" dt="2022-04-26T16:59:18.971" v="227"/>
        <pc:sldMkLst>
          <pc:docMk/>
          <pc:sldMk cId="3164089913" sldId="1761"/>
        </pc:sldMkLst>
        <pc:spChg chg="mod">
          <ac:chgData name="Amanda Lambert" userId="S::amandal@remi.com::65f8b1f4-b15f-407c-b397-bc240439b16d" providerId="AD" clId="Web-{36D4C06F-CB4F-B4EA-DE11-057B60C8889C}" dt="2022-04-26T16:59:18.971" v="227"/>
          <ac:spMkLst>
            <pc:docMk/>
            <pc:sldMk cId="3164089913" sldId="1761"/>
            <ac:spMk id="17" creationId="{F4D087CE-A955-4B14-A81B-7525861FAED4}"/>
          </ac:spMkLst>
        </pc:spChg>
        <pc:spChg chg="mod">
          <ac:chgData name="Amanda Lambert" userId="S::amandal@remi.com::65f8b1f4-b15f-407c-b397-bc240439b16d" providerId="AD" clId="Web-{36D4C06F-CB4F-B4EA-DE11-057B60C8889C}" dt="2022-04-26T16:59:09.361" v="225"/>
          <ac:spMkLst>
            <pc:docMk/>
            <pc:sldMk cId="3164089913" sldId="1761"/>
            <ac:spMk id="18" creationId="{41EC4D60-3057-447A-8ECF-7A600FF200D6}"/>
          </ac:spMkLst>
        </pc:spChg>
      </pc:sldChg>
      <pc:sldChg chg="modSp ord">
        <pc:chgData name="Amanda Lambert" userId="S::amandal@remi.com::65f8b1f4-b15f-407c-b397-bc240439b16d" providerId="AD" clId="Web-{36D4C06F-CB4F-B4EA-DE11-057B60C8889C}" dt="2022-04-26T17:11:06.759" v="411"/>
        <pc:sldMkLst>
          <pc:docMk/>
          <pc:sldMk cId="913222381" sldId="1762"/>
        </pc:sldMkLst>
        <pc:spChg chg="mod">
          <ac:chgData name="Amanda Lambert" userId="S::amandal@remi.com::65f8b1f4-b15f-407c-b397-bc240439b16d" providerId="AD" clId="Web-{36D4C06F-CB4F-B4EA-DE11-057B60C8889C}" dt="2022-04-26T16:54:24.743" v="203" actId="20577"/>
          <ac:spMkLst>
            <pc:docMk/>
            <pc:sldMk cId="913222381" sldId="1762"/>
            <ac:spMk id="17" creationId="{F4D087CE-A955-4B14-A81B-7525861FAED4}"/>
          </ac:spMkLst>
        </pc:spChg>
        <pc:spChg chg="mod">
          <ac:chgData name="Amanda Lambert" userId="S::amandal@remi.com::65f8b1f4-b15f-407c-b397-bc240439b16d" providerId="AD" clId="Web-{36D4C06F-CB4F-B4EA-DE11-057B60C8889C}" dt="2022-04-26T17:11:06.759" v="411"/>
          <ac:spMkLst>
            <pc:docMk/>
            <pc:sldMk cId="913222381" sldId="1762"/>
            <ac:spMk id="18" creationId="{41EC4D60-3057-447A-8ECF-7A600FF200D6}"/>
          </ac:spMkLst>
        </pc:spChg>
      </pc:sldChg>
      <pc:sldChg chg="modSp ord">
        <pc:chgData name="Amanda Lambert" userId="S::amandal@remi.com::65f8b1f4-b15f-407c-b397-bc240439b16d" providerId="AD" clId="Web-{36D4C06F-CB4F-B4EA-DE11-057B60C8889C}" dt="2022-04-26T17:42:52.131" v="601" actId="20577"/>
        <pc:sldMkLst>
          <pc:docMk/>
          <pc:sldMk cId="213713487" sldId="1763"/>
        </pc:sldMkLst>
        <pc:spChg chg="mod">
          <ac:chgData name="Amanda Lambert" userId="S::amandal@remi.com::65f8b1f4-b15f-407c-b397-bc240439b16d" providerId="AD" clId="Web-{36D4C06F-CB4F-B4EA-DE11-057B60C8889C}" dt="2022-04-26T17:10:46.915" v="407" actId="20577"/>
          <ac:spMkLst>
            <pc:docMk/>
            <pc:sldMk cId="213713487" sldId="1763"/>
            <ac:spMk id="17" creationId="{F4D087CE-A955-4B14-A81B-7525861FAED4}"/>
          </ac:spMkLst>
        </pc:spChg>
        <pc:spChg chg="mod">
          <ac:chgData name="Amanda Lambert" userId="S::amandal@remi.com::65f8b1f4-b15f-407c-b397-bc240439b16d" providerId="AD" clId="Web-{36D4C06F-CB4F-B4EA-DE11-057B60C8889C}" dt="2022-04-26T17:42:52.131" v="601" actId="20577"/>
          <ac:spMkLst>
            <pc:docMk/>
            <pc:sldMk cId="213713487" sldId="1763"/>
            <ac:spMk id="18" creationId="{41EC4D60-3057-447A-8ECF-7A600FF200D6}"/>
          </ac:spMkLst>
        </pc:spChg>
      </pc:sldChg>
      <pc:sldChg chg="modSp">
        <pc:chgData name="Amanda Lambert" userId="S::amandal@remi.com::65f8b1f4-b15f-407c-b397-bc240439b16d" providerId="AD" clId="Web-{36D4C06F-CB4F-B4EA-DE11-057B60C8889C}" dt="2022-04-26T17:10:33.992" v="401" actId="20577"/>
        <pc:sldMkLst>
          <pc:docMk/>
          <pc:sldMk cId="1203642412" sldId="1764"/>
        </pc:sldMkLst>
        <pc:spChg chg="mod">
          <ac:chgData name="Amanda Lambert" userId="S::amandal@remi.com::65f8b1f4-b15f-407c-b397-bc240439b16d" providerId="AD" clId="Web-{36D4C06F-CB4F-B4EA-DE11-057B60C8889C}" dt="2022-04-26T17:10:33.992" v="401" actId="20577"/>
          <ac:spMkLst>
            <pc:docMk/>
            <pc:sldMk cId="1203642412" sldId="1764"/>
            <ac:spMk id="17" creationId="{F4D087CE-A955-4B14-A81B-7525861FAED4}"/>
          </ac:spMkLst>
        </pc:spChg>
        <pc:spChg chg="mod">
          <ac:chgData name="Amanda Lambert" userId="S::amandal@remi.com::65f8b1f4-b15f-407c-b397-bc240439b16d" providerId="AD" clId="Web-{36D4C06F-CB4F-B4EA-DE11-057B60C8889C}" dt="2022-04-26T17:10:30.867" v="400" actId="20577"/>
          <ac:spMkLst>
            <pc:docMk/>
            <pc:sldMk cId="1203642412" sldId="1764"/>
            <ac:spMk id="18" creationId="{41EC4D60-3057-447A-8ECF-7A600FF200D6}"/>
          </ac:spMkLst>
        </pc:spChg>
      </pc:sldChg>
      <pc:sldChg chg="del">
        <pc:chgData name="Amanda Lambert" userId="S::amandal@remi.com::65f8b1f4-b15f-407c-b397-bc240439b16d" providerId="AD" clId="Web-{36D4C06F-CB4F-B4EA-DE11-057B60C8889C}" dt="2022-04-26T16:57:28.218" v="214"/>
        <pc:sldMkLst>
          <pc:docMk/>
          <pc:sldMk cId="3361905198" sldId="1785"/>
        </pc:sldMkLst>
      </pc:sldChg>
      <pc:sldChg chg="del">
        <pc:chgData name="Amanda Lambert" userId="S::amandal@remi.com::65f8b1f4-b15f-407c-b397-bc240439b16d" providerId="AD" clId="Web-{36D4C06F-CB4F-B4EA-DE11-057B60C8889C}" dt="2022-04-26T16:57:11.467" v="213"/>
        <pc:sldMkLst>
          <pc:docMk/>
          <pc:sldMk cId="74395322" sldId="1786"/>
        </pc:sldMkLst>
      </pc:sldChg>
      <pc:sldChg chg="mod ord modShow">
        <pc:chgData name="Amanda Lambert" userId="S::amandal@remi.com::65f8b1f4-b15f-407c-b397-bc240439b16d" providerId="AD" clId="Web-{36D4C06F-CB4F-B4EA-DE11-057B60C8889C}" dt="2022-04-26T16:56:41.216" v="212"/>
        <pc:sldMkLst>
          <pc:docMk/>
          <pc:sldMk cId="4045077442" sldId="1790"/>
        </pc:sldMkLst>
      </pc:sldChg>
      <pc:sldChg chg="mod ord modShow">
        <pc:chgData name="Amanda Lambert" userId="S::amandal@remi.com::65f8b1f4-b15f-407c-b397-bc240439b16d" providerId="AD" clId="Web-{36D4C06F-CB4F-B4EA-DE11-057B60C8889C}" dt="2022-04-26T16:57:36.765" v="215"/>
        <pc:sldMkLst>
          <pc:docMk/>
          <pc:sldMk cId="1807328928" sldId="1791"/>
        </pc:sldMkLst>
      </pc:sldChg>
      <pc:sldChg chg="modSp ord">
        <pc:chgData name="Amanda Lambert" userId="S::amandal@remi.com::65f8b1f4-b15f-407c-b397-bc240439b16d" providerId="AD" clId="Web-{36D4C06F-CB4F-B4EA-DE11-057B60C8889C}" dt="2022-04-26T17:45:57.059" v="615" actId="20577"/>
        <pc:sldMkLst>
          <pc:docMk/>
          <pc:sldMk cId="4286962187" sldId="1795"/>
        </pc:sldMkLst>
        <pc:spChg chg="mod">
          <ac:chgData name="Amanda Lambert" userId="S::amandal@remi.com::65f8b1f4-b15f-407c-b397-bc240439b16d" providerId="AD" clId="Web-{36D4C06F-CB4F-B4EA-DE11-057B60C8889C}" dt="2022-04-26T16:43:02.518" v="129" actId="20577"/>
          <ac:spMkLst>
            <pc:docMk/>
            <pc:sldMk cId="4286962187" sldId="1795"/>
            <ac:spMk id="2" creationId="{0EFDCA29-EB23-44CF-8CFA-375AE59D25E0}"/>
          </ac:spMkLst>
        </pc:spChg>
        <pc:spChg chg="mod">
          <ac:chgData name="Amanda Lambert" userId="S::amandal@remi.com::65f8b1f4-b15f-407c-b397-bc240439b16d" providerId="AD" clId="Web-{36D4C06F-CB4F-B4EA-DE11-057B60C8889C}" dt="2022-04-26T17:45:57.059" v="615" actId="20577"/>
          <ac:spMkLst>
            <pc:docMk/>
            <pc:sldMk cId="4286962187" sldId="1795"/>
            <ac:spMk id="5" creationId="{13FD05DB-D9C3-49F0-B219-2780FDC04281}"/>
          </ac:spMkLst>
        </pc:spChg>
        <pc:spChg chg="mod">
          <ac:chgData name="Amanda Lambert" userId="S::amandal@remi.com::65f8b1f4-b15f-407c-b397-bc240439b16d" providerId="AD" clId="Web-{36D4C06F-CB4F-B4EA-DE11-057B60C8889C}" dt="2022-04-26T16:42:29.939" v="106" actId="20577"/>
          <ac:spMkLst>
            <pc:docMk/>
            <pc:sldMk cId="4286962187" sldId="1795"/>
            <ac:spMk id="9" creationId="{4AF82A68-1FE8-46D4-999C-BFB7CC8B683A}"/>
          </ac:spMkLst>
        </pc:spChg>
      </pc:sldChg>
    </pc:docChg>
  </pc:docChgLst>
  <pc:docChgLst>
    <pc:chgData name="Brian Riel" userId="S::brianr@remi.com::35c990ad-0d97-4b28-99f6-de66c29011f1" providerId="AD" clId="Web-{5313467F-6E98-9FA3-608D-505EB90DFD14}"/>
    <pc:docChg chg="addSld delSld modSld sldOrd">
      <pc:chgData name="Brian Riel" userId="S::brianr@remi.com::35c990ad-0d97-4b28-99f6-de66c29011f1" providerId="AD" clId="Web-{5313467F-6E98-9FA3-608D-505EB90DFD14}" dt="2022-05-18T13:03:20.955" v="1942"/>
      <pc:docMkLst>
        <pc:docMk/>
      </pc:docMkLst>
      <pc:sldChg chg="delSp modSp">
        <pc:chgData name="Brian Riel" userId="S::brianr@remi.com::35c990ad-0d97-4b28-99f6-de66c29011f1" providerId="AD" clId="Web-{5313467F-6E98-9FA3-608D-505EB90DFD14}" dt="2022-05-17T20:41:04.932" v="1933" actId="20577"/>
        <pc:sldMkLst>
          <pc:docMk/>
          <pc:sldMk cId="0" sldId="276"/>
        </pc:sldMkLst>
        <pc:spChg chg="del">
          <ac:chgData name="Brian Riel" userId="S::brianr@remi.com::35c990ad-0d97-4b28-99f6-de66c29011f1" providerId="AD" clId="Web-{5313467F-6E98-9FA3-608D-505EB90DFD14}" dt="2022-05-17T19:28:21.814" v="54"/>
          <ac:spMkLst>
            <pc:docMk/>
            <pc:sldMk cId="0" sldId="276"/>
            <ac:spMk id="24" creationId="{4176FB19-5DF6-4A5F-BBC1-EE953E11CDAF}"/>
          </ac:spMkLst>
        </pc:spChg>
        <pc:spChg chg="del">
          <ac:chgData name="Brian Riel" userId="S::brianr@remi.com::35c990ad-0d97-4b28-99f6-de66c29011f1" providerId="AD" clId="Web-{5313467F-6E98-9FA3-608D-505EB90DFD14}" dt="2022-05-17T19:28:34.829" v="60"/>
          <ac:spMkLst>
            <pc:docMk/>
            <pc:sldMk cId="0" sldId="276"/>
            <ac:spMk id="25" creationId="{93B313B2-8BA0-418F-8506-326071CB3755}"/>
          </ac:spMkLst>
        </pc:spChg>
        <pc:spChg chg="mod">
          <ac:chgData name="Brian Riel" userId="S::brianr@remi.com::35c990ad-0d97-4b28-99f6-de66c29011f1" providerId="AD" clId="Web-{5313467F-6E98-9FA3-608D-505EB90DFD14}" dt="2022-05-17T19:28:46.548" v="61" actId="1076"/>
          <ac:spMkLst>
            <pc:docMk/>
            <pc:sldMk cId="0" sldId="276"/>
            <ac:spMk id="26" creationId="{D956A7DE-B79E-4D6B-8E6C-61AB46289AA9}"/>
          </ac:spMkLst>
        </pc:spChg>
        <pc:spChg chg="mod">
          <ac:chgData name="Brian Riel" userId="S::brianr@remi.com::35c990ad-0d97-4b28-99f6-de66c29011f1" providerId="AD" clId="Web-{5313467F-6E98-9FA3-608D-505EB90DFD14}" dt="2022-05-17T19:28:46.563" v="63" actId="1076"/>
          <ac:spMkLst>
            <pc:docMk/>
            <pc:sldMk cId="0" sldId="276"/>
            <ac:spMk id="27" creationId="{3793ABC7-EA5E-4997-A2FE-5B47CD8E0274}"/>
          </ac:spMkLst>
        </pc:spChg>
        <pc:spChg chg="mod">
          <ac:chgData name="Brian Riel" userId="S::brianr@remi.com::35c990ad-0d97-4b28-99f6-de66c29011f1" providerId="AD" clId="Web-{5313467F-6E98-9FA3-608D-505EB90DFD14}" dt="2022-05-17T19:28:46.548" v="62" actId="1076"/>
          <ac:spMkLst>
            <pc:docMk/>
            <pc:sldMk cId="0" sldId="276"/>
            <ac:spMk id="28" creationId="{FD1F50F9-6594-467F-B1B8-789D9481EB67}"/>
          </ac:spMkLst>
        </pc:spChg>
        <pc:spChg chg="mod">
          <ac:chgData name="Brian Riel" userId="S::brianr@remi.com::35c990ad-0d97-4b28-99f6-de66c29011f1" providerId="AD" clId="Web-{5313467F-6E98-9FA3-608D-505EB90DFD14}" dt="2022-05-17T19:35:34.505" v="81" actId="20577"/>
          <ac:spMkLst>
            <pc:docMk/>
            <pc:sldMk cId="0" sldId="276"/>
            <ac:spMk id="30" creationId="{266DB3D7-60CE-4123-ADA8-4FD298AAB2E8}"/>
          </ac:spMkLst>
        </pc:spChg>
        <pc:spChg chg="mod">
          <ac:chgData name="Brian Riel" userId="S::brianr@remi.com::35c990ad-0d97-4b28-99f6-de66c29011f1" providerId="AD" clId="Web-{5313467F-6E98-9FA3-608D-505EB90DFD14}" dt="2022-05-17T19:28:46.563" v="64" actId="1076"/>
          <ac:spMkLst>
            <pc:docMk/>
            <pc:sldMk cId="0" sldId="276"/>
            <ac:spMk id="972" creationId="{00000000-0000-0000-0000-000000000000}"/>
          </ac:spMkLst>
        </pc:spChg>
        <pc:spChg chg="mod">
          <ac:chgData name="Brian Riel" userId="S::brianr@remi.com::35c990ad-0d97-4b28-99f6-de66c29011f1" providerId="AD" clId="Web-{5313467F-6E98-9FA3-608D-505EB90DFD14}" dt="2022-05-17T19:28:46.579" v="65" actId="1076"/>
          <ac:spMkLst>
            <pc:docMk/>
            <pc:sldMk cId="0" sldId="276"/>
            <ac:spMk id="974" creationId="{00000000-0000-0000-0000-000000000000}"/>
          </ac:spMkLst>
        </pc:spChg>
        <pc:spChg chg="del">
          <ac:chgData name="Brian Riel" userId="S::brianr@remi.com::35c990ad-0d97-4b28-99f6-de66c29011f1" providerId="AD" clId="Web-{5313467F-6E98-9FA3-608D-505EB90DFD14}" dt="2022-05-17T19:28:20.923" v="53"/>
          <ac:spMkLst>
            <pc:docMk/>
            <pc:sldMk cId="0" sldId="276"/>
            <ac:spMk id="979" creationId="{00000000-0000-0000-0000-000000000000}"/>
          </ac:spMkLst>
        </pc:spChg>
        <pc:spChg chg="mod">
          <ac:chgData name="Brian Riel" userId="S::brianr@remi.com::35c990ad-0d97-4b28-99f6-de66c29011f1" providerId="AD" clId="Web-{5313467F-6E98-9FA3-608D-505EB90DFD14}" dt="2022-05-17T19:28:46.595" v="67" actId="1076"/>
          <ac:spMkLst>
            <pc:docMk/>
            <pc:sldMk cId="0" sldId="276"/>
            <ac:spMk id="980" creationId="{00000000-0000-0000-0000-000000000000}"/>
          </ac:spMkLst>
        </pc:spChg>
        <pc:spChg chg="mod">
          <ac:chgData name="Brian Riel" userId="S::brianr@remi.com::35c990ad-0d97-4b28-99f6-de66c29011f1" providerId="AD" clId="Web-{5313467F-6E98-9FA3-608D-505EB90DFD14}" dt="2022-05-17T19:28:46.579" v="66" actId="1076"/>
          <ac:spMkLst>
            <pc:docMk/>
            <pc:sldMk cId="0" sldId="276"/>
            <ac:spMk id="981" creationId="{00000000-0000-0000-0000-000000000000}"/>
          </ac:spMkLst>
        </pc:spChg>
        <pc:spChg chg="mod">
          <ac:chgData name="Brian Riel" userId="S::brianr@remi.com::35c990ad-0d97-4b28-99f6-de66c29011f1" providerId="AD" clId="Web-{5313467F-6E98-9FA3-608D-505EB90DFD14}" dt="2022-05-17T19:35:45.958" v="87" actId="20577"/>
          <ac:spMkLst>
            <pc:docMk/>
            <pc:sldMk cId="0" sldId="276"/>
            <ac:spMk id="983" creationId="{00000000-0000-0000-0000-000000000000}"/>
          </ac:spMkLst>
        </pc:spChg>
        <pc:spChg chg="del mod">
          <ac:chgData name="Brian Riel" userId="S::brianr@remi.com::35c990ad-0d97-4b28-99f6-de66c29011f1" providerId="AD" clId="Web-{5313467F-6E98-9FA3-608D-505EB90DFD14}" dt="2022-05-17T19:28:49.345" v="75"/>
          <ac:spMkLst>
            <pc:docMk/>
            <pc:sldMk cId="0" sldId="276"/>
            <ac:spMk id="984" creationId="{00000000-0000-0000-0000-000000000000}"/>
          </ac:spMkLst>
        </pc:spChg>
        <pc:spChg chg="mod">
          <ac:chgData name="Brian Riel" userId="S::brianr@remi.com::35c990ad-0d97-4b28-99f6-de66c29011f1" providerId="AD" clId="Web-{5313467F-6E98-9FA3-608D-505EB90DFD14}" dt="2022-05-17T20:41:04.932" v="1933" actId="20577"/>
          <ac:spMkLst>
            <pc:docMk/>
            <pc:sldMk cId="0" sldId="276"/>
            <ac:spMk id="985" creationId="{00000000-0000-0000-0000-000000000000}"/>
          </ac:spMkLst>
        </pc:spChg>
        <pc:spChg chg="del mod">
          <ac:chgData name="Brian Riel" userId="S::brianr@remi.com::35c990ad-0d97-4b28-99f6-de66c29011f1" providerId="AD" clId="Web-{5313467F-6E98-9FA3-608D-505EB90DFD14}" dt="2022-05-17T19:28:23.532" v="57"/>
          <ac:spMkLst>
            <pc:docMk/>
            <pc:sldMk cId="0" sldId="276"/>
            <ac:spMk id="986" creationId="{00000000-0000-0000-0000-000000000000}"/>
          </ac:spMkLst>
        </pc:spChg>
        <pc:spChg chg="mod">
          <ac:chgData name="Brian Riel" userId="S::brianr@remi.com::35c990ad-0d97-4b28-99f6-de66c29011f1" providerId="AD" clId="Web-{5313467F-6E98-9FA3-608D-505EB90DFD14}" dt="2022-05-17T19:28:46.610" v="70" actId="1076"/>
          <ac:spMkLst>
            <pc:docMk/>
            <pc:sldMk cId="0" sldId="276"/>
            <ac:spMk id="988" creationId="{00000000-0000-0000-0000-000000000000}"/>
          </ac:spMkLst>
        </pc:spChg>
        <pc:spChg chg="mod">
          <ac:chgData name="Brian Riel" userId="S::brianr@remi.com::35c990ad-0d97-4b28-99f6-de66c29011f1" providerId="AD" clId="Web-{5313467F-6E98-9FA3-608D-505EB90DFD14}" dt="2022-05-17T19:28:46.626" v="71" actId="1076"/>
          <ac:spMkLst>
            <pc:docMk/>
            <pc:sldMk cId="0" sldId="276"/>
            <ac:spMk id="989" creationId="{00000000-0000-0000-0000-000000000000}"/>
          </ac:spMkLst>
        </pc:spChg>
        <pc:spChg chg="del">
          <ac:chgData name="Brian Riel" userId="S::brianr@remi.com::35c990ad-0d97-4b28-99f6-de66c29011f1" providerId="AD" clId="Web-{5313467F-6E98-9FA3-608D-505EB90DFD14}" dt="2022-05-17T19:28:24.469" v="58"/>
          <ac:spMkLst>
            <pc:docMk/>
            <pc:sldMk cId="0" sldId="276"/>
            <ac:spMk id="990" creationId="{00000000-0000-0000-0000-000000000000}"/>
          </ac:spMkLst>
        </pc:spChg>
        <pc:spChg chg="mod">
          <ac:chgData name="Brian Riel" userId="S::brianr@remi.com::35c990ad-0d97-4b28-99f6-de66c29011f1" providerId="AD" clId="Web-{5313467F-6E98-9FA3-608D-505EB90DFD14}" dt="2022-05-17T19:36:01.052" v="92" actId="14100"/>
          <ac:spMkLst>
            <pc:docMk/>
            <pc:sldMk cId="0" sldId="276"/>
            <ac:spMk id="991" creationId="{00000000-0000-0000-0000-000000000000}"/>
          </ac:spMkLst>
        </pc:spChg>
        <pc:spChg chg="mod">
          <ac:chgData name="Brian Riel" userId="S::brianr@remi.com::35c990ad-0d97-4b28-99f6-de66c29011f1" providerId="AD" clId="Web-{5313467F-6E98-9FA3-608D-505EB90DFD14}" dt="2022-05-17T19:43:18.572" v="323" actId="20577"/>
          <ac:spMkLst>
            <pc:docMk/>
            <pc:sldMk cId="0" sldId="276"/>
            <ac:spMk id="992" creationId="{00000000-0000-0000-0000-000000000000}"/>
          </ac:spMkLst>
        </pc:spChg>
      </pc:sldChg>
      <pc:sldChg chg="delSp modSp">
        <pc:chgData name="Brian Riel" userId="S::brianr@remi.com::35c990ad-0d97-4b28-99f6-de66c29011f1" providerId="AD" clId="Web-{5313467F-6E98-9FA3-608D-505EB90DFD14}" dt="2022-05-17T20:26:52.643" v="1629" actId="20577"/>
        <pc:sldMkLst>
          <pc:docMk/>
          <pc:sldMk cId="3691047474" sldId="1730"/>
        </pc:sldMkLst>
        <pc:spChg chg="del">
          <ac:chgData name="Brian Riel" userId="S::brianr@remi.com::35c990ad-0d97-4b28-99f6-de66c29011f1" providerId="AD" clId="Web-{5313467F-6E98-9FA3-608D-505EB90DFD14}" dt="2022-05-17T20:25:26.096" v="1607"/>
          <ac:spMkLst>
            <pc:docMk/>
            <pc:sldMk cId="3691047474" sldId="1730"/>
            <ac:spMk id="5" creationId="{A5CA18DA-04FB-4196-A4D2-B01F8A7AA339}"/>
          </ac:spMkLst>
        </pc:spChg>
        <pc:spChg chg="mod">
          <ac:chgData name="Brian Riel" userId="S::brianr@remi.com::35c990ad-0d97-4b28-99f6-de66c29011f1" providerId="AD" clId="Web-{5313467F-6E98-9FA3-608D-505EB90DFD14}" dt="2022-05-17T20:26:52.643" v="1629" actId="20577"/>
          <ac:spMkLst>
            <pc:docMk/>
            <pc:sldMk cId="3691047474" sldId="1730"/>
            <ac:spMk id="6" creationId="{F0C30E94-B83B-409B-919A-E1FD59AAAEB0}"/>
          </ac:spMkLst>
        </pc:spChg>
        <pc:spChg chg="mod">
          <ac:chgData name="Brian Riel" userId="S::brianr@remi.com::35c990ad-0d97-4b28-99f6-de66c29011f1" providerId="AD" clId="Web-{5313467F-6E98-9FA3-608D-505EB90DFD14}" dt="2022-05-17T20:25:29.892" v="1608" actId="1076"/>
          <ac:spMkLst>
            <pc:docMk/>
            <pc:sldMk cId="3691047474" sldId="1730"/>
            <ac:spMk id="8" creationId="{03D508A7-A3F8-431B-9F99-A3A0A3FF9D34}"/>
          </ac:spMkLst>
        </pc:spChg>
        <pc:spChg chg="mod">
          <ac:chgData name="Brian Riel" userId="S::brianr@remi.com::35c990ad-0d97-4b28-99f6-de66c29011f1" providerId="AD" clId="Web-{5313467F-6E98-9FA3-608D-505EB90DFD14}" dt="2022-05-17T20:25:37.314" v="1609" actId="1076"/>
          <ac:spMkLst>
            <pc:docMk/>
            <pc:sldMk cId="3691047474" sldId="1730"/>
            <ac:spMk id="13" creationId="{6BD2AC04-F5B6-44BD-87BD-E83BC7E98FC0}"/>
          </ac:spMkLst>
        </pc:spChg>
        <pc:spChg chg="mod">
          <ac:chgData name="Brian Riel" userId="S::brianr@remi.com::35c990ad-0d97-4b28-99f6-de66c29011f1" providerId="AD" clId="Web-{5313467F-6E98-9FA3-608D-505EB90DFD14}" dt="2022-05-17T20:25:42.268" v="1610" actId="1076"/>
          <ac:spMkLst>
            <pc:docMk/>
            <pc:sldMk cId="3691047474" sldId="1730"/>
            <ac:spMk id="16" creationId="{BC2F12E4-CF37-42C4-B84B-3406B585ECFF}"/>
          </ac:spMkLst>
        </pc:spChg>
      </pc:sldChg>
      <pc:sldChg chg="delSp modSp">
        <pc:chgData name="Brian Riel" userId="S::brianr@remi.com::35c990ad-0d97-4b28-99f6-de66c29011f1" providerId="AD" clId="Web-{5313467F-6E98-9FA3-608D-505EB90DFD14}" dt="2022-05-17T20:26:48.409" v="1624" actId="20577"/>
        <pc:sldMkLst>
          <pc:docMk/>
          <pc:sldMk cId="2942803301" sldId="1731"/>
        </pc:sldMkLst>
        <pc:spChg chg="del">
          <ac:chgData name="Brian Riel" userId="S::brianr@remi.com::35c990ad-0d97-4b28-99f6-de66c29011f1" providerId="AD" clId="Web-{5313467F-6E98-9FA3-608D-505EB90DFD14}" dt="2022-05-17T20:25:51.393" v="1611"/>
          <ac:spMkLst>
            <pc:docMk/>
            <pc:sldMk cId="2942803301" sldId="1731"/>
            <ac:spMk id="17" creationId="{F4D087CE-A955-4B14-A81B-7525861FAED4}"/>
          </ac:spMkLst>
        </pc:spChg>
        <pc:spChg chg="mod">
          <ac:chgData name="Brian Riel" userId="S::brianr@remi.com::35c990ad-0d97-4b28-99f6-de66c29011f1" providerId="AD" clId="Web-{5313467F-6E98-9FA3-608D-505EB90DFD14}" dt="2022-05-17T20:26:48.409" v="1624" actId="20577"/>
          <ac:spMkLst>
            <pc:docMk/>
            <pc:sldMk cId="2942803301" sldId="1731"/>
            <ac:spMk id="18" creationId="{41EC4D60-3057-447A-8ECF-7A600FF200D6}"/>
          </ac:spMkLst>
        </pc:spChg>
        <pc:spChg chg="mod">
          <ac:chgData name="Brian Riel" userId="S::brianr@remi.com::35c990ad-0d97-4b28-99f6-de66c29011f1" providerId="AD" clId="Web-{5313467F-6E98-9FA3-608D-505EB90DFD14}" dt="2022-05-17T20:25:57.502" v="1612" actId="1076"/>
          <ac:spMkLst>
            <pc:docMk/>
            <pc:sldMk cId="2942803301" sldId="1731"/>
            <ac:spMk id="20" creationId="{54B5C667-19A2-454C-8D82-1F484DC682EF}"/>
          </ac:spMkLst>
        </pc:spChg>
        <pc:spChg chg="mod">
          <ac:chgData name="Brian Riel" userId="S::brianr@remi.com::35c990ad-0d97-4b28-99f6-de66c29011f1" providerId="AD" clId="Web-{5313467F-6E98-9FA3-608D-505EB90DFD14}" dt="2022-05-17T20:26:01.111" v="1613" actId="1076"/>
          <ac:spMkLst>
            <pc:docMk/>
            <pc:sldMk cId="2942803301" sldId="1731"/>
            <ac:spMk id="21" creationId="{B7301DAF-868E-4B07-A172-0091653222F8}"/>
          </ac:spMkLst>
        </pc:spChg>
        <pc:spChg chg="mod">
          <ac:chgData name="Brian Riel" userId="S::brianr@remi.com::35c990ad-0d97-4b28-99f6-de66c29011f1" providerId="AD" clId="Web-{5313467F-6E98-9FA3-608D-505EB90DFD14}" dt="2022-05-17T20:26:09.643" v="1615" actId="1076"/>
          <ac:spMkLst>
            <pc:docMk/>
            <pc:sldMk cId="2942803301" sldId="1731"/>
            <ac:spMk id="22" creationId="{483437C9-65F5-40C4-8409-5546DCBF69B8}"/>
          </ac:spMkLst>
        </pc:spChg>
      </pc:sldChg>
      <pc:sldChg chg="del">
        <pc:chgData name="Brian Riel" userId="S::brianr@remi.com::35c990ad-0d97-4b28-99f6-de66c29011f1" providerId="AD" clId="Web-{5313467F-6E98-9FA3-608D-505EB90DFD14}" dt="2022-05-17T20:09:31.524" v="821"/>
        <pc:sldMkLst>
          <pc:docMk/>
          <pc:sldMk cId="1737056815" sldId="1738"/>
        </pc:sldMkLst>
      </pc:sldChg>
      <pc:sldChg chg="del">
        <pc:chgData name="Brian Riel" userId="S::brianr@remi.com::35c990ad-0d97-4b28-99f6-de66c29011f1" providerId="AD" clId="Web-{5313467F-6E98-9FA3-608D-505EB90DFD14}" dt="2022-05-17T19:54:08.343" v="507"/>
        <pc:sldMkLst>
          <pc:docMk/>
          <pc:sldMk cId="2702560065" sldId="1740"/>
        </pc:sldMkLst>
      </pc:sldChg>
      <pc:sldChg chg="addSp delSp modSp del">
        <pc:chgData name="Brian Riel" userId="S::brianr@remi.com::35c990ad-0d97-4b28-99f6-de66c29011f1" providerId="AD" clId="Web-{5313467F-6E98-9FA3-608D-505EB90DFD14}" dt="2022-05-17T20:08:50.446" v="819"/>
        <pc:sldMkLst>
          <pc:docMk/>
          <pc:sldMk cId="3947175949" sldId="1741"/>
        </pc:sldMkLst>
        <pc:spChg chg="mod">
          <ac:chgData name="Brian Riel" userId="S::brianr@remi.com::35c990ad-0d97-4b28-99f6-de66c29011f1" providerId="AD" clId="Web-{5313467F-6E98-9FA3-608D-505EB90DFD14}" dt="2022-05-17T20:06:11.678" v="790" actId="20577"/>
          <ac:spMkLst>
            <pc:docMk/>
            <pc:sldMk cId="3947175949" sldId="1741"/>
            <ac:spMk id="2" creationId="{8FA1B7E0-D45F-FF72-B822-EAB98B529EC0}"/>
          </ac:spMkLst>
        </pc:spChg>
        <pc:spChg chg="add mod">
          <ac:chgData name="Brian Riel" userId="S::brianr@remi.com::35c990ad-0d97-4b28-99f6-de66c29011f1" providerId="AD" clId="Web-{5313467F-6E98-9FA3-608D-505EB90DFD14}" dt="2022-05-17T20:03:30.349" v="652" actId="14100"/>
          <ac:spMkLst>
            <pc:docMk/>
            <pc:sldMk cId="3947175949" sldId="1741"/>
            <ac:spMk id="3" creationId="{186AFFC5-9B43-4D33-D181-1DB62E16C927}"/>
          </ac:spMkLst>
        </pc:spChg>
        <pc:spChg chg="add mod">
          <ac:chgData name="Brian Riel" userId="S::brianr@remi.com::35c990ad-0d97-4b28-99f6-de66c29011f1" providerId="AD" clId="Web-{5313467F-6E98-9FA3-608D-505EB90DFD14}" dt="2022-05-17T20:07:32.210" v="816" actId="1076"/>
          <ac:spMkLst>
            <pc:docMk/>
            <pc:sldMk cId="3947175949" sldId="1741"/>
            <ac:spMk id="4" creationId="{2FFB3B38-D818-71D6-098E-89E8A5DD04C5}"/>
          </ac:spMkLst>
        </pc:spChg>
        <pc:spChg chg="add mod">
          <ac:chgData name="Brian Riel" userId="S::brianr@remi.com::35c990ad-0d97-4b28-99f6-de66c29011f1" providerId="AD" clId="Web-{5313467F-6E98-9FA3-608D-505EB90DFD14}" dt="2022-05-17T20:08:19.992" v="818" actId="1076"/>
          <ac:spMkLst>
            <pc:docMk/>
            <pc:sldMk cId="3947175949" sldId="1741"/>
            <ac:spMk id="33" creationId="{CDBB31CE-C002-98D7-FAC8-8FE9429A1BA6}"/>
          </ac:spMkLst>
        </pc:spChg>
        <pc:spChg chg="mod">
          <ac:chgData name="Brian Riel" userId="S::brianr@remi.com::35c990ad-0d97-4b28-99f6-de66c29011f1" providerId="AD" clId="Web-{5313467F-6E98-9FA3-608D-505EB90DFD14}" dt="2022-05-17T20:02:26.754" v="640" actId="1076"/>
          <ac:spMkLst>
            <pc:docMk/>
            <pc:sldMk cId="3947175949" sldId="1741"/>
            <ac:spMk id="34" creationId="{7D441915-BA5A-4093-BF74-C6BA5BC434F4}"/>
          </ac:spMkLst>
        </pc:spChg>
        <pc:spChg chg="mod">
          <ac:chgData name="Brian Riel" userId="S::brianr@remi.com::35c990ad-0d97-4b28-99f6-de66c29011f1" providerId="AD" clId="Web-{5313467F-6E98-9FA3-608D-505EB90DFD14}" dt="2022-05-17T20:03:44.161" v="655" actId="1076"/>
          <ac:spMkLst>
            <pc:docMk/>
            <pc:sldMk cId="3947175949" sldId="1741"/>
            <ac:spMk id="35" creationId="{5E4FF452-52E5-4092-A13D-779C3FF58D15}"/>
          </ac:spMkLst>
        </pc:spChg>
        <pc:spChg chg="mod">
          <ac:chgData name="Brian Riel" userId="S::brianr@remi.com::35c990ad-0d97-4b28-99f6-de66c29011f1" providerId="AD" clId="Web-{5313467F-6E98-9FA3-608D-505EB90DFD14}" dt="2022-05-17T20:04:47.678" v="669" actId="1076"/>
          <ac:spMkLst>
            <pc:docMk/>
            <pc:sldMk cId="3947175949" sldId="1741"/>
            <ac:spMk id="36" creationId="{DFCBD6C0-A885-49DB-9352-3DF5FAEAF766}"/>
          </ac:spMkLst>
        </pc:spChg>
        <pc:spChg chg="mod">
          <ac:chgData name="Brian Riel" userId="S::brianr@remi.com::35c990ad-0d97-4b28-99f6-de66c29011f1" providerId="AD" clId="Web-{5313467F-6E98-9FA3-608D-505EB90DFD14}" dt="2022-05-17T20:04:28.818" v="664" actId="1076"/>
          <ac:spMkLst>
            <pc:docMk/>
            <pc:sldMk cId="3947175949" sldId="1741"/>
            <ac:spMk id="38" creationId="{74F37F67-82F4-4C79-B6C7-3D50767BDC0D}"/>
          </ac:spMkLst>
        </pc:spChg>
        <pc:spChg chg="mod">
          <ac:chgData name="Brian Riel" userId="S::brianr@remi.com::35c990ad-0d97-4b28-99f6-de66c29011f1" providerId="AD" clId="Web-{5313467F-6E98-9FA3-608D-505EB90DFD14}" dt="2022-05-17T20:02:36.551" v="642" actId="1076"/>
          <ac:spMkLst>
            <pc:docMk/>
            <pc:sldMk cId="3947175949" sldId="1741"/>
            <ac:spMk id="41" creationId="{F14534C0-E389-4D7B-B400-2213F3524980}"/>
          </ac:spMkLst>
        </pc:spChg>
        <pc:spChg chg="mod">
          <ac:chgData name="Brian Riel" userId="S::brianr@remi.com::35c990ad-0d97-4b28-99f6-de66c29011f1" providerId="AD" clId="Web-{5313467F-6E98-9FA3-608D-505EB90DFD14}" dt="2022-05-17T20:03:57.786" v="657" actId="1076"/>
          <ac:spMkLst>
            <pc:docMk/>
            <pc:sldMk cId="3947175949" sldId="1741"/>
            <ac:spMk id="42" creationId="{FEF70403-D928-4038-9705-087572C0E23F}"/>
          </ac:spMkLst>
        </pc:spChg>
        <pc:spChg chg="mod">
          <ac:chgData name="Brian Riel" userId="S::brianr@remi.com::35c990ad-0d97-4b28-99f6-de66c29011f1" providerId="AD" clId="Web-{5313467F-6E98-9FA3-608D-505EB90DFD14}" dt="2022-05-17T20:07:29.835" v="815" actId="1076"/>
          <ac:spMkLst>
            <pc:docMk/>
            <pc:sldMk cId="3947175949" sldId="1741"/>
            <ac:spMk id="43" creationId="{CD98F38D-D544-48E5-9AA7-2166BCD5DCBC}"/>
          </ac:spMkLst>
        </pc:spChg>
        <pc:spChg chg="mod">
          <ac:chgData name="Brian Riel" userId="S::brianr@remi.com::35c990ad-0d97-4b28-99f6-de66c29011f1" providerId="AD" clId="Web-{5313467F-6E98-9FA3-608D-505EB90DFD14}" dt="2022-05-17T20:05:42.678" v="760" actId="14100"/>
          <ac:spMkLst>
            <pc:docMk/>
            <pc:sldMk cId="3947175949" sldId="1741"/>
            <ac:spMk id="44" creationId="{6098C9B1-185B-4721-99B5-14F0410A1264}"/>
          </ac:spMkLst>
        </pc:spChg>
        <pc:spChg chg="mod">
          <ac:chgData name="Brian Riel" userId="S::brianr@remi.com::35c990ad-0d97-4b28-99f6-de66c29011f1" providerId="AD" clId="Web-{5313467F-6E98-9FA3-608D-505EB90DFD14}" dt="2022-05-17T20:02:39.411" v="643" actId="1076"/>
          <ac:spMkLst>
            <pc:docMk/>
            <pc:sldMk cId="3947175949" sldId="1741"/>
            <ac:spMk id="45" creationId="{4FA0CFE4-A01C-4839-BA63-6BC59085E1B8}"/>
          </ac:spMkLst>
        </pc:spChg>
        <pc:spChg chg="mod">
          <ac:chgData name="Brian Riel" userId="S::brianr@remi.com::35c990ad-0d97-4b28-99f6-de66c29011f1" providerId="AD" clId="Web-{5313467F-6E98-9FA3-608D-505EB90DFD14}" dt="2022-05-17T20:04:02.115" v="658" actId="1076"/>
          <ac:spMkLst>
            <pc:docMk/>
            <pc:sldMk cId="3947175949" sldId="1741"/>
            <ac:spMk id="46" creationId="{91BA52E9-05A9-411E-9F64-20FE9B3551F2}"/>
          </ac:spMkLst>
        </pc:spChg>
        <pc:spChg chg="mod">
          <ac:chgData name="Brian Riel" userId="S::brianr@remi.com::35c990ad-0d97-4b28-99f6-de66c29011f1" providerId="AD" clId="Web-{5313467F-6E98-9FA3-608D-505EB90DFD14}" dt="2022-05-17T20:04:59.256" v="673" actId="1076"/>
          <ac:spMkLst>
            <pc:docMk/>
            <pc:sldMk cId="3947175949" sldId="1741"/>
            <ac:spMk id="47" creationId="{7D65EBE0-74D4-4F0C-BDB7-E099883FDA8B}"/>
          </ac:spMkLst>
        </pc:spChg>
        <pc:spChg chg="mod">
          <ac:chgData name="Brian Riel" userId="S::brianr@remi.com::35c990ad-0d97-4b28-99f6-de66c29011f1" providerId="AD" clId="Web-{5313467F-6E98-9FA3-608D-505EB90DFD14}" dt="2022-05-17T20:06:28.757" v="812" actId="20577"/>
          <ac:spMkLst>
            <pc:docMk/>
            <pc:sldMk cId="3947175949" sldId="1741"/>
            <ac:spMk id="48" creationId="{DB250AFE-B6EE-4E7E-8E2D-1B507CE717FD}"/>
          </ac:spMkLst>
        </pc:spChg>
        <pc:spChg chg="del">
          <ac:chgData name="Brian Riel" userId="S::brianr@remi.com::35c990ad-0d97-4b28-99f6-de66c29011f1" providerId="AD" clId="Web-{5313467F-6E98-9FA3-608D-505EB90DFD14}" dt="2022-05-17T20:00:56.425" v="586"/>
          <ac:spMkLst>
            <pc:docMk/>
            <pc:sldMk cId="3947175949" sldId="1741"/>
            <ac:spMk id="49" creationId="{393171B0-E513-49EF-8BB3-C15A4CDCFEF2}"/>
          </ac:spMkLst>
        </pc:spChg>
        <pc:grpChg chg="mod">
          <ac:chgData name="Brian Riel" userId="S::brianr@remi.com::35c990ad-0d97-4b28-99f6-de66c29011f1" providerId="AD" clId="Web-{5313467F-6E98-9FA3-608D-505EB90DFD14}" dt="2022-05-17T20:04:41.927" v="667" actId="1076"/>
          <ac:grpSpMkLst>
            <pc:docMk/>
            <pc:sldMk cId="3947175949" sldId="1741"/>
            <ac:grpSpMk id="5" creationId="{22288C7D-5828-46A4-849B-DEAC3A288688}"/>
          </ac:grpSpMkLst>
        </pc:grpChg>
        <pc:grpChg chg="mod">
          <ac:chgData name="Brian Riel" userId="S::brianr@remi.com::35c990ad-0d97-4b28-99f6-de66c29011f1" providerId="AD" clId="Web-{5313467F-6E98-9FA3-608D-505EB90DFD14}" dt="2022-05-17T20:03:37.411" v="653" actId="1076"/>
          <ac:grpSpMkLst>
            <pc:docMk/>
            <pc:sldMk cId="3947175949" sldId="1741"/>
            <ac:grpSpMk id="13" creationId="{D53663FF-AEE3-46A4-96ED-C100E7AF620F}"/>
          </ac:grpSpMkLst>
        </pc:grpChg>
        <pc:grpChg chg="mod">
          <ac:chgData name="Brian Riel" userId="S::brianr@remi.com::35c990ad-0d97-4b28-99f6-de66c29011f1" providerId="AD" clId="Web-{5313467F-6E98-9FA3-608D-505EB90DFD14}" dt="2022-05-17T20:02:14.395" v="639" actId="1076"/>
          <ac:grpSpMkLst>
            <pc:docMk/>
            <pc:sldMk cId="3947175949" sldId="1741"/>
            <ac:grpSpMk id="21" creationId="{A9D06368-F85F-447C-B214-96D85D311AF0}"/>
          </ac:grpSpMkLst>
        </pc:grpChg>
        <pc:grpChg chg="mod">
          <ac:chgData name="Brian Riel" userId="S::brianr@remi.com::35c990ad-0d97-4b28-99f6-de66c29011f1" providerId="AD" clId="Web-{5313467F-6E98-9FA3-608D-505EB90DFD14}" dt="2022-05-17T20:04:21.849" v="662" actId="1076"/>
          <ac:grpSpMkLst>
            <pc:docMk/>
            <pc:sldMk cId="3947175949" sldId="1741"/>
            <ac:grpSpMk id="27" creationId="{DCACBC0D-E7F4-4AE6-A437-1CD1767F20D6}"/>
          </ac:grpSpMkLst>
        </pc:grpChg>
        <pc:picChg chg="mod">
          <ac:chgData name="Brian Riel" userId="S::brianr@remi.com::35c990ad-0d97-4b28-99f6-de66c29011f1" providerId="AD" clId="Web-{5313467F-6E98-9FA3-608D-505EB90DFD14}" dt="2022-05-17T20:03:51.271" v="656" actId="1076"/>
          <ac:picMkLst>
            <pc:docMk/>
            <pc:sldMk cId="3947175949" sldId="1741"/>
            <ac:picMk id="37" creationId="{539A43A1-0BC0-4CD7-A695-AF0AEF3560E8}"/>
          </ac:picMkLst>
        </pc:picChg>
        <pc:picChg chg="mod">
          <ac:chgData name="Brian Riel" userId="S::brianr@remi.com::35c990ad-0d97-4b28-99f6-de66c29011f1" providerId="AD" clId="Web-{5313467F-6E98-9FA3-608D-505EB90DFD14}" dt="2022-05-17T20:02:28.629" v="641" actId="1076"/>
          <ac:picMkLst>
            <pc:docMk/>
            <pc:sldMk cId="3947175949" sldId="1741"/>
            <ac:picMk id="39" creationId="{6160C340-74FF-4676-ABF5-F3A86B763C1F}"/>
          </ac:picMkLst>
        </pc:picChg>
        <pc:picChg chg="mod">
          <ac:chgData name="Brian Riel" userId="S::brianr@remi.com::35c990ad-0d97-4b28-99f6-de66c29011f1" providerId="AD" clId="Web-{5313467F-6E98-9FA3-608D-505EB90DFD14}" dt="2022-05-17T20:04:26.068" v="663" actId="1076"/>
          <ac:picMkLst>
            <pc:docMk/>
            <pc:sldMk cId="3947175949" sldId="1741"/>
            <ac:picMk id="40" creationId="{6108FD8F-E130-43B5-B44F-D6EE3E94C727}"/>
          </ac:picMkLst>
        </pc:picChg>
        <pc:picChg chg="del mod">
          <ac:chgData name="Brian Riel" userId="S::brianr@remi.com::35c990ad-0d97-4b28-99f6-de66c29011f1" providerId="AD" clId="Web-{5313467F-6E98-9FA3-608D-505EB90DFD14}" dt="2022-05-17T20:07:21.179" v="813"/>
          <ac:picMkLst>
            <pc:docMk/>
            <pc:sldMk cId="3947175949" sldId="1741"/>
            <ac:picMk id="50" creationId="{1C0D7112-389F-438E-9B41-2AB720F54E1B}"/>
          </ac:picMkLst>
        </pc:picChg>
      </pc:sldChg>
      <pc:sldChg chg="modSp mod ord modShow">
        <pc:chgData name="Brian Riel" userId="S::brianr@remi.com::35c990ad-0d97-4b28-99f6-de66c29011f1" providerId="AD" clId="Web-{5313467F-6E98-9FA3-608D-505EB90DFD14}" dt="2022-05-18T13:03:20.955" v="1942"/>
        <pc:sldMkLst>
          <pc:docMk/>
          <pc:sldMk cId="1790976667" sldId="1749"/>
        </pc:sldMkLst>
        <pc:spChg chg="mod">
          <ac:chgData name="Brian Riel" userId="S::brianr@remi.com::35c990ad-0d97-4b28-99f6-de66c29011f1" providerId="AD" clId="Web-{5313467F-6E98-9FA3-608D-505EB90DFD14}" dt="2022-05-17T19:55:06.578" v="508"/>
          <ac:spMkLst>
            <pc:docMk/>
            <pc:sldMk cId="1790976667" sldId="1749"/>
            <ac:spMk id="3" creationId="{904C90DF-16FC-40CB-B4BA-173129988D3C}"/>
          </ac:spMkLst>
        </pc:spChg>
        <pc:spChg chg="mod">
          <ac:chgData name="Brian Riel" userId="S::brianr@remi.com::35c990ad-0d97-4b28-99f6-de66c29011f1" providerId="AD" clId="Web-{5313467F-6E98-9FA3-608D-505EB90DFD14}" dt="2022-05-17T19:55:06.813" v="509"/>
          <ac:spMkLst>
            <pc:docMk/>
            <pc:sldMk cId="1790976667" sldId="1749"/>
            <ac:spMk id="4" creationId="{F68AED6C-2970-4618-A550-408582952F37}"/>
          </ac:spMkLst>
        </pc:spChg>
        <pc:spChg chg="mod">
          <ac:chgData name="Brian Riel" userId="S::brianr@remi.com::35c990ad-0d97-4b28-99f6-de66c29011f1" providerId="AD" clId="Web-{5313467F-6E98-9FA3-608D-505EB90DFD14}" dt="2022-05-17T19:55:07.047" v="510"/>
          <ac:spMkLst>
            <pc:docMk/>
            <pc:sldMk cId="1790976667" sldId="1749"/>
            <ac:spMk id="5" creationId="{9760D106-CAED-4393-8C0D-5FC6645DD144}"/>
          </ac:spMkLst>
        </pc:spChg>
        <pc:spChg chg="mod">
          <ac:chgData name="Brian Riel" userId="S::brianr@remi.com::35c990ad-0d97-4b28-99f6-de66c29011f1" providerId="AD" clId="Web-{5313467F-6E98-9FA3-608D-505EB90DFD14}" dt="2022-05-17T19:55:07.281" v="511"/>
          <ac:spMkLst>
            <pc:docMk/>
            <pc:sldMk cId="1790976667" sldId="1749"/>
            <ac:spMk id="6" creationId="{BCED7DD6-1A64-4405-BDAC-E44485912114}"/>
          </ac:spMkLst>
        </pc:spChg>
        <pc:spChg chg="mod">
          <ac:chgData name="Brian Riel" userId="S::brianr@remi.com::35c990ad-0d97-4b28-99f6-de66c29011f1" providerId="AD" clId="Web-{5313467F-6E98-9FA3-608D-505EB90DFD14}" dt="2022-05-17T19:55:07.516" v="512"/>
          <ac:spMkLst>
            <pc:docMk/>
            <pc:sldMk cId="1790976667" sldId="1749"/>
            <ac:spMk id="7" creationId="{F097987C-BF3A-4187-8AC4-0E8BAAA6E9A6}"/>
          </ac:spMkLst>
        </pc:spChg>
        <pc:spChg chg="mod">
          <ac:chgData name="Brian Riel" userId="S::brianr@remi.com::35c990ad-0d97-4b28-99f6-de66c29011f1" providerId="AD" clId="Web-{5313467F-6E98-9FA3-608D-505EB90DFD14}" dt="2022-05-17T19:55:07.735" v="513"/>
          <ac:spMkLst>
            <pc:docMk/>
            <pc:sldMk cId="1790976667" sldId="1749"/>
            <ac:spMk id="8" creationId="{38F472A3-8AF9-4825-885D-D6960A37E1F4}"/>
          </ac:spMkLst>
        </pc:spChg>
        <pc:spChg chg="mod">
          <ac:chgData name="Brian Riel" userId="S::brianr@remi.com::35c990ad-0d97-4b28-99f6-de66c29011f1" providerId="AD" clId="Web-{5313467F-6E98-9FA3-608D-505EB90DFD14}" dt="2022-05-17T19:55:07.969" v="514"/>
          <ac:spMkLst>
            <pc:docMk/>
            <pc:sldMk cId="1790976667" sldId="1749"/>
            <ac:spMk id="9" creationId="{DB5C16B4-9169-4073-B680-45C5801F356B}"/>
          </ac:spMkLst>
        </pc:spChg>
        <pc:spChg chg="mod">
          <ac:chgData name="Brian Riel" userId="S::brianr@remi.com::35c990ad-0d97-4b28-99f6-de66c29011f1" providerId="AD" clId="Web-{5313467F-6E98-9FA3-608D-505EB90DFD14}" dt="2022-05-17T19:55:08.203" v="515"/>
          <ac:spMkLst>
            <pc:docMk/>
            <pc:sldMk cId="1790976667" sldId="1749"/>
            <ac:spMk id="10" creationId="{6037D7CA-CD36-475A-A12E-AA14FBAEEA4F}"/>
          </ac:spMkLst>
        </pc:spChg>
        <pc:spChg chg="mod">
          <ac:chgData name="Brian Riel" userId="S::brianr@remi.com::35c990ad-0d97-4b28-99f6-de66c29011f1" providerId="AD" clId="Web-{5313467F-6E98-9FA3-608D-505EB90DFD14}" dt="2022-05-17T19:56:04.501" v="562"/>
          <ac:spMkLst>
            <pc:docMk/>
            <pc:sldMk cId="1790976667" sldId="1749"/>
            <ac:spMk id="11" creationId="{9345DE37-7DEB-459F-B0B4-D04D8AB1A9A7}"/>
          </ac:spMkLst>
        </pc:spChg>
        <pc:spChg chg="mod">
          <ac:chgData name="Brian Riel" userId="S::brianr@remi.com::35c990ad-0d97-4b28-99f6-de66c29011f1" providerId="AD" clId="Web-{5313467F-6E98-9FA3-608D-505EB90DFD14}" dt="2022-05-17T19:55:08.688" v="517"/>
          <ac:spMkLst>
            <pc:docMk/>
            <pc:sldMk cId="1790976667" sldId="1749"/>
            <ac:spMk id="12" creationId="{B902D2C1-F4BE-43D8-9B2A-9120B9C16F2E}"/>
          </ac:spMkLst>
        </pc:spChg>
        <pc:spChg chg="mod">
          <ac:chgData name="Brian Riel" userId="S::brianr@remi.com::35c990ad-0d97-4b28-99f6-de66c29011f1" providerId="AD" clId="Web-{5313467F-6E98-9FA3-608D-505EB90DFD14}" dt="2022-05-17T19:55:08.906" v="518"/>
          <ac:spMkLst>
            <pc:docMk/>
            <pc:sldMk cId="1790976667" sldId="1749"/>
            <ac:spMk id="13" creationId="{6778CE8E-0D50-44E2-8059-CB0573A18430}"/>
          </ac:spMkLst>
        </pc:spChg>
        <pc:spChg chg="mod">
          <ac:chgData name="Brian Riel" userId="S::brianr@remi.com::35c990ad-0d97-4b28-99f6-de66c29011f1" providerId="AD" clId="Web-{5313467F-6E98-9FA3-608D-505EB90DFD14}" dt="2022-05-17T19:55:09.172" v="519"/>
          <ac:spMkLst>
            <pc:docMk/>
            <pc:sldMk cId="1790976667" sldId="1749"/>
            <ac:spMk id="14" creationId="{5BA2DB3D-B3ED-4F90-8B7D-A0A61E34FC0B}"/>
          </ac:spMkLst>
        </pc:spChg>
        <pc:spChg chg="mod">
          <ac:chgData name="Brian Riel" userId="S::brianr@remi.com::35c990ad-0d97-4b28-99f6-de66c29011f1" providerId="AD" clId="Web-{5313467F-6E98-9FA3-608D-505EB90DFD14}" dt="2022-05-17T19:55:09.406" v="520"/>
          <ac:spMkLst>
            <pc:docMk/>
            <pc:sldMk cId="1790976667" sldId="1749"/>
            <ac:spMk id="15" creationId="{5E3649FD-B7F3-42CC-B259-08EA7A82EF8A}"/>
          </ac:spMkLst>
        </pc:spChg>
        <pc:spChg chg="mod">
          <ac:chgData name="Brian Riel" userId="S::brianr@remi.com::35c990ad-0d97-4b28-99f6-de66c29011f1" providerId="AD" clId="Web-{5313467F-6E98-9FA3-608D-505EB90DFD14}" dt="2022-05-17T19:55:09.656" v="521"/>
          <ac:spMkLst>
            <pc:docMk/>
            <pc:sldMk cId="1790976667" sldId="1749"/>
            <ac:spMk id="16" creationId="{4E05A3BD-7280-4A27-B7A6-25DC359611B5}"/>
          </ac:spMkLst>
        </pc:spChg>
        <pc:spChg chg="mod">
          <ac:chgData name="Brian Riel" userId="S::brianr@remi.com::35c990ad-0d97-4b28-99f6-de66c29011f1" providerId="AD" clId="Web-{5313467F-6E98-9FA3-608D-505EB90DFD14}" dt="2022-05-17T19:55:09.891" v="522"/>
          <ac:spMkLst>
            <pc:docMk/>
            <pc:sldMk cId="1790976667" sldId="1749"/>
            <ac:spMk id="17" creationId="{70B60824-1434-43D9-807D-BECB39F333F8}"/>
          </ac:spMkLst>
        </pc:spChg>
        <pc:spChg chg="mod">
          <ac:chgData name="Brian Riel" userId="S::brianr@remi.com::35c990ad-0d97-4b28-99f6-de66c29011f1" providerId="AD" clId="Web-{5313467F-6E98-9FA3-608D-505EB90DFD14}" dt="2022-05-17T19:55:10.141" v="523"/>
          <ac:spMkLst>
            <pc:docMk/>
            <pc:sldMk cId="1790976667" sldId="1749"/>
            <ac:spMk id="18" creationId="{5A7E5780-9F03-41AA-819F-25E0720D2786}"/>
          </ac:spMkLst>
        </pc:spChg>
        <pc:spChg chg="mod">
          <ac:chgData name="Brian Riel" userId="S::brianr@remi.com::35c990ad-0d97-4b28-99f6-de66c29011f1" providerId="AD" clId="Web-{5313467F-6E98-9FA3-608D-505EB90DFD14}" dt="2022-05-17T19:55:10.391" v="524"/>
          <ac:spMkLst>
            <pc:docMk/>
            <pc:sldMk cId="1790976667" sldId="1749"/>
            <ac:spMk id="19" creationId="{33CBF900-3EAE-45D6-9D2C-0142922B3912}"/>
          </ac:spMkLst>
        </pc:spChg>
        <pc:spChg chg="mod">
          <ac:chgData name="Brian Riel" userId="S::brianr@remi.com::35c990ad-0d97-4b28-99f6-de66c29011f1" providerId="AD" clId="Web-{5313467F-6E98-9FA3-608D-505EB90DFD14}" dt="2022-05-17T19:55:10.625" v="525"/>
          <ac:spMkLst>
            <pc:docMk/>
            <pc:sldMk cId="1790976667" sldId="1749"/>
            <ac:spMk id="20" creationId="{07D05ECE-3947-4DDE-B804-4581C1E7BBD4}"/>
          </ac:spMkLst>
        </pc:spChg>
        <pc:spChg chg="mod">
          <ac:chgData name="Brian Riel" userId="S::brianr@remi.com::35c990ad-0d97-4b28-99f6-de66c29011f1" providerId="AD" clId="Web-{5313467F-6E98-9FA3-608D-505EB90DFD14}" dt="2022-05-17T19:55:10.875" v="526"/>
          <ac:spMkLst>
            <pc:docMk/>
            <pc:sldMk cId="1790976667" sldId="1749"/>
            <ac:spMk id="21" creationId="{C4107111-EC8D-4BA4-AE5B-10AC5573C7D0}"/>
          </ac:spMkLst>
        </pc:spChg>
        <pc:spChg chg="mod">
          <ac:chgData name="Brian Riel" userId="S::brianr@remi.com::35c990ad-0d97-4b28-99f6-de66c29011f1" providerId="AD" clId="Web-{5313467F-6E98-9FA3-608D-505EB90DFD14}" dt="2022-05-17T19:55:11.110" v="527"/>
          <ac:spMkLst>
            <pc:docMk/>
            <pc:sldMk cId="1790976667" sldId="1749"/>
            <ac:spMk id="22" creationId="{0F1B0F79-88E5-4372-810F-E5E15F89EE3D}"/>
          </ac:spMkLst>
        </pc:spChg>
        <pc:spChg chg="mod">
          <ac:chgData name="Brian Riel" userId="S::brianr@remi.com::35c990ad-0d97-4b28-99f6-de66c29011f1" providerId="AD" clId="Web-{5313467F-6E98-9FA3-608D-505EB90DFD14}" dt="2022-05-17T19:55:11.344" v="528"/>
          <ac:spMkLst>
            <pc:docMk/>
            <pc:sldMk cId="1790976667" sldId="1749"/>
            <ac:spMk id="23" creationId="{7C394D2A-8D99-4BDF-8AA7-1762A14BD754}"/>
          </ac:spMkLst>
        </pc:spChg>
        <pc:spChg chg="mod">
          <ac:chgData name="Brian Riel" userId="S::brianr@remi.com::35c990ad-0d97-4b28-99f6-de66c29011f1" providerId="AD" clId="Web-{5313467F-6E98-9FA3-608D-505EB90DFD14}" dt="2022-05-17T19:55:11.578" v="529"/>
          <ac:spMkLst>
            <pc:docMk/>
            <pc:sldMk cId="1790976667" sldId="1749"/>
            <ac:spMk id="24" creationId="{21DA6D09-6B78-4A07-A26F-9F16F8651817}"/>
          </ac:spMkLst>
        </pc:spChg>
        <pc:spChg chg="mod">
          <ac:chgData name="Brian Riel" userId="S::brianr@remi.com::35c990ad-0d97-4b28-99f6-de66c29011f1" providerId="AD" clId="Web-{5313467F-6E98-9FA3-608D-505EB90DFD14}" dt="2022-05-17T19:55:11.813" v="530"/>
          <ac:spMkLst>
            <pc:docMk/>
            <pc:sldMk cId="1790976667" sldId="1749"/>
            <ac:spMk id="25" creationId="{D2B5E3D7-8BA7-4F93-8B03-4469E6CD5159}"/>
          </ac:spMkLst>
        </pc:spChg>
        <pc:spChg chg="mod">
          <ac:chgData name="Brian Riel" userId="S::brianr@remi.com::35c990ad-0d97-4b28-99f6-de66c29011f1" providerId="AD" clId="Web-{5313467F-6E98-9FA3-608D-505EB90DFD14}" dt="2022-05-17T19:55:15.891" v="547"/>
          <ac:spMkLst>
            <pc:docMk/>
            <pc:sldMk cId="1790976667" sldId="1749"/>
            <ac:spMk id="27" creationId="{C451FA42-6E64-4261-91BF-DEE5F7595574}"/>
          </ac:spMkLst>
        </pc:spChg>
        <pc:spChg chg="mod">
          <ac:chgData name="Brian Riel" userId="S::brianr@remi.com::35c990ad-0d97-4b28-99f6-de66c29011f1" providerId="AD" clId="Web-{5313467F-6E98-9FA3-608D-505EB90DFD14}" dt="2022-05-17T19:55:16.141" v="548"/>
          <ac:spMkLst>
            <pc:docMk/>
            <pc:sldMk cId="1790976667" sldId="1749"/>
            <ac:spMk id="28" creationId="{10C3B420-B257-405F-AA7B-DE74905F4F6E}"/>
          </ac:spMkLst>
        </pc:spChg>
        <pc:spChg chg="mod">
          <ac:chgData name="Brian Riel" userId="S::brianr@remi.com::35c990ad-0d97-4b28-99f6-de66c29011f1" providerId="AD" clId="Web-{5313467F-6E98-9FA3-608D-505EB90DFD14}" dt="2022-05-17T19:55:40.844" v="561"/>
          <ac:spMkLst>
            <pc:docMk/>
            <pc:sldMk cId="1790976667" sldId="1749"/>
            <ac:spMk id="29" creationId="{B009A1A9-755E-4F03-81B7-483B033DAD9B}"/>
          </ac:spMkLst>
        </pc:spChg>
        <pc:spChg chg="mod">
          <ac:chgData name="Brian Riel" userId="S::brianr@remi.com::35c990ad-0d97-4b28-99f6-de66c29011f1" providerId="AD" clId="Web-{5313467F-6E98-9FA3-608D-505EB90DFD14}" dt="2022-05-17T19:55:16.610" v="550"/>
          <ac:spMkLst>
            <pc:docMk/>
            <pc:sldMk cId="1790976667" sldId="1749"/>
            <ac:spMk id="30" creationId="{95B7F170-3858-4CD9-95F9-5456C1DD7AA6}"/>
          </ac:spMkLst>
        </pc:spChg>
        <pc:spChg chg="mod">
          <ac:chgData name="Brian Riel" userId="S::brianr@remi.com::35c990ad-0d97-4b28-99f6-de66c29011f1" providerId="AD" clId="Web-{5313467F-6E98-9FA3-608D-505EB90DFD14}" dt="2022-05-17T19:55:16.844" v="551"/>
          <ac:spMkLst>
            <pc:docMk/>
            <pc:sldMk cId="1790976667" sldId="1749"/>
            <ac:spMk id="31" creationId="{400C0C9A-589E-41D0-A558-CFFB710FFC02}"/>
          </ac:spMkLst>
        </pc:spChg>
        <pc:spChg chg="mod">
          <ac:chgData name="Brian Riel" userId="S::brianr@remi.com::35c990ad-0d97-4b28-99f6-de66c29011f1" providerId="AD" clId="Web-{5313467F-6E98-9FA3-608D-505EB90DFD14}" dt="2022-05-17T19:55:17.078" v="552"/>
          <ac:spMkLst>
            <pc:docMk/>
            <pc:sldMk cId="1790976667" sldId="1749"/>
            <ac:spMk id="32" creationId="{EB2A4EA3-DDFF-4B4C-93A4-E243596A7D3B}"/>
          </ac:spMkLst>
        </pc:spChg>
        <pc:spChg chg="mod">
          <ac:chgData name="Brian Riel" userId="S::brianr@remi.com::35c990ad-0d97-4b28-99f6-de66c29011f1" providerId="AD" clId="Web-{5313467F-6E98-9FA3-608D-505EB90DFD14}" dt="2022-05-17T19:55:17.313" v="553"/>
          <ac:spMkLst>
            <pc:docMk/>
            <pc:sldMk cId="1790976667" sldId="1749"/>
            <ac:spMk id="33" creationId="{00A94BE0-4C70-41AC-AB01-C792B53213DB}"/>
          </ac:spMkLst>
        </pc:spChg>
        <pc:spChg chg="mod">
          <ac:chgData name="Brian Riel" userId="S::brianr@remi.com::35c990ad-0d97-4b28-99f6-de66c29011f1" providerId="AD" clId="Web-{5313467F-6E98-9FA3-608D-505EB90DFD14}" dt="2022-05-17T19:55:17.547" v="554"/>
          <ac:spMkLst>
            <pc:docMk/>
            <pc:sldMk cId="1790976667" sldId="1749"/>
            <ac:spMk id="34" creationId="{AFF1DE97-47F1-4CC1-BC77-F171F7A0EA89}"/>
          </ac:spMkLst>
        </pc:spChg>
        <pc:spChg chg="mod">
          <ac:chgData name="Brian Riel" userId="S::brianr@remi.com::35c990ad-0d97-4b28-99f6-de66c29011f1" providerId="AD" clId="Web-{5313467F-6E98-9FA3-608D-505EB90DFD14}" dt="2022-05-17T19:55:17.782" v="555"/>
          <ac:spMkLst>
            <pc:docMk/>
            <pc:sldMk cId="1790976667" sldId="1749"/>
            <ac:spMk id="35" creationId="{808D5041-C56C-4CC8-9DFE-4D9E9081D0D7}"/>
          </ac:spMkLst>
        </pc:spChg>
        <pc:spChg chg="mod">
          <ac:chgData name="Brian Riel" userId="S::brianr@remi.com::35c990ad-0d97-4b28-99f6-de66c29011f1" providerId="AD" clId="Web-{5313467F-6E98-9FA3-608D-505EB90DFD14}" dt="2022-05-17T19:55:18.032" v="556"/>
          <ac:spMkLst>
            <pc:docMk/>
            <pc:sldMk cId="1790976667" sldId="1749"/>
            <ac:spMk id="36" creationId="{DC7B1DFA-AFD6-4465-9440-E8FD8C096162}"/>
          </ac:spMkLst>
        </pc:spChg>
        <pc:spChg chg="mod">
          <ac:chgData name="Brian Riel" userId="S::brianr@remi.com::35c990ad-0d97-4b28-99f6-de66c29011f1" providerId="AD" clId="Web-{5313467F-6E98-9FA3-608D-505EB90DFD14}" dt="2022-05-17T19:55:18.250" v="557"/>
          <ac:spMkLst>
            <pc:docMk/>
            <pc:sldMk cId="1790976667" sldId="1749"/>
            <ac:spMk id="37" creationId="{1619987B-E206-45ED-925B-41A7DB2FE0CC}"/>
          </ac:spMkLst>
        </pc:spChg>
        <pc:spChg chg="mod">
          <ac:chgData name="Brian Riel" userId="S::brianr@remi.com::35c990ad-0d97-4b28-99f6-de66c29011f1" providerId="AD" clId="Web-{5313467F-6E98-9FA3-608D-505EB90DFD14}" dt="2022-05-17T19:55:18.485" v="558"/>
          <ac:spMkLst>
            <pc:docMk/>
            <pc:sldMk cId="1790976667" sldId="1749"/>
            <ac:spMk id="38" creationId="{CFA67FEA-C609-41F6-8F15-5B3DDD5A8177}"/>
          </ac:spMkLst>
        </pc:spChg>
        <pc:spChg chg="mod">
          <ac:chgData name="Brian Riel" userId="S::brianr@remi.com::35c990ad-0d97-4b28-99f6-de66c29011f1" providerId="AD" clId="Web-{5313467F-6E98-9FA3-608D-505EB90DFD14}" dt="2022-05-17T19:55:12.047" v="531"/>
          <ac:spMkLst>
            <pc:docMk/>
            <pc:sldMk cId="1790976667" sldId="1749"/>
            <ac:spMk id="39" creationId="{69306175-3DB9-4773-B4C2-0029A75DB2A2}"/>
          </ac:spMkLst>
        </pc:spChg>
        <pc:spChg chg="mod">
          <ac:chgData name="Brian Riel" userId="S::brianr@remi.com::35c990ad-0d97-4b28-99f6-de66c29011f1" providerId="AD" clId="Web-{5313467F-6E98-9FA3-608D-505EB90DFD14}" dt="2022-05-17T19:55:12.297" v="532"/>
          <ac:spMkLst>
            <pc:docMk/>
            <pc:sldMk cId="1790976667" sldId="1749"/>
            <ac:spMk id="40" creationId="{F6254392-DF1C-4211-A982-6A4EA7F2E5E5}"/>
          </ac:spMkLst>
        </pc:spChg>
        <pc:spChg chg="mod">
          <ac:chgData name="Brian Riel" userId="S::brianr@remi.com::35c990ad-0d97-4b28-99f6-de66c29011f1" providerId="AD" clId="Web-{5313467F-6E98-9FA3-608D-505EB90DFD14}" dt="2022-05-17T19:55:12.531" v="533"/>
          <ac:spMkLst>
            <pc:docMk/>
            <pc:sldMk cId="1790976667" sldId="1749"/>
            <ac:spMk id="41" creationId="{1AEC1868-8B72-4FA1-BED5-D7641DD03F23}"/>
          </ac:spMkLst>
        </pc:spChg>
        <pc:spChg chg="mod">
          <ac:chgData name="Brian Riel" userId="S::brianr@remi.com::35c990ad-0d97-4b28-99f6-de66c29011f1" providerId="AD" clId="Web-{5313467F-6E98-9FA3-608D-505EB90DFD14}" dt="2022-05-17T19:55:12.766" v="534"/>
          <ac:spMkLst>
            <pc:docMk/>
            <pc:sldMk cId="1790976667" sldId="1749"/>
            <ac:spMk id="42" creationId="{0278A10D-289B-4A4E-93BD-1673F5C04602}"/>
          </ac:spMkLst>
        </pc:spChg>
        <pc:spChg chg="mod">
          <ac:chgData name="Brian Riel" userId="S::brianr@remi.com::35c990ad-0d97-4b28-99f6-de66c29011f1" providerId="AD" clId="Web-{5313467F-6E98-9FA3-608D-505EB90DFD14}" dt="2022-05-17T19:55:13" v="535"/>
          <ac:spMkLst>
            <pc:docMk/>
            <pc:sldMk cId="1790976667" sldId="1749"/>
            <ac:spMk id="43" creationId="{7C30A649-50C5-4DA1-AD91-002824AA666D}"/>
          </ac:spMkLst>
        </pc:spChg>
        <pc:spChg chg="mod">
          <ac:chgData name="Brian Riel" userId="S::brianr@remi.com::35c990ad-0d97-4b28-99f6-de66c29011f1" providerId="AD" clId="Web-{5313467F-6E98-9FA3-608D-505EB90DFD14}" dt="2022-05-17T19:55:13.250" v="536"/>
          <ac:spMkLst>
            <pc:docMk/>
            <pc:sldMk cId="1790976667" sldId="1749"/>
            <ac:spMk id="44" creationId="{6CF1445F-DDFC-42E0-AB9E-A0A5C19E03C6}"/>
          </ac:spMkLst>
        </pc:spChg>
        <pc:spChg chg="mod">
          <ac:chgData name="Brian Riel" userId="S::brianr@remi.com::35c990ad-0d97-4b28-99f6-de66c29011f1" providerId="AD" clId="Web-{5313467F-6E98-9FA3-608D-505EB90DFD14}" dt="2022-05-17T19:55:13.485" v="537"/>
          <ac:spMkLst>
            <pc:docMk/>
            <pc:sldMk cId="1790976667" sldId="1749"/>
            <ac:spMk id="45" creationId="{1EC3B4A4-9B28-4AA3-B20C-7000EE4A1E10}"/>
          </ac:spMkLst>
        </pc:spChg>
        <pc:spChg chg="mod">
          <ac:chgData name="Brian Riel" userId="S::brianr@remi.com::35c990ad-0d97-4b28-99f6-de66c29011f1" providerId="AD" clId="Web-{5313467F-6E98-9FA3-608D-505EB90DFD14}" dt="2022-05-17T19:55:13.719" v="538"/>
          <ac:spMkLst>
            <pc:docMk/>
            <pc:sldMk cId="1790976667" sldId="1749"/>
            <ac:spMk id="46" creationId="{9BEE2796-4A51-4709-8E2F-594439484B66}"/>
          </ac:spMkLst>
        </pc:spChg>
        <pc:spChg chg="mod">
          <ac:chgData name="Brian Riel" userId="S::brianr@remi.com::35c990ad-0d97-4b28-99f6-de66c29011f1" providerId="AD" clId="Web-{5313467F-6E98-9FA3-608D-505EB90DFD14}" dt="2022-05-17T19:55:13.953" v="539"/>
          <ac:spMkLst>
            <pc:docMk/>
            <pc:sldMk cId="1790976667" sldId="1749"/>
            <ac:spMk id="47" creationId="{1E1D136D-346D-417C-A6CC-185FB1A470A0}"/>
          </ac:spMkLst>
        </pc:spChg>
        <pc:spChg chg="mod">
          <ac:chgData name="Brian Riel" userId="S::brianr@remi.com::35c990ad-0d97-4b28-99f6-de66c29011f1" providerId="AD" clId="Web-{5313467F-6E98-9FA3-608D-505EB90DFD14}" dt="2022-05-17T19:55:14.203" v="540"/>
          <ac:spMkLst>
            <pc:docMk/>
            <pc:sldMk cId="1790976667" sldId="1749"/>
            <ac:spMk id="48" creationId="{71DEA7DC-64F6-4018-AB63-19EAABD780BD}"/>
          </ac:spMkLst>
        </pc:spChg>
        <pc:spChg chg="mod">
          <ac:chgData name="Brian Riel" userId="S::brianr@remi.com::35c990ad-0d97-4b28-99f6-de66c29011f1" providerId="AD" clId="Web-{5313467F-6E98-9FA3-608D-505EB90DFD14}" dt="2022-05-17T19:55:14.438" v="541"/>
          <ac:spMkLst>
            <pc:docMk/>
            <pc:sldMk cId="1790976667" sldId="1749"/>
            <ac:spMk id="49" creationId="{3C24AE76-4645-43EE-9BCC-C92EE9AD5508}"/>
          </ac:spMkLst>
        </pc:spChg>
        <pc:spChg chg="mod">
          <ac:chgData name="Brian Riel" userId="S::brianr@remi.com::35c990ad-0d97-4b28-99f6-de66c29011f1" providerId="AD" clId="Web-{5313467F-6E98-9FA3-608D-505EB90DFD14}" dt="2022-05-17T19:55:14.672" v="542"/>
          <ac:spMkLst>
            <pc:docMk/>
            <pc:sldMk cId="1790976667" sldId="1749"/>
            <ac:spMk id="50" creationId="{6722A183-C788-46EA-8A0A-7D70CD59C586}"/>
          </ac:spMkLst>
        </pc:spChg>
        <pc:spChg chg="mod">
          <ac:chgData name="Brian Riel" userId="S::brianr@remi.com::35c990ad-0d97-4b28-99f6-de66c29011f1" providerId="AD" clId="Web-{5313467F-6E98-9FA3-608D-505EB90DFD14}" dt="2022-05-17T19:55:14.907" v="543"/>
          <ac:spMkLst>
            <pc:docMk/>
            <pc:sldMk cId="1790976667" sldId="1749"/>
            <ac:spMk id="51" creationId="{6E1E66FA-E2FC-4BAD-AB9E-96A2A1BC4C71}"/>
          </ac:spMkLst>
        </pc:spChg>
        <pc:spChg chg="mod">
          <ac:chgData name="Brian Riel" userId="S::brianr@remi.com::35c990ad-0d97-4b28-99f6-de66c29011f1" providerId="AD" clId="Web-{5313467F-6E98-9FA3-608D-505EB90DFD14}" dt="2022-05-17T19:55:15.157" v="544"/>
          <ac:spMkLst>
            <pc:docMk/>
            <pc:sldMk cId="1790976667" sldId="1749"/>
            <ac:spMk id="52" creationId="{D1D0AADF-1A34-4E36-815C-A6A0612B6868}"/>
          </ac:spMkLst>
        </pc:spChg>
        <pc:spChg chg="mod">
          <ac:chgData name="Brian Riel" userId="S::brianr@remi.com::35c990ad-0d97-4b28-99f6-de66c29011f1" providerId="AD" clId="Web-{5313467F-6E98-9FA3-608D-505EB90DFD14}" dt="2022-05-17T19:55:15.407" v="545"/>
          <ac:spMkLst>
            <pc:docMk/>
            <pc:sldMk cId="1790976667" sldId="1749"/>
            <ac:spMk id="53" creationId="{631C6F12-CB2E-4C15-BA13-19E974C0A688}"/>
          </ac:spMkLst>
        </pc:spChg>
        <pc:spChg chg="mod">
          <ac:chgData name="Brian Riel" userId="S::brianr@remi.com::35c990ad-0d97-4b28-99f6-de66c29011f1" providerId="AD" clId="Web-{5313467F-6E98-9FA3-608D-505EB90DFD14}" dt="2022-05-17T19:55:15.641" v="546"/>
          <ac:spMkLst>
            <pc:docMk/>
            <pc:sldMk cId="1790976667" sldId="1749"/>
            <ac:spMk id="54" creationId="{257D382E-E8DA-428E-A6C6-ABD80CA2AB98}"/>
          </ac:spMkLst>
        </pc:spChg>
        <pc:spChg chg="mod">
          <ac:chgData name="Brian Riel" userId="S::brianr@remi.com::35c990ad-0d97-4b28-99f6-de66c29011f1" providerId="AD" clId="Web-{5313467F-6E98-9FA3-608D-505EB90DFD14}" dt="2022-05-18T13:02:27.752" v="1940" actId="20577"/>
          <ac:spMkLst>
            <pc:docMk/>
            <pc:sldMk cId="1790976667" sldId="1749"/>
            <ac:spMk id="117" creationId="{BA3D6675-FD24-4027-B5BD-B4B32E53C4CD}"/>
          </ac:spMkLst>
        </pc:spChg>
      </pc:sldChg>
      <pc:sldChg chg="modSp">
        <pc:chgData name="Brian Riel" userId="S::brianr@remi.com::35c990ad-0d97-4b28-99f6-de66c29011f1" providerId="AD" clId="Web-{5313467F-6E98-9FA3-608D-505EB90DFD14}" dt="2022-05-17T19:22:19.763" v="52" actId="20577"/>
        <pc:sldMkLst>
          <pc:docMk/>
          <pc:sldMk cId="3655581026" sldId="1759"/>
        </pc:sldMkLst>
        <pc:spChg chg="mod">
          <ac:chgData name="Brian Riel" userId="S::brianr@remi.com::35c990ad-0d97-4b28-99f6-de66c29011f1" providerId="AD" clId="Web-{5313467F-6E98-9FA3-608D-505EB90DFD14}" dt="2022-05-17T19:22:19.763" v="52" actId="20577"/>
          <ac:spMkLst>
            <pc:docMk/>
            <pc:sldMk cId="3655581026" sldId="1759"/>
            <ac:spMk id="4" creationId="{B92A55C0-12DF-48E8-B7E5-31BFDD761913}"/>
          </ac:spMkLst>
        </pc:spChg>
      </pc:sldChg>
      <pc:sldChg chg="modSp">
        <pc:chgData name="Brian Riel" userId="S::brianr@remi.com::35c990ad-0d97-4b28-99f6-de66c29011f1" providerId="AD" clId="Web-{5313467F-6E98-9FA3-608D-505EB90DFD14}" dt="2022-05-17T20:29:28.098" v="1688" actId="20577"/>
        <pc:sldMkLst>
          <pc:docMk/>
          <pc:sldMk cId="1792675798" sldId="1760"/>
        </pc:sldMkLst>
        <pc:spChg chg="mod">
          <ac:chgData name="Brian Riel" userId="S::brianr@remi.com::35c990ad-0d97-4b28-99f6-de66c29011f1" providerId="AD" clId="Web-{5313467F-6E98-9FA3-608D-505EB90DFD14}" dt="2022-05-17T20:09:46.884" v="829" actId="20577"/>
          <ac:spMkLst>
            <pc:docMk/>
            <pc:sldMk cId="1792675798" sldId="1760"/>
            <ac:spMk id="8" creationId="{42B815E8-1DF7-4D36-B0C2-F0A0B51D7E2E}"/>
          </ac:spMkLst>
        </pc:spChg>
        <pc:spChg chg="mod">
          <ac:chgData name="Brian Riel" userId="S::brianr@remi.com::35c990ad-0d97-4b28-99f6-de66c29011f1" providerId="AD" clId="Web-{5313467F-6E98-9FA3-608D-505EB90DFD14}" dt="2022-05-17T20:29:28.098" v="1688" actId="20577"/>
          <ac:spMkLst>
            <pc:docMk/>
            <pc:sldMk cId="1792675798" sldId="1760"/>
            <ac:spMk id="9" creationId="{05309671-7FB5-FC47-4A51-5D71E472AB38}"/>
          </ac:spMkLst>
        </pc:spChg>
      </pc:sldChg>
      <pc:sldChg chg="delSp modSp del">
        <pc:chgData name="Brian Riel" userId="S::brianr@remi.com::35c990ad-0d97-4b28-99f6-de66c29011f1" providerId="AD" clId="Web-{5313467F-6E98-9FA3-608D-505EB90DFD14}" dt="2022-05-17T20:26:40.206" v="1622"/>
        <pc:sldMkLst>
          <pc:docMk/>
          <pc:sldMk cId="3164089913" sldId="1761"/>
        </pc:sldMkLst>
        <pc:spChg chg="mod">
          <ac:chgData name="Brian Riel" userId="S::brianr@remi.com::35c990ad-0d97-4b28-99f6-de66c29011f1" providerId="AD" clId="Web-{5313467F-6E98-9FA3-608D-505EB90DFD14}" dt="2022-05-17T20:26:20.471" v="1617" actId="1076"/>
          <ac:spMkLst>
            <pc:docMk/>
            <pc:sldMk cId="3164089913" sldId="1761"/>
            <ac:spMk id="17" creationId="{F4D087CE-A955-4B14-A81B-7525861FAED4}"/>
          </ac:spMkLst>
        </pc:spChg>
        <pc:spChg chg="del">
          <ac:chgData name="Brian Riel" userId="S::brianr@remi.com::35c990ad-0d97-4b28-99f6-de66c29011f1" providerId="AD" clId="Web-{5313467F-6E98-9FA3-608D-505EB90DFD14}" dt="2022-05-17T20:26:16.237" v="1616"/>
          <ac:spMkLst>
            <pc:docMk/>
            <pc:sldMk cId="3164089913" sldId="1761"/>
            <ac:spMk id="18" creationId="{41EC4D60-3057-447A-8ECF-7A600FF200D6}"/>
          </ac:spMkLst>
        </pc:spChg>
        <pc:spChg chg="mod">
          <ac:chgData name="Brian Riel" userId="S::brianr@remi.com::35c990ad-0d97-4b28-99f6-de66c29011f1" providerId="AD" clId="Web-{5313467F-6E98-9FA3-608D-505EB90DFD14}" dt="2022-05-17T20:26:23.159" v="1618" actId="1076"/>
          <ac:spMkLst>
            <pc:docMk/>
            <pc:sldMk cId="3164089913" sldId="1761"/>
            <ac:spMk id="20" creationId="{54B5C667-19A2-454C-8D82-1F484DC682EF}"/>
          </ac:spMkLst>
        </pc:spChg>
        <pc:spChg chg="mod">
          <ac:chgData name="Brian Riel" userId="S::brianr@remi.com::35c990ad-0d97-4b28-99f6-de66c29011f1" providerId="AD" clId="Web-{5313467F-6E98-9FA3-608D-505EB90DFD14}" dt="2022-05-17T20:26:26.065" v="1619" actId="1076"/>
          <ac:spMkLst>
            <pc:docMk/>
            <pc:sldMk cId="3164089913" sldId="1761"/>
            <ac:spMk id="21" creationId="{B7301DAF-868E-4B07-A172-0091653222F8}"/>
          </ac:spMkLst>
        </pc:spChg>
        <pc:spChg chg="mod">
          <ac:chgData name="Brian Riel" userId="S::brianr@remi.com::35c990ad-0d97-4b28-99f6-de66c29011f1" providerId="AD" clId="Web-{5313467F-6E98-9FA3-608D-505EB90DFD14}" dt="2022-05-17T20:26:28.315" v="1620" actId="1076"/>
          <ac:spMkLst>
            <pc:docMk/>
            <pc:sldMk cId="3164089913" sldId="1761"/>
            <ac:spMk id="22" creationId="{483437C9-65F5-40C4-8409-5546DCBF69B8}"/>
          </ac:spMkLst>
        </pc:spChg>
      </pc:sldChg>
      <pc:sldChg chg="delSp modSp">
        <pc:chgData name="Brian Riel" userId="S::brianr@remi.com::35c990ad-0d97-4b28-99f6-de66c29011f1" providerId="AD" clId="Web-{5313467F-6E98-9FA3-608D-505EB90DFD14}" dt="2022-05-17T20:25:01.737" v="1606" actId="1076"/>
        <pc:sldMkLst>
          <pc:docMk/>
          <pc:sldMk cId="913222381" sldId="1762"/>
        </pc:sldMkLst>
        <pc:spChg chg="mod">
          <ac:chgData name="Brian Riel" userId="S::brianr@remi.com::35c990ad-0d97-4b28-99f6-de66c29011f1" providerId="AD" clId="Web-{5313467F-6E98-9FA3-608D-505EB90DFD14}" dt="2022-05-17T20:24:50.658" v="1603" actId="1076"/>
          <ac:spMkLst>
            <pc:docMk/>
            <pc:sldMk cId="913222381" sldId="1762"/>
            <ac:spMk id="17" creationId="{F4D087CE-A955-4B14-A81B-7525861FAED4}"/>
          </ac:spMkLst>
        </pc:spChg>
        <pc:spChg chg="del">
          <ac:chgData name="Brian Riel" userId="S::brianr@remi.com::35c990ad-0d97-4b28-99f6-de66c29011f1" providerId="AD" clId="Web-{5313467F-6E98-9FA3-608D-505EB90DFD14}" dt="2022-05-17T20:24:43.111" v="1601"/>
          <ac:spMkLst>
            <pc:docMk/>
            <pc:sldMk cId="913222381" sldId="1762"/>
            <ac:spMk id="18" creationId="{41EC4D60-3057-447A-8ECF-7A600FF200D6}"/>
          </ac:spMkLst>
        </pc:spChg>
        <pc:spChg chg="mod">
          <ac:chgData name="Brian Riel" userId="S::brianr@remi.com::35c990ad-0d97-4b28-99f6-de66c29011f1" providerId="AD" clId="Web-{5313467F-6E98-9FA3-608D-505EB90DFD14}" dt="2022-05-17T20:24:54.392" v="1604" actId="1076"/>
          <ac:spMkLst>
            <pc:docMk/>
            <pc:sldMk cId="913222381" sldId="1762"/>
            <ac:spMk id="20" creationId="{54B5C667-19A2-454C-8D82-1F484DC682EF}"/>
          </ac:spMkLst>
        </pc:spChg>
        <pc:spChg chg="mod">
          <ac:chgData name="Brian Riel" userId="S::brianr@remi.com::35c990ad-0d97-4b28-99f6-de66c29011f1" providerId="AD" clId="Web-{5313467F-6E98-9FA3-608D-505EB90DFD14}" dt="2022-05-17T20:24:59.252" v="1605" actId="1076"/>
          <ac:spMkLst>
            <pc:docMk/>
            <pc:sldMk cId="913222381" sldId="1762"/>
            <ac:spMk id="21" creationId="{B7301DAF-868E-4B07-A172-0091653222F8}"/>
          </ac:spMkLst>
        </pc:spChg>
        <pc:spChg chg="mod">
          <ac:chgData name="Brian Riel" userId="S::brianr@remi.com::35c990ad-0d97-4b28-99f6-de66c29011f1" providerId="AD" clId="Web-{5313467F-6E98-9FA3-608D-505EB90DFD14}" dt="2022-05-17T20:25:01.737" v="1606" actId="1076"/>
          <ac:spMkLst>
            <pc:docMk/>
            <pc:sldMk cId="913222381" sldId="1762"/>
            <ac:spMk id="22" creationId="{483437C9-65F5-40C4-8409-5546DCBF69B8}"/>
          </ac:spMkLst>
        </pc:spChg>
      </pc:sldChg>
      <pc:sldChg chg="delSp modSp">
        <pc:chgData name="Brian Riel" userId="S::brianr@remi.com::35c990ad-0d97-4b28-99f6-de66c29011f1" providerId="AD" clId="Web-{5313467F-6E98-9FA3-608D-505EB90DFD14}" dt="2022-05-17T20:27:53.753" v="1638" actId="20577"/>
        <pc:sldMkLst>
          <pc:docMk/>
          <pc:sldMk cId="213713487" sldId="1763"/>
        </pc:sldMkLst>
        <pc:spChg chg="mod">
          <ac:chgData name="Brian Riel" userId="S::brianr@remi.com::35c990ad-0d97-4b28-99f6-de66c29011f1" providerId="AD" clId="Web-{5313467F-6E98-9FA3-608D-505EB90DFD14}" dt="2022-05-17T20:27:53.753" v="1638" actId="20577"/>
          <ac:spMkLst>
            <pc:docMk/>
            <pc:sldMk cId="213713487" sldId="1763"/>
            <ac:spMk id="17" creationId="{F4D087CE-A955-4B14-A81B-7525861FAED4}"/>
          </ac:spMkLst>
        </pc:spChg>
        <pc:spChg chg="del">
          <ac:chgData name="Brian Riel" userId="S::brianr@remi.com::35c990ad-0d97-4b28-99f6-de66c29011f1" providerId="AD" clId="Web-{5313467F-6E98-9FA3-608D-505EB90DFD14}" dt="2022-05-17T20:27:00.940" v="1630"/>
          <ac:spMkLst>
            <pc:docMk/>
            <pc:sldMk cId="213713487" sldId="1763"/>
            <ac:spMk id="18" creationId="{41EC4D60-3057-447A-8ECF-7A600FF200D6}"/>
          </ac:spMkLst>
        </pc:spChg>
        <pc:spChg chg="mod">
          <ac:chgData name="Brian Riel" userId="S::brianr@remi.com::35c990ad-0d97-4b28-99f6-de66c29011f1" providerId="AD" clId="Web-{5313467F-6E98-9FA3-608D-505EB90DFD14}" dt="2022-05-17T20:27:15.940" v="1632" actId="1076"/>
          <ac:spMkLst>
            <pc:docMk/>
            <pc:sldMk cId="213713487" sldId="1763"/>
            <ac:spMk id="20" creationId="{54B5C667-19A2-454C-8D82-1F484DC682EF}"/>
          </ac:spMkLst>
        </pc:spChg>
        <pc:spChg chg="mod">
          <ac:chgData name="Brian Riel" userId="S::brianr@remi.com::35c990ad-0d97-4b28-99f6-de66c29011f1" providerId="AD" clId="Web-{5313467F-6E98-9FA3-608D-505EB90DFD14}" dt="2022-05-17T20:27:18.940" v="1633" actId="1076"/>
          <ac:spMkLst>
            <pc:docMk/>
            <pc:sldMk cId="213713487" sldId="1763"/>
            <ac:spMk id="21" creationId="{B7301DAF-868E-4B07-A172-0091653222F8}"/>
          </ac:spMkLst>
        </pc:spChg>
        <pc:spChg chg="mod">
          <ac:chgData name="Brian Riel" userId="S::brianr@remi.com::35c990ad-0d97-4b28-99f6-de66c29011f1" providerId="AD" clId="Web-{5313467F-6E98-9FA3-608D-505EB90DFD14}" dt="2022-05-17T20:27:21.065" v="1634" actId="1076"/>
          <ac:spMkLst>
            <pc:docMk/>
            <pc:sldMk cId="213713487" sldId="1763"/>
            <ac:spMk id="22" creationId="{483437C9-65F5-40C4-8409-5546DCBF69B8}"/>
          </ac:spMkLst>
        </pc:spChg>
      </pc:sldChg>
      <pc:sldChg chg="ord">
        <pc:chgData name="Brian Riel" userId="S::brianr@remi.com::35c990ad-0d97-4b28-99f6-de66c29011f1" providerId="AD" clId="Web-{5313467F-6E98-9FA3-608D-505EB90DFD14}" dt="2022-05-17T20:32:46.725" v="1736"/>
        <pc:sldMkLst>
          <pc:docMk/>
          <pc:sldMk cId="4118466066" sldId="1769"/>
        </pc:sldMkLst>
      </pc:sldChg>
      <pc:sldChg chg="addSp">
        <pc:chgData name="Brian Riel" userId="S::brianr@remi.com::35c990ad-0d97-4b28-99f6-de66c29011f1" providerId="AD" clId="Web-{5313467F-6E98-9FA3-608D-505EB90DFD14}" dt="2022-05-17T20:32:12.881" v="1735"/>
        <pc:sldMkLst>
          <pc:docMk/>
          <pc:sldMk cId="264326061" sldId="1774"/>
        </pc:sldMkLst>
        <pc:spChg chg="add">
          <ac:chgData name="Brian Riel" userId="S::brianr@remi.com::35c990ad-0d97-4b28-99f6-de66c29011f1" providerId="AD" clId="Web-{5313467F-6E98-9FA3-608D-505EB90DFD14}" dt="2022-05-17T20:32:12.881" v="1735"/>
          <ac:spMkLst>
            <pc:docMk/>
            <pc:sldMk cId="264326061" sldId="1774"/>
            <ac:spMk id="2" creationId="{B4EFE1EF-EE13-D2B2-C2EA-E8D678E1FFFE}"/>
          </ac:spMkLst>
        </pc:spChg>
      </pc:sldChg>
      <pc:sldChg chg="mod modShow">
        <pc:chgData name="Brian Riel" userId="S::brianr@remi.com::35c990ad-0d97-4b28-99f6-de66c29011f1" providerId="AD" clId="Web-{5313467F-6E98-9FA3-608D-505EB90DFD14}" dt="2022-05-17T19:19:21.746" v="1"/>
        <pc:sldMkLst>
          <pc:docMk/>
          <pc:sldMk cId="2703196828" sldId="1780"/>
        </pc:sldMkLst>
      </pc:sldChg>
      <pc:sldChg chg="addSp delSp modSp mod ord modShow">
        <pc:chgData name="Brian Riel" userId="S::brianr@remi.com::35c990ad-0d97-4b28-99f6-de66c29011f1" providerId="AD" clId="Web-{5313467F-6E98-9FA3-608D-505EB90DFD14}" dt="2022-05-18T13:03:19.064" v="1941"/>
        <pc:sldMkLst>
          <pc:docMk/>
          <pc:sldMk cId="1709404293" sldId="1782"/>
        </pc:sldMkLst>
        <pc:spChg chg="mod">
          <ac:chgData name="Brian Riel" userId="S::brianr@remi.com::35c990ad-0d97-4b28-99f6-de66c29011f1" providerId="AD" clId="Web-{5313467F-6E98-9FA3-608D-505EB90DFD14}" dt="2022-05-17T20:39:46.088" v="1875" actId="1076"/>
          <ac:spMkLst>
            <pc:docMk/>
            <pc:sldMk cId="1709404293" sldId="1782"/>
            <ac:spMk id="2" creationId="{DD742445-6D40-4532-9AB6-A3E7D128998C}"/>
          </ac:spMkLst>
        </pc:spChg>
        <pc:spChg chg="mod">
          <ac:chgData name="Brian Riel" userId="S::brianr@remi.com::35c990ad-0d97-4b28-99f6-de66c29011f1" providerId="AD" clId="Web-{5313467F-6E98-9FA3-608D-505EB90DFD14}" dt="2022-05-17T20:39:52.463" v="1878" actId="1076"/>
          <ac:spMkLst>
            <pc:docMk/>
            <pc:sldMk cId="1709404293" sldId="1782"/>
            <ac:spMk id="3" creationId="{BDFA340D-BB48-49D9-BE36-346DEEF244F0}"/>
          </ac:spMkLst>
        </pc:spChg>
        <pc:spChg chg="del">
          <ac:chgData name="Brian Riel" userId="S::brianr@remi.com::35c990ad-0d97-4b28-99f6-de66c29011f1" providerId="AD" clId="Web-{5313467F-6E98-9FA3-608D-505EB90DFD14}" dt="2022-05-17T20:39:32.072" v="1869"/>
          <ac:spMkLst>
            <pc:docMk/>
            <pc:sldMk cId="1709404293" sldId="1782"/>
            <ac:spMk id="4" creationId="{F9B8089F-8AAD-42A9-942C-9EDB86F6998B}"/>
          </ac:spMkLst>
        </pc:spChg>
        <pc:spChg chg="mod">
          <ac:chgData name="Brian Riel" userId="S::brianr@remi.com::35c990ad-0d97-4b28-99f6-de66c29011f1" providerId="AD" clId="Web-{5313467F-6E98-9FA3-608D-505EB90DFD14}" dt="2022-05-17T20:40:03.463" v="1881" actId="1076"/>
          <ac:spMkLst>
            <pc:docMk/>
            <pc:sldMk cId="1709404293" sldId="1782"/>
            <ac:spMk id="5" creationId="{388CF82D-CBDA-47EC-9124-739FF7C0F828}"/>
          </ac:spMkLst>
        </pc:spChg>
        <pc:spChg chg="del mod">
          <ac:chgData name="Brian Riel" userId="S::brianr@remi.com::35c990ad-0d97-4b28-99f6-de66c29011f1" providerId="AD" clId="Web-{5313467F-6E98-9FA3-608D-505EB90DFD14}" dt="2022-05-17T20:31:46.287" v="1734"/>
          <ac:spMkLst>
            <pc:docMk/>
            <pc:sldMk cId="1709404293" sldId="1782"/>
            <ac:spMk id="6" creationId="{56EFAA6F-7DBB-4897-BC2D-98587AA9C86F}"/>
          </ac:spMkLst>
        </pc:spChg>
        <pc:spChg chg="del">
          <ac:chgData name="Brian Riel" userId="S::brianr@remi.com::35c990ad-0d97-4b28-99f6-de66c29011f1" providerId="AD" clId="Web-{5313467F-6E98-9FA3-608D-505EB90DFD14}" dt="2022-05-17T20:35:32.695" v="1796"/>
          <ac:spMkLst>
            <pc:docMk/>
            <pc:sldMk cId="1709404293" sldId="1782"/>
            <ac:spMk id="7" creationId="{BE036866-204B-445C-9C15-29449760EF01}"/>
          </ac:spMkLst>
        </pc:spChg>
        <pc:spChg chg="del">
          <ac:chgData name="Brian Riel" userId="S::brianr@remi.com::35c990ad-0d97-4b28-99f6-de66c29011f1" providerId="AD" clId="Web-{5313467F-6E98-9FA3-608D-505EB90DFD14}" dt="2022-05-17T20:35:35.804" v="1797"/>
          <ac:spMkLst>
            <pc:docMk/>
            <pc:sldMk cId="1709404293" sldId="1782"/>
            <ac:spMk id="8" creationId="{E11BEF0A-56CA-4B59-AABB-EB2A35893563}"/>
          </ac:spMkLst>
        </pc:spChg>
        <pc:spChg chg="del">
          <ac:chgData name="Brian Riel" userId="S::brianr@remi.com::35c990ad-0d97-4b28-99f6-de66c29011f1" providerId="AD" clId="Web-{5313467F-6E98-9FA3-608D-505EB90DFD14}" dt="2022-05-17T20:35:38.492" v="1798"/>
          <ac:spMkLst>
            <pc:docMk/>
            <pc:sldMk cId="1709404293" sldId="1782"/>
            <ac:spMk id="9" creationId="{2BAFE946-C3F2-4BF0-843B-9E87DBC521D6}"/>
          </ac:spMkLst>
        </pc:spChg>
        <pc:spChg chg="add mod">
          <ac:chgData name="Brian Riel" userId="S::brianr@remi.com::35c990ad-0d97-4b28-99f6-de66c29011f1" providerId="AD" clId="Web-{5313467F-6E98-9FA3-608D-505EB90DFD14}" dt="2022-05-17T20:39:46.088" v="1876" actId="1076"/>
          <ac:spMkLst>
            <pc:docMk/>
            <pc:sldMk cId="1709404293" sldId="1782"/>
            <ac:spMk id="10" creationId="{A131F6EF-0899-AA8F-9415-FDD6D157CAFB}"/>
          </ac:spMkLst>
        </pc:spChg>
        <pc:spChg chg="add del">
          <ac:chgData name="Brian Riel" userId="S::brianr@remi.com::35c990ad-0d97-4b28-99f6-de66c29011f1" providerId="AD" clId="Web-{5313467F-6E98-9FA3-608D-505EB90DFD14}" dt="2022-05-17T20:33:12.834" v="1743"/>
          <ac:spMkLst>
            <pc:docMk/>
            <pc:sldMk cId="1709404293" sldId="1782"/>
            <ac:spMk id="12" creationId="{417E3AA3-C7C5-4C88-658C-6CF38194A850}"/>
          </ac:spMkLst>
        </pc:spChg>
        <pc:spChg chg="add del">
          <ac:chgData name="Brian Riel" userId="S::brianr@remi.com::35c990ad-0d97-4b28-99f6-de66c29011f1" providerId="AD" clId="Web-{5313467F-6E98-9FA3-608D-505EB90DFD14}" dt="2022-05-17T20:33:14.741" v="1744"/>
          <ac:spMkLst>
            <pc:docMk/>
            <pc:sldMk cId="1709404293" sldId="1782"/>
            <ac:spMk id="14" creationId="{991EC832-A098-B58B-27EB-5981A643FAA9}"/>
          </ac:spMkLst>
        </pc:spChg>
        <pc:spChg chg="add del">
          <ac:chgData name="Brian Riel" userId="S::brianr@remi.com::35c990ad-0d97-4b28-99f6-de66c29011f1" providerId="AD" clId="Web-{5313467F-6E98-9FA3-608D-505EB90DFD14}" dt="2022-05-17T20:33:09.147" v="1742"/>
          <ac:spMkLst>
            <pc:docMk/>
            <pc:sldMk cId="1709404293" sldId="1782"/>
            <ac:spMk id="16" creationId="{657E0070-4AD4-036B-7353-B5B748EAD429}"/>
          </ac:spMkLst>
        </pc:spChg>
        <pc:spChg chg="mod">
          <ac:chgData name="Brian Riel" userId="S::brianr@remi.com::35c990ad-0d97-4b28-99f6-de66c29011f1" providerId="AD" clId="Web-{5313467F-6E98-9FA3-608D-505EB90DFD14}" dt="2022-05-17T20:39:49.072" v="1877" actId="1076"/>
          <ac:spMkLst>
            <pc:docMk/>
            <pc:sldMk cId="1709404293" sldId="1782"/>
            <ac:spMk id="18" creationId="{57E5D393-07D5-4961-8CAE-F52C5E7B0571}"/>
          </ac:spMkLst>
        </pc:spChg>
        <pc:spChg chg="mod">
          <ac:chgData name="Brian Riel" userId="S::brianr@remi.com::35c990ad-0d97-4b28-99f6-de66c29011f1" providerId="AD" clId="Web-{5313467F-6E98-9FA3-608D-505EB90DFD14}" dt="2022-05-17T20:40:11.682" v="1883" actId="1076"/>
          <ac:spMkLst>
            <pc:docMk/>
            <pc:sldMk cId="1709404293" sldId="1782"/>
            <ac:spMk id="19" creationId="{6C9857F2-5095-418A-B21A-566A6CE2C700}"/>
          </ac:spMkLst>
        </pc:spChg>
        <pc:spChg chg="del">
          <ac:chgData name="Brian Riel" userId="S::brianr@remi.com::35c990ad-0d97-4b28-99f6-de66c29011f1" providerId="AD" clId="Web-{5313467F-6E98-9FA3-608D-505EB90DFD14}" dt="2022-05-17T20:39:32.072" v="1867"/>
          <ac:spMkLst>
            <pc:docMk/>
            <pc:sldMk cId="1709404293" sldId="1782"/>
            <ac:spMk id="20" creationId="{AEA2F1C6-99AE-4ACB-A0A4-3392BC99768C}"/>
          </ac:spMkLst>
        </pc:spChg>
        <pc:spChg chg="mod">
          <ac:chgData name="Brian Riel" userId="S::brianr@remi.com::35c990ad-0d97-4b28-99f6-de66c29011f1" providerId="AD" clId="Web-{5313467F-6E98-9FA3-608D-505EB90DFD14}" dt="2022-05-17T20:40:00.682" v="1880" actId="1076"/>
          <ac:spMkLst>
            <pc:docMk/>
            <pc:sldMk cId="1709404293" sldId="1782"/>
            <ac:spMk id="21" creationId="{333764D8-F57C-46EC-8813-026E880B1EBA}"/>
          </ac:spMkLst>
        </pc:spChg>
        <pc:spChg chg="mod">
          <ac:chgData name="Brian Riel" userId="S::brianr@remi.com::35c990ad-0d97-4b28-99f6-de66c29011f1" providerId="AD" clId="Web-{5313467F-6E98-9FA3-608D-505EB90DFD14}" dt="2022-05-17T20:31:10.333" v="1724" actId="20577"/>
          <ac:spMkLst>
            <pc:docMk/>
            <pc:sldMk cId="1709404293" sldId="1782"/>
            <ac:spMk id="22" creationId="{E7CF822C-A0B3-4CDC-9C78-4B60CFD87688}"/>
          </ac:spMkLst>
        </pc:spChg>
        <pc:spChg chg="add mod">
          <ac:chgData name="Brian Riel" userId="S::brianr@remi.com::35c990ad-0d97-4b28-99f6-de66c29011f1" providerId="AD" clId="Web-{5313467F-6E98-9FA3-608D-505EB90DFD14}" dt="2022-05-17T20:40:08.932" v="1882" actId="1076"/>
          <ac:spMkLst>
            <pc:docMk/>
            <pc:sldMk cId="1709404293" sldId="1782"/>
            <ac:spMk id="28" creationId="{4CC39769-7F76-3C39-2B31-D4A5C22E08BC}"/>
          </ac:spMkLst>
        </pc:spChg>
        <pc:spChg chg="add mod">
          <ac:chgData name="Brian Riel" userId="S::brianr@remi.com::35c990ad-0d97-4b28-99f6-de66c29011f1" providerId="AD" clId="Web-{5313467F-6E98-9FA3-608D-505EB90DFD14}" dt="2022-05-17T20:39:55.276" v="1879" actId="1076"/>
          <ac:spMkLst>
            <pc:docMk/>
            <pc:sldMk cId="1709404293" sldId="1782"/>
            <ac:spMk id="30" creationId="{5CA1EF4B-0003-039D-86B9-44F94B233CC5}"/>
          </ac:spMkLst>
        </pc:spChg>
        <pc:picChg chg="del">
          <ac:chgData name="Brian Riel" userId="S::brianr@remi.com::35c990ad-0d97-4b28-99f6-de66c29011f1" providerId="AD" clId="Web-{5313467F-6E98-9FA3-608D-505EB90DFD14}" dt="2022-05-17T20:32:52.506" v="1737"/>
          <ac:picMkLst>
            <pc:docMk/>
            <pc:sldMk cId="1709404293" sldId="1782"/>
            <ac:picMk id="11" creationId="{EA4A13E1-C69F-4188-915A-F837A9EEF79D}"/>
          </ac:picMkLst>
        </pc:picChg>
        <pc:picChg chg="del">
          <ac:chgData name="Brian Riel" userId="S::brianr@remi.com::35c990ad-0d97-4b28-99f6-de66c29011f1" providerId="AD" clId="Web-{5313467F-6E98-9FA3-608D-505EB90DFD14}" dt="2022-05-17T20:33:43.928" v="1748"/>
          <ac:picMkLst>
            <pc:docMk/>
            <pc:sldMk cId="1709404293" sldId="1782"/>
            <ac:picMk id="13" creationId="{64A652CD-0713-41ED-BEFE-2E45B7A6217E}"/>
          </ac:picMkLst>
        </pc:picChg>
        <pc:picChg chg="del">
          <ac:chgData name="Brian Riel" userId="S::brianr@remi.com::35c990ad-0d97-4b28-99f6-de66c29011f1" providerId="AD" clId="Web-{5313467F-6E98-9FA3-608D-505EB90DFD14}" dt="2022-05-17T20:39:32.072" v="1868"/>
          <ac:picMkLst>
            <pc:docMk/>
            <pc:sldMk cId="1709404293" sldId="1782"/>
            <ac:picMk id="15" creationId="{E32B5D04-0AC7-4A49-A557-5837C578156E}"/>
          </ac:picMkLst>
        </pc:picChg>
        <pc:picChg chg="del mod">
          <ac:chgData name="Brian Riel" userId="S::brianr@remi.com::35c990ad-0d97-4b28-99f6-de66c29011f1" providerId="AD" clId="Web-{5313467F-6E98-9FA3-608D-505EB90DFD14}" dt="2022-05-17T20:35:45.914" v="1800"/>
          <ac:picMkLst>
            <pc:docMk/>
            <pc:sldMk cId="1709404293" sldId="1782"/>
            <ac:picMk id="17" creationId="{B9E28F4E-1490-4B01-AEB8-C578CB6C79E9}"/>
          </ac:picMkLst>
        </pc:picChg>
      </pc:sldChg>
      <pc:sldChg chg="mod ord modShow">
        <pc:chgData name="Brian Riel" userId="S::brianr@remi.com::35c990ad-0d97-4b28-99f6-de66c29011f1" providerId="AD" clId="Web-{5313467F-6E98-9FA3-608D-505EB90DFD14}" dt="2022-05-17T19:19:40.324" v="3"/>
        <pc:sldMkLst>
          <pc:docMk/>
          <pc:sldMk cId="4045077442" sldId="1790"/>
        </pc:sldMkLst>
      </pc:sldChg>
      <pc:sldChg chg="mod ord modShow">
        <pc:chgData name="Brian Riel" userId="S::brianr@remi.com::35c990ad-0d97-4b28-99f6-de66c29011f1" providerId="AD" clId="Web-{5313467F-6E98-9FA3-608D-505EB90DFD14}" dt="2022-05-17T19:19:46.496" v="5"/>
        <pc:sldMkLst>
          <pc:docMk/>
          <pc:sldMk cId="1807328928" sldId="1791"/>
        </pc:sldMkLst>
      </pc:sldChg>
      <pc:sldChg chg="modSp del">
        <pc:chgData name="Brian Riel" userId="S::brianr@remi.com::35c990ad-0d97-4b28-99f6-de66c29011f1" providerId="AD" clId="Web-{5313467F-6E98-9FA3-608D-505EB90DFD14}" dt="2022-05-17T20:26:33.159" v="1621"/>
        <pc:sldMkLst>
          <pc:docMk/>
          <pc:sldMk cId="4286962187" sldId="1795"/>
        </pc:sldMkLst>
        <pc:spChg chg="mod">
          <ac:chgData name="Brian Riel" userId="S::brianr@remi.com::35c990ad-0d97-4b28-99f6-de66c29011f1" providerId="AD" clId="Web-{5313467F-6E98-9FA3-608D-505EB90DFD14}" dt="2022-05-17T20:09:16.446" v="820" actId="20577"/>
          <ac:spMkLst>
            <pc:docMk/>
            <pc:sldMk cId="4286962187" sldId="1795"/>
            <ac:spMk id="9" creationId="{4AF82A68-1FE8-46D4-999C-BFB7CC8B683A}"/>
          </ac:spMkLst>
        </pc:spChg>
      </pc:sldChg>
      <pc:sldChg chg="new del">
        <pc:chgData name="Brian Riel" userId="S::brianr@remi.com::35c990ad-0d97-4b28-99f6-de66c29011f1" providerId="AD" clId="Web-{5313467F-6E98-9FA3-608D-505EB90DFD14}" dt="2022-05-17T20:15:49.778" v="1161"/>
        <pc:sldMkLst>
          <pc:docMk/>
          <pc:sldMk cId="1955101744" sldId="1796"/>
        </pc:sldMkLst>
      </pc:sldChg>
      <pc:sldChg chg="modSp add replId">
        <pc:chgData name="Brian Riel" userId="S::brianr@remi.com::35c990ad-0d97-4b28-99f6-de66c29011f1" providerId="AD" clId="Web-{5313467F-6E98-9FA3-608D-505EB90DFD14}" dt="2022-05-17T20:21:12.890" v="1541" actId="20577"/>
        <pc:sldMkLst>
          <pc:docMk/>
          <pc:sldMk cId="3029357263" sldId="1796"/>
        </pc:sldMkLst>
        <pc:spChg chg="mod">
          <ac:chgData name="Brian Riel" userId="S::brianr@remi.com::35c990ad-0d97-4b28-99f6-de66c29011f1" providerId="AD" clId="Web-{5313467F-6E98-9FA3-608D-505EB90DFD14}" dt="2022-05-17T20:16:43.356" v="1188" actId="20577"/>
          <ac:spMkLst>
            <pc:docMk/>
            <pc:sldMk cId="3029357263" sldId="1796"/>
            <ac:spMk id="8" creationId="{42B815E8-1DF7-4D36-B0C2-F0A0B51D7E2E}"/>
          </ac:spMkLst>
        </pc:spChg>
        <pc:spChg chg="mod">
          <ac:chgData name="Brian Riel" userId="S::brianr@remi.com::35c990ad-0d97-4b28-99f6-de66c29011f1" providerId="AD" clId="Web-{5313467F-6E98-9FA3-608D-505EB90DFD14}" dt="2022-05-17T20:21:12.890" v="1541" actId="20577"/>
          <ac:spMkLst>
            <pc:docMk/>
            <pc:sldMk cId="3029357263" sldId="1796"/>
            <ac:spMk id="9" creationId="{05309671-7FB5-FC47-4A51-5D71E472AB38}"/>
          </ac:spMkLst>
        </pc:spChg>
      </pc:sldChg>
    </pc:docChg>
  </pc:docChgLst>
  <pc:docChgLst>
    <pc:chgData name="Dee Scott" userId="S::dees@remi.com::f6f0b954-d125-4e7a-a1cf-44665707f955" providerId="AD" clId="Web-{F0D21DF1-F3D7-2572-B1AA-C4B0615D15C0}"/>
    <pc:docChg chg="modSld">
      <pc:chgData name="Dee Scott" userId="S::dees@remi.com::f6f0b954-d125-4e7a-a1cf-44665707f955" providerId="AD" clId="Web-{F0D21DF1-F3D7-2572-B1AA-C4B0615D15C0}" dt="2021-07-30T21:31:08.820" v="121" actId="1076"/>
      <pc:docMkLst>
        <pc:docMk/>
      </pc:docMkLst>
      <pc:sldChg chg="modSp">
        <pc:chgData name="Dee Scott" userId="S::dees@remi.com::f6f0b954-d125-4e7a-a1cf-44665707f955" providerId="AD" clId="Web-{F0D21DF1-F3D7-2572-B1AA-C4B0615D15C0}" dt="2021-07-30T21:18:34.296" v="53" actId="20577"/>
        <pc:sldMkLst>
          <pc:docMk/>
          <pc:sldMk cId="1853421347" sldId="1756"/>
        </pc:sldMkLst>
        <pc:spChg chg="mod">
          <ac:chgData name="Dee Scott" userId="S::dees@remi.com::f6f0b954-d125-4e7a-a1cf-44665707f955" providerId="AD" clId="Web-{F0D21DF1-F3D7-2572-B1AA-C4B0615D15C0}" dt="2021-07-30T21:18:34.296" v="53" actId="20577"/>
          <ac:spMkLst>
            <pc:docMk/>
            <pc:sldMk cId="1853421347" sldId="1756"/>
            <ac:spMk id="2" creationId="{00000000-0000-0000-0000-000000000000}"/>
          </ac:spMkLst>
        </pc:spChg>
      </pc:sldChg>
      <pc:sldChg chg="delSp modSp">
        <pc:chgData name="Dee Scott" userId="S::dees@remi.com::f6f0b954-d125-4e7a-a1cf-44665707f955" providerId="AD" clId="Web-{F0D21DF1-F3D7-2572-B1AA-C4B0615D15C0}" dt="2021-07-30T21:31:08.820" v="121" actId="1076"/>
        <pc:sldMkLst>
          <pc:docMk/>
          <pc:sldMk cId="74395322" sldId="1786"/>
        </pc:sldMkLst>
        <pc:spChg chg="del mod">
          <ac:chgData name="Dee Scott" userId="S::dees@remi.com::f6f0b954-d125-4e7a-a1cf-44665707f955" providerId="AD" clId="Web-{F0D21DF1-F3D7-2572-B1AA-C4B0615D15C0}" dt="2021-07-30T21:17:41.029" v="36"/>
          <ac:spMkLst>
            <pc:docMk/>
            <pc:sldMk cId="74395322" sldId="1786"/>
            <ac:spMk id="5" creationId="{97B4DD64-D80B-41D8-B33E-AD981CF1FB41}"/>
          </ac:spMkLst>
        </pc:spChg>
        <pc:spChg chg="mod">
          <ac:chgData name="Dee Scott" userId="S::dees@remi.com::f6f0b954-d125-4e7a-a1cf-44665707f955" providerId="AD" clId="Web-{F0D21DF1-F3D7-2572-B1AA-C4B0615D15C0}" dt="2021-07-30T21:19:15.360" v="89" actId="20577"/>
          <ac:spMkLst>
            <pc:docMk/>
            <pc:sldMk cId="74395322" sldId="1786"/>
            <ac:spMk id="7" creationId="{B931D0C8-3BCC-4894-854B-E1DFBE8F8731}"/>
          </ac:spMkLst>
        </pc:spChg>
        <pc:spChg chg="mod">
          <ac:chgData name="Dee Scott" userId="S::dees@remi.com::f6f0b954-d125-4e7a-a1cf-44665707f955" providerId="AD" clId="Web-{F0D21DF1-F3D7-2572-B1AA-C4B0615D15C0}" dt="2021-07-30T21:18:49.609" v="55" actId="1076"/>
          <ac:spMkLst>
            <pc:docMk/>
            <pc:sldMk cId="74395322" sldId="1786"/>
            <ac:spMk id="160" creationId="{39149CD3-11CA-4966-ABF4-AA1EFFF245B0}"/>
          </ac:spMkLst>
        </pc:spChg>
        <pc:spChg chg="mod">
          <ac:chgData name="Dee Scott" userId="S::dees@remi.com::f6f0b954-d125-4e7a-a1cf-44665707f955" providerId="AD" clId="Web-{F0D21DF1-F3D7-2572-B1AA-C4B0615D15C0}" dt="2021-07-30T21:30:00.271" v="110" actId="20577"/>
          <ac:spMkLst>
            <pc:docMk/>
            <pc:sldMk cId="74395322" sldId="1786"/>
            <ac:spMk id="164" creationId="{26747107-FC01-459B-BD4E-F9B77AACD9DC}"/>
          </ac:spMkLst>
        </pc:spChg>
        <pc:spChg chg="mod">
          <ac:chgData name="Dee Scott" userId="S::dees@remi.com::f6f0b954-d125-4e7a-a1cf-44665707f955" providerId="AD" clId="Web-{F0D21DF1-F3D7-2572-B1AA-C4B0615D15C0}" dt="2021-07-30T21:18:49.703" v="60" actId="1076"/>
          <ac:spMkLst>
            <pc:docMk/>
            <pc:sldMk cId="74395322" sldId="1786"/>
            <ac:spMk id="165" creationId="{81A255F6-C8BA-450F-84C9-908BD44FD5D3}"/>
          </ac:spMkLst>
        </pc:spChg>
        <pc:spChg chg="mod">
          <ac:chgData name="Dee Scott" userId="S::dees@remi.com::f6f0b954-d125-4e7a-a1cf-44665707f955" providerId="AD" clId="Web-{F0D21DF1-F3D7-2572-B1AA-C4B0615D15C0}" dt="2021-07-30T21:18:49.718" v="61" actId="1076"/>
          <ac:spMkLst>
            <pc:docMk/>
            <pc:sldMk cId="74395322" sldId="1786"/>
            <ac:spMk id="166" creationId="{5640BD85-9223-4B08-B8B3-D7122D61A427}"/>
          </ac:spMkLst>
        </pc:spChg>
        <pc:spChg chg="mod">
          <ac:chgData name="Dee Scott" userId="S::dees@remi.com::f6f0b954-d125-4e7a-a1cf-44665707f955" providerId="AD" clId="Web-{F0D21DF1-F3D7-2572-B1AA-C4B0615D15C0}" dt="2021-07-30T21:18:49.734" v="62" actId="1076"/>
          <ac:spMkLst>
            <pc:docMk/>
            <pc:sldMk cId="74395322" sldId="1786"/>
            <ac:spMk id="167" creationId="{6068F24F-24CD-4648-879B-497B43A19413}"/>
          </ac:spMkLst>
        </pc:spChg>
        <pc:spChg chg="mod">
          <ac:chgData name="Dee Scott" userId="S::dees@remi.com::f6f0b954-d125-4e7a-a1cf-44665707f955" providerId="AD" clId="Web-{F0D21DF1-F3D7-2572-B1AA-C4B0615D15C0}" dt="2021-07-30T21:18:49.750" v="63" actId="1076"/>
          <ac:spMkLst>
            <pc:docMk/>
            <pc:sldMk cId="74395322" sldId="1786"/>
            <ac:spMk id="168" creationId="{4AD11FEA-0D26-44A7-9110-C6416E09AEE6}"/>
          </ac:spMkLst>
        </pc:spChg>
        <pc:spChg chg="mod">
          <ac:chgData name="Dee Scott" userId="S::dees@remi.com::f6f0b954-d125-4e7a-a1cf-44665707f955" providerId="AD" clId="Web-{F0D21DF1-F3D7-2572-B1AA-C4B0615D15C0}" dt="2021-07-30T21:18:49.781" v="65" actId="1076"/>
          <ac:spMkLst>
            <pc:docMk/>
            <pc:sldMk cId="74395322" sldId="1786"/>
            <ac:spMk id="170" creationId="{93454988-474F-44E0-AAAF-2B32CAEE0E70}"/>
          </ac:spMkLst>
        </pc:spChg>
        <pc:spChg chg="mod">
          <ac:chgData name="Dee Scott" userId="S::dees@remi.com::f6f0b954-d125-4e7a-a1cf-44665707f955" providerId="AD" clId="Web-{F0D21DF1-F3D7-2572-B1AA-C4B0615D15C0}" dt="2021-07-30T21:31:08.820" v="121" actId="1076"/>
          <ac:spMkLst>
            <pc:docMk/>
            <pc:sldMk cId="74395322" sldId="1786"/>
            <ac:spMk id="172" creationId="{772923BC-586F-4A3B-98E2-84133FDBECAB}"/>
          </ac:spMkLst>
        </pc:spChg>
        <pc:spChg chg="mod">
          <ac:chgData name="Dee Scott" userId="S::dees@remi.com::f6f0b954-d125-4e7a-a1cf-44665707f955" providerId="AD" clId="Web-{F0D21DF1-F3D7-2572-B1AA-C4B0615D15C0}" dt="2021-07-30T21:30:32.757" v="114" actId="1076"/>
          <ac:spMkLst>
            <pc:docMk/>
            <pc:sldMk cId="74395322" sldId="1786"/>
            <ac:spMk id="174" creationId="{C642B46E-3545-43BB-A990-9F03AAE23EE4}"/>
          </ac:spMkLst>
        </pc:spChg>
        <pc:spChg chg="mod">
          <ac:chgData name="Dee Scott" userId="S::dees@remi.com::f6f0b954-d125-4e7a-a1cf-44665707f955" providerId="AD" clId="Web-{F0D21DF1-F3D7-2572-B1AA-C4B0615D15C0}" dt="2021-07-30T21:18:49.921" v="73" actId="1076"/>
          <ac:spMkLst>
            <pc:docMk/>
            <pc:sldMk cId="74395322" sldId="1786"/>
            <ac:spMk id="178" creationId="{772923BC-586F-4A3B-98E2-84133FDBECAB}"/>
          </ac:spMkLst>
        </pc:spChg>
        <pc:spChg chg="mod">
          <ac:chgData name="Dee Scott" userId="S::dees@remi.com::f6f0b954-d125-4e7a-a1cf-44665707f955" providerId="AD" clId="Web-{F0D21DF1-F3D7-2572-B1AA-C4B0615D15C0}" dt="2021-07-30T21:30:35.241" v="115" actId="1076"/>
          <ac:spMkLst>
            <pc:docMk/>
            <pc:sldMk cId="74395322" sldId="1786"/>
            <ac:spMk id="180" creationId="{C642B46E-3545-43BB-A990-9F03AAE23EE4}"/>
          </ac:spMkLst>
        </pc:spChg>
        <pc:spChg chg="mod">
          <ac:chgData name="Dee Scott" userId="S::dees@remi.com::f6f0b954-d125-4e7a-a1cf-44665707f955" providerId="AD" clId="Web-{F0D21DF1-F3D7-2572-B1AA-C4B0615D15C0}" dt="2021-07-30T21:18:49.984" v="77" actId="1076"/>
          <ac:spMkLst>
            <pc:docMk/>
            <pc:sldMk cId="74395322" sldId="1786"/>
            <ac:spMk id="182" creationId="{772923BC-586F-4A3B-98E2-84133FDBECAB}"/>
          </ac:spMkLst>
        </pc:spChg>
        <pc:spChg chg="mod">
          <ac:chgData name="Dee Scott" userId="S::dees@remi.com::f6f0b954-d125-4e7a-a1cf-44665707f955" providerId="AD" clId="Web-{F0D21DF1-F3D7-2572-B1AA-C4B0615D15C0}" dt="2021-07-30T21:19:00.047" v="88" actId="20577"/>
          <ac:spMkLst>
            <pc:docMk/>
            <pc:sldMk cId="74395322" sldId="1786"/>
            <ac:spMk id="184" creationId="{772923BC-586F-4A3B-98E2-84133FDBECAB}"/>
          </ac:spMkLst>
        </pc:spChg>
        <pc:spChg chg="mod">
          <ac:chgData name="Dee Scott" userId="S::dees@remi.com::f6f0b954-d125-4e7a-a1cf-44665707f955" providerId="AD" clId="Web-{F0D21DF1-F3D7-2572-B1AA-C4B0615D15C0}" dt="2021-07-30T21:18:55.187" v="87" actId="1076"/>
          <ac:spMkLst>
            <pc:docMk/>
            <pc:sldMk cId="74395322" sldId="1786"/>
            <ac:spMk id="186" creationId="{772923BC-586F-4A3B-98E2-84133FDBECAB}"/>
          </ac:spMkLst>
        </pc:spChg>
        <pc:spChg chg="mod">
          <ac:chgData name="Dee Scott" userId="S::dees@remi.com::f6f0b954-d125-4e7a-a1cf-44665707f955" providerId="AD" clId="Web-{F0D21DF1-F3D7-2572-B1AA-C4B0615D15C0}" dt="2021-07-30T21:18:50.078" v="82" actId="1076"/>
          <ac:spMkLst>
            <pc:docMk/>
            <pc:sldMk cId="74395322" sldId="1786"/>
            <ac:spMk id="188" creationId="{81A255F6-C8BA-450F-84C9-908BD44FD5D3}"/>
          </ac:spMkLst>
        </pc:spChg>
        <pc:spChg chg="mod">
          <ac:chgData name="Dee Scott" userId="S::dees@remi.com::f6f0b954-d125-4e7a-a1cf-44665707f955" providerId="AD" clId="Web-{F0D21DF1-F3D7-2572-B1AA-C4B0615D15C0}" dt="2021-07-30T21:18:50.109" v="84" actId="1076"/>
          <ac:spMkLst>
            <pc:docMk/>
            <pc:sldMk cId="74395322" sldId="1786"/>
            <ac:spMk id="190" creationId="{51203D22-6F6E-4C1C-82C2-39B5BCAAA18A}"/>
          </ac:spMkLst>
        </pc:spChg>
        <pc:spChg chg="mod">
          <ac:chgData name="Dee Scott" userId="S::dees@remi.com::f6f0b954-d125-4e7a-a1cf-44665707f955" providerId="AD" clId="Web-{F0D21DF1-F3D7-2572-B1AA-C4B0615D15C0}" dt="2021-07-30T21:18:50.140" v="86" actId="1076"/>
          <ac:spMkLst>
            <pc:docMk/>
            <pc:sldMk cId="74395322" sldId="1786"/>
            <ac:spMk id="192" creationId="{772923BC-586F-4A3B-98E2-84133FDBECAB}"/>
          </ac:spMkLst>
        </pc:spChg>
        <pc:grpChg chg="mod">
          <ac:chgData name="Dee Scott" userId="S::dees@remi.com::f6f0b954-d125-4e7a-a1cf-44665707f955" providerId="AD" clId="Web-{F0D21DF1-F3D7-2572-B1AA-C4B0615D15C0}" dt="2021-07-30T21:31:05.101" v="120" actId="1076"/>
          <ac:grpSpMkLst>
            <pc:docMk/>
            <pc:sldMk cId="74395322" sldId="1786"/>
            <ac:grpSpMk id="107" creationId="{DBCDE500-C7D9-4EA7-B2E1-29D1B65C67D7}"/>
          </ac:grpSpMkLst>
        </pc:grpChg>
        <pc:cxnChg chg="mod">
          <ac:chgData name="Dee Scott" userId="S::dees@remi.com::f6f0b954-d125-4e7a-a1cf-44665707f955" providerId="AD" clId="Web-{F0D21DF1-F3D7-2572-B1AA-C4B0615D15C0}" dt="2021-07-30T21:29:53.412" v="105" actId="14100"/>
          <ac:cxnSpMkLst>
            <pc:docMk/>
            <pc:sldMk cId="74395322" sldId="1786"/>
            <ac:cxnSpMk id="161" creationId="{66EB669C-EBE1-44BD-8B66-6F8D7118433D}"/>
          </ac:cxnSpMkLst>
        </pc:cxnChg>
        <pc:cxnChg chg="mod">
          <ac:chgData name="Dee Scott" userId="S::dees@remi.com::f6f0b954-d125-4e7a-a1cf-44665707f955" providerId="AD" clId="Web-{F0D21DF1-F3D7-2572-B1AA-C4B0615D15C0}" dt="2021-07-30T21:18:49.640" v="57" actId="1076"/>
          <ac:cxnSpMkLst>
            <pc:docMk/>
            <pc:sldMk cId="74395322" sldId="1786"/>
            <ac:cxnSpMk id="162" creationId="{84EA459B-DC47-4CBF-9BA2-2AA2EB096631}"/>
          </ac:cxnSpMkLst>
        </pc:cxnChg>
        <pc:cxnChg chg="mod">
          <ac:chgData name="Dee Scott" userId="S::dees@remi.com::f6f0b954-d125-4e7a-a1cf-44665707f955" providerId="AD" clId="Web-{F0D21DF1-F3D7-2572-B1AA-C4B0615D15C0}" dt="2021-07-30T21:18:49.656" v="58" actId="1076"/>
          <ac:cxnSpMkLst>
            <pc:docMk/>
            <pc:sldMk cId="74395322" sldId="1786"/>
            <ac:cxnSpMk id="163" creationId="{31CFBD74-0044-4E19-9584-5C3482E8B5DA}"/>
          </ac:cxnSpMkLst>
        </pc:cxnChg>
        <pc:cxnChg chg="mod">
          <ac:chgData name="Dee Scott" userId="S::dees@remi.com::f6f0b954-d125-4e7a-a1cf-44665707f955" providerId="AD" clId="Web-{F0D21DF1-F3D7-2572-B1AA-C4B0615D15C0}" dt="2021-07-30T21:30:22.350" v="111" actId="14100"/>
          <ac:cxnSpMkLst>
            <pc:docMk/>
            <pc:sldMk cId="74395322" sldId="1786"/>
            <ac:cxnSpMk id="169" creationId="{39CC8738-62E3-4D32-8CB7-AF48D04D5376}"/>
          </ac:cxnSpMkLst>
        </pc:cxnChg>
        <pc:cxnChg chg="mod">
          <ac:chgData name="Dee Scott" userId="S::dees@remi.com::f6f0b954-d125-4e7a-a1cf-44665707f955" providerId="AD" clId="Web-{F0D21DF1-F3D7-2572-B1AA-C4B0615D15C0}" dt="2021-07-30T21:18:49.796" v="66" actId="1076"/>
          <ac:cxnSpMkLst>
            <pc:docMk/>
            <pc:sldMk cId="74395322" sldId="1786"/>
            <ac:cxnSpMk id="171" creationId="{70EBFA9E-E24E-4B0E-8291-7422993AF1ED}"/>
          </ac:cxnSpMkLst>
        </pc:cxnChg>
        <pc:cxnChg chg="mod">
          <ac:chgData name="Dee Scott" userId="S::dees@remi.com::f6f0b954-d125-4e7a-a1cf-44665707f955" providerId="AD" clId="Web-{F0D21DF1-F3D7-2572-B1AA-C4B0615D15C0}" dt="2021-07-30T21:30:41.273" v="117" actId="14100"/>
          <ac:cxnSpMkLst>
            <pc:docMk/>
            <pc:sldMk cId="74395322" sldId="1786"/>
            <ac:cxnSpMk id="173" creationId="{59C3C4B0-A7A4-420D-9EE5-A078DE5C5AF5}"/>
          </ac:cxnSpMkLst>
        </pc:cxnChg>
        <pc:cxnChg chg="mod">
          <ac:chgData name="Dee Scott" userId="S::dees@remi.com::f6f0b954-d125-4e7a-a1cf-44665707f955" providerId="AD" clId="Web-{F0D21DF1-F3D7-2572-B1AA-C4B0615D15C0}" dt="2021-07-30T21:18:49.859" v="70" actId="1076"/>
          <ac:cxnSpMkLst>
            <pc:docMk/>
            <pc:sldMk cId="74395322" sldId="1786"/>
            <ac:cxnSpMk id="175" creationId="{39CC8738-62E3-4D32-8CB7-AF48D04D5376}"/>
          </ac:cxnSpMkLst>
        </pc:cxnChg>
        <pc:cxnChg chg="mod">
          <ac:chgData name="Dee Scott" userId="S::dees@remi.com::f6f0b954-d125-4e7a-a1cf-44665707f955" providerId="AD" clId="Web-{F0D21DF1-F3D7-2572-B1AA-C4B0615D15C0}" dt="2021-07-30T21:18:49.875" v="71" actId="1076"/>
          <ac:cxnSpMkLst>
            <pc:docMk/>
            <pc:sldMk cId="74395322" sldId="1786"/>
            <ac:cxnSpMk id="176" creationId="{39CC8738-62E3-4D32-8CB7-AF48D04D5376}"/>
          </ac:cxnSpMkLst>
        </pc:cxnChg>
        <pc:cxnChg chg="mod">
          <ac:chgData name="Dee Scott" userId="S::dees@remi.com::f6f0b954-d125-4e7a-a1cf-44665707f955" providerId="AD" clId="Web-{F0D21DF1-F3D7-2572-B1AA-C4B0615D15C0}" dt="2021-07-30T21:18:49.890" v="72" actId="1076"/>
          <ac:cxnSpMkLst>
            <pc:docMk/>
            <pc:sldMk cId="74395322" sldId="1786"/>
            <ac:cxnSpMk id="177" creationId="{84EA459B-DC47-4CBF-9BA2-2AA2EB096631}"/>
          </ac:cxnSpMkLst>
        </pc:cxnChg>
        <pc:cxnChg chg="mod">
          <ac:chgData name="Dee Scott" userId="S::dees@remi.com::f6f0b954-d125-4e7a-a1cf-44665707f955" providerId="AD" clId="Web-{F0D21DF1-F3D7-2572-B1AA-C4B0615D15C0}" dt="2021-07-30T21:30:38.366" v="116" actId="14100"/>
          <ac:cxnSpMkLst>
            <pc:docMk/>
            <pc:sldMk cId="74395322" sldId="1786"/>
            <ac:cxnSpMk id="179" creationId="{39CC8738-62E3-4D32-8CB7-AF48D04D5376}"/>
          </ac:cxnSpMkLst>
        </pc:cxnChg>
        <pc:cxnChg chg="mod">
          <ac:chgData name="Dee Scott" userId="S::dees@remi.com::f6f0b954-d125-4e7a-a1cf-44665707f955" providerId="AD" clId="Web-{F0D21DF1-F3D7-2572-B1AA-C4B0615D15C0}" dt="2021-07-30T21:18:49.968" v="76" actId="1076"/>
          <ac:cxnSpMkLst>
            <pc:docMk/>
            <pc:sldMk cId="74395322" sldId="1786"/>
            <ac:cxnSpMk id="181" creationId="{84EA459B-DC47-4CBF-9BA2-2AA2EB096631}"/>
          </ac:cxnSpMkLst>
        </pc:cxnChg>
        <pc:cxnChg chg="mod">
          <ac:chgData name="Dee Scott" userId="S::dees@remi.com::f6f0b954-d125-4e7a-a1cf-44665707f955" providerId="AD" clId="Web-{F0D21DF1-F3D7-2572-B1AA-C4B0615D15C0}" dt="2021-07-30T21:18:50" v="78" actId="1076"/>
          <ac:cxnSpMkLst>
            <pc:docMk/>
            <pc:sldMk cId="74395322" sldId="1786"/>
            <ac:cxnSpMk id="183" creationId="{84EA459B-DC47-4CBF-9BA2-2AA2EB096631}"/>
          </ac:cxnSpMkLst>
        </pc:cxnChg>
        <pc:cxnChg chg="mod">
          <ac:chgData name="Dee Scott" userId="S::dees@remi.com::f6f0b954-d125-4e7a-a1cf-44665707f955" providerId="AD" clId="Web-{F0D21DF1-F3D7-2572-B1AA-C4B0615D15C0}" dt="2021-07-30T21:18:50.031" v="80" actId="1076"/>
          <ac:cxnSpMkLst>
            <pc:docMk/>
            <pc:sldMk cId="74395322" sldId="1786"/>
            <ac:cxnSpMk id="185" creationId="{84EA459B-DC47-4CBF-9BA2-2AA2EB096631}"/>
          </ac:cxnSpMkLst>
        </pc:cxnChg>
        <pc:cxnChg chg="mod">
          <ac:chgData name="Dee Scott" userId="S::dees@remi.com::f6f0b954-d125-4e7a-a1cf-44665707f955" providerId="AD" clId="Web-{F0D21DF1-F3D7-2572-B1AA-C4B0615D15C0}" dt="2021-07-30T21:18:50.046" v="81" actId="1076"/>
          <ac:cxnSpMkLst>
            <pc:docMk/>
            <pc:sldMk cId="74395322" sldId="1786"/>
            <ac:cxnSpMk id="187" creationId="{84EA459B-DC47-4CBF-9BA2-2AA2EB096631}"/>
          </ac:cxnSpMkLst>
        </pc:cxnChg>
        <pc:cxnChg chg="mod">
          <ac:chgData name="Dee Scott" userId="S::dees@remi.com::f6f0b954-d125-4e7a-a1cf-44665707f955" providerId="AD" clId="Web-{F0D21DF1-F3D7-2572-B1AA-C4B0615D15C0}" dt="2021-07-30T21:18:50.093" v="83" actId="1076"/>
          <ac:cxnSpMkLst>
            <pc:docMk/>
            <pc:sldMk cId="74395322" sldId="1786"/>
            <ac:cxnSpMk id="189" creationId="{39CC8738-62E3-4D32-8CB7-AF48D04D5376}"/>
          </ac:cxnSpMkLst>
        </pc:cxnChg>
        <pc:cxnChg chg="mod">
          <ac:chgData name="Dee Scott" userId="S::dees@remi.com::f6f0b954-d125-4e7a-a1cf-44665707f955" providerId="AD" clId="Web-{F0D21DF1-F3D7-2572-B1AA-C4B0615D15C0}" dt="2021-07-30T21:18:50.125" v="85" actId="1076"/>
          <ac:cxnSpMkLst>
            <pc:docMk/>
            <pc:sldMk cId="74395322" sldId="1786"/>
            <ac:cxnSpMk id="191" creationId="{39CC8738-62E3-4D32-8CB7-AF48D04D5376}"/>
          </ac:cxnSpMkLst>
        </pc:cxnChg>
      </pc:sldChg>
    </pc:docChg>
  </pc:docChgLst>
  <pc:docChgLst>
    <pc:chgData name="Katy Koon" userId="S::katyk@remi.com::b514701d-d30d-45c5-9898-7b285917e019" providerId="AD" clId="Web-{FA8486C9-6EF6-C5DA-3F19-0AA1D9097E9E}"/>
    <pc:docChg chg="addSld delSld modSld sldOrd">
      <pc:chgData name="Katy Koon" userId="S::katyk@remi.com::b514701d-d30d-45c5-9898-7b285917e019" providerId="AD" clId="Web-{FA8486C9-6EF6-C5DA-3F19-0AA1D9097E9E}" dt="2021-08-27T15:44:41.309" v="1416"/>
      <pc:docMkLst>
        <pc:docMk/>
      </pc:docMkLst>
      <pc:sldChg chg="mod modShow">
        <pc:chgData name="Katy Koon" userId="S::katyk@remi.com::b514701d-d30d-45c5-9898-7b285917e019" providerId="AD" clId="Web-{FA8486C9-6EF6-C5DA-3F19-0AA1D9097E9E}" dt="2021-08-27T15:01:29.570" v="1187"/>
        <pc:sldMkLst>
          <pc:docMk/>
          <pc:sldMk cId="0" sldId="276"/>
        </pc:sldMkLst>
      </pc:sldChg>
      <pc:sldChg chg="addSp delSp modSp">
        <pc:chgData name="Katy Koon" userId="S::katyk@remi.com::b514701d-d30d-45c5-9898-7b285917e019" providerId="AD" clId="Web-{FA8486C9-6EF6-C5DA-3F19-0AA1D9097E9E}" dt="2021-08-27T15:11:00.883" v="1294" actId="20577"/>
        <pc:sldMkLst>
          <pc:docMk/>
          <pc:sldMk cId="1737056815" sldId="1738"/>
        </pc:sldMkLst>
        <pc:spChg chg="mod">
          <ac:chgData name="Katy Koon" userId="S::katyk@remi.com::b514701d-d30d-45c5-9898-7b285917e019" providerId="AD" clId="Web-{FA8486C9-6EF6-C5DA-3F19-0AA1D9097E9E}" dt="2021-08-27T15:07:05.961" v="1271" actId="20577"/>
          <ac:spMkLst>
            <pc:docMk/>
            <pc:sldMk cId="1737056815" sldId="1738"/>
            <ac:spMk id="2" creationId="{0EFDCA29-EB23-44CF-8CFA-375AE59D25E0}"/>
          </ac:spMkLst>
        </pc:spChg>
        <pc:spChg chg="add del mod">
          <ac:chgData name="Katy Koon" userId="S::katyk@remi.com::b514701d-d30d-45c5-9898-7b285917e019" providerId="AD" clId="Web-{FA8486C9-6EF6-C5DA-3F19-0AA1D9097E9E}" dt="2021-08-27T15:11:00.883" v="1294" actId="20577"/>
          <ac:spMkLst>
            <pc:docMk/>
            <pc:sldMk cId="1737056815" sldId="1738"/>
            <ac:spMk id="3" creationId="{ECC94A80-0683-474F-A5F0-472242D56EE5}"/>
          </ac:spMkLst>
        </pc:spChg>
        <pc:spChg chg="add del">
          <ac:chgData name="Katy Koon" userId="S::katyk@remi.com::b514701d-d30d-45c5-9898-7b285917e019" providerId="AD" clId="Web-{FA8486C9-6EF6-C5DA-3F19-0AA1D9097E9E}" dt="2021-08-27T15:05:20.914" v="1262"/>
          <ac:spMkLst>
            <pc:docMk/>
            <pc:sldMk cId="1737056815" sldId="1738"/>
            <ac:spMk id="6" creationId="{B1A0B7C0-D6AA-4D0F-BFFA-AE3F422A199B}"/>
          </ac:spMkLst>
        </pc:spChg>
        <pc:spChg chg="mod">
          <ac:chgData name="Katy Koon" userId="S::katyk@remi.com::b514701d-d30d-45c5-9898-7b285917e019" providerId="AD" clId="Web-{FA8486C9-6EF6-C5DA-3F19-0AA1D9097E9E}" dt="2021-08-27T15:05:48.899" v="1269" actId="20577"/>
          <ac:spMkLst>
            <pc:docMk/>
            <pc:sldMk cId="1737056815" sldId="1738"/>
            <ac:spMk id="9" creationId="{4AF82A68-1FE8-46D4-999C-BFB7CC8B683A}"/>
          </ac:spMkLst>
        </pc:spChg>
      </pc:sldChg>
      <pc:sldChg chg="modSp">
        <pc:chgData name="Katy Koon" userId="S::katyk@remi.com::b514701d-d30d-45c5-9898-7b285917e019" providerId="AD" clId="Web-{FA8486C9-6EF6-C5DA-3F19-0AA1D9097E9E}" dt="2021-08-27T15:04:12.445" v="1256" actId="20577"/>
        <pc:sldMkLst>
          <pc:docMk/>
          <pc:sldMk cId="3451346620" sldId="1739"/>
        </pc:sldMkLst>
        <pc:spChg chg="mod">
          <ac:chgData name="Katy Koon" userId="S::katyk@remi.com::b514701d-d30d-45c5-9898-7b285917e019" providerId="AD" clId="Web-{FA8486C9-6EF6-C5DA-3F19-0AA1D9097E9E}" dt="2021-08-27T15:02:52.758" v="1217" actId="20577"/>
          <ac:spMkLst>
            <pc:docMk/>
            <pc:sldMk cId="3451346620" sldId="1739"/>
            <ac:spMk id="2" creationId="{488C5ED8-DE0F-41D2-9B5A-B5A70DBCC883}"/>
          </ac:spMkLst>
        </pc:spChg>
        <pc:spChg chg="mod">
          <ac:chgData name="Katy Koon" userId="S::katyk@remi.com::b514701d-d30d-45c5-9898-7b285917e019" providerId="AD" clId="Web-{FA8486C9-6EF6-C5DA-3F19-0AA1D9097E9E}" dt="2021-08-27T15:04:12.445" v="1256" actId="20577"/>
          <ac:spMkLst>
            <pc:docMk/>
            <pc:sldMk cId="3451346620" sldId="1739"/>
            <ac:spMk id="3" creationId="{18E47E20-D42F-4B09-B241-0AC06141C631}"/>
          </ac:spMkLst>
        </pc:spChg>
        <pc:spChg chg="mod">
          <ac:chgData name="Katy Koon" userId="S::katyk@remi.com::b514701d-d30d-45c5-9898-7b285917e019" providerId="AD" clId="Web-{FA8486C9-6EF6-C5DA-3F19-0AA1D9097E9E}" dt="2021-08-27T15:03:57.836" v="1255" actId="20577"/>
          <ac:spMkLst>
            <pc:docMk/>
            <pc:sldMk cId="3451346620" sldId="1739"/>
            <ac:spMk id="4" creationId="{F390B91F-1888-402E-8D54-3129D4C7A155}"/>
          </ac:spMkLst>
        </pc:spChg>
      </pc:sldChg>
      <pc:sldChg chg="modSp">
        <pc:chgData name="Katy Koon" userId="S::katyk@remi.com::b514701d-d30d-45c5-9898-7b285917e019" providerId="AD" clId="Web-{FA8486C9-6EF6-C5DA-3F19-0AA1D9097E9E}" dt="2021-08-27T14:42:21.349" v="568" actId="1076"/>
        <pc:sldMkLst>
          <pc:docMk/>
          <pc:sldMk cId="3947175949" sldId="1741"/>
        </pc:sldMkLst>
        <pc:spChg chg="mod">
          <ac:chgData name="Katy Koon" userId="S::katyk@remi.com::b514701d-d30d-45c5-9898-7b285917e019" providerId="AD" clId="Web-{FA8486C9-6EF6-C5DA-3F19-0AA1D9097E9E}" dt="2021-08-27T14:32:05.489" v="140" actId="20577"/>
          <ac:spMkLst>
            <pc:docMk/>
            <pc:sldMk cId="3947175949" sldId="1741"/>
            <ac:spMk id="33" creationId="{EA680D70-E9BF-4D44-86E1-0871D2DCF33F}"/>
          </ac:spMkLst>
        </pc:spChg>
        <pc:spChg chg="mod">
          <ac:chgData name="Katy Koon" userId="S::katyk@remi.com::b514701d-d30d-45c5-9898-7b285917e019" providerId="AD" clId="Web-{FA8486C9-6EF6-C5DA-3F19-0AA1D9097E9E}" dt="2021-08-27T14:28:58.567" v="89" actId="20577"/>
          <ac:spMkLst>
            <pc:docMk/>
            <pc:sldMk cId="3947175949" sldId="1741"/>
            <ac:spMk id="41" creationId="{F14534C0-E389-4D7B-B400-2213F3524980}"/>
          </ac:spMkLst>
        </pc:spChg>
        <pc:spChg chg="mod">
          <ac:chgData name="Katy Koon" userId="S::katyk@remi.com::b514701d-d30d-45c5-9898-7b285917e019" providerId="AD" clId="Web-{FA8486C9-6EF6-C5DA-3F19-0AA1D9097E9E}" dt="2021-08-27T14:30:33.161" v="98" actId="20577"/>
          <ac:spMkLst>
            <pc:docMk/>
            <pc:sldMk cId="3947175949" sldId="1741"/>
            <ac:spMk id="42" creationId="{FEF70403-D928-4038-9705-087572C0E23F}"/>
          </ac:spMkLst>
        </pc:spChg>
        <pc:spChg chg="mod">
          <ac:chgData name="Katy Koon" userId="S::katyk@remi.com::b514701d-d30d-45c5-9898-7b285917e019" providerId="AD" clId="Web-{FA8486C9-6EF6-C5DA-3F19-0AA1D9097E9E}" dt="2021-08-27T14:31:11.364" v="116" actId="20577"/>
          <ac:spMkLst>
            <pc:docMk/>
            <pc:sldMk cId="3947175949" sldId="1741"/>
            <ac:spMk id="43" creationId="{CD98F38D-D544-48E5-9AA7-2166BCD5DCBC}"/>
          </ac:spMkLst>
        </pc:spChg>
        <pc:spChg chg="mod">
          <ac:chgData name="Katy Koon" userId="S::katyk@remi.com::b514701d-d30d-45c5-9898-7b285917e019" providerId="AD" clId="Web-{FA8486C9-6EF6-C5DA-3F19-0AA1D9097E9E}" dt="2021-08-27T14:31:02.927" v="109" actId="20577"/>
          <ac:spMkLst>
            <pc:docMk/>
            <pc:sldMk cId="3947175949" sldId="1741"/>
            <ac:spMk id="44" creationId="{6098C9B1-185B-4721-99B5-14F0410A1264}"/>
          </ac:spMkLst>
        </pc:spChg>
        <pc:spChg chg="mod">
          <ac:chgData name="Katy Koon" userId="S::katyk@remi.com::b514701d-d30d-45c5-9898-7b285917e019" providerId="AD" clId="Web-{FA8486C9-6EF6-C5DA-3F19-0AA1D9097E9E}" dt="2021-08-27T14:35:51.943" v="346" actId="1076"/>
          <ac:spMkLst>
            <pc:docMk/>
            <pc:sldMk cId="3947175949" sldId="1741"/>
            <ac:spMk id="45" creationId="{4FA0CFE4-A01C-4839-BA63-6BC59085E1B8}"/>
          </ac:spMkLst>
        </pc:spChg>
        <pc:spChg chg="mod">
          <ac:chgData name="Katy Koon" userId="S::katyk@remi.com::b514701d-d30d-45c5-9898-7b285917e019" providerId="AD" clId="Web-{FA8486C9-6EF6-C5DA-3F19-0AA1D9097E9E}" dt="2021-08-27T14:35:47.068" v="345" actId="1076"/>
          <ac:spMkLst>
            <pc:docMk/>
            <pc:sldMk cId="3947175949" sldId="1741"/>
            <ac:spMk id="46" creationId="{91BA52E9-05A9-411E-9F64-20FE9B3551F2}"/>
          </ac:spMkLst>
        </pc:spChg>
        <pc:spChg chg="mod">
          <ac:chgData name="Katy Koon" userId="S::katyk@remi.com::b514701d-d30d-45c5-9898-7b285917e019" providerId="AD" clId="Web-{FA8486C9-6EF6-C5DA-3F19-0AA1D9097E9E}" dt="2021-08-27T14:42:21.349" v="568" actId="1076"/>
          <ac:spMkLst>
            <pc:docMk/>
            <pc:sldMk cId="3947175949" sldId="1741"/>
            <ac:spMk id="47" creationId="{7D65EBE0-74D4-4F0C-BDB7-E099883FDA8B}"/>
          </ac:spMkLst>
        </pc:spChg>
        <pc:spChg chg="mod">
          <ac:chgData name="Katy Koon" userId="S::katyk@remi.com::b514701d-d30d-45c5-9898-7b285917e019" providerId="AD" clId="Web-{FA8486C9-6EF6-C5DA-3F19-0AA1D9097E9E}" dt="2021-08-27T14:38:58.615" v="439" actId="20577"/>
          <ac:spMkLst>
            <pc:docMk/>
            <pc:sldMk cId="3947175949" sldId="1741"/>
            <ac:spMk id="48" creationId="{DB250AFE-B6EE-4E7E-8E2D-1B507CE717FD}"/>
          </ac:spMkLst>
        </pc:spChg>
        <pc:spChg chg="mod">
          <ac:chgData name="Katy Koon" userId="S::katyk@remi.com::b514701d-d30d-45c5-9898-7b285917e019" providerId="AD" clId="Web-{FA8486C9-6EF6-C5DA-3F19-0AA1D9097E9E}" dt="2021-08-27T14:28:45.442" v="77" actId="20577"/>
          <ac:spMkLst>
            <pc:docMk/>
            <pc:sldMk cId="3947175949" sldId="1741"/>
            <ac:spMk id="49" creationId="{393171B0-E513-49EF-8BB3-C15A4CDCFEF2}"/>
          </ac:spMkLst>
        </pc:spChg>
      </pc:sldChg>
      <pc:sldChg chg="mod modShow">
        <pc:chgData name="Katy Koon" userId="S::katyk@remi.com::b514701d-d30d-45c5-9898-7b285917e019" providerId="AD" clId="Web-{FA8486C9-6EF6-C5DA-3F19-0AA1D9097E9E}" dt="2021-08-27T15:04:38.508" v="1257"/>
        <pc:sldMkLst>
          <pc:docMk/>
          <pc:sldMk cId="1821981459" sldId="1745"/>
        </pc:sldMkLst>
      </pc:sldChg>
      <pc:sldChg chg="modSp del ord">
        <pc:chgData name="Katy Koon" userId="S::katyk@remi.com::b514701d-d30d-45c5-9898-7b285917e019" providerId="AD" clId="Web-{FA8486C9-6EF6-C5DA-3F19-0AA1D9097E9E}" dt="2021-08-27T15:15:14.290" v="1330"/>
        <pc:sldMkLst>
          <pc:docMk/>
          <pc:sldMk cId="1404404340" sldId="1751"/>
        </pc:sldMkLst>
        <pc:spChg chg="mod">
          <ac:chgData name="Katy Koon" userId="S::katyk@remi.com::b514701d-d30d-45c5-9898-7b285917e019" providerId="AD" clId="Web-{FA8486C9-6EF6-C5DA-3F19-0AA1D9097E9E}" dt="2021-08-27T15:14:07.822" v="1327" actId="20577"/>
          <ac:spMkLst>
            <pc:docMk/>
            <pc:sldMk cId="1404404340" sldId="1751"/>
            <ac:spMk id="6" creationId="{81530173-3AE0-495B-9957-E3B9011BE031}"/>
          </ac:spMkLst>
        </pc:spChg>
      </pc:sldChg>
      <pc:sldChg chg="modSp">
        <pc:chgData name="Katy Koon" userId="S::katyk@remi.com::b514701d-d30d-45c5-9898-7b285917e019" providerId="AD" clId="Web-{FA8486C9-6EF6-C5DA-3F19-0AA1D9097E9E}" dt="2021-08-27T14:27:16.411" v="54" actId="20577"/>
        <pc:sldMkLst>
          <pc:docMk/>
          <pc:sldMk cId="3655581026" sldId="1759"/>
        </pc:sldMkLst>
        <pc:spChg chg="mod">
          <ac:chgData name="Katy Koon" userId="S::katyk@remi.com::b514701d-d30d-45c5-9898-7b285917e019" providerId="AD" clId="Web-{FA8486C9-6EF6-C5DA-3F19-0AA1D9097E9E}" dt="2021-08-27T14:26:48.082" v="42" actId="20577"/>
          <ac:spMkLst>
            <pc:docMk/>
            <pc:sldMk cId="3655581026" sldId="1759"/>
            <ac:spMk id="4" creationId="{B92A55C0-12DF-48E8-B7E5-31BFDD761913}"/>
          </ac:spMkLst>
        </pc:spChg>
        <pc:spChg chg="mod">
          <ac:chgData name="Katy Koon" userId="S::katyk@remi.com::b514701d-d30d-45c5-9898-7b285917e019" providerId="AD" clId="Web-{FA8486C9-6EF6-C5DA-3F19-0AA1D9097E9E}" dt="2021-08-27T14:27:16.411" v="54" actId="20577"/>
          <ac:spMkLst>
            <pc:docMk/>
            <pc:sldMk cId="3655581026" sldId="1759"/>
            <ac:spMk id="9" creationId="{972318B3-EA50-47FE-B4A8-8A719C31EAB6}"/>
          </ac:spMkLst>
        </pc:spChg>
      </pc:sldChg>
      <pc:sldChg chg="modSp">
        <pc:chgData name="Katy Koon" userId="S::katyk@remi.com::b514701d-d30d-45c5-9898-7b285917e019" providerId="AD" clId="Web-{FA8486C9-6EF6-C5DA-3F19-0AA1D9097E9E}" dt="2021-08-27T15:01:11.789" v="1186" actId="1076"/>
        <pc:sldMkLst>
          <pc:docMk/>
          <pc:sldMk cId="1792675798" sldId="1760"/>
        </pc:sldMkLst>
        <pc:spChg chg="mod">
          <ac:chgData name="Katy Koon" userId="S::katyk@remi.com::b514701d-d30d-45c5-9898-7b285917e019" providerId="AD" clId="Web-{FA8486C9-6EF6-C5DA-3F19-0AA1D9097E9E}" dt="2021-08-27T14:46:16.772" v="640" actId="20577"/>
          <ac:spMkLst>
            <pc:docMk/>
            <pc:sldMk cId="1792675798" sldId="1760"/>
            <ac:spMk id="2" creationId="{A7CC3804-D56C-4BBF-81B4-B94603FFF05D}"/>
          </ac:spMkLst>
        </pc:spChg>
        <pc:spChg chg="mod">
          <ac:chgData name="Katy Koon" userId="S::katyk@remi.com::b514701d-d30d-45c5-9898-7b285917e019" providerId="AD" clId="Web-{FA8486C9-6EF6-C5DA-3F19-0AA1D9097E9E}" dt="2021-08-27T14:50:11.819" v="754" actId="20577"/>
          <ac:spMkLst>
            <pc:docMk/>
            <pc:sldMk cId="1792675798" sldId="1760"/>
            <ac:spMk id="3" creationId="{D1EBD988-1306-415C-B7F1-37BFD5261AF0}"/>
          </ac:spMkLst>
        </pc:spChg>
        <pc:spChg chg="mod">
          <ac:chgData name="Katy Koon" userId="S::katyk@remi.com::b514701d-d30d-45c5-9898-7b285917e019" providerId="AD" clId="Web-{FA8486C9-6EF6-C5DA-3F19-0AA1D9097E9E}" dt="2021-08-27T14:55:44.288" v="876" actId="20577"/>
          <ac:spMkLst>
            <pc:docMk/>
            <pc:sldMk cId="1792675798" sldId="1760"/>
            <ac:spMk id="5" creationId="{06A7B049-3F85-4057-9246-65B4F06A91C1}"/>
          </ac:spMkLst>
        </pc:spChg>
        <pc:spChg chg="mod">
          <ac:chgData name="Katy Koon" userId="S::katyk@remi.com::b514701d-d30d-45c5-9898-7b285917e019" providerId="AD" clId="Web-{FA8486C9-6EF6-C5DA-3F19-0AA1D9097E9E}" dt="2021-08-27T14:59:21.257" v="1084" actId="20577"/>
          <ac:spMkLst>
            <pc:docMk/>
            <pc:sldMk cId="1792675798" sldId="1760"/>
            <ac:spMk id="6" creationId="{FA06EEC6-C475-42DB-87C6-B1BAACA23A97}"/>
          </ac:spMkLst>
        </pc:spChg>
        <pc:spChg chg="mod">
          <ac:chgData name="Katy Koon" userId="S::katyk@remi.com::b514701d-d30d-45c5-9898-7b285917e019" providerId="AD" clId="Web-{FA8486C9-6EF6-C5DA-3F19-0AA1D9097E9E}" dt="2021-08-27T15:01:11.789" v="1186" actId="1076"/>
          <ac:spMkLst>
            <pc:docMk/>
            <pc:sldMk cId="1792675798" sldId="1760"/>
            <ac:spMk id="7" creationId="{F24801FF-8FA3-4E2C-8395-48DFBB1A4302}"/>
          </ac:spMkLst>
        </pc:spChg>
        <pc:spChg chg="mod">
          <ac:chgData name="Katy Koon" userId="S::katyk@remi.com::b514701d-d30d-45c5-9898-7b285917e019" providerId="AD" clId="Web-{FA8486C9-6EF6-C5DA-3F19-0AA1D9097E9E}" dt="2021-08-27T14:45:06.772" v="587" actId="20577"/>
          <ac:spMkLst>
            <pc:docMk/>
            <pc:sldMk cId="1792675798" sldId="1760"/>
            <ac:spMk id="8" creationId="{42B815E8-1DF7-4D36-B0C2-F0A0B51D7E2E}"/>
          </ac:spMkLst>
        </pc:spChg>
      </pc:sldChg>
      <pc:sldChg chg="addSp delSp modSp add replId">
        <pc:chgData name="Katy Koon" userId="S::katyk@remi.com::b514701d-d30d-45c5-9898-7b285917e019" providerId="AD" clId="Web-{FA8486C9-6EF6-C5DA-3F19-0AA1D9097E9E}" dt="2021-08-27T15:12:10.415" v="1313" actId="20577"/>
        <pc:sldMkLst>
          <pc:docMk/>
          <pc:sldMk cId="4286962187" sldId="1795"/>
        </pc:sldMkLst>
        <pc:spChg chg="mod">
          <ac:chgData name="Katy Koon" userId="S::katyk@remi.com::b514701d-d30d-45c5-9898-7b285917e019" providerId="AD" clId="Web-{FA8486C9-6EF6-C5DA-3F19-0AA1D9097E9E}" dt="2021-08-27T15:12:10.415" v="1313" actId="20577"/>
          <ac:spMkLst>
            <pc:docMk/>
            <pc:sldMk cId="4286962187" sldId="1795"/>
            <ac:spMk id="2" creationId="{0EFDCA29-EB23-44CF-8CFA-375AE59D25E0}"/>
          </ac:spMkLst>
        </pc:spChg>
        <pc:spChg chg="del mod">
          <ac:chgData name="Katy Koon" userId="S::katyk@remi.com::b514701d-d30d-45c5-9898-7b285917e019" providerId="AD" clId="Web-{FA8486C9-6EF6-C5DA-3F19-0AA1D9097E9E}" dt="2021-08-27T15:11:43.243" v="1306"/>
          <ac:spMkLst>
            <pc:docMk/>
            <pc:sldMk cId="4286962187" sldId="1795"/>
            <ac:spMk id="3" creationId="{ECC94A80-0683-474F-A5F0-472242D56EE5}"/>
          </ac:spMkLst>
        </pc:spChg>
        <pc:spChg chg="add del">
          <ac:chgData name="Katy Koon" userId="S::katyk@remi.com::b514701d-d30d-45c5-9898-7b285917e019" providerId="AD" clId="Web-{FA8486C9-6EF6-C5DA-3F19-0AA1D9097E9E}" dt="2021-08-27T15:11:50.384" v="1308"/>
          <ac:spMkLst>
            <pc:docMk/>
            <pc:sldMk cId="4286962187" sldId="1795"/>
            <ac:spMk id="4" creationId="{04A536AF-7256-4001-B7A1-0856CCC5DC97}"/>
          </ac:spMkLst>
        </pc:spChg>
        <pc:spChg chg="mod">
          <ac:chgData name="Katy Koon" userId="S::katyk@remi.com::b514701d-d30d-45c5-9898-7b285917e019" providerId="AD" clId="Web-{FA8486C9-6EF6-C5DA-3F19-0AA1D9097E9E}" dt="2021-08-27T15:12:06.868" v="1312" actId="14100"/>
          <ac:spMkLst>
            <pc:docMk/>
            <pc:sldMk cId="4286962187" sldId="1795"/>
            <ac:spMk id="5" creationId="{13FD05DB-D9C3-49F0-B219-2780FDC04281}"/>
          </ac:spMkLst>
        </pc:spChg>
        <pc:spChg chg="del mod">
          <ac:chgData name="Katy Koon" userId="S::katyk@remi.com::b514701d-d30d-45c5-9898-7b285917e019" providerId="AD" clId="Web-{FA8486C9-6EF6-C5DA-3F19-0AA1D9097E9E}" dt="2021-08-27T15:11:39.649" v="1304"/>
          <ac:spMkLst>
            <pc:docMk/>
            <pc:sldMk cId="4286962187" sldId="1795"/>
            <ac:spMk id="6" creationId="{B1A0B7C0-D6AA-4D0F-BFFA-AE3F422A199B}"/>
          </ac:spMkLst>
        </pc:spChg>
        <pc:spChg chg="mod">
          <ac:chgData name="Katy Koon" userId="S::katyk@remi.com::b514701d-d30d-45c5-9898-7b285917e019" providerId="AD" clId="Web-{FA8486C9-6EF6-C5DA-3F19-0AA1D9097E9E}" dt="2021-08-27T15:11:35.399" v="1302" actId="20577"/>
          <ac:spMkLst>
            <pc:docMk/>
            <pc:sldMk cId="4286962187" sldId="1795"/>
            <ac:spMk id="9" creationId="{4AF82A68-1FE8-46D4-999C-BFB7CC8B683A}"/>
          </ac:spMkLst>
        </pc:spChg>
      </pc:sldChg>
      <pc:sldChg chg="modSp add del ord replId">
        <pc:chgData name="Katy Koon" userId="S::katyk@remi.com::b514701d-d30d-45c5-9898-7b285917e019" providerId="AD" clId="Web-{FA8486C9-6EF6-C5DA-3F19-0AA1D9097E9E}" dt="2021-08-27T15:18:27.244" v="1377" actId="20577"/>
        <pc:sldMkLst>
          <pc:docMk/>
          <pc:sldMk cId="4114102022" sldId="1796"/>
        </pc:sldMkLst>
        <pc:spChg chg="mod">
          <ac:chgData name="Katy Koon" userId="S::katyk@remi.com::b514701d-d30d-45c5-9898-7b285917e019" providerId="AD" clId="Web-{FA8486C9-6EF6-C5DA-3F19-0AA1D9097E9E}" dt="2021-08-27T15:18:27.244" v="1377" actId="20577"/>
          <ac:spMkLst>
            <pc:docMk/>
            <pc:sldMk cId="4114102022" sldId="1796"/>
            <ac:spMk id="2" creationId="{0EFDCA29-EB23-44CF-8CFA-375AE59D25E0}"/>
          </ac:spMkLst>
        </pc:spChg>
        <pc:spChg chg="mod">
          <ac:chgData name="Katy Koon" userId="S::katyk@remi.com::b514701d-d30d-45c5-9898-7b285917e019" providerId="AD" clId="Web-{FA8486C9-6EF6-C5DA-3F19-0AA1D9097E9E}" dt="2021-08-27T15:16:03.353" v="1359" actId="20577"/>
          <ac:spMkLst>
            <pc:docMk/>
            <pc:sldMk cId="4114102022" sldId="1796"/>
            <ac:spMk id="5" creationId="{13FD05DB-D9C3-49F0-B219-2780FDC04281}"/>
          </ac:spMkLst>
        </pc:spChg>
        <pc:spChg chg="mod">
          <ac:chgData name="Katy Koon" userId="S::katyk@remi.com::b514701d-d30d-45c5-9898-7b285917e019" providerId="AD" clId="Web-{FA8486C9-6EF6-C5DA-3F19-0AA1D9097E9E}" dt="2021-08-27T15:14:07.634" v="1324" actId="20577"/>
          <ac:spMkLst>
            <pc:docMk/>
            <pc:sldMk cId="4114102022" sldId="1796"/>
            <ac:spMk id="9" creationId="{4AF82A68-1FE8-46D4-999C-BFB7CC8B683A}"/>
          </ac:spMkLst>
        </pc:spChg>
      </pc:sldChg>
      <pc:sldChg chg="modSp add replId addCm">
        <pc:chgData name="Katy Koon" userId="S::katyk@remi.com::b514701d-d30d-45c5-9898-7b285917e019" providerId="AD" clId="Web-{FA8486C9-6EF6-C5DA-3F19-0AA1D9097E9E}" dt="2021-08-27T15:44:41.309" v="1416"/>
        <pc:sldMkLst>
          <pc:docMk/>
          <pc:sldMk cId="1052252738" sldId="1797"/>
        </pc:sldMkLst>
        <pc:spChg chg="mod">
          <ac:chgData name="Katy Koon" userId="S::katyk@remi.com::b514701d-d30d-45c5-9898-7b285917e019" providerId="AD" clId="Web-{FA8486C9-6EF6-C5DA-3F19-0AA1D9097E9E}" dt="2021-08-27T15:20:13.478" v="1387" actId="20577"/>
          <ac:spMkLst>
            <pc:docMk/>
            <pc:sldMk cId="1052252738" sldId="1797"/>
            <ac:spMk id="2" creationId="{488C5ED8-DE0F-41D2-9B5A-B5A70DBCC883}"/>
          </ac:spMkLst>
        </pc:spChg>
        <pc:spChg chg="mod">
          <ac:chgData name="Katy Koon" userId="S::katyk@remi.com::b514701d-d30d-45c5-9898-7b285917e019" providerId="AD" clId="Web-{FA8486C9-6EF6-C5DA-3F19-0AA1D9097E9E}" dt="2021-08-27T15:21:40.603" v="1407" actId="20577"/>
          <ac:spMkLst>
            <pc:docMk/>
            <pc:sldMk cId="1052252738" sldId="1797"/>
            <ac:spMk id="3" creationId="{18E47E20-D42F-4B09-B241-0AC06141C631}"/>
          </ac:spMkLst>
        </pc:spChg>
        <pc:spChg chg="mod">
          <ac:chgData name="Katy Koon" userId="S::katyk@remi.com::b514701d-d30d-45c5-9898-7b285917e019" providerId="AD" clId="Web-{FA8486C9-6EF6-C5DA-3F19-0AA1D9097E9E}" dt="2021-08-27T15:22:09.775" v="1415" actId="20577"/>
          <ac:spMkLst>
            <pc:docMk/>
            <pc:sldMk cId="1052252738" sldId="1797"/>
            <ac:spMk id="4" creationId="{F390B91F-1888-402E-8D54-3129D4C7A155}"/>
          </ac:spMkLst>
        </pc:spChg>
      </pc:sldChg>
    </pc:docChg>
  </pc:docChgLst>
  <pc:docChgLst>
    <pc:chgData name="Katy Koon" userId="S::katyk@remi.com::b514701d-d30d-45c5-9898-7b285917e019" providerId="AD" clId="Web-{F63A982C-DDDA-A2F4-2A1E-15703874B565}"/>
    <pc:docChg chg="delSld modSld sldOrd">
      <pc:chgData name="Katy Koon" userId="S::katyk@remi.com::b514701d-d30d-45c5-9898-7b285917e019" providerId="AD" clId="Web-{F63A982C-DDDA-A2F4-2A1E-15703874B565}" dt="2021-09-02T17:54:08.965" v="2574"/>
      <pc:docMkLst>
        <pc:docMk/>
      </pc:docMkLst>
      <pc:sldChg chg="modSp mod ord modShow">
        <pc:chgData name="Katy Koon" userId="S::katyk@remi.com::b514701d-d30d-45c5-9898-7b285917e019" providerId="AD" clId="Web-{F63A982C-DDDA-A2F4-2A1E-15703874B565}" dt="2021-09-02T17:12:41.934" v="2075" actId="20577"/>
        <pc:sldMkLst>
          <pc:docMk/>
          <pc:sldMk cId="0" sldId="276"/>
        </pc:sldMkLst>
        <pc:spChg chg="mod">
          <ac:chgData name="Katy Koon" userId="S::katyk@remi.com::b514701d-d30d-45c5-9898-7b285917e019" providerId="AD" clId="Web-{F63A982C-DDDA-A2F4-2A1E-15703874B565}" dt="2021-09-02T15:57:01.062" v="133" actId="20577"/>
          <ac:spMkLst>
            <pc:docMk/>
            <pc:sldMk cId="0" sldId="276"/>
            <ac:spMk id="30" creationId="{266DB3D7-60CE-4123-ADA8-4FD298AAB2E8}"/>
          </ac:spMkLst>
        </pc:spChg>
        <pc:spChg chg="mod">
          <ac:chgData name="Katy Koon" userId="S::katyk@remi.com::b514701d-d30d-45c5-9898-7b285917e019" providerId="AD" clId="Web-{F63A982C-DDDA-A2F4-2A1E-15703874B565}" dt="2021-09-02T15:57:10.593" v="142" actId="20577"/>
          <ac:spMkLst>
            <pc:docMk/>
            <pc:sldMk cId="0" sldId="276"/>
            <ac:spMk id="983" creationId="{00000000-0000-0000-0000-000000000000}"/>
          </ac:spMkLst>
        </pc:spChg>
        <pc:spChg chg="mod">
          <ac:chgData name="Katy Koon" userId="S::katyk@remi.com::b514701d-d30d-45c5-9898-7b285917e019" providerId="AD" clId="Web-{F63A982C-DDDA-A2F4-2A1E-15703874B565}" dt="2021-09-02T15:57:20.922" v="147" actId="20577"/>
          <ac:spMkLst>
            <pc:docMk/>
            <pc:sldMk cId="0" sldId="276"/>
            <ac:spMk id="984" creationId="{00000000-0000-0000-0000-000000000000}"/>
          </ac:spMkLst>
        </pc:spChg>
        <pc:spChg chg="mod">
          <ac:chgData name="Katy Koon" userId="S::katyk@remi.com::b514701d-d30d-45c5-9898-7b285917e019" providerId="AD" clId="Web-{F63A982C-DDDA-A2F4-2A1E-15703874B565}" dt="2021-09-02T17:12:41.934" v="2075" actId="20577"/>
          <ac:spMkLst>
            <pc:docMk/>
            <pc:sldMk cId="0" sldId="276"/>
            <ac:spMk id="985" creationId="{00000000-0000-0000-0000-000000000000}"/>
          </ac:spMkLst>
        </pc:spChg>
        <pc:spChg chg="mod">
          <ac:chgData name="Katy Koon" userId="S::katyk@remi.com::b514701d-d30d-45c5-9898-7b285917e019" providerId="AD" clId="Web-{F63A982C-DDDA-A2F4-2A1E-15703874B565}" dt="2021-09-02T16:05:38.152" v="604" actId="20577"/>
          <ac:spMkLst>
            <pc:docMk/>
            <pc:sldMk cId="0" sldId="276"/>
            <ac:spMk id="986" creationId="{00000000-0000-0000-0000-000000000000}"/>
          </ac:spMkLst>
        </pc:spChg>
        <pc:spChg chg="mod">
          <ac:chgData name="Katy Koon" userId="S::katyk@remi.com::b514701d-d30d-45c5-9898-7b285917e019" providerId="AD" clId="Web-{F63A982C-DDDA-A2F4-2A1E-15703874B565}" dt="2021-09-02T16:07:22.889" v="673" actId="20577"/>
          <ac:spMkLst>
            <pc:docMk/>
            <pc:sldMk cId="0" sldId="276"/>
            <ac:spMk id="988" creationId="{00000000-0000-0000-0000-000000000000}"/>
          </ac:spMkLst>
        </pc:spChg>
        <pc:spChg chg="mod">
          <ac:chgData name="Katy Koon" userId="S::katyk@remi.com::b514701d-d30d-45c5-9898-7b285917e019" providerId="AD" clId="Web-{F63A982C-DDDA-A2F4-2A1E-15703874B565}" dt="2021-09-02T15:57:16.562" v="146" actId="20577"/>
          <ac:spMkLst>
            <pc:docMk/>
            <pc:sldMk cId="0" sldId="276"/>
            <ac:spMk id="991" creationId="{00000000-0000-0000-0000-000000000000}"/>
          </ac:spMkLst>
        </pc:spChg>
        <pc:spChg chg="mod">
          <ac:chgData name="Katy Koon" userId="S::katyk@remi.com::b514701d-d30d-45c5-9898-7b285917e019" providerId="AD" clId="Web-{F63A982C-DDDA-A2F4-2A1E-15703874B565}" dt="2021-09-02T16:03:40.915" v="496" actId="20577"/>
          <ac:spMkLst>
            <pc:docMk/>
            <pc:sldMk cId="0" sldId="276"/>
            <ac:spMk id="992" creationId="{00000000-0000-0000-0000-000000000000}"/>
          </ac:spMkLst>
        </pc:spChg>
      </pc:sldChg>
      <pc:sldChg chg="delSp modSp">
        <pc:chgData name="Katy Koon" userId="S::katyk@remi.com::b514701d-d30d-45c5-9898-7b285917e019" providerId="AD" clId="Web-{F63A982C-DDDA-A2F4-2A1E-15703874B565}" dt="2021-09-02T17:28:39.035" v="2565" actId="1076"/>
        <pc:sldMkLst>
          <pc:docMk/>
          <pc:sldMk cId="827155553" sldId="1606"/>
        </pc:sldMkLst>
        <pc:spChg chg="del mod">
          <ac:chgData name="Katy Koon" userId="S::katyk@remi.com::b514701d-d30d-45c5-9898-7b285917e019" providerId="AD" clId="Web-{F63A982C-DDDA-A2F4-2A1E-15703874B565}" dt="2021-09-02T17:17:35.144" v="2098"/>
          <ac:spMkLst>
            <pc:docMk/>
            <pc:sldMk cId="827155553" sldId="1606"/>
            <ac:spMk id="4" creationId="{EC2B8DFB-B291-41D2-BD0B-2C7F1A267334}"/>
          </ac:spMkLst>
        </pc:spChg>
        <pc:spChg chg="mod">
          <ac:chgData name="Katy Koon" userId="S::katyk@remi.com::b514701d-d30d-45c5-9898-7b285917e019" providerId="AD" clId="Web-{F63A982C-DDDA-A2F4-2A1E-15703874B565}" dt="2021-09-02T17:18:09.176" v="2105" actId="14100"/>
          <ac:spMkLst>
            <pc:docMk/>
            <pc:sldMk cId="827155553" sldId="1606"/>
            <ac:spMk id="5" creationId="{053FADAE-B100-43A3-909F-19DBCD8D6DF2}"/>
          </ac:spMkLst>
        </pc:spChg>
        <pc:spChg chg="del mod">
          <ac:chgData name="Katy Koon" userId="S::katyk@remi.com::b514701d-d30d-45c5-9898-7b285917e019" providerId="AD" clId="Web-{F63A982C-DDDA-A2F4-2A1E-15703874B565}" dt="2021-09-02T17:17:30.863" v="2096"/>
          <ac:spMkLst>
            <pc:docMk/>
            <pc:sldMk cId="827155553" sldId="1606"/>
            <ac:spMk id="6" creationId="{E539FE80-07DA-4ECE-A9FE-3D747243FCA9}"/>
          </ac:spMkLst>
        </pc:spChg>
        <pc:spChg chg="mod">
          <ac:chgData name="Katy Koon" userId="S::katyk@remi.com::b514701d-d30d-45c5-9898-7b285917e019" providerId="AD" clId="Web-{F63A982C-DDDA-A2F4-2A1E-15703874B565}" dt="2021-09-02T17:18:17.176" v="2106" actId="14100"/>
          <ac:spMkLst>
            <pc:docMk/>
            <pc:sldMk cId="827155553" sldId="1606"/>
            <ac:spMk id="7" creationId="{C73BAEE8-B3B3-4417-9C70-A61223047EE1}"/>
          </ac:spMkLst>
        </pc:spChg>
        <pc:spChg chg="del">
          <ac:chgData name="Katy Koon" userId="S::katyk@remi.com::b514701d-d30d-45c5-9898-7b285917e019" providerId="AD" clId="Web-{F63A982C-DDDA-A2F4-2A1E-15703874B565}" dt="2021-09-02T17:17:49.566" v="2101"/>
          <ac:spMkLst>
            <pc:docMk/>
            <pc:sldMk cId="827155553" sldId="1606"/>
            <ac:spMk id="8" creationId="{BE61E7D6-17B8-49E7-9AB9-4C4DA91BCBEA}"/>
          </ac:spMkLst>
        </pc:spChg>
        <pc:spChg chg="del">
          <ac:chgData name="Katy Koon" userId="S::katyk@remi.com::b514701d-d30d-45c5-9898-7b285917e019" providerId="AD" clId="Web-{F63A982C-DDDA-A2F4-2A1E-15703874B565}" dt="2021-09-02T17:17:43.019" v="2099"/>
          <ac:spMkLst>
            <pc:docMk/>
            <pc:sldMk cId="827155553" sldId="1606"/>
            <ac:spMk id="9" creationId="{61081428-B10F-4C65-9819-DEA6BBC230C8}"/>
          </ac:spMkLst>
        </pc:spChg>
        <pc:spChg chg="mod">
          <ac:chgData name="Katy Koon" userId="S::katyk@remi.com::b514701d-d30d-45c5-9898-7b285917e019" providerId="AD" clId="Web-{F63A982C-DDDA-A2F4-2A1E-15703874B565}" dt="2021-09-02T17:09:20.054" v="2064" actId="1076"/>
          <ac:spMkLst>
            <pc:docMk/>
            <pc:sldMk cId="827155553" sldId="1606"/>
            <ac:spMk id="10" creationId="{7FE5A42F-FF8D-4F8E-96C2-5C9B5799F9AD}"/>
          </ac:spMkLst>
        </pc:spChg>
        <pc:spChg chg="del mod">
          <ac:chgData name="Katy Koon" userId="S::katyk@remi.com::b514701d-d30d-45c5-9898-7b285917e019" providerId="AD" clId="Web-{F63A982C-DDDA-A2F4-2A1E-15703874B565}" dt="2021-09-02T17:17:46.879" v="2100"/>
          <ac:spMkLst>
            <pc:docMk/>
            <pc:sldMk cId="827155553" sldId="1606"/>
            <ac:spMk id="11" creationId="{5DAF25FB-BCF9-4BED-95ED-E4A1E09BABC9}"/>
          </ac:spMkLst>
        </pc:spChg>
        <pc:spChg chg="mod">
          <ac:chgData name="Katy Koon" userId="S::katyk@remi.com::b514701d-d30d-45c5-9898-7b285917e019" providerId="AD" clId="Web-{F63A982C-DDDA-A2F4-2A1E-15703874B565}" dt="2021-09-02T17:28:39.035" v="2565" actId="1076"/>
          <ac:spMkLst>
            <pc:docMk/>
            <pc:sldMk cId="827155553" sldId="1606"/>
            <ac:spMk id="12" creationId="{9805AA5D-E1ED-4B26-97FA-778A03103E2C}"/>
          </ac:spMkLst>
        </pc:spChg>
        <pc:spChg chg="del">
          <ac:chgData name="Katy Koon" userId="S::katyk@remi.com::b514701d-d30d-45c5-9898-7b285917e019" providerId="AD" clId="Web-{F63A982C-DDDA-A2F4-2A1E-15703874B565}" dt="2021-09-02T17:18:23.114" v="2107"/>
          <ac:spMkLst>
            <pc:docMk/>
            <pc:sldMk cId="827155553" sldId="1606"/>
            <ac:spMk id="13" creationId="{E58CDB61-A376-4BAD-926E-0C9F7AF81AC6}"/>
          </ac:spMkLst>
        </pc:spChg>
        <pc:spChg chg="mod">
          <ac:chgData name="Katy Koon" userId="S::katyk@remi.com::b514701d-d30d-45c5-9898-7b285917e019" providerId="AD" clId="Web-{F63A982C-DDDA-A2F4-2A1E-15703874B565}" dt="2021-09-02T17:13:23.669" v="2086" actId="20577"/>
          <ac:spMkLst>
            <pc:docMk/>
            <pc:sldMk cId="827155553" sldId="1606"/>
            <ac:spMk id="14" creationId="{542E6E0A-77E3-4B99-8356-DD61D511B89B}"/>
          </ac:spMkLst>
        </pc:spChg>
        <pc:spChg chg="mod">
          <ac:chgData name="Katy Koon" userId="S::katyk@remi.com::b514701d-d30d-45c5-9898-7b285917e019" providerId="AD" clId="Web-{F63A982C-DDDA-A2F4-2A1E-15703874B565}" dt="2021-09-02T17:28:25.800" v="2564" actId="20577"/>
          <ac:spMkLst>
            <pc:docMk/>
            <pc:sldMk cId="827155553" sldId="1606"/>
            <ac:spMk id="17" creationId="{3E11C882-C769-45EF-B500-D8905EF21869}"/>
          </ac:spMkLst>
        </pc:spChg>
        <pc:spChg chg="mod">
          <ac:chgData name="Katy Koon" userId="S::katyk@remi.com::b514701d-d30d-45c5-9898-7b285917e019" providerId="AD" clId="Web-{F63A982C-DDDA-A2F4-2A1E-15703874B565}" dt="2021-09-02T17:17:08.456" v="2094" actId="20577"/>
          <ac:spMkLst>
            <pc:docMk/>
            <pc:sldMk cId="827155553" sldId="1606"/>
            <ac:spMk id="19" creationId="{1AB8332C-8DCC-4ED2-9DC7-55AC71C6F566}"/>
          </ac:spMkLst>
        </pc:spChg>
      </pc:sldChg>
      <pc:sldChg chg="modSp mod ord modShow">
        <pc:chgData name="Katy Koon" userId="S::katyk@remi.com::b514701d-d30d-45c5-9898-7b285917e019" providerId="AD" clId="Web-{F63A982C-DDDA-A2F4-2A1E-15703874B565}" dt="2021-09-02T17:54:03.230" v="2571"/>
        <pc:sldMkLst>
          <pc:docMk/>
          <pc:sldMk cId="1461574562" sldId="1727"/>
        </pc:sldMkLst>
        <pc:spChg chg="mod">
          <ac:chgData name="Katy Koon" userId="S::katyk@remi.com::b514701d-d30d-45c5-9898-7b285917e019" providerId="AD" clId="Web-{F63A982C-DDDA-A2F4-2A1E-15703874B565}" dt="2021-09-02T17:53:53.808" v="2569" actId="20577"/>
          <ac:spMkLst>
            <pc:docMk/>
            <pc:sldMk cId="1461574562" sldId="1727"/>
            <ac:spMk id="5" creationId="{3345687C-B03A-8744-958F-947CB4E69000}"/>
          </ac:spMkLst>
        </pc:spChg>
      </pc:sldChg>
      <pc:sldChg chg="modSp">
        <pc:chgData name="Katy Koon" userId="S::katyk@remi.com::b514701d-d30d-45c5-9898-7b285917e019" providerId="AD" clId="Web-{F63A982C-DDDA-A2F4-2A1E-15703874B565}" dt="2021-09-02T15:42:33.791" v="18" actId="20577"/>
        <pc:sldMkLst>
          <pc:docMk/>
          <pc:sldMk cId="3691047474" sldId="1730"/>
        </pc:sldMkLst>
        <pc:spChg chg="mod">
          <ac:chgData name="Katy Koon" userId="S::katyk@remi.com::b514701d-d30d-45c5-9898-7b285917e019" providerId="AD" clId="Web-{F63A982C-DDDA-A2F4-2A1E-15703874B565}" dt="2021-09-02T15:42:33.791" v="18" actId="20577"/>
          <ac:spMkLst>
            <pc:docMk/>
            <pc:sldMk cId="3691047474" sldId="1730"/>
            <ac:spMk id="6" creationId="{F0C30E94-B83B-409B-919A-E1FD59AAAEB0}"/>
          </ac:spMkLst>
        </pc:spChg>
      </pc:sldChg>
      <pc:sldChg chg="modSp">
        <pc:chgData name="Katy Koon" userId="S::katyk@remi.com::b514701d-d30d-45c5-9898-7b285917e019" providerId="AD" clId="Web-{F63A982C-DDDA-A2F4-2A1E-15703874B565}" dt="2021-09-02T15:42:43.745" v="23" actId="20577"/>
        <pc:sldMkLst>
          <pc:docMk/>
          <pc:sldMk cId="2942803301" sldId="1731"/>
        </pc:sldMkLst>
        <pc:spChg chg="mod">
          <ac:chgData name="Katy Koon" userId="S::katyk@remi.com::b514701d-d30d-45c5-9898-7b285917e019" providerId="AD" clId="Web-{F63A982C-DDDA-A2F4-2A1E-15703874B565}" dt="2021-09-02T15:42:43.745" v="23" actId="20577"/>
          <ac:spMkLst>
            <pc:docMk/>
            <pc:sldMk cId="2942803301" sldId="1731"/>
            <ac:spMk id="18" creationId="{41EC4D60-3057-447A-8ECF-7A600FF200D6}"/>
          </ac:spMkLst>
        </pc:spChg>
      </pc:sldChg>
      <pc:sldChg chg="modSp">
        <pc:chgData name="Katy Koon" userId="S::katyk@remi.com::b514701d-d30d-45c5-9898-7b285917e019" providerId="AD" clId="Web-{F63A982C-DDDA-A2F4-2A1E-15703874B565}" dt="2021-09-02T16:51:16.920" v="1975" actId="20577"/>
        <pc:sldMkLst>
          <pc:docMk/>
          <pc:sldMk cId="1737056815" sldId="1738"/>
        </pc:sldMkLst>
        <pc:spChg chg="mod">
          <ac:chgData name="Katy Koon" userId="S::katyk@remi.com::b514701d-d30d-45c5-9898-7b285917e019" providerId="AD" clId="Web-{F63A982C-DDDA-A2F4-2A1E-15703874B565}" dt="2021-09-02T16:30:40.047" v="1443" actId="20577"/>
          <ac:spMkLst>
            <pc:docMk/>
            <pc:sldMk cId="1737056815" sldId="1738"/>
            <ac:spMk id="3" creationId="{ECC94A80-0683-474F-A5F0-472242D56EE5}"/>
          </ac:spMkLst>
        </pc:spChg>
        <pc:spChg chg="mod">
          <ac:chgData name="Katy Koon" userId="S::katyk@remi.com::b514701d-d30d-45c5-9898-7b285917e019" providerId="AD" clId="Web-{F63A982C-DDDA-A2F4-2A1E-15703874B565}" dt="2021-09-02T16:51:16.920" v="1975" actId="20577"/>
          <ac:spMkLst>
            <pc:docMk/>
            <pc:sldMk cId="1737056815" sldId="1738"/>
            <ac:spMk id="5" creationId="{13FD05DB-D9C3-49F0-B219-2780FDC04281}"/>
          </ac:spMkLst>
        </pc:spChg>
        <pc:spChg chg="mod">
          <ac:chgData name="Katy Koon" userId="S::katyk@remi.com::b514701d-d30d-45c5-9898-7b285917e019" providerId="AD" clId="Web-{F63A982C-DDDA-A2F4-2A1E-15703874B565}" dt="2021-09-02T16:40:07.732" v="1723" actId="20577"/>
          <ac:spMkLst>
            <pc:docMk/>
            <pc:sldMk cId="1737056815" sldId="1738"/>
            <ac:spMk id="6" creationId="{B1A0B7C0-D6AA-4D0F-BFFA-AE3F422A199B}"/>
          </ac:spMkLst>
        </pc:spChg>
      </pc:sldChg>
      <pc:sldChg chg="del">
        <pc:chgData name="Katy Koon" userId="S::katyk@remi.com::b514701d-d30d-45c5-9898-7b285917e019" providerId="AD" clId="Web-{F63A982C-DDDA-A2F4-2A1E-15703874B565}" dt="2021-09-02T17:28:51.082" v="2566"/>
        <pc:sldMkLst>
          <pc:docMk/>
          <pc:sldMk cId="3451346620" sldId="1739"/>
        </pc:sldMkLst>
      </pc:sldChg>
      <pc:sldChg chg="modSp ord">
        <pc:chgData name="Katy Koon" userId="S::katyk@remi.com::b514701d-d30d-45c5-9898-7b285917e019" providerId="AD" clId="Web-{F63A982C-DDDA-A2F4-2A1E-15703874B565}" dt="2021-09-02T16:20:28.829" v="1156" actId="14100"/>
        <pc:sldMkLst>
          <pc:docMk/>
          <pc:sldMk cId="2702560065" sldId="1740"/>
        </pc:sldMkLst>
        <pc:spChg chg="mod">
          <ac:chgData name="Katy Koon" userId="S::katyk@remi.com::b514701d-d30d-45c5-9898-7b285917e019" providerId="AD" clId="Web-{F63A982C-DDDA-A2F4-2A1E-15703874B565}" dt="2021-09-02T16:20:18.501" v="1153" actId="14100"/>
          <ac:spMkLst>
            <pc:docMk/>
            <pc:sldMk cId="2702560065" sldId="1740"/>
            <ac:spMk id="5" creationId="{A9C3AAA7-BFF2-42F1-BCD0-E995BC0EAD92}"/>
          </ac:spMkLst>
        </pc:spChg>
        <pc:spChg chg="mod">
          <ac:chgData name="Katy Koon" userId="S::katyk@remi.com::b514701d-d30d-45c5-9898-7b285917e019" providerId="AD" clId="Web-{F63A982C-DDDA-A2F4-2A1E-15703874B565}" dt="2021-09-02T16:20:28.829" v="1156" actId="14100"/>
          <ac:spMkLst>
            <pc:docMk/>
            <pc:sldMk cId="2702560065" sldId="1740"/>
            <ac:spMk id="14" creationId="{BEE15A1B-2193-4E8A-BE3A-1EB870F612B7}"/>
          </ac:spMkLst>
        </pc:spChg>
        <pc:spChg chg="mod">
          <ac:chgData name="Katy Koon" userId="S::katyk@remi.com::b514701d-d30d-45c5-9898-7b285917e019" providerId="AD" clId="Web-{F63A982C-DDDA-A2F4-2A1E-15703874B565}" dt="2021-09-02T16:20:12.485" v="1152" actId="14100"/>
          <ac:spMkLst>
            <pc:docMk/>
            <pc:sldMk cId="2702560065" sldId="1740"/>
            <ac:spMk id="17" creationId="{91D44765-93D8-4414-AEE1-4829A4AE0F19}"/>
          </ac:spMkLst>
        </pc:spChg>
        <pc:spChg chg="mod">
          <ac:chgData name="Katy Koon" userId="S::katyk@remi.com::b514701d-d30d-45c5-9898-7b285917e019" providerId="AD" clId="Web-{F63A982C-DDDA-A2F4-2A1E-15703874B565}" dt="2021-09-02T16:20:09.657" v="1151" actId="14100"/>
          <ac:spMkLst>
            <pc:docMk/>
            <pc:sldMk cId="2702560065" sldId="1740"/>
            <ac:spMk id="20" creationId="{AF897A22-49EC-477C-B92B-9D8E56B32AE2}"/>
          </ac:spMkLst>
        </pc:spChg>
        <pc:spChg chg="mod">
          <ac:chgData name="Katy Koon" userId="S::katyk@remi.com::b514701d-d30d-45c5-9898-7b285917e019" providerId="AD" clId="Web-{F63A982C-DDDA-A2F4-2A1E-15703874B565}" dt="2021-09-02T16:10:08.158" v="685" actId="20577"/>
          <ac:spMkLst>
            <pc:docMk/>
            <pc:sldMk cId="2702560065" sldId="1740"/>
            <ac:spMk id="23" creationId="{FA80D60B-02D0-4656-9AB4-950E09914C42}"/>
          </ac:spMkLst>
        </pc:spChg>
      </pc:sldChg>
      <pc:sldChg chg="ord">
        <pc:chgData name="Katy Koon" userId="S::katyk@remi.com::b514701d-d30d-45c5-9898-7b285917e019" providerId="AD" clId="Web-{F63A982C-DDDA-A2F4-2A1E-15703874B565}" dt="2021-09-02T15:26:59.004" v="3"/>
        <pc:sldMkLst>
          <pc:docMk/>
          <pc:sldMk cId="1821981459" sldId="1745"/>
        </pc:sldMkLst>
      </pc:sldChg>
      <pc:sldChg chg="del">
        <pc:chgData name="Katy Koon" userId="S::katyk@remi.com::b514701d-d30d-45c5-9898-7b285917e019" providerId="AD" clId="Web-{F63A982C-DDDA-A2F4-2A1E-15703874B565}" dt="2021-09-02T16:53:41.782" v="2031"/>
        <pc:sldMkLst>
          <pc:docMk/>
          <pc:sldMk cId="1853421347" sldId="1756"/>
        </pc:sldMkLst>
      </pc:sldChg>
      <pc:sldChg chg="modSp">
        <pc:chgData name="Katy Koon" userId="S::katyk@remi.com::b514701d-d30d-45c5-9898-7b285917e019" providerId="AD" clId="Web-{F63A982C-DDDA-A2F4-2A1E-15703874B565}" dt="2021-09-02T17:12:24.168" v="2074" actId="20577"/>
        <pc:sldMkLst>
          <pc:docMk/>
          <pc:sldMk cId="3655581026" sldId="1759"/>
        </pc:sldMkLst>
        <pc:spChg chg="mod">
          <ac:chgData name="Katy Koon" userId="S::katyk@remi.com::b514701d-d30d-45c5-9898-7b285917e019" providerId="AD" clId="Web-{F63A982C-DDDA-A2F4-2A1E-15703874B565}" dt="2021-09-02T17:12:24.168" v="2074" actId="20577"/>
          <ac:spMkLst>
            <pc:docMk/>
            <pc:sldMk cId="3655581026" sldId="1759"/>
            <ac:spMk id="4" creationId="{B92A55C0-12DF-48E8-B7E5-31BFDD761913}"/>
          </ac:spMkLst>
        </pc:spChg>
      </pc:sldChg>
      <pc:sldChg chg="modSp ord">
        <pc:chgData name="Katy Koon" userId="S::katyk@remi.com::b514701d-d30d-45c5-9898-7b285917e019" providerId="AD" clId="Web-{F63A982C-DDDA-A2F4-2A1E-15703874B565}" dt="2021-09-02T16:07:36.889" v="675" actId="20577"/>
        <pc:sldMkLst>
          <pc:docMk/>
          <pc:sldMk cId="1792675798" sldId="1760"/>
        </pc:sldMkLst>
        <pc:spChg chg="mod">
          <ac:chgData name="Katy Koon" userId="S::katyk@remi.com::b514701d-d30d-45c5-9898-7b285917e019" providerId="AD" clId="Web-{F63A982C-DDDA-A2F4-2A1E-15703874B565}" dt="2021-09-02T15:48:59.535" v="117" actId="20577"/>
          <ac:spMkLst>
            <pc:docMk/>
            <pc:sldMk cId="1792675798" sldId="1760"/>
            <ac:spMk id="2" creationId="{A7CC3804-D56C-4BBF-81B4-B94603FFF05D}"/>
          </ac:spMkLst>
        </pc:spChg>
        <pc:spChg chg="mod">
          <ac:chgData name="Katy Koon" userId="S::katyk@remi.com::b514701d-d30d-45c5-9898-7b285917e019" providerId="AD" clId="Web-{F63A982C-DDDA-A2F4-2A1E-15703874B565}" dt="2021-09-02T15:49:21.989" v="120" actId="20577"/>
          <ac:spMkLst>
            <pc:docMk/>
            <pc:sldMk cId="1792675798" sldId="1760"/>
            <ac:spMk id="3" creationId="{D1EBD988-1306-415C-B7F1-37BFD5261AF0}"/>
          </ac:spMkLst>
        </pc:spChg>
        <pc:spChg chg="mod">
          <ac:chgData name="Katy Koon" userId="S::katyk@remi.com::b514701d-d30d-45c5-9898-7b285917e019" providerId="AD" clId="Web-{F63A982C-DDDA-A2F4-2A1E-15703874B565}" dt="2021-09-02T16:07:36.889" v="675" actId="20577"/>
          <ac:spMkLst>
            <pc:docMk/>
            <pc:sldMk cId="1792675798" sldId="1760"/>
            <ac:spMk id="8" creationId="{42B815E8-1DF7-4D36-B0C2-F0A0B51D7E2E}"/>
          </ac:spMkLst>
        </pc:spChg>
      </pc:sldChg>
      <pc:sldChg chg="modSp">
        <pc:chgData name="Katy Koon" userId="S::katyk@remi.com::b514701d-d30d-45c5-9898-7b285917e019" providerId="AD" clId="Web-{F63A982C-DDDA-A2F4-2A1E-15703874B565}" dt="2021-09-02T15:42:53.589" v="30" actId="20577"/>
        <pc:sldMkLst>
          <pc:docMk/>
          <pc:sldMk cId="3164089913" sldId="1761"/>
        </pc:sldMkLst>
        <pc:spChg chg="mod">
          <ac:chgData name="Katy Koon" userId="S::katyk@remi.com::b514701d-d30d-45c5-9898-7b285917e019" providerId="AD" clId="Web-{F63A982C-DDDA-A2F4-2A1E-15703874B565}" dt="2021-09-02T15:42:53.589" v="30" actId="20577"/>
          <ac:spMkLst>
            <pc:docMk/>
            <pc:sldMk cId="3164089913" sldId="1761"/>
            <ac:spMk id="18" creationId="{41EC4D60-3057-447A-8ECF-7A600FF200D6}"/>
          </ac:spMkLst>
        </pc:spChg>
      </pc:sldChg>
      <pc:sldChg chg="modSp">
        <pc:chgData name="Katy Koon" userId="S::katyk@remi.com::b514701d-d30d-45c5-9898-7b285917e019" providerId="AD" clId="Web-{F63A982C-DDDA-A2F4-2A1E-15703874B565}" dt="2021-09-02T15:43:02.870" v="39" actId="20577"/>
        <pc:sldMkLst>
          <pc:docMk/>
          <pc:sldMk cId="913222381" sldId="1762"/>
        </pc:sldMkLst>
        <pc:spChg chg="mod">
          <ac:chgData name="Katy Koon" userId="S::katyk@remi.com::b514701d-d30d-45c5-9898-7b285917e019" providerId="AD" clId="Web-{F63A982C-DDDA-A2F4-2A1E-15703874B565}" dt="2021-09-02T15:43:02.870" v="39" actId="20577"/>
          <ac:spMkLst>
            <pc:docMk/>
            <pc:sldMk cId="913222381" sldId="1762"/>
            <ac:spMk id="18" creationId="{41EC4D60-3057-447A-8ECF-7A600FF200D6}"/>
          </ac:spMkLst>
        </pc:spChg>
      </pc:sldChg>
      <pc:sldChg chg="modSp">
        <pc:chgData name="Katy Koon" userId="S::katyk@remi.com::b514701d-d30d-45c5-9898-7b285917e019" providerId="AD" clId="Web-{F63A982C-DDDA-A2F4-2A1E-15703874B565}" dt="2021-09-02T15:43:12.167" v="42" actId="20577"/>
        <pc:sldMkLst>
          <pc:docMk/>
          <pc:sldMk cId="213713487" sldId="1763"/>
        </pc:sldMkLst>
        <pc:spChg chg="mod">
          <ac:chgData name="Katy Koon" userId="S::katyk@remi.com::b514701d-d30d-45c5-9898-7b285917e019" providerId="AD" clId="Web-{F63A982C-DDDA-A2F4-2A1E-15703874B565}" dt="2021-09-02T15:43:12.167" v="42" actId="20577"/>
          <ac:spMkLst>
            <pc:docMk/>
            <pc:sldMk cId="213713487" sldId="1763"/>
            <ac:spMk id="18" creationId="{41EC4D60-3057-447A-8ECF-7A600FF200D6}"/>
          </ac:spMkLst>
        </pc:spChg>
      </pc:sldChg>
      <pc:sldChg chg="modSp">
        <pc:chgData name="Katy Koon" userId="S::katyk@remi.com::b514701d-d30d-45c5-9898-7b285917e019" providerId="AD" clId="Web-{F63A982C-DDDA-A2F4-2A1E-15703874B565}" dt="2021-09-02T15:44:06.340" v="68" actId="20577"/>
        <pc:sldMkLst>
          <pc:docMk/>
          <pc:sldMk cId="1203642412" sldId="1764"/>
        </pc:sldMkLst>
        <pc:spChg chg="mod">
          <ac:chgData name="Katy Koon" userId="S::katyk@remi.com::b514701d-d30d-45c5-9898-7b285917e019" providerId="AD" clId="Web-{F63A982C-DDDA-A2F4-2A1E-15703874B565}" dt="2021-09-02T15:44:06.340" v="68" actId="20577"/>
          <ac:spMkLst>
            <pc:docMk/>
            <pc:sldMk cId="1203642412" sldId="1764"/>
            <ac:spMk id="17" creationId="{F4D087CE-A955-4B14-A81B-7525861FAED4}"/>
          </ac:spMkLst>
        </pc:spChg>
        <pc:spChg chg="mod">
          <ac:chgData name="Katy Koon" userId="S::katyk@remi.com::b514701d-d30d-45c5-9898-7b285917e019" providerId="AD" clId="Web-{F63A982C-DDDA-A2F4-2A1E-15703874B565}" dt="2021-09-02T15:43:51.153" v="55" actId="20577"/>
          <ac:spMkLst>
            <pc:docMk/>
            <pc:sldMk cId="1203642412" sldId="1764"/>
            <ac:spMk id="18" creationId="{41EC4D60-3057-447A-8ECF-7A600FF200D6}"/>
          </ac:spMkLst>
        </pc:spChg>
        <pc:spChg chg="mod">
          <ac:chgData name="Katy Koon" userId="S::katyk@remi.com::b514701d-d30d-45c5-9898-7b285917e019" providerId="AD" clId="Web-{F63A982C-DDDA-A2F4-2A1E-15703874B565}" dt="2021-09-02T15:43:41.699" v="49" actId="20577"/>
          <ac:spMkLst>
            <pc:docMk/>
            <pc:sldMk cId="1203642412" sldId="1764"/>
            <ac:spMk id="19" creationId="{16E5DDE6-FD6D-41D1-8A4E-D02F0FF4F673}"/>
          </ac:spMkLst>
        </pc:spChg>
      </pc:sldChg>
      <pc:sldChg chg="mod ord modShow">
        <pc:chgData name="Katy Koon" userId="S::katyk@remi.com::b514701d-d30d-45c5-9898-7b285917e019" providerId="AD" clId="Web-{F63A982C-DDDA-A2F4-2A1E-15703874B565}" dt="2021-09-02T16:54:08.283" v="2036"/>
        <pc:sldMkLst>
          <pc:docMk/>
          <pc:sldMk cId="1487282979" sldId="1775"/>
        </pc:sldMkLst>
      </pc:sldChg>
      <pc:sldChg chg="del">
        <pc:chgData name="Katy Koon" userId="S::katyk@remi.com::b514701d-d30d-45c5-9898-7b285917e019" providerId="AD" clId="Web-{F63A982C-DDDA-A2F4-2A1E-15703874B565}" dt="2021-09-02T15:44:38.013" v="70"/>
        <pc:sldMkLst>
          <pc:docMk/>
          <pc:sldMk cId="2954732908" sldId="1777"/>
        </pc:sldMkLst>
      </pc:sldChg>
      <pc:sldChg chg="mod ord modShow">
        <pc:chgData name="Katy Koon" userId="S::katyk@remi.com::b514701d-d30d-45c5-9898-7b285917e019" providerId="AD" clId="Web-{F63A982C-DDDA-A2F4-2A1E-15703874B565}" dt="2021-09-02T16:54:13.892" v="2037"/>
        <pc:sldMkLst>
          <pc:docMk/>
          <pc:sldMk cId="2703196828" sldId="1780"/>
        </pc:sldMkLst>
      </pc:sldChg>
      <pc:sldChg chg="del">
        <pc:chgData name="Katy Koon" userId="S::katyk@remi.com::b514701d-d30d-45c5-9898-7b285917e019" providerId="AD" clId="Web-{F63A982C-DDDA-A2F4-2A1E-15703874B565}" dt="2021-09-02T15:44:41.498" v="71"/>
        <pc:sldMkLst>
          <pc:docMk/>
          <pc:sldMk cId="2209526021" sldId="1781"/>
        </pc:sldMkLst>
      </pc:sldChg>
      <pc:sldChg chg="mod ord modShow">
        <pc:chgData name="Katy Koon" userId="S::katyk@remi.com::b514701d-d30d-45c5-9898-7b285917e019" providerId="AD" clId="Web-{F63A982C-DDDA-A2F4-2A1E-15703874B565}" dt="2021-09-02T16:54:18.580" v="2038"/>
        <pc:sldMkLst>
          <pc:docMk/>
          <pc:sldMk cId="1709404293" sldId="1782"/>
        </pc:sldMkLst>
      </pc:sldChg>
      <pc:sldChg chg="ord">
        <pc:chgData name="Katy Koon" userId="S::katyk@remi.com::b514701d-d30d-45c5-9898-7b285917e019" providerId="AD" clId="Web-{F63A982C-DDDA-A2F4-2A1E-15703874B565}" dt="2021-09-02T16:53:46.079" v="2032"/>
        <pc:sldMkLst>
          <pc:docMk/>
          <pc:sldMk cId="3361905198" sldId="1785"/>
        </pc:sldMkLst>
      </pc:sldChg>
      <pc:sldChg chg="modSp ord">
        <pc:chgData name="Katy Koon" userId="S::katyk@remi.com::b514701d-d30d-45c5-9898-7b285917e019" providerId="AD" clId="Web-{F63A982C-DDDA-A2F4-2A1E-15703874B565}" dt="2021-09-02T17:54:06.230" v="2572"/>
        <pc:sldMkLst>
          <pc:docMk/>
          <pc:sldMk cId="74395322" sldId="1786"/>
        </pc:sldMkLst>
        <pc:spChg chg="mod">
          <ac:chgData name="Katy Koon" userId="S::katyk@remi.com::b514701d-d30d-45c5-9898-7b285917e019" providerId="AD" clId="Web-{F63A982C-DDDA-A2F4-2A1E-15703874B565}" dt="2021-09-02T16:53:30.876" v="2030" actId="20577"/>
          <ac:spMkLst>
            <pc:docMk/>
            <pc:sldMk cId="74395322" sldId="1786"/>
            <ac:spMk id="176" creationId="{51203D22-6F6E-4C1C-82C2-39B5BCAAA18A}"/>
          </ac:spMkLst>
        </pc:spChg>
      </pc:sldChg>
      <pc:sldChg chg="modSp del">
        <pc:chgData name="Katy Koon" userId="S::katyk@remi.com::b514701d-d30d-45c5-9898-7b285917e019" providerId="AD" clId="Web-{F63A982C-DDDA-A2F4-2A1E-15703874B565}" dt="2021-09-02T17:29:02.613" v="2568"/>
        <pc:sldMkLst>
          <pc:docMk/>
          <pc:sldMk cId="866416928" sldId="1793"/>
        </pc:sldMkLst>
        <pc:spChg chg="mod">
          <ac:chgData name="Katy Koon" userId="S::katyk@remi.com::b514701d-d30d-45c5-9898-7b285917e019" providerId="AD" clId="Web-{F63A982C-DDDA-A2F4-2A1E-15703874B565}" dt="2021-09-02T15:43:21.011" v="44" actId="20577"/>
          <ac:spMkLst>
            <pc:docMk/>
            <pc:sldMk cId="866416928" sldId="1793"/>
            <ac:spMk id="18" creationId="{41EC4D60-3057-447A-8ECF-7A600FF200D6}"/>
          </ac:spMkLst>
        </pc:spChg>
      </pc:sldChg>
      <pc:sldChg chg="ord">
        <pc:chgData name="Katy Koon" userId="S::katyk@remi.com::b514701d-d30d-45c5-9898-7b285917e019" providerId="AD" clId="Web-{F63A982C-DDDA-A2F4-2A1E-15703874B565}" dt="2021-09-02T17:54:08.965" v="2574"/>
        <pc:sldMkLst>
          <pc:docMk/>
          <pc:sldMk cId="2270530961" sldId="1794"/>
        </pc:sldMkLst>
      </pc:sldChg>
      <pc:sldChg chg="modSp ord">
        <pc:chgData name="Katy Koon" userId="S::katyk@remi.com::b514701d-d30d-45c5-9898-7b285917e019" providerId="AD" clId="Web-{F63A982C-DDDA-A2F4-2A1E-15703874B565}" dt="2021-09-02T16:30:15.968" v="1438" actId="1076"/>
        <pc:sldMkLst>
          <pc:docMk/>
          <pc:sldMk cId="4286962187" sldId="1795"/>
        </pc:sldMkLst>
        <pc:spChg chg="mod">
          <ac:chgData name="Katy Koon" userId="S::katyk@remi.com::b514701d-d30d-45c5-9898-7b285917e019" providerId="AD" clId="Web-{F63A982C-DDDA-A2F4-2A1E-15703874B565}" dt="2021-09-02T16:30:12.171" v="1437" actId="1076"/>
          <ac:spMkLst>
            <pc:docMk/>
            <pc:sldMk cId="4286962187" sldId="1795"/>
            <ac:spMk id="2" creationId="{0EFDCA29-EB23-44CF-8CFA-375AE59D25E0}"/>
          </ac:spMkLst>
        </pc:spChg>
        <pc:spChg chg="mod">
          <ac:chgData name="Katy Koon" userId="S::katyk@remi.com::b514701d-d30d-45c5-9898-7b285917e019" providerId="AD" clId="Web-{F63A982C-DDDA-A2F4-2A1E-15703874B565}" dt="2021-09-02T16:30:15.968" v="1438" actId="1076"/>
          <ac:spMkLst>
            <pc:docMk/>
            <pc:sldMk cId="4286962187" sldId="1795"/>
            <ac:spMk id="5" creationId="{13FD05DB-D9C3-49F0-B219-2780FDC04281}"/>
          </ac:spMkLst>
        </pc:spChg>
        <pc:spChg chg="mod">
          <ac:chgData name="Katy Koon" userId="S::katyk@remi.com::b514701d-d30d-45c5-9898-7b285917e019" providerId="AD" clId="Web-{F63A982C-DDDA-A2F4-2A1E-15703874B565}" dt="2021-09-02T16:22:47.676" v="1170" actId="20577"/>
          <ac:spMkLst>
            <pc:docMk/>
            <pc:sldMk cId="4286962187" sldId="1795"/>
            <ac:spMk id="9" creationId="{4AF82A68-1FE8-46D4-999C-BFB7CC8B683A}"/>
          </ac:spMkLst>
        </pc:spChg>
      </pc:sldChg>
      <pc:sldChg chg="del">
        <pc:chgData name="Katy Koon" userId="S::katyk@remi.com::b514701d-d30d-45c5-9898-7b285917e019" providerId="AD" clId="Web-{F63A982C-DDDA-A2F4-2A1E-15703874B565}" dt="2021-09-02T16:09:02.704" v="676"/>
        <pc:sldMkLst>
          <pc:docMk/>
          <pc:sldMk cId="4114102022" sldId="1796"/>
        </pc:sldMkLst>
      </pc:sldChg>
      <pc:sldChg chg="del delCm">
        <pc:chgData name="Katy Koon" userId="S::katyk@remi.com::b514701d-d30d-45c5-9898-7b285917e019" providerId="AD" clId="Web-{F63A982C-DDDA-A2F4-2A1E-15703874B565}" dt="2021-09-02T17:28:52.676" v="2567"/>
        <pc:sldMkLst>
          <pc:docMk/>
          <pc:sldMk cId="1052252738" sldId="1797"/>
        </pc:sldMkLst>
      </pc:sldChg>
    </pc:docChg>
  </pc:docChgLst>
  <pc:docChgLst>
    <pc:chgData name="Amanda Lambert" userId="S::amandal@remi.com::65f8b1f4-b15f-407c-b397-bc240439b16d" providerId="AD" clId="Web-{868E563B-15DA-A657-8AE7-AFBC2AD061E3}"/>
    <pc:docChg chg="delSld modSld">
      <pc:chgData name="Amanda Lambert" userId="S::amandal@remi.com::65f8b1f4-b15f-407c-b397-bc240439b16d" providerId="AD" clId="Web-{868E563B-15DA-A657-8AE7-AFBC2AD061E3}" dt="2022-04-25T20:51:14.633" v="11"/>
      <pc:docMkLst>
        <pc:docMk/>
      </pc:docMkLst>
      <pc:sldChg chg="modSp">
        <pc:chgData name="Amanda Lambert" userId="S::amandal@remi.com::65f8b1f4-b15f-407c-b397-bc240439b16d" providerId="AD" clId="Web-{868E563B-15DA-A657-8AE7-AFBC2AD061E3}" dt="2022-04-25T20:51:11.149" v="10" actId="20577"/>
        <pc:sldMkLst>
          <pc:docMk/>
          <pc:sldMk cId="3655581026" sldId="1759"/>
        </pc:sldMkLst>
        <pc:spChg chg="mod">
          <ac:chgData name="Amanda Lambert" userId="S::amandal@remi.com::65f8b1f4-b15f-407c-b397-bc240439b16d" providerId="AD" clId="Web-{868E563B-15DA-A657-8AE7-AFBC2AD061E3}" dt="2022-04-25T20:50:46.898" v="2" actId="20577"/>
          <ac:spMkLst>
            <pc:docMk/>
            <pc:sldMk cId="3655581026" sldId="1759"/>
            <ac:spMk id="4" creationId="{B92A55C0-12DF-48E8-B7E5-31BFDD761913}"/>
          </ac:spMkLst>
        </pc:spChg>
        <pc:spChg chg="mod">
          <ac:chgData name="Amanda Lambert" userId="S::amandal@remi.com::65f8b1f4-b15f-407c-b397-bc240439b16d" providerId="AD" clId="Web-{868E563B-15DA-A657-8AE7-AFBC2AD061E3}" dt="2022-04-25T20:51:11.149" v="10" actId="20577"/>
          <ac:spMkLst>
            <pc:docMk/>
            <pc:sldMk cId="3655581026" sldId="1759"/>
            <ac:spMk id="9" creationId="{972318B3-EA50-47FE-B4A8-8A719C31EAB6}"/>
          </ac:spMkLst>
        </pc:spChg>
      </pc:sldChg>
      <pc:sldChg chg="del">
        <pc:chgData name="Amanda Lambert" userId="S::amandal@remi.com::65f8b1f4-b15f-407c-b397-bc240439b16d" providerId="AD" clId="Web-{868E563B-15DA-A657-8AE7-AFBC2AD061E3}" dt="2022-04-25T20:51:14.633" v="11"/>
        <pc:sldMkLst>
          <pc:docMk/>
          <pc:sldMk cId="3590480976" sldId="1787"/>
        </pc:sldMkLst>
      </pc:sldChg>
    </pc:docChg>
  </pc:docChgLst>
  <pc:docChgLst>
    <pc:chgData name="Aaron Baker" userId="d002b17f-d855-4973-bb9c-c439a7ee68af" providerId="ADAL" clId="{6A693925-1526-49B6-A34C-E8AA39DBA79E}"/>
    <pc:docChg chg="undo custSel addSld delSld modSld sldOrd">
      <pc:chgData name="Aaron Baker" userId="d002b17f-d855-4973-bb9c-c439a7ee68af" providerId="ADAL" clId="{6A693925-1526-49B6-A34C-E8AA39DBA79E}" dt="2021-06-29T19:25:37.684" v="1193"/>
      <pc:docMkLst>
        <pc:docMk/>
      </pc:docMkLst>
      <pc:sldChg chg="ord">
        <pc:chgData name="Aaron Baker" userId="d002b17f-d855-4973-bb9c-c439a7ee68af" providerId="ADAL" clId="{6A693925-1526-49B6-A34C-E8AA39DBA79E}" dt="2021-06-29T17:49:07.067" v="37"/>
        <pc:sldMkLst>
          <pc:docMk/>
          <pc:sldMk cId="2411642527" sldId="270"/>
        </pc:sldMkLst>
      </pc:sldChg>
      <pc:sldChg chg="ord">
        <pc:chgData name="Aaron Baker" userId="d002b17f-d855-4973-bb9c-c439a7ee68af" providerId="ADAL" clId="{6A693925-1526-49B6-A34C-E8AA39DBA79E}" dt="2021-06-29T17:48:49.508" v="25"/>
        <pc:sldMkLst>
          <pc:docMk/>
          <pc:sldMk cId="1552178269" sldId="271"/>
        </pc:sldMkLst>
      </pc:sldChg>
      <pc:sldChg chg="ord">
        <pc:chgData name="Aaron Baker" userId="d002b17f-d855-4973-bb9c-c439a7ee68af" providerId="ADAL" clId="{6A693925-1526-49B6-A34C-E8AA39DBA79E}" dt="2021-06-29T17:49:53.442" v="40"/>
        <pc:sldMkLst>
          <pc:docMk/>
          <pc:sldMk cId="0" sldId="276"/>
        </pc:sldMkLst>
      </pc:sldChg>
      <pc:sldChg chg="modTransition">
        <pc:chgData name="Aaron Baker" userId="d002b17f-d855-4973-bb9c-c439a7ee68af" providerId="ADAL" clId="{6A693925-1526-49B6-A34C-E8AA39DBA79E}" dt="2021-06-29T18:06:07.043" v="331"/>
        <pc:sldMkLst>
          <pc:docMk/>
          <pc:sldMk cId="3889850613" sldId="1508"/>
        </pc:sldMkLst>
      </pc:sldChg>
      <pc:sldChg chg="del">
        <pc:chgData name="Aaron Baker" userId="d002b17f-d855-4973-bb9c-c439a7ee68af" providerId="ADAL" clId="{6A693925-1526-49B6-A34C-E8AA39DBA79E}" dt="2021-06-29T17:46:13.023" v="2" actId="2696"/>
        <pc:sldMkLst>
          <pc:docMk/>
          <pc:sldMk cId="3065236496" sldId="1605"/>
        </pc:sldMkLst>
      </pc:sldChg>
      <pc:sldChg chg="ord">
        <pc:chgData name="Aaron Baker" userId="d002b17f-d855-4973-bb9c-c439a7ee68af" providerId="ADAL" clId="{6A693925-1526-49B6-A34C-E8AA39DBA79E}" dt="2021-06-29T17:57:25.431" v="274"/>
        <pc:sldMkLst>
          <pc:docMk/>
          <pc:sldMk cId="827155553" sldId="1606"/>
        </pc:sldMkLst>
      </pc:sldChg>
      <pc:sldChg chg="modTransition">
        <pc:chgData name="Aaron Baker" userId="d002b17f-d855-4973-bb9c-c439a7ee68af" providerId="ADAL" clId="{6A693925-1526-49B6-A34C-E8AA39DBA79E}" dt="2021-06-29T18:06:07.043" v="331"/>
        <pc:sldMkLst>
          <pc:docMk/>
          <pc:sldMk cId="1370314611" sldId="1681"/>
        </pc:sldMkLst>
      </pc:sldChg>
      <pc:sldChg chg="ord">
        <pc:chgData name="Aaron Baker" userId="d002b17f-d855-4973-bb9c-c439a7ee68af" providerId="ADAL" clId="{6A693925-1526-49B6-A34C-E8AA39DBA79E}" dt="2021-06-29T17:58:11.381" v="278"/>
        <pc:sldMkLst>
          <pc:docMk/>
          <pc:sldMk cId="1461574562" sldId="1727"/>
        </pc:sldMkLst>
      </pc:sldChg>
      <pc:sldChg chg="addSp delSp modSp">
        <pc:chgData name="Aaron Baker" userId="d002b17f-d855-4973-bb9c-c439a7ee68af" providerId="ADAL" clId="{6A693925-1526-49B6-A34C-E8AA39DBA79E}" dt="2021-06-29T17:53:04.543" v="267" actId="20577"/>
        <pc:sldMkLst>
          <pc:docMk/>
          <pc:sldMk cId="3691047474" sldId="1730"/>
        </pc:sldMkLst>
        <pc:spChg chg="mod">
          <ac:chgData name="Aaron Baker" userId="d002b17f-d855-4973-bb9c-c439a7ee68af" providerId="ADAL" clId="{6A693925-1526-49B6-A34C-E8AA39DBA79E}" dt="2021-06-29T17:53:04.543" v="267" actId="20577"/>
          <ac:spMkLst>
            <pc:docMk/>
            <pc:sldMk cId="3691047474" sldId="1730"/>
            <ac:spMk id="5" creationId="{A5CA18DA-04FB-4196-A4D2-B01F8A7AA339}"/>
          </ac:spMkLst>
        </pc:spChg>
        <pc:spChg chg="mod">
          <ac:chgData name="Aaron Baker" userId="d002b17f-d855-4973-bb9c-c439a7ee68af" providerId="ADAL" clId="{6A693925-1526-49B6-A34C-E8AA39DBA79E}" dt="2021-06-29T17:50:57.540" v="105" actId="20577"/>
          <ac:spMkLst>
            <pc:docMk/>
            <pc:sldMk cId="3691047474" sldId="1730"/>
            <ac:spMk id="6" creationId="{F0C30E94-B83B-409B-919A-E1FD59AAAEB0}"/>
          </ac:spMkLst>
        </pc:spChg>
        <pc:spChg chg="add del mod">
          <ac:chgData name="Aaron Baker" userId="d002b17f-d855-4973-bb9c-c439a7ee68af" providerId="ADAL" clId="{6A693925-1526-49B6-A34C-E8AA39DBA79E}" dt="2021-06-29T17:51:06.044" v="116" actId="20577"/>
          <ac:spMkLst>
            <pc:docMk/>
            <pc:sldMk cId="3691047474" sldId="1730"/>
            <ac:spMk id="7" creationId="{E608611A-508E-4925-B8D8-09DA03F0FEA8}"/>
          </ac:spMkLst>
        </pc:spChg>
        <pc:spChg chg="mod">
          <ac:chgData name="Aaron Baker" userId="d002b17f-d855-4973-bb9c-c439a7ee68af" providerId="ADAL" clId="{6A693925-1526-49B6-A34C-E8AA39DBA79E}" dt="2021-06-29T17:47:11.328" v="16" actId="20577"/>
          <ac:spMkLst>
            <pc:docMk/>
            <pc:sldMk cId="3691047474" sldId="1730"/>
            <ac:spMk id="8" creationId="{03D508A7-A3F8-431B-9F99-A3A0A3FF9D34}"/>
          </ac:spMkLst>
        </pc:spChg>
      </pc:sldChg>
      <pc:sldChg chg="addSp delSp modSp">
        <pc:chgData name="Aaron Baker" userId="d002b17f-d855-4973-bb9c-c439a7ee68af" providerId="ADAL" clId="{6A693925-1526-49B6-A34C-E8AA39DBA79E}" dt="2021-06-29T17:52:54.455" v="243" actId="20577"/>
        <pc:sldMkLst>
          <pc:docMk/>
          <pc:sldMk cId="2942803301" sldId="1731"/>
        </pc:sldMkLst>
        <pc:spChg chg="mod">
          <ac:chgData name="Aaron Baker" userId="d002b17f-d855-4973-bb9c-c439a7ee68af" providerId="ADAL" clId="{6A693925-1526-49B6-A34C-E8AA39DBA79E}" dt="2021-06-29T17:52:54.455" v="243" actId="20577"/>
          <ac:spMkLst>
            <pc:docMk/>
            <pc:sldMk cId="2942803301" sldId="1731"/>
            <ac:spMk id="17" creationId="{F4D087CE-A955-4B14-A81B-7525861FAED4}"/>
          </ac:spMkLst>
        </pc:spChg>
        <pc:spChg chg="mod">
          <ac:chgData name="Aaron Baker" userId="d002b17f-d855-4973-bb9c-c439a7ee68af" providerId="ADAL" clId="{6A693925-1526-49B6-A34C-E8AA39DBA79E}" dt="2021-06-29T17:50:49.522" v="95" actId="20577"/>
          <ac:spMkLst>
            <pc:docMk/>
            <pc:sldMk cId="2942803301" sldId="1731"/>
            <ac:spMk id="18" creationId="{41EC4D60-3057-447A-8ECF-7A600FF200D6}"/>
          </ac:spMkLst>
        </pc:spChg>
        <pc:spChg chg="add del mod">
          <ac:chgData name="Aaron Baker" userId="d002b17f-d855-4973-bb9c-c439a7ee68af" providerId="ADAL" clId="{6A693925-1526-49B6-A34C-E8AA39DBA79E}" dt="2021-06-29T17:48:59.733" v="36" actId="20577"/>
          <ac:spMkLst>
            <pc:docMk/>
            <pc:sldMk cId="2942803301" sldId="1731"/>
            <ac:spMk id="19" creationId="{16E5DDE6-FD6D-41D1-8A4E-D02F0FF4F673}"/>
          </ac:spMkLst>
        </pc:spChg>
        <pc:spChg chg="mod">
          <ac:chgData name="Aaron Baker" userId="d002b17f-d855-4973-bb9c-c439a7ee68af" providerId="ADAL" clId="{6A693925-1526-49B6-A34C-E8AA39DBA79E}" dt="2021-06-29T17:48:17.533" v="17"/>
          <ac:spMkLst>
            <pc:docMk/>
            <pc:sldMk cId="2942803301" sldId="1731"/>
            <ac:spMk id="20" creationId="{54B5C667-19A2-454C-8D82-1F484DC682EF}"/>
          </ac:spMkLst>
        </pc:spChg>
      </pc:sldChg>
      <pc:sldChg chg="modTransition">
        <pc:chgData name="Aaron Baker" userId="d002b17f-d855-4973-bb9c-c439a7ee68af" providerId="ADAL" clId="{6A693925-1526-49B6-A34C-E8AA39DBA79E}" dt="2021-06-29T18:06:07.043" v="331"/>
        <pc:sldMkLst>
          <pc:docMk/>
          <pc:sldMk cId="3755375965" sldId="1736"/>
        </pc:sldMkLst>
      </pc:sldChg>
      <pc:sldChg chg="ord">
        <pc:chgData name="Aaron Baker" userId="d002b17f-d855-4973-bb9c-c439a7ee68af" providerId="ADAL" clId="{6A693925-1526-49B6-A34C-E8AA39DBA79E}" dt="2021-06-29T17:52:09.661" v="119"/>
        <pc:sldMkLst>
          <pc:docMk/>
          <pc:sldMk cId="1737056815" sldId="1738"/>
        </pc:sldMkLst>
      </pc:sldChg>
      <pc:sldChg chg="ord">
        <pc:chgData name="Aaron Baker" userId="d002b17f-d855-4973-bb9c-c439a7ee68af" providerId="ADAL" clId="{6A693925-1526-49B6-A34C-E8AA39DBA79E}" dt="2021-06-29T17:55:58.048" v="270"/>
        <pc:sldMkLst>
          <pc:docMk/>
          <pc:sldMk cId="3451346620" sldId="1739"/>
        </pc:sldMkLst>
      </pc:sldChg>
      <pc:sldChg chg="ord">
        <pc:chgData name="Aaron Baker" userId="d002b17f-d855-4973-bb9c-c439a7ee68af" providerId="ADAL" clId="{6A693925-1526-49B6-A34C-E8AA39DBA79E}" dt="2021-06-29T17:55:33.475" v="268"/>
        <pc:sldMkLst>
          <pc:docMk/>
          <pc:sldMk cId="2702560065" sldId="1740"/>
        </pc:sldMkLst>
      </pc:sldChg>
      <pc:sldChg chg="ord">
        <pc:chgData name="Aaron Baker" userId="d002b17f-d855-4973-bb9c-c439a7ee68af" providerId="ADAL" clId="{6A693925-1526-49B6-A34C-E8AA39DBA79E}" dt="2021-06-29T17:58:28.372" v="279"/>
        <pc:sldMkLst>
          <pc:docMk/>
          <pc:sldMk cId="3947175949" sldId="1741"/>
        </pc:sldMkLst>
      </pc:sldChg>
      <pc:sldChg chg="ord">
        <pc:chgData name="Aaron Baker" userId="d002b17f-d855-4973-bb9c-c439a7ee68af" providerId="ADAL" clId="{6A693925-1526-49B6-A34C-E8AA39DBA79E}" dt="2021-06-29T17:55:45.054" v="269"/>
        <pc:sldMkLst>
          <pc:docMk/>
          <pc:sldMk cId="3583990922" sldId="1742"/>
        </pc:sldMkLst>
      </pc:sldChg>
      <pc:sldChg chg="modTransition">
        <pc:chgData name="Aaron Baker" userId="d002b17f-d855-4973-bb9c-c439a7ee68af" providerId="ADAL" clId="{6A693925-1526-49B6-A34C-E8AA39DBA79E}" dt="2021-06-29T18:06:07.043" v="331"/>
        <pc:sldMkLst>
          <pc:docMk/>
          <pc:sldMk cId="4100300850" sldId="1744"/>
        </pc:sldMkLst>
      </pc:sldChg>
      <pc:sldChg chg="ord">
        <pc:chgData name="Aaron Baker" userId="d002b17f-d855-4973-bb9c-c439a7ee68af" providerId="ADAL" clId="{6A693925-1526-49B6-A34C-E8AA39DBA79E}" dt="2021-06-29T17:52:02.114" v="118"/>
        <pc:sldMkLst>
          <pc:docMk/>
          <pc:sldMk cId="1821981459" sldId="1745"/>
        </pc:sldMkLst>
      </pc:sldChg>
      <pc:sldChg chg="modTransition">
        <pc:chgData name="Aaron Baker" userId="d002b17f-d855-4973-bb9c-c439a7ee68af" providerId="ADAL" clId="{6A693925-1526-49B6-A34C-E8AA39DBA79E}" dt="2021-06-29T18:06:07.043" v="331"/>
        <pc:sldMkLst>
          <pc:docMk/>
          <pc:sldMk cId="625312896" sldId="1746"/>
        </pc:sldMkLst>
      </pc:sldChg>
      <pc:sldChg chg="modTransition">
        <pc:chgData name="Aaron Baker" userId="d002b17f-d855-4973-bb9c-c439a7ee68af" providerId="ADAL" clId="{6A693925-1526-49B6-A34C-E8AA39DBA79E}" dt="2021-06-29T18:06:07.043" v="331"/>
        <pc:sldMkLst>
          <pc:docMk/>
          <pc:sldMk cId="2783474770" sldId="1748"/>
        </pc:sldMkLst>
      </pc:sldChg>
      <pc:sldChg chg="modTransition">
        <pc:chgData name="Aaron Baker" userId="d002b17f-d855-4973-bb9c-c439a7ee68af" providerId="ADAL" clId="{6A693925-1526-49B6-A34C-E8AA39DBA79E}" dt="2021-06-29T18:06:07.043" v="331"/>
        <pc:sldMkLst>
          <pc:docMk/>
          <pc:sldMk cId="1790976667" sldId="1749"/>
        </pc:sldMkLst>
      </pc:sldChg>
      <pc:sldChg chg="ord">
        <pc:chgData name="Aaron Baker" userId="d002b17f-d855-4973-bb9c-c439a7ee68af" providerId="ADAL" clId="{6A693925-1526-49B6-A34C-E8AA39DBA79E}" dt="2021-06-29T17:57:58.620" v="276"/>
        <pc:sldMkLst>
          <pc:docMk/>
          <pc:sldMk cId="1404404340" sldId="1751"/>
        </pc:sldMkLst>
      </pc:sldChg>
      <pc:sldChg chg="modTransition">
        <pc:chgData name="Aaron Baker" userId="d002b17f-d855-4973-bb9c-c439a7ee68af" providerId="ADAL" clId="{6A693925-1526-49B6-A34C-E8AA39DBA79E}" dt="2021-06-29T18:06:07.043" v="331"/>
        <pc:sldMkLst>
          <pc:docMk/>
          <pc:sldMk cId="3549392445" sldId="1752"/>
        </pc:sldMkLst>
      </pc:sldChg>
      <pc:sldChg chg="ord">
        <pc:chgData name="Aaron Baker" userId="d002b17f-d855-4973-bb9c-c439a7ee68af" providerId="ADAL" clId="{6A693925-1526-49B6-A34C-E8AA39DBA79E}" dt="2021-06-29T17:49:13.664" v="38"/>
        <pc:sldMkLst>
          <pc:docMk/>
          <pc:sldMk cId="3504958314" sldId="1754"/>
        </pc:sldMkLst>
      </pc:sldChg>
      <pc:sldChg chg="modTransition">
        <pc:chgData name="Aaron Baker" userId="d002b17f-d855-4973-bb9c-c439a7ee68af" providerId="ADAL" clId="{6A693925-1526-49B6-A34C-E8AA39DBA79E}" dt="2021-06-29T18:06:07.043" v="331"/>
        <pc:sldMkLst>
          <pc:docMk/>
          <pc:sldMk cId="500535565" sldId="1755"/>
        </pc:sldMkLst>
      </pc:sldChg>
      <pc:sldChg chg="ord">
        <pc:chgData name="Aaron Baker" userId="d002b17f-d855-4973-bb9c-c439a7ee68af" providerId="ADAL" clId="{6A693925-1526-49B6-A34C-E8AA39DBA79E}" dt="2021-06-29T17:57:11.070" v="273"/>
        <pc:sldMkLst>
          <pc:docMk/>
          <pc:sldMk cId="1853421347" sldId="1756"/>
        </pc:sldMkLst>
      </pc:sldChg>
      <pc:sldChg chg="modTransition">
        <pc:chgData name="Aaron Baker" userId="d002b17f-d855-4973-bb9c-c439a7ee68af" providerId="ADAL" clId="{6A693925-1526-49B6-A34C-E8AA39DBA79E}" dt="2021-06-29T18:06:07.043" v="331"/>
        <pc:sldMkLst>
          <pc:docMk/>
          <pc:sldMk cId="3829628172" sldId="1758"/>
        </pc:sldMkLst>
      </pc:sldChg>
      <pc:sldChg chg="ord">
        <pc:chgData name="Aaron Baker" userId="d002b17f-d855-4973-bb9c-c439a7ee68af" providerId="ADAL" clId="{6A693925-1526-49B6-A34C-E8AA39DBA79E}" dt="2021-06-29T17:49:59.073" v="41"/>
        <pc:sldMkLst>
          <pc:docMk/>
          <pc:sldMk cId="1792675798" sldId="1760"/>
        </pc:sldMkLst>
      </pc:sldChg>
      <pc:sldChg chg="modSp">
        <pc:chgData name="Aaron Baker" userId="d002b17f-d855-4973-bb9c-c439a7ee68af" providerId="ADAL" clId="{6A693925-1526-49B6-A34C-E8AA39DBA79E}" dt="2021-06-29T17:52:43.923" v="207" actId="20577"/>
        <pc:sldMkLst>
          <pc:docMk/>
          <pc:sldMk cId="3164089913" sldId="1761"/>
        </pc:sldMkLst>
        <pc:spChg chg="mod">
          <ac:chgData name="Aaron Baker" userId="d002b17f-d855-4973-bb9c-c439a7ee68af" providerId="ADAL" clId="{6A693925-1526-49B6-A34C-E8AA39DBA79E}" dt="2021-06-29T17:52:43.923" v="207" actId="20577"/>
          <ac:spMkLst>
            <pc:docMk/>
            <pc:sldMk cId="3164089913" sldId="1761"/>
            <ac:spMk id="17" creationId="{F4D087CE-A955-4B14-A81B-7525861FAED4}"/>
          </ac:spMkLst>
        </pc:spChg>
        <pc:spChg chg="mod">
          <ac:chgData name="Aaron Baker" userId="d002b17f-d855-4973-bb9c-c439a7ee68af" providerId="ADAL" clId="{6A693925-1526-49B6-A34C-E8AA39DBA79E}" dt="2021-06-29T17:50:38.654" v="85" actId="20577"/>
          <ac:spMkLst>
            <pc:docMk/>
            <pc:sldMk cId="3164089913" sldId="1761"/>
            <ac:spMk id="18" creationId="{41EC4D60-3057-447A-8ECF-7A600FF200D6}"/>
          </ac:spMkLst>
        </pc:spChg>
        <pc:spChg chg="mod">
          <ac:chgData name="Aaron Baker" userId="d002b17f-d855-4973-bb9c-c439a7ee68af" providerId="ADAL" clId="{6A693925-1526-49B6-A34C-E8AA39DBA79E}" dt="2021-06-29T17:50:11.829" v="52" actId="20577"/>
          <ac:spMkLst>
            <pc:docMk/>
            <pc:sldMk cId="3164089913" sldId="1761"/>
            <ac:spMk id="19" creationId="{16E5DDE6-FD6D-41D1-8A4E-D02F0FF4F673}"/>
          </ac:spMkLst>
        </pc:spChg>
        <pc:spChg chg="mod">
          <ac:chgData name="Aaron Baker" userId="d002b17f-d855-4973-bb9c-c439a7ee68af" providerId="ADAL" clId="{6A693925-1526-49B6-A34C-E8AA39DBA79E}" dt="2021-06-29T17:48:20.075" v="18"/>
          <ac:spMkLst>
            <pc:docMk/>
            <pc:sldMk cId="3164089913" sldId="1761"/>
            <ac:spMk id="20" creationId="{54B5C667-19A2-454C-8D82-1F484DC682EF}"/>
          </ac:spMkLst>
        </pc:spChg>
      </pc:sldChg>
      <pc:sldChg chg="addSp delSp modSp">
        <pc:chgData name="Aaron Baker" userId="d002b17f-d855-4973-bb9c-c439a7ee68af" providerId="ADAL" clId="{6A693925-1526-49B6-A34C-E8AA39DBA79E}" dt="2021-06-29T17:52:33.706" v="183" actId="20577"/>
        <pc:sldMkLst>
          <pc:docMk/>
          <pc:sldMk cId="913222381" sldId="1762"/>
        </pc:sldMkLst>
        <pc:spChg chg="add del mod">
          <ac:chgData name="Aaron Baker" userId="d002b17f-d855-4973-bb9c-c439a7ee68af" providerId="ADAL" clId="{6A693925-1526-49B6-A34C-E8AA39DBA79E}" dt="2021-06-29T17:52:33.706" v="183" actId="20577"/>
          <ac:spMkLst>
            <pc:docMk/>
            <pc:sldMk cId="913222381" sldId="1762"/>
            <ac:spMk id="17" creationId="{F4D087CE-A955-4B14-A81B-7525861FAED4}"/>
          </ac:spMkLst>
        </pc:spChg>
        <pc:spChg chg="mod">
          <ac:chgData name="Aaron Baker" userId="d002b17f-d855-4973-bb9c-c439a7ee68af" providerId="ADAL" clId="{6A693925-1526-49B6-A34C-E8AA39DBA79E}" dt="2021-06-29T17:52:21.486" v="145" actId="20577"/>
          <ac:spMkLst>
            <pc:docMk/>
            <pc:sldMk cId="913222381" sldId="1762"/>
            <ac:spMk id="18" creationId="{41EC4D60-3057-447A-8ECF-7A600FF200D6}"/>
          </ac:spMkLst>
        </pc:spChg>
        <pc:spChg chg="mod">
          <ac:chgData name="Aaron Baker" userId="d002b17f-d855-4973-bb9c-c439a7ee68af" providerId="ADAL" clId="{6A693925-1526-49B6-A34C-E8AA39DBA79E}" dt="2021-06-29T17:52:15.278" v="128" actId="20577"/>
          <ac:spMkLst>
            <pc:docMk/>
            <pc:sldMk cId="913222381" sldId="1762"/>
            <ac:spMk id="19" creationId="{16E5DDE6-FD6D-41D1-8A4E-D02F0FF4F673}"/>
          </ac:spMkLst>
        </pc:spChg>
        <pc:spChg chg="mod">
          <ac:chgData name="Aaron Baker" userId="d002b17f-d855-4973-bb9c-c439a7ee68af" providerId="ADAL" clId="{6A693925-1526-49B6-A34C-E8AA39DBA79E}" dt="2021-06-29T17:48:23.136" v="19"/>
          <ac:spMkLst>
            <pc:docMk/>
            <pc:sldMk cId="913222381" sldId="1762"/>
            <ac:spMk id="20" creationId="{54B5C667-19A2-454C-8D82-1F484DC682EF}"/>
          </ac:spMkLst>
        </pc:spChg>
      </pc:sldChg>
      <pc:sldChg chg="modSp">
        <pc:chgData name="Aaron Baker" userId="d002b17f-d855-4973-bb9c-c439a7ee68af" providerId="ADAL" clId="{6A693925-1526-49B6-A34C-E8AA39DBA79E}" dt="2021-06-29T18:05:29.392" v="330" actId="20577"/>
        <pc:sldMkLst>
          <pc:docMk/>
          <pc:sldMk cId="213713487" sldId="1763"/>
        </pc:sldMkLst>
        <pc:spChg chg="mod">
          <ac:chgData name="Aaron Baker" userId="d002b17f-d855-4973-bb9c-c439a7ee68af" providerId="ADAL" clId="{6A693925-1526-49B6-A34C-E8AA39DBA79E}" dt="2021-06-29T18:05:29.392" v="330" actId="20577"/>
          <ac:spMkLst>
            <pc:docMk/>
            <pc:sldMk cId="213713487" sldId="1763"/>
            <ac:spMk id="17" creationId="{F4D087CE-A955-4B14-A81B-7525861FAED4}"/>
          </ac:spMkLst>
        </pc:spChg>
        <pc:spChg chg="mod">
          <ac:chgData name="Aaron Baker" userId="d002b17f-d855-4973-bb9c-c439a7ee68af" providerId="ADAL" clId="{6A693925-1526-49B6-A34C-E8AA39DBA79E}" dt="2021-06-29T18:05:22.294" v="306" actId="20577"/>
          <ac:spMkLst>
            <pc:docMk/>
            <pc:sldMk cId="213713487" sldId="1763"/>
            <ac:spMk id="18" creationId="{41EC4D60-3057-447A-8ECF-7A600FF200D6}"/>
          </ac:spMkLst>
        </pc:spChg>
        <pc:spChg chg="mod">
          <ac:chgData name="Aaron Baker" userId="d002b17f-d855-4973-bb9c-c439a7ee68af" providerId="ADAL" clId="{6A693925-1526-49B6-A34C-E8AA39DBA79E}" dt="2021-06-29T18:05:16.312" v="289" actId="20577"/>
          <ac:spMkLst>
            <pc:docMk/>
            <pc:sldMk cId="213713487" sldId="1763"/>
            <ac:spMk id="19" creationId="{16E5DDE6-FD6D-41D1-8A4E-D02F0FF4F673}"/>
          </ac:spMkLst>
        </pc:spChg>
        <pc:spChg chg="mod">
          <ac:chgData name="Aaron Baker" userId="d002b17f-d855-4973-bb9c-c439a7ee68af" providerId="ADAL" clId="{6A693925-1526-49B6-A34C-E8AA39DBA79E}" dt="2021-06-29T17:48:30.803" v="22"/>
          <ac:spMkLst>
            <pc:docMk/>
            <pc:sldMk cId="213713487" sldId="1763"/>
            <ac:spMk id="20" creationId="{54B5C667-19A2-454C-8D82-1F484DC682EF}"/>
          </ac:spMkLst>
        </pc:spChg>
      </pc:sldChg>
      <pc:sldChg chg="modSp">
        <pc:chgData name="Aaron Baker" userId="d002b17f-d855-4973-bb9c-c439a7ee68af" providerId="ADAL" clId="{6A693925-1526-49B6-A34C-E8AA39DBA79E}" dt="2021-06-29T17:48:34.047" v="23"/>
        <pc:sldMkLst>
          <pc:docMk/>
          <pc:sldMk cId="1203642412" sldId="1764"/>
        </pc:sldMkLst>
        <pc:spChg chg="mod">
          <ac:chgData name="Aaron Baker" userId="d002b17f-d855-4973-bb9c-c439a7ee68af" providerId="ADAL" clId="{6A693925-1526-49B6-A34C-E8AA39DBA79E}" dt="2021-06-29T17:48:34.047" v="23"/>
          <ac:spMkLst>
            <pc:docMk/>
            <pc:sldMk cId="1203642412" sldId="1764"/>
            <ac:spMk id="20" creationId="{54B5C667-19A2-454C-8D82-1F484DC682EF}"/>
          </ac:spMkLst>
        </pc:spChg>
      </pc:sldChg>
      <pc:sldChg chg="modSp">
        <pc:chgData name="Aaron Baker" userId="d002b17f-d855-4973-bb9c-c439a7ee68af" providerId="ADAL" clId="{6A693925-1526-49B6-A34C-E8AA39DBA79E}" dt="2021-06-29T17:48:40.179" v="24"/>
        <pc:sldMkLst>
          <pc:docMk/>
          <pc:sldMk cId="130401959" sldId="1765"/>
        </pc:sldMkLst>
        <pc:spChg chg="mod">
          <ac:chgData name="Aaron Baker" userId="d002b17f-d855-4973-bb9c-c439a7ee68af" providerId="ADAL" clId="{6A693925-1526-49B6-A34C-E8AA39DBA79E}" dt="2021-06-29T17:48:40.179" v="24"/>
          <ac:spMkLst>
            <pc:docMk/>
            <pc:sldMk cId="130401959" sldId="1765"/>
            <ac:spMk id="20" creationId="{54B5C667-19A2-454C-8D82-1F484DC682EF}"/>
          </ac:spMkLst>
        </pc:spChg>
      </pc:sldChg>
      <pc:sldChg chg="modTransition">
        <pc:chgData name="Aaron Baker" userId="d002b17f-d855-4973-bb9c-c439a7ee68af" providerId="ADAL" clId="{6A693925-1526-49B6-A34C-E8AA39DBA79E}" dt="2021-06-29T18:06:07.043" v="331"/>
        <pc:sldMkLst>
          <pc:docMk/>
          <pc:sldMk cId="804086223" sldId="1767"/>
        </pc:sldMkLst>
      </pc:sldChg>
      <pc:sldChg chg="modTransition">
        <pc:chgData name="Aaron Baker" userId="d002b17f-d855-4973-bb9c-c439a7ee68af" providerId="ADAL" clId="{6A693925-1526-49B6-A34C-E8AA39DBA79E}" dt="2021-06-29T18:06:07.043" v="331"/>
        <pc:sldMkLst>
          <pc:docMk/>
          <pc:sldMk cId="3683124957" sldId="1768"/>
        </pc:sldMkLst>
      </pc:sldChg>
      <pc:sldChg chg="modTransition">
        <pc:chgData name="Aaron Baker" userId="d002b17f-d855-4973-bb9c-c439a7ee68af" providerId="ADAL" clId="{6A693925-1526-49B6-A34C-E8AA39DBA79E}" dt="2021-06-29T18:06:07.043" v="331"/>
        <pc:sldMkLst>
          <pc:docMk/>
          <pc:sldMk cId="4118466066" sldId="1769"/>
        </pc:sldMkLst>
      </pc:sldChg>
      <pc:sldChg chg="modTransition">
        <pc:chgData name="Aaron Baker" userId="d002b17f-d855-4973-bb9c-c439a7ee68af" providerId="ADAL" clId="{6A693925-1526-49B6-A34C-E8AA39DBA79E}" dt="2021-06-29T18:06:07.043" v="331"/>
        <pc:sldMkLst>
          <pc:docMk/>
          <pc:sldMk cId="458455604" sldId="1770"/>
        </pc:sldMkLst>
      </pc:sldChg>
      <pc:sldChg chg="modTransition">
        <pc:chgData name="Aaron Baker" userId="d002b17f-d855-4973-bb9c-c439a7ee68af" providerId="ADAL" clId="{6A693925-1526-49B6-A34C-E8AA39DBA79E}" dt="2021-06-29T18:06:07.043" v="331"/>
        <pc:sldMkLst>
          <pc:docMk/>
          <pc:sldMk cId="3593854107" sldId="1771"/>
        </pc:sldMkLst>
      </pc:sldChg>
      <pc:sldChg chg="modTransition">
        <pc:chgData name="Aaron Baker" userId="d002b17f-d855-4973-bb9c-c439a7ee68af" providerId="ADAL" clId="{6A693925-1526-49B6-A34C-E8AA39DBA79E}" dt="2021-06-29T18:06:07.043" v="331"/>
        <pc:sldMkLst>
          <pc:docMk/>
          <pc:sldMk cId="356332481" sldId="1772"/>
        </pc:sldMkLst>
      </pc:sldChg>
      <pc:sldChg chg="modTransition">
        <pc:chgData name="Aaron Baker" userId="d002b17f-d855-4973-bb9c-c439a7ee68af" providerId="ADAL" clId="{6A693925-1526-49B6-A34C-E8AA39DBA79E}" dt="2021-06-29T18:06:07.043" v="331"/>
        <pc:sldMkLst>
          <pc:docMk/>
          <pc:sldMk cId="2303293077" sldId="1773"/>
        </pc:sldMkLst>
      </pc:sldChg>
      <pc:sldChg chg="modTransition">
        <pc:chgData name="Aaron Baker" userId="d002b17f-d855-4973-bb9c-c439a7ee68af" providerId="ADAL" clId="{6A693925-1526-49B6-A34C-E8AA39DBA79E}" dt="2021-06-29T18:06:07.043" v="331"/>
        <pc:sldMkLst>
          <pc:docMk/>
          <pc:sldMk cId="264326061" sldId="1774"/>
        </pc:sldMkLst>
      </pc:sldChg>
      <pc:sldChg chg="ord">
        <pc:chgData name="Aaron Baker" userId="d002b17f-d855-4973-bb9c-c439a7ee68af" providerId="ADAL" clId="{6A693925-1526-49B6-A34C-E8AA39DBA79E}" dt="2021-06-29T17:56:12.584" v="271"/>
        <pc:sldMkLst>
          <pc:docMk/>
          <pc:sldMk cId="1487282979" sldId="1775"/>
        </pc:sldMkLst>
      </pc:sldChg>
      <pc:sldChg chg="ord modTransition">
        <pc:chgData name="Aaron Baker" userId="d002b17f-d855-4973-bb9c-c439a7ee68af" providerId="ADAL" clId="{6A693925-1526-49B6-A34C-E8AA39DBA79E}" dt="2021-06-29T18:59:22.615" v="332"/>
        <pc:sldMkLst>
          <pc:docMk/>
          <pc:sldMk cId="2954732908" sldId="1777"/>
        </pc:sldMkLst>
      </pc:sldChg>
      <pc:sldChg chg="modTransition">
        <pc:chgData name="Aaron Baker" userId="d002b17f-d855-4973-bb9c-c439a7ee68af" providerId="ADAL" clId="{6A693925-1526-49B6-A34C-E8AA39DBA79E}" dt="2021-06-29T18:06:07.043" v="331"/>
        <pc:sldMkLst>
          <pc:docMk/>
          <pc:sldMk cId="899985249" sldId="1779"/>
        </pc:sldMkLst>
      </pc:sldChg>
      <pc:sldChg chg="ord">
        <pc:chgData name="Aaron Baker" userId="d002b17f-d855-4973-bb9c-c439a7ee68af" providerId="ADAL" clId="{6A693925-1526-49B6-A34C-E8AA39DBA79E}" dt="2021-06-29T17:58:58.934" v="280"/>
        <pc:sldMkLst>
          <pc:docMk/>
          <pc:sldMk cId="2703196828" sldId="1780"/>
        </pc:sldMkLst>
      </pc:sldChg>
      <pc:sldChg chg="ord modTransition">
        <pc:chgData name="Aaron Baker" userId="d002b17f-d855-4973-bb9c-c439a7ee68af" providerId="ADAL" clId="{6A693925-1526-49B6-A34C-E8AA39DBA79E}" dt="2021-06-29T18:59:22.615" v="332"/>
        <pc:sldMkLst>
          <pc:docMk/>
          <pc:sldMk cId="2209526021" sldId="1781"/>
        </pc:sldMkLst>
      </pc:sldChg>
      <pc:sldChg chg="ord">
        <pc:chgData name="Aaron Baker" userId="d002b17f-d855-4973-bb9c-c439a7ee68af" providerId="ADAL" clId="{6A693925-1526-49B6-A34C-E8AA39DBA79E}" dt="2021-06-29T17:58:05.912" v="277"/>
        <pc:sldMkLst>
          <pc:docMk/>
          <pc:sldMk cId="1709404293" sldId="1782"/>
        </pc:sldMkLst>
      </pc:sldChg>
      <pc:sldChg chg="addSp delSp modSp add">
        <pc:chgData name="Aaron Baker" userId="d002b17f-d855-4973-bb9c-c439a7ee68af" providerId="ADAL" clId="{6A693925-1526-49B6-A34C-E8AA39DBA79E}" dt="2021-06-29T19:20:34.540" v="763" actId="20577"/>
        <pc:sldMkLst>
          <pc:docMk/>
          <pc:sldMk cId="3138799584" sldId="1783"/>
        </pc:sldMkLst>
        <pc:spChg chg="add mod">
          <ac:chgData name="Aaron Baker" userId="d002b17f-d855-4973-bb9c-c439a7ee68af" providerId="ADAL" clId="{6A693925-1526-49B6-A34C-E8AA39DBA79E}" dt="2021-06-29T19:17:28.197" v="343" actId="20577"/>
          <ac:spMkLst>
            <pc:docMk/>
            <pc:sldMk cId="3138799584" sldId="1783"/>
            <ac:spMk id="2" creationId="{96AEF6D9-FA11-4A80-8212-D3BE484F1F8D}"/>
          </ac:spMkLst>
        </pc:spChg>
        <pc:spChg chg="del mod topLvl">
          <ac:chgData name="Aaron Baker" userId="d002b17f-d855-4973-bb9c-c439a7ee68af" providerId="ADAL" clId="{6A693925-1526-49B6-A34C-E8AA39DBA79E}" dt="2021-06-29T19:17:54.162" v="346" actId="478"/>
          <ac:spMkLst>
            <pc:docMk/>
            <pc:sldMk cId="3138799584" sldId="1783"/>
            <ac:spMk id="4" creationId="{4284CE9C-9D14-49CE-8760-3491A7119CC7}"/>
          </ac:spMkLst>
        </pc:spChg>
        <pc:spChg chg="mod topLvl">
          <ac:chgData name="Aaron Baker" userId="d002b17f-d855-4973-bb9c-c439a7ee68af" providerId="ADAL" clId="{6A693925-1526-49B6-A34C-E8AA39DBA79E}" dt="2021-06-29T19:20:34.540" v="763" actId="20577"/>
          <ac:spMkLst>
            <pc:docMk/>
            <pc:sldMk cId="3138799584" sldId="1783"/>
            <ac:spMk id="5" creationId="{A6C9D451-FD15-4CF0-B008-38E2639C2A58}"/>
          </ac:spMkLst>
        </pc:spChg>
        <pc:grpChg chg="add del">
          <ac:chgData name="Aaron Baker" userId="d002b17f-d855-4973-bb9c-c439a7ee68af" providerId="ADAL" clId="{6A693925-1526-49B6-A34C-E8AA39DBA79E}" dt="2021-06-29T19:17:54.162" v="346" actId="478"/>
          <ac:grpSpMkLst>
            <pc:docMk/>
            <pc:sldMk cId="3138799584" sldId="1783"/>
            <ac:grpSpMk id="3" creationId="{A6DDB152-3217-4765-9F52-769491969701}"/>
          </ac:grpSpMkLst>
        </pc:grpChg>
      </pc:sldChg>
      <pc:sldChg chg="modSp add ord modTransition">
        <pc:chgData name="Aaron Baker" userId="d002b17f-d855-4973-bb9c-c439a7ee68af" providerId="ADAL" clId="{6A693925-1526-49B6-A34C-E8AA39DBA79E}" dt="2021-06-29T19:25:37.684" v="1193"/>
        <pc:sldMkLst>
          <pc:docMk/>
          <pc:sldMk cId="1663478591" sldId="1784"/>
        </pc:sldMkLst>
        <pc:spChg chg="mod">
          <ac:chgData name="Aaron Baker" userId="d002b17f-d855-4973-bb9c-c439a7ee68af" providerId="ADAL" clId="{6A693925-1526-49B6-A34C-E8AA39DBA79E}" dt="2021-06-29T19:21:58.707" v="825" actId="20577"/>
          <ac:spMkLst>
            <pc:docMk/>
            <pc:sldMk cId="1663478591" sldId="1784"/>
            <ac:spMk id="10" creationId="{7FE5A42F-FF8D-4F8E-96C2-5C9B5799F9AD}"/>
          </ac:spMkLst>
        </pc:spChg>
        <pc:spChg chg="mod">
          <ac:chgData name="Aaron Baker" userId="d002b17f-d855-4973-bb9c-c439a7ee68af" providerId="ADAL" clId="{6A693925-1526-49B6-A34C-E8AA39DBA79E}" dt="2021-06-29T19:22:01.859" v="835" actId="20577"/>
          <ac:spMkLst>
            <pc:docMk/>
            <pc:sldMk cId="1663478591" sldId="1784"/>
            <ac:spMk id="11" creationId="{5DAF25FB-BCF9-4BED-95ED-E4A1E09BABC9}"/>
          </ac:spMkLst>
        </pc:spChg>
        <pc:spChg chg="mod">
          <ac:chgData name="Aaron Baker" userId="d002b17f-d855-4973-bb9c-c439a7ee68af" providerId="ADAL" clId="{6A693925-1526-49B6-A34C-E8AA39DBA79E}" dt="2021-06-29T19:25:20.227" v="1192" actId="20577"/>
          <ac:spMkLst>
            <pc:docMk/>
            <pc:sldMk cId="1663478591" sldId="1784"/>
            <ac:spMk id="12" creationId="{9805AA5D-E1ED-4B26-97FA-778A03103E2C}"/>
          </ac:spMkLst>
        </pc:spChg>
        <pc:spChg chg="mod">
          <ac:chgData name="Aaron Baker" userId="d002b17f-d855-4973-bb9c-c439a7ee68af" providerId="ADAL" clId="{6A693925-1526-49B6-A34C-E8AA39DBA79E}" dt="2021-06-29T19:24:45.640" v="1165" actId="1035"/>
          <ac:spMkLst>
            <pc:docMk/>
            <pc:sldMk cId="1663478591" sldId="1784"/>
            <ac:spMk id="13" creationId="{E58CDB61-A376-4BAD-926E-0C9F7AF81AC6}"/>
          </ac:spMkLst>
        </pc:spChg>
        <pc:spChg chg="mod">
          <ac:chgData name="Aaron Baker" userId="d002b17f-d855-4973-bb9c-c439a7ee68af" providerId="ADAL" clId="{6A693925-1526-49B6-A34C-E8AA39DBA79E}" dt="2021-06-29T19:21:53.462" v="818" actId="20577"/>
          <ac:spMkLst>
            <pc:docMk/>
            <pc:sldMk cId="1663478591" sldId="1784"/>
            <ac:spMk id="14" creationId="{542E6E0A-77E3-4B99-8356-DD61D511B89B}"/>
          </ac:spMkLst>
        </pc:spChg>
        <pc:spChg chg="mod">
          <ac:chgData name="Aaron Baker" userId="d002b17f-d855-4973-bb9c-c439a7ee68af" providerId="ADAL" clId="{6A693925-1526-49B6-A34C-E8AA39DBA79E}" dt="2021-06-29T19:22:23.869" v="921" actId="20577"/>
          <ac:spMkLst>
            <pc:docMk/>
            <pc:sldMk cId="1663478591" sldId="1784"/>
            <ac:spMk id="17" creationId="{3E11C882-C769-45EF-B500-D8905EF21869}"/>
          </ac:spMkLst>
        </pc:spChg>
        <pc:spChg chg="mod">
          <ac:chgData name="Aaron Baker" userId="d002b17f-d855-4973-bb9c-c439a7ee68af" providerId="ADAL" clId="{6A693925-1526-49B6-A34C-E8AA39DBA79E}" dt="2021-06-29T19:21:49.709" v="809" actId="20577"/>
          <ac:spMkLst>
            <pc:docMk/>
            <pc:sldMk cId="1663478591" sldId="1784"/>
            <ac:spMk id="19" creationId="{1AB8332C-8DCC-4ED2-9DC7-55AC71C6F566}"/>
          </ac:spMkLst>
        </pc:spChg>
      </pc:sldChg>
    </pc:docChg>
  </pc:docChgLst>
  <pc:docChgLst>
    <pc:chgData name="Dee Scott" userId="S::dees@remi.com::f6f0b954-d125-4e7a-a1cf-44665707f955" providerId="AD" clId="Web-{B7CB0B0D-9DFE-0B5A-BCD5-8F44CC3288BF}"/>
    <pc:docChg chg="modSld">
      <pc:chgData name="Dee Scott" userId="S::dees@remi.com::f6f0b954-d125-4e7a-a1cf-44665707f955" providerId="AD" clId="Web-{B7CB0B0D-9DFE-0B5A-BCD5-8F44CC3288BF}" dt="2021-07-30T17:33:31.641" v="14" actId="20577"/>
      <pc:docMkLst>
        <pc:docMk/>
      </pc:docMkLst>
      <pc:sldChg chg="modSp">
        <pc:chgData name="Dee Scott" userId="S::dees@remi.com::f6f0b954-d125-4e7a-a1cf-44665707f955" providerId="AD" clId="Web-{B7CB0B0D-9DFE-0B5A-BCD5-8F44CC3288BF}" dt="2021-07-30T17:32:50.249" v="6" actId="20577"/>
        <pc:sldMkLst>
          <pc:docMk/>
          <pc:sldMk cId="1853421347" sldId="1756"/>
        </pc:sldMkLst>
        <pc:spChg chg="mod">
          <ac:chgData name="Dee Scott" userId="S::dees@remi.com::f6f0b954-d125-4e7a-a1cf-44665707f955" providerId="AD" clId="Web-{B7CB0B0D-9DFE-0B5A-BCD5-8F44CC3288BF}" dt="2021-07-30T17:32:50.249" v="6" actId="20577"/>
          <ac:spMkLst>
            <pc:docMk/>
            <pc:sldMk cId="1853421347" sldId="1756"/>
            <ac:spMk id="2" creationId="{00000000-0000-0000-0000-000000000000}"/>
          </ac:spMkLst>
        </pc:spChg>
      </pc:sldChg>
      <pc:sldChg chg="delSp modSp">
        <pc:chgData name="Dee Scott" userId="S::dees@remi.com::f6f0b954-d125-4e7a-a1cf-44665707f955" providerId="AD" clId="Web-{B7CB0B0D-9DFE-0B5A-BCD5-8F44CC3288BF}" dt="2021-07-30T17:33:31.641" v="14" actId="20577"/>
        <pc:sldMkLst>
          <pc:docMk/>
          <pc:sldMk cId="74395322" sldId="1786"/>
        </pc:sldMkLst>
        <pc:spChg chg="del">
          <ac:chgData name="Dee Scott" userId="S::dees@remi.com::f6f0b954-d125-4e7a-a1cf-44665707f955" providerId="AD" clId="Web-{B7CB0B0D-9DFE-0B5A-BCD5-8F44CC3288BF}" dt="2021-07-30T17:33:13.406" v="7"/>
          <ac:spMkLst>
            <pc:docMk/>
            <pc:sldMk cId="74395322" sldId="1786"/>
            <ac:spMk id="3" creationId="{00000000-0000-0000-0000-000000000000}"/>
          </ac:spMkLst>
        </pc:spChg>
        <pc:spChg chg="mod">
          <ac:chgData name="Dee Scott" userId="S::dees@remi.com::f6f0b954-d125-4e7a-a1cf-44665707f955" providerId="AD" clId="Web-{B7CB0B0D-9DFE-0B5A-BCD5-8F44CC3288BF}" dt="2021-07-30T17:33:31.641" v="14" actId="20577"/>
          <ac:spMkLst>
            <pc:docMk/>
            <pc:sldMk cId="74395322" sldId="1786"/>
            <ac:spMk id="5" creationId="{97B4DD64-D80B-41D8-B33E-AD981CF1FB41}"/>
          </ac:spMkLst>
        </pc:spChg>
        <pc:spChg chg="del">
          <ac:chgData name="Dee Scott" userId="S::dees@remi.com::f6f0b954-d125-4e7a-a1cf-44665707f955" providerId="AD" clId="Web-{B7CB0B0D-9DFE-0B5A-BCD5-8F44CC3288BF}" dt="2021-07-30T17:33:14.515" v="8"/>
          <ac:spMkLst>
            <pc:docMk/>
            <pc:sldMk cId="74395322" sldId="1786"/>
            <ac:spMk id="8" creationId="{70FA8315-94F3-4B8C-AD95-C947287F8A72}"/>
          </ac:spMkLst>
        </pc:spChg>
        <pc:spChg chg="del">
          <ac:chgData name="Dee Scott" userId="S::dees@remi.com::f6f0b954-d125-4e7a-a1cf-44665707f955" providerId="AD" clId="Web-{B7CB0B0D-9DFE-0B5A-BCD5-8F44CC3288BF}" dt="2021-07-30T17:33:15.968" v="9"/>
          <ac:spMkLst>
            <pc:docMk/>
            <pc:sldMk cId="74395322" sldId="1786"/>
            <ac:spMk id="153" creationId="{70FA8315-94F3-4B8C-AD95-C947287F8A72}"/>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_6E7_2FED61CF.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6E7_2FED61CF1.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5.xml"/><Relationship Id="rId1" Type="http://schemas.microsoft.com/office/2011/relationships/chartStyle" Target="style5.xml"/></Relationships>
</file>

<file path=ppt/charts/_rels/chartEx1.xml.rels><?xml version="1.0" encoding="UTF-8" standalone="yes"?>
<Relationships xmlns="http://schemas.openxmlformats.org/package/2006/relationships"><Relationship Id="rId3" Type="http://schemas.microsoft.com/office/2011/relationships/chartColorStyle" Target="colors4.xml"/><Relationship Id="rId2" Type="http://schemas.microsoft.com/office/2011/relationships/chartStyle" Target="style4.xml"/><Relationship Id="rId1" Type="http://schemas.openxmlformats.org/officeDocument/2006/relationships/oleObject" Target="file:///C:\Users\ZhuyinL\Desktop\Ewin18.70%20-%20United%20States%20-%20v2.4.4\Data\Userdata\Exports\RSQE%20Nov%20Population%20and%20Components%20Profile%20WA%202020.xlsx" TargetMode="External"/><Relationship Id="rId4"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rgbClr val="000000"/>
                </a:solidFill>
                <a:latin typeface="+mj-lt"/>
                <a:ea typeface="+mn-ea"/>
                <a:cs typeface="+mn-cs"/>
              </a:defRPr>
            </a:pPr>
            <a:r>
              <a:rPr lang="en-US" sz="1600">
                <a:solidFill>
                  <a:srgbClr val="000000"/>
                </a:solidFill>
                <a:latin typeface="+mj-lt"/>
              </a:rPr>
              <a:t>Employment by Industry</a:t>
            </a:r>
          </a:p>
        </c:rich>
      </c:tx>
      <c:overlay val="0"/>
      <c:spPr>
        <a:noFill/>
        <a:ln>
          <a:noFill/>
        </a:ln>
        <a:effectLst/>
      </c:spPr>
      <c:txPr>
        <a:bodyPr rot="0" spcFirstLastPara="1" vertOverflow="ellipsis" vert="horz" wrap="square" anchor="ctr" anchorCtr="1"/>
        <a:lstStyle/>
        <a:p>
          <a:pPr>
            <a:defRPr sz="1600" b="0" i="0" u="none" strike="noStrike" kern="1200" spc="0" baseline="0">
              <a:solidFill>
                <a:srgbClr val="000000"/>
              </a:solidFill>
              <a:latin typeface="+mj-lt"/>
              <a:ea typeface="+mn-ea"/>
              <a:cs typeface="+mn-cs"/>
            </a:defRPr>
          </a:pPr>
          <a:endParaRPr lang="en-US"/>
        </a:p>
      </c:txPr>
    </c:title>
    <c:autoTitleDeleted val="0"/>
    <c:plotArea>
      <c:layout>
        <c:manualLayout>
          <c:layoutTarget val="inner"/>
          <c:xMode val="edge"/>
          <c:yMode val="edge"/>
          <c:x val="0.1126743333227881"/>
          <c:y val="0.12864761190557752"/>
          <c:w val="0.86705274703140311"/>
          <c:h val="0.62729968010852166"/>
        </c:manualLayout>
      </c:layout>
      <c:barChart>
        <c:barDir val="col"/>
        <c:grouping val="stacked"/>
        <c:varyColors val="0"/>
        <c:ser>
          <c:idx val="0"/>
          <c:order val="0"/>
          <c:tx>
            <c:strRef>
              <c:f>'[RSQE Nov Employment by Industry WA 2019-2023.xlsx]All'!$A$14</c:f>
              <c:strCache>
                <c:ptCount val="1"/>
                <c:pt idx="0">
                  <c:v>Manufacturing</c:v>
                </c:pt>
              </c:strCache>
            </c:strRef>
          </c:tx>
          <c:spPr>
            <a:solidFill>
              <a:schemeClr val="accent1"/>
            </a:solidFill>
            <a:ln>
              <a:noFill/>
            </a:ln>
            <a:effectLst/>
          </c:spPr>
          <c:invertIfNegative val="0"/>
          <c:cat>
            <c:numRef>
              <c:f>'[RSQE Nov Employment by Industry WA 2019-2023.xlsx]All'!$B$13:$F$13</c:f>
              <c:numCache>
                <c:formatCode>General</c:formatCode>
                <c:ptCount val="5"/>
                <c:pt idx="0">
                  <c:v>2019</c:v>
                </c:pt>
                <c:pt idx="1">
                  <c:v>2020</c:v>
                </c:pt>
                <c:pt idx="2">
                  <c:v>2021</c:v>
                </c:pt>
                <c:pt idx="3">
                  <c:v>2022</c:v>
                </c:pt>
                <c:pt idx="4">
                  <c:v>2023</c:v>
                </c:pt>
              </c:numCache>
            </c:numRef>
          </c:cat>
          <c:val>
            <c:numRef>
              <c:f>'[RSQE Nov Employment by Industry WA 2019-2023.xlsx]All'!$B$14:$F$14</c:f>
              <c:numCache>
                <c:formatCode>0</c:formatCode>
                <c:ptCount val="5"/>
                <c:pt idx="0">
                  <c:v>312.520727453951</c:v>
                </c:pt>
                <c:pt idx="1">
                  <c:v>304.05058862697098</c:v>
                </c:pt>
                <c:pt idx="2">
                  <c:v>313.78324510032002</c:v>
                </c:pt>
                <c:pt idx="3">
                  <c:v>312.88785637292</c:v>
                </c:pt>
                <c:pt idx="4">
                  <c:v>306.43838900201803</c:v>
                </c:pt>
              </c:numCache>
            </c:numRef>
          </c:val>
          <c:extLst>
            <c:ext xmlns:c16="http://schemas.microsoft.com/office/drawing/2014/chart" uri="{C3380CC4-5D6E-409C-BE32-E72D297353CC}">
              <c16:uniqueId val="{00000000-1EA8-4A6A-8365-E138E8DFDD8E}"/>
            </c:ext>
          </c:extLst>
        </c:ser>
        <c:ser>
          <c:idx val="1"/>
          <c:order val="1"/>
          <c:tx>
            <c:strRef>
              <c:f>'[RSQE Nov Employment by Industry WA 2019-2023.xlsx]All'!$A$15</c:f>
              <c:strCache>
                <c:ptCount val="1"/>
                <c:pt idx="0">
                  <c:v>Information</c:v>
                </c:pt>
              </c:strCache>
            </c:strRef>
          </c:tx>
          <c:spPr>
            <a:solidFill>
              <a:schemeClr val="accent2"/>
            </a:solidFill>
            <a:ln>
              <a:noFill/>
            </a:ln>
            <a:effectLst/>
          </c:spPr>
          <c:invertIfNegative val="0"/>
          <c:cat>
            <c:numRef>
              <c:f>'[RSQE Nov Employment by Industry WA 2019-2023.xlsx]All'!$B$13:$F$13</c:f>
              <c:numCache>
                <c:formatCode>General</c:formatCode>
                <c:ptCount val="5"/>
                <c:pt idx="0">
                  <c:v>2019</c:v>
                </c:pt>
                <c:pt idx="1">
                  <c:v>2020</c:v>
                </c:pt>
                <c:pt idx="2">
                  <c:v>2021</c:v>
                </c:pt>
                <c:pt idx="3">
                  <c:v>2022</c:v>
                </c:pt>
                <c:pt idx="4">
                  <c:v>2023</c:v>
                </c:pt>
              </c:numCache>
            </c:numRef>
          </c:cat>
          <c:val>
            <c:numRef>
              <c:f>'[RSQE Nov Employment by Industry WA 2019-2023.xlsx]All'!$B$15:$F$15</c:f>
              <c:numCache>
                <c:formatCode>0</c:formatCode>
                <c:ptCount val="5"/>
                <c:pt idx="0">
                  <c:v>152.18922063695601</c:v>
                </c:pt>
                <c:pt idx="1">
                  <c:v>146.79609547663</c:v>
                </c:pt>
                <c:pt idx="2">
                  <c:v>153.21664519338</c:v>
                </c:pt>
                <c:pt idx="3">
                  <c:v>156.79387203416201</c:v>
                </c:pt>
                <c:pt idx="4">
                  <c:v>157.39559172511301</c:v>
                </c:pt>
              </c:numCache>
            </c:numRef>
          </c:val>
          <c:extLst>
            <c:ext xmlns:c16="http://schemas.microsoft.com/office/drawing/2014/chart" uri="{C3380CC4-5D6E-409C-BE32-E72D297353CC}">
              <c16:uniqueId val="{00000001-1EA8-4A6A-8365-E138E8DFDD8E}"/>
            </c:ext>
          </c:extLst>
        </c:ser>
        <c:ser>
          <c:idx val="2"/>
          <c:order val="2"/>
          <c:tx>
            <c:strRef>
              <c:f>'[RSQE Nov Employment by Industry WA 2019-2023.xlsx]All'!$A$16</c:f>
              <c:strCache>
                <c:ptCount val="1"/>
                <c:pt idx="0">
                  <c:v>Real estate and rental and leasing</c:v>
                </c:pt>
              </c:strCache>
            </c:strRef>
          </c:tx>
          <c:spPr>
            <a:solidFill>
              <a:schemeClr val="accent3"/>
            </a:solidFill>
            <a:ln>
              <a:noFill/>
            </a:ln>
            <a:effectLst/>
          </c:spPr>
          <c:invertIfNegative val="0"/>
          <c:cat>
            <c:numRef>
              <c:f>'[RSQE Nov Employment by Industry WA 2019-2023.xlsx]All'!$B$13:$F$13</c:f>
              <c:numCache>
                <c:formatCode>General</c:formatCode>
                <c:ptCount val="5"/>
                <c:pt idx="0">
                  <c:v>2019</c:v>
                </c:pt>
                <c:pt idx="1">
                  <c:v>2020</c:v>
                </c:pt>
                <c:pt idx="2">
                  <c:v>2021</c:v>
                </c:pt>
                <c:pt idx="3">
                  <c:v>2022</c:v>
                </c:pt>
                <c:pt idx="4">
                  <c:v>2023</c:v>
                </c:pt>
              </c:numCache>
            </c:numRef>
          </c:cat>
          <c:val>
            <c:numRef>
              <c:f>'[RSQE Nov Employment by Industry WA 2019-2023.xlsx]All'!$B$16:$F$16</c:f>
              <c:numCache>
                <c:formatCode>0</c:formatCode>
                <c:ptCount val="5"/>
                <c:pt idx="0">
                  <c:v>217.606907772233</c:v>
                </c:pt>
                <c:pt idx="1">
                  <c:v>203.73635286811799</c:v>
                </c:pt>
                <c:pt idx="2">
                  <c:v>215.31466081276801</c:v>
                </c:pt>
                <c:pt idx="3">
                  <c:v>222.273548280813</c:v>
                </c:pt>
                <c:pt idx="4">
                  <c:v>227.80491806747199</c:v>
                </c:pt>
              </c:numCache>
            </c:numRef>
          </c:val>
          <c:extLst>
            <c:ext xmlns:c16="http://schemas.microsoft.com/office/drawing/2014/chart" uri="{C3380CC4-5D6E-409C-BE32-E72D297353CC}">
              <c16:uniqueId val="{00000002-1EA8-4A6A-8365-E138E8DFDD8E}"/>
            </c:ext>
          </c:extLst>
        </c:ser>
        <c:ser>
          <c:idx val="3"/>
          <c:order val="3"/>
          <c:tx>
            <c:strRef>
              <c:f>'[RSQE Nov Employment by Industry WA 2019-2023.xlsx]All'!$A$17</c:f>
              <c:strCache>
                <c:ptCount val="1"/>
                <c:pt idx="0">
                  <c:v>State and Local Government</c:v>
                </c:pt>
              </c:strCache>
            </c:strRef>
          </c:tx>
          <c:spPr>
            <a:solidFill>
              <a:schemeClr val="bg2"/>
            </a:solidFill>
            <a:ln>
              <a:noFill/>
            </a:ln>
            <a:effectLst/>
          </c:spPr>
          <c:invertIfNegative val="0"/>
          <c:cat>
            <c:numRef>
              <c:f>'[RSQE Nov Employment by Industry WA 2019-2023.xlsx]All'!$B$13:$F$13</c:f>
              <c:numCache>
                <c:formatCode>General</c:formatCode>
                <c:ptCount val="5"/>
                <c:pt idx="0">
                  <c:v>2019</c:v>
                </c:pt>
                <c:pt idx="1">
                  <c:v>2020</c:v>
                </c:pt>
                <c:pt idx="2">
                  <c:v>2021</c:v>
                </c:pt>
                <c:pt idx="3">
                  <c:v>2022</c:v>
                </c:pt>
                <c:pt idx="4">
                  <c:v>2023</c:v>
                </c:pt>
              </c:numCache>
            </c:numRef>
          </c:cat>
          <c:val>
            <c:numRef>
              <c:f>'[RSQE Nov Employment by Industry WA 2019-2023.xlsx]All'!$B$17:$F$17</c:f>
              <c:numCache>
                <c:formatCode>0</c:formatCode>
                <c:ptCount val="5"/>
                <c:pt idx="0">
                  <c:v>517.80092165809106</c:v>
                </c:pt>
                <c:pt idx="1">
                  <c:v>501.56051104617302</c:v>
                </c:pt>
                <c:pt idx="2">
                  <c:v>509.12035176063603</c:v>
                </c:pt>
                <c:pt idx="3">
                  <c:v>517.61179127122102</c:v>
                </c:pt>
                <c:pt idx="4">
                  <c:v>526.766355097972</c:v>
                </c:pt>
              </c:numCache>
            </c:numRef>
          </c:val>
          <c:extLst>
            <c:ext xmlns:c16="http://schemas.microsoft.com/office/drawing/2014/chart" uri="{C3380CC4-5D6E-409C-BE32-E72D297353CC}">
              <c16:uniqueId val="{00000003-1EA8-4A6A-8365-E138E8DFDD8E}"/>
            </c:ext>
          </c:extLst>
        </c:ser>
        <c:dLbls>
          <c:showLegendKey val="0"/>
          <c:showVal val="0"/>
          <c:showCatName val="0"/>
          <c:showSerName val="0"/>
          <c:showPercent val="0"/>
          <c:showBubbleSize val="0"/>
        </c:dLbls>
        <c:gapWidth val="150"/>
        <c:overlap val="100"/>
        <c:axId val="502767936"/>
        <c:axId val="502769576"/>
      </c:barChart>
      <c:catAx>
        <c:axId val="502767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769576"/>
        <c:crosses val="autoZero"/>
        <c:auto val="1"/>
        <c:lblAlgn val="ctr"/>
        <c:lblOffset val="100"/>
        <c:noMultiLvlLbl val="0"/>
      </c:catAx>
      <c:valAx>
        <c:axId val="5027695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rgbClr val="000000"/>
                    </a:solidFill>
                    <a:latin typeface="+mn-lt"/>
                    <a:ea typeface="+mn-ea"/>
                    <a:cs typeface="+mn-cs"/>
                  </a:defRPr>
                </a:pPr>
                <a:r>
                  <a:rPr lang="en-US" sz="1400">
                    <a:solidFill>
                      <a:srgbClr val="000000"/>
                    </a:solidFill>
                  </a:rPr>
                  <a:t>Thousands (Jobs)</a:t>
                </a:r>
              </a:p>
            </c:rich>
          </c:tx>
          <c:overlay val="0"/>
          <c:spPr>
            <a:noFill/>
            <a:ln>
              <a:noFill/>
            </a:ln>
            <a:effectLst/>
          </c:spPr>
          <c:txPr>
            <a:bodyPr rot="-54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767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legend>
    <c:plotVisOnly val="1"/>
    <c:dispBlanksAs val="gap"/>
    <c:showDLblsOverMax val="0"/>
  </c:chart>
  <c:spPr>
    <a:solidFill>
      <a:schemeClr val="bg1"/>
    </a:solidFill>
    <a:ln>
      <a:solidFill>
        <a:srgbClr val="A80532"/>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solidFill>
                  <a:schemeClr val="tx1"/>
                </a:solidFill>
              </a:rPr>
              <a:t>Sale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EAFE-4162-8430-60FF952935C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EAFE-4162-8430-60FF952935C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EAFE-4162-8430-60FF952935C4}"/>
              </c:ext>
            </c:extLst>
          </c:dPt>
          <c:cat>
            <c:strRef>
              <c:f>Sheet1!$A$2:$A$4</c:f>
              <c:strCache>
                <c:ptCount val="3"/>
                <c:pt idx="0">
                  <c:v>1st Qtr</c:v>
                </c:pt>
                <c:pt idx="1">
                  <c:v>2nd Qtr</c:v>
                </c:pt>
                <c:pt idx="2">
                  <c:v>3rd Qtr</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6-EAFE-4162-8430-60FF952935C4}"/>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862" b="0" i="0" u="none" strike="noStrike" kern="1200" spc="0" baseline="0">
              <a:solidFill>
                <a:schemeClr val="tx1"/>
              </a:solidFill>
              <a:latin typeface="+mn-lt"/>
              <a:ea typeface="+mn-ea"/>
              <a:cs typeface="+mn-cs"/>
            </a:defRPr>
          </a:pPr>
          <a:endParaRPr lang="en-US"/>
        </a:p>
      </c:txPr>
    </c:title>
    <c:autoTitleDeleted val="0"/>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5E0-4E9C-A3DE-EAC959D9D375}"/>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5E0-4E9C-A3DE-EAC959D9D375}"/>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75E0-4E9C-A3DE-EAC959D9D375}"/>
              </c:ext>
            </c:extLst>
          </c:dPt>
          <c:cat>
            <c:strRef>
              <c:f>Sheet1!$A$2:$A$4</c:f>
              <c:strCache>
                <c:ptCount val="3"/>
                <c:pt idx="0">
                  <c:v>1st Qtr</c:v>
                </c:pt>
                <c:pt idx="1">
                  <c:v>2nd Qtr</c:v>
                </c:pt>
                <c:pt idx="2">
                  <c:v>3rd Qtr</c:v>
                </c:pt>
              </c:strCache>
            </c:strRef>
          </c:cat>
          <c:val>
            <c:numRef>
              <c:f>Sheet1!$B$2:$B$4</c:f>
              <c:numCache>
                <c:formatCode>General</c:formatCode>
                <c:ptCount val="3"/>
                <c:pt idx="0">
                  <c:v>2.5</c:v>
                </c:pt>
                <c:pt idx="1">
                  <c:v>2.5</c:v>
                </c:pt>
                <c:pt idx="2">
                  <c:v>2.5</c:v>
                </c:pt>
              </c:numCache>
            </c:numRef>
          </c:val>
          <c:extLst>
            <c:ext xmlns:c16="http://schemas.microsoft.com/office/drawing/2014/chart" uri="{C3380CC4-5D6E-409C-BE32-E72D297353CC}">
              <c16:uniqueId val="{00000006-75E0-4E9C-A3DE-EAC959D9D375}"/>
            </c:ext>
          </c:extLst>
        </c:ser>
        <c:dLbls>
          <c:showLegendKey val="0"/>
          <c:showVal val="0"/>
          <c:showCatName val="0"/>
          <c:showSerName val="0"/>
          <c:showPercent val="0"/>
          <c:showBubbleSize val="0"/>
          <c:showLeaderLines val="1"/>
        </c:dLbls>
        <c:firstSliceAng val="0"/>
        <c:holeSize val="75"/>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rgbClr val="000000"/>
                </a:solidFill>
                <a:latin typeface="+mj-lt"/>
                <a:ea typeface="+mn-ea"/>
                <a:cs typeface="+mn-cs"/>
              </a:defRPr>
            </a:pPr>
            <a:r>
              <a:rPr lang="en-US" sz="1600">
                <a:solidFill>
                  <a:srgbClr val="000000"/>
                </a:solidFill>
                <a:latin typeface="+mj-lt"/>
              </a:rPr>
              <a:t>Employment by Industry</a:t>
            </a:r>
          </a:p>
        </c:rich>
      </c:tx>
      <c:overlay val="0"/>
      <c:spPr>
        <a:noFill/>
        <a:ln>
          <a:noFill/>
        </a:ln>
        <a:effectLst/>
      </c:spPr>
      <c:txPr>
        <a:bodyPr rot="0" spcFirstLastPara="1" vertOverflow="ellipsis" vert="horz" wrap="square" anchor="ctr" anchorCtr="1"/>
        <a:lstStyle/>
        <a:p>
          <a:pPr>
            <a:defRPr sz="1600" b="0" i="0" u="none" strike="noStrike" kern="1200" spc="0" baseline="0">
              <a:solidFill>
                <a:srgbClr val="000000"/>
              </a:solidFill>
              <a:latin typeface="+mj-lt"/>
              <a:ea typeface="+mn-ea"/>
              <a:cs typeface="+mn-cs"/>
            </a:defRPr>
          </a:pPr>
          <a:endParaRPr lang="en-US"/>
        </a:p>
      </c:txPr>
    </c:title>
    <c:autoTitleDeleted val="0"/>
    <c:plotArea>
      <c:layout>
        <c:manualLayout>
          <c:layoutTarget val="inner"/>
          <c:xMode val="edge"/>
          <c:yMode val="edge"/>
          <c:x val="0.1126743333227881"/>
          <c:y val="0.12864761190557752"/>
          <c:w val="0.86705274703140311"/>
          <c:h val="0.62729968010852166"/>
        </c:manualLayout>
      </c:layout>
      <c:barChart>
        <c:barDir val="col"/>
        <c:grouping val="stacked"/>
        <c:varyColors val="0"/>
        <c:ser>
          <c:idx val="0"/>
          <c:order val="0"/>
          <c:tx>
            <c:strRef>
              <c:f>'[RSQE Nov Employment by Industry WA 2019-2023.xlsx]All'!$A$14</c:f>
              <c:strCache>
                <c:ptCount val="1"/>
                <c:pt idx="0">
                  <c:v>Manufacturing</c:v>
                </c:pt>
              </c:strCache>
            </c:strRef>
          </c:tx>
          <c:spPr>
            <a:solidFill>
              <a:schemeClr val="accent1"/>
            </a:solidFill>
            <a:ln>
              <a:noFill/>
            </a:ln>
            <a:effectLst/>
          </c:spPr>
          <c:invertIfNegative val="0"/>
          <c:cat>
            <c:numRef>
              <c:f>'[RSQE Nov Employment by Industry WA 2019-2023.xlsx]All'!$B$13:$F$13</c:f>
              <c:numCache>
                <c:formatCode>General</c:formatCode>
                <c:ptCount val="5"/>
                <c:pt idx="0">
                  <c:v>2019</c:v>
                </c:pt>
                <c:pt idx="1">
                  <c:v>2020</c:v>
                </c:pt>
                <c:pt idx="2">
                  <c:v>2021</c:v>
                </c:pt>
                <c:pt idx="3">
                  <c:v>2022</c:v>
                </c:pt>
                <c:pt idx="4">
                  <c:v>2023</c:v>
                </c:pt>
              </c:numCache>
            </c:numRef>
          </c:cat>
          <c:val>
            <c:numRef>
              <c:f>'[RSQE Nov Employment by Industry WA 2019-2023.xlsx]All'!$B$14:$F$14</c:f>
              <c:numCache>
                <c:formatCode>0</c:formatCode>
                <c:ptCount val="5"/>
                <c:pt idx="0">
                  <c:v>312.520727453951</c:v>
                </c:pt>
                <c:pt idx="1">
                  <c:v>304.05058862697098</c:v>
                </c:pt>
                <c:pt idx="2">
                  <c:v>313.78324510032002</c:v>
                </c:pt>
                <c:pt idx="3">
                  <c:v>312.88785637292</c:v>
                </c:pt>
                <c:pt idx="4">
                  <c:v>306.43838900201803</c:v>
                </c:pt>
              </c:numCache>
            </c:numRef>
          </c:val>
          <c:extLst>
            <c:ext xmlns:c16="http://schemas.microsoft.com/office/drawing/2014/chart" uri="{C3380CC4-5D6E-409C-BE32-E72D297353CC}">
              <c16:uniqueId val="{00000000-1EA8-4A6A-8365-E138E8DFDD8E}"/>
            </c:ext>
          </c:extLst>
        </c:ser>
        <c:ser>
          <c:idx val="1"/>
          <c:order val="1"/>
          <c:tx>
            <c:strRef>
              <c:f>'[RSQE Nov Employment by Industry WA 2019-2023.xlsx]All'!$A$15</c:f>
              <c:strCache>
                <c:ptCount val="1"/>
                <c:pt idx="0">
                  <c:v>Information</c:v>
                </c:pt>
              </c:strCache>
            </c:strRef>
          </c:tx>
          <c:spPr>
            <a:solidFill>
              <a:schemeClr val="accent2"/>
            </a:solidFill>
            <a:ln>
              <a:noFill/>
            </a:ln>
            <a:effectLst/>
          </c:spPr>
          <c:invertIfNegative val="0"/>
          <c:cat>
            <c:numRef>
              <c:f>'[RSQE Nov Employment by Industry WA 2019-2023.xlsx]All'!$B$13:$F$13</c:f>
              <c:numCache>
                <c:formatCode>General</c:formatCode>
                <c:ptCount val="5"/>
                <c:pt idx="0">
                  <c:v>2019</c:v>
                </c:pt>
                <c:pt idx="1">
                  <c:v>2020</c:v>
                </c:pt>
                <c:pt idx="2">
                  <c:v>2021</c:v>
                </c:pt>
                <c:pt idx="3">
                  <c:v>2022</c:v>
                </c:pt>
                <c:pt idx="4">
                  <c:v>2023</c:v>
                </c:pt>
              </c:numCache>
            </c:numRef>
          </c:cat>
          <c:val>
            <c:numRef>
              <c:f>'[RSQE Nov Employment by Industry WA 2019-2023.xlsx]All'!$B$15:$F$15</c:f>
              <c:numCache>
                <c:formatCode>0</c:formatCode>
                <c:ptCount val="5"/>
                <c:pt idx="0">
                  <c:v>152.18922063695601</c:v>
                </c:pt>
                <c:pt idx="1">
                  <c:v>146.79609547663</c:v>
                </c:pt>
                <c:pt idx="2">
                  <c:v>153.21664519338</c:v>
                </c:pt>
                <c:pt idx="3">
                  <c:v>156.79387203416201</c:v>
                </c:pt>
                <c:pt idx="4">
                  <c:v>157.39559172511301</c:v>
                </c:pt>
              </c:numCache>
            </c:numRef>
          </c:val>
          <c:extLst>
            <c:ext xmlns:c16="http://schemas.microsoft.com/office/drawing/2014/chart" uri="{C3380CC4-5D6E-409C-BE32-E72D297353CC}">
              <c16:uniqueId val="{00000001-1EA8-4A6A-8365-E138E8DFDD8E}"/>
            </c:ext>
          </c:extLst>
        </c:ser>
        <c:ser>
          <c:idx val="2"/>
          <c:order val="2"/>
          <c:tx>
            <c:strRef>
              <c:f>'[RSQE Nov Employment by Industry WA 2019-2023.xlsx]All'!$A$16</c:f>
              <c:strCache>
                <c:ptCount val="1"/>
                <c:pt idx="0">
                  <c:v>Real estate and rental and leasing</c:v>
                </c:pt>
              </c:strCache>
            </c:strRef>
          </c:tx>
          <c:spPr>
            <a:solidFill>
              <a:schemeClr val="accent3"/>
            </a:solidFill>
            <a:ln>
              <a:noFill/>
            </a:ln>
            <a:effectLst/>
          </c:spPr>
          <c:invertIfNegative val="0"/>
          <c:cat>
            <c:numRef>
              <c:f>'[RSQE Nov Employment by Industry WA 2019-2023.xlsx]All'!$B$13:$F$13</c:f>
              <c:numCache>
                <c:formatCode>General</c:formatCode>
                <c:ptCount val="5"/>
                <c:pt idx="0">
                  <c:v>2019</c:v>
                </c:pt>
                <c:pt idx="1">
                  <c:v>2020</c:v>
                </c:pt>
                <c:pt idx="2">
                  <c:v>2021</c:v>
                </c:pt>
                <c:pt idx="3">
                  <c:v>2022</c:v>
                </c:pt>
                <c:pt idx="4">
                  <c:v>2023</c:v>
                </c:pt>
              </c:numCache>
            </c:numRef>
          </c:cat>
          <c:val>
            <c:numRef>
              <c:f>'[RSQE Nov Employment by Industry WA 2019-2023.xlsx]All'!$B$16:$F$16</c:f>
              <c:numCache>
                <c:formatCode>0</c:formatCode>
                <c:ptCount val="5"/>
                <c:pt idx="0">
                  <c:v>217.606907772233</c:v>
                </c:pt>
                <c:pt idx="1">
                  <c:v>203.73635286811799</c:v>
                </c:pt>
                <c:pt idx="2">
                  <c:v>215.31466081276801</c:v>
                </c:pt>
                <c:pt idx="3">
                  <c:v>222.273548280813</c:v>
                </c:pt>
                <c:pt idx="4">
                  <c:v>227.80491806747199</c:v>
                </c:pt>
              </c:numCache>
            </c:numRef>
          </c:val>
          <c:extLst>
            <c:ext xmlns:c16="http://schemas.microsoft.com/office/drawing/2014/chart" uri="{C3380CC4-5D6E-409C-BE32-E72D297353CC}">
              <c16:uniqueId val="{00000002-1EA8-4A6A-8365-E138E8DFDD8E}"/>
            </c:ext>
          </c:extLst>
        </c:ser>
        <c:ser>
          <c:idx val="3"/>
          <c:order val="3"/>
          <c:tx>
            <c:strRef>
              <c:f>'[RSQE Nov Employment by Industry WA 2019-2023.xlsx]All'!$A$17</c:f>
              <c:strCache>
                <c:ptCount val="1"/>
                <c:pt idx="0">
                  <c:v>State and Local Government</c:v>
                </c:pt>
              </c:strCache>
            </c:strRef>
          </c:tx>
          <c:spPr>
            <a:solidFill>
              <a:schemeClr val="bg2"/>
            </a:solidFill>
            <a:ln>
              <a:noFill/>
            </a:ln>
            <a:effectLst/>
          </c:spPr>
          <c:invertIfNegative val="0"/>
          <c:cat>
            <c:numRef>
              <c:f>'[RSQE Nov Employment by Industry WA 2019-2023.xlsx]All'!$B$13:$F$13</c:f>
              <c:numCache>
                <c:formatCode>General</c:formatCode>
                <c:ptCount val="5"/>
                <c:pt idx="0">
                  <c:v>2019</c:v>
                </c:pt>
                <c:pt idx="1">
                  <c:v>2020</c:v>
                </c:pt>
                <c:pt idx="2">
                  <c:v>2021</c:v>
                </c:pt>
                <c:pt idx="3">
                  <c:v>2022</c:v>
                </c:pt>
                <c:pt idx="4">
                  <c:v>2023</c:v>
                </c:pt>
              </c:numCache>
            </c:numRef>
          </c:cat>
          <c:val>
            <c:numRef>
              <c:f>'[RSQE Nov Employment by Industry WA 2019-2023.xlsx]All'!$B$17:$F$17</c:f>
              <c:numCache>
                <c:formatCode>0</c:formatCode>
                <c:ptCount val="5"/>
                <c:pt idx="0">
                  <c:v>517.80092165809106</c:v>
                </c:pt>
                <c:pt idx="1">
                  <c:v>501.56051104617302</c:v>
                </c:pt>
                <c:pt idx="2">
                  <c:v>509.12035176063603</c:v>
                </c:pt>
                <c:pt idx="3">
                  <c:v>517.61179127122102</c:v>
                </c:pt>
                <c:pt idx="4">
                  <c:v>526.766355097972</c:v>
                </c:pt>
              </c:numCache>
            </c:numRef>
          </c:val>
          <c:extLst>
            <c:ext xmlns:c16="http://schemas.microsoft.com/office/drawing/2014/chart" uri="{C3380CC4-5D6E-409C-BE32-E72D297353CC}">
              <c16:uniqueId val="{00000003-1EA8-4A6A-8365-E138E8DFDD8E}"/>
            </c:ext>
          </c:extLst>
        </c:ser>
        <c:dLbls>
          <c:showLegendKey val="0"/>
          <c:showVal val="0"/>
          <c:showCatName val="0"/>
          <c:showSerName val="0"/>
          <c:showPercent val="0"/>
          <c:showBubbleSize val="0"/>
        </c:dLbls>
        <c:gapWidth val="150"/>
        <c:overlap val="100"/>
        <c:axId val="502767936"/>
        <c:axId val="502769576"/>
      </c:barChart>
      <c:catAx>
        <c:axId val="5027679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769576"/>
        <c:crosses val="autoZero"/>
        <c:auto val="1"/>
        <c:lblAlgn val="ctr"/>
        <c:lblOffset val="100"/>
        <c:noMultiLvlLbl val="0"/>
      </c:catAx>
      <c:valAx>
        <c:axId val="502769576"/>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0" i="0" u="none" strike="noStrike" kern="1200" baseline="0">
                    <a:solidFill>
                      <a:srgbClr val="000000"/>
                    </a:solidFill>
                    <a:latin typeface="+mn-lt"/>
                    <a:ea typeface="+mn-ea"/>
                    <a:cs typeface="+mn-cs"/>
                  </a:defRPr>
                </a:pPr>
                <a:r>
                  <a:rPr lang="en-US" sz="1400">
                    <a:solidFill>
                      <a:srgbClr val="000000"/>
                    </a:solidFill>
                  </a:rPr>
                  <a:t>Thousands (Jobs)</a:t>
                </a:r>
              </a:p>
            </c:rich>
          </c:tx>
          <c:overlay val="0"/>
          <c:spPr>
            <a:noFill/>
            <a:ln>
              <a:noFill/>
            </a:ln>
            <a:effectLst/>
          </c:spPr>
          <c:txPr>
            <a:bodyPr rot="-540000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50276793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rgbClr val="000000"/>
              </a:solidFill>
              <a:latin typeface="+mn-lt"/>
              <a:ea typeface="+mn-ea"/>
              <a:cs typeface="+mn-cs"/>
            </a:defRPr>
          </a:pPr>
          <a:endParaRPr lang="en-US"/>
        </a:p>
      </c:txPr>
    </c:legend>
    <c:plotVisOnly val="1"/>
    <c:dispBlanksAs val="gap"/>
    <c:showDLblsOverMax val="0"/>
  </c:chart>
  <c:spPr>
    <a:solidFill>
      <a:schemeClr val="bg1"/>
    </a:solidFill>
    <a:ln>
      <a:solidFill>
        <a:srgbClr val="A80532"/>
      </a:solid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RSQE Nov Population and Components Profile WA 2020.xlsx]All'!$A$30:$A$37</cx:f>
        <cx:lvl ptCount="8">
          <cx:pt idx="0">Starting Population</cx:pt>
          <cx:pt idx="1">Births</cx:pt>
          <cx:pt idx="2">Deaths</cx:pt>
          <cx:pt idx="3">Net Retired Migrants</cx:pt>
          <cx:pt idx="4">Net Economic Migrants</cx:pt>
          <cx:pt idx="5">Net International Migrants</cx:pt>
          <cx:pt idx="6">Net Special Populations Migration</cx:pt>
          <cx:pt idx="7">Ending Population</cx:pt>
        </cx:lvl>
      </cx:strDim>
      <cx:numDim type="val">
        <cx:f>'[RSQE Nov Population and Components Profile WA 2020.xlsx]All'!$B$30:$B$37</cx:f>
        <cx:lvl ptCount="8" formatCode="0.0">
          <cx:pt idx="0">7832.2174677941002</cx:pt>
          <cx:pt idx="1">97.686999999999998</cx:pt>
          <cx:pt idx="2">-59.878999999999998</cx:pt>
          <cx:pt idx="3">-0.84099999999999997</cx:pt>
          <cx:pt idx="4">78.585999999999999</cx:pt>
          <cx:pt idx="5">32.091000000000001</cx:pt>
          <cx:pt idx="6">1.365</cx:pt>
          <cx:pt idx="7">7981.2259817603799</cx:pt>
        </cx:lvl>
      </cx:numDim>
    </cx:data>
  </cx:chartData>
  <cx:chart>
    <cx:title pos="t" align="ctr" overlay="0">
      <cx:tx>
        <cx:txData>
          <cx:v>Washington Population Components (2020→2021)</cx:v>
        </cx:txData>
      </cx:tx>
      <cx:txPr>
        <a:bodyPr spcFirstLastPara="1" vertOverflow="ellipsis" wrap="square" lIns="0" tIns="0" rIns="0" bIns="0" anchor="ctr" anchorCtr="1"/>
        <a:lstStyle/>
        <a:p>
          <a:pPr algn="ctr">
            <a:defRPr/>
          </a:pPr>
          <a:r>
            <a:rPr lang="en-US"/>
            <a:t>Washington Population Components (2020→2021)</a:t>
          </a:r>
        </a:p>
      </cx:txPr>
    </cx:title>
    <cx:plotArea>
      <cx:plotAreaRegion>
        <cx:series layoutId="waterfall" uniqueId="{B725FF89-005D-4F11-B56F-152B63E6615D}">
          <cx:dataLabels pos="outEnd">
            <cx:visibility seriesName="0" categoryName="0" value="1"/>
          </cx:dataLabels>
          <cx:dataId val="0"/>
          <cx:layoutPr>
            <cx:visibility connectorLines="1"/>
            <cx:subtotals>
              <cx:idx val="7"/>
            </cx:subtotals>
          </cx:layoutPr>
        </cx:series>
      </cx:plotAreaRegion>
      <cx:axis id="0">
        <cx:catScaling gapWidth="0.5"/>
        <cx:tickLabels/>
        <cx:numFmt formatCode="#,##0.0" sourceLinked="0"/>
        <cx:txPr>
          <a:bodyPr spcFirstLastPara="1" vertOverflow="ellipsis" horzOverflow="overflow" wrap="square" lIns="0" tIns="0" rIns="0" bIns="0" anchor="ctr" anchorCtr="1"/>
          <a:lstStyle/>
          <a:p>
            <a:pPr algn="ctr" rtl="0">
              <a:defRPr sz="700">
                <a:solidFill>
                  <a:schemeClr val="tx1"/>
                </a:solidFill>
                <a:latin typeface="Segoe UI Semilight" panose="020B0402040204020203" pitchFamily="34" charset="0"/>
                <a:ea typeface="Segoe UI Semilight" panose="020B0402040204020203" pitchFamily="34" charset="0"/>
                <a:cs typeface="Segoe UI Semilight" panose="020B0402040204020203" pitchFamily="34" charset="0"/>
              </a:defRPr>
            </a:pPr>
            <a:endParaRPr lang="en-US" sz="700" b="0" i="0" u="none" strike="noStrike" kern="1200" baseline="0">
              <a:solidFill>
                <a:schemeClr val="tx1"/>
              </a:solidFill>
              <a:latin typeface="Segoe UI Semilight" panose="020B0402040204020203" pitchFamily="34" charset="0"/>
              <a:cs typeface="Segoe UI Semilight" panose="020B0402040204020203" pitchFamily="34" charset="0"/>
            </a:endParaRPr>
          </a:p>
        </cx:txPr>
      </cx:axis>
      <cx:axis id="1">
        <cx:valScaling min="7800"/>
        <cx:title>
          <cx:tx>
            <cx:txData>
              <cx:v>Thousands</cx:v>
            </cx:txData>
          </cx:tx>
          <cx:txPr>
            <a:bodyPr spcFirstLastPara="1" vertOverflow="ellipsis" wrap="square" lIns="0" tIns="0" rIns="0" bIns="0" anchor="ctr" anchorCtr="1"/>
            <a:lstStyle/>
            <a:p>
              <a:pPr algn="ctr">
                <a:defRPr/>
              </a:pPr>
              <a:r>
                <a:rPr lang="en-US"/>
                <a:t>Thousands</a:t>
              </a:r>
            </a:p>
          </cx:txPr>
        </cx:title>
        <cx:majorGridlines/>
        <cx:tickLabels/>
        <cx:numFmt formatCode="#,##0" sourceLinked="0"/>
      </cx:axis>
    </cx:plotArea>
  </cx:chart>
  <cx:spPr>
    <a:solidFill>
      <a:schemeClr val="bg1"/>
    </a:solidFill>
    <a:ln>
      <a:solidFill>
        <a:schemeClr val="accent1"/>
      </a:solidFill>
    </a:ln>
  </cx:spPr>
  <cx:clrMapOvr bg1="lt1" tx1="dk1" bg2="lt2" tx2="dk2" accent1="accent1" accent2="accent2" accent3="accent3" accent4="accent4" accent5="accent5" accent6="accent6" hlink="hlink" folHlink="folHlink"/>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bodyPr/>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bodyPr wrap="square" lIns="38100" tIns="19050" rIns="38100" bIns="19050" anchor="ctr">
      <a:spAutoFit/>
    </cs:bodyPr>
  </cs:dataLabel>
  <cs:dataLabelCallout>
    <cs:lnRef idx="0"/>
    <cs:fillRef idx="0"/>
    <cs:effectRef idx="0"/>
    <cs:fontRef idx="minor">
      <a:schemeClr val="tx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solidFill>
    </cs:spPr>
  </cs:downBar>
  <cs:dropLine>
    <cs:lnRef idx="0"/>
    <cs:fillRef idx="0"/>
    <cs:effectRef idx="0"/>
    <cs:fontRef idx="minor">
      <a:schemeClr val="tx1"/>
    </cs:fontRef>
  </cs:dropLine>
  <cs:errorBar>
    <cs:lnRef idx="0"/>
    <cs:fillRef idx="0"/>
    <cs:effectRef idx="0"/>
    <cs:fontRef idx="minor">
      <a:schemeClr val="tx1"/>
    </cs:fontRef>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a:solidFill>
          <a:schemeClr val="tx1">
            <a:lumMod val="15000"/>
            <a:lumOff val="85000"/>
            <a:lumOff val="10000"/>
          </a:schemeClr>
        </a:solidFill>
      </a:ln>
    </cs:spPr>
  </cs:gridlineMinor>
  <cs:hiLoLine>
    <cs:lnRef idx="0"/>
    <cs:fillRef idx="0"/>
    <cs:effectRef idx="0"/>
    <cs:fontRef idx="minor">
      <a:schemeClr val="tx1"/>
    </cs:fontRef>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bodyPr/>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b="0" kern="1200" spc="0" baseline="0"/>
    <cs:bodyPr/>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cs:spPr>
  </cs:upBar>
  <cs:valueAxis>
    <cs:lnRef idx="0"/>
    <cs:fillRef idx="0"/>
    <cs:effectRef idx="0"/>
    <cs:fontRef idx="minor">
      <a:schemeClr val="tx1">
        <a:lumMod val="65000"/>
        <a:lumOff val="35000"/>
      </a:schemeClr>
    </cs:fontRef>
    <cs:defRPr sz="900" kern="1200"/>
    <cs:bodyPr/>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E5EB02-7142-4B44-9F91-EFC6851A7B8E}" type="datetimeFigureOut">
              <a:rPr lang="en-US" smtClean="0"/>
              <a:t>5/1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28AE01-E476-4ABA-A328-32AB9E044E7E}" type="slidenum">
              <a:rPr lang="en-US" smtClean="0"/>
              <a:t>‹#›</a:t>
            </a:fld>
            <a:endParaRPr lang="en-US"/>
          </a:p>
        </p:txBody>
      </p:sp>
    </p:spTree>
    <p:extLst>
      <p:ext uri="{BB962C8B-B14F-4D97-AF65-F5344CB8AC3E}">
        <p14:creationId xmlns:p14="http://schemas.microsoft.com/office/powerpoint/2010/main" val="35757515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ockout slide</a:t>
            </a:r>
          </a:p>
        </p:txBody>
      </p:sp>
      <p:sp>
        <p:nvSpPr>
          <p:cNvPr id="4" name="Slide Number Placeholder 3"/>
          <p:cNvSpPr>
            <a:spLocks noGrp="1"/>
          </p:cNvSpPr>
          <p:nvPr>
            <p:ph type="sldNum" sz="quarter" idx="5"/>
          </p:nvPr>
        </p:nvSpPr>
        <p:spPr/>
        <p:txBody>
          <a:bodyPr/>
          <a:lstStyle/>
          <a:p>
            <a:fld id="{0328AE01-E476-4ABA-A328-32AB9E044E7E}" type="slidenum">
              <a:rPr lang="en-US" smtClean="0"/>
              <a:t>3</a:t>
            </a:fld>
            <a:endParaRPr lang="en-US"/>
          </a:p>
        </p:txBody>
      </p:sp>
    </p:spTree>
    <p:extLst>
      <p:ext uri="{BB962C8B-B14F-4D97-AF65-F5344CB8AC3E}">
        <p14:creationId xmlns:p14="http://schemas.microsoft.com/office/powerpoint/2010/main" val="5127211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Custom Layout" preserve="1" userDrawn="1">
  <p:cSld name="2_Custom Layout">
    <p:bg>
      <p:bgPr>
        <a:solidFill>
          <a:schemeClr val="lt1"/>
        </a:solidFill>
        <a:effectLst/>
      </p:bgPr>
    </p:bg>
    <p:spTree>
      <p:nvGrpSpPr>
        <p:cNvPr id="1" name="Shape 32"/>
        <p:cNvGrpSpPr/>
        <p:nvPr/>
      </p:nvGrpSpPr>
      <p:grpSpPr>
        <a:xfrm>
          <a:off x="0" y="0"/>
          <a:ext cx="0" cy="0"/>
          <a:chOff x="0" y="0"/>
          <a:chExt cx="0" cy="0"/>
        </a:xfrm>
      </p:grpSpPr>
      <p:pic>
        <p:nvPicPr>
          <p:cNvPr id="3" name="Picture 2">
            <a:extLst>
              <a:ext uri="{FF2B5EF4-FFF2-40B4-BE49-F238E27FC236}">
                <a16:creationId xmlns:a16="http://schemas.microsoft.com/office/drawing/2014/main" id="{6AC776C1-DE3A-4748-9111-68D7A0EE9E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Rectangle 3">
            <a:extLst>
              <a:ext uri="{FF2B5EF4-FFF2-40B4-BE49-F238E27FC236}">
                <a16:creationId xmlns:a16="http://schemas.microsoft.com/office/drawing/2014/main" id="{A4BF4D78-59A2-48A7-93D1-0E63DA9AAE37}"/>
              </a:ext>
            </a:extLst>
          </p:cNvPr>
          <p:cNvSpPr/>
          <p:nvPr userDrawn="1"/>
        </p:nvSpPr>
        <p:spPr>
          <a:xfrm>
            <a:off x="10292080" y="355600"/>
            <a:ext cx="1534160" cy="660400"/>
          </a:xfrm>
          <a:prstGeom prst="rect">
            <a:avLst/>
          </a:prstGeom>
          <a:solidFill>
            <a:srgbClr val="FBFB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65F6E81B-9424-4E36-922D-8441DCCCDE5C}"/>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594752" y="197907"/>
            <a:ext cx="1312864" cy="543525"/>
          </a:xfrm>
          <a:prstGeom prst="rect">
            <a:avLst/>
          </a:prstGeom>
        </p:spPr>
      </p:pic>
    </p:spTree>
    <p:extLst>
      <p:ext uri="{BB962C8B-B14F-4D97-AF65-F5344CB8AC3E}">
        <p14:creationId xmlns:p14="http://schemas.microsoft.com/office/powerpoint/2010/main" val="3475644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Custom Layout" userDrawn="1">
  <p:cSld name="Custom Layout">
    <p:bg>
      <p:bgPr>
        <a:solidFill>
          <a:schemeClr val="lt1"/>
        </a:solidFill>
        <a:effectLst/>
      </p:bgPr>
    </p:bg>
    <p:spTree>
      <p:nvGrpSpPr>
        <p:cNvPr id="1" name="Shape 32"/>
        <p:cNvGrpSpPr/>
        <p:nvPr/>
      </p:nvGrpSpPr>
      <p:grpSpPr>
        <a:xfrm>
          <a:off x="0" y="0"/>
          <a:ext cx="0" cy="0"/>
          <a:chOff x="0" y="0"/>
          <a:chExt cx="0" cy="0"/>
        </a:xfrm>
      </p:grpSpPr>
      <p:pic>
        <p:nvPicPr>
          <p:cNvPr id="3" name="Picture 2">
            <a:extLst>
              <a:ext uri="{FF2B5EF4-FFF2-40B4-BE49-F238E27FC236}">
                <a16:creationId xmlns:a16="http://schemas.microsoft.com/office/drawing/2014/main" id="{6AC776C1-DE3A-4748-9111-68D7A0EE9E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A22F7F78-615D-46A3-A1E4-F4533A19B3DF}"/>
              </a:ext>
            </a:extLst>
          </p:cNvPr>
          <p:cNvSpPr/>
          <p:nvPr userDrawn="1"/>
        </p:nvSpPr>
        <p:spPr>
          <a:xfrm>
            <a:off x="10278208" y="246185"/>
            <a:ext cx="1582615" cy="782515"/>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6D9AD62-5692-48D5-995C-F92F41003B00}"/>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594752" y="197907"/>
            <a:ext cx="1312864" cy="543525"/>
          </a:xfrm>
          <a:prstGeom prst="rect">
            <a:avLst/>
          </a:prstGeom>
        </p:spPr>
      </p:pic>
      <p:cxnSp>
        <p:nvCxnSpPr>
          <p:cNvPr id="5" name="Straight Connector 4">
            <a:extLst>
              <a:ext uri="{FF2B5EF4-FFF2-40B4-BE49-F238E27FC236}">
                <a16:creationId xmlns:a16="http://schemas.microsoft.com/office/drawing/2014/main" id="{5427948A-3F5C-4E6A-AFA5-AB1EFE5B4E12}"/>
              </a:ext>
            </a:extLst>
          </p:cNvPr>
          <p:cNvCxnSpPr>
            <a:cxnSpLocks/>
          </p:cNvCxnSpPr>
          <p:nvPr userDrawn="1"/>
        </p:nvCxnSpPr>
        <p:spPr>
          <a:xfrm>
            <a:off x="550416" y="879235"/>
            <a:ext cx="11641584" cy="0"/>
          </a:xfrm>
          <a:prstGeom prst="line">
            <a:avLst/>
          </a:prstGeom>
          <a:ln w="19050">
            <a:solidFill>
              <a:srgbClr val="A805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5934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Custom Layout" preserve="1" userDrawn="1">
  <p:cSld name="3_Custom Layout">
    <p:bg>
      <p:bgPr>
        <a:solidFill>
          <a:schemeClr val="lt1"/>
        </a:solidFill>
        <a:effectLst/>
      </p:bgPr>
    </p:bg>
    <p:spTree>
      <p:nvGrpSpPr>
        <p:cNvPr id="1" name="Shape 32"/>
        <p:cNvGrpSpPr/>
        <p:nvPr/>
      </p:nvGrpSpPr>
      <p:grpSpPr>
        <a:xfrm>
          <a:off x="0" y="0"/>
          <a:ext cx="0" cy="0"/>
          <a:chOff x="0" y="0"/>
          <a:chExt cx="0" cy="0"/>
        </a:xfrm>
      </p:grpSpPr>
      <p:sp>
        <p:nvSpPr>
          <p:cNvPr id="6" name="Rectangle 5">
            <a:extLst>
              <a:ext uri="{FF2B5EF4-FFF2-40B4-BE49-F238E27FC236}">
                <a16:creationId xmlns:a16="http://schemas.microsoft.com/office/drawing/2014/main" id="{A22F7F78-615D-46A3-A1E4-F4533A19B3DF}"/>
              </a:ext>
            </a:extLst>
          </p:cNvPr>
          <p:cNvSpPr/>
          <p:nvPr userDrawn="1"/>
        </p:nvSpPr>
        <p:spPr>
          <a:xfrm>
            <a:off x="10278208" y="246185"/>
            <a:ext cx="1582615" cy="782515"/>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6D9AD62-5692-48D5-995C-F92F41003B00}"/>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0594752" y="197907"/>
            <a:ext cx="1312864" cy="543525"/>
          </a:xfrm>
          <a:prstGeom prst="rect">
            <a:avLst/>
          </a:prstGeom>
        </p:spPr>
      </p:pic>
      <p:cxnSp>
        <p:nvCxnSpPr>
          <p:cNvPr id="5" name="Straight Connector 4">
            <a:extLst>
              <a:ext uri="{FF2B5EF4-FFF2-40B4-BE49-F238E27FC236}">
                <a16:creationId xmlns:a16="http://schemas.microsoft.com/office/drawing/2014/main" id="{5427948A-3F5C-4E6A-AFA5-AB1EFE5B4E12}"/>
              </a:ext>
            </a:extLst>
          </p:cNvPr>
          <p:cNvCxnSpPr>
            <a:cxnSpLocks/>
          </p:cNvCxnSpPr>
          <p:nvPr userDrawn="1"/>
        </p:nvCxnSpPr>
        <p:spPr>
          <a:xfrm>
            <a:off x="550416" y="879235"/>
            <a:ext cx="11641584" cy="0"/>
          </a:xfrm>
          <a:prstGeom prst="line">
            <a:avLst/>
          </a:prstGeom>
          <a:ln w="19050">
            <a:solidFill>
              <a:srgbClr val="A80532"/>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8A9CB62E-FAC4-46E3-895A-91EEED03DD58}"/>
              </a:ext>
            </a:extLst>
          </p:cNvPr>
          <p:cNvPicPr>
            <a:picLocks noChangeAspect="1"/>
          </p:cNvPicPr>
          <p:nvPr userDrawn="1"/>
        </p:nvPicPr>
        <p:blipFill rotWithShape="1">
          <a:blip r:embed="rId3" cstate="hqprint">
            <a:extLst>
              <a:ext uri="{28A0092B-C50C-407E-A947-70E740481C1C}">
                <a14:useLocalDpi xmlns:a14="http://schemas.microsoft.com/office/drawing/2010/main" val="0"/>
              </a:ext>
            </a:extLst>
          </a:blip>
          <a:srcRect l="222" t="31572" r="11862" b="48892"/>
          <a:stretch/>
        </p:blipFill>
        <p:spPr>
          <a:xfrm>
            <a:off x="472311" y="6432333"/>
            <a:ext cx="2691893" cy="336474"/>
          </a:xfrm>
          <a:prstGeom prst="rect">
            <a:avLst/>
          </a:prstGeom>
        </p:spPr>
      </p:pic>
    </p:spTree>
    <p:extLst>
      <p:ext uri="{BB962C8B-B14F-4D97-AF65-F5344CB8AC3E}">
        <p14:creationId xmlns:p14="http://schemas.microsoft.com/office/powerpoint/2010/main" val="246072711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397593-D198-41F1-93D4-C4BFCABA52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06F1443-36A5-42DD-8839-145C1CBE2E70}"/>
              </a:ext>
            </a:extLst>
          </p:cNvPr>
          <p:cNvSpPr/>
          <p:nvPr userDrawn="1"/>
        </p:nvSpPr>
        <p:spPr>
          <a:xfrm>
            <a:off x="10292080" y="355600"/>
            <a:ext cx="1534160" cy="6604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C5E710F0-7B04-407D-84AF-7FD7623A6B8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594752" y="197907"/>
            <a:ext cx="1312864" cy="543525"/>
          </a:xfrm>
          <a:prstGeom prst="rect">
            <a:avLst/>
          </a:prstGeom>
        </p:spPr>
      </p:pic>
    </p:spTree>
    <p:extLst>
      <p:ext uri="{BB962C8B-B14F-4D97-AF65-F5344CB8AC3E}">
        <p14:creationId xmlns:p14="http://schemas.microsoft.com/office/powerpoint/2010/main" val="21826073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F397593-D198-41F1-93D4-C4BFCABA52B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8" name="Rectangle 7">
            <a:extLst>
              <a:ext uri="{FF2B5EF4-FFF2-40B4-BE49-F238E27FC236}">
                <a16:creationId xmlns:a16="http://schemas.microsoft.com/office/drawing/2014/main" id="{706F1443-36A5-42DD-8839-145C1CBE2E70}"/>
              </a:ext>
            </a:extLst>
          </p:cNvPr>
          <p:cNvSpPr/>
          <p:nvPr userDrawn="1"/>
        </p:nvSpPr>
        <p:spPr>
          <a:xfrm>
            <a:off x="10292080" y="355600"/>
            <a:ext cx="1534160" cy="660400"/>
          </a:xfrm>
          <a:prstGeom prst="rect">
            <a:avLst/>
          </a:prstGeom>
          <a:solidFill>
            <a:srgbClr val="FCFC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C5E710F0-7B04-407D-84AF-7FD7623A6B8E}"/>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10594752" y="197907"/>
            <a:ext cx="1312864" cy="543525"/>
          </a:xfrm>
          <a:prstGeom prst="rect">
            <a:avLst/>
          </a:prstGeom>
        </p:spPr>
      </p:pic>
      <p:cxnSp>
        <p:nvCxnSpPr>
          <p:cNvPr id="6" name="Straight Connector 5">
            <a:extLst>
              <a:ext uri="{FF2B5EF4-FFF2-40B4-BE49-F238E27FC236}">
                <a16:creationId xmlns:a16="http://schemas.microsoft.com/office/drawing/2014/main" id="{52F7A228-F6E4-4955-8241-23AA6CBFE32F}"/>
              </a:ext>
            </a:extLst>
          </p:cNvPr>
          <p:cNvCxnSpPr>
            <a:cxnSpLocks/>
          </p:cNvCxnSpPr>
          <p:nvPr userDrawn="1"/>
        </p:nvCxnSpPr>
        <p:spPr>
          <a:xfrm>
            <a:off x="550416" y="879235"/>
            <a:ext cx="11641584" cy="0"/>
          </a:xfrm>
          <a:prstGeom prst="line">
            <a:avLst/>
          </a:prstGeom>
          <a:ln w="19050">
            <a:solidFill>
              <a:srgbClr val="A8053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493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C92DBAB-DDB7-4B32-934A-8346BC6BA2B8}" type="datetimeFigureOut">
              <a:rPr lang="en-US" smtClean="0"/>
              <a:t>5/18/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9018C77-8156-4F3C-9744-61D693F70181}" type="slidenum">
              <a:rPr lang="en-US" smtClean="0"/>
              <a:t>‹#›</a:t>
            </a:fld>
            <a:endParaRPr lang="en-US"/>
          </a:p>
        </p:txBody>
      </p:sp>
    </p:spTree>
    <p:extLst>
      <p:ext uri="{BB962C8B-B14F-4D97-AF65-F5344CB8AC3E}">
        <p14:creationId xmlns:p14="http://schemas.microsoft.com/office/powerpoint/2010/main" val="397013171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52"/>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Quattrocento Sans"/>
              <a:buNone/>
              <a:defRPr sz="4400" b="0" i="0" u="none" strike="noStrike" cap="none">
                <a:solidFill>
                  <a:schemeClr val="dk1"/>
                </a:solidFill>
                <a:latin typeface="Quattrocento Sans"/>
                <a:ea typeface="Quattrocento Sans"/>
                <a:cs typeface="Quattrocento Sans"/>
                <a:sym typeface="Quattrocento Sans"/>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52"/>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Quattrocento Sans"/>
                <a:ea typeface="Quattrocento Sans"/>
                <a:cs typeface="Quattrocento Sans"/>
                <a:sym typeface="Quattrocento Sans"/>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Quattrocento Sans"/>
                <a:ea typeface="Quattrocento Sans"/>
                <a:cs typeface="Quattrocento Sans"/>
                <a:sym typeface="Quattrocento Sans"/>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Quattrocento Sans"/>
                <a:ea typeface="Quattrocento Sans"/>
                <a:cs typeface="Quattrocento Sans"/>
                <a:sym typeface="Quattrocento Sans"/>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Quattrocento Sans"/>
                <a:ea typeface="Quattrocento Sans"/>
                <a:cs typeface="Quattrocento Sans"/>
                <a:sym typeface="Quattrocento Sans"/>
              </a:defRPr>
            </a:lvl9pPr>
          </a:lstStyle>
          <a:p>
            <a:endParaRPr/>
          </a:p>
        </p:txBody>
      </p:sp>
      <p:sp>
        <p:nvSpPr>
          <p:cNvPr id="12" name="Google Shape;12;p52"/>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989898"/>
                </a:solidFill>
                <a:latin typeface="Quattrocento Sans"/>
                <a:ea typeface="Quattrocento Sans"/>
                <a:cs typeface="Quattrocento Sans"/>
                <a:sym typeface="Quattrocento Sans"/>
              </a:defRPr>
            </a:lvl1pPr>
            <a:lvl2pPr marR="0" lvl="1"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2pPr>
            <a:lvl3pPr marR="0" lvl="2"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3pPr>
            <a:lvl4pPr marR="0" lvl="3"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4pPr>
            <a:lvl5pPr marR="0" lvl="4"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5pPr>
            <a:lvl6pPr marR="0" lvl="5"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6pPr>
            <a:lvl7pPr marR="0" lvl="6"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7pPr>
            <a:lvl8pPr marR="0" lvl="7"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8pPr>
            <a:lvl9pPr marR="0" lvl="8"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9pPr>
          </a:lstStyle>
          <a:p>
            <a:endParaRPr/>
          </a:p>
        </p:txBody>
      </p:sp>
      <p:sp>
        <p:nvSpPr>
          <p:cNvPr id="13" name="Google Shape;13;p52"/>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989898"/>
                </a:solidFill>
                <a:latin typeface="Quattrocento Sans"/>
                <a:ea typeface="Quattrocento Sans"/>
                <a:cs typeface="Quattrocento Sans"/>
                <a:sym typeface="Quattrocento Sans"/>
              </a:defRPr>
            </a:lvl1pPr>
            <a:lvl2pPr marR="0" lvl="1"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2pPr>
            <a:lvl3pPr marR="0" lvl="2"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3pPr>
            <a:lvl4pPr marR="0" lvl="3"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4pPr>
            <a:lvl5pPr marR="0" lvl="4"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5pPr>
            <a:lvl6pPr marR="0" lvl="5"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6pPr>
            <a:lvl7pPr marR="0" lvl="6"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7pPr>
            <a:lvl8pPr marR="0" lvl="7"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8pPr>
            <a:lvl9pPr marR="0" lvl="8" algn="l" rtl="0">
              <a:spcBef>
                <a:spcPts val="0"/>
              </a:spcBef>
              <a:spcAft>
                <a:spcPts val="0"/>
              </a:spcAft>
              <a:buSzPts val="1400"/>
              <a:buNone/>
              <a:defRPr sz="1800" b="0" i="0" u="none" strike="noStrike" cap="none">
                <a:solidFill>
                  <a:schemeClr val="dk1"/>
                </a:solidFill>
                <a:latin typeface="Quattrocento Sans"/>
                <a:ea typeface="Quattrocento Sans"/>
                <a:cs typeface="Quattrocento Sans"/>
                <a:sym typeface="Quattrocento Sans"/>
              </a:defRPr>
            </a:lvl9pPr>
          </a:lstStyle>
          <a:p>
            <a:endParaRPr/>
          </a:p>
        </p:txBody>
      </p:sp>
      <p:sp>
        <p:nvSpPr>
          <p:cNvPr id="14" name="Google Shape;14;p52"/>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989898"/>
                </a:solidFill>
                <a:latin typeface="Quattrocento Sans"/>
                <a:ea typeface="Quattrocento Sans"/>
                <a:cs typeface="Quattrocento Sans"/>
                <a:sym typeface="Quattrocento Sans"/>
              </a:defRPr>
            </a:lvl1pPr>
            <a:lvl2pPr marL="0" marR="0" lvl="1" indent="0" algn="r" rtl="0">
              <a:spcBef>
                <a:spcPts val="0"/>
              </a:spcBef>
              <a:buNone/>
              <a:defRPr sz="1200" b="0" i="0" u="none" strike="noStrike" cap="none">
                <a:solidFill>
                  <a:srgbClr val="989898"/>
                </a:solidFill>
                <a:latin typeface="Quattrocento Sans"/>
                <a:ea typeface="Quattrocento Sans"/>
                <a:cs typeface="Quattrocento Sans"/>
                <a:sym typeface="Quattrocento Sans"/>
              </a:defRPr>
            </a:lvl2pPr>
            <a:lvl3pPr marL="0" marR="0" lvl="2" indent="0" algn="r" rtl="0">
              <a:spcBef>
                <a:spcPts val="0"/>
              </a:spcBef>
              <a:buNone/>
              <a:defRPr sz="1200" b="0" i="0" u="none" strike="noStrike" cap="none">
                <a:solidFill>
                  <a:srgbClr val="989898"/>
                </a:solidFill>
                <a:latin typeface="Quattrocento Sans"/>
                <a:ea typeface="Quattrocento Sans"/>
                <a:cs typeface="Quattrocento Sans"/>
                <a:sym typeface="Quattrocento Sans"/>
              </a:defRPr>
            </a:lvl3pPr>
            <a:lvl4pPr marL="0" marR="0" lvl="3" indent="0" algn="r" rtl="0">
              <a:spcBef>
                <a:spcPts val="0"/>
              </a:spcBef>
              <a:buNone/>
              <a:defRPr sz="1200" b="0" i="0" u="none" strike="noStrike" cap="none">
                <a:solidFill>
                  <a:srgbClr val="989898"/>
                </a:solidFill>
                <a:latin typeface="Quattrocento Sans"/>
                <a:ea typeface="Quattrocento Sans"/>
                <a:cs typeface="Quattrocento Sans"/>
                <a:sym typeface="Quattrocento Sans"/>
              </a:defRPr>
            </a:lvl4pPr>
            <a:lvl5pPr marL="0" marR="0" lvl="4" indent="0" algn="r" rtl="0">
              <a:spcBef>
                <a:spcPts val="0"/>
              </a:spcBef>
              <a:buNone/>
              <a:defRPr sz="1200" b="0" i="0" u="none" strike="noStrike" cap="none">
                <a:solidFill>
                  <a:srgbClr val="989898"/>
                </a:solidFill>
                <a:latin typeface="Quattrocento Sans"/>
                <a:ea typeface="Quattrocento Sans"/>
                <a:cs typeface="Quattrocento Sans"/>
                <a:sym typeface="Quattrocento Sans"/>
              </a:defRPr>
            </a:lvl5pPr>
            <a:lvl6pPr marL="0" marR="0" lvl="5" indent="0" algn="r" rtl="0">
              <a:spcBef>
                <a:spcPts val="0"/>
              </a:spcBef>
              <a:buNone/>
              <a:defRPr sz="1200" b="0" i="0" u="none" strike="noStrike" cap="none">
                <a:solidFill>
                  <a:srgbClr val="989898"/>
                </a:solidFill>
                <a:latin typeface="Quattrocento Sans"/>
                <a:ea typeface="Quattrocento Sans"/>
                <a:cs typeface="Quattrocento Sans"/>
                <a:sym typeface="Quattrocento Sans"/>
              </a:defRPr>
            </a:lvl6pPr>
            <a:lvl7pPr marL="0" marR="0" lvl="6" indent="0" algn="r" rtl="0">
              <a:spcBef>
                <a:spcPts val="0"/>
              </a:spcBef>
              <a:buNone/>
              <a:defRPr sz="1200" b="0" i="0" u="none" strike="noStrike" cap="none">
                <a:solidFill>
                  <a:srgbClr val="989898"/>
                </a:solidFill>
                <a:latin typeface="Quattrocento Sans"/>
                <a:ea typeface="Quattrocento Sans"/>
                <a:cs typeface="Quattrocento Sans"/>
                <a:sym typeface="Quattrocento Sans"/>
              </a:defRPr>
            </a:lvl7pPr>
            <a:lvl8pPr marL="0" marR="0" lvl="7" indent="0" algn="r" rtl="0">
              <a:spcBef>
                <a:spcPts val="0"/>
              </a:spcBef>
              <a:buNone/>
              <a:defRPr sz="1200" b="0" i="0" u="none" strike="noStrike" cap="none">
                <a:solidFill>
                  <a:srgbClr val="989898"/>
                </a:solidFill>
                <a:latin typeface="Quattrocento Sans"/>
                <a:ea typeface="Quattrocento Sans"/>
                <a:cs typeface="Quattrocento Sans"/>
                <a:sym typeface="Quattrocento Sans"/>
              </a:defRPr>
            </a:lvl8pPr>
            <a:lvl9pPr marL="0" marR="0" lvl="8" indent="0" algn="r" rtl="0">
              <a:spcBef>
                <a:spcPts val="0"/>
              </a:spcBef>
              <a:buNone/>
              <a:defRPr sz="1200" b="0" i="0" u="none" strike="noStrike" cap="none">
                <a:solidFill>
                  <a:srgbClr val="989898"/>
                </a:solidFill>
                <a:latin typeface="Quattrocento Sans"/>
                <a:ea typeface="Quattrocento Sans"/>
                <a:cs typeface="Quattrocento Sans"/>
                <a:sym typeface="Quattrocento Sans"/>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2625966092"/>
      </p:ext>
    </p:extLst>
  </p:cSld>
  <p:clrMap bg1="lt1" tx1="dk1" bg2="dk2" tx2="lt2" accent1="accent1" accent2="accent2" accent3="accent3" accent4="accent4" accent5="accent5" accent6="accent6" hlink="hlink" folHlink="folHlink"/>
  <p:sldLayoutIdLst>
    <p:sldLayoutId id="2147483719" r:id="rId1"/>
    <p:sldLayoutId id="2147483694" r:id="rId2"/>
    <p:sldLayoutId id="2147483721" r:id="rId3"/>
    <p:sldLayoutId id="2147483717" r:id="rId4"/>
    <p:sldLayoutId id="2147483720" r:id="rId5"/>
    <p:sldLayoutId id="2147483718" r:id="rId6"/>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10" Type="http://schemas.openxmlformats.org/officeDocument/2006/relationships/slideLayout" Target="../slideLayouts/slideLayout2.xml"/><Relationship Id="rId4" Type="http://schemas.openxmlformats.org/officeDocument/2006/relationships/tags" Target="../tags/tag4.xml"/><Relationship Id="rId9" Type="http://schemas.openxmlformats.org/officeDocument/2006/relationships/tags" Target="../tags/tag9.xml"/></Relationships>
</file>

<file path=ppt/slides/_rels/slide28.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sv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svg"/><Relationship Id="rId4" Type="http://schemas.openxmlformats.org/officeDocument/2006/relationships/image" Target="../media/image23.png"/></Relationships>
</file>

<file path=ppt/slides/_rels/slide29.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svg"/></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55.png"/><Relationship Id="rId2" Type="http://schemas.microsoft.com/office/2014/relationships/chartEx" Target="../charts/chartEx1.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B92A55C0-12DF-48E8-B7E5-31BFDD761913}"/>
              </a:ext>
            </a:extLst>
          </p:cNvPr>
          <p:cNvSpPr txBox="1"/>
          <p:nvPr/>
        </p:nvSpPr>
        <p:spPr>
          <a:xfrm>
            <a:off x="459558" y="1795923"/>
            <a:ext cx="11295562" cy="1569660"/>
          </a:xfrm>
          <a:prstGeom prst="rect">
            <a:avLst/>
          </a:prstGeom>
          <a:noFill/>
        </p:spPr>
        <p:txBody>
          <a:bodyPr wrap="square" lIns="91440" tIns="45720" rIns="91440" bIns="45720" rtlCol="0" anchor="t">
            <a:spAutoFit/>
          </a:bodyPr>
          <a:lstStyle/>
          <a:p>
            <a:pPr algn="ctr"/>
            <a:r>
              <a:rPr lang="en-US" sz="4800" b="1" dirty="0">
                <a:cs typeface="Segoe UI Semilight"/>
              </a:rPr>
              <a:t>Site Selection and Workforce Development Strategies</a:t>
            </a:r>
          </a:p>
        </p:txBody>
      </p:sp>
      <p:sp>
        <p:nvSpPr>
          <p:cNvPr id="2" name="Rectangle 1">
            <a:extLst>
              <a:ext uri="{FF2B5EF4-FFF2-40B4-BE49-F238E27FC236}">
                <a16:creationId xmlns:a16="http://schemas.microsoft.com/office/drawing/2014/main" id="{3EC85391-B6B0-4168-A071-04B6324A502E}"/>
              </a:ext>
            </a:extLst>
          </p:cNvPr>
          <p:cNvSpPr/>
          <p:nvPr/>
        </p:nvSpPr>
        <p:spPr>
          <a:xfrm>
            <a:off x="0" y="4554245"/>
            <a:ext cx="12191999" cy="230375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07F4F691-5C2B-42E7-A120-B186E6B81DDD}"/>
              </a:ext>
            </a:extLst>
          </p:cNvPr>
          <p:cNvPicPr>
            <a:picLocks noChangeAspect="1"/>
          </p:cNvPicPr>
          <p:nvPr/>
        </p:nvPicPr>
        <p:blipFill rotWithShape="1">
          <a:blip r:embed="rId2" cstate="hqprint">
            <a:extLst>
              <a:ext uri="{28A0092B-C50C-407E-A947-70E740481C1C}">
                <a14:useLocalDpi xmlns:a14="http://schemas.microsoft.com/office/drawing/2010/main" val="0"/>
              </a:ext>
            </a:extLst>
          </a:blip>
          <a:srcRect r="24628" b="73847"/>
          <a:stretch/>
        </p:blipFill>
        <p:spPr>
          <a:xfrm>
            <a:off x="459558" y="6442619"/>
            <a:ext cx="2712902" cy="313781"/>
          </a:xfrm>
          <a:prstGeom prst="rect">
            <a:avLst/>
          </a:prstGeom>
        </p:spPr>
      </p:pic>
      <p:sp>
        <p:nvSpPr>
          <p:cNvPr id="9" name="TextBox 8">
            <a:extLst>
              <a:ext uri="{FF2B5EF4-FFF2-40B4-BE49-F238E27FC236}">
                <a16:creationId xmlns:a16="http://schemas.microsoft.com/office/drawing/2014/main" id="{972318B3-EA50-47FE-B4A8-8A719C31EAB6}"/>
              </a:ext>
            </a:extLst>
          </p:cNvPr>
          <p:cNvSpPr txBox="1"/>
          <p:nvPr/>
        </p:nvSpPr>
        <p:spPr>
          <a:xfrm>
            <a:off x="2892750" y="5382956"/>
            <a:ext cx="6406498" cy="954107"/>
          </a:xfrm>
          <a:prstGeom prst="rect">
            <a:avLst/>
          </a:prstGeom>
          <a:noFill/>
        </p:spPr>
        <p:txBody>
          <a:bodyPr wrap="square" lIns="91440" tIns="45720" rIns="91440" bIns="45720" rtlCol="0" anchor="t">
            <a:spAutoFit/>
          </a:bodyPr>
          <a:lstStyle/>
          <a:p>
            <a:pPr algn="ctr"/>
            <a:r>
              <a:rPr lang="en-US" sz="3600" dirty="0">
                <a:solidFill>
                  <a:schemeClr val="bg1"/>
                </a:solidFill>
                <a:latin typeface="Segoe UI Light"/>
                <a:cs typeface="Segoe UI Light"/>
              </a:rPr>
              <a:t>Regional Economic Models, Inc.</a:t>
            </a:r>
          </a:p>
          <a:p>
            <a:pPr algn="ctr"/>
            <a:r>
              <a:rPr lang="en-US" sz="2000" dirty="0">
                <a:solidFill>
                  <a:schemeClr val="bg1"/>
                </a:solidFill>
                <a:latin typeface="Segoe UI Light"/>
                <a:cs typeface="Segoe UI Light"/>
              </a:rPr>
              <a:t>Name, Title</a:t>
            </a:r>
            <a:endParaRPr lang="en-US" dirty="0"/>
          </a:p>
        </p:txBody>
      </p:sp>
    </p:spTree>
    <p:extLst>
      <p:ext uri="{BB962C8B-B14F-4D97-AF65-F5344CB8AC3E}">
        <p14:creationId xmlns:p14="http://schemas.microsoft.com/office/powerpoint/2010/main" val="36555810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2B815E8-1DF7-4D36-B0C2-F0A0B51D7E2E}"/>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2800" kern="0" dirty="0">
                <a:solidFill>
                  <a:srgbClr val="000000"/>
                </a:solidFill>
                <a:latin typeface="Segoe UI Semibold"/>
                <a:cs typeface="Segoe UI Semibold"/>
                <a:sym typeface="Quattrocento Sans"/>
              </a:rPr>
              <a:t>Proterra's Workforce Development Strategy</a:t>
            </a:r>
            <a:endParaRPr lang="en-US" dirty="0"/>
          </a:p>
        </p:txBody>
      </p:sp>
      <p:sp>
        <p:nvSpPr>
          <p:cNvPr id="9" name="TextBox 8">
            <a:extLst>
              <a:ext uri="{FF2B5EF4-FFF2-40B4-BE49-F238E27FC236}">
                <a16:creationId xmlns:a16="http://schemas.microsoft.com/office/drawing/2014/main" id="{05309671-7FB5-FC47-4A51-5D71E472AB38}"/>
              </a:ext>
            </a:extLst>
          </p:cNvPr>
          <p:cNvSpPr txBox="1"/>
          <p:nvPr/>
        </p:nvSpPr>
        <p:spPr>
          <a:xfrm>
            <a:off x="844216" y="1315453"/>
            <a:ext cx="10293014"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Arial"/>
              <a:buChar char="•"/>
            </a:pPr>
            <a:r>
              <a:rPr lang="en-US" sz="2400" dirty="0">
                <a:latin typeface="Segoe UI Semilight"/>
                <a:cs typeface="Arial"/>
              </a:rPr>
              <a:t>Working alongside United Steelworkers to create proper training for a highly skilled clean energy workforce.</a:t>
            </a:r>
            <a:endParaRPr lang="en-US" dirty="0">
              <a:latin typeface="Segoe UI Semilight"/>
              <a:cs typeface="Segoe UI Semilight"/>
            </a:endParaRPr>
          </a:p>
          <a:p>
            <a:pPr lvl="1">
              <a:buFont typeface="Arial"/>
              <a:buChar char="•"/>
            </a:pPr>
            <a:r>
              <a:rPr lang="en-US" dirty="0">
                <a:cs typeface="Segoe UI Semilight"/>
              </a:rPr>
              <a:t>Worker representation is key to operations and decision making</a:t>
            </a:r>
          </a:p>
          <a:p>
            <a:pPr>
              <a:buChar char="•"/>
            </a:pPr>
            <a:endParaRPr lang="en-US" sz="2400">
              <a:latin typeface="Segoe UI Semilight"/>
              <a:ea typeface="Arial"/>
              <a:cs typeface="Arial"/>
            </a:endParaRPr>
          </a:p>
          <a:p>
            <a:pPr>
              <a:buFont typeface="Arial"/>
              <a:buChar char="•"/>
            </a:pPr>
            <a:r>
              <a:rPr lang="en-US" sz="2400" dirty="0">
                <a:cs typeface="Arial"/>
              </a:rPr>
              <a:t>The Electric Bus Manufacturing Technology training program</a:t>
            </a:r>
          </a:p>
          <a:p>
            <a:pPr lvl="1">
              <a:buFont typeface="Arial"/>
              <a:buChar char="•"/>
            </a:pPr>
            <a:r>
              <a:rPr lang="en-US" sz="2400" dirty="0">
                <a:latin typeface="Segoe UI Semilight"/>
                <a:ea typeface="Arial"/>
                <a:cs typeface="Arial"/>
              </a:rPr>
              <a:t>Focused on advancing diversity and inclusion</a:t>
            </a:r>
          </a:p>
          <a:p>
            <a:pPr lvl="1">
              <a:buFont typeface="Arial"/>
              <a:buChar char="•"/>
            </a:pPr>
            <a:r>
              <a:rPr lang="en-US" sz="2400" dirty="0">
                <a:latin typeface="Segoe UI Semilight"/>
                <a:ea typeface="Arial"/>
                <a:cs typeface="Arial"/>
              </a:rPr>
              <a:t>Giving opportunities to underprivileged communities to obtain high skilled jobs</a:t>
            </a:r>
          </a:p>
          <a:p>
            <a:pPr>
              <a:buChar char="•"/>
            </a:pPr>
            <a:endParaRPr lang="en-US" sz="2400">
              <a:latin typeface="Segoe UI Semilight"/>
              <a:ea typeface="Arial"/>
              <a:cs typeface="Arial"/>
            </a:endParaRPr>
          </a:p>
          <a:p>
            <a:pPr>
              <a:buFont typeface="Arial"/>
              <a:buChar char="•"/>
            </a:pPr>
            <a:r>
              <a:rPr lang="en-US" sz="2400" dirty="0">
                <a:latin typeface="Segoe UI Semilight"/>
                <a:cs typeface="Arial"/>
              </a:rPr>
              <a:t>The belief that the collaboration between workers and businesses is crucial to decrease carbon emissions</a:t>
            </a:r>
            <a:endParaRPr lang="en-US" sz="2400" dirty="0">
              <a:cs typeface="Arial"/>
            </a:endParaRPr>
          </a:p>
          <a:p>
            <a:pPr>
              <a:buChar char="•"/>
            </a:pPr>
            <a:endParaRPr lang="en-US" sz="2400">
              <a:latin typeface="Segoe UI Semilight"/>
              <a:ea typeface="Arial"/>
              <a:cs typeface="Arial"/>
            </a:endParaRPr>
          </a:p>
          <a:p>
            <a:pPr lvl="0" rtl="0"/>
            <a:endParaRPr lang="en-US" sz="2400" dirty="0">
              <a:cs typeface="Arial"/>
            </a:endParaRPr>
          </a:p>
        </p:txBody>
      </p:sp>
    </p:spTree>
    <p:extLst>
      <p:ext uri="{BB962C8B-B14F-4D97-AF65-F5344CB8AC3E}">
        <p14:creationId xmlns:p14="http://schemas.microsoft.com/office/powerpoint/2010/main" val="30293572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F6477E6-8090-4F20-9C11-DD7E47562FD2}"/>
              </a:ext>
            </a:extLst>
          </p:cNvPr>
          <p:cNvSpPr/>
          <p:nvPr/>
        </p:nvSpPr>
        <p:spPr>
          <a:xfrm>
            <a:off x="1285575" y="1499735"/>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chemeClr val="tx1"/>
                </a:solidFill>
                <a:latin typeface="Segoe UI Light" panose="020B0502040204020203" pitchFamily="34" charset="0"/>
                <a:cs typeface="Segoe UI Light" panose="020B0502040204020203" pitchFamily="34" charset="0"/>
              </a:rPr>
              <a:t>Introduction</a:t>
            </a:r>
          </a:p>
        </p:txBody>
      </p:sp>
      <p:sp>
        <p:nvSpPr>
          <p:cNvPr id="17" name="Rectangle 16">
            <a:extLst>
              <a:ext uri="{FF2B5EF4-FFF2-40B4-BE49-F238E27FC236}">
                <a16:creationId xmlns:a16="http://schemas.microsoft.com/office/drawing/2014/main" id="{F4D087CE-A955-4B14-A81B-7525861FAED4}"/>
              </a:ext>
            </a:extLst>
          </p:cNvPr>
          <p:cNvSpPr/>
          <p:nvPr/>
        </p:nvSpPr>
        <p:spPr>
          <a:xfrm>
            <a:off x="1285575" y="2824615"/>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dirty="0">
                <a:solidFill>
                  <a:srgbClr val="000000"/>
                </a:solidFill>
                <a:latin typeface="Segoe UI Light"/>
                <a:cs typeface="Segoe UI Light"/>
              </a:rPr>
              <a:t>Proterra</a:t>
            </a:r>
            <a:endParaRPr lang="en-US" dirty="0"/>
          </a:p>
        </p:txBody>
      </p:sp>
      <p:sp>
        <p:nvSpPr>
          <p:cNvPr id="19" name="Rectangle 18">
            <a:extLst>
              <a:ext uri="{FF2B5EF4-FFF2-40B4-BE49-F238E27FC236}">
                <a16:creationId xmlns:a16="http://schemas.microsoft.com/office/drawing/2014/main" id="{16E5DDE6-FD6D-41D1-8A4E-D02F0FF4F673}"/>
              </a:ext>
            </a:extLst>
          </p:cNvPr>
          <p:cNvSpPr/>
          <p:nvPr/>
        </p:nvSpPr>
        <p:spPr>
          <a:xfrm>
            <a:off x="1285575" y="2173411"/>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Topic overview</a:t>
            </a:r>
          </a:p>
        </p:txBody>
      </p:sp>
      <p:sp>
        <p:nvSpPr>
          <p:cNvPr id="20" name="Rectangle 19">
            <a:extLst>
              <a:ext uri="{FF2B5EF4-FFF2-40B4-BE49-F238E27FC236}">
                <a16:creationId xmlns:a16="http://schemas.microsoft.com/office/drawing/2014/main" id="{54B5C667-19A2-454C-8D82-1F484DC682EF}"/>
              </a:ext>
            </a:extLst>
          </p:cNvPr>
          <p:cNvSpPr/>
          <p:nvPr/>
        </p:nvSpPr>
        <p:spPr>
          <a:xfrm>
            <a:off x="1285575" y="3498291"/>
            <a:ext cx="5282421" cy="460793"/>
          </a:xfrm>
          <a:prstGeom prst="rect">
            <a:avLst/>
          </a:prstGeom>
          <a:solidFill>
            <a:srgbClr val="A8053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a:solidFill>
                  <a:schemeClr val="bg1"/>
                </a:solidFill>
                <a:latin typeface="Segoe UI Light" panose="020B0502040204020203" pitchFamily="34" charset="0"/>
                <a:cs typeface="Segoe UI Light" panose="020B0502040204020203" pitchFamily="34" charset="0"/>
              </a:rPr>
              <a:t>Live Model Demo &amp; Notable Results</a:t>
            </a:r>
          </a:p>
        </p:txBody>
      </p:sp>
      <p:sp>
        <p:nvSpPr>
          <p:cNvPr id="21" name="Rectangle 20">
            <a:extLst>
              <a:ext uri="{FF2B5EF4-FFF2-40B4-BE49-F238E27FC236}">
                <a16:creationId xmlns:a16="http://schemas.microsoft.com/office/drawing/2014/main" id="{B7301DAF-868E-4B07-A172-0091653222F8}"/>
              </a:ext>
            </a:extLst>
          </p:cNvPr>
          <p:cNvSpPr/>
          <p:nvPr/>
        </p:nvSpPr>
        <p:spPr>
          <a:xfrm>
            <a:off x="1285574" y="4171967"/>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Conclusion</a:t>
            </a:r>
          </a:p>
        </p:txBody>
      </p:sp>
      <p:sp>
        <p:nvSpPr>
          <p:cNvPr id="22" name="Rectangle 21">
            <a:extLst>
              <a:ext uri="{FF2B5EF4-FFF2-40B4-BE49-F238E27FC236}">
                <a16:creationId xmlns:a16="http://schemas.microsoft.com/office/drawing/2014/main" id="{483437C9-65F5-40C4-8409-5546DCBF69B8}"/>
              </a:ext>
            </a:extLst>
          </p:cNvPr>
          <p:cNvSpPr/>
          <p:nvPr/>
        </p:nvSpPr>
        <p:spPr>
          <a:xfrm>
            <a:off x="1285573" y="4845643"/>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Q&amp;A</a:t>
            </a:r>
          </a:p>
        </p:txBody>
      </p:sp>
      <p:sp>
        <p:nvSpPr>
          <p:cNvPr id="13" name="TextBox 12">
            <a:extLst>
              <a:ext uri="{FF2B5EF4-FFF2-40B4-BE49-F238E27FC236}">
                <a16:creationId xmlns:a16="http://schemas.microsoft.com/office/drawing/2014/main" id="{9A3EE8DF-0A97-4B80-B573-A9C4BF5A37C8}"/>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genda</a:t>
            </a:r>
          </a:p>
        </p:txBody>
      </p:sp>
    </p:spTree>
    <p:extLst>
      <p:ext uri="{BB962C8B-B14F-4D97-AF65-F5344CB8AC3E}">
        <p14:creationId xmlns:p14="http://schemas.microsoft.com/office/powerpoint/2010/main" val="2137134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931D0C8-3BCC-4894-854B-E1DFBE8F8731}"/>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Model Simulation: REMI PI</a:t>
            </a:r>
            <a:r>
              <a:rPr lang="en-US" sz="2800" baseline="300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t>
            </a:r>
          </a:p>
        </p:txBody>
      </p:sp>
      <p:sp>
        <p:nvSpPr>
          <p:cNvPr id="2" name="Rectangle 1"/>
          <p:cNvSpPr/>
          <p:nvPr/>
        </p:nvSpPr>
        <p:spPr>
          <a:xfrm>
            <a:off x="440536" y="2601833"/>
            <a:ext cx="4888846" cy="2554545"/>
          </a:xfrm>
          <a:prstGeom prst="rect">
            <a:avLst/>
          </a:prstGeom>
        </p:spPr>
        <p:txBody>
          <a:bodyPr wrap="square">
            <a:spAutoFit/>
          </a:bodyPr>
          <a:lstStyle/>
          <a:p>
            <a:r>
              <a:rPr lang="en-US" sz="2000"/>
              <a:t>PI</a:t>
            </a:r>
            <a:r>
              <a:rPr lang="en-US" sz="2000" baseline="30000"/>
              <a:t>+</a:t>
            </a:r>
            <a:r>
              <a:rPr lang="en-US" sz="2000"/>
              <a:t> is the premier software solution for conducting dynamic macroeconomic impact analysis of public policy. </a:t>
            </a:r>
          </a:p>
          <a:p>
            <a:endParaRPr lang="en-US" sz="2000"/>
          </a:p>
          <a:p>
            <a:r>
              <a:rPr lang="en-US" sz="2000"/>
              <a:t>As our flagship model, PI</a:t>
            </a:r>
            <a:r>
              <a:rPr lang="en-US" sz="2000" baseline="30000"/>
              <a:t>+</a:t>
            </a:r>
            <a:r>
              <a:rPr lang="en-US" sz="2000"/>
              <a:t> specializes in generating realistic year-by-year estimates of the total local, state, and national effects </a:t>
            </a:r>
          </a:p>
          <a:p>
            <a:r>
              <a:rPr lang="en-US" sz="2000"/>
              <a:t>of any specific policy initiative.</a:t>
            </a:r>
          </a:p>
        </p:txBody>
      </p:sp>
      <p:sp>
        <p:nvSpPr>
          <p:cNvPr id="4" name="AutoShape 2"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4" y="-144463"/>
            <a:ext cx="2844511" cy="284452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5594" y="1125372"/>
            <a:ext cx="2122333" cy="1196804"/>
          </a:xfrm>
          <a:prstGeom prst="rect">
            <a:avLst/>
          </a:prstGeom>
        </p:spPr>
      </p:pic>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57194" y="1575603"/>
            <a:ext cx="6103192" cy="4418798"/>
          </a:xfrm>
          <a:prstGeom prst="rect">
            <a:avLst/>
          </a:prstGeom>
        </p:spPr>
      </p:pic>
    </p:spTree>
    <p:extLst>
      <p:ext uri="{BB962C8B-B14F-4D97-AF65-F5344CB8AC3E}">
        <p14:creationId xmlns:p14="http://schemas.microsoft.com/office/powerpoint/2010/main" val="40450774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530;ga90b81d70d_0_0">
            <a:extLst>
              <a:ext uri="{FF2B5EF4-FFF2-40B4-BE49-F238E27FC236}">
                <a16:creationId xmlns:a16="http://schemas.microsoft.com/office/drawing/2014/main" id="{053FADAE-B100-43A3-909F-19DBCD8D6DF2}"/>
              </a:ext>
            </a:extLst>
          </p:cNvPr>
          <p:cNvSpPr/>
          <p:nvPr/>
        </p:nvSpPr>
        <p:spPr>
          <a:xfrm rot="16200000">
            <a:off x="8743743" y="3727364"/>
            <a:ext cx="4045575" cy="110025"/>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Quattrocento Sans"/>
              <a:ea typeface="Quattrocento Sans"/>
              <a:cs typeface="Quattrocento Sans"/>
              <a:sym typeface="Quattrocento Sans"/>
            </a:endParaRPr>
          </a:p>
        </p:txBody>
      </p:sp>
      <p:sp>
        <p:nvSpPr>
          <p:cNvPr id="7" name="Google Shape;532;ga90b81d70d_0_0">
            <a:extLst>
              <a:ext uri="{FF2B5EF4-FFF2-40B4-BE49-F238E27FC236}">
                <a16:creationId xmlns:a16="http://schemas.microsoft.com/office/drawing/2014/main" id="{C73BAEE8-B3B3-4417-9C70-A61223047EE1}"/>
              </a:ext>
            </a:extLst>
          </p:cNvPr>
          <p:cNvSpPr/>
          <p:nvPr/>
        </p:nvSpPr>
        <p:spPr>
          <a:xfrm rot="16200000">
            <a:off x="-586776" y="3723798"/>
            <a:ext cx="4040475" cy="112125"/>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Quattrocento Sans"/>
              <a:ea typeface="Quattrocento Sans"/>
              <a:cs typeface="Quattrocento Sans"/>
              <a:sym typeface="Quattrocento Sans"/>
            </a:endParaRPr>
          </a:p>
        </p:txBody>
      </p:sp>
      <p:sp>
        <p:nvSpPr>
          <p:cNvPr id="10" name="Google Shape;539;ga90b81d70d_0_0">
            <a:extLst>
              <a:ext uri="{FF2B5EF4-FFF2-40B4-BE49-F238E27FC236}">
                <a16:creationId xmlns:a16="http://schemas.microsoft.com/office/drawing/2014/main" id="{7FE5A42F-FF8D-4F8E-96C2-5C9B5799F9AD}"/>
              </a:ext>
            </a:extLst>
          </p:cNvPr>
          <p:cNvSpPr txBox="1"/>
          <p:nvPr/>
        </p:nvSpPr>
        <p:spPr>
          <a:xfrm>
            <a:off x="2487788" y="1904115"/>
            <a:ext cx="2259900" cy="188325"/>
          </a:xfrm>
          <a:prstGeom prst="rect">
            <a:avLst/>
          </a:prstGeom>
          <a:noFill/>
          <a:ln>
            <a:noFill/>
          </a:ln>
        </p:spPr>
        <p:txBody>
          <a:bodyPr spcFirstLastPara="1" wrap="square" lIns="91425" tIns="45700" rIns="91425" bIns="45700" anchor="t" anchorCtr="0">
            <a:noAutofit/>
          </a:bodyPr>
          <a:lstStyle/>
          <a:p>
            <a:pPr algn="ctr"/>
            <a:r>
              <a:rPr lang="en-US" b="1">
                <a:solidFill>
                  <a:schemeClr val="lt1"/>
                </a:solidFill>
                <a:latin typeface="Segoe UI Semibold"/>
                <a:cs typeface="Segoe UI Semibold"/>
              </a:rPr>
              <a:t>Expected Benefits</a:t>
            </a:r>
            <a:endParaRPr lang="en-US" b="1">
              <a:solidFill>
                <a:schemeClr val="lt1"/>
              </a:solidFill>
              <a:latin typeface="Segoe UI Semibold" panose="020B0702040204020203" pitchFamily="34" charset="0"/>
              <a:cs typeface="Segoe UI Semibold" panose="020B0702040204020203" pitchFamily="34" charset="0"/>
            </a:endParaRPr>
          </a:p>
        </p:txBody>
      </p:sp>
      <p:sp>
        <p:nvSpPr>
          <p:cNvPr id="12" name="Google Shape;541;ga90b81d70d_0_0">
            <a:extLst>
              <a:ext uri="{FF2B5EF4-FFF2-40B4-BE49-F238E27FC236}">
                <a16:creationId xmlns:a16="http://schemas.microsoft.com/office/drawing/2014/main" id="{9805AA5D-E1ED-4B26-97FA-778A03103E2C}"/>
              </a:ext>
            </a:extLst>
          </p:cNvPr>
          <p:cNvSpPr txBox="1"/>
          <p:nvPr/>
        </p:nvSpPr>
        <p:spPr>
          <a:xfrm>
            <a:off x="1788590" y="1805188"/>
            <a:ext cx="8613345" cy="2191575"/>
          </a:xfrm>
          <a:prstGeom prst="rect">
            <a:avLst/>
          </a:prstGeom>
          <a:noFill/>
          <a:ln>
            <a:noFill/>
          </a:ln>
        </p:spPr>
        <p:txBody>
          <a:bodyPr spcFirstLastPara="1" wrap="square" lIns="0" tIns="0" rIns="0" bIns="0" anchor="t" anchorCtr="0">
            <a:noAutofit/>
          </a:bodyPr>
          <a:lstStyle/>
          <a:p>
            <a:pPr marL="285750" indent="-285750">
              <a:spcAft>
                <a:spcPts val="600"/>
              </a:spcAft>
              <a:buFont typeface="Arial"/>
              <a:buChar char="•"/>
              <a:defRPr/>
            </a:pPr>
            <a:r>
              <a:rPr lang="en-US">
                <a:ea typeface="+mn-lt"/>
                <a:cs typeface="+mn-lt"/>
              </a:rPr>
              <a:t>Text</a:t>
            </a:r>
            <a:endParaRPr lang="en-US">
              <a:solidFill>
                <a:srgbClr val="000000"/>
              </a:solidFill>
              <a:latin typeface="Segoe UI Semilight"/>
              <a:ea typeface="Quattrocento Sans"/>
              <a:cs typeface="Segoe UI Semilight"/>
            </a:endParaRPr>
          </a:p>
          <a:p>
            <a:pPr marL="285750" indent="-285750">
              <a:spcAft>
                <a:spcPts val="600"/>
              </a:spcAft>
              <a:buFont typeface="Arial" panose="020B0604020202020204" pitchFamily="34" charset="0"/>
              <a:buChar char="•"/>
              <a:defRPr/>
            </a:pPr>
            <a:endParaRPr lang="en-US">
              <a:solidFill>
                <a:srgbClr val="000000"/>
              </a:solidFill>
              <a:latin typeface="Segoe UI Semilight" panose="020B0402040204020203" pitchFamily="34" charset="0"/>
              <a:ea typeface="+mn-lt"/>
              <a:cs typeface="Segoe UI Semilight" panose="020B0402040204020203" pitchFamily="34" charset="0"/>
            </a:endParaRPr>
          </a:p>
        </p:txBody>
      </p:sp>
      <p:sp>
        <p:nvSpPr>
          <p:cNvPr id="14" name="Google Shape;543;ga90b81d70d_0_0">
            <a:extLst>
              <a:ext uri="{FF2B5EF4-FFF2-40B4-BE49-F238E27FC236}">
                <a16:creationId xmlns:a16="http://schemas.microsoft.com/office/drawing/2014/main" id="{542E6E0A-77E3-4B99-8356-DD61D511B89B}"/>
              </a:ext>
            </a:extLst>
          </p:cNvPr>
          <p:cNvSpPr/>
          <p:nvPr/>
        </p:nvSpPr>
        <p:spPr>
          <a:xfrm>
            <a:off x="1362132" y="1286828"/>
            <a:ext cx="9473400" cy="467100"/>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algn="ctr"/>
            <a:r>
              <a:rPr lang="en-US" b="1" dirty="0">
                <a:solidFill>
                  <a:schemeClr val="lt1"/>
                </a:solidFill>
                <a:latin typeface="Segoe UI Semibold"/>
                <a:cs typeface="Segoe UI Semibold"/>
                <a:sym typeface="Quattrocento Sans"/>
              </a:rPr>
              <a:t>Text</a:t>
            </a:r>
            <a:endParaRPr lang="en-US" dirty="0"/>
          </a:p>
        </p:txBody>
      </p:sp>
      <p:sp>
        <p:nvSpPr>
          <p:cNvPr id="17" name="Google Shape;543;ga90b81d70d_0_0">
            <a:extLst>
              <a:ext uri="{FF2B5EF4-FFF2-40B4-BE49-F238E27FC236}">
                <a16:creationId xmlns:a16="http://schemas.microsoft.com/office/drawing/2014/main" id="{3E11C882-C769-45EF-B500-D8905EF21869}"/>
              </a:ext>
            </a:extLst>
          </p:cNvPr>
          <p:cNvSpPr/>
          <p:nvPr/>
        </p:nvSpPr>
        <p:spPr>
          <a:xfrm>
            <a:off x="1356468" y="5679084"/>
            <a:ext cx="9473400" cy="467100"/>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algn="ctr"/>
            <a:endParaRPr lang="en-US" sz="1600" b="1">
              <a:solidFill>
                <a:schemeClr val="lt1"/>
              </a:solidFill>
              <a:latin typeface="Segoe UI Semibold" panose="020B0702040204020203" pitchFamily="34" charset="0"/>
              <a:cs typeface="Segoe UI Semibold" panose="020B0702040204020203" pitchFamily="34" charset="0"/>
            </a:endParaRPr>
          </a:p>
        </p:txBody>
      </p:sp>
      <p:sp>
        <p:nvSpPr>
          <p:cNvPr id="19" name="TextBox 18">
            <a:extLst>
              <a:ext uri="{FF2B5EF4-FFF2-40B4-BE49-F238E27FC236}">
                <a16:creationId xmlns:a16="http://schemas.microsoft.com/office/drawing/2014/main" id="{1AB8332C-8DCC-4ED2-9DC7-55AC71C6F566}"/>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Clr>
                <a:srgbClr val="525252"/>
              </a:buClr>
              <a:buSzPts val="2400"/>
              <a:defRPr/>
            </a:pPr>
            <a:r>
              <a:rPr lang="en-US" sz="2800" kern="0">
                <a:solidFill>
                  <a:srgbClr val="000000"/>
                </a:solidFill>
                <a:latin typeface="Segoe UI Semibold"/>
                <a:cs typeface="Segoe UI Semibold"/>
                <a:sym typeface="Quattrocento Sans"/>
              </a:rPr>
              <a:t>Model Demo Set-Up</a:t>
            </a:r>
            <a:endParaRPr lang="en-US" sz="2800" kern="0">
              <a:solidFill>
                <a:srgbClr val="000000"/>
              </a:solidFill>
              <a:latin typeface="Segoe UI Semibold"/>
              <a:cs typeface="Segoe UI Semibold"/>
              <a:sym typeface="Arial"/>
            </a:endParaRPr>
          </a:p>
        </p:txBody>
      </p:sp>
    </p:spTree>
    <p:extLst>
      <p:ext uri="{BB962C8B-B14F-4D97-AF65-F5344CB8AC3E}">
        <p14:creationId xmlns:p14="http://schemas.microsoft.com/office/powerpoint/2010/main" val="8271555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F6477E6-8090-4F20-9C11-DD7E47562FD2}"/>
              </a:ext>
            </a:extLst>
          </p:cNvPr>
          <p:cNvSpPr/>
          <p:nvPr/>
        </p:nvSpPr>
        <p:spPr>
          <a:xfrm>
            <a:off x="1285575" y="1499735"/>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Introduction</a:t>
            </a:r>
          </a:p>
        </p:txBody>
      </p:sp>
      <p:sp>
        <p:nvSpPr>
          <p:cNvPr id="17" name="Rectangle 16">
            <a:extLst>
              <a:ext uri="{FF2B5EF4-FFF2-40B4-BE49-F238E27FC236}">
                <a16:creationId xmlns:a16="http://schemas.microsoft.com/office/drawing/2014/main" id="{F4D087CE-A955-4B14-A81B-7525861FAED4}"/>
              </a:ext>
            </a:extLst>
          </p:cNvPr>
          <p:cNvSpPr/>
          <p:nvPr/>
        </p:nvSpPr>
        <p:spPr>
          <a:xfrm>
            <a:off x="1285575" y="3520763"/>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a:solidFill>
                  <a:srgbClr val="000000"/>
                </a:solidFill>
                <a:latin typeface="Segoe UI Light"/>
                <a:cs typeface="Segoe UI Light"/>
              </a:rPr>
              <a:t>Case studies</a:t>
            </a:r>
            <a:endParaRPr lang="en-US">
              <a:ea typeface="+mn-lt"/>
              <a:cs typeface="+mn-lt"/>
            </a:endParaRPr>
          </a:p>
        </p:txBody>
      </p:sp>
      <p:sp>
        <p:nvSpPr>
          <p:cNvPr id="18" name="Rectangle 17">
            <a:extLst>
              <a:ext uri="{FF2B5EF4-FFF2-40B4-BE49-F238E27FC236}">
                <a16:creationId xmlns:a16="http://schemas.microsoft.com/office/drawing/2014/main" id="{41EC4D60-3057-447A-8ECF-7A600FF200D6}"/>
              </a:ext>
            </a:extLst>
          </p:cNvPr>
          <p:cNvSpPr/>
          <p:nvPr/>
        </p:nvSpPr>
        <p:spPr>
          <a:xfrm>
            <a:off x="1285575" y="2847087"/>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a:solidFill>
                  <a:srgbClr val="000000"/>
                </a:solidFill>
                <a:latin typeface="Segoe UI Light"/>
                <a:cs typeface="Segoe UI Light"/>
              </a:rPr>
              <a:t>Potential impacts </a:t>
            </a:r>
            <a:endParaRPr lang="en-US"/>
          </a:p>
        </p:txBody>
      </p:sp>
      <p:sp>
        <p:nvSpPr>
          <p:cNvPr id="19" name="Rectangle 18">
            <a:extLst>
              <a:ext uri="{FF2B5EF4-FFF2-40B4-BE49-F238E27FC236}">
                <a16:creationId xmlns:a16="http://schemas.microsoft.com/office/drawing/2014/main" id="{16E5DDE6-FD6D-41D1-8A4E-D02F0FF4F673}"/>
              </a:ext>
            </a:extLst>
          </p:cNvPr>
          <p:cNvSpPr/>
          <p:nvPr/>
        </p:nvSpPr>
        <p:spPr>
          <a:xfrm>
            <a:off x="1285575" y="2173411"/>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a:solidFill>
                  <a:srgbClr val="000000"/>
                </a:solidFill>
                <a:latin typeface="Segoe UI Light"/>
                <a:cs typeface="Segoe UI Light"/>
              </a:rPr>
              <a:t>Topic overview</a:t>
            </a:r>
            <a:endParaRPr lang="en-US">
              <a:solidFill>
                <a:srgbClr val="000000"/>
              </a:solidFill>
              <a:latin typeface="Segoe UI Light" panose="020B0502040204020203" pitchFamily="34" charset="0"/>
              <a:cs typeface="Segoe UI Light" panose="020B0502040204020203" pitchFamily="34" charset="0"/>
            </a:endParaRPr>
          </a:p>
        </p:txBody>
      </p:sp>
      <p:sp>
        <p:nvSpPr>
          <p:cNvPr id="20" name="Rectangle 19">
            <a:extLst>
              <a:ext uri="{FF2B5EF4-FFF2-40B4-BE49-F238E27FC236}">
                <a16:creationId xmlns:a16="http://schemas.microsoft.com/office/drawing/2014/main" id="{54B5C667-19A2-454C-8D82-1F484DC682EF}"/>
              </a:ext>
            </a:extLst>
          </p:cNvPr>
          <p:cNvSpPr/>
          <p:nvPr/>
        </p:nvSpPr>
        <p:spPr>
          <a:xfrm>
            <a:off x="1285575" y="4194439"/>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Live Model Demo &amp; Notable Results</a:t>
            </a:r>
          </a:p>
        </p:txBody>
      </p:sp>
      <p:sp>
        <p:nvSpPr>
          <p:cNvPr id="21" name="Rectangle 20">
            <a:extLst>
              <a:ext uri="{FF2B5EF4-FFF2-40B4-BE49-F238E27FC236}">
                <a16:creationId xmlns:a16="http://schemas.microsoft.com/office/drawing/2014/main" id="{B7301DAF-868E-4B07-A172-0091653222F8}"/>
              </a:ext>
            </a:extLst>
          </p:cNvPr>
          <p:cNvSpPr/>
          <p:nvPr/>
        </p:nvSpPr>
        <p:spPr>
          <a:xfrm>
            <a:off x="1285574" y="4868115"/>
            <a:ext cx="5282421" cy="460793"/>
          </a:xfrm>
          <a:prstGeom prst="rect">
            <a:avLst/>
          </a:prstGeom>
          <a:solidFill>
            <a:srgbClr val="A8053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a:solidFill>
                  <a:schemeClr val="bg1"/>
                </a:solidFill>
                <a:latin typeface="Segoe UI Light" panose="020B0502040204020203" pitchFamily="34" charset="0"/>
                <a:cs typeface="Segoe UI Light" panose="020B0502040204020203" pitchFamily="34" charset="0"/>
              </a:rPr>
              <a:t>Conclusion</a:t>
            </a:r>
          </a:p>
        </p:txBody>
      </p:sp>
      <p:sp>
        <p:nvSpPr>
          <p:cNvPr id="22" name="Rectangle 21">
            <a:extLst>
              <a:ext uri="{FF2B5EF4-FFF2-40B4-BE49-F238E27FC236}">
                <a16:creationId xmlns:a16="http://schemas.microsoft.com/office/drawing/2014/main" id="{483437C9-65F5-40C4-8409-5546DCBF69B8}"/>
              </a:ext>
            </a:extLst>
          </p:cNvPr>
          <p:cNvSpPr/>
          <p:nvPr/>
        </p:nvSpPr>
        <p:spPr>
          <a:xfrm>
            <a:off x="1285573" y="5541791"/>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Q&amp;A</a:t>
            </a:r>
          </a:p>
        </p:txBody>
      </p:sp>
      <p:sp>
        <p:nvSpPr>
          <p:cNvPr id="13" name="TextBox 12">
            <a:extLst>
              <a:ext uri="{FF2B5EF4-FFF2-40B4-BE49-F238E27FC236}">
                <a16:creationId xmlns:a16="http://schemas.microsoft.com/office/drawing/2014/main" id="{91708F91-069B-47F0-98F2-DB4E9CD96521}"/>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genda</a:t>
            </a:r>
          </a:p>
        </p:txBody>
      </p:sp>
    </p:spTree>
    <p:extLst>
      <p:ext uri="{BB962C8B-B14F-4D97-AF65-F5344CB8AC3E}">
        <p14:creationId xmlns:p14="http://schemas.microsoft.com/office/powerpoint/2010/main" val="12036424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E7C1274-9A3F-4CF3-91F5-0D88F3170144}"/>
              </a:ext>
            </a:extLst>
          </p:cNvPr>
          <p:cNvSpPr txBox="1"/>
          <p:nvPr/>
        </p:nvSpPr>
        <p:spPr>
          <a:xfrm>
            <a:off x="2414081" y="2699505"/>
            <a:ext cx="7363838" cy="2308324"/>
          </a:xfrm>
          <a:prstGeom prst="rect">
            <a:avLst/>
          </a:prstGeom>
          <a:noFill/>
        </p:spPr>
        <p:txBody>
          <a:bodyPr wrap="square" rtlCol="0">
            <a:spAutoFit/>
          </a:bodyPr>
          <a:lstStyle/>
          <a:p>
            <a:pPr algn="ctr"/>
            <a:r>
              <a:rPr lang="en-US" sz="4400">
                <a:solidFill>
                  <a:srgbClr val="000000"/>
                </a:solidFill>
                <a:latin typeface="Segoe UI Semibold" panose="020B0702040204020203" pitchFamily="34" charset="0"/>
                <a:cs typeface="Segoe UI Semibold" panose="020B0702040204020203" pitchFamily="34" charset="0"/>
              </a:rPr>
              <a:t>Thank you for attending!</a:t>
            </a:r>
          </a:p>
          <a:p>
            <a:pPr algn="ctr"/>
            <a:endParaRPr lang="en-US" sz="3600">
              <a:solidFill>
                <a:srgbClr val="000000"/>
              </a:solidFill>
              <a:latin typeface="Segoe UI Semilight" panose="020B0402040204020203" pitchFamily="34" charset="0"/>
              <a:cs typeface="Segoe UI Semilight" panose="020B0402040204020203" pitchFamily="34" charset="0"/>
            </a:endParaRPr>
          </a:p>
          <a:p>
            <a:pPr algn="ctr"/>
            <a:r>
              <a:rPr lang="en-US" sz="3200">
                <a:solidFill>
                  <a:srgbClr val="000000"/>
                </a:solidFill>
                <a:latin typeface="Segoe UI Semilight" panose="020B0402040204020203" pitchFamily="34" charset="0"/>
                <a:cs typeface="Segoe UI Semilight" panose="020B0402040204020203" pitchFamily="34" charset="0"/>
              </a:rPr>
              <a:t>For more information, please contact info@remi.com</a:t>
            </a:r>
          </a:p>
        </p:txBody>
      </p:sp>
      <p:sp>
        <p:nvSpPr>
          <p:cNvPr id="7" name="TextBox 6">
            <a:extLst>
              <a:ext uri="{FF2B5EF4-FFF2-40B4-BE49-F238E27FC236}">
                <a16:creationId xmlns:a16="http://schemas.microsoft.com/office/drawing/2014/main" id="{B931D0C8-3BCC-4894-854B-E1DFBE8F8731}"/>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Q&amp;A</a:t>
            </a:r>
          </a:p>
        </p:txBody>
      </p:sp>
    </p:spTree>
    <p:extLst>
      <p:ext uri="{BB962C8B-B14F-4D97-AF65-F5344CB8AC3E}">
        <p14:creationId xmlns:p14="http://schemas.microsoft.com/office/powerpoint/2010/main" val="22705309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DD9E35A4-B502-459C-A465-8A0FF85C1EF1}"/>
              </a:ext>
            </a:extLst>
          </p:cNvPr>
          <p:cNvSpPr txBox="1"/>
          <p:nvPr/>
        </p:nvSpPr>
        <p:spPr>
          <a:xfrm>
            <a:off x="1973465" y="225446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Aerospace and </a:t>
            </a:r>
            <a:r>
              <a:rPr lang="en-GB" sz="684" err="1">
                <a:solidFill>
                  <a:srgbClr val="000000"/>
                </a:solidFill>
                <a:latin typeface="Segoe UI Light" panose="020B0502040204020203" pitchFamily="34" charset="0"/>
                <a:cs typeface="Segoe UI Light" panose="020B0502040204020203" pitchFamily="34" charset="0"/>
              </a:rPr>
              <a:t>defense</a:t>
            </a:r>
            <a:endParaRPr lang="en-GB" sz="684">
              <a:solidFill>
                <a:srgbClr val="000000"/>
              </a:solidFill>
              <a:latin typeface="Segoe UI Light" panose="020B0502040204020203" pitchFamily="34" charset="0"/>
              <a:cs typeface="Segoe UI Light" panose="020B0502040204020203" pitchFamily="34" charset="0"/>
            </a:endParaRPr>
          </a:p>
        </p:txBody>
      </p:sp>
      <p:sp>
        <p:nvSpPr>
          <p:cNvPr id="3" name="TextBox 2">
            <a:extLst>
              <a:ext uri="{FF2B5EF4-FFF2-40B4-BE49-F238E27FC236}">
                <a16:creationId xmlns:a16="http://schemas.microsoft.com/office/drawing/2014/main" id="{95FD55E4-5BC5-4118-A7D9-4CBCECB863EA}"/>
              </a:ext>
            </a:extLst>
          </p:cNvPr>
          <p:cNvSpPr txBox="1"/>
          <p:nvPr/>
        </p:nvSpPr>
        <p:spPr>
          <a:xfrm>
            <a:off x="2712360" y="225446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Asset management</a:t>
            </a:r>
          </a:p>
        </p:txBody>
      </p:sp>
      <p:sp>
        <p:nvSpPr>
          <p:cNvPr id="4" name="TextBox 3">
            <a:extLst>
              <a:ext uri="{FF2B5EF4-FFF2-40B4-BE49-F238E27FC236}">
                <a16:creationId xmlns:a16="http://schemas.microsoft.com/office/drawing/2014/main" id="{03CCC704-1088-4798-B21C-3D336EBF6620}"/>
              </a:ext>
            </a:extLst>
          </p:cNvPr>
          <p:cNvSpPr txBox="1"/>
          <p:nvPr/>
        </p:nvSpPr>
        <p:spPr>
          <a:xfrm>
            <a:off x="3475941" y="225446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Automotive</a:t>
            </a:r>
          </a:p>
        </p:txBody>
      </p:sp>
      <p:sp>
        <p:nvSpPr>
          <p:cNvPr id="5" name="TextBox 4">
            <a:extLst>
              <a:ext uri="{FF2B5EF4-FFF2-40B4-BE49-F238E27FC236}">
                <a16:creationId xmlns:a16="http://schemas.microsoft.com/office/drawing/2014/main" id="{4E3734D2-E677-4956-95C9-10D1D648592B}"/>
              </a:ext>
            </a:extLst>
          </p:cNvPr>
          <p:cNvSpPr txBox="1"/>
          <p:nvPr/>
        </p:nvSpPr>
        <p:spPr>
          <a:xfrm>
            <a:off x="4223296" y="225446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Banking and capital markets</a:t>
            </a:r>
          </a:p>
        </p:txBody>
      </p:sp>
      <p:sp>
        <p:nvSpPr>
          <p:cNvPr id="6" name="TextBox 5">
            <a:extLst>
              <a:ext uri="{FF2B5EF4-FFF2-40B4-BE49-F238E27FC236}">
                <a16:creationId xmlns:a16="http://schemas.microsoft.com/office/drawing/2014/main" id="{299B6AE2-E8DB-48E4-A4B4-626BA805494C}"/>
              </a:ext>
            </a:extLst>
          </p:cNvPr>
          <p:cNvSpPr txBox="1"/>
          <p:nvPr/>
        </p:nvSpPr>
        <p:spPr>
          <a:xfrm>
            <a:off x="4962190" y="225446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Business and professional services</a:t>
            </a:r>
          </a:p>
        </p:txBody>
      </p:sp>
      <p:sp>
        <p:nvSpPr>
          <p:cNvPr id="7" name="TextBox 6">
            <a:extLst>
              <a:ext uri="{FF2B5EF4-FFF2-40B4-BE49-F238E27FC236}">
                <a16:creationId xmlns:a16="http://schemas.microsoft.com/office/drawing/2014/main" id="{B7985C6F-5C80-4C49-B156-BBB71B79355E}"/>
              </a:ext>
            </a:extLst>
          </p:cNvPr>
          <p:cNvSpPr txBox="1"/>
          <p:nvPr/>
        </p:nvSpPr>
        <p:spPr>
          <a:xfrm>
            <a:off x="5725772" y="225446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Chemicals</a:t>
            </a:r>
          </a:p>
        </p:txBody>
      </p:sp>
      <p:sp>
        <p:nvSpPr>
          <p:cNvPr id="8" name="TextBox 7">
            <a:extLst>
              <a:ext uri="{FF2B5EF4-FFF2-40B4-BE49-F238E27FC236}">
                <a16:creationId xmlns:a16="http://schemas.microsoft.com/office/drawing/2014/main" id="{F01C2E4E-4DD1-46EE-9E2D-8DFDB1F9BE5C}"/>
              </a:ext>
            </a:extLst>
          </p:cNvPr>
          <p:cNvSpPr txBox="1"/>
          <p:nvPr/>
        </p:nvSpPr>
        <p:spPr>
          <a:xfrm>
            <a:off x="6406832" y="2254462"/>
            <a:ext cx="740757"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Communications</a:t>
            </a:r>
          </a:p>
        </p:txBody>
      </p:sp>
      <p:sp>
        <p:nvSpPr>
          <p:cNvPr id="9" name="TextBox 8">
            <a:extLst>
              <a:ext uri="{FF2B5EF4-FFF2-40B4-BE49-F238E27FC236}">
                <a16:creationId xmlns:a16="http://schemas.microsoft.com/office/drawing/2014/main" id="{A862A451-0613-4EC6-8F1B-7AA22768A77B}"/>
              </a:ext>
            </a:extLst>
          </p:cNvPr>
          <p:cNvSpPr txBox="1"/>
          <p:nvPr/>
        </p:nvSpPr>
        <p:spPr>
          <a:xfrm>
            <a:off x="7214143" y="225446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Energy and mining</a:t>
            </a:r>
          </a:p>
        </p:txBody>
      </p:sp>
      <p:sp>
        <p:nvSpPr>
          <p:cNvPr id="10" name="TextBox 9">
            <a:extLst>
              <a:ext uri="{FF2B5EF4-FFF2-40B4-BE49-F238E27FC236}">
                <a16:creationId xmlns:a16="http://schemas.microsoft.com/office/drawing/2014/main" id="{FF590F67-42F8-4285-B912-96E959C23D06}"/>
              </a:ext>
            </a:extLst>
          </p:cNvPr>
          <p:cNvSpPr txBox="1"/>
          <p:nvPr/>
        </p:nvSpPr>
        <p:spPr>
          <a:xfrm>
            <a:off x="1973465" y="331453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Engineering and construction</a:t>
            </a:r>
          </a:p>
        </p:txBody>
      </p:sp>
      <p:sp>
        <p:nvSpPr>
          <p:cNvPr id="11" name="TextBox 10">
            <a:extLst>
              <a:ext uri="{FF2B5EF4-FFF2-40B4-BE49-F238E27FC236}">
                <a16:creationId xmlns:a16="http://schemas.microsoft.com/office/drawing/2014/main" id="{D6B7CC69-D026-4762-B042-9EA10EEEB10E}"/>
              </a:ext>
            </a:extLst>
          </p:cNvPr>
          <p:cNvSpPr txBox="1"/>
          <p:nvPr/>
        </p:nvSpPr>
        <p:spPr>
          <a:xfrm>
            <a:off x="2712360" y="331453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Entertainment and media</a:t>
            </a:r>
          </a:p>
        </p:txBody>
      </p:sp>
      <p:sp>
        <p:nvSpPr>
          <p:cNvPr id="12" name="TextBox 11">
            <a:extLst>
              <a:ext uri="{FF2B5EF4-FFF2-40B4-BE49-F238E27FC236}">
                <a16:creationId xmlns:a16="http://schemas.microsoft.com/office/drawing/2014/main" id="{FB130EAE-F302-486D-A543-17C3740046BC}"/>
              </a:ext>
            </a:extLst>
          </p:cNvPr>
          <p:cNvSpPr txBox="1"/>
          <p:nvPr/>
        </p:nvSpPr>
        <p:spPr>
          <a:xfrm>
            <a:off x="3475941" y="331453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Financial services</a:t>
            </a:r>
          </a:p>
        </p:txBody>
      </p:sp>
      <p:sp>
        <p:nvSpPr>
          <p:cNvPr id="13" name="TextBox 12">
            <a:extLst>
              <a:ext uri="{FF2B5EF4-FFF2-40B4-BE49-F238E27FC236}">
                <a16:creationId xmlns:a16="http://schemas.microsoft.com/office/drawing/2014/main" id="{51A97F49-1BDC-4B67-B165-D3E2F43402E1}"/>
              </a:ext>
            </a:extLst>
          </p:cNvPr>
          <p:cNvSpPr txBox="1"/>
          <p:nvPr/>
        </p:nvSpPr>
        <p:spPr>
          <a:xfrm>
            <a:off x="4223296" y="331453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Forest, paper and packaging</a:t>
            </a:r>
          </a:p>
        </p:txBody>
      </p:sp>
      <p:sp>
        <p:nvSpPr>
          <p:cNvPr id="14" name="TextBox 13">
            <a:extLst>
              <a:ext uri="{FF2B5EF4-FFF2-40B4-BE49-F238E27FC236}">
                <a16:creationId xmlns:a16="http://schemas.microsoft.com/office/drawing/2014/main" id="{FC408858-8ED2-4CFB-AB74-50FA74A6EF91}"/>
              </a:ext>
            </a:extLst>
          </p:cNvPr>
          <p:cNvSpPr txBox="1"/>
          <p:nvPr/>
        </p:nvSpPr>
        <p:spPr>
          <a:xfrm>
            <a:off x="4962190" y="331453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Healthcare industries</a:t>
            </a:r>
          </a:p>
        </p:txBody>
      </p:sp>
      <p:sp>
        <p:nvSpPr>
          <p:cNvPr id="15" name="TextBox 14">
            <a:extLst>
              <a:ext uri="{FF2B5EF4-FFF2-40B4-BE49-F238E27FC236}">
                <a16:creationId xmlns:a16="http://schemas.microsoft.com/office/drawing/2014/main" id="{F5215767-5A9C-4732-B1CB-4F57D5380053}"/>
              </a:ext>
            </a:extLst>
          </p:cNvPr>
          <p:cNvSpPr txBox="1"/>
          <p:nvPr/>
        </p:nvSpPr>
        <p:spPr>
          <a:xfrm>
            <a:off x="5725772" y="331453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Healthcare payers</a:t>
            </a:r>
          </a:p>
        </p:txBody>
      </p:sp>
      <p:sp>
        <p:nvSpPr>
          <p:cNvPr id="16" name="TextBox 15">
            <a:extLst>
              <a:ext uri="{FF2B5EF4-FFF2-40B4-BE49-F238E27FC236}">
                <a16:creationId xmlns:a16="http://schemas.microsoft.com/office/drawing/2014/main" id="{57A65989-8AF1-4EEF-BF0E-83ED272D2ACC}"/>
              </a:ext>
            </a:extLst>
          </p:cNvPr>
          <p:cNvSpPr txBox="1"/>
          <p:nvPr/>
        </p:nvSpPr>
        <p:spPr>
          <a:xfrm>
            <a:off x="6406832" y="3314532"/>
            <a:ext cx="740757"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Healthcare providers</a:t>
            </a:r>
          </a:p>
        </p:txBody>
      </p:sp>
      <p:sp>
        <p:nvSpPr>
          <p:cNvPr id="17" name="TextBox 16">
            <a:extLst>
              <a:ext uri="{FF2B5EF4-FFF2-40B4-BE49-F238E27FC236}">
                <a16:creationId xmlns:a16="http://schemas.microsoft.com/office/drawing/2014/main" id="{74A5E66D-8431-4250-82E5-85299D2659EC}"/>
              </a:ext>
            </a:extLst>
          </p:cNvPr>
          <p:cNvSpPr txBox="1"/>
          <p:nvPr/>
        </p:nvSpPr>
        <p:spPr>
          <a:xfrm>
            <a:off x="7214143" y="331453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Hospitality and leisure</a:t>
            </a:r>
          </a:p>
        </p:txBody>
      </p:sp>
      <p:sp>
        <p:nvSpPr>
          <p:cNvPr id="18" name="TextBox 17">
            <a:extLst>
              <a:ext uri="{FF2B5EF4-FFF2-40B4-BE49-F238E27FC236}">
                <a16:creationId xmlns:a16="http://schemas.microsoft.com/office/drawing/2014/main" id="{D57EB5CB-0BB2-4209-96BB-2AA206378B47}"/>
              </a:ext>
            </a:extLst>
          </p:cNvPr>
          <p:cNvSpPr txBox="1"/>
          <p:nvPr/>
        </p:nvSpPr>
        <p:spPr>
          <a:xfrm>
            <a:off x="1973465" y="4368418"/>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Industrial manufacturing</a:t>
            </a:r>
          </a:p>
        </p:txBody>
      </p:sp>
      <p:sp>
        <p:nvSpPr>
          <p:cNvPr id="19" name="TextBox 18">
            <a:extLst>
              <a:ext uri="{FF2B5EF4-FFF2-40B4-BE49-F238E27FC236}">
                <a16:creationId xmlns:a16="http://schemas.microsoft.com/office/drawing/2014/main" id="{54FC1EDF-1698-422C-9434-77E95810C140}"/>
              </a:ext>
            </a:extLst>
          </p:cNvPr>
          <p:cNvSpPr txBox="1"/>
          <p:nvPr/>
        </p:nvSpPr>
        <p:spPr>
          <a:xfrm>
            <a:off x="2712360" y="4368418"/>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Industrial products</a:t>
            </a:r>
          </a:p>
        </p:txBody>
      </p:sp>
      <p:sp>
        <p:nvSpPr>
          <p:cNvPr id="20" name="TextBox 19">
            <a:extLst>
              <a:ext uri="{FF2B5EF4-FFF2-40B4-BE49-F238E27FC236}">
                <a16:creationId xmlns:a16="http://schemas.microsoft.com/office/drawing/2014/main" id="{465CB170-C4C1-471A-A012-4D5CBA558159}"/>
              </a:ext>
            </a:extLst>
          </p:cNvPr>
          <p:cNvSpPr txBox="1"/>
          <p:nvPr/>
        </p:nvSpPr>
        <p:spPr>
          <a:xfrm>
            <a:off x="3437536" y="4368418"/>
            <a:ext cx="725177"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Capital markets and infrastructure</a:t>
            </a:r>
          </a:p>
        </p:txBody>
      </p:sp>
      <p:sp>
        <p:nvSpPr>
          <p:cNvPr id="21" name="TextBox 20">
            <a:extLst>
              <a:ext uri="{FF2B5EF4-FFF2-40B4-BE49-F238E27FC236}">
                <a16:creationId xmlns:a16="http://schemas.microsoft.com/office/drawing/2014/main" id="{F49A815B-E927-4B01-9F64-CF4DEB4625DA}"/>
              </a:ext>
            </a:extLst>
          </p:cNvPr>
          <p:cNvSpPr txBox="1"/>
          <p:nvPr/>
        </p:nvSpPr>
        <p:spPr>
          <a:xfrm>
            <a:off x="4223296" y="4368418"/>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Insurance</a:t>
            </a:r>
          </a:p>
        </p:txBody>
      </p:sp>
      <p:sp>
        <p:nvSpPr>
          <p:cNvPr id="22" name="TextBox 21">
            <a:extLst>
              <a:ext uri="{FF2B5EF4-FFF2-40B4-BE49-F238E27FC236}">
                <a16:creationId xmlns:a16="http://schemas.microsoft.com/office/drawing/2014/main" id="{7C968912-592E-4AD8-B7CF-12EA80C52E0A}"/>
              </a:ext>
            </a:extLst>
          </p:cNvPr>
          <p:cNvSpPr txBox="1"/>
          <p:nvPr/>
        </p:nvSpPr>
        <p:spPr>
          <a:xfrm>
            <a:off x="4962190" y="4368418"/>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Law firm services</a:t>
            </a:r>
          </a:p>
        </p:txBody>
      </p:sp>
      <p:sp>
        <p:nvSpPr>
          <p:cNvPr id="23" name="TextBox 22">
            <a:extLst>
              <a:ext uri="{FF2B5EF4-FFF2-40B4-BE49-F238E27FC236}">
                <a16:creationId xmlns:a16="http://schemas.microsoft.com/office/drawing/2014/main" id="{F390226B-7A89-4542-931A-174CA02EF070}"/>
              </a:ext>
            </a:extLst>
          </p:cNvPr>
          <p:cNvSpPr txBox="1"/>
          <p:nvPr/>
        </p:nvSpPr>
        <p:spPr>
          <a:xfrm>
            <a:off x="5725772" y="4368418"/>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Metals</a:t>
            </a:r>
          </a:p>
        </p:txBody>
      </p:sp>
      <p:sp>
        <p:nvSpPr>
          <p:cNvPr id="24" name="TextBox 23">
            <a:extLst>
              <a:ext uri="{FF2B5EF4-FFF2-40B4-BE49-F238E27FC236}">
                <a16:creationId xmlns:a16="http://schemas.microsoft.com/office/drawing/2014/main" id="{0136B2CF-7B89-4A52-97A8-BFED32143837}"/>
              </a:ext>
            </a:extLst>
          </p:cNvPr>
          <p:cNvSpPr txBox="1"/>
          <p:nvPr/>
        </p:nvSpPr>
        <p:spPr>
          <a:xfrm>
            <a:off x="6406832" y="4368418"/>
            <a:ext cx="740757"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Pharmaceuticals and life sciences</a:t>
            </a:r>
          </a:p>
        </p:txBody>
      </p:sp>
      <p:sp>
        <p:nvSpPr>
          <p:cNvPr id="25" name="TextBox 24">
            <a:extLst>
              <a:ext uri="{FF2B5EF4-FFF2-40B4-BE49-F238E27FC236}">
                <a16:creationId xmlns:a16="http://schemas.microsoft.com/office/drawing/2014/main" id="{F1D760ED-12EC-4D08-B7C1-42AAFEBAFA60}"/>
              </a:ext>
            </a:extLst>
          </p:cNvPr>
          <p:cNvSpPr txBox="1"/>
          <p:nvPr/>
        </p:nvSpPr>
        <p:spPr>
          <a:xfrm>
            <a:off x="7214143" y="4368418"/>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Power and utilities</a:t>
            </a:r>
          </a:p>
        </p:txBody>
      </p:sp>
      <p:sp>
        <p:nvSpPr>
          <p:cNvPr id="26" name="TextBox 25">
            <a:extLst>
              <a:ext uri="{FF2B5EF4-FFF2-40B4-BE49-F238E27FC236}">
                <a16:creationId xmlns:a16="http://schemas.microsoft.com/office/drawing/2014/main" id="{A5758FE2-C1A0-47EC-AA15-D55E16D207AC}"/>
              </a:ext>
            </a:extLst>
          </p:cNvPr>
          <p:cNvSpPr txBox="1"/>
          <p:nvPr/>
        </p:nvSpPr>
        <p:spPr>
          <a:xfrm>
            <a:off x="1973465" y="5408326"/>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Private equity</a:t>
            </a:r>
          </a:p>
        </p:txBody>
      </p:sp>
      <p:sp>
        <p:nvSpPr>
          <p:cNvPr id="27" name="TextBox 26">
            <a:extLst>
              <a:ext uri="{FF2B5EF4-FFF2-40B4-BE49-F238E27FC236}">
                <a16:creationId xmlns:a16="http://schemas.microsoft.com/office/drawing/2014/main" id="{358F777D-C727-4ECA-9DDF-DAD264584B49}"/>
              </a:ext>
            </a:extLst>
          </p:cNvPr>
          <p:cNvSpPr txBox="1"/>
          <p:nvPr/>
        </p:nvSpPr>
        <p:spPr>
          <a:xfrm>
            <a:off x="2691938" y="5408326"/>
            <a:ext cx="725177"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Private company industries</a:t>
            </a:r>
          </a:p>
        </p:txBody>
      </p:sp>
      <p:sp>
        <p:nvSpPr>
          <p:cNvPr id="28" name="TextBox 27">
            <a:extLst>
              <a:ext uri="{FF2B5EF4-FFF2-40B4-BE49-F238E27FC236}">
                <a16:creationId xmlns:a16="http://schemas.microsoft.com/office/drawing/2014/main" id="{B56F38FC-23BA-4FB3-8536-625E1CB0EFD5}"/>
              </a:ext>
            </a:extLst>
          </p:cNvPr>
          <p:cNvSpPr txBox="1"/>
          <p:nvPr/>
        </p:nvSpPr>
        <p:spPr>
          <a:xfrm>
            <a:off x="3475941" y="5408326"/>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Public sector</a:t>
            </a:r>
          </a:p>
        </p:txBody>
      </p:sp>
      <p:sp>
        <p:nvSpPr>
          <p:cNvPr id="29" name="TextBox 28">
            <a:extLst>
              <a:ext uri="{FF2B5EF4-FFF2-40B4-BE49-F238E27FC236}">
                <a16:creationId xmlns:a16="http://schemas.microsoft.com/office/drawing/2014/main" id="{000E5944-4761-4181-92FD-439FC5A7295B}"/>
              </a:ext>
            </a:extLst>
          </p:cNvPr>
          <p:cNvSpPr txBox="1"/>
          <p:nvPr/>
        </p:nvSpPr>
        <p:spPr>
          <a:xfrm>
            <a:off x="4223296" y="5408326"/>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Retail and consumer</a:t>
            </a:r>
          </a:p>
        </p:txBody>
      </p:sp>
      <p:sp>
        <p:nvSpPr>
          <p:cNvPr id="30" name="TextBox 29">
            <a:extLst>
              <a:ext uri="{FF2B5EF4-FFF2-40B4-BE49-F238E27FC236}">
                <a16:creationId xmlns:a16="http://schemas.microsoft.com/office/drawing/2014/main" id="{DA2C329A-36F4-48D8-BC33-40BE51AD4FAD}"/>
              </a:ext>
            </a:extLst>
          </p:cNvPr>
          <p:cNvSpPr txBox="1"/>
          <p:nvPr/>
        </p:nvSpPr>
        <p:spPr>
          <a:xfrm>
            <a:off x="4962190" y="5408326"/>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Technology</a:t>
            </a:r>
          </a:p>
        </p:txBody>
      </p:sp>
      <p:sp>
        <p:nvSpPr>
          <p:cNvPr id="31" name="TextBox 30">
            <a:extLst>
              <a:ext uri="{FF2B5EF4-FFF2-40B4-BE49-F238E27FC236}">
                <a16:creationId xmlns:a16="http://schemas.microsoft.com/office/drawing/2014/main" id="{E4F18755-A5FE-4DAC-A766-9B45CB95E087}"/>
              </a:ext>
            </a:extLst>
          </p:cNvPr>
          <p:cNvSpPr txBox="1"/>
          <p:nvPr/>
        </p:nvSpPr>
        <p:spPr>
          <a:xfrm>
            <a:off x="5725772" y="5408326"/>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Transportation and logistics</a:t>
            </a:r>
          </a:p>
        </p:txBody>
      </p:sp>
      <p:sp>
        <p:nvSpPr>
          <p:cNvPr id="32" name="TextBox 31">
            <a:extLst>
              <a:ext uri="{FF2B5EF4-FFF2-40B4-BE49-F238E27FC236}">
                <a16:creationId xmlns:a16="http://schemas.microsoft.com/office/drawing/2014/main" id="{5438B15A-C461-45E3-8D6F-75E5EBB1D5CB}"/>
              </a:ext>
            </a:extLst>
          </p:cNvPr>
          <p:cNvSpPr txBox="1"/>
          <p:nvPr/>
        </p:nvSpPr>
        <p:spPr>
          <a:xfrm>
            <a:off x="8192493" y="225446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Board governance</a:t>
            </a:r>
          </a:p>
        </p:txBody>
      </p:sp>
      <p:sp>
        <p:nvSpPr>
          <p:cNvPr id="33" name="TextBox 32">
            <a:extLst>
              <a:ext uri="{FF2B5EF4-FFF2-40B4-BE49-F238E27FC236}">
                <a16:creationId xmlns:a16="http://schemas.microsoft.com/office/drawing/2014/main" id="{44CBDF0A-34E4-4FC9-8B71-DB462BA01FF6}"/>
              </a:ext>
            </a:extLst>
          </p:cNvPr>
          <p:cNvSpPr txBox="1"/>
          <p:nvPr/>
        </p:nvSpPr>
        <p:spPr>
          <a:xfrm>
            <a:off x="8873553" y="2254462"/>
            <a:ext cx="740757"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Financial reporting</a:t>
            </a:r>
          </a:p>
        </p:txBody>
      </p:sp>
      <p:sp>
        <p:nvSpPr>
          <p:cNvPr id="34" name="TextBox 33">
            <a:extLst>
              <a:ext uri="{FF2B5EF4-FFF2-40B4-BE49-F238E27FC236}">
                <a16:creationId xmlns:a16="http://schemas.microsoft.com/office/drawing/2014/main" id="{302B3238-1B7E-477C-B31D-C9E25ACBEBA5}"/>
              </a:ext>
            </a:extLst>
          </p:cNvPr>
          <p:cNvSpPr txBox="1"/>
          <p:nvPr/>
        </p:nvSpPr>
        <p:spPr>
          <a:xfrm>
            <a:off x="9680865" y="225446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Innovation and technology</a:t>
            </a:r>
          </a:p>
        </p:txBody>
      </p:sp>
      <p:sp>
        <p:nvSpPr>
          <p:cNvPr id="35" name="TextBox 34">
            <a:extLst>
              <a:ext uri="{FF2B5EF4-FFF2-40B4-BE49-F238E27FC236}">
                <a16:creationId xmlns:a16="http://schemas.microsoft.com/office/drawing/2014/main" id="{877ECDDB-79CB-484F-B916-50C3DDA09047}"/>
              </a:ext>
            </a:extLst>
          </p:cNvPr>
          <p:cNvSpPr txBox="1"/>
          <p:nvPr/>
        </p:nvSpPr>
        <p:spPr>
          <a:xfrm>
            <a:off x="8192493" y="331453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Operations</a:t>
            </a:r>
          </a:p>
        </p:txBody>
      </p:sp>
      <p:sp>
        <p:nvSpPr>
          <p:cNvPr id="36" name="TextBox 35">
            <a:extLst>
              <a:ext uri="{FF2B5EF4-FFF2-40B4-BE49-F238E27FC236}">
                <a16:creationId xmlns:a16="http://schemas.microsoft.com/office/drawing/2014/main" id="{015A6979-4AD5-4E2E-B7AD-284D434C87C6}"/>
              </a:ext>
            </a:extLst>
          </p:cNvPr>
          <p:cNvSpPr txBox="1"/>
          <p:nvPr/>
        </p:nvSpPr>
        <p:spPr>
          <a:xfrm>
            <a:off x="8873553" y="3314532"/>
            <a:ext cx="740757"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Regulation and standards</a:t>
            </a:r>
          </a:p>
        </p:txBody>
      </p:sp>
      <p:sp>
        <p:nvSpPr>
          <p:cNvPr id="37" name="TextBox 36">
            <a:extLst>
              <a:ext uri="{FF2B5EF4-FFF2-40B4-BE49-F238E27FC236}">
                <a16:creationId xmlns:a16="http://schemas.microsoft.com/office/drawing/2014/main" id="{31B91D06-9DB9-41A3-B5EB-D17E97B19422}"/>
              </a:ext>
            </a:extLst>
          </p:cNvPr>
          <p:cNvSpPr txBox="1"/>
          <p:nvPr/>
        </p:nvSpPr>
        <p:spPr>
          <a:xfrm>
            <a:off x="9680865" y="3314532"/>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Risk</a:t>
            </a:r>
          </a:p>
        </p:txBody>
      </p:sp>
      <p:sp>
        <p:nvSpPr>
          <p:cNvPr id="38" name="TextBox 37">
            <a:extLst>
              <a:ext uri="{FF2B5EF4-FFF2-40B4-BE49-F238E27FC236}">
                <a16:creationId xmlns:a16="http://schemas.microsoft.com/office/drawing/2014/main" id="{4F2A4E70-B02F-4C99-AD8E-0569A1545702}"/>
              </a:ext>
            </a:extLst>
          </p:cNvPr>
          <p:cNvSpPr txBox="1"/>
          <p:nvPr/>
        </p:nvSpPr>
        <p:spPr>
          <a:xfrm>
            <a:off x="8192493" y="4368418"/>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Strategy and growth</a:t>
            </a:r>
          </a:p>
        </p:txBody>
      </p:sp>
      <p:sp>
        <p:nvSpPr>
          <p:cNvPr id="39" name="TextBox 38">
            <a:extLst>
              <a:ext uri="{FF2B5EF4-FFF2-40B4-BE49-F238E27FC236}">
                <a16:creationId xmlns:a16="http://schemas.microsoft.com/office/drawing/2014/main" id="{64A73F8D-3749-428A-AFE2-6B5F2BAAC5E8}"/>
              </a:ext>
            </a:extLst>
          </p:cNvPr>
          <p:cNvSpPr txBox="1"/>
          <p:nvPr/>
        </p:nvSpPr>
        <p:spPr>
          <a:xfrm>
            <a:off x="8873553" y="4368418"/>
            <a:ext cx="740757"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Sustainability</a:t>
            </a:r>
          </a:p>
        </p:txBody>
      </p:sp>
      <p:sp>
        <p:nvSpPr>
          <p:cNvPr id="40" name="TextBox 39">
            <a:extLst>
              <a:ext uri="{FF2B5EF4-FFF2-40B4-BE49-F238E27FC236}">
                <a16:creationId xmlns:a16="http://schemas.microsoft.com/office/drawing/2014/main" id="{EBBDC9CC-7707-4D50-8CB9-4DAF67A5BDAF}"/>
              </a:ext>
            </a:extLst>
          </p:cNvPr>
          <p:cNvSpPr txBox="1"/>
          <p:nvPr/>
        </p:nvSpPr>
        <p:spPr>
          <a:xfrm>
            <a:off x="9680865" y="4368418"/>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Talent</a:t>
            </a:r>
          </a:p>
        </p:txBody>
      </p:sp>
      <p:sp>
        <p:nvSpPr>
          <p:cNvPr id="41" name="TextBox 40">
            <a:extLst>
              <a:ext uri="{FF2B5EF4-FFF2-40B4-BE49-F238E27FC236}">
                <a16:creationId xmlns:a16="http://schemas.microsoft.com/office/drawing/2014/main" id="{56FFB8DB-C2C8-42F9-B567-9A535280DE3A}"/>
              </a:ext>
            </a:extLst>
          </p:cNvPr>
          <p:cNvSpPr txBox="1"/>
          <p:nvPr/>
        </p:nvSpPr>
        <p:spPr>
          <a:xfrm>
            <a:off x="8192493" y="5408326"/>
            <a:ext cx="638915" cy="301274"/>
          </a:xfrm>
          <a:prstGeom prst="rect">
            <a:avLst/>
          </a:prstGeom>
          <a:noFill/>
        </p:spPr>
        <p:txBody>
          <a:bodyPr wrap="square" lIns="0" tIns="0" rIns="0" bIns="0" rtlCol="0">
            <a:noAutofit/>
          </a:bodyPr>
          <a:lstStyle/>
          <a:p>
            <a:pPr algn="ctr">
              <a:spcAft>
                <a:spcPts val="770"/>
              </a:spcAft>
            </a:pPr>
            <a:r>
              <a:rPr lang="en-GB" sz="684">
                <a:solidFill>
                  <a:srgbClr val="000000"/>
                </a:solidFill>
                <a:latin typeface="Segoe UI Light" panose="020B0502040204020203" pitchFamily="34" charset="0"/>
                <a:cs typeface="Segoe UI Light" panose="020B0502040204020203" pitchFamily="34" charset="0"/>
              </a:rPr>
              <a:t>Tax</a:t>
            </a:r>
          </a:p>
        </p:txBody>
      </p:sp>
      <p:grpSp>
        <p:nvGrpSpPr>
          <p:cNvPr id="42" name="Group 41">
            <a:extLst>
              <a:ext uri="{FF2B5EF4-FFF2-40B4-BE49-F238E27FC236}">
                <a16:creationId xmlns:a16="http://schemas.microsoft.com/office/drawing/2014/main" id="{0D1B9F07-AE72-405A-8FE9-5FCAA71FAAA1}"/>
              </a:ext>
            </a:extLst>
          </p:cNvPr>
          <p:cNvGrpSpPr/>
          <p:nvPr/>
        </p:nvGrpSpPr>
        <p:grpSpPr>
          <a:xfrm>
            <a:off x="2031260" y="1663988"/>
            <a:ext cx="523325" cy="523325"/>
            <a:chOff x="589752" y="2258092"/>
            <a:chExt cx="612000" cy="612000"/>
          </a:xfrm>
        </p:grpSpPr>
        <p:sp>
          <p:nvSpPr>
            <p:cNvPr id="43" name="Oval 42">
              <a:extLst>
                <a:ext uri="{FF2B5EF4-FFF2-40B4-BE49-F238E27FC236}">
                  <a16:creationId xmlns:a16="http://schemas.microsoft.com/office/drawing/2014/main" id="{B25BFF5C-0F79-494D-B6CB-53AAAEDCBE14}"/>
                </a:ext>
              </a:extLst>
            </p:cNvPr>
            <p:cNvSpPr/>
            <p:nvPr/>
          </p:nvSpPr>
          <p:spPr bwMode="ltGray">
            <a:xfrm>
              <a:off x="589752"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44" name="Freeform 4804">
              <a:extLst>
                <a:ext uri="{FF2B5EF4-FFF2-40B4-BE49-F238E27FC236}">
                  <a16:creationId xmlns:a16="http://schemas.microsoft.com/office/drawing/2014/main" id="{00DC2978-F4CC-4002-A2C8-1C7CE4AC509B}"/>
                </a:ext>
              </a:extLst>
            </p:cNvPr>
            <p:cNvSpPr>
              <a:spLocks/>
            </p:cNvSpPr>
            <p:nvPr/>
          </p:nvSpPr>
          <p:spPr bwMode="auto">
            <a:xfrm>
              <a:off x="686314" y="2383746"/>
              <a:ext cx="418876" cy="421430"/>
            </a:xfrm>
            <a:custGeom>
              <a:avLst/>
              <a:gdLst>
                <a:gd name="T0" fmla="*/ 250 w 328"/>
                <a:gd name="T1" fmla="*/ 118 h 330"/>
                <a:gd name="T2" fmla="*/ 290 w 328"/>
                <a:gd name="T3" fmla="*/ 300 h 330"/>
                <a:gd name="T4" fmla="*/ 288 w 328"/>
                <a:gd name="T5" fmla="*/ 310 h 330"/>
                <a:gd name="T6" fmla="*/ 270 w 328"/>
                <a:gd name="T7" fmla="*/ 326 h 330"/>
                <a:gd name="T8" fmla="*/ 262 w 328"/>
                <a:gd name="T9" fmla="*/ 330 h 330"/>
                <a:gd name="T10" fmla="*/ 262 w 328"/>
                <a:gd name="T11" fmla="*/ 330 h 330"/>
                <a:gd name="T12" fmla="*/ 256 w 328"/>
                <a:gd name="T13" fmla="*/ 328 h 330"/>
                <a:gd name="T14" fmla="*/ 188 w 328"/>
                <a:gd name="T15" fmla="*/ 178 h 330"/>
                <a:gd name="T16" fmla="*/ 124 w 328"/>
                <a:gd name="T17" fmla="*/ 302 h 330"/>
                <a:gd name="T18" fmla="*/ 124 w 328"/>
                <a:gd name="T19" fmla="*/ 308 h 330"/>
                <a:gd name="T20" fmla="*/ 112 w 328"/>
                <a:gd name="T21" fmla="*/ 320 h 330"/>
                <a:gd name="T22" fmla="*/ 110 w 328"/>
                <a:gd name="T23" fmla="*/ 322 h 330"/>
                <a:gd name="T24" fmla="*/ 106 w 328"/>
                <a:gd name="T25" fmla="*/ 322 h 330"/>
                <a:gd name="T26" fmla="*/ 104 w 328"/>
                <a:gd name="T27" fmla="*/ 322 h 330"/>
                <a:gd name="T28" fmla="*/ 96 w 328"/>
                <a:gd name="T29" fmla="*/ 316 h 330"/>
                <a:gd name="T30" fmla="*/ 14 w 328"/>
                <a:gd name="T31" fmla="*/ 234 h 330"/>
                <a:gd name="T32" fmla="*/ 10 w 328"/>
                <a:gd name="T33" fmla="*/ 230 h 330"/>
                <a:gd name="T34" fmla="*/ 8 w 328"/>
                <a:gd name="T35" fmla="*/ 226 h 330"/>
                <a:gd name="T36" fmla="*/ 10 w 328"/>
                <a:gd name="T37" fmla="*/ 218 h 330"/>
                <a:gd name="T38" fmla="*/ 20 w 328"/>
                <a:gd name="T39" fmla="*/ 208 h 330"/>
                <a:gd name="T40" fmla="*/ 26 w 328"/>
                <a:gd name="T41" fmla="*/ 204 h 330"/>
                <a:gd name="T42" fmla="*/ 150 w 328"/>
                <a:gd name="T43" fmla="*/ 142 h 330"/>
                <a:gd name="T44" fmla="*/ 6 w 328"/>
                <a:gd name="T45" fmla="*/ 76 h 330"/>
                <a:gd name="T46" fmla="*/ 0 w 328"/>
                <a:gd name="T47" fmla="*/ 68 h 330"/>
                <a:gd name="T48" fmla="*/ 0 w 328"/>
                <a:gd name="T49" fmla="*/ 64 h 330"/>
                <a:gd name="T50" fmla="*/ 20 w 328"/>
                <a:gd name="T51" fmla="*/ 42 h 330"/>
                <a:gd name="T52" fmla="*/ 24 w 328"/>
                <a:gd name="T53" fmla="*/ 40 h 330"/>
                <a:gd name="T54" fmla="*/ 212 w 328"/>
                <a:gd name="T55" fmla="*/ 80 h 330"/>
                <a:gd name="T56" fmla="*/ 284 w 328"/>
                <a:gd name="T57" fmla="*/ 8 h 330"/>
                <a:gd name="T58" fmla="*/ 302 w 328"/>
                <a:gd name="T59" fmla="*/ 0 h 330"/>
                <a:gd name="T60" fmla="*/ 322 w 328"/>
                <a:gd name="T61" fmla="*/ 8 h 330"/>
                <a:gd name="T62" fmla="*/ 328 w 328"/>
                <a:gd name="T63" fmla="*/ 16 h 330"/>
                <a:gd name="T64" fmla="*/ 328 w 328"/>
                <a:gd name="T65" fmla="*/ 36 h 330"/>
                <a:gd name="T66" fmla="*/ 322 w 328"/>
                <a:gd name="T67" fmla="*/ 4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8" h="330">
                  <a:moveTo>
                    <a:pt x="322" y="46"/>
                  </a:moveTo>
                  <a:lnTo>
                    <a:pt x="250" y="118"/>
                  </a:lnTo>
                  <a:lnTo>
                    <a:pt x="290" y="300"/>
                  </a:lnTo>
                  <a:lnTo>
                    <a:pt x="290" y="300"/>
                  </a:lnTo>
                  <a:lnTo>
                    <a:pt x="290" y="304"/>
                  </a:lnTo>
                  <a:lnTo>
                    <a:pt x="288" y="310"/>
                  </a:lnTo>
                  <a:lnTo>
                    <a:pt x="270" y="326"/>
                  </a:lnTo>
                  <a:lnTo>
                    <a:pt x="270" y="326"/>
                  </a:lnTo>
                  <a:lnTo>
                    <a:pt x="266" y="330"/>
                  </a:lnTo>
                  <a:lnTo>
                    <a:pt x="262" y="330"/>
                  </a:lnTo>
                  <a:lnTo>
                    <a:pt x="262" y="330"/>
                  </a:lnTo>
                  <a:lnTo>
                    <a:pt x="262" y="330"/>
                  </a:lnTo>
                  <a:lnTo>
                    <a:pt x="262" y="330"/>
                  </a:lnTo>
                  <a:lnTo>
                    <a:pt x="256" y="328"/>
                  </a:lnTo>
                  <a:lnTo>
                    <a:pt x="254" y="324"/>
                  </a:lnTo>
                  <a:lnTo>
                    <a:pt x="188" y="178"/>
                  </a:lnTo>
                  <a:lnTo>
                    <a:pt x="122" y="246"/>
                  </a:lnTo>
                  <a:lnTo>
                    <a:pt x="124" y="302"/>
                  </a:lnTo>
                  <a:lnTo>
                    <a:pt x="124" y="302"/>
                  </a:lnTo>
                  <a:lnTo>
                    <a:pt x="124" y="308"/>
                  </a:lnTo>
                  <a:lnTo>
                    <a:pt x="122" y="310"/>
                  </a:lnTo>
                  <a:lnTo>
                    <a:pt x="112" y="320"/>
                  </a:lnTo>
                  <a:lnTo>
                    <a:pt x="112" y="320"/>
                  </a:lnTo>
                  <a:lnTo>
                    <a:pt x="110" y="322"/>
                  </a:lnTo>
                  <a:lnTo>
                    <a:pt x="106" y="322"/>
                  </a:lnTo>
                  <a:lnTo>
                    <a:pt x="106" y="322"/>
                  </a:lnTo>
                  <a:lnTo>
                    <a:pt x="104" y="322"/>
                  </a:lnTo>
                  <a:lnTo>
                    <a:pt x="104" y="322"/>
                  </a:lnTo>
                  <a:lnTo>
                    <a:pt x="98" y="320"/>
                  </a:lnTo>
                  <a:lnTo>
                    <a:pt x="96" y="316"/>
                  </a:lnTo>
                  <a:lnTo>
                    <a:pt x="74" y="256"/>
                  </a:lnTo>
                  <a:lnTo>
                    <a:pt x="14" y="234"/>
                  </a:lnTo>
                  <a:lnTo>
                    <a:pt x="14" y="234"/>
                  </a:lnTo>
                  <a:lnTo>
                    <a:pt x="10" y="230"/>
                  </a:lnTo>
                  <a:lnTo>
                    <a:pt x="8" y="226"/>
                  </a:lnTo>
                  <a:lnTo>
                    <a:pt x="8" y="226"/>
                  </a:lnTo>
                  <a:lnTo>
                    <a:pt x="8" y="222"/>
                  </a:lnTo>
                  <a:lnTo>
                    <a:pt x="10" y="218"/>
                  </a:lnTo>
                  <a:lnTo>
                    <a:pt x="20" y="208"/>
                  </a:lnTo>
                  <a:lnTo>
                    <a:pt x="20" y="208"/>
                  </a:lnTo>
                  <a:lnTo>
                    <a:pt x="22" y="206"/>
                  </a:lnTo>
                  <a:lnTo>
                    <a:pt x="26" y="204"/>
                  </a:lnTo>
                  <a:lnTo>
                    <a:pt x="84" y="208"/>
                  </a:lnTo>
                  <a:lnTo>
                    <a:pt x="150" y="142"/>
                  </a:lnTo>
                  <a:lnTo>
                    <a:pt x="6" y="76"/>
                  </a:lnTo>
                  <a:lnTo>
                    <a:pt x="6" y="76"/>
                  </a:lnTo>
                  <a:lnTo>
                    <a:pt x="2" y="72"/>
                  </a:lnTo>
                  <a:lnTo>
                    <a:pt x="0" y="68"/>
                  </a:lnTo>
                  <a:lnTo>
                    <a:pt x="0" y="68"/>
                  </a:lnTo>
                  <a:lnTo>
                    <a:pt x="0" y="64"/>
                  </a:lnTo>
                  <a:lnTo>
                    <a:pt x="2" y="60"/>
                  </a:lnTo>
                  <a:lnTo>
                    <a:pt x="20" y="42"/>
                  </a:lnTo>
                  <a:lnTo>
                    <a:pt x="20" y="42"/>
                  </a:lnTo>
                  <a:lnTo>
                    <a:pt x="24" y="40"/>
                  </a:lnTo>
                  <a:lnTo>
                    <a:pt x="30" y="40"/>
                  </a:lnTo>
                  <a:lnTo>
                    <a:pt x="212" y="80"/>
                  </a:lnTo>
                  <a:lnTo>
                    <a:pt x="284" y="8"/>
                  </a:lnTo>
                  <a:lnTo>
                    <a:pt x="284" y="8"/>
                  </a:lnTo>
                  <a:lnTo>
                    <a:pt x="294" y="2"/>
                  </a:lnTo>
                  <a:lnTo>
                    <a:pt x="302" y="0"/>
                  </a:lnTo>
                  <a:lnTo>
                    <a:pt x="312" y="2"/>
                  </a:lnTo>
                  <a:lnTo>
                    <a:pt x="322" y="8"/>
                  </a:lnTo>
                  <a:lnTo>
                    <a:pt x="322" y="8"/>
                  </a:lnTo>
                  <a:lnTo>
                    <a:pt x="328" y="16"/>
                  </a:lnTo>
                  <a:lnTo>
                    <a:pt x="328" y="26"/>
                  </a:lnTo>
                  <a:lnTo>
                    <a:pt x="328" y="36"/>
                  </a:lnTo>
                  <a:lnTo>
                    <a:pt x="322" y="46"/>
                  </a:lnTo>
                  <a:lnTo>
                    <a:pt x="322" y="46"/>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45" name="Group 44">
            <a:extLst>
              <a:ext uri="{FF2B5EF4-FFF2-40B4-BE49-F238E27FC236}">
                <a16:creationId xmlns:a16="http://schemas.microsoft.com/office/drawing/2014/main" id="{C69EF12E-633A-4ABB-BB3B-4E819EA6CF26}"/>
              </a:ext>
            </a:extLst>
          </p:cNvPr>
          <p:cNvGrpSpPr/>
          <p:nvPr/>
        </p:nvGrpSpPr>
        <p:grpSpPr>
          <a:xfrm>
            <a:off x="2031260" y="2704062"/>
            <a:ext cx="523325" cy="523325"/>
            <a:chOff x="589752" y="3474401"/>
            <a:chExt cx="612000" cy="612000"/>
          </a:xfrm>
        </p:grpSpPr>
        <p:sp>
          <p:nvSpPr>
            <p:cNvPr id="46" name="Oval 45">
              <a:extLst>
                <a:ext uri="{FF2B5EF4-FFF2-40B4-BE49-F238E27FC236}">
                  <a16:creationId xmlns:a16="http://schemas.microsoft.com/office/drawing/2014/main" id="{183B25D9-6F86-421C-8256-9944E0A5A998}"/>
                </a:ext>
              </a:extLst>
            </p:cNvPr>
            <p:cNvSpPr/>
            <p:nvPr/>
          </p:nvSpPr>
          <p:spPr bwMode="ltGray">
            <a:xfrm>
              <a:off x="589752"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47" name="Freeform 4814">
              <a:extLst>
                <a:ext uri="{FF2B5EF4-FFF2-40B4-BE49-F238E27FC236}">
                  <a16:creationId xmlns:a16="http://schemas.microsoft.com/office/drawing/2014/main" id="{5783B68C-0B57-4322-A749-08F9C44CDA34}"/>
                </a:ext>
              </a:extLst>
            </p:cNvPr>
            <p:cNvSpPr>
              <a:spLocks noEditPoints="1"/>
            </p:cNvSpPr>
            <p:nvPr/>
          </p:nvSpPr>
          <p:spPr bwMode="auto">
            <a:xfrm>
              <a:off x="723501" y="3564741"/>
              <a:ext cx="344502" cy="457696"/>
            </a:xfrm>
            <a:custGeom>
              <a:avLst/>
              <a:gdLst>
                <a:gd name="T0" fmla="*/ 148 w 280"/>
                <a:gd name="T1" fmla="*/ 304 h 372"/>
                <a:gd name="T2" fmla="*/ 148 w 280"/>
                <a:gd name="T3" fmla="*/ 98 h 372"/>
                <a:gd name="T4" fmla="*/ 164 w 280"/>
                <a:gd name="T5" fmla="*/ 92 h 372"/>
                <a:gd name="T6" fmla="*/ 180 w 280"/>
                <a:gd name="T7" fmla="*/ 72 h 372"/>
                <a:gd name="T8" fmla="*/ 186 w 280"/>
                <a:gd name="T9" fmla="*/ 48 h 372"/>
                <a:gd name="T10" fmla="*/ 178 w 280"/>
                <a:gd name="T11" fmla="*/ 20 h 372"/>
                <a:gd name="T12" fmla="*/ 160 w 280"/>
                <a:gd name="T13" fmla="*/ 48 h 372"/>
                <a:gd name="T14" fmla="*/ 106 w 280"/>
                <a:gd name="T15" fmla="*/ 0 h 372"/>
                <a:gd name="T16" fmla="*/ 80 w 280"/>
                <a:gd name="T17" fmla="*/ 32 h 372"/>
                <a:gd name="T18" fmla="*/ 78 w 280"/>
                <a:gd name="T19" fmla="*/ 56 h 372"/>
                <a:gd name="T20" fmla="*/ 88 w 280"/>
                <a:gd name="T21" fmla="*/ 80 h 372"/>
                <a:gd name="T22" fmla="*/ 108 w 280"/>
                <a:gd name="T23" fmla="*/ 96 h 372"/>
                <a:gd name="T24" fmla="*/ 116 w 280"/>
                <a:gd name="T25" fmla="*/ 300 h 372"/>
                <a:gd name="T26" fmla="*/ 108 w 280"/>
                <a:gd name="T27" fmla="*/ 308 h 372"/>
                <a:gd name="T28" fmla="*/ 96 w 280"/>
                <a:gd name="T29" fmla="*/ 336 h 372"/>
                <a:gd name="T30" fmla="*/ 98 w 280"/>
                <a:gd name="T31" fmla="*/ 350 h 372"/>
                <a:gd name="T32" fmla="*/ 106 w 280"/>
                <a:gd name="T33" fmla="*/ 360 h 372"/>
                <a:gd name="T34" fmla="*/ 124 w 280"/>
                <a:gd name="T35" fmla="*/ 370 h 372"/>
                <a:gd name="T36" fmla="*/ 140 w 280"/>
                <a:gd name="T37" fmla="*/ 370 h 372"/>
                <a:gd name="T38" fmla="*/ 158 w 280"/>
                <a:gd name="T39" fmla="*/ 360 h 372"/>
                <a:gd name="T40" fmla="*/ 168 w 280"/>
                <a:gd name="T41" fmla="*/ 342 h 372"/>
                <a:gd name="T42" fmla="*/ 168 w 280"/>
                <a:gd name="T43" fmla="*/ 328 h 372"/>
                <a:gd name="T44" fmla="*/ 158 w 280"/>
                <a:gd name="T45" fmla="*/ 310 h 372"/>
                <a:gd name="T46" fmla="*/ 144 w 280"/>
                <a:gd name="T47" fmla="*/ 346 h 372"/>
                <a:gd name="T48" fmla="*/ 132 w 280"/>
                <a:gd name="T49" fmla="*/ 352 h 372"/>
                <a:gd name="T50" fmla="*/ 120 w 280"/>
                <a:gd name="T51" fmla="*/ 346 h 372"/>
                <a:gd name="T52" fmla="*/ 116 w 280"/>
                <a:gd name="T53" fmla="*/ 336 h 372"/>
                <a:gd name="T54" fmla="*/ 120 w 280"/>
                <a:gd name="T55" fmla="*/ 324 h 372"/>
                <a:gd name="T56" fmla="*/ 132 w 280"/>
                <a:gd name="T57" fmla="*/ 320 h 372"/>
                <a:gd name="T58" fmla="*/ 144 w 280"/>
                <a:gd name="T59" fmla="*/ 324 h 372"/>
                <a:gd name="T60" fmla="*/ 148 w 280"/>
                <a:gd name="T61" fmla="*/ 336 h 372"/>
                <a:gd name="T62" fmla="*/ 144 w 280"/>
                <a:gd name="T63" fmla="*/ 346 h 372"/>
                <a:gd name="T64" fmla="*/ 186 w 280"/>
                <a:gd name="T65" fmla="*/ 318 h 372"/>
                <a:gd name="T66" fmla="*/ 172 w 280"/>
                <a:gd name="T67" fmla="*/ 296 h 372"/>
                <a:gd name="T68" fmla="*/ 168 w 280"/>
                <a:gd name="T69" fmla="*/ 286 h 372"/>
                <a:gd name="T70" fmla="*/ 168 w 280"/>
                <a:gd name="T71" fmla="*/ 250 h 372"/>
                <a:gd name="T72" fmla="*/ 172 w 280"/>
                <a:gd name="T73" fmla="*/ 190 h 372"/>
                <a:gd name="T74" fmla="*/ 178 w 280"/>
                <a:gd name="T75" fmla="*/ 194 h 372"/>
                <a:gd name="T76" fmla="*/ 186 w 280"/>
                <a:gd name="T77" fmla="*/ 190 h 372"/>
                <a:gd name="T78" fmla="*/ 188 w 280"/>
                <a:gd name="T79" fmla="*/ 180 h 372"/>
                <a:gd name="T80" fmla="*/ 168 w 280"/>
                <a:gd name="T81" fmla="*/ 150 h 372"/>
                <a:gd name="T82" fmla="*/ 204 w 280"/>
                <a:gd name="T83" fmla="*/ 158 h 372"/>
                <a:gd name="T84" fmla="*/ 212 w 280"/>
                <a:gd name="T85" fmla="*/ 160 h 372"/>
                <a:gd name="T86" fmla="*/ 218 w 280"/>
                <a:gd name="T87" fmla="*/ 158 h 372"/>
                <a:gd name="T88" fmla="*/ 220 w 280"/>
                <a:gd name="T89" fmla="*/ 146 h 372"/>
                <a:gd name="T90" fmla="*/ 216 w 280"/>
                <a:gd name="T91" fmla="*/ 102 h 372"/>
                <a:gd name="T92" fmla="*/ 240 w 280"/>
                <a:gd name="T93" fmla="*/ 126 h 372"/>
                <a:gd name="T94" fmla="*/ 248 w 280"/>
                <a:gd name="T95" fmla="*/ 126 h 372"/>
                <a:gd name="T96" fmla="*/ 254 w 280"/>
                <a:gd name="T97" fmla="*/ 122 h 372"/>
                <a:gd name="T98" fmla="*/ 252 w 280"/>
                <a:gd name="T99" fmla="*/ 110 h 372"/>
                <a:gd name="T100" fmla="*/ 84 w 280"/>
                <a:gd name="T101" fmla="*/ 234 h 372"/>
                <a:gd name="T102" fmla="*/ 96 w 280"/>
                <a:gd name="T103" fmla="*/ 292 h 372"/>
                <a:gd name="T104" fmla="*/ 0 w 280"/>
                <a:gd name="T105" fmla="*/ 318 h 372"/>
                <a:gd name="T106" fmla="*/ 72 w 280"/>
                <a:gd name="T107" fmla="*/ 290 h 372"/>
                <a:gd name="T108" fmla="*/ 80 w 280"/>
                <a:gd name="T109" fmla="*/ 292 h 372"/>
                <a:gd name="T110" fmla="*/ 86 w 280"/>
                <a:gd name="T111" fmla="*/ 290 h 372"/>
                <a:gd name="T112" fmla="*/ 88 w 280"/>
                <a:gd name="T113" fmla="*/ 278 h 372"/>
                <a:gd name="T114" fmla="*/ 84 w 280"/>
                <a:gd name="T115" fmla="*/ 23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0" h="372">
                  <a:moveTo>
                    <a:pt x="158" y="310"/>
                  </a:moveTo>
                  <a:lnTo>
                    <a:pt x="158" y="310"/>
                  </a:lnTo>
                  <a:lnTo>
                    <a:pt x="148" y="304"/>
                  </a:lnTo>
                  <a:lnTo>
                    <a:pt x="148" y="304"/>
                  </a:lnTo>
                  <a:lnTo>
                    <a:pt x="148" y="300"/>
                  </a:lnTo>
                  <a:lnTo>
                    <a:pt x="148" y="98"/>
                  </a:lnTo>
                  <a:lnTo>
                    <a:pt x="148" y="98"/>
                  </a:lnTo>
                  <a:lnTo>
                    <a:pt x="156" y="96"/>
                  </a:lnTo>
                  <a:lnTo>
                    <a:pt x="164" y="92"/>
                  </a:lnTo>
                  <a:lnTo>
                    <a:pt x="170" y="86"/>
                  </a:lnTo>
                  <a:lnTo>
                    <a:pt x="176" y="80"/>
                  </a:lnTo>
                  <a:lnTo>
                    <a:pt x="180" y="72"/>
                  </a:lnTo>
                  <a:lnTo>
                    <a:pt x="184" y="64"/>
                  </a:lnTo>
                  <a:lnTo>
                    <a:pt x="186" y="56"/>
                  </a:lnTo>
                  <a:lnTo>
                    <a:pt x="186" y="48"/>
                  </a:lnTo>
                  <a:lnTo>
                    <a:pt x="186" y="48"/>
                  </a:lnTo>
                  <a:lnTo>
                    <a:pt x="184" y="32"/>
                  </a:lnTo>
                  <a:lnTo>
                    <a:pt x="178" y="20"/>
                  </a:lnTo>
                  <a:lnTo>
                    <a:pt x="170" y="10"/>
                  </a:lnTo>
                  <a:lnTo>
                    <a:pt x="160" y="0"/>
                  </a:lnTo>
                  <a:lnTo>
                    <a:pt x="160" y="48"/>
                  </a:lnTo>
                  <a:lnTo>
                    <a:pt x="106" y="48"/>
                  </a:lnTo>
                  <a:lnTo>
                    <a:pt x="106" y="0"/>
                  </a:lnTo>
                  <a:lnTo>
                    <a:pt x="106" y="0"/>
                  </a:lnTo>
                  <a:lnTo>
                    <a:pt x="94" y="10"/>
                  </a:lnTo>
                  <a:lnTo>
                    <a:pt x="86" y="20"/>
                  </a:lnTo>
                  <a:lnTo>
                    <a:pt x="80" y="32"/>
                  </a:lnTo>
                  <a:lnTo>
                    <a:pt x="78" y="48"/>
                  </a:lnTo>
                  <a:lnTo>
                    <a:pt x="78" y="48"/>
                  </a:lnTo>
                  <a:lnTo>
                    <a:pt x="78" y="56"/>
                  </a:lnTo>
                  <a:lnTo>
                    <a:pt x="82" y="64"/>
                  </a:lnTo>
                  <a:lnTo>
                    <a:pt x="84" y="72"/>
                  </a:lnTo>
                  <a:lnTo>
                    <a:pt x="88" y="80"/>
                  </a:lnTo>
                  <a:lnTo>
                    <a:pt x="94" y="86"/>
                  </a:lnTo>
                  <a:lnTo>
                    <a:pt x="100" y="92"/>
                  </a:lnTo>
                  <a:lnTo>
                    <a:pt x="108" y="96"/>
                  </a:lnTo>
                  <a:lnTo>
                    <a:pt x="116" y="98"/>
                  </a:lnTo>
                  <a:lnTo>
                    <a:pt x="116" y="300"/>
                  </a:lnTo>
                  <a:lnTo>
                    <a:pt x="116" y="300"/>
                  </a:lnTo>
                  <a:lnTo>
                    <a:pt x="116" y="304"/>
                  </a:lnTo>
                  <a:lnTo>
                    <a:pt x="116" y="304"/>
                  </a:lnTo>
                  <a:lnTo>
                    <a:pt x="108" y="308"/>
                  </a:lnTo>
                  <a:lnTo>
                    <a:pt x="102" y="316"/>
                  </a:lnTo>
                  <a:lnTo>
                    <a:pt x="98" y="326"/>
                  </a:lnTo>
                  <a:lnTo>
                    <a:pt x="96" y="336"/>
                  </a:lnTo>
                  <a:lnTo>
                    <a:pt x="96" y="336"/>
                  </a:lnTo>
                  <a:lnTo>
                    <a:pt x="96" y="342"/>
                  </a:lnTo>
                  <a:lnTo>
                    <a:pt x="98" y="350"/>
                  </a:lnTo>
                  <a:lnTo>
                    <a:pt x="102" y="356"/>
                  </a:lnTo>
                  <a:lnTo>
                    <a:pt x="106" y="360"/>
                  </a:lnTo>
                  <a:lnTo>
                    <a:pt x="106" y="360"/>
                  </a:lnTo>
                  <a:lnTo>
                    <a:pt x="112" y="366"/>
                  </a:lnTo>
                  <a:lnTo>
                    <a:pt x="118" y="368"/>
                  </a:lnTo>
                  <a:lnTo>
                    <a:pt x="124" y="370"/>
                  </a:lnTo>
                  <a:lnTo>
                    <a:pt x="132" y="372"/>
                  </a:lnTo>
                  <a:lnTo>
                    <a:pt x="132" y="372"/>
                  </a:lnTo>
                  <a:lnTo>
                    <a:pt x="140" y="370"/>
                  </a:lnTo>
                  <a:lnTo>
                    <a:pt x="146" y="368"/>
                  </a:lnTo>
                  <a:lnTo>
                    <a:pt x="152" y="366"/>
                  </a:lnTo>
                  <a:lnTo>
                    <a:pt x="158" y="360"/>
                  </a:lnTo>
                  <a:lnTo>
                    <a:pt x="162" y="356"/>
                  </a:lnTo>
                  <a:lnTo>
                    <a:pt x="166" y="350"/>
                  </a:lnTo>
                  <a:lnTo>
                    <a:pt x="168" y="342"/>
                  </a:lnTo>
                  <a:lnTo>
                    <a:pt x="168" y="336"/>
                  </a:lnTo>
                  <a:lnTo>
                    <a:pt x="168" y="336"/>
                  </a:lnTo>
                  <a:lnTo>
                    <a:pt x="168" y="328"/>
                  </a:lnTo>
                  <a:lnTo>
                    <a:pt x="166" y="322"/>
                  </a:lnTo>
                  <a:lnTo>
                    <a:pt x="162" y="316"/>
                  </a:lnTo>
                  <a:lnTo>
                    <a:pt x="158" y="310"/>
                  </a:lnTo>
                  <a:lnTo>
                    <a:pt x="158" y="310"/>
                  </a:lnTo>
                  <a:close/>
                  <a:moveTo>
                    <a:pt x="144" y="346"/>
                  </a:moveTo>
                  <a:lnTo>
                    <a:pt x="144" y="346"/>
                  </a:lnTo>
                  <a:lnTo>
                    <a:pt x="138" y="350"/>
                  </a:lnTo>
                  <a:lnTo>
                    <a:pt x="132" y="352"/>
                  </a:lnTo>
                  <a:lnTo>
                    <a:pt x="132" y="352"/>
                  </a:lnTo>
                  <a:lnTo>
                    <a:pt x="126" y="350"/>
                  </a:lnTo>
                  <a:lnTo>
                    <a:pt x="120" y="346"/>
                  </a:lnTo>
                  <a:lnTo>
                    <a:pt x="120" y="346"/>
                  </a:lnTo>
                  <a:lnTo>
                    <a:pt x="118" y="342"/>
                  </a:lnTo>
                  <a:lnTo>
                    <a:pt x="116" y="336"/>
                  </a:lnTo>
                  <a:lnTo>
                    <a:pt x="116" y="336"/>
                  </a:lnTo>
                  <a:lnTo>
                    <a:pt x="118" y="330"/>
                  </a:lnTo>
                  <a:lnTo>
                    <a:pt x="120" y="324"/>
                  </a:lnTo>
                  <a:lnTo>
                    <a:pt x="120" y="324"/>
                  </a:lnTo>
                  <a:lnTo>
                    <a:pt x="126" y="320"/>
                  </a:lnTo>
                  <a:lnTo>
                    <a:pt x="132" y="320"/>
                  </a:lnTo>
                  <a:lnTo>
                    <a:pt x="132" y="320"/>
                  </a:lnTo>
                  <a:lnTo>
                    <a:pt x="138" y="320"/>
                  </a:lnTo>
                  <a:lnTo>
                    <a:pt x="144" y="324"/>
                  </a:lnTo>
                  <a:lnTo>
                    <a:pt x="144" y="324"/>
                  </a:lnTo>
                  <a:lnTo>
                    <a:pt x="146" y="330"/>
                  </a:lnTo>
                  <a:lnTo>
                    <a:pt x="148" y="336"/>
                  </a:lnTo>
                  <a:lnTo>
                    <a:pt x="148" y="336"/>
                  </a:lnTo>
                  <a:lnTo>
                    <a:pt x="146" y="342"/>
                  </a:lnTo>
                  <a:lnTo>
                    <a:pt x="144" y="346"/>
                  </a:lnTo>
                  <a:lnTo>
                    <a:pt x="144" y="346"/>
                  </a:lnTo>
                  <a:close/>
                  <a:moveTo>
                    <a:pt x="280" y="38"/>
                  </a:moveTo>
                  <a:lnTo>
                    <a:pt x="280" y="318"/>
                  </a:lnTo>
                  <a:lnTo>
                    <a:pt x="186" y="318"/>
                  </a:lnTo>
                  <a:lnTo>
                    <a:pt x="186" y="318"/>
                  </a:lnTo>
                  <a:lnTo>
                    <a:pt x="180" y="306"/>
                  </a:lnTo>
                  <a:lnTo>
                    <a:pt x="172" y="296"/>
                  </a:lnTo>
                  <a:lnTo>
                    <a:pt x="172" y="296"/>
                  </a:lnTo>
                  <a:lnTo>
                    <a:pt x="168" y="292"/>
                  </a:lnTo>
                  <a:lnTo>
                    <a:pt x="168" y="286"/>
                  </a:lnTo>
                  <a:lnTo>
                    <a:pt x="248" y="286"/>
                  </a:lnTo>
                  <a:lnTo>
                    <a:pt x="248" y="170"/>
                  </a:lnTo>
                  <a:lnTo>
                    <a:pt x="168" y="250"/>
                  </a:lnTo>
                  <a:lnTo>
                    <a:pt x="168" y="188"/>
                  </a:lnTo>
                  <a:lnTo>
                    <a:pt x="172" y="190"/>
                  </a:lnTo>
                  <a:lnTo>
                    <a:pt x="172" y="190"/>
                  </a:lnTo>
                  <a:lnTo>
                    <a:pt x="174" y="192"/>
                  </a:lnTo>
                  <a:lnTo>
                    <a:pt x="178" y="194"/>
                  </a:lnTo>
                  <a:lnTo>
                    <a:pt x="178" y="194"/>
                  </a:lnTo>
                  <a:lnTo>
                    <a:pt x="182" y="192"/>
                  </a:lnTo>
                  <a:lnTo>
                    <a:pt x="186" y="190"/>
                  </a:lnTo>
                  <a:lnTo>
                    <a:pt x="186" y="190"/>
                  </a:lnTo>
                  <a:lnTo>
                    <a:pt x="188" y="186"/>
                  </a:lnTo>
                  <a:lnTo>
                    <a:pt x="188" y="184"/>
                  </a:lnTo>
                  <a:lnTo>
                    <a:pt x="188" y="180"/>
                  </a:lnTo>
                  <a:lnTo>
                    <a:pt x="186" y="176"/>
                  </a:lnTo>
                  <a:lnTo>
                    <a:pt x="168" y="160"/>
                  </a:lnTo>
                  <a:lnTo>
                    <a:pt x="168" y="150"/>
                  </a:lnTo>
                  <a:lnTo>
                    <a:pt x="182" y="136"/>
                  </a:lnTo>
                  <a:lnTo>
                    <a:pt x="204" y="158"/>
                  </a:lnTo>
                  <a:lnTo>
                    <a:pt x="204" y="158"/>
                  </a:lnTo>
                  <a:lnTo>
                    <a:pt x="208" y="160"/>
                  </a:lnTo>
                  <a:lnTo>
                    <a:pt x="212" y="160"/>
                  </a:lnTo>
                  <a:lnTo>
                    <a:pt x="212" y="160"/>
                  </a:lnTo>
                  <a:lnTo>
                    <a:pt x="214" y="160"/>
                  </a:lnTo>
                  <a:lnTo>
                    <a:pt x="218" y="158"/>
                  </a:lnTo>
                  <a:lnTo>
                    <a:pt x="218" y="158"/>
                  </a:lnTo>
                  <a:lnTo>
                    <a:pt x="220" y="154"/>
                  </a:lnTo>
                  <a:lnTo>
                    <a:pt x="222" y="150"/>
                  </a:lnTo>
                  <a:lnTo>
                    <a:pt x="220" y="146"/>
                  </a:lnTo>
                  <a:lnTo>
                    <a:pt x="218" y="144"/>
                  </a:lnTo>
                  <a:lnTo>
                    <a:pt x="196" y="122"/>
                  </a:lnTo>
                  <a:lnTo>
                    <a:pt x="216" y="102"/>
                  </a:lnTo>
                  <a:lnTo>
                    <a:pt x="236" y="124"/>
                  </a:lnTo>
                  <a:lnTo>
                    <a:pt x="236" y="124"/>
                  </a:lnTo>
                  <a:lnTo>
                    <a:pt x="240" y="126"/>
                  </a:lnTo>
                  <a:lnTo>
                    <a:pt x="244" y="128"/>
                  </a:lnTo>
                  <a:lnTo>
                    <a:pt x="244" y="128"/>
                  </a:lnTo>
                  <a:lnTo>
                    <a:pt x="248" y="126"/>
                  </a:lnTo>
                  <a:lnTo>
                    <a:pt x="252" y="124"/>
                  </a:lnTo>
                  <a:lnTo>
                    <a:pt x="252" y="124"/>
                  </a:lnTo>
                  <a:lnTo>
                    <a:pt x="254" y="122"/>
                  </a:lnTo>
                  <a:lnTo>
                    <a:pt x="254" y="118"/>
                  </a:lnTo>
                  <a:lnTo>
                    <a:pt x="254" y="114"/>
                  </a:lnTo>
                  <a:lnTo>
                    <a:pt x="252" y="110"/>
                  </a:lnTo>
                  <a:lnTo>
                    <a:pt x="230" y="88"/>
                  </a:lnTo>
                  <a:lnTo>
                    <a:pt x="280" y="38"/>
                  </a:lnTo>
                  <a:close/>
                  <a:moveTo>
                    <a:pt x="84" y="234"/>
                  </a:moveTo>
                  <a:lnTo>
                    <a:pt x="96" y="248"/>
                  </a:lnTo>
                  <a:lnTo>
                    <a:pt x="96" y="292"/>
                  </a:lnTo>
                  <a:lnTo>
                    <a:pt x="96" y="292"/>
                  </a:lnTo>
                  <a:lnTo>
                    <a:pt x="86" y="304"/>
                  </a:lnTo>
                  <a:lnTo>
                    <a:pt x="80" y="318"/>
                  </a:lnTo>
                  <a:lnTo>
                    <a:pt x="0" y="318"/>
                  </a:lnTo>
                  <a:lnTo>
                    <a:pt x="50" y="268"/>
                  </a:lnTo>
                  <a:lnTo>
                    <a:pt x="72" y="290"/>
                  </a:lnTo>
                  <a:lnTo>
                    <a:pt x="72" y="290"/>
                  </a:lnTo>
                  <a:lnTo>
                    <a:pt x="76" y="292"/>
                  </a:lnTo>
                  <a:lnTo>
                    <a:pt x="80" y="292"/>
                  </a:lnTo>
                  <a:lnTo>
                    <a:pt x="80" y="292"/>
                  </a:lnTo>
                  <a:lnTo>
                    <a:pt x="84" y="292"/>
                  </a:lnTo>
                  <a:lnTo>
                    <a:pt x="86" y="290"/>
                  </a:lnTo>
                  <a:lnTo>
                    <a:pt x="86" y="290"/>
                  </a:lnTo>
                  <a:lnTo>
                    <a:pt x="88" y="286"/>
                  </a:lnTo>
                  <a:lnTo>
                    <a:pt x="90" y="282"/>
                  </a:lnTo>
                  <a:lnTo>
                    <a:pt x="88" y="278"/>
                  </a:lnTo>
                  <a:lnTo>
                    <a:pt x="86" y="274"/>
                  </a:lnTo>
                  <a:lnTo>
                    <a:pt x="64" y="254"/>
                  </a:lnTo>
                  <a:lnTo>
                    <a:pt x="84" y="234"/>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48" name="Group 47">
            <a:extLst>
              <a:ext uri="{FF2B5EF4-FFF2-40B4-BE49-F238E27FC236}">
                <a16:creationId xmlns:a16="http://schemas.microsoft.com/office/drawing/2014/main" id="{63623657-2E3D-4197-B507-0968DBFAF91A}"/>
              </a:ext>
            </a:extLst>
          </p:cNvPr>
          <p:cNvGrpSpPr/>
          <p:nvPr/>
        </p:nvGrpSpPr>
        <p:grpSpPr>
          <a:xfrm>
            <a:off x="2031260" y="3744136"/>
            <a:ext cx="523325" cy="523325"/>
            <a:chOff x="589752" y="4690710"/>
            <a:chExt cx="612000" cy="612000"/>
          </a:xfrm>
        </p:grpSpPr>
        <p:sp>
          <p:nvSpPr>
            <p:cNvPr id="49" name="Oval 48">
              <a:extLst>
                <a:ext uri="{FF2B5EF4-FFF2-40B4-BE49-F238E27FC236}">
                  <a16:creationId xmlns:a16="http://schemas.microsoft.com/office/drawing/2014/main" id="{01A54447-42E6-46A4-89C2-43F335822993}"/>
                </a:ext>
              </a:extLst>
            </p:cNvPr>
            <p:cNvSpPr/>
            <p:nvPr/>
          </p:nvSpPr>
          <p:spPr bwMode="ltGray">
            <a:xfrm>
              <a:off x="589752" y="4690710"/>
              <a:ext cx="612000" cy="612000"/>
            </a:xfrm>
            <a:prstGeom prst="ellipse">
              <a:avLst/>
            </a:prstGeom>
            <a:noFill/>
            <a:ln>
              <a:noFill/>
            </a:ln>
          </p:spPr>
          <p:txBody>
            <a:bodyPr vert="horz" wrap="square" lIns="78191" tIns="39095" rIns="78191" bIns="39095" numCol="1" anchor="t" anchorCtr="0" compatLnSpc="1">
              <a:prstTxWarp prst="textNoShape">
                <a:avLst/>
              </a:prstTxWarp>
            </a:bodyPr>
            <a:lstStyle/>
            <a:p>
              <a:endParaRPr lang="en-GB" sz="1539" err="1">
                <a:solidFill>
                  <a:srgbClr val="000000"/>
                </a:solidFill>
                <a:latin typeface="Segoe UI Light" panose="020B0502040204020203" pitchFamily="34" charset="0"/>
                <a:cs typeface="Segoe UI Light" panose="020B0502040204020203" pitchFamily="34" charset="0"/>
              </a:endParaRPr>
            </a:p>
          </p:txBody>
        </p:sp>
        <p:grpSp>
          <p:nvGrpSpPr>
            <p:cNvPr id="50" name="Group 49">
              <a:extLst>
                <a:ext uri="{FF2B5EF4-FFF2-40B4-BE49-F238E27FC236}">
                  <a16:creationId xmlns:a16="http://schemas.microsoft.com/office/drawing/2014/main" id="{1BD8BAE9-1721-4FFB-9947-8B4DDBFA1397}"/>
                </a:ext>
              </a:extLst>
            </p:cNvPr>
            <p:cNvGrpSpPr/>
            <p:nvPr/>
          </p:nvGrpSpPr>
          <p:grpSpPr>
            <a:xfrm>
              <a:off x="697784" y="4804497"/>
              <a:ext cx="476147" cy="381429"/>
              <a:chOff x="10571496" y="5223905"/>
              <a:chExt cx="590550" cy="473075"/>
            </a:xfrm>
          </p:grpSpPr>
          <p:sp>
            <p:nvSpPr>
              <p:cNvPr id="51" name="Freeform 4819">
                <a:extLst>
                  <a:ext uri="{FF2B5EF4-FFF2-40B4-BE49-F238E27FC236}">
                    <a16:creationId xmlns:a16="http://schemas.microsoft.com/office/drawing/2014/main" id="{32D8058D-4F54-4ED7-9A5A-952C9E256CE4}"/>
                  </a:ext>
                </a:extLst>
              </p:cNvPr>
              <p:cNvSpPr>
                <a:spLocks noEditPoints="1"/>
              </p:cNvSpPr>
              <p:nvPr/>
            </p:nvSpPr>
            <p:spPr bwMode="auto">
              <a:xfrm>
                <a:off x="10571496" y="5223905"/>
                <a:ext cx="590550" cy="473075"/>
              </a:xfrm>
              <a:custGeom>
                <a:avLst/>
                <a:gdLst>
                  <a:gd name="T0" fmla="*/ 286 w 372"/>
                  <a:gd name="T1" fmla="*/ 10 h 298"/>
                  <a:gd name="T2" fmla="*/ 276 w 372"/>
                  <a:gd name="T3" fmla="*/ 0 h 298"/>
                  <a:gd name="T4" fmla="*/ 250 w 372"/>
                  <a:gd name="T5" fmla="*/ 2 h 298"/>
                  <a:gd name="T6" fmla="*/ 218 w 372"/>
                  <a:gd name="T7" fmla="*/ 200 h 298"/>
                  <a:gd name="T8" fmla="*/ 218 w 372"/>
                  <a:gd name="T9" fmla="*/ 136 h 298"/>
                  <a:gd name="T10" fmla="*/ 192 w 372"/>
                  <a:gd name="T11" fmla="*/ 34 h 298"/>
                  <a:gd name="T12" fmla="*/ 208 w 372"/>
                  <a:gd name="T13" fmla="*/ 24 h 298"/>
                  <a:gd name="T14" fmla="*/ 204 w 372"/>
                  <a:gd name="T15" fmla="*/ 6 h 298"/>
                  <a:gd name="T16" fmla="*/ 36 w 372"/>
                  <a:gd name="T17" fmla="*/ 2 h 298"/>
                  <a:gd name="T18" fmla="*/ 20 w 372"/>
                  <a:gd name="T19" fmla="*/ 18 h 298"/>
                  <a:gd name="T20" fmla="*/ 6 w 372"/>
                  <a:gd name="T21" fmla="*/ 152 h 298"/>
                  <a:gd name="T22" fmla="*/ 0 w 372"/>
                  <a:gd name="T23" fmla="*/ 264 h 298"/>
                  <a:gd name="T24" fmla="*/ 6 w 372"/>
                  <a:gd name="T25" fmla="*/ 274 h 298"/>
                  <a:gd name="T26" fmla="*/ 22 w 372"/>
                  <a:gd name="T27" fmla="*/ 274 h 298"/>
                  <a:gd name="T28" fmla="*/ 30 w 372"/>
                  <a:gd name="T29" fmla="*/ 250 h 298"/>
                  <a:gd name="T30" fmla="*/ 58 w 372"/>
                  <a:gd name="T31" fmla="*/ 232 h 298"/>
                  <a:gd name="T32" fmla="*/ 84 w 372"/>
                  <a:gd name="T33" fmla="*/ 234 h 298"/>
                  <a:gd name="T34" fmla="*/ 108 w 372"/>
                  <a:gd name="T35" fmla="*/ 258 h 298"/>
                  <a:gd name="T36" fmla="*/ 110 w 372"/>
                  <a:gd name="T37" fmla="*/ 274 h 298"/>
                  <a:gd name="T38" fmla="*/ 200 w 372"/>
                  <a:gd name="T39" fmla="*/ 274 h 298"/>
                  <a:gd name="T40" fmla="*/ 200 w 372"/>
                  <a:gd name="T41" fmla="*/ 266 h 298"/>
                  <a:gd name="T42" fmla="*/ 218 w 372"/>
                  <a:gd name="T43" fmla="*/ 238 h 298"/>
                  <a:gd name="T44" fmla="*/ 244 w 372"/>
                  <a:gd name="T45" fmla="*/ 230 h 298"/>
                  <a:gd name="T46" fmla="*/ 270 w 372"/>
                  <a:gd name="T47" fmla="*/ 240 h 298"/>
                  <a:gd name="T48" fmla="*/ 286 w 372"/>
                  <a:gd name="T49" fmla="*/ 264 h 298"/>
                  <a:gd name="T50" fmla="*/ 286 w 372"/>
                  <a:gd name="T51" fmla="*/ 210 h 298"/>
                  <a:gd name="T52" fmla="*/ 366 w 372"/>
                  <a:gd name="T53" fmla="*/ 164 h 298"/>
                  <a:gd name="T54" fmla="*/ 372 w 372"/>
                  <a:gd name="T55" fmla="*/ 154 h 298"/>
                  <a:gd name="T56" fmla="*/ 362 w 372"/>
                  <a:gd name="T57" fmla="*/ 144 h 298"/>
                  <a:gd name="T58" fmla="*/ 168 w 372"/>
                  <a:gd name="T59" fmla="*/ 160 h 298"/>
                  <a:gd name="T60" fmla="*/ 162 w 372"/>
                  <a:gd name="T61" fmla="*/ 152 h 298"/>
                  <a:gd name="T62" fmla="*/ 116 w 372"/>
                  <a:gd name="T63" fmla="*/ 148 h 298"/>
                  <a:gd name="T64" fmla="*/ 90 w 372"/>
                  <a:gd name="T65" fmla="*/ 130 h 298"/>
                  <a:gd name="T66" fmla="*/ 84 w 372"/>
                  <a:gd name="T67" fmla="*/ 108 h 298"/>
                  <a:gd name="T68" fmla="*/ 68 w 372"/>
                  <a:gd name="T69" fmla="*/ 92 h 298"/>
                  <a:gd name="T70" fmla="*/ 54 w 372"/>
                  <a:gd name="T71" fmla="*/ 100 h 298"/>
                  <a:gd name="T72" fmla="*/ 166 w 372"/>
                  <a:gd name="T73" fmla="*/ 34 h 298"/>
                  <a:gd name="T74" fmla="*/ 200 w 372"/>
                  <a:gd name="T75" fmla="*/ 172 h 298"/>
                  <a:gd name="T76" fmla="*/ 66 w 372"/>
                  <a:gd name="T77" fmla="*/ 250 h 298"/>
                  <a:gd name="T78" fmla="*/ 88 w 372"/>
                  <a:gd name="T79" fmla="*/ 264 h 298"/>
                  <a:gd name="T80" fmla="*/ 84 w 372"/>
                  <a:gd name="T81" fmla="*/ 292 h 298"/>
                  <a:gd name="T82" fmla="*/ 58 w 372"/>
                  <a:gd name="T83" fmla="*/ 296 h 298"/>
                  <a:gd name="T84" fmla="*/ 42 w 372"/>
                  <a:gd name="T85" fmla="*/ 274 h 298"/>
                  <a:gd name="T86" fmla="*/ 66 w 372"/>
                  <a:gd name="T87" fmla="*/ 250 h 298"/>
                  <a:gd name="T88" fmla="*/ 260 w 372"/>
                  <a:gd name="T89" fmla="*/ 258 h 298"/>
                  <a:gd name="T90" fmla="*/ 266 w 372"/>
                  <a:gd name="T91" fmla="*/ 284 h 298"/>
                  <a:gd name="T92" fmla="*/ 244 w 372"/>
                  <a:gd name="T93" fmla="*/ 298 h 298"/>
                  <a:gd name="T94" fmla="*/ 220 w 372"/>
                  <a:gd name="T95" fmla="*/ 274 h 298"/>
                  <a:gd name="T96" fmla="*/ 234 w 372"/>
                  <a:gd name="T97" fmla="*/ 25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2" h="298">
                    <a:moveTo>
                      <a:pt x="362" y="144"/>
                    </a:moveTo>
                    <a:lnTo>
                      <a:pt x="286" y="144"/>
                    </a:lnTo>
                    <a:lnTo>
                      <a:pt x="286" y="10"/>
                    </a:lnTo>
                    <a:lnTo>
                      <a:pt x="286" y="10"/>
                    </a:lnTo>
                    <a:lnTo>
                      <a:pt x="286" y="6"/>
                    </a:lnTo>
                    <a:lnTo>
                      <a:pt x="284" y="2"/>
                    </a:lnTo>
                    <a:lnTo>
                      <a:pt x="280" y="0"/>
                    </a:lnTo>
                    <a:lnTo>
                      <a:pt x="276" y="0"/>
                    </a:lnTo>
                    <a:lnTo>
                      <a:pt x="256" y="0"/>
                    </a:lnTo>
                    <a:lnTo>
                      <a:pt x="256" y="0"/>
                    </a:lnTo>
                    <a:lnTo>
                      <a:pt x="252" y="0"/>
                    </a:lnTo>
                    <a:lnTo>
                      <a:pt x="250" y="2"/>
                    </a:lnTo>
                    <a:lnTo>
                      <a:pt x="246" y="6"/>
                    </a:lnTo>
                    <a:lnTo>
                      <a:pt x="246" y="10"/>
                    </a:lnTo>
                    <a:lnTo>
                      <a:pt x="246" y="200"/>
                    </a:lnTo>
                    <a:lnTo>
                      <a:pt x="218" y="200"/>
                    </a:lnTo>
                    <a:lnTo>
                      <a:pt x="218" y="200"/>
                    </a:lnTo>
                    <a:lnTo>
                      <a:pt x="220" y="172"/>
                    </a:lnTo>
                    <a:lnTo>
                      <a:pt x="220" y="172"/>
                    </a:lnTo>
                    <a:lnTo>
                      <a:pt x="218" y="136"/>
                    </a:lnTo>
                    <a:lnTo>
                      <a:pt x="212" y="100"/>
                    </a:lnTo>
                    <a:lnTo>
                      <a:pt x="202" y="66"/>
                    </a:lnTo>
                    <a:lnTo>
                      <a:pt x="188" y="34"/>
                    </a:lnTo>
                    <a:lnTo>
                      <a:pt x="192" y="34"/>
                    </a:lnTo>
                    <a:lnTo>
                      <a:pt x="192" y="34"/>
                    </a:lnTo>
                    <a:lnTo>
                      <a:pt x="200" y="32"/>
                    </a:lnTo>
                    <a:lnTo>
                      <a:pt x="204" y="30"/>
                    </a:lnTo>
                    <a:lnTo>
                      <a:pt x="208" y="24"/>
                    </a:lnTo>
                    <a:lnTo>
                      <a:pt x="208" y="18"/>
                    </a:lnTo>
                    <a:lnTo>
                      <a:pt x="208" y="18"/>
                    </a:lnTo>
                    <a:lnTo>
                      <a:pt x="208" y="12"/>
                    </a:lnTo>
                    <a:lnTo>
                      <a:pt x="204" y="6"/>
                    </a:lnTo>
                    <a:lnTo>
                      <a:pt x="200" y="4"/>
                    </a:lnTo>
                    <a:lnTo>
                      <a:pt x="192" y="2"/>
                    </a:lnTo>
                    <a:lnTo>
                      <a:pt x="36" y="2"/>
                    </a:lnTo>
                    <a:lnTo>
                      <a:pt x="36" y="2"/>
                    </a:lnTo>
                    <a:lnTo>
                      <a:pt x="30" y="4"/>
                    </a:lnTo>
                    <a:lnTo>
                      <a:pt x="24" y="6"/>
                    </a:lnTo>
                    <a:lnTo>
                      <a:pt x="22" y="12"/>
                    </a:lnTo>
                    <a:lnTo>
                      <a:pt x="20" y="18"/>
                    </a:lnTo>
                    <a:lnTo>
                      <a:pt x="20" y="150"/>
                    </a:lnTo>
                    <a:lnTo>
                      <a:pt x="10" y="150"/>
                    </a:lnTo>
                    <a:lnTo>
                      <a:pt x="10" y="150"/>
                    </a:lnTo>
                    <a:lnTo>
                      <a:pt x="6" y="152"/>
                    </a:lnTo>
                    <a:lnTo>
                      <a:pt x="4" y="154"/>
                    </a:lnTo>
                    <a:lnTo>
                      <a:pt x="0" y="156"/>
                    </a:lnTo>
                    <a:lnTo>
                      <a:pt x="0" y="160"/>
                    </a:lnTo>
                    <a:lnTo>
                      <a:pt x="0" y="264"/>
                    </a:lnTo>
                    <a:lnTo>
                      <a:pt x="0" y="264"/>
                    </a:lnTo>
                    <a:lnTo>
                      <a:pt x="0" y="268"/>
                    </a:lnTo>
                    <a:lnTo>
                      <a:pt x="4" y="272"/>
                    </a:lnTo>
                    <a:lnTo>
                      <a:pt x="6" y="274"/>
                    </a:lnTo>
                    <a:lnTo>
                      <a:pt x="10" y="274"/>
                    </a:lnTo>
                    <a:lnTo>
                      <a:pt x="22" y="274"/>
                    </a:lnTo>
                    <a:lnTo>
                      <a:pt x="22" y="274"/>
                    </a:lnTo>
                    <a:lnTo>
                      <a:pt x="22" y="274"/>
                    </a:lnTo>
                    <a:lnTo>
                      <a:pt x="22" y="274"/>
                    </a:lnTo>
                    <a:lnTo>
                      <a:pt x="24" y="266"/>
                    </a:lnTo>
                    <a:lnTo>
                      <a:pt x="26" y="258"/>
                    </a:lnTo>
                    <a:lnTo>
                      <a:pt x="30" y="250"/>
                    </a:lnTo>
                    <a:lnTo>
                      <a:pt x="36" y="244"/>
                    </a:lnTo>
                    <a:lnTo>
                      <a:pt x="42" y="238"/>
                    </a:lnTo>
                    <a:lnTo>
                      <a:pt x="50" y="234"/>
                    </a:lnTo>
                    <a:lnTo>
                      <a:pt x="58" y="232"/>
                    </a:lnTo>
                    <a:lnTo>
                      <a:pt x="66" y="230"/>
                    </a:lnTo>
                    <a:lnTo>
                      <a:pt x="66" y="230"/>
                    </a:lnTo>
                    <a:lnTo>
                      <a:pt x="76" y="232"/>
                    </a:lnTo>
                    <a:lnTo>
                      <a:pt x="84" y="234"/>
                    </a:lnTo>
                    <a:lnTo>
                      <a:pt x="92" y="238"/>
                    </a:lnTo>
                    <a:lnTo>
                      <a:pt x="98" y="244"/>
                    </a:lnTo>
                    <a:lnTo>
                      <a:pt x="104" y="250"/>
                    </a:lnTo>
                    <a:lnTo>
                      <a:pt x="108" y="258"/>
                    </a:lnTo>
                    <a:lnTo>
                      <a:pt x="110" y="266"/>
                    </a:lnTo>
                    <a:lnTo>
                      <a:pt x="110" y="274"/>
                    </a:lnTo>
                    <a:lnTo>
                      <a:pt x="110" y="274"/>
                    </a:lnTo>
                    <a:lnTo>
                      <a:pt x="110" y="274"/>
                    </a:lnTo>
                    <a:lnTo>
                      <a:pt x="158" y="274"/>
                    </a:lnTo>
                    <a:lnTo>
                      <a:pt x="158" y="274"/>
                    </a:lnTo>
                    <a:lnTo>
                      <a:pt x="158" y="274"/>
                    </a:lnTo>
                    <a:lnTo>
                      <a:pt x="200" y="274"/>
                    </a:lnTo>
                    <a:lnTo>
                      <a:pt x="200" y="274"/>
                    </a:lnTo>
                    <a:lnTo>
                      <a:pt x="200" y="274"/>
                    </a:lnTo>
                    <a:lnTo>
                      <a:pt x="200" y="274"/>
                    </a:lnTo>
                    <a:lnTo>
                      <a:pt x="200" y="266"/>
                    </a:lnTo>
                    <a:lnTo>
                      <a:pt x="202" y="258"/>
                    </a:lnTo>
                    <a:lnTo>
                      <a:pt x="206" y="250"/>
                    </a:lnTo>
                    <a:lnTo>
                      <a:pt x="212" y="244"/>
                    </a:lnTo>
                    <a:lnTo>
                      <a:pt x="218" y="238"/>
                    </a:lnTo>
                    <a:lnTo>
                      <a:pt x="226" y="234"/>
                    </a:lnTo>
                    <a:lnTo>
                      <a:pt x="234" y="232"/>
                    </a:lnTo>
                    <a:lnTo>
                      <a:pt x="244" y="230"/>
                    </a:lnTo>
                    <a:lnTo>
                      <a:pt x="244" y="230"/>
                    </a:lnTo>
                    <a:lnTo>
                      <a:pt x="250" y="230"/>
                    </a:lnTo>
                    <a:lnTo>
                      <a:pt x="258" y="232"/>
                    </a:lnTo>
                    <a:lnTo>
                      <a:pt x="264" y="236"/>
                    </a:lnTo>
                    <a:lnTo>
                      <a:pt x="270" y="240"/>
                    </a:lnTo>
                    <a:lnTo>
                      <a:pt x="276" y="246"/>
                    </a:lnTo>
                    <a:lnTo>
                      <a:pt x="280" y="252"/>
                    </a:lnTo>
                    <a:lnTo>
                      <a:pt x="284" y="258"/>
                    </a:lnTo>
                    <a:lnTo>
                      <a:pt x="286" y="264"/>
                    </a:lnTo>
                    <a:lnTo>
                      <a:pt x="286" y="264"/>
                    </a:lnTo>
                    <a:lnTo>
                      <a:pt x="286" y="264"/>
                    </a:lnTo>
                    <a:lnTo>
                      <a:pt x="286" y="224"/>
                    </a:lnTo>
                    <a:lnTo>
                      <a:pt x="286" y="210"/>
                    </a:lnTo>
                    <a:lnTo>
                      <a:pt x="286" y="164"/>
                    </a:lnTo>
                    <a:lnTo>
                      <a:pt x="362" y="164"/>
                    </a:lnTo>
                    <a:lnTo>
                      <a:pt x="362" y="164"/>
                    </a:lnTo>
                    <a:lnTo>
                      <a:pt x="366" y="164"/>
                    </a:lnTo>
                    <a:lnTo>
                      <a:pt x="370" y="160"/>
                    </a:lnTo>
                    <a:lnTo>
                      <a:pt x="372" y="158"/>
                    </a:lnTo>
                    <a:lnTo>
                      <a:pt x="372" y="154"/>
                    </a:lnTo>
                    <a:lnTo>
                      <a:pt x="372" y="154"/>
                    </a:lnTo>
                    <a:lnTo>
                      <a:pt x="372" y="150"/>
                    </a:lnTo>
                    <a:lnTo>
                      <a:pt x="370" y="146"/>
                    </a:lnTo>
                    <a:lnTo>
                      <a:pt x="366" y="144"/>
                    </a:lnTo>
                    <a:lnTo>
                      <a:pt x="362" y="144"/>
                    </a:lnTo>
                    <a:lnTo>
                      <a:pt x="362" y="144"/>
                    </a:lnTo>
                    <a:close/>
                    <a:moveTo>
                      <a:pt x="198" y="200"/>
                    </a:moveTo>
                    <a:lnTo>
                      <a:pt x="168" y="200"/>
                    </a:lnTo>
                    <a:lnTo>
                      <a:pt x="168" y="160"/>
                    </a:lnTo>
                    <a:lnTo>
                      <a:pt x="168" y="160"/>
                    </a:lnTo>
                    <a:lnTo>
                      <a:pt x="168" y="156"/>
                    </a:lnTo>
                    <a:lnTo>
                      <a:pt x="166" y="154"/>
                    </a:lnTo>
                    <a:lnTo>
                      <a:pt x="162" y="152"/>
                    </a:lnTo>
                    <a:lnTo>
                      <a:pt x="158" y="150"/>
                    </a:lnTo>
                    <a:lnTo>
                      <a:pt x="124" y="150"/>
                    </a:lnTo>
                    <a:lnTo>
                      <a:pt x="124" y="150"/>
                    </a:lnTo>
                    <a:lnTo>
                      <a:pt x="116" y="148"/>
                    </a:lnTo>
                    <a:lnTo>
                      <a:pt x="108" y="146"/>
                    </a:lnTo>
                    <a:lnTo>
                      <a:pt x="102" y="142"/>
                    </a:lnTo>
                    <a:lnTo>
                      <a:pt x="96" y="136"/>
                    </a:lnTo>
                    <a:lnTo>
                      <a:pt x="90" y="130"/>
                    </a:lnTo>
                    <a:lnTo>
                      <a:pt x="86" y="124"/>
                    </a:lnTo>
                    <a:lnTo>
                      <a:pt x="84" y="116"/>
                    </a:lnTo>
                    <a:lnTo>
                      <a:pt x="84" y="108"/>
                    </a:lnTo>
                    <a:lnTo>
                      <a:pt x="84" y="108"/>
                    </a:lnTo>
                    <a:lnTo>
                      <a:pt x="82" y="102"/>
                    </a:lnTo>
                    <a:lnTo>
                      <a:pt x="80" y="98"/>
                    </a:lnTo>
                    <a:lnTo>
                      <a:pt x="74" y="94"/>
                    </a:lnTo>
                    <a:lnTo>
                      <a:pt x="68" y="92"/>
                    </a:lnTo>
                    <a:lnTo>
                      <a:pt x="68" y="92"/>
                    </a:lnTo>
                    <a:lnTo>
                      <a:pt x="62" y="94"/>
                    </a:lnTo>
                    <a:lnTo>
                      <a:pt x="58" y="96"/>
                    </a:lnTo>
                    <a:lnTo>
                      <a:pt x="54" y="100"/>
                    </a:lnTo>
                    <a:lnTo>
                      <a:pt x="52" y="106"/>
                    </a:lnTo>
                    <a:lnTo>
                      <a:pt x="52" y="34"/>
                    </a:lnTo>
                    <a:lnTo>
                      <a:pt x="166" y="34"/>
                    </a:lnTo>
                    <a:lnTo>
                      <a:pt x="166" y="34"/>
                    </a:lnTo>
                    <a:lnTo>
                      <a:pt x="180" y="66"/>
                    </a:lnTo>
                    <a:lnTo>
                      <a:pt x="192" y="100"/>
                    </a:lnTo>
                    <a:lnTo>
                      <a:pt x="198" y="136"/>
                    </a:lnTo>
                    <a:lnTo>
                      <a:pt x="200" y="172"/>
                    </a:lnTo>
                    <a:lnTo>
                      <a:pt x="200" y="172"/>
                    </a:lnTo>
                    <a:lnTo>
                      <a:pt x="198" y="200"/>
                    </a:lnTo>
                    <a:lnTo>
                      <a:pt x="198" y="200"/>
                    </a:lnTo>
                    <a:close/>
                    <a:moveTo>
                      <a:pt x="66" y="250"/>
                    </a:moveTo>
                    <a:lnTo>
                      <a:pt x="66" y="250"/>
                    </a:lnTo>
                    <a:lnTo>
                      <a:pt x="76" y="252"/>
                    </a:lnTo>
                    <a:lnTo>
                      <a:pt x="84" y="258"/>
                    </a:lnTo>
                    <a:lnTo>
                      <a:pt x="88" y="264"/>
                    </a:lnTo>
                    <a:lnTo>
                      <a:pt x="90" y="274"/>
                    </a:lnTo>
                    <a:lnTo>
                      <a:pt x="90" y="274"/>
                    </a:lnTo>
                    <a:lnTo>
                      <a:pt x="88" y="284"/>
                    </a:lnTo>
                    <a:lnTo>
                      <a:pt x="84" y="292"/>
                    </a:lnTo>
                    <a:lnTo>
                      <a:pt x="76" y="296"/>
                    </a:lnTo>
                    <a:lnTo>
                      <a:pt x="66" y="298"/>
                    </a:lnTo>
                    <a:lnTo>
                      <a:pt x="66" y="298"/>
                    </a:lnTo>
                    <a:lnTo>
                      <a:pt x="58" y="296"/>
                    </a:lnTo>
                    <a:lnTo>
                      <a:pt x="50" y="292"/>
                    </a:lnTo>
                    <a:lnTo>
                      <a:pt x="44" y="284"/>
                    </a:lnTo>
                    <a:lnTo>
                      <a:pt x="42" y="274"/>
                    </a:lnTo>
                    <a:lnTo>
                      <a:pt x="42" y="274"/>
                    </a:lnTo>
                    <a:lnTo>
                      <a:pt x="44" y="264"/>
                    </a:lnTo>
                    <a:lnTo>
                      <a:pt x="50" y="258"/>
                    </a:lnTo>
                    <a:lnTo>
                      <a:pt x="58" y="252"/>
                    </a:lnTo>
                    <a:lnTo>
                      <a:pt x="66" y="250"/>
                    </a:lnTo>
                    <a:close/>
                    <a:moveTo>
                      <a:pt x="244" y="250"/>
                    </a:moveTo>
                    <a:lnTo>
                      <a:pt x="244" y="250"/>
                    </a:lnTo>
                    <a:lnTo>
                      <a:pt x="252" y="252"/>
                    </a:lnTo>
                    <a:lnTo>
                      <a:pt x="260" y="258"/>
                    </a:lnTo>
                    <a:lnTo>
                      <a:pt x="266" y="264"/>
                    </a:lnTo>
                    <a:lnTo>
                      <a:pt x="268" y="274"/>
                    </a:lnTo>
                    <a:lnTo>
                      <a:pt x="268" y="274"/>
                    </a:lnTo>
                    <a:lnTo>
                      <a:pt x="266" y="284"/>
                    </a:lnTo>
                    <a:lnTo>
                      <a:pt x="260" y="292"/>
                    </a:lnTo>
                    <a:lnTo>
                      <a:pt x="252" y="296"/>
                    </a:lnTo>
                    <a:lnTo>
                      <a:pt x="244" y="298"/>
                    </a:lnTo>
                    <a:lnTo>
                      <a:pt x="244" y="298"/>
                    </a:lnTo>
                    <a:lnTo>
                      <a:pt x="234" y="296"/>
                    </a:lnTo>
                    <a:lnTo>
                      <a:pt x="226" y="292"/>
                    </a:lnTo>
                    <a:lnTo>
                      <a:pt x="222" y="284"/>
                    </a:lnTo>
                    <a:lnTo>
                      <a:pt x="220" y="274"/>
                    </a:lnTo>
                    <a:lnTo>
                      <a:pt x="220" y="274"/>
                    </a:lnTo>
                    <a:lnTo>
                      <a:pt x="222" y="264"/>
                    </a:lnTo>
                    <a:lnTo>
                      <a:pt x="226" y="258"/>
                    </a:lnTo>
                    <a:lnTo>
                      <a:pt x="234" y="252"/>
                    </a:lnTo>
                    <a:lnTo>
                      <a:pt x="244" y="250"/>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sp>
            <p:nvSpPr>
              <p:cNvPr id="52" name="Freeform 4821">
                <a:extLst>
                  <a:ext uri="{FF2B5EF4-FFF2-40B4-BE49-F238E27FC236}">
                    <a16:creationId xmlns:a16="http://schemas.microsoft.com/office/drawing/2014/main" id="{2363EBFD-FCC5-4E7D-AE3A-F4CE7A9E9435}"/>
                  </a:ext>
                </a:extLst>
              </p:cNvPr>
              <p:cNvSpPr>
                <a:spLocks/>
              </p:cNvSpPr>
              <p:nvPr/>
            </p:nvSpPr>
            <p:spPr bwMode="auto">
              <a:xfrm>
                <a:off x="10654046" y="5277880"/>
                <a:ext cx="234950" cy="263525"/>
              </a:xfrm>
              <a:custGeom>
                <a:avLst/>
                <a:gdLst>
                  <a:gd name="T0" fmla="*/ 146 w 148"/>
                  <a:gd name="T1" fmla="*/ 166 h 166"/>
                  <a:gd name="T2" fmla="*/ 116 w 148"/>
                  <a:gd name="T3" fmla="*/ 166 h 166"/>
                  <a:gd name="T4" fmla="*/ 116 w 148"/>
                  <a:gd name="T5" fmla="*/ 126 h 166"/>
                  <a:gd name="T6" fmla="*/ 116 w 148"/>
                  <a:gd name="T7" fmla="*/ 126 h 166"/>
                  <a:gd name="T8" fmla="*/ 116 w 148"/>
                  <a:gd name="T9" fmla="*/ 122 h 166"/>
                  <a:gd name="T10" fmla="*/ 114 w 148"/>
                  <a:gd name="T11" fmla="*/ 120 h 166"/>
                  <a:gd name="T12" fmla="*/ 110 w 148"/>
                  <a:gd name="T13" fmla="*/ 118 h 166"/>
                  <a:gd name="T14" fmla="*/ 106 w 148"/>
                  <a:gd name="T15" fmla="*/ 116 h 166"/>
                  <a:gd name="T16" fmla="*/ 72 w 148"/>
                  <a:gd name="T17" fmla="*/ 116 h 166"/>
                  <a:gd name="T18" fmla="*/ 72 w 148"/>
                  <a:gd name="T19" fmla="*/ 116 h 166"/>
                  <a:gd name="T20" fmla="*/ 64 w 148"/>
                  <a:gd name="T21" fmla="*/ 114 h 166"/>
                  <a:gd name="T22" fmla="*/ 56 w 148"/>
                  <a:gd name="T23" fmla="*/ 112 h 166"/>
                  <a:gd name="T24" fmla="*/ 50 w 148"/>
                  <a:gd name="T25" fmla="*/ 108 h 166"/>
                  <a:gd name="T26" fmla="*/ 44 w 148"/>
                  <a:gd name="T27" fmla="*/ 102 h 166"/>
                  <a:gd name="T28" fmla="*/ 38 w 148"/>
                  <a:gd name="T29" fmla="*/ 96 h 166"/>
                  <a:gd name="T30" fmla="*/ 34 w 148"/>
                  <a:gd name="T31" fmla="*/ 90 h 166"/>
                  <a:gd name="T32" fmla="*/ 32 w 148"/>
                  <a:gd name="T33" fmla="*/ 82 h 166"/>
                  <a:gd name="T34" fmla="*/ 32 w 148"/>
                  <a:gd name="T35" fmla="*/ 74 h 166"/>
                  <a:gd name="T36" fmla="*/ 32 w 148"/>
                  <a:gd name="T37" fmla="*/ 74 h 166"/>
                  <a:gd name="T38" fmla="*/ 30 w 148"/>
                  <a:gd name="T39" fmla="*/ 68 h 166"/>
                  <a:gd name="T40" fmla="*/ 28 w 148"/>
                  <a:gd name="T41" fmla="*/ 64 h 166"/>
                  <a:gd name="T42" fmla="*/ 22 w 148"/>
                  <a:gd name="T43" fmla="*/ 60 h 166"/>
                  <a:gd name="T44" fmla="*/ 16 w 148"/>
                  <a:gd name="T45" fmla="*/ 58 h 166"/>
                  <a:gd name="T46" fmla="*/ 16 w 148"/>
                  <a:gd name="T47" fmla="*/ 58 h 166"/>
                  <a:gd name="T48" fmla="*/ 10 w 148"/>
                  <a:gd name="T49" fmla="*/ 60 h 166"/>
                  <a:gd name="T50" fmla="*/ 6 w 148"/>
                  <a:gd name="T51" fmla="*/ 62 h 166"/>
                  <a:gd name="T52" fmla="*/ 2 w 148"/>
                  <a:gd name="T53" fmla="*/ 66 h 166"/>
                  <a:gd name="T54" fmla="*/ 0 w 148"/>
                  <a:gd name="T55" fmla="*/ 72 h 166"/>
                  <a:gd name="T56" fmla="*/ 0 w 148"/>
                  <a:gd name="T57" fmla="*/ 0 h 166"/>
                  <a:gd name="T58" fmla="*/ 114 w 148"/>
                  <a:gd name="T59" fmla="*/ 0 h 166"/>
                  <a:gd name="T60" fmla="*/ 114 w 148"/>
                  <a:gd name="T61" fmla="*/ 0 h 166"/>
                  <a:gd name="T62" fmla="*/ 128 w 148"/>
                  <a:gd name="T63" fmla="*/ 32 h 166"/>
                  <a:gd name="T64" fmla="*/ 140 w 148"/>
                  <a:gd name="T65" fmla="*/ 66 h 166"/>
                  <a:gd name="T66" fmla="*/ 146 w 148"/>
                  <a:gd name="T67" fmla="*/ 102 h 166"/>
                  <a:gd name="T68" fmla="*/ 148 w 148"/>
                  <a:gd name="T69" fmla="*/ 138 h 166"/>
                  <a:gd name="T70" fmla="*/ 148 w 148"/>
                  <a:gd name="T71" fmla="*/ 138 h 166"/>
                  <a:gd name="T72" fmla="*/ 146 w 148"/>
                  <a:gd name="T73" fmla="*/ 166 h 166"/>
                  <a:gd name="T74" fmla="*/ 146 w 148"/>
                  <a:gd name="T75"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8" h="166">
                    <a:moveTo>
                      <a:pt x="146" y="166"/>
                    </a:moveTo>
                    <a:lnTo>
                      <a:pt x="116" y="166"/>
                    </a:lnTo>
                    <a:lnTo>
                      <a:pt x="116" y="126"/>
                    </a:lnTo>
                    <a:lnTo>
                      <a:pt x="116" y="126"/>
                    </a:lnTo>
                    <a:lnTo>
                      <a:pt x="116" y="122"/>
                    </a:lnTo>
                    <a:lnTo>
                      <a:pt x="114" y="120"/>
                    </a:lnTo>
                    <a:lnTo>
                      <a:pt x="110" y="118"/>
                    </a:lnTo>
                    <a:lnTo>
                      <a:pt x="106" y="116"/>
                    </a:lnTo>
                    <a:lnTo>
                      <a:pt x="72" y="116"/>
                    </a:lnTo>
                    <a:lnTo>
                      <a:pt x="72" y="116"/>
                    </a:lnTo>
                    <a:lnTo>
                      <a:pt x="64" y="114"/>
                    </a:lnTo>
                    <a:lnTo>
                      <a:pt x="56" y="112"/>
                    </a:lnTo>
                    <a:lnTo>
                      <a:pt x="50" y="108"/>
                    </a:lnTo>
                    <a:lnTo>
                      <a:pt x="44" y="102"/>
                    </a:lnTo>
                    <a:lnTo>
                      <a:pt x="38" y="96"/>
                    </a:lnTo>
                    <a:lnTo>
                      <a:pt x="34" y="90"/>
                    </a:lnTo>
                    <a:lnTo>
                      <a:pt x="32" y="82"/>
                    </a:lnTo>
                    <a:lnTo>
                      <a:pt x="32" y="74"/>
                    </a:lnTo>
                    <a:lnTo>
                      <a:pt x="32" y="74"/>
                    </a:lnTo>
                    <a:lnTo>
                      <a:pt x="30" y="68"/>
                    </a:lnTo>
                    <a:lnTo>
                      <a:pt x="28" y="64"/>
                    </a:lnTo>
                    <a:lnTo>
                      <a:pt x="22" y="60"/>
                    </a:lnTo>
                    <a:lnTo>
                      <a:pt x="16" y="58"/>
                    </a:lnTo>
                    <a:lnTo>
                      <a:pt x="16" y="58"/>
                    </a:lnTo>
                    <a:lnTo>
                      <a:pt x="10" y="60"/>
                    </a:lnTo>
                    <a:lnTo>
                      <a:pt x="6" y="62"/>
                    </a:lnTo>
                    <a:lnTo>
                      <a:pt x="2" y="66"/>
                    </a:lnTo>
                    <a:lnTo>
                      <a:pt x="0" y="72"/>
                    </a:lnTo>
                    <a:lnTo>
                      <a:pt x="0" y="0"/>
                    </a:lnTo>
                    <a:lnTo>
                      <a:pt x="114" y="0"/>
                    </a:lnTo>
                    <a:lnTo>
                      <a:pt x="114" y="0"/>
                    </a:lnTo>
                    <a:lnTo>
                      <a:pt x="128" y="32"/>
                    </a:lnTo>
                    <a:lnTo>
                      <a:pt x="140" y="66"/>
                    </a:lnTo>
                    <a:lnTo>
                      <a:pt x="146" y="102"/>
                    </a:lnTo>
                    <a:lnTo>
                      <a:pt x="148" y="138"/>
                    </a:lnTo>
                    <a:lnTo>
                      <a:pt x="148" y="138"/>
                    </a:lnTo>
                    <a:lnTo>
                      <a:pt x="146" y="166"/>
                    </a:lnTo>
                    <a:lnTo>
                      <a:pt x="146" y="166"/>
                    </a:lnTo>
                  </a:path>
                </a:pathLst>
              </a:custGeom>
              <a:no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grpSp>
        <p:nvGrpSpPr>
          <p:cNvPr id="53" name="Group 52">
            <a:extLst>
              <a:ext uri="{FF2B5EF4-FFF2-40B4-BE49-F238E27FC236}">
                <a16:creationId xmlns:a16="http://schemas.microsoft.com/office/drawing/2014/main" id="{5ABEFE96-161A-4670-9B0B-14378CD4EE31}"/>
              </a:ext>
            </a:extLst>
          </p:cNvPr>
          <p:cNvGrpSpPr/>
          <p:nvPr/>
        </p:nvGrpSpPr>
        <p:grpSpPr>
          <a:xfrm>
            <a:off x="2781846" y="1663988"/>
            <a:ext cx="523325" cy="523325"/>
            <a:chOff x="1467520" y="2258092"/>
            <a:chExt cx="612000" cy="612000"/>
          </a:xfrm>
        </p:grpSpPr>
        <p:sp>
          <p:nvSpPr>
            <p:cNvPr id="54" name="Oval 53">
              <a:extLst>
                <a:ext uri="{FF2B5EF4-FFF2-40B4-BE49-F238E27FC236}">
                  <a16:creationId xmlns:a16="http://schemas.microsoft.com/office/drawing/2014/main" id="{68C5C366-2BDD-4B59-90C7-D9B2ED73317C}"/>
                </a:ext>
              </a:extLst>
            </p:cNvPr>
            <p:cNvSpPr/>
            <p:nvPr/>
          </p:nvSpPr>
          <p:spPr bwMode="ltGray">
            <a:xfrm>
              <a:off x="1467520"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55" name="Freeform 4803">
              <a:extLst>
                <a:ext uri="{FF2B5EF4-FFF2-40B4-BE49-F238E27FC236}">
                  <a16:creationId xmlns:a16="http://schemas.microsoft.com/office/drawing/2014/main" id="{A3E74B6C-45E1-4A34-BB0D-42776C159601}"/>
                </a:ext>
              </a:extLst>
            </p:cNvPr>
            <p:cNvSpPr>
              <a:spLocks noEditPoints="1"/>
            </p:cNvSpPr>
            <p:nvPr/>
          </p:nvSpPr>
          <p:spPr bwMode="auto">
            <a:xfrm>
              <a:off x="1543081" y="2365878"/>
              <a:ext cx="460878" cy="335852"/>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56" name="Group 55">
            <a:extLst>
              <a:ext uri="{FF2B5EF4-FFF2-40B4-BE49-F238E27FC236}">
                <a16:creationId xmlns:a16="http://schemas.microsoft.com/office/drawing/2014/main" id="{7DB3DBF1-A0F5-4AC4-9264-FDEDAB32B759}"/>
              </a:ext>
            </a:extLst>
          </p:cNvPr>
          <p:cNvGrpSpPr/>
          <p:nvPr/>
        </p:nvGrpSpPr>
        <p:grpSpPr>
          <a:xfrm>
            <a:off x="3529819" y="1663988"/>
            <a:ext cx="523325" cy="523325"/>
            <a:chOff x="2342233" y="2258092"/>
            <a:chExt cx="612000" cy="612000"/>
          </a:xfrm>
        </p:grpSpPr>
        <p:sp>
          <p:nvSpPr>
            <p:cNvPr id="57" name="Oval 56">
              <a:extLst>
                <a:ext uri="{FF2B5EF4-FFF2-40B4-BE49-F238E27FC236}">
                  <a16:creationId xmlns:a16="http://schemas.microsoft.com/office/drawing/2014/main" id="{3BE7C77C-2CB4-40FD-A04D-DF11BAD47936}"/>
                </a:ext>
              </a:extLst>
            </p:cNvPr>
            <p:cNvSpPr/>
            <p:nvPr/>
          </p:nvSpPr>
          <p:spPr bwMode="ltGray">
            <a:xfrm>
              <a:off x="2342233"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58" name="Freeform 4805">
              <a:extLst>
                <a:ext uri="{FF2B5EF4-FFF2-40B4-BE49-F238E27FC236}">
                  <a16:creationId xmlns:a16="http://schemas.microsoft.com/office/drawing/2014/main" id="{74A6D6D0-4FCE-4EE5-9D71-1CB278DB77EB}"/>
                </a:ext>
              </a:extLst>
            </p:cNvPr>
            <p:cNvSpPr>
              <a:spLocks noEditPoints="1"/>
            </p:cNvSpPr>
            <p:nvPr/>
          </p:nvSpPr>
          <p:spPr bwMode="auto">
            <a:xfrm>
              <a:off x="2430052" y="2363427"/>
              <a:ext cx="436363" cy="330949"/>
            </a:xfrm>
            <a:custGeom>
              <a:avLst/>
              <a:gdLst>
                <a:gd name="T0" fmla="*/ 324 w 356"/>
                <a:gd name="T1" fmla="*/ 64 h 270"/>
                <a:gd name="T2" fmla="*/ 280 w 356"/>
                <a:gd name="T3" fmla="*/ 10 h 270"/>
                <a:gd name="T4" fmla="*/ 234 w 356"/>
                <a:gd name="T5" fmla="*/ 2 h 270"/>
                <a:gd name="T6" fmla="*/ 92 w 356"/>
                <a:gd name="T7" fmla="*/ 4 h 270"/>
                <a:gd name="T8" fmla="*/ 64 w 356"/>
                <a:gd name="T9" fmla="*/ 18 h 270"/>
                <a:gd name="T10" fmla="*/ 32 w 356"/>
                <a:gd name="T11" fmla="*/ 64 h 270"/>
                <a:gd name="T12" fmla="*/ 8 w 356"/>
                <a:gd name="T13" fmla="*/ 108 h 270"/>
                <a:gd name="T14" fmla="*/ 0 w 356"/>
                <a:gd name="T15" fmla="*/ 168 h 270"/>
                <a:gd name="T16" fmla="*/ 6 w 356"/>
                <a:gd name="T17" fmla="*/ 224 h 270"/>
                <a:gd name="T18" fmla="*/ 12 w 356"/>
                <a:gd name="T19" fmla="*/ 232 h 270"/>
                <a:gd name="T20" fmla="*/ 22 w 356"/>
                <a:gd name="T21" fmla="*/ 232 h 270"/>
                <a:gd name="T22" fmla="*/ 26 w 356"/>
                <a:gd name="T23" fmla="*/ 266 h 270"/>
                <a:gd name="T24" fmla="*/ 60 w 356"/>
                <a:gd name="T25" fmla="*/ 270 h 270"/>
                <a:gd name="T26" fmla="*/ 72 w 356"/>
                <a:gd name="T27" fmla="*/ 258 h 270"/>
                <a:gd name="T28" fmla="*/ 284 w 356"/>
                <a:gd name="T29" fmla="*/ 258 h 270"/>
                <a:gd name="T30" fmla="*/ 292 w 356"/>
                <a:gd name="T31" fmla="*/ 268 h 270"/>
                <a:gd name="T32" fmla="*/ 326 w 356"/>
                <a:gd name="T33" fmla="*/ 268 h 270"/>
                <a:gd name="T34" fmla="*/ 334 w 356"/>
                <a:gd name="T35" fmla="*/ 232 h 270"/>
                <a:gd name="T36" fmla="*/ 340 w 356"/>
                <a:gd name="T37" fmla="*/ 232 h 270"/>
                <a:gd name="T38" fmla="*/ 350 w 356"/>
                <a:gd name="T39" fmla="*/ 224 h 270"/>
                <a:gd name="T40" fmla="*/ 356 w 356"/>
                <a:gd name="T41" fmla="*/ 168 h 270"/>
                <a:gd name="T42" fmla="*/ 352 w 356"/>
                <a:gd name="T43" fmla="*/ 120 h 270"/>
                <a:gd name="T44" fmla="*/ 330 w 356"/>
                <a:gd name="T45" fmla="*/ 72 h 270"/>
                <a:gd name="T46" fmla="*/ 138 w 356"/>
                <a:gd name="T47" fmla="*/ 20 h 270"/>
                <a:gd name="T48" fmla="*/ 246 w 356"/>
                <a:gd name="T49" fmla="*/ 22 h 270"/>
                <a:gd name="T50" fmla="*/ 296 w 356"/>
                <a:gd name="T51" fmla="*/ 62 h 270"/>
                <a:gd name="T52" fmla="*/ 298 w 356"/>
                <a:gd name="T53" fmla="*/ 76 h 270"/>
                <a:gd name="T54" fmla="*/ 284 w 356"/>
                <a:gd name="T55" fmla="*/ 80 h 270"/>
                <a:gd name="T56" fmla="*/ 72 w 356"/>
                <a:gd name="T57" fmla="*/ 80 h 270"/>
                <a:gd name="T58" fmla="*/ 56 w 356"/>
                <a:gd name="T59" fmla="*/ 74 h 270"/>
                <a:gd name="T60" fmla="*/ 70 w 356"/>
                <a:gd name="T61" fmla="*/ 46 h 270"/>
                <a:gd name="T62" fmla="*/ 262 w 356"/>
                <a:gd name="T63" fmla="*/ 136 h 270"/>
                <a:gd name="T64" fmla="*/ 244 w 356"/>
                <a:gd name="T65" fmla="*/ 154 h 270"/>
                <a:gd name="T66" fmla="*/ 100 w 356"/>
                <a:gd name="T67" fmla="*/ 148 h 270"/>
                <a:gd name="T68" fmla="*/ 46 w 356"/>
                <a:gd name="T69" fmla="*/ 152 h 270"/>
                <a:gd name="T70" fmla="*/ 22 w 356"/>
                <a:gd name="T71" fmla="*/ 136 h 270"/>
                <a:gd name="T72" fmla="*/ 28 w 356"/>
                <a:gd name="T73" fmla="*/ 106 h 270"/>
                <a:gd name="T74" fmla="*/ 56 w 356"/>
                <a:gd name="T75" fmla="*/ 102 h 270"/>
                <a:gd name="T76" fmla="*/ 72 w 356"/>
                <a:gd name="T77" fmla="*/ 126 h 270"/>
                <a:gd name="T78" fmla="*/ 46 w 356"/>
                <a:gd name="T79" fmla="*/ 152 h 270"/>
                <a:gd name="T80" fmla="*/ 156 w 356"/>
                <a:gd name="T81" fmla="*/ 212 h 270"/>
                <a:gd name="T82" fmla="*/ 70 w 356"/>
                <a:gd name="T83" fmla="*/ 198 h 270"/>
                <a:gd name="T84" fmla="*/ 152 w 356"/>
                <a:gd name="T85" fmla="*/ 184 h 270"/>
                <a:gd name="T86" fmla="*/ 274 w 356"/>
                <a:gd name="T87" fmla="*/ 186 h 270"/>
                <a:gd name="T88" fmla="*/ 288 w 356"/>
                <a:gd name="T89" fmla="*/ 212 h 270"/>
                <a:gd name="T90" fmla="*/ 292 w 356"/>
                <a:gd name="T91" fmla="*/ 144 h 270"/>
                <a:gd name="T92" fmla="*/ 286 w 356"/>
                <a:gd name="T93" fmla="*/ 116 h 270"/>
                <a:gd name="T94" fmla="*/ 310 w 356"/>
                <a:gd name="T95" fmla="*/ 100 h 270"/>
                <a:gd name="T96" fmla="*/ 336 w 356"/>
                <a:gd name="T97" fmla="*/ 126 h 270"/>
                <a:gd name="T98" fmla="*/ 320 w 356"/>
                <a:gd name="T99" fmla="*/ 15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6" h="270">
                  <a:moveTo>
                    <a:pt x="330" y="72"/>
                  </a:moveTo>
                  <a:lnTo>
                    <a:pt x="330" y="72"/>
                  </a:lnTo>
                  <a:lnTo>
                    <a:pt x="324" y="64"/>
                  </a:lnTo>
                  <a:lnTo>
                    <a:pt x="324" y="64"/>
                  </a:lnTo>
                  <a:lnTo>
                    <a:pt x="314" y="46"/>
                  </a:lnTo>
                  <a:lnTo>
                    <a:pt x="302" y="32"/>
                  </a:lnTo>
                  <a:lnTo>
                    <a:pt x="292" y="18"/>
                  </a:lnTo>
                  <a:lnTo>
                    <a:pt x="280" y="10"/>
                  </a:lnTo>
                  <a:lnTo>
                    <a:pt x="280" y="10"/>
                  </a:lnTo>
                  <a:lnTo>
                    <a:pt x="274" y="6"/>
                  </a:lnTo>
                  <a:lnTo>
                    <a:pt x="264" y="4"/>
                  </a:lnTo>
                  <a:lnTo>
                    <a:pt x="234" y="2"/>
                  </a:lnTo>
                  <a:lnTo>
                    <a:pt x="178" y="0"/>
                  </a:lnTo>
                  <a:lnTo>
                    <a:pt x="178" y="0"/>
                  </a:lnTo>
                  <a:lnTo>
                    <a:pt x="122" y="2"/>
                  </a:lnTo>
                  <a:lnTo>
                    <a:pt x="92" y="4"/>
                  </a:lnTo>
                  <a:lnTo>
                    <a:pt x="82" y="6"/>
                  </a:lnTo>
                  <a:lnTo>
                    <a:pt x="76" y="10"/>
                  </a:lnTo>
                  <a:lnTo>
                    <a:pt x="76" y="10"/>
                  </a:lnTo>
                  <a:lnTo>
                    <a:pt x="64" y="18"/>
                  </a:lnTo>
                  <a:lnTo>
                    <a:pt x="54" y="32"/>
                  </a:lnTo>
                  <a:lnTo>
                    <a:pt x="42" y="46"/>
                  </a:lnTo>
                  <a:lnTo>
                    <a:pt x="32" y="64"/>
                  </a:lnTo>
                  <a:lnTo>
                    <a:pt x="32" y="64"/>
                  </a:lnTo>
                  <a:lnTo>
                    <a:pt x="26" y="72"/>
                  </a:lnTo>
                  <a:lnTo>
                    <a:pt x="26" y="72"/>
                  </a:lnTo>
                  <a:lnTo>
                    <a:pt x="16" y="88"/>
                  </a:lnTo>
                  <a:lnTo>
                    <a:pt x="8" y="108"/>
                  </a:lnTo>
                  <a:lnTo>
                    <a:pt x="4" y="120"/>
                  </a:lnTo>
                  <a:lnTo>
                    <a:pt x="2" y="134"/>
                  </a:lnTo>
                  <a:lnTo>
                    <a:pt x="0" y="150"/>
                  </a:lnTo>
                  <a:lnTo>
                    <a:pt x="0" y="168"/>
                  </a:lnTo>
                  <a:lnTo>
                    <a:pt x="0" y="168"/>
                  </a:lnTo>
                  <a:lnTo>
                    <a:pt x="0" y="192"/>
                  </a:lnTo>
                  <a:lnTo>
                    <a:pt x="2" y="210"/>
                  </a:lnTo>
                  <a:lnTo>
                    <a:pt x="6" y="224"/>
                  </a:lnTo>
                  <a:lnTo>
                    <a:pt x="6" y="224"/>
                  </a:lnTo>
                  <a:lnTo>
                    <a:pt x="6" y="228"/>
                  </a:lnTo>
                  <a:lnTo>
                    <a:pt x="10" y="230"/>
                  </a:lnTo>
                  <a:lnTo>
                    <a:pt x="12" y="232"/>
                  </a:lnTo>
                  <a:lnTo>
                    <a:pt x="16" y="232"/>
                  </a:lnTo>
                  <a:lnTo>
                    <a:pt x="16" y="232"/>
                  </a:lnTo>
                  <a:lnTo>
                    <a:pt x="16" y="232"/>
                  </a:lnTo>
                  <a:lnTo>
                    <a:pt x="22" y="232"/>
                  </a:lnTo>
                  <a:lnTo>
                    <a:pt x="22" y="258"/>
                  </a:lnTo>
                  <a:lnTo>
                    <a:pt x="22" y="258"/>
                  </a:lnTo>
                  <a:lnTo>
                    <a:pt x="24" y="262"/>
                  </a:lnTo>
                  <a:lnTo>
                    <a:pt x="26" y="266"/>
                  </a:lnTo>
                  <a:lnTo>
                    <a:pt x="30" y="268"/>
                  </a:lnTo>
                  <a:lnTo>
                    <a:pt x="34" y="270"/>
                  </a:lnTo>
                  <a:lnTo>
                    <a:pt x="60" y="270"/>
                  </a:lnTo>
                  <a:lnTo>
                    <a:pt x="60" y="270"/>
                  </a:lnTo>
                  <a:lnTo>
                    <a:pt x="64" y="268"/>
                  </a:lnTo>
                  <a:lnTo>
                    <a:pt x="68" y="266"/>
                  </a:lnTo>
                  <a:lnTo>
                    <a:pt x="70" y="262"/>
                  </a:lnTo>
                  <a:lnTo>
                    <a:pt x="72" y="258"/>
                  </a:lnTo>
                  <a:lnTo>
                    <a:pt x="72" y="232"/>
                  </a:lnTo>
                  <a:lnTo>
                    <a:pt x="178" y="232"/>
                  </a:lnTo>
                  <a:lnTo>
                    <a:pt x="284" y="232"/>
                  </a:lnTo>
                  <a:lnTo>
                    <a:pt x="284" y="258"/>
                  </a:lnTo>
                  <a:lnTo>
                    <a:pt x="284" y="258"/>
                  </a:lnTo>
                  <a:lnTo>
                    <a:pt x="286" y="262"/>
                  </a:lnTo>
                  <a:lnTo>
                    <a:pt x="288" y="266"/>
                  </a:lnTo>
                  <a:lnTo>
                    <a:pt x="292" y="268"/>
                  </a:lnTo>
                  <a:lnTo>
                    <a:pt x="296" y="270"/>
                  </a:lnTo>
                  <a:lnTo>
                    <a:pt x="322" y="270"/>
                  </a:lnTo>
                  <a:lnTo>
                    <a:pt x="322" y="270"/>
                  </a:lnTo>
                  <a:lnTo>
                    <a:pt x="326" y="268"/>
                  </a:lnTo>
                  <a:lnTo>
                    <a:pt x="330" y="266"/>
                  </a:lnTo>
                  <a:lnTo>
                    <a:pt x="332" y="262"/>
                  </a:lnTo>
                  <a:lnTo>
                    <a:pt x="334" y="258"/>
                  </a:lnTo>
                  <a:lnTo>
                    <a:pt x="334" y="232"/>
                  </a:lnTo>
                  <a:lnTo>
                    <a:pt x="340" y="232"/>
                  </a:lnTo>
                  <a:lnTo>
                    <a:pt x="340" y="232"/>
                  </a:lnTo>
                  <a:lnTo>
                    <a:pt x="340" y="232"/>
                  </a:lnTo>
                  <a:lnTo>
                    <a:pt x="340" y="232"/>
                  </a:lnTo>
                  <a:lnTo>
                    <a:pt x="344" y="232"/>
                  </a:lnTo>
                  <a:lnTo>
                    <a:pt x="346" y="230"/>
                  </a:lnTo>
                  <a:lnTo>
                    <a:pt x="350" y="228"/>
                  </a:lnTo>
                  <a:lnTo>
                    <a:pt x="350" y="224"/>
                  </a:lnTo>
                  <a:lnTo>
                    <a:pt x="350" y="224"/>
                  </a:lnTo>
                  <a:lnTo>
                    <a:pt x="354" y="210"/>
                  </a:lnTo>
                  <a:lnTo>
                    <a:pt x="356" y="192"/>
                  </a:lnTo>
                  <a:lnTo>
                    <a:pt x="356" y="168"/>
                  </a:lnTo>
                  <a:lnTo>
                    <a:pt x="356" y="168"/>
                  </a:lnTo>
                  <a:lnTo>
                    <a:pt x="356" y="150"/>
                  </a:lnTo>
                  <a:lnTo>
                    <a:pt x="354" y="134"/>
                  </a:lnTo>
                  <a:lnTo>
                    <a:pt x="352" y="120"/>
                  </a:lnTo>
                  <a:lnTo>
                    <a:pt x="348" y="108"/>
                  </a:lnTo>
                  <a:lnTo>
                    <a:pt x="340" y="88"/>
                  </a:lnTo>
                  <a:lnTo>
                    <a:pt x="330" y="72"/>
                  </a:lnTo>
                  <a:lnTo>
                    <a:pt x="330" y="72"/>
                  </a:lnTo>
                  <a:close/>
                  <a:moveTo>
                    <a:pt x="88" y="26"/>
                  </a:moveTo>
                  <a:lnTo>
                    <a:pt x="88" y="26"/>
                  </a:lnTo>
                  <a:lnTo>
                    <a:pt x="110" y="22"/>
                  </a:lnTo>
                  <a:lnTo>
                    <a:pt x="138" y="20"/>
                  </a:lnTo>
                  <a:lnTo>
                    <a:pt x="178" y="20"/>
                  </a:lnTo>
                  <a:lnTo>
                    <a:pt x="178" y="20"/>
                  </a:lnTo>
                  <a:lnTo>
                    <a:pt x="218" y="20"/>
                  </a:lnTo>
                  <a:lnTo>
                    <a:pt x="246" y="22"/>
                  </a:lnTo>
                  <a:lnTo>
                    <a:pt x="268" y="26"/>
                  </a:lnTo>
                  <a:lnTo>
                    <a:pt x="268" y="26"/>
                  </a:lnTo>
                  <a:lnTo>
                    <a:pt x="286" y="46"/>
                  </a:lnTo>
                  <a:lnTo>
                    <a:pt x="296" y="62"/>
                  </a:lnTo>
                  <a:lnTo>
                    <a:pt x="298" y="70"/>
                  </a:lnTo>
                  <a:lnTo>
                    <a:pt x="300" y="74"/>
                  </a:lnTo>
                  <a:lnTo>
                    <a:pt x="300" y="74"/>
                  </a:lnTo>
                  <a:lnTo>
                    <a:pt x="298" y="76"/>
                  </a:lnTo>
                  <a:lnTo>
                    <a:pt x="296" y="78"/>
                  </a:lnTo>
                  <a:lnTo>
                    <a:pt x="292" y="80"/>
                  </a:lnTo>
                  <a:lnTo>
                    <a:pt x="284" y="80"/>
                  </a:lnTo>
                  <a:lnTo>
                    <a:pt x="284" y="80"/>
                  </a:lnTo>
                  <a:lnTo>
                    <a:pt x="178" y="80"/>
                  </a:lnTo>
                  <a:lnTo>
                    <a:pt x="178" y="80"/>
                  </a:lnTo>
                  <a:lnTo>
                    <a:pt x="72" y="80"/>
                  </a:lnTo>
                  <a:lnTo>
                    <a:pt x="72" y="80"/>
                  </a:lnTo>
                  <a:lnTo>
                    <a:pt x="64" y="80"/>
                  </a:lnTo>
                  <a:lnTo>
                    <a:pt x="60" y="78"/>
                  </a:lnTo>
                  <a:lnTo>
                    <a:pt x="58" y="76"/>
                  </a:lnTo>
                  <a:lnTo>
                    <a:pt x="56" y="74"/>
                  </a:lnTo>
                  <a:lnTo>
                    <a:pt x="56" y="74"/>
                  </a:lnTo>
                  <a:lnTo>
                    <a:pt x="58" y="70"/>
                  </a:lnTo>
                  <a:lnTo>
                    <a:pt x="60" y="62"/>
                  </a:lnTo>
                  <a:lnTo>
                    <a:pt x="70" y="46"/>
                  </a:lnTo>
                  <a:lnTo>
                    <a:pt x="88" y="26"/>
                  </a:lnTo>
                  <a:lnTo>
                    <a:pt x="88" y="26"/>
                  </a:lnTo>
                  <a:close/>
                  <a:moveTo>
                    <a:pt x="262" y="136"/>
                  </a:moveTo>
                  <a:lnTo>
                    <a:pt x="262" y="136"/>
                  </a:lnTo>
                  <a:lnTo>
                    <a:pt x="260" y="144"/>
                  </a:lnTo>
                  <a:lnTo>
                    <a:pt x="256" y="148"/>
                  </a:lnTo>
                  <a:lnTo>
                    <a:pt x="252" y="152"/>
                  </a:lnTo>
                  <a:lnTo>
                    <a:pt x="244" y="154"/>
                  </a:lnTo>
                  <a:lnTo>
                    <a:pt x="112" y="154"/>
                  </a:lnTo>
                  <a:lnTo>
                    <a:pt x="112" y="154"/>
                  </a:lnTo>
                  <a:lnTo>
                    <a:pt x="104" y="152"/>
                  </a:lnTo>
                  <a:lnTo>
                    <a:pt x="100" y="148"/>
                  </a:lnTo>
                  <a:lnTo>
                    <a:pt x="96" y="144"/>
                  </a:lnTo>
                  <a:lnTo>
                    <a:pt x="94" y="136"/>
                  </a:lnTo>
                  <a:lnTo>
                    <a:pt x="262" y="136"/>
                  </a:lnTo>
                  <a:close/>
                  <a:moveTo>
                    <a:pt x="46" y="152"/>
                  </a:moveTo>
                  <a:lnTo>
                    <a:pt x="46" y="152"/>
                  </a:lnTo>
                  <a:lnTo>
                    <a:pt x="36" y="150"/>
                  </a:lnTo>
                  <a:lnTo>
                    <a:pt x="28" y="144"/>
                  </a:lnTo>
                  <a:lnTo>
                    <a:pt x="22" y="136"/>
                  </a:lnTo>
                  <a:lnTo>
                    <a:pt x="20" y="126"/>
                  </a:lnTo>
                  <a:lnTo>
                    <a:pt x="20" y="126"/>
                  </a:lnTo>
                  <a:lnTo>
                    <a:pt x="22" y="116"/>
                  </a:lnTo>
                  <a:lnTo>
                    <a:pt x="28" y="106"/>
                  </a:lnTo>
                  <a:lnTo>
                    <a:pt x="36" y="102"/>
                  </a:lnTo>
                  <a:lnTo>
                    <a:pt x="46" y="100"/>
                  </a:lnTo>
                  <a:lnTo>
                    <a:pt x="46" y="100"/>
                  </a:lnTo>
                  <a:lnTo>
                    <a:pt x="56" y="102"/>
                  </a:lnTo>
                  <a:lnTo>
                    <a:pt x="64" y="106"/>
                  </a:lnTo>
                  <a:lnTo>
                    <a:pt x="70" y="116"/>
                  </a:lnTo>
                  <a:lnTo>
                    <a:pt x="72" y="126"/>
                  </a:lnTo>
                  <a:lnTo>
                    <a:pt x="72" y="126"/>
                  </a:lnTo>
                  <a:lnTo>
                    <a:pt x="70" y="136"/>
                  </a:lnTo>
                  <a:lnTo>
                    <a:pt x="64" y="144"/>
                  </a:lnTo>
                  <a:lnTo>
                    <a:pt x="56" y="150"/>
                  </a:lnTo>
                  <a:lnTo>
                    <a:pt x="46" y="152"/>
                  </a:lnTo>
                  <a:lnTo>
                    <a:pt x="46" y="152"/>
                  </a:lnTo>
                  <a:close/>
                  <a:moveTo>
                    <a:pt x="288" y="212"/>
                  </a:moveTo>
                  <a:lnTo>
                    <a:pt x="204" y="212"/>
                  </a:lnTo>
                  <a:lnTo>
                    <a:pt x="156" y="212"/>
                  </a:lnTo>
                  <a:lnTo>
                    <a:pt x="68" y="212"/>
                  </a:lnTo>
                  <a:lnTo>
                    <a:pt x="68" y="206"/>
                  </a:lnTo>
                  <a:lnTo>
                    <a:pt x="68" y="206"/>
                  </a:lnTo>
                  <a:lnTo>
                    <a:pt x="70" y="198"/>
                  </a:lnTo>
                  <a:lnTo>
                    <a:pt x="76" y="190"/>
                  </a:lnTo>
                  <a:lnTo>
                    <a:pt x="82" y="186"/>
                  </a:lnTo>
                  <a:lnTo>
                    <a:pt x="90" y="184"/>
                  </a:lnTo>
                  <a:lnTo>
                    <a:pt x="152" y="184"/>
                  </a:lnTo>
                  <a:lnTo>
                    <a:pt x="208" y="184"/>
                  </a:lnTo>
                  <a:lnTo>
                    <a:pt x="266" y="184"/>
                  </a:lnTo>
                  <a:lnTo>
                    <a:pt x="266" y="184"/>
                  </a:lnTo>
                  <a:lnTo>
                    <a:pt x="274" y="186"/>
                  </a:lnTo>
                  <a:lnTo>
                    <a:pt x="280" y="190"/>
                  </a:lnTo>
                  <a:lnTo>
                    <a:pt x="286" y="198"/>
                  </a:lnTo>
                  <a:lnTo>
                    <a:pt x="288" y="206"/>
                  </a:lnTo>
                  <a:lnTo>
                    <a:pt x="288" y="212"/>
                  </a:lnTo>
                  <a:close/>
                  <a:moveTo>
                    <a:pt x="310" y="152"/>
                  </a:moveTo>
                  <a:lnTo>
                    <a:pt x="310" y="152"/>
                  </a:lnTo>
                  <a:lnTo>
                    <a:pt x="300" y="150"/>
                  </a:lnTo>
                  <a:lnTo>
                    <a:pt x="292" y="144"/>
                  </a:lnTo>
                  <a:lnTo>
                    <a:pt x="286" y="136"/>
                  </a:lnTo>
                  <a:lnTo>
                    <a:pt x="284" y="126"/>
                  </a:lnTo>
                  <a:lnTo>
                    <a:pt x="284" y="126"/>
                  </a:lnTo>
                  <a:lnTo>
                    <a:pt x="286" y="116"/>
                  </a:lnTo>
                  <a:lnTo>
                    <a:pt x="292" y="106"/>
                  </a:lnTo>
                  <a:lnTo>
                    <a:pt x="300" y="102"/>
                  </a:lnTo>
                  <a:lnTo>
                    <a:pt x="310" y="100"/>
                  </a:lnTo>
                  <a:lnTo>
                    <a:pt x="310" y="100"/>
                  </a:lnTo>
                  <a:lnTo>
                    <a:pt x="320" y="102"/>
                  </a:lnTo>
                  <a:lnTo>
                    <a:pt x="328" y="106"/>
                  </a:lnTo>
                  <a:lnTo>
                    <a:pt x="334" y="116"/>
                  </a:lnTo>
                  <a:lnTo>
                    <a:pt x="336" y="126"/>
                  </a:lnTo>
                  <a:lnTo>
                    <a:pt x="336" y="126"/>
                  </a:lnTo>
                  <a:lnTo>
                    <a:pt x="334" y="136"/>
                  </a:lnTo>
                  <a:lnTo>
                    <a:pt x="328" y="144"/>
                  </a:lnTo>
                  <a:lnTo>
                    <a:pt x="320" y="150"/>
                  </a:lnTo>
                  <a:lnTo>
                    <a:pt x="310" y="152"/>
                  </a:lnTo>
                  <a:lnTo>
                    <a:pt x="310" y="152"/>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59" name="Group 58">
            <a:extLst>
              <a:ext uri="{FF2B5EF4-FFF2-40B4-BE49-F238E27FC236}">
                <a16:creationId xmlns:a16="http://schemas.microsoft.com/office/drawing/2014/main" id="{5441C74D-7AA5-4E6C-A196-81805296FC76}"/>
              </a:ext>
            </a:extLst>
          </p:cNvPr>
          <p:cNvGrpSpPr/>
          <p:nvPr/>
        </p:nvGrpSpPr>
        <p:grpSpPr>
          <a:xfrm>
            <a:off x="4277792" y="1663988"/>
            <a:ext cx="523325" cy="523325"/>
            <a:chOff x="3216946" y="2258092"/>
            <a:chExt cx="612000" cy="612000"/>
          </a:xfrm>
        </p:grpSpPr>
        <p:sp>
          <p:nvSpPr>
            <p:cNvPr id="60" name="Oval 59">
              <a:extLst>
                <a:ext uri="{FF2B5EF4-FFF2-40B4-BE49-F238E27FC236}">
                  <a16:creationId xmlns:a16="http://schemas.microsoft.com/office/drawing/2014/main" id="{31954E2E-0932-4209-9010-9BAFF4962941}"/>
                </a:ext>
              </a:extLst>
            </p:cNvPr>
            <p:cNvSpPr/>
            <p:nvPr/>
          </p:nvSpPr>
          <p:spPr bwMode="ltGray">
            <a:xfrm>
              <a:off x="3216946"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61" name="Freeform 4806">
              <a:extLst>
                <a:ext uri="{FF2B5EF4-FFF2-40B4-BE49-F238E27FC236}">
                  <a16:creationId xmlns:a16="http://schemas.microsoft.com/office/drawing/2014/main" id="{BFC01269-6B6C-477C-950D-92BAA082A176}"/>
                </a:ext>
              </a:extLst>
            </p:cNvPr>
            <p:cNvSpPr>
              <a:spLocks noEditPoints="1"/>
            </p:cNvSpPr>
            <p:nvPr/>
          </p:nvSpPr>
          <p:spPr bwMode="auto">
            <a:xfrm>
              <a:off x="3299862" y="2321752"/>
              <a:ext cx="446169" cy="392236"/>
            </a:xfrm>
            <a:custGeom>
              <a:avLst/>
              <a:gdLst>
                <a:gd name="T0" fmla="*/ 310 w 364"/>
                <a:gd name="T1" fmla="*/ 104 h 320"/>
                <a:gd name="T2" fmla="*/ 314 w 364"/>
                <a:gd name="T3" fmla="*/ 242 h 320"/>
                <a:gd name="T4" fmla="*/ 304 w 364"/>
                <a:gd name="T5" fmla="*/ 252 h 320"/>
                <a:gd name="T6" fmla="*/ 276 w 364"/>
                <a:gd name="T7" fmla="*/ 248 h 320"/>
                <a:gd name="T8" fmla="*/ 274 w 364"/>
                <a:gd name="T9" fmla="*/ 110 h 320"/>
                <a:gd name="T10" fmla="*/ 284 w 364"/>
                <a:gd name="T11" fmla="*/ 100 h 320"/>
                <a:gd name="T12" fmla="*/ 26 w 364"/>
                <a:gd name="T13" fmla="*/ 66 h 320"/>
                <a:gd name="T14" fmla="*/ 178 w 364"/>
                <a:gd name="T15" fmla="*/ 0 h 320"/>
                <a:gd name="T16" fmla="*/ 180 w 364"/>
                <a:gd name="T17" fmla="*/ 0 h 320"/>
                <a:gd name="T18" fmla="*/ 184 w 364"/>
                <a:gd name="T19" fmla="*/ 0 h 320"/>
                <a:gd name="T20" fmla="*/ 186 w 364"/>
                <a:gd name="T21" fmla="*/ 0 h 320"/>
                <a:gd name="T22" fmla="*/ 332 w 364"/>
                <a:gd name="T23" fmla="*/ 62 h 320"/>
                <a:gd name="T24" fmla="*/ 338 w 364"/>
                <a:gd name="T25" fmla="*/ 74 h 320"/>
                <a:gd name="T26" fmla="*/ 328 w 364"/>
                <a:gd name="T27" fmla="*/ 82 h 320"/>
                <a:gd name="T28" fmla="*/ 36 w 364"/>
                <a:gd name="T29" fmla="*/ 82 h 320"/>
                <a:gd name="T30" fmla="*/ 26 w 364"/>
                <a:gd name="T31" fmla="*/ 72 h 320"/>
                <a:gd name="T32" fmla="*/ 168 w 364"/>
                <a:gd name="T33" fmla="*/ 56 h 320"/>
                <a:gd name="T34" fmla="*/ 190 w 364"/>
                <a:gd name="T35" fmla="*/ 60 h 320"/>
                <a:gd name="T36" fmla="*/ 200 w 364"/>
                <a:gd name="T37" fmla="*/ 42 h 320"/>
                <a:gd name="T38" fmla="*/ 182 w 364"/>
                <a:gd name="T39" fmla="*/ 24 h 320"/>
                <a:gd name="T40" fmla="*/ 164 w 364"/>
                <a:gd name="T41" fmla="*/ 36 h 320"/>
                <a:gd name="T42" fmla="*/ 230 w 364"/>
                <a:gd name="T43" fmla="*/ 252 h 320"/>
                <a:gd name="T44" fmla="*/ 240 w 364"/>
                <a:gd name="T45" fmla="*/ 242 h 320"/>
                <a:gd name="T46" fmla="*/ 236 w 364"/>
                <a:gd name="T47" fmla="*/ 104 h 320"/>
                <a:gd name="T48" fmla="*/ 134 w 364"/>
                <a:gd name="T49" fmla="*/ 100 h 320"/>
                <a:gd name="T50" fmla="*/ 124 w 364"/>
                <a:gd name="T51" fmla="*/ 110 h 320"/>
                <a:gd name="T52" fmla="*/ 128 w 364"/>
                <a:gd name="T53" fmla="*/ 248 h 320"/>
                <a:gd name="T54" fmla="*/ 162 w 364"/>
                <a:gd name="T55" fmla="*/ 170 h 320"/>
                <a:gd name="T56" fmla="*/ 174 w 364"/>
                <a:gd name="T57" fmla="*/ 152 h 320"/>
                <a:gd name="T58" fmla="*/ 196 w 364"/>
                <a:gd name="T59" fmla="*/ 156 h 320"/>
                <a:gd name="T60" fmla="*/ 230 w 364"/>
                <a:gd name="T61" fmla="*/ 252 h 320"/>
                <a:gd name="T62" fmla="*/ 332 w 364"/>
                <a:gd name="T63" fmla="*/ 286 h 320"/>
                <a:gd name="T64" fmla="*/ 338 w 364"/>
                <a:gd name="T65" fmla="*/ 278 h 320"/>
                <a:gd name="T66" fmla="*/ 328 w 364"/>
                <a:gd name="T67" fmla="*/ 268 h 320"/>
                <a:gd name="T68" fmla="*/ 28 w 364"/>
                <a:gd name="T69" fmla="*/ 270 h 320"/>
                <a:gd name="T70" fmla="*/ 26 w 364"/>
                <a:gd name="T71" fmla="*/ 282 h 320"/>
                <a:gd name="T72" fmla="*/ 36 w 364"/>
                <a:gd name="T73" fmla="*/ 288 h 320"/>
                <a:gd name="T74" fmla="*/ 6 w 364"/>
                <a:gd name="T75" fmla="*/ 302 h 320"/>
                <a:gd name="T76" fmla="*/ 0 w 364"/>
                <a:gd name="T77" fmla="*/ 310 h 320"/>
                <a:gd name="T78" fmla="*/ 10 w 364"/>
                <a:gd name="T79" fmla="*/ 320 h 320"/>
                <a:gd name="T80" fmla="*/ 362 w 364"/>
                <a:gd name="T81" fmla="*/ 318 h 320"/>
                <a:gd name="T82" fmla="*/ 364 w 364"/>
                <a:gd name="T83" fmla="*/ 306 h 320"/>
                <a:gd name="T84" fmla="*/ 354 w 364"/>
                <a:gd name="T85" fmla="*/ 300 h 320"/>
                <a:gd name="T86" fmla="*/ 54 w 364"/>
                <a:gd name="T87" fmla="*/ 104 h 320"/>
                <a:gd name="T88" fmla="*/ 50 w 364"/>
                <a:gd name="T89" fmla="*/ 242 h 320"/>
                <a:gd name="T90" fmla="*/ 60 w 364"/>
                <a:gd name="T91" fmla="*/ 252 h 320"/>
                <a:gd name="T92" fmla="*/ 88 w 364"/>
                <a:gd name="T93" fmla="*/ 248 h 320"/>
                <a:gd name="T94" fmla="*/ 90 w 364"/>
                <a:gd name="T95" fmla="*/ 110 h 320"/>
                <a:gd name="T96" fmla="*/ 80 w 364"/>
                <a:gd name="T97" fmla="*/ 10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4" h="320">
                  <a:moveTo>
                    <a:pt x="304" y="100"/>
                  </a:moveTo>
                  <a:lnTo>
                    <a:pt x="304" y="100"/>
                  </a:lnTo>
                  <a:lnTo>
                    <a:pt x="308" y="102"/>
                  </a:lnTo>
                  <a:lnTo>
                    <a:pt x="310" y="104"/>
                  </a:lnTo>
                  <a:lnTo>
                    <a:pt x="312" y="106"/>
                  </a:lnTo>
                  <a:lnTo>
                    <a:pt x="314" y="110"/>
                  </a:lnTo>
                  <a:lnTo>
                    <a:pt x="314" y="242"/>
                  </a:lnTo>
                  <a:lnTo>
                    <a:pt x="314" y="242"/>
                  </a:lnTo>
                  <a:lnTo>
                    <a:pt x="312" y="246"/>
                  </a:lnTo>
                  <a:lnTo>
                    <a:pt x="310" y="248"/>
                  </a:lnTo>
                  <a:lnTo>
                    <a:pt x="308" y="250"/>
                  </a:lnTo>
                  <a:lnTo>
                    <a:pt x="304" y="252"/>
                  </a:lnTo>
                  <a:lnTo>
                    <a:pt x="284" y="252"/>
                  </a:lnTo>
                  <a:lnTo>
                    <a:pt x="284" y="252"/>
                  </a:lnTo>
                  <a:lnTo>
                    <a:pt x="280" y="250"/>
                  </a:lnTo>
                  <a:lnTo>
                    <a:pt x="276" y="248"/>
                  </a:lnTo>
                  <a:lnTo>
                    <a:pt x="274" y="246"/>
                  </a:lnTo>
                  <a:lnTo>
                    <a:pt x="274" y="242"/>
                  </a:lnTo>
                  <a:lnTo>
                    <a:pt x="274" y="110"/>
                  </a:lnTo>
                  <a:lnTo>
                    <a:pt x="274" y="110"/>
                  </a:lnTo>
                  <a:lnTo>
                    <a:pt x="274" y="106"/>
                  </a:lnTo>
                  <a:lnTo>
                    <a:pt x="276" y="104"/>
                  </a:lnTo>
                  <a:lnTo>
                    <a:pt x="280" y="102"/>
                  </a:lnTo>
                  <a:lnTo>
                    <a:pt x="284" y="100"/>
                  </a:lnTo>
                  <a:lnTo>
                    <a:pt x="304" y="100"/>
                  </a:lnTo>
                  <a:close/>
                  <a:moveTo>
                    <a:pt x="26" y="72"/>
                  </a:moveTo>
                  <a:lnTo>
                    <a:pt x="26" y="72"/>
                  </a:lnTo>
                  <a:lnTo>
                    <a:pt x="26" y="66"/>
                  </a:lnTo>
                  <a:lnTo>
                    <a:pt x="32" y="62"/>
                  </a:lnTo>
                  <a:lnTo>
                    <a:pt x="178" y="0"/>
                  </a:lnTo>
                  <a:lnTo>
                    <a:pt x="178" y="0"/>
                  </a:lnTo>
                  <a:lnTo>
                    <a:pt x="178" y="0"/>
                  </a:lnTo>
                  <a:lnTo>
                    <a:pt x="178" y="0"/>
                  </a:lnTo>
                  <a:lnTo>
                    <a:pt x="180" y="0"/>
                  </a:lnTo>
                  <a:lnTo>
                    <a:pt x="180" y="0"/>
                  </a:lnTo>
                  <a:lnTo>
                    <a:pt x="180" y="0"/>
                  </a:lnTo>
                  <a:lnTo>
                    <a:pt x="180" y="0"/>
                  </a:lnTo>
                  <a:lnTo>
                    <a:pt x="182" y="0"/>
                  </a:lnTo>
                  <a:lnTo>
                    <a:pt x="182" y="0"/>
                  </a:lnTo>
                  <a:lnTo>
                    <a:pt x="184" y="0"/>
                  </a:lnTo>
                  <a:lnTo>
                    <a:pt x="184" y="0"/>
                  </a:lnTo>
                  <a:lnTo>
                    <a:pt x="184" y="0"/>
                  </a:lnTo>
                  <a:lnTo>
                    <a:pt x="184" y="0"/>
                  </a:lnTo>
                  <a:lnTo>
                    <a:pt x="186" y="0"/>
                  </a:lnTo>
                  <a:lnTo>
                    <a:pt x="186" y="0"/>
                  </a:lnTo>
                  <a:lnTo>
                    <a:pt x="186" y="0"/>
                  </a:lnTo>
                  <a:lnTo>
                    <a:pt x="332" y="62"/>
                  </a:lnTo>
                  <a:lnTo>
                    <a:pt x="332" y="62"/>
                  </a:lnTo>
                  <a:lnTo>
                    <a:pt x="336" y="64"/>
                  </a:lnTo>
                  <a:lnTo>
                    <a:pt x="338" y="72"/>
                  </a:lnTo>
                  <a:lnTo>
                    <a:pt x="338" y="72"/>
                  </a:lnTo>
                  <a:lnTo>
                    <a:pt x="338" y="74"/>
                  </a:lnTo>
                  <a:lnTo>
                    <a:pt x="336" y="78"/>
                  </a:lnTo>
                  <a:lnTo>
                    <a:pt x="332" y="80"/>
                  </a:lnTo>
                  <a:lnTo>
                    <a:pt x="328" y="82"/>
                  </a:lnTo>
                  <a:lnTo>
                    <a:pt x="328" y="82"/>
                  </a:lnTo>
                  <a:lnTo>
                    <a:pt x="328" y="82"/>
                  </a:lnTo>
                  <a:lnTo>
                    <a:pt x="182" y="82"/>
                  </a:lnTo>
                  <a:lnTo>
                    <a:pt x="182" y="82"/>
                  </a:lnTo>
                  <a:lnTo>
                    <a:pt x="36" y="82"/>
                  </a:lnTo>
                  <a:lnTo>
                    <a:pt x="36" y="82"/>
                  </a:lnTo>
                  <a:lnTo>
                    <a:pt x="30" y="78"/>
                  </a:lnTo>
                  <a:lnTo>
                    <a:pt x="26" y="72"/>
                  </a:lnTo>
                  <a:lnTo>
                    <a:pt x="26" y="72"/>
                  </a:lnTo>
                  <a:close/>
                  <a:moveTo>
                    <a:pt x="164" y="42"/>
                  </a:moveTo>
                  <a:lnTo>
                    <a:pt x="164" y="42"/>
                  </a:lnTo>
                  <a:lnTo>
                    <a:pt x="164" y="50"/>
                  </a:lnTo>
                  <a:lnTo>
                    <a:pt x="168" y="56"/>
                  </a:lnTo>
                  <a:lnTo>
                    <a:pt x="174" y="60"/>
                  </a:lnTo>
                  <a:lnTo>
                    <a:pt x="182" y="62"/>
                  </a:lnTo>
                  <a:lnTo>
                    <a:pt x="182" y="62"/>
                  </a:lnTo>
                  <a:lnTo>
                    <a:pt x="190" y="60"/>
                  </a:lnTo>
                  <a:lnTo>
                    <a:pt x="196" y="56"/>
                  </a:lnTo>
                  <a:lnTo>
                    <a:pt x="200" y="50"/>
                  </a:lnTo>
                  <a:lnTo>
                    <a:pt x="200" y="42"/>
                  </a:lnTo>
                  <a:lnTo>
                    <a:pt x="200" y="42"/>
                  </a:lnTo>
                  <a:lnTo>
                    <a:pt x="200" y="36"/>
                  </a:lnTo>
                  <a:lnTo>
                    <a:pt x="196" y="30"/>
                  </a:lnTo>
                  <a:lnTo>
                    <a:pt x="190" y="26"/>
                  </a:lnTo>
                  <a:lnTo>
                    <a:pt x="182" y="24"/>
                  </a:lnTo>
                  <a:lnTo>
                    <a:pt x="182" y="24"/>
                  </a:lnTo>
                  <a:lnTo>
                    <a:pt x="174" y="26"/>
                  </a:lnTo>
                  <a:lnTo>
                    <a:pt x="168" y="30"/>
                  </a:lnTo>
                  <a:lnTo>
                    <a:pt x="164" y="36"/>
                  </a:lnTo>
                  <a:lnTo>
                    <a:pt x="164" y="42"/>
                  </a:lnTo>
                  <a:lnTo>
                    <a:pt x="164" y="42"/>
                  </a:lnTo>
                  <a:close/>
                  <a:moveTo>
                    <a:pt x="230" y="252"/>
                  </a:moveTo>
                  <a:lnTo>
                    <a:pt x="230" y="252"/>
                  </a:lnTo>
                  <a:lnTo>
                    <a:pt x="234" y="250"/>
                  </a:lnTo>
                  <a:lnTo>
                    <a:pt x="236" y="248"/>
                  </a:lnTo>
                  <a:lnTo>
                    <a:pt x="238" y="246"/>
                  </a:lnTo>
                  <a:lnTo>
                    <a:pt x="240" y="242"/>
                  </a:lnTo>
                  <a:lnTo>
                    <a:pt x="240" y="110"/>
                  </a:lnTo>
                  <a:lnTo>
                    <a:pt x="240" y="110"/>
                  </a:lnTo>
                  <a:lnTo>
                    <a:pt x="238" y="106"/>
                  </a:lnTo>
                  <a:lnTo>
                    <a:pt x="236" y="104"/>
                  </a:lnTo>
                  <a:lnTo>
                    <a:pt x="234" y="102"/>
                  </a:lnTo>
                  <a:lnTo>
                    <a:pt x="230" y="100"/>
                  </a:lnTo>
                  <a:lnTo>
                    <a:pt x="134" y="100"/>
                  </a:lnTo>
                  <a:lnTo>
                    <a:pt x="134" y="100"/>
                  </a:lnTo>
                  <a:lnTo>
                    <a:pt x="130" y="102"/>
                  </a:lnTo>
                  <a:lnTo>
                    <a:pt x="128" y="104"/>
                  </a:lnTo>
                  <a:lnTo>
                    <a:pt x="126" y="106"/>
                  </a:lnTo>
                  <a:lnTo>
                    <a:pt x="124" y="110"/>
                  </a:lnTo>
                  <a:lnTo>
                    <a:pt x="124" y="242"/>
                  </a:lnTo>
                  <a:lnTo>
                    <a:pt x="124" y="242"/>
                  </a:lnTo>
                  <a:lnTo>
                    <a:pt x="126" y="246"/>
                  </a:lnTo>
                  <a:lnTo>
                    <a:pt x="128" y="248"/>
                  </a:lnTo>
                  <a:lnTo>
                    <a:pt x="130" y="250"/>
                  </a:lnTo>
                  <a:lnTo>
                    <a:pt x="134" y="252"/>
                  </a:lnTo>
                  <a:lnTo>
                    <a:pt x="162" y="252"/>
                  </a:lnTo>
                  <a:lnTo>
                    <a:pt x="162" y="170"/>
                  </a:lnTo>
                  <a:lnTo>
                    <a:pt x="162" y="170"/>
                  </a:lnTo>
                  <a:lnTo>
                    <a:pt x="164" y="162"/>
                  </a:lnTo>
                  <a:lnTo>
                    <a:pt x="168" y="156"/>
                  </a:lnTo>
                  <a:lnTo>
                    <a:pt x="174" y="152"/>
                  </a:lnTo>
                  <a:lnTo>
                    <a:pt x="182" y="150"/>
                  </a:lnTo>
                  <a:lnTo>
                    <a:pt x="182" y="150"/>
                  </a:lnTo>
                  <a:lnTo>
                    <a:pt x="190" y="152"/>
                  </a:lnTo>
                  <a:lnTo>
                    <a:pt x="196" y="156"/>
                  </a:lnTo>
                  <a:lnTo>
                    <a:pt x="200" y="162"/>
                  </a:lnTo>
                  <a:lnTo>
                    <a:pt x="202" y="170"/>
                  </a:lnTo>
                  <a:lnTo>
                    <a:pt x="202" y="252"/>
                  </a:lnTo>
                  <a:lnTo>
                    <a:pt x="230" y="252"/>
                  </a:lnTo>
                  <a:close/>
                  <a:moveTo>
                    <a:pt x="36" y="288"/>
                  </a:moveTo>
                  <a:lnTo>
                    <a:pt x="328" y="288"/>
                  </a:lnTo>
                  <a:lnTo>
                    <a:pt x="328" y="288"/>
                  </a:lnTo>
                  <a:lnTo>
                    <a:pt x="332" y="286"/>
                  </a:lnTo>
                  <a:lnTo>
                    <a:pt x="336" y="284"/>
                  </a:lnTo>
                  <a:lnTo>
                    <a:pt x="338" y="282"/>
                  </a:lnTo>
                  <a:lnTo>
                    <a:pt x="338" y="278"/>
                  </a:lnTo>
                  <a:lnTo>
                    <a:pt x="338" y="278"/>
                  </a:lnTo>
                  <a:lnTo>
                    <a:pt x="338" y="274"/>
                  </a:lnTo>
                  <a:lnTo>
                    <a:pt x="336" y="270"/>
                  </a:lnTo>
                  <a:lnTo>
                    <a:pt x="332" y="268"/>
                  </a:lnTo>
                  <a:lnTo>
                    <a:pt x="328" y="268"/>
                  </a:lnTo>
                  <a:lnTo>
                    <a:pt x="36" y="268"/>
                  </a:lnTo>
                  <a:lnTo>
                    <a:pt x="36" y="268"/>
                  </a:lnTo>
                  <a:lnTo>
                    <a:pt x="32" y="268"/>
                  </a:lnTo>
                  <a:lnTo>
                    <a:pt x="28" y="270"/>
                  </a:lnTo>
                  <a:lnTo>
                    <a:pt x="26" y="274"/>
                  </a:lnTo>
                  <a:lnTo>
                    <a:pt x="26" y="278"/>
                  </a:lnTo>
                  <a:lnTo>
                    <a:pt x="26" y="278"/>
                  </a:lnTo>
                  <a:lnTo>
                    <a:pt x="26" y="282"/>
                  </a:lnTo>
                  <a:lnTo>
                    <a:pt x="28" y="284"/>
                  </a:lnTo>
                  <a:lnTo>
                    <a:pt x="32" y="286"/>
                  </a:lnTo>
                  <a:lnTo>
                    <a:pt x="36" y="288"/>
                  </a:lnTo>
                  <a:lnTo>
                    <a:pt x="36" y="288"/>
                  </a:lnTo>
                  <a:close/>
                  <a:moveTo>
                    <a:pt x="354" y="300"/>
                  </a:moveTo>
                  <a:lnTo>
                    <a:pt x="10" y="300"/>
                  </a:lnTo>
                  <a:lnTo>
                    <a:pt x="10" y="300"/>
                  </a:lnTo>
                  <a:lnTo>
                    <a:pt x="6" y="302"/>
                  </a:lnTo>
                  <a:lnTo>
                    <a:pt x="2" y="304"/>
                  </a:lnTo>
                  <a:lnTo>
                    <a:pt x="0" y="306"/>
                  </a:lnTo>
                  <a:lnTo>
                    <a:pt x="0" y="310"/>
                  </a:lnTo>
                  <a:lnTo>
                    <a:pt x="0" y="310"/>
                  </a:lnTo>
                  <a:lnTo>
                    <a:pt x="0" y="314"/>
                  </a:lnTo>
                  <a:lnTo>
                    <a:pt x="2" y="318"/>
                  </a:lnTo>
                  <a:lnTo>
                    <a:pt x="6" y="320"/>
                  </a:lnTo>
                  <a:lnTo>
                    <a:pt x="10" y="320"/>
                  </a:lnTo>
                  <a:lnTo>
                    <a:pt x="354" y="320"/>
                  </a:lnTo>
                  <a:lnTo>
                    <a:pt x="354" y="320"/>
                  </a:lnTo>
                  <a:lnTo>
                    <a:pt x="358" y="320"/>
                  </a:lnTo>
                  <a:lnTo>
                    <a:pt x="362" y="318"/>
                  </a:lnTo>
                  <a:lnTo>
                    <a:pt x="364" y="314"/>
                  </a:lnTo>
                  <a:lnTo>
                    <a:pt x="364" y="310"/>
                  </a:lnTo>
                  <a:lnTo>
                    <a:pt x="364" y="310"/>
                  </a:lnTo>
                  <a:lnTo>
                    <a:pt x="364" y="306"/>
                  </a:lnTo>
                  <a:lnTo>
                    <a:pt x="362" y="304"/>
                  </a:lnTo>
                  <a:lnTo>
                    <a:pt x="358" y="302"/>
                  </a:lnTo>
                  <a:lnTo>
                    <a:pt x="354" y="300"/>
                  </a:lnTo>
                  <a:lnTo>
                    <a:pt x="354" y="300"/>
                  </a:lnTo>
                  <a:close/>
                  <a:moveTo>
                    <a:pt x="60" y="100"/>
                  </a:moveTo>
                  <a:lnTo>
                    <a:pt x="60" y="100"/>
                  </a:lnTo>
                  <a:lnTo>
                    <a:pt x="56" y="102"/>
                  </a:lnTo>
                  <a:lnTo>
                    <a:pt x="54" y="104"/>
                  </a:lnTo>
                  <a:lnTo>
                    <a:pt x="52" y="106"/>
                  </a:lnTo>
                  <a:lnTo>
                    <a:pt x="50" y="110"/>
                  </a:lnTo>
                  <a:lnTo>
                    <a:pt x="50" y="242"/>
                  </a:lnTo>
                  <a:lnTo>
                    <a:pt x="50" y="242"/>
                  </a:lnTo>
                  <a:lnTo>
                    <a:pt x="52" y="246"/>
                  </a:lnTo>
                  <a:lnTo>
                    <a:pt x="54" y="248"/>
                  </a:lnTo>
                  <a:lnTo>
                    <a:pt x="56" y="250"/>
                  </a:lnTo>
                  <a:lnTo>
                    <a:pt x="60" y="252"/>
                  </a:lnTo>
                  <a:lnTo>
                    <a:pt x="80" y="252"/>
                  </a:lnTo>
                  <a:lnTo>
                    <a:pt x="80" y="252"/>
                  </a:lnTo>
                  <a:lnTo>
                    <a:pt x="84" y="250"/>
                  </a:lnTo>
                  <a:lnTo>
                    <a:pt x="88" y="248"/>
                  </a:lnTo>
                  <a:lnTo>
                    <a:pt x="90" y="246"/>
                  </a:lnTo>
                  <a:lnTo>
                    <a:pt x="90" y="242"/>
                  </a:lnTo>
                  <a:lnTo>
                    <a:pt x="90" y="110"/>
                  </a:lnTo>
                  <a:lnTo>
                    <a:pt x="90" y="110"/>
                  </a:lnTo>
                  <a:lnTo>
                    <a:pt x="90" y="106"/>
                  </a:lnTo>
                  <a:lnTo>
                    <a:pt x="88" y="104"/>
                  </a:lnTo>
                  <a:lnTo>
                    <a:pt x="84" y="102"/>
                  </a:lnTo>
                  <a:lnTo>
                    <a:pt x="80" y="100"/>
                  </a:lnTo>
                  <a:lnTo>
                    <a:pt x="60" y="100"/>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62" name="Group 61">
            <a:extLst>
              <a:ext uri="{FF2B5EF4-FFF2-40B4-BE49-F238E27FC236}">
                <a16:creationId xmlns:a16="http://schemas.microsoft.com/office/drawing/2014/main" id="{7CE38562-A385-4997-9909-1E400A6FDB8E}"/>
              </a:ext>
            </a:extLst>
          </p:cNvPr>
          <p:cNvGrpSpPr/>
          <p:nvPr/>
        </p:nvGrpSpPr>
        <p:grpSpPr>
          <a:xfrm>
            <a:off x="5025765" y="1663988"/>
            <a:ext cx="523325" cy="523325"/>
            <a:chOff x="4091659" y="2258092"/>
            <a:chExt cx="612000" cy="612000"/>
          </a:xfrm>
        </p:grpSpPr>
        <p:sp>
          <p:nvSpPr>
            <p:cNvPr id="63" name="Oval 62">
              <a:extLst>
                <a:ext uri="{FF2B5EF4-FFF2-40B4-BE49-F238E27FC236}">
                  <a16:creationId xmlns:a16="http://schemas.microsoft.com/office/drawing/2014/main" id="{A07A6686-1DE0-48D5-BC7D-EE7E5785B537}"/>
                </a:ext>
              </a:extLst>
            </p:cNvPr>
            <p:cNvSpPr/>
            <p:nvPr/>
          </p:nvSpPr>
          <p:spPr bwMode="ltGray">
            <a:xfrm>
              <a:off x="4091659"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64" name="Freeform 4807">
              <a:extLst>
                <a:ext uri="{FF2B5EF4-FFF2-40B4-BE49-F238E27FC236}">
                  <a16:creationId xmlns:a16="http://schemas.microsoft.com/office/drawing/2014/main" id="{228EE30D-E17B-41C2-A77C-B7927254A36C}"/>
                </a:ext>
              </a:extLst>
            </p:cNvPr>
            <p:cNvSpPr>
              <a:spLocks noEditPoints="1"/>
            </p:cNvSpPr>
            <p:nvPr/>
          </p:nvSpPr>
          <p:spPr bwMode="auto">
            <a:xfrm>
              <a:off x="4201541" y="2357405"/>
              <a:ext cx="392236" cy="350561"/>
            </a:xfrm>
            <a:custGeom>
              <a:avLst/>
              <a:gdLst>
                <a:gd name="T0" fmla="*/ 84 w 320"/>
                <a:gd name="T1" fmla="*/ 24 h 286"/>
                <a:gd name="T2" fmla="*/ 86 w 320"/>
                <a:gd name="T3" fmla="*/ 18 h 286"/>
                <a:gd name="T4" fmla="*/ 92 w 320"/>
                <a:gd name="T5" fmla="*/ 14 h 286"/>
                <a:gd name="T6" fmla="*/ 134 w 320"/>
                <a:gd name="T7" fmla="*/ 2 h 286"/>
                <a:gd name="T8" fmla="*/ 160 w 320"/>
                <a:gd name="T9" fmla="*/ 0 h 286"/>
                <a:gd name="T10" fmla="*/ 208 w 320"/>
                <a:gd name="T11" fmla="*/ 8 h 286"/>
                <a:gd name="T12" fmla="*/ 228 w 320"/>
                <a:gd name="T13" fmla="*/ 14 h 286"/>
                <a:gd name="T14" fmla="*/ 236 w 320"/>
                <a:gd name="T15" fmla="*/ 24 h 286"/>
                <a:gd name="T16" fmla="*/ 216 w 320"/>
                <a:gd name="T17" fmla="*/ 42 h 286"/>
                <a:gd name="T18" fmla="*/ 216 w 320"/>
                <a:gd name="T19" fmla="*/ 30 h 286"/>
                <a:gd name="T20" fmla="*/ 178 w 320"/>
                <a:gd name="T21" fmla="*/ 22 h 286"/>
                <a:gd name="T22" fmla="*/ 160 w 320"/>
                <a:gd name="T23" fmla="*/ 20 h 286"/>
                <a:gd name="T24" fmla="*/ 128 w 320"/>
                <a:gd name="T25" fmla="*/ 24 h 286"/>
                <a:gd name="T26" fmla="*/ 104 w 320"/>
                <a:gd name="T27" fmla="*/ 42 h 286"/>
                <a:gd name="T28" fmla="*/ 132 w 320"/>
                <a:gd name="T29" fmla="*/ 160 h 286"/>
                <a:gd name="T30" fmla="*/ 188 w 320"/>
                <a:gd name="T31" fmla="*/ 146 h 286"/>
                <a:gd name="T32" fmla="*/ 188 w 320"/>
                <a:gd name="T33" fmla="*/ 160 h 286"/>
                <a:gd name="T34" fmla="*/ 274 w 320"/>
                <a:gd name="T35" fmla="*/ 148 h 286"/>
                <a:gd name="T36" fmla="*/ 320 w 320"/>
                <a:gd name="T37" fmla="*/ 138 h 286"/>
                <a:gd name="T38" fmla="*/ 320 w 320"/>
                <a:gd name="T39" fmla="*/ 72 h 286"/>
                <a:gd name="T40" fmla="*/ 314 w 320"/>
                <a:gd name="T41" fmla="*/ 58 h 286"/>
                <a:gd name="T42" fmla="*/ 300 w 320"/>
                <a:gd name="T43" fmla="*/ 52 h 286"/>
                <a:gd name="T44" fmla="*/ 20 w 320"/>
                <a:gd name="T45" fmla="*/ 52 h 286"/>
                <a:gd name="T46" fmla="*/ 6 w 320"/>
                <a:gd name="T47" fmla="*/ 58 h 286"/>
                <a:gd name="T48" fmla="*/ 0 w 320"/>
                <a:gd name="T49" fmla="*/ 72 h 286"/>
                <a:gd name="T50" fmla="*/ 0 w 320"/>
                <a:gd name="T51" fmla="*/ 138 h 286"/>
                <a:gd name="T52" fmla="*/ 46 w 320"/>
                <a:gd name="T53" fmla="*/ 148 h 286"/>
                <a:gd name="T54" fmla="*/ 132 w 320"/>
                <a:gd name="T55" fmla="*/ 160 h 286"/>
                <a:gd name="T56" fmla="*/ 174 w 320"/>
                <a:gd name="T57" fmla="*/ 176 h 286"/>
                <a:gd name="T58" fmla="*/ 146 w 320"/>
                <a:gd name="T59" fmla="*/ 160 h 286"/>
                <a:gd name="T60" fmla="*/ 174 w 320"/>
                <a:gd name="T61" fmla="*/ 176 h 286"/>
                <a:gd name="T62" fmla="*/ 320 w 320"/>
                <a:gd name="T63" fmla="*/ 266 h 286"/>
                <a:gd name="T64" fmla="*/ 318 w 320"/>
                <a:gd name="T65" fmla="*/ 274 h 286"/>
                <a:gd name="T66" fmla="*/ 308 w 320"/>
                <a:gd name="T67" fmla="*/ 284 h 286"/>
                <a:gd name="T68" fmla="*/ 20 w 320"/>
                <a:gd name="T69" fmla="*/ 286 h 286"/>
                <a:gd name="T70" fmla="*/ 12 w 320"/>
                <a:gd name="T71" fmla="*/ 284 h 286"/>
                <a:gd name="T72" fmla="*/ 2 w 320"/>
                <a:gd name="T73" fmla="*/ 274 h 286"/>
                <a:gd name="T74" fmla="*/ 0 w 320"/>
                <a:gd name="T75" fmla="*/ 154 h 286"/>
                <a:gd name="T76" fmla="*/ 20 w 320"/>
                <a:gd name="T77" fmla="*/ 160 h 286"/>
                <a:gd name="T78" fmla="*/ 88 w 320"/>
                <a:gd name="T79" fmla="*/ 172 h 286"/>
                <a:gd name="T80" fmla="*/ 132 w 320"/>
                <a:gd name="T81" fmla="*/ 190 h 286"/>
                <a:gd name="T82" fmla="*/ 188 w 320"/>
                <a:gd name="T83" fmla="*/ 176 h 286"/>
                <a:gd name="T84" fmla="*/ 232 w 320"/>
                <a:gd name="T85" fmla="*/ 172 h 286"/>
                <a:gd name="T86" fmla="*/ 300 w 320"/>
                <a:gd name="T87" fmla="*/ 160 h 286"/>
                <a:gd name="T88" fmla="*/ 320 w 320"/>
                <a:gd name="T89" fmla="*/ 154 h 286"/>
                <a:gd name="T90" fmla="*/ 56 w 320"/>
                <a:gd name="T91" fmla="*/ 266 h 286"/>
                <a:gd name="T92" fmla="*/ 52 w 320"/>
                <a:gd name="T93" fmla="*/ 252 h 286"/>
                <a:gd name="T94" fmla="*/ 46 w 320"/>
                <a:gd name="T95" fmla="*/ 240 h 286"/>
                <a:gd name="T96" fmla="*/ 34 w 320"/>
                <a:gd name="T97" fmla="*/ 232 h 286"/>
                <a:gd name="T98" fmla="*/ 20 w 320"/>
                <a:gd name="T99" fmla="*/ 230 h 286"/>
                <a:gd name="T100" fmla="*/ 56 w 320"/>
                <a:gd name="T101" fmla="*/ 266 h 286"/>
                <a:gd name="T102" fmla="*/ 300 w 320"/>
                <a:gd name="T103" fmla="*/ 230 h 286"/>
                <a:gd name="T104" fmla="*/ 286 w 320"/>
                <a:gd name="T105" fmla="*/ 232 h 286"/>
                <a:gd name="T106" fmla="*/ 274 w 320"/>
                <a:gd name="T107" fmla="*/ 240 h 286"/>
                <a:gd name="T108" fmla="*/ 268 w 320"/>
                <a:gd name="T109" fmla="*/ 252 h 286"/>
                <a:gd name="T110" fmla="*/ 264 w 320"/>
                <a:gd name="T111" fmla="*/ 266 h 286"/>
                <a:gd name="T112" fmla="*/ 300 w 320"/>
                <a:gd name="T113" fmla="*/ 23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286">
                  <a:moveTo>
                    <a:pt x="84" y="42"/>
                  </a:moveTo>
                  <a:lnTo>
                    <a:pt x="84" y="24"/>
                  </a:lnTo>
                  <a:lnTo>
                    <a:pt x="84" y="24"/>
                  </a:lnTo>
                  <a:lnTo>
                    <a:pt x="86" y="18"/>
                  </a:lnTo>
                  <a:lnTo>
                    <a:pt x="92" y="14"/>
                  </a:lnTo>
                  <a:lnTo>
                    <a:pt x="92" y="14"/>
                  </a:lnTo>
                  <a:lnTo>
                    <a:pt x="112" y="8"/>
                  </a:lnTo>
                  <a:lnTo>
                    <a:pt x="134" y="2"/>
                  </a:lnTo>
                  <a:lnTo>
                    <a:pt x="160" y="0"/>
                  </a:lnTo>
                  <a:lnTo>
                    <a:pt x="160" y="0"/>
                  </a:lnTo>
                  <a:lnTo>
                    <a:pt x="186" y="2"/>
                  </a:lnTo>
                  <a:lnTo>
                    <a:pt x="208" y="8"/>
                  </a:lnTo>
                  <a:lnTo>
                    <a:pt x="228" y="14"/>
                  </a:lnTo>
                  <a:lnTo>
                    <a:pt x="228" y="14"/>
                  </a:lnTo>
                  <a:lnTo>
                    <a:pt x="234" y="18"/>
                  </a:lnTo>
                  <a:lnTo>
                    <a:pt x="236" y="24"/>
                  </a:lnTo>
                  <a:lnTo>
                    <a:pt x="236" y="42"/>
                  </a:lnTo>
                  <a:lnTo>
                    <a:pt x="216" y="42"/>
                  </a:lnTo>
                  <a:lnTo>
                    <a:pt x="216" y="30"/>
                  </a:lnTo>
                  <a:lnTo>
                    <a:pt x="216" y="30"/>
                  </a:lnTo>
                  <a:lnTo>
                    <a:pt x="192" y="24"/>
                  </a:lnTo>
                  <a:lnTo>
                    <a:pt x="178" y="22"/>
                  </a:lnTo>
                  <a:lnTo>
                    <a:pt x="160" y="20"/>
                  </a:lnTo>
                  <a:lnTo>
                    <a:pt x="160" y="20"/>
                  </a:lnTo>
                  <a:lnTo>
                    <a:pt x="142" y="22"/>
                  </a:lnTo>
                  <a:lnTo>
                    <a:pt x="128" y="24"/>
                  </a:lnTo>
                  <a:lnTo>
                    <a:pt x="104" y="30"/>
                  </a:lnTo>
                  <a:lnTo>
                    <a:pt x="104" y="42"/>
                  </a:lnTo>
                  <a:lnTo>
                    <a:pt x="84" y="42"/>
                  </a:lnTo>
                  <a:close/>
                  <a:moveTo>
                    <a:pt x="132" y="160"/>
                  </a:moveTo>
                  <a:lnTo>
                    <a:pt x="132" y="146"/>
                  </a:lnTo>
                  <a:lnTo>
                    <a:pt x="188" y="146"/>
                  </a:lnTo>
                  <a:lnTo>
                    <a:pt x="188" y="160"/>
                  </a:lnTo>
                  <a:lnTo>
                    <a:pt x="188" y="160"/>
                  </a:lnTo>
                  <a:lnTo>
                    <a:pt x="234" y="156"/>
                  </a:lnTo>
                  <a:lnTo>
                    <a:pt x="274" y="148"/>
                  </a:lnTo>
                  <a:lnTo>
                    <a:pt x="302" y="142"/>
                  </a:lnTo>
                  <a:lnTo>
                    <a:pt x="320" y="138"/>
                  </a:lnTo>
                  <a:lnTo>
                    <a:pt x="320" y="72"/>
                  </a:lnTo>
                  <a:lnTo>
                    <a:pt x="320" y="72"/>
                  </a:lnTo>
                  <a:lnTo>
                    <a:pt x="318" y="64"/>
                  </a:lnTo>
                  <a:lnTo>
                    <a:pt x="314" y="58"/>
                  </a:lnTo>
                  <a:lnTo>
                    <a:pt x="308" y="54"/>
                  </a:lnTo>
                  <a:lnTo>
                    <a:pt x="300" y="52"/>
                  </a:lnTo>
                  <a:lnTo>
                    <a:pt x="20" y="52"/>
                  </a:lnTo>
                  <a:lnTo>
                    <a:pt x="20" y="52"/>
                  </a:lnTo>
                  <a:lnTo>
                    <a:pt x="12" y="54"/>
                  </a:lnTo>
                  <a:lnTo>
                    <a:pt x="6" y="58"/>
                  </a:lnTo>
                  <a:lnTo>
                    <a:pt x="2" y="64"/>
                  </a:lnTo>
                  <a:lnTo>
                    <a:pt x="0" y="72"/>
                  </a:lnTo>
                  <a:lnTo>
                    <a:pt x="0" y="138"/>
                  </a:lnTo>
                  <a:lnTo>
                    <a:pt x="0" y="138"/>
                  </a:lnTo>
                  <a:lnTo>
                    <a:pt x="18" y="142"/>
                  </a:lnTo>
                  <a:lnTo>
                    <a:pt x="46" y="148"/>
                  </a:lnTo>
                  <a:lnTo>
                    <a:pt x="86" y="156"/>
                  </a:lnTo>
                  <a:lnTo>
                    <a:pt x="132" y="160"/>
                  </a:lnTo>
                  <a:lnTo>
                    <a:pt x="132" y="160"/>
                  </a:lnTo>
                  <a:close/>
                  <a:moveTo>
                    <a:pt x="174" y="176"/>
                  </a:moveTo>
                  <a:lnTo>
                    <a:pt x="174" y="160"/>
                  </a:lnTo>
                  <a:lnTo>
                    <a:pt x="146" y="160"/>
                  </a:lnTo>
                  <a:lnTo>
                    <a:pt x="146" y="176"/>
                  </a:lnTo>
                  <a:lnTo>
                    <a:pt x="174" y="176"/>
                  </a:lnTo>
                  <a:close/>
                  <a:moveTo>
                    <a:pt x="320" y="154"/>
                  </a:moveTo>
                  <a:lnTo>
                    <a:pt x="320" y="266"/>
                  </a:lnTo>
                  <a:lnTo>
                    <a:pt x="320" y="266"/>
                  </a:lnTo>
                  <a:lnTo>
                    <a:pt x="318" y="274"/>
                  </a:lnTo>
                  <a:lnTo>
                    <a:pt x="314" y="280"/>
                  </a:lnTo>
                  <a:lnTo>
                    <a:pt x="308" y="284"/>
                  </a:lnTo>
                  <a:lnTo>
                    <a:pt x="300" y="286"/>
                  </a:lnTo>
                  <a:lnTo>
                    <a:pt x="20" y="286"/>
                  </a:lnTo>
                  <a:lnTo>
                    <a:pt x="20" y="286"/>
                  </a:lnTo>
                  <a:lnTo>
                    <a:pt x="12" y="284"/>
                  </a:lnTo>
                  <a:lnTo>
                    <a:pt x="6" y="280"/>
                  </a:lnTo>
                  <a:lnTo>
                    <a:pt x="2" y="274"/>
                  </a:lnTo>
                  <a:lnTo>
                    <a:pt x="0" y="266"/>
                  </a:lnTo>
                  <a:lnTo>
                    <a:pt x="0" y="154"/>
                  </a:lnTo>
                  <a:lnTo>
                    <a:pt x="0" y="154"/>
                  </a:lnTo>
                  <a:lnTo>
                    <a:pt x="20" y="160"/>
                  </a:lnTo>
                  <a:lnTo>
                    <a:pt x="50" y="166"/>
                  </a:lnTo>
                  <a:lnTo>
                    <a:pt x="88" y="172"/>
                  </a:lnTo>
                  <a:lnTo>
                    <a:pt x="132" y="176"/>
                  </a:lnTo>
                  <a:lnTo>
                    <a:pt x="132" y="190"/>
                  </a:lnTo>
                  <a:lnTo>
                    <a:pt x="188" y="190"/>
                  </a:lnTo>
                  <a:lnTo>
                    <a:pt x="188" y="176"/>
                  </a:lnTo>
                  <a:lnTo>
                    <a:pt x="188" y="176"/>
                  </a:lnTo>
                  <a:lnTo>
                    <a:pt x="232" y="172"/>
                  </a:lnTo>
                  <a:lnTo>
                    <a:pt x="270" y="166"/>
                  </a:lnTo>
                  <a:lnTo>
                    <a:pt x="300" y="160"/>
                  </a:lnTo>
                  <a:lnTo>
                    <a:pt x="320" y="154"/>
                  </a:lnTo>
                  <a:lnTo>
                    <a:pt x="320" y="154"/>
                  </a:lnTo>
                  <a:close/>
                  <a:moveTo>
                    <a:pt x="56" y="266"/>
                  </a:moveTo>
                  <a:lnTo>
                    <a:pt x="56" y="266"/>
                  </a:lnTo>
                  <a:lnTo>
                    <a:pt x="56" y="258"/>
                  </a:lnTo>
                  <a:lnTo>
                    <a:pt x="52" y="252"/>
                  </a:lnTo>
                  <a:lnTo>
                    <a:pt x="50" y="246"/>
                  </a:lnTo>
                  <a:lnTo>
                    <a:pt x="46" y="240"/>
                  </a:lnTo>
                  <a:lnTo>
                    <a:pt x="40" y="236"/>
                  </a:lnTo>
                  <a:lnTo>
                    <a:pt x="34" y="232"/>
                  </a:lnTo>
                  <a:lnTo>
                    <a:pt x="28" y="230"/>
                  </a:lnTo>
                  <a:lnTo>
                    <a:pt x="20" y="230"/>
                  </a:lnTo>
                  <a:lnTo>
                    <a:pt x="20" y="266"/>
                  </a:lnTo>
                  <a:lnTo>
                    <a:pt x="56" y="266"/>
                  </a:lnTo>
                  <a:close/>
                  <a:moveTo>
                    <a:pt x="300" y="230"/>
                  </a:moveTo>
                  <a:lnTo>
                    <a:pt x="300" y="230"/>
                  </a:lnTo>
                  <a:lnTo>
                    <a:pt x="292" y="230"/>
                  </a:lnTo>
                  <a:lnTo>
                    <a:pt x="286" y="232"/>
                  </a:lnTo>
                  <a:lnTo>
                    <a:pt x="280" y="236"/>
                  </a:lnTo>
                  <a:lnTo>
                    <a:pt x="274" y="240"/>
                  </a:lnTo>
                  <a:lnTo>
                    <a:pt x="270" y="246"/>
                  </a:lnTo>
                  <a:lnTo>
                    <a:pt x="268" y="252"/>
                  </a:lnTo>
                  <a:lnTo>
                    <a:pt x="264" y="258"/>
                  </a:lnTo>
                  <a:lnTo>
                    <a:pt x="264" y="266"/>
                  </a:lnTo>
                  <a:lnTo>
                    <a:pt x="300" y="266"/>
                  </a:lnTo>
                  <a:lnTo>
                    <a:pt x="300" y="230"/>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65" name="Group 64">
            <a:extLst>
              <a:ext uri="{FF2B5EF4-FFF2-40B4-BE49-F238E27FC236}">
                <a16:creationId xmlns:a16="http://schemas.microsoft.com/office/drawing/2014/main" id="{FC7144B0-F4B2-4194-97EA-CD6D848FA780}"/>
              </a:ext>
            </a:extLst>
          </p:cNvPr>
          <p:cNvGrpSpPr/>
          <p:nvPr/>
        </p:nvGrpSpPr>
        <p:grpSpPr>
          <a:xfrm>
            <a:off x="5773738" y="1663988"/>
            <a:ext cx="523325" cy="523325"/>
            <a:chOff x="4966372" y="2258092"/>
            <a:chExt cx="612000" cy="612000"/>
          </a:xfrm>
        </p:grpSpPr>
        <p:sp>
          <p:nvSpPr>
            <p:cNvPr id="66" name="Oval 65">
              <a:extLst>
                <a:ext uri="{FF2B5EF4-FFF2-40B4-BE49-F238E27FC236}">
                  <a16:creationId xmlns:a16="http://schemas.microsoft.com/office/drawing/2014/main" id="{E996C82B-1164-4FED-93BA-D6CFD1D219DC}"/>
                </a:ext>
              </a:extLst>
            </p:cNvPr>
            <p:cNvSpPr/>
            <p:nvPr/>
          </p:nvSpPr>
          <p:spPr bwMode="ltGray">
            <a:xfrm>
              <a:off x="4966372"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67" name="Freeform 4808">
              <a:extLst>
                <a:ext uri="{FF2B5EF4-FFF2-40B4-BE49-F238E27FC236}">
                  <a16:creationId xmlns:a16="http://schemas.microsoft.com/office/drawing/2014/main" id="{A61A19F5-2961-4FAC-8424-1CE77291564F}"/>
                </a:ext>
              </a:extLst>
            </p:cNvPr>
            <p:cNvSpPr>
              <a:spLocks noEditPoints="1"/>
            </p:cNvSpPr>
            <p:nvPr/>
          </p:nvSpPr>
          <p:spPr bwMode="auto">
            <a:xfrm>
              <a:off x="5139993" y="2312827"/>
              <a:ext cx="264759" cy="500101"/>
            </a:xfrm>
            <a:custGeom>
              <a:avLst/>
              <a:gdLst>
                <a:gd name="T0" fmla="*/ 48 w 216"/>
                <a:gd name="T1" fmla="*/ 16 h 408"/>
                <a:gd name="T2" fmla="*/ 56 w 216"/>
                <a:gd name="T3" fmla="*/ 0 h 408"/>
                <a:gd name="T4" fmla="*/ 72 w 216"/>
                <a:gd name="T5" fmla="*/ 12 h 408"/>
                <a:gd name="T6" fmla="*/ 60 w 216"/>
                <a:gd name="T7" fmla="*/ 24 h 408"/>
                <a:gd name="T8" fmla="*/ 198 w 216"/>
                <a:gd name="T9" fmla="*/ 36 h 408"/>
                <a:gd name="T10" fmla="*/ 182 w 216"/>
                <a:gd name="T11" fmla="*/ 24 h 408"/>
                <a:gd name="T12" fmla="*/ 174 w 216"/>
                <a:gd name="T13" fmla="*/ 40 h 408"/>
                <a:gd name="T14" fmla="*/ 190 w 216"/>
                <a:gd name="T15" fmla="*/ 46 h 408"/>
                <a:gd name="T16" fmla="*/ 164 w 216"/>
                <a:gd name="T17" fmla="*/ 58 h 408"/>
                <a:gd name="T18" fmla="*/ 152 w 216"/>
                <a:gd name="T19" fmla="*/ 46 h 408"/>
                <a:gd name="T20" fmla="*/ 140 w 216"/>
                <a:gd name="T21" fmla="*/ 58 h 408"/>
                <a:gd name="T22" fmla="*/ 152 w 216"/>
                <a:gd name="T23" fmla="*/ 70 h 408"/>
                <a:gd name="T24" fmla="*/ 110 w 216"/>
                <a:gd name="T25" fmla="*/ 102 h 408"/>
                <a:gd name="T26" fmla="*/ 102 w 216"/>
                <a:gd name="T27" fmla="*/ 86 h 408"/>
                <a:gd name="T28" fmla="*/ 86 w 216"/>
                <a:gd name="T29" fmla="*/ 96 h 408"/>
                <a:gd name="T30" fmla="*/ 98 w 216"/>
                <a:gd name="T31" fmla="*/ 108 h 408"/>
                <a:gd name="T32" fmla="*/ 128 w 216"/>
                <a:gd name="T33" fmla="*/ 352 h 408"/>
                <a:gd name="T34" fmla="*/ 128 w 216"/>
                <a:gd name="T35" fmla="*/ 322 h 408"/>
                <a:gd name="T36" fmla="*/ 96 w 216"/>
                <a:gd name="T37" fmla="*/ 330 h 408"/>
                <a:gd name="T38" fmla="*/ 108 w 216"/>
                <a:gd name="T39" fmla="*/ 356 h 408"/>
                <a:gd name="T40" fmla="*/ 122 w 216"/>
                <a:gd name="T41" fmla="*/ 44 h 408"/>
                <a:gd name="T42" fmla="*/ 122 w 216"/>
                <a:gd name="T43" fmla="*/ 16 h 408"/>
                <a:gd name="T44" fmla="*/ 94 w 216"/>
                <a:gd name="T45" fmla="*/ 16 h 408"/>
                <a:gd name="T46" fmla="*/ 94 w 216"/>
                <a:gd name="T47" fmla="*/ 44 h 408"/>
                <a:gd name="T48" fmla="*/ 122 w 216"/>
                <a:gd name="T49" fmla="*/ 44 h 408"/>
                <a:gd name="T50" fmla="*/ 60 w 216"/>
                <a:gd name="T51" fmla="*/ 56 h 408"/>
                <a:gd name="T52" fmla="*/ 34 w 216"/>
                <a:gd name="T53" fmla="*/ 52 h 408"/>
                <a:gd name="T54" fmla="*/ 34 w 216"/>
                <a:gd name="T55" fmla="*/ 74 h 408"/>
                <a:gd name="T56" fmla="*/ 56 w 216"/>
                <a:gd name="T57" fmla="*/ 74 h 408"/>
                <a:gd name="T58" fmla="*/ 182 w 216"/>
                <a:gd name="T59" fmla="*/ 406 h 408"/>
                <a:gd name="T60" fmla="*/ 16 w 216"/>
                <a:gd name="T61" fmla="*/ 394 h 408"/>
                <a:gd name="T62" fmla="*/ 4 w 216"/>
                <a:gd name="T63" fmla="*/ 338 h 408"/>
                <a:gd name="T64" fmla="*/ 64 w 216"/>
                <a:gd name="T65" fmla="*/ 132 h 408"/>
                <a:gd name="T66" fmla="*/ 68 w 216"/>
                <a:gd name="T67" fmla="*/ 116 h 408"/>
                <a:gd name="T68" fmla="*/ 148 w 216"/>
                <a:gd name="T69" fmla="*/ 116 h 408"/>
                <a:gd name="T70" fmla="*/ 152 w 216"/>
                <a:gd name="T71" fmla="*/ 132 h 408"/>
                <a:gd name="T72" fmla="*/ 212 w 216"/>
                <a:gd name="T73" fmla="*/ 336 h 408"/>
                <a:gd name="T74" fmla="*/ 102 w 216"/>
                <a:gd name="T75" fmla="*/ 158 h 408"/>
                <a:gd name="T76" fmla="*/ 114 w 216"/>
                <a:gd name="T77" fmla="*/ 170 h 408"/>
                <a:gd name="T78" fmla="*/ 126 w 216"/>
                <a:gd name="T79" fmla="*/ 158 h 408"/>
                <a:gd name="T80" fmla="*/ 114 w 216"/>
                <a:gd name="T81" fmla="*/ 146 h 408"/>
                <a:gd name="T82" fmla="*/ 102 w 216"/>
                <a:gd name="T83" fmla="*/ 158 h 408"/>
                <a:gd name="T84" fmla="*/ 80 w 216"/>
                <a:gd name="T85" fmla="*/ 280 h 408"/>
                <a:gd name="T86" fmla="*/ 106 w 216"/>
                <a:gd name="T87" fmla="*/ 268 h 408"/>
                <a:gd name="T88" fmla="*/ 94 w 216"/>
                <a:gd name="T89" fmla="*/ 242 h 408"/>
                <a:gd name="T90" fmla="*/ 66 w 216"/>
                <a:gd name="T91" fmla="*/ 262 h 408"/>
                <a:gd name="T92" fmla="*/ 136 w 216"/>
                <a:gd name="T93" fmla="*/ 308 h 408"/>
                <a:gd name="T94" fmla="*/ 140 w 216"/>
                <a:gd name="T95" fmla="*/ 298 h 408"/>
                <a:gd name="T96" fmla="*/ 124 w 216"/>
                <a:gd name="T97" fmla="*/ 288 h 408"/>
                <a:gd name="T98" fmla="*/ 116 w 216"/>
                <a:gd name="T99" fmla="*/ 302 h 408"/>
                <a:gd name="T100" fmla="*/ 82 w 216"/>
                <a:gd name="T101" fmla="*/ 298 h 408"/>
                <a:gd name="T102" fmla="*/ 18 w 216"/>
                <a:gd name="T103" fmla="*/ 352 h 408"/>
                <a:gd name="T104" fmla="*/ 32 w 216"/>
                <a:gd name="T105" fmla="*/ 386 h 408"/>
                <a:gd name="T106" fmla="*/ 184 w 216"/>
                <a:gd name="T107" fmla="*/ 386 h 408"/>
                <a:gd name="T108" fmla="*/ 198 w 216"/>
                <a:gd name="T109" fmla="*/ 35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6" h="408">
                  <a:moveTo>
                    <a:pt x="60" y="24"/>
                  </a:moveTo>
                  <a:lnTo>
                    <a:pt x="60" y="24"/>
                  </a:lnTo>
                  <a:lnTo>
                    <a:pt x="56" y="22"/>
                  </a:lnTo>
                  <a:lnTo>
                    <a:pt x="52" y="20"/>
                  </a:lnTo>
                  <a:lnTo>
                    <a:pt x="52" y="20"/>
                  </a:lnTo>
                  <a:lnTo>
                    <a:pt x="48" y="16"/>
                  </a:lnTo>
                  <a:lnTo>
                    <a:pt x="48" y="12"/>
                  </a:lnTo>
                  <a:lnTo>
                    <a:pt x="48" y="12"/>
                  </a:lnTo>
                  <a:lnTo>
                    <a:pt x="48" y="6"/>
                  </a:lnTo>
                  <a:lnTo>
                    <a:pt x="52" y="2"/>
                  </a:lnTo>
                  <a:lnTo>
                    <a:pt x="52" y="2"/>
                  </a:lnTo>
                  <a:lnTo>
                    <a:pt x="56" y="0"/>
                  </a:lnTo>
                  <a:lnTo>
                    <a:pt x="60" y="0"/>
                  </a:lnTo>
                  <a:lnTo>
                    <a:pt x="64" y="0"/>
                  </a:lnTo>
                  <a:lnTo>
                    <a:pt x="68" y="2"/>
                  </a:lnTo>
                  <a:lnTo>
                    <a:pt x="68" y="2"/>
                  </a:lnTo>
                  <a:lnTo>
                    <a:pt x="72" y="6"/>
                  </a:lnTo>
                  <a:lnTo>
                    <a:pt x="72" y="12"/>
                  </a:lnTo>
                  <a:lnTo>
                    <a:pt x="72" y="12"/>
                  </a:lnTo>
                  <a:lnTo>
                    <a:pt x="72" y="16"/>
                  </a:lnTo>
                  <a:lnTo>
                    <a:pt x="68" y="20"/>
                  </a:lnTo>
                  <a:lnTo>
                    <a:pt x="68" y="20"/>
                  </a:lnTo>
                  <a:lnTo>
                    <a:pt x="64" y="22"/>
                  </a:lnTo>
                  <a:lnTo>
                    <a:pt x="60" y="24"/>
                  </a:lnTo>
                  <a:lnTo>
                    <a:pt x="60" y="24"/>
                  </a:lnTo>
                  <a:close/>
                  <a:moveTo>
                    <a:pt x="194" y="44"/>
                  </a:moveTo>
                  <a:lnTo>
                    <a:pt x="194" y="44"/>
                  </a:lnTo>
                  <a:lnTo>
                    <a:pt x="196" y="40"/>
                  </a:lnTo>
                  <a:lnTo>
                    <a:pt x="198" y="36"/>
                  </a:lnTo>
                  <a:lnTo>
                    <a:pt x="198" y="36"/>
                  </a:lnTo>
                  <a:lnTo>
                    <a:pt x="196" y="32"/>
                  </a:lnTo>
                  <a:lnTo>
                    <a:pt x="194" y="28"/>
                  </a:lnTo>
                  <a:lnTo>
                    <a:pt x="194" y="28"/>
                  </a:lnTo>
                  <a:lnTo>
                    <a:pt x="190" y="24"/>
                  </a:lnTo>
                  <a:lnTo>
                    <a:pt x="186" y="24"/>
                  </a:lnTo>
                  <a:lnTo>
                    <a:pt x="182" y="24"/>
                  </a:lnTo>
                  <a:lnTo>
                    <a:pt x="178" y="28"/>
                  </a:lnTo>
                  <a:lnTo>
                    <a:pt x="178" y="28"/>
                  </a:lnTo>
                  <a:lnTo>
                    <a:pt x="174" y="32"/>
                  </a:lnTo>
                  <a:lnTo>
                    <a:pt x="174" y="36"/>
                  </a:lnTo>
                  <a:lnTo>
                    <a:pt x="174" y="36"/>
                  </a:lnTo>
                  <a:lnTo>
                    <a:pt x="174" y="40"/>
                  </a:lnTo>
                  <a:lnTo>
                    <a:pt x="178" y="44"/>
                  </a:lnTo>
                  <a:lnTo>
                    <a:pt x="178" y="44"/>
                  </a:lnTo>
                  <a:lnTo>
                    <a:pt x="182" y="46"/>
                  </a:lnTo>
                  <a:lnTo>
                    <a:pt x="186" y="48"/>
                  </a:lnTo>
                  <a:lnTo>
                    <a:pt x="186" y="48"/>
                  </a:lnTo>
                  <a:lnTo>
                    <a:pt x="190" y="46"/>
                  </a:lnTo>
                  <a:lnTo>
                    <a:pt x="194" y="44"/>
                  </a:lnTo>
                  <a:lnTo>
                    <a:pt x="194" y="44"/>
                  </a:lnTo>
                  <a:close/>
                  <a:moveTo>
                    <a:pt x="160" y="66"/>
                  </a:moveTo>
                  <a:lnTo>
                    <a:pt x="160" y="66"/>
                  </a:lnTo>
                  <a:lnTo>
                    <a:pt x="162" y="62"/>
                  </a:lnTo>
                  <a:lnTo>
                    <a:pt x="164" y="58"/>
                  </a:lnTo>
                  <a:lnTo>
                    <a:pt x="164" y="58"/>
                  </a:lnTo>
                  <a:lnTo>
                    <a:pt x="162" y="54"/>
                  </a:lnTo>
                  <a:lnTo>
                    <a:pt x="160" y="50"/>
                  </a:lnTo>
                  <a:lnTo>
                    <a:pt x="160" y="50"/>
                  </a:lnTo>
                  <a:lnTo>
                    <a:pt x="156" y="46"/>
                  </a:lnTo>
                  <a:lnTo>
                    <a:pt x="152" y="46"/>
                  </a:lnTo>
                  <a:lnTo>
                    <a:pt x="146" y="46"/>
                  </a:lnTo>
                  <a:lnTo>
                    <a:pt x="142" y="50"/>
                  </a:lnTo>
                  <a:lnTo>
                    <a:pt x="142" y="50"/>
                  </a:lnTo>
                  <a:lnTo>
                    <a:pt x="140" y="54"/>
                  </a:lnTo>
                  <a:lnTo>
                    <a:pt x="140" y="58"/>
                  </a:lnTo>
                  <a:lnTo>
                    <a:pt x="140" y="58"/>
                  </a:lnTo>
                  <a:lnTo>
                    <a:pt x="140" y="62"/>
                  </a:lnTo>
                  <a:lnTo>
                    <a:pt x="142" y="66"/>
                  </a:lnTo>
                  <a:lnTo>
                    <a:pt x="142" y="66"/>
                  </a:lnTo>
                  <a:lnTo>
                    <a:pt x="146" y="68"/>
                  </a:lnTo>
                  <a:lnTo>
                    <a:pt x="152" y="70"/>
                  </a:lnTo>
                  <a:lnTo>
                    <a:pt x="152" y="70"/>
                  </a:lnTo>
                  <a:lnTo>
                    <a:pt x="156" y="68"/>
                  </a:lnTo>
                  <a:lnTo>
                    <a:pt x="160" y="66"/>
                  </a:lnTo>
                  <a:lnTo>
                    <a:pt x="160" y="66"/>
                  </a:lnTo>
                  <a:close/>
                  <a:moveTo>
                    <a:pt x="106" y="104"/>
                  </a:moveTo>
                  <a:lnTo>
                    <a:pt x="106" y="104"/>
                  </a:lnTo>
                  <a:lnTo>
                    <a:pt x="110" y="102"/>
                  </a:lnTo>
                  <a:lnTo>
                    <a:pt x="110" y="96"/>
                  </a:lnTo>
                  <a:lnTo>
                    <a:pt x="110" y="96"/>
                  </a:lnTo>
                  <a:lnTo>
                    <a:pt x="110" y="92"/>
                  </a:lnTo>
                  <a:lnTo>
                    <a:pt x="106" y="88"/>
                  </a:lnTo>
                  <a:lnTo>
                    <a:pt x="106" y="88"/>
                  </a:lnTo>
                  <a:lnTo>
                    <a:pt x="102" y="86"/>
                  </a:lnTo>
                  <a:lnTo>
                    <a:pt x="98" y="84"/>
                  </a:lnTo>
                  <a:lnTo>
                    <a:pt x="94" y="86"/>
                  </a:lnTo>
                  <a:lnTo>
                    <a:pt x="90" y="88"/>
                  </a:lnTo>
                  <a:lnTo>
                    <a:pt x="90" y="88"/>
                  </a:lnTo>
                  <a:lnTo>
                    <a:pt x="88" y="92"/>
                  </a:lnTo>
                  <a:lnTo>
                    <a:pt x="86" y="96"/>
                  </a:lnTo>
                  <a:lnTo>
                    <a:pt x="86" y="96"/>
                  </a:lnTo>
                  <a:lnTo>
                    <a:pt x="88" y="102"/>
                  </a:lnTo>
                  <a:lnTo>
                    <a:pt x="90" y="104"/>
                  </a:lnTo>
                  <a:lnTo>
                    <a:pt x="90" y="104"/>
                  </a:lnTo>
                  <a:lnTo>
                    <a:pt x="94" y="108"/>
                  </a:lnTo>
                  <a:lnTo>
                    <a:pt x="98" y="108"/>
                  </a:lnTo>
                  <a:lnTo>
                    <a:pt x="98" y="108"/>
                  </a:lnTo>
                  <a:lnTo>
                    <a:pt x="102" y="108"/>
                  </a:lnTo>
                  <a:lnTo>
                    <a:pt x="106" y="104"/>
                  </a:lnTo>
                  <a:lnTo>
                    <a:pt x="106" y="104"/>
                  </a:lnTo>
                  <a:close/>
                  <a:moveTo>
                    <a:pt x="128" y="352"/>
                  </a:moveTo>
                  <a:lnTo>
                    <a:pt x="128" y="352"/>
                  </a:lnTo>
                  <a:lnTo>
                    <a:pt x="134" y="344"/>
                  </a:lnTo>
                  <a:lnTo>
                    <a:pt x="134" y="336"/>
                  </a:lnTo>
                  <a:lnTo>
                    <a:pt x="134" y="336"/>
                  </a:lnTo>
                  <a:lnTo>
                    <a:pt x="134" y="330"/>
                  </a:lnTo>
                  <a:lnTo>
                    <a:pt x="128" y="322"/>
                  </a:lnTo>
                  <a:lnTo>
                    <a:pt x="128" y="322"/>
                  </a:lnTo>
                  <a:lnTo>
                    <a:pt x="122" y="318"/>
                  </a:lnTo>
                  <a:lnTo>
                    <a:pt x="114" y="318"/>
                  </a:lnTo>
                  <a:lnTo>
                    <a:pt x="108" y="318"/>
                  </a:lnTo>
                  <a:lnTo>
                    <a:pt x="100" y="322"/>
                  </a:lnTo>
                  <a:lnTo>
                    <a:pt x="100" y="322"/>
                  </a:lnTo>
                  <a:lnTo>
                    <a:pt x="96" y="330"/>
                  </a:lnTo>
                  <a:lnTo>
                    <a:pt x="94" y="336"/>
                  </a:lnTo>
                  <a:lnTo>
                    <a:pt x="94" y="336"/>
                  </a:lnTo>
                  <a:lnTo>
                    <a:pt x="96" y="344"/>
                  </a:lnTo>
                  <a:lnTo>
                    <a:pt x="100" y="352"/>
                  </a:lnTo>
                  <a:lnTo>
                    <a:pt x="100" y="352"/>
                  </a:lnTo>
                  <a:lnTo>
                    <a:pt x="108" y="356"/>
                  </a:lnTo>
                  <a:lnTo>
                    <a:pt x="114" y="356"/>
                  </a:lnTo>
                  <a:lnTo>
                    <a:pt x="114" y="356"/>
                  </a:lnTo>
                  <a:lnTo>
                    <a:pt x="122" y="356"/>
                  </a:lnTo>
                  <a:lnTo>
                    <a:pt x="128" y="352"/>
                  </a:lnTo>
                  <a:lnTo>
                    <a:pt x="128" y="352"/>
                  </a:lnTo>
                  <a:close/>
                  <a:moveTo>
                    <a:pt x="122" y="44"/>
                  </a:moveTo>
                  <a:lnTo>
                    <a:pt x="122" y="44"/>
                  </a:lnTo>
                  <a:lnTo>
                    <a:pt x="126" y="38"/>
                  </a:lnTo>
                  <a:lnTo>
                    <a:pt x="128" y="30"/>
                  </a:lnTo>
                  <a:lnTo>
                    <a:pt x="128" y="30"/>
                  </a:lnTo>
                  <a:lnTo>
                    <a:pt x="126" y="22"/>
                  </a:lnTo>
                  <a:lnTo>
                    <a:pt x="122" y="16"/>
                  </a:lnTo>
                  <a:lnTo>
                    <a:pt x="122" y="16"/>
                  </a:lnTo>
                  <a:lnTo>
                    <a:pt x="116" y="12"/>
                  </a:lnTo>
                  <a:lnTo>
                    <a:pt x="108" y="10"/>
                  </a:lnTo>
                  <a:lnTo>
                    <a:pt x="100" y="12"/>
                  </a:lnTo>
                  <a:lnTo>
                    <a:pt x="94" y="16"/>
                  </a:lnTo>
                  <a:lnTo>
                    <a:pt x="94" y="16"/>
                  </a:lnTo>
                  <a:lnTo>
                    <a:pt x="90" y="22"/>
                  </a:lnTo>
                  <a:lnTo>
                    <a:pt x="88" y="30"/>
                  </a:lnTo>
                  <a:lnTo>
                    <a:pt x="88" y="30"/>
                  </a:lnTo>
                  <a:lnTo>
                    <a:pt x="90" y="38"/>
                  </a:lnTo>
                  <a:lnTo>
                    <a:pt x="94" y="44"/>
                  </a:lnTo>
                  <a:lnTo>
                    <a:pt x="94" y="44"/>
                  </a:lnTo>
                  <a:lnTo>
                    <a:pt x="100" y="48"/>
                  </a:lnTo>
                  <a:lnTo>
                    <a:pt x="108" y="50"/>
                  </a:lnTo>
                  <a:lnTo>
                    <a:pt x="108" y="50"/>
                  </a:lnTo>
                  <a:lnTo>
                    <a:pt x="116" y="48"/>
                  </a:lnTo>
                  <a:lnTo>
                    <a:pt x="122" y="44"/>
                  </a:lnTo>
                  <a:lnTo>
                    <a:pt x="122" y="44"/>
                  </a:lnTo>
                  <a:close/>
                  <a:moveTo>
                    <a:pt x="56" y="74"/>
                  </a:moveTo>
                  <a:lnTo>
                    <a:pt x="56" y="74"/>
                  </a:lnTo>
                  <a:lnTo>
                    <a:pt x="60" y="68"/>
                  </a:lnTo>
                  <a:lnTo>
                    <a:pt x="60" y="62"/>
                  </a:lnTo>
                  <a:lnTo>
                    <a:pt x="60" y="62"/>
                  </a:lnTo>
                  <a:lnTo>
                    <a:pt x="60" y="56"/>
                  </a:lnTo>
                  <a:lnTo>
                    <a:pt x="56" y="52"/>
                  </a:lnTo>
                  <a:lnTo>
                    <a:pt x="56" y="52"/>
                  </a:lnTo>
                  <a:lnTo>
                    <a:pt x="50" y="48"/>
                  </a:lnTo>
                  <a:lnTo>
                    <a:pt x="44" y="46"/>
                  </a:lnTo>
                  <a:lnTo>
                    <a:pt x="38" y="48"/>
                  </a:lnTo>
                  <a:lnTo>
                    <a:pt x="34" y="52"/>
                  </a:lnTo>
                  <a:lnTo>
                    <a:pt x="34" y="52"/>
                  </a:lnTo>
                  <a:lnTo>
                    <a:pt x="30" y="56"/>
                  </a:lnTo>
                  <a:lnTo>
                    <a:pt x="28" y="62"/>
                  </a:lnTo>
                  <a:lnTo>
                    <a:pt x="28" y="62"/>
                  </a:lnTo>
                  <a:lnTo>
                    <a:pt x="30" y="68"/>
                  </a:lnTo>
                  <a:lnTo>
                    <a:pt x="34" y="74"/>
                  </a:lnTo>
                  <a:lnTo>
                    <a:pt x="34" y="74"/>
                  </a:lnTo>
                  <a:lnTo>
                    <a:pt x="38" y="78"/>
                  </a:lnTo>
                  <a:lnTo>
                    <a:pt x="44" y="78"/>
                  </a:lnTo>
                  <a:lnTo>
                    <a:pt x="44" y="78"/>
                  </a:lnTo>
                  <a:lnTo>
                    <a:pt x="50" y="78"/>
                  </a:lnTo>
                  <a:lnTo>
                    <a:pt x="56" y="74"/>
                  </a:lnTo>
                  <a:lnTo>
                    <a:pt x="56" y="74"/>
                  </a:lnTo>
                  <a:close/>
                  <a:moveTo>
                    <a:pt x="208" y="386"/>
                  </a:moveTo>
                  <a:lnTo>
                    <a:pt x="208" y="386"/>
                  </a:lnTo>
                  <a:lnTo>
                    <a:pt x="200" y="394"/>
                  </a:lnTo>
                  <a:lnTo>
                    <a:pt x="192" y="402"/>
                  </a:lnTo>
                  <a:lnTo>
                    <a:pt x="182" y="406"/>
                  </a:lnTo>
                  <a:lnTo>
                    <a:pt x="172" y="408"/>
                  </a:lnTo>
                  <a:lnTo>
                    <a:pt x="44" y="408"/>
                  </a:lnTo>
                  <a:lnTo>
                    <a:pt x="44" y="408"/>
                  </a:lnTo>
                  <a:lnTo>
                    <a:pt x="34" y="406"/>
                  </a:lnTo>
                  <a:lnTo>
                    <a:pt x="24" y="402"/>
                  </a:lnTo>
                  <a:lnTo>
                    <a:pt x="16" y="394"/>
                  </a:lnTo>
                  <a:lnTo>
                    <a:pt x="8" y="386"/>
                  </a:lnTo>
                  <a:lnTo>
                    <a:pt x="8" y="386"/>
                  </a:lnTo>
                  <a:lnTo>
                    <a:pt x="2" y="374"/>
                  </a:lnTo>
                  <a:lnTo>
                    <a:pt x="0" y="362"/>
                  </a:lnTo>
                  <a:lnTo>
                    <a:pt x="0" y="350"/>
                  </a:lnTo>
                  <a:lnTo>
                    <a:pt x="4" y="338"/>
                  </a:lnTo>
                  <a:lnTo>
                    <a:pt x="76" y="202"/>
                  </a:lnTo>
                  <a:lnTo>
                    <a:pt x="76" y="136"/>
                  </a:lnTo>
                  <a:lnTo>
                    <a:pt x="72" y="136"/>
                  </a:lnTo>
                  <a:lnTo>
                    <a:pt x="72" y="136"/>
                  </a:lnTo>
                  <a:lnTo>
                    <a:pt x="68" y="134"/>
                  </a:lnTo>
                  <a:lnTo>
                    <a:pt x="64" y="132"/>
                  </a:lnTo>
                  <a:lnTo>
                    <a:pt x="62" y="130"/>
                  </a:lnTo>
                  <a:lnTo>
                    <a:pt x="62" y="126"/>
                  </a:lnTo>
                  <a:lnTo>
                    <a:pt x="62" y="126"/>
                  </a:lnTo>
                  <a:lnTo>
                    <a:pt x="62" y="122"/>
                  </a:lnTo>
                  <a:lnTo>
                    <a:pt x="64" y="118"/>
                  </a:lnTo>
                  <a:lnTo>
                    <a:pt x="68" y="116"/>
                  </a:lnTo>
                  <a:lnTo>
                    <a:pt x="72" y="116"/>
                  </a:lnTo>
                  <a:lnTo>
                    <a:pt x="86" y="116"/>
                  </a:lnTo>
                  <a:lnTo>
                    <a:pt x="130" y="116"/>
                  </a:lnTo>
                  <a:lnTo>
                    <a:pt x="144" y="116"/>
                  </a:lnTo>
                  <a:lnTo>
                    <a:pt x="144" y="116"/>
                  </a:lnTo>
                  <a:lnTo>
                    <a:pt x="148" y="116"/>
                  </a:lnTo>
                  <a:lnTo>
                    <a:pt x="152" y="118"/>
                  </a:lnTo>
                  <a:lnTo>
                    <a:pt x="154" y="122"/>
                  </a:lnTo>
                  <a:lnTo>
                    <a:pt x="154" y="126"/>
                  </a:lnTo>
                  <a:lnTo>
                    <a:pt x="154" y="126"/>
                  </a:lnTo>
                  <a:lnTo>
                    <a:pt x="154" y="130"/>
                  </a:lnTo>
                  <a:lnTo>
                    <a:pt x="152" y="132"/>
                  </a:lnTo>
                  <a:lnTo>
                    <a:pt x="148" y="134"/>
                  </a:lnTo>
                  <a:lnTo>
                    <a:pt x="144" y="136"/>
                  </a:lnTo>
                  <a:lnTo>
                    <a:pt x="140" y="136"/>
                  </a:lnTo>
                  <a:lnTo>
                    <a:pt x="140" y="202"/>
                  </a:lnTo>
                  <a:lnTo>
                    <a:pt x="212" y="336"/>
                  </a:lnTo>
                  <a:lnTo>
                    <a:pt x="212" y="336"/>
                  </a:lnTo>
                  <a:lnTo>
                    <a:pt x="216" y="348"/>
                  </a:lnTo>
                  <a:lnTo>
                    <a:pt x="216" y="362"/>
                  </a:lnTo>
                  <a:lnTo>
                    <a:pt x="214" y="374"/>
                  </a:lnTo>
                  <a:lnTo>
                    <a:pt x="208" y="386"/>
                  </a:lnTo>
                  <a:lnTo>
                    <a:pt x="208" y="386"/>
                  </a:lnTo>
                  <a:close/>
                  <a:moveTo>
                    <a:pt x="102" y="158"/>
                  </a:moveTo>
                  <a:lnTo>
                    <a:pt x="102" y="158"/>
                  </a:lnTo>
                  <a:lnTo>
                    <a:pt x="102" y="162"/>
                  </a:lnTo>
                  <a:lnTo>
                    <a:pt x="104" y="166"/>
                  </a:lnTo>
                  <a:lnTo>
                    <a:pt x="104" y="166"/>
                  </a:lnTo>
                  <a:lnTo>
                    <a:pt x="108" y="168"/>
                  </a:lnTo>
                  <a:lnTo>
                    <a:pt x="114" y="170"/>
                  </a:lnTo>
                  <a:lnTo>
                    <a:pt x="114" y="170"/>
                  </a:lnTo>
                  <a:lnTo>
                    <a:pt x="118" y="168"/>
                  </a:lnTo>
                  <a:lnTo>
                    <a:pt x="122" y="166"/>
                  </a:lnTo>
                  <a:lnTo>
                    <a:pt x="122" y="166"/>
                  </a:lnTo>
                  <a:lnTo>
                    <a:pt x="124" y="162"/>
                  </a:lnTo>
                  <a:lnTo>
                    <a:pt x="126" y="158"/>
                  </a:lnTo>
                  <a:lnTo>
                    <a:pt x="126" y="158"/>
                  </a:lnTo>
                  <a:lnTo>
                    <a:pt x="124" y="152"/>
                  </a:lnTo>
                  <a:lnTo>
                    <a:pt x="122" y="148"/>
                  </a:lnTo>
                  <a:lnTo>
                    <a:pt x="122" y="148"/>
                  </a:lnTo>
                  <a:lnTo>
                    <a:pt x="118" y="146"/>
                  </a:lnTo>
                  <a:lnTo>
                    <a:pt x="114" y="146"/>
                  </a:lnTo>
                  <a:lnTo>
                    <a:pt x="108" y="146"/>
                  </a:lnTo>
                  <a:lnTo>
                    <a:pt x="104" y="148"/>
                  </a:lnTo>
                  <a:lnTo>
                    <a:pt x="104" y="148"/>
                  </a:lnTo>
                  <a:lnTo>
                    <a:pt x="102" y="152"/>
                  </a:lnTo>
                  <a:lnTo>
                    <a:pt x="102" y="158"/>
                  </a:lnTo>
                  <a:lnTo>
                    <a:pt x="102" y="158"/>
                  </a:lnTo>
                  <a:close/>
                  <a:moveTo>
                    <a:pt x="66" y="262"/>
                  </a:moveTo>
                  <a:lnTo>
                    <a:pt x="66" y="262"/>
                  </a:lnTo>
                  <a:lnTo>
                    <a:pt x="68" y="268"/>
                  </a:lnTo>
                  <a:lnTo>
                    <a:pt x="72" y="276"/>
                  </a:lnTo>
                  <a:lnTo>
                    <a:pt x="72" y="276"/>
                  </a:lnTo>
                  <a:lnTo>
                    <a:pt x="80" y="280"/>
                  </a:lnTo>
                  <a:lnTo>
                    <a:pt x="86" y="282"/>
                  </a:lnTo>
                  <a:lnTo>
                    <a:pt x="86" y="282"/>
                  </a:lnTo>
                  <a:lnTo>
                    <a:pt x="94" y="280"/>
                  </a:lnTo>
                  <a:lnTo>
                    <a:pt x="100" y="276"/>
                  </a:lnTo>
                  <a:lnTo>
                    <a:pt x="100" y="276"/>
                  </a:lnTo>
                  <a:lnTo>
                    <a:pt x="106" y="268"/>
                  </a:lnTo>
                  <a:lnTo>
                    <a:pt x="106" y="262"/>
                  </a:lnTo>
                  <a:lnTo>
                    <a:pt x="106" y="262"/>
                  </a:lnTo>
                  <a:lnTo>
                    <a:pt x="106" y="254"/>
                  </a:lnTo>
                  <a:lnTo>
                    <a:pt x="100" y="248"/>
                  </a:lnTo>
                  <a:lnTo>
                    <a:pt x="100" y="248"/>
                  </a:lnTo>
                  <a:lnTo>
                    <a:pt x="94" y="242"/>
                  </a:lnTo>
                  <a:lnTo>
                    <a:pt x="86" y="242"/>
                  </a:lnTo>
                  <a:lnTo>
                    <a:pt x="80" y="242"/>
                  </a:lnTo>
                  <a:lnTo>
                    <a:pt x="72" y="248"/>
                  </a:lnTo>
                  <a:lnTo>
                    <a:pt x="72" y="248"/>
                  </a:lnTo>
                  <a:lnTo>
                    <a:pt x="68" y="254"/>
                  </a:lnTo>
                  <a:lnTo>
                    <a:pt x="66" y="262"/>
                  </a:lnTo>
                  <a:lnTo>
                    <a:pt x="66" y="262"/>
                  </a:lnTo>
                  <a:close/>
                  <a:moveTo>
                    <a:pt x="196" y="344"/>
                  </a:moveTo>
                  <a:lnTo>
                    <a:pt x="174" y="304"/>
                  </a:lnTo>
                  <a:lnTo>
                    <a:pt x="174" y="304"/>
                  </a:lnTo>
                  <a:lnTo>
                    <a:pt x="156" y="306"/>
                  </a:lnTo>
                  <a:lnTo>
                    <a:pt x="136" y="308"/>
                  </a:lnTo>
                  <a:lnTo>
                    <a:pt x="136" y="308"/>
                  </a:lnTo>
                  <a:lnTo>
                    <a:pt x="136" y="308"/>
                  </a:lnTo>
                  <a:lnTo>
                    <a:pt x="136" y="308"/>
                  </a:lnTo>
                  <a:lnTo>
                    <a:pt x="138" y="304"/>
                  </a:lnTo>
                  <a:lnTo>
                    <a:pt x="140" y="298"/>
                  </a:lnTo>
                  <a:lnTo>
                    <a:pt x="140" y="298"/>
                  </a:lnTo>
                  <a:lnTo>
                    <a:pt x="138" y="294"/>
                  </a:lnTo>
                  <a:lnTo>
                    <a:pt x="136" y="290"/>
                  </a:lnTo>
                  <a:lnTo>
                    <a:pt x="136" y="290"/>
                  </a:lnTo>
                  <a:lnTo>
                    <a:pt x="132" y="288"/>
                  </a:lnTo>
                  <a:lnTo>
                    <a:pt x="128" y="288"/>
                  </a:lnTo>
                  <a:lnTo>
                    <a:pt x="124" y="288"/>
                  </a:lnTo>
                  <a:lnTo>
                    <a:pt x="120" y="290"/>
                  </a:lnTo>
                  <a:lnTo>
                    <a:pt x="120" y="290"/>
                  </a:lnTo>
                  <a:lnTo>
                    <a:pt x="116" y="294"/>
                  </a:lnTo>
                  <a:lnTo>
                    <a:pt x="116" y="298"/>
                  </a:lnTo>
                  <a:lnTo>
                    <a:pt x="116" y="298"/>
                  </a:lnTo>
                  <a:lnTo>
                    <a:pt x="116" y="302"/>
                  </a:lnTo>
                  <a:lnTo>
                    <a:pt x="118" y="306"/>
                  </a:lnTo>
                  <a:lnTo>
                    <a:pt x="118" y="306"/>
                  </a:lnTo>
                  <a:lnTo>
                    <a:pt x="100" y="302"/>
                  </a:lnTo>
                  <a:lnTo>
                    <a:pt x="100" y="302"/>
                  </a:lnTo>
                  <a:lnTo>
                    <a:pt x="82" y="298"/>
                  </a:lnTo>
                  <a:lnTo>
                    <a:pt x="82" y="298"/>
                  </a:lnTo>
                  <a:lnTo>
                    <a:pt x="60" y="296"/>
                  </a:lnTo>
                  <a:lnTo>
                    <a:pt x="60" y="296"/>
                  </a:lnTo>
                  <a:lnTo>
                    <a:pt x="46" y="298"/>
                  </a:lnTo>
                  <a:lnTo>
                    <a:pt x="20" y="346"/>
                  </a:lnTo>
                  <a:lnTo>
                    <a:pt x="20" y="346"/>
                  </a:lnTo>
                  <a:lnTo>
                    <a:pt x="18" y="352"/>
                  </a:lnTo>
                  <a:lnTo>
                    <a:pt x="18" y="360"/>
                  </a:lnTo>
                  <a:lnTo>
                    <a:pt x="20" y="368"/>
                  </a:lnTo>
                  <a:lnTo>
                    <a:pt x="24" y="376"/>
                  </a:lnTo>
                  <a:lnTo>
                    <a:pt x="24" y="376"/>
                  </a:lnTo>
                  <a:lnTo>
                    <a:pt x="28" y="382"/>
                  </a:lnTo>
                  <a:lnTo>
                    <a:pt x="32" y="386"/>
                  </a:lnTo>
                  <a:lnTo>
                    <a:pt x="38" y="388"/>
                  </a:lnTo>
                  <a:lnTo>
                    <a:pt x="44" y="390"/>
                  </a:lnTo>
                  <a:lnTo>
                    <a:pt x="172" y="390"/>
                  </a:lnTo>
                  <a:lnTo>
                    <a:pt x="172" y="390"/>
                  </a:lnTo>
                  <a:lnTo>
                    <a:pt x="178" y="388"/>
                  </a:lnTo>
                  <a:lnTo>
                    <a:pt x="184" y="386"/>
                  </a:lnTo>
                  <a:lnTo>
                    <a:pt x="188" y="382"/>
                  </a:lnTo>
                  <a:lnTo>
                    <a:pt x="192" y="376"/>
                  </a:lnTo>
                  <a:lnTo>
                    <a:pt x="192" y="376"/>
                  </a:lnTo>
                  <a:lnTo>
                    <a:pt x="196" y="368"/>
                  </a:lnTo>
                  <a:lnTo>
                    <a:pt x="198" y="360"/>
                  </a:lnTo>
                  <a:lnTo>
                    <a:pt x="198" y="352"/>
                  </a:lnTo>
                  <a:lnTo>
                    <a:pt x="196" y="344"/>
                  </a:lnTo>
                  <a:lnTo>
                    <a:pt x="196" y="344"/>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68" name="Group 67">
            <a:extLst>
              <a:ext uri="{FF2B5EF4-FFF2-40B4-BE49-F238E27FC236}">
                <a16:creationId xmlns:a16="http://schemas.microsoft.com/office/drawing/2014/main" id="{971D9434-B4DF-472A-8410-29CD7E4BBDE7}"/>
              </a:ext>
            </a:extLst>
          </p:cNvPr>
          <p:cNvGrpSpPr/>
          <p:nvPr/>
        </p:nvGrpSpPr>
        <p:grpSpPr>
          <a:xfrm>
            <a:off x="6521711" y="1663988"/>
            <a:ext cx="523325" cy="523325"/>
            <a:chOff x="5841085" y="2258092"/>
            <a:chExt cx="612000" cy="612000"/>
          </a:xfrm>
        </p:grpSpPr>
        <p:sp>
          <p:nvSpPr>
            <p:cNvPr id="69" name="Oval 68">
              <a:extLst>
                <a:ext uri="{FF2B5EF4-FFF2-40B4-BE49-F238E27FC236}">
                  <a16:creationId xmlns:a16="http://schemas.microsoft.com/office/drawing/2014/main" id="{C073A180-6F7D-4B9E-AB57-F60FEFD70223}"/>
                </a:ext>
              </a:extLst>
            </p:cNvPr>
            <p:cNvSpPr/>
            <p:nvPr/>
          </p:nvSpPr>
          <p:spPr bwMode="ltGray">
            <a:xfrm>
              <a:off x="5841085"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70" name="Freeform 4809">
              <a:extLst>
                <a:ext uri="{FF2B5EF4-FFF2-40B4-BE49-F238E27FC236}">
                  <a16:creationId xmlns:a16="http://schemas.microsoft.com/office/drawing/2014/main" id="{7F280DD4-A651-44C0-A1A4-D6FE1E3772D7}"/>
                </a:ext>
              </a:extLst>
            </p:cNvPr>
            <p:cNvSpPr>
              <a:spLocks noEditPoints="1"/>
            </p:cNvSpPr>
            <p:nvPr/>
          </p:nvSpPr>
          <p:spPr bwMode="auto">
            <a:xfrm>
              <a:off x="5980385" y="2358072"/>
              <a:ext cx="333401" cy="406945"/>
            </a:xfrm>
            <a:custGeom>
              <a:avLst/>
              <a:gdLst>
                <a:gd name="T0" fmla="*/ 218 w 272"/>
                <a:gd name="T1" fmla="*/ 44 h 332"/>
                <a:gd name="T2" fmla="*/ 220 w 272"/>
                <a:gd name="T3" fmla="*/ 26 h 332"/>
                <a:gd name="T4" fmla="*/ 238 w 272"/>
                <a:gd name="T5" fmla="*/ 6 h 332"/>
                <a:gd name="T6" fmla="*/ 260 w 272"/>
                <a:gd name="T7" fmla="*/ 2 h 332"/>
                <a:gd name="T8" fmla="*/ 270 w 272"/>
                <a:gd name="T9" fmla="*/ 12 h 332"/>
                <a:gd name="T10" fmla="*/ 266 w 272"/>
                <a:gd name="T11" fmla="*/ 34 h 332"/>
                <a:gd name="T12" fmla="*/ 244 w 272"/>
                <a:gd name="T13" fmla="*/ 54 h 332"/>
                <a:gd name="T14" fmla="*/ 228 w 272"/>
                <a:gd name="T15" fmla="*/ 54 h 332"/>
                <a:gd name="T16" fmla="*/ 216 w 272"/>
                <a:gd name="T17" fmla="*/ 144 h 332"/>
                <a:gd name="T18" fmla="*/ 158 w 272"/>
                <a:gd name="T19" fmla="*/ 188 h 332"/>
                <a:gd name="T20" fmla="*/ 104 w 272"/>
                <a:gd name="T21" fmla="*/ 202 h 332"/>
                <a:gd name="T22" fmla="*/ 80 w 272"/>
                <a:gd name="T23" fmla="*/ 192 h 332"/>
                <a:gd name="T24" fmla="*/ 74 w 272"/>
                <a:gd name="T25" fmla="*/ 182 h 332"/>
                <a:gd name="T26" fmla="*/ 78 w 272"/>
                <a:gd name="T27" fmla="*/ 134 h 332"/>
                <a:gd name="T28" fmla="*/ 112 w 272"/>
                <a:gd name="T29" fmla="*/ 76 h 332"/>
                <a:gd name="T30" fmla="*/ 120 w 272"/>
                <a:gd name="T31" fmla="*/ 46 h 332"/>
                <a:gd name="T32" fmla="*/ 62 w 272"/>
                <a:gd name="T33" fmla="*/ 22 h 332"/>
                <a:gd name="T34" fmla="*/ 40 w 272"/>
                <a:gd name="T35" fmla="*/ 84 h 332"/>
                <a:gd name="T36" fmla="*/ 48 w 272"/>
                <a:gd name="T37" fmla="*/ 148 h 332"/>
                <a:gd name="T38" fmla="*/ 58 w 272"/>
                <a:gd name="T39" fmla="*/ 156 h 332"/>
                <a:gd name="T40" fmla="*/ 72 w 272"/>
                <a:gd name="T41" fmla="*/ 110 h 332"/>
                <a:gd name="T42" fmla="*/ 104 w 272"/>
                <a:gd name="T43" fmla="*/ 62 h 332"/>
                <a:gd name="T44" fmla="*/ 108 w 272"/>
                <a:gd name="T45" fmla="*/ 216 h 332"/>
                <a:gd name="T46" fmla="*/ 104 w 272"/>
                <a:gd name="T47" fmla="*/ 216 h 332"/>
                <a:gd name="T48" fmla="*/ 154 w 272"/>
                <a:gd name="T49" fmla="*/ 234 h 332"/>
                <a:gd name="T50" fmla="*/ 186 w 272"/>
                <a:gd name="T51" fmla="*/ 234 h 332"/>
                <a:gd name="T52" fmla="*/ 224 w 272"/>
                <a:gd name="T53" fmla="*/ 224 h 332"/>
                <a:gd name="T54" fmla="*/ 258 w 272"/>
                <a:gd name="T55" fmla="*/ 204 h 332"/>
                <a:gd name="T56" fmla="*/ 226 w 272"/>
                <a:gd name="T57" fmla="*/ 154 h 332"/>
                <a:gd name="T58" fmla="*/ 180 w 272"/>
                <a:gd name="T59" fmla="*/ 190 h 332"/>
                <a:gd name="T60" fmla="*/ 134 w 272"/>
                <a:gd name="T61" fmla="*/ 212 h 332"/>
                <a:gd name="T62" fmla="*/ 108 w 272"/>
                <a:gd name="T63" fmla="*/ 216 h 332"/>
                <a:gd name="T64" fmla="*/ 62 w 272"/>
                <a:gd name="T65" fmla="*/ 194 h 332"/>
                <a:gd name="T66" fmla="*/ 48 w 272"/>
                <a:gd name="T67" fmla="*/ 224 h 332"/>
                <a:gd name="T68" fmla="*/ 78 w 272"/>
                <a:gd name="T69" fmla="*/ 210 h 332"/>
                <a:gd name="T70" fmla="*/ 100 w 272"/>
                <a:gd name="T71" fmla="*/ 256 h 332"/>
                <a:gd name="T72" fmla="*/ 108 w 272"/>
                <a:gd name="T73" fmla="*/ 252 h 332"/>
                <a:gd name="T74" fmla="*/ 110 w 272"/>
                <a:gd name="T75" fmla="*/ 246 h 332"/>
                <a:gd name="T76" fmla="*/ 104 w 272"/>
                <a:gd name="T77" fmla="*/ 236 h 332"/>
                <a:gd name="T78" fmla="*/ 68 w 272"/>
                <a:gd name="T79" fmla="*/ 236 h 332"/>
                <a:gd name="T80" fmla="*/ 58 w 272"/>
                <a:gd name="T81" fmla="*/ 242 h 332"/>
                <a:gd name="T82" fmla="*/ 58 w 272"/>
                <a:gd name="T83" fmla="*/ 250 h 332"/>
                <a:gd name="T84" fmla="*/ 68 w 272"/>
                <a:gd name="T85" fmla="*/ 256 h 332"/>
                <a:gd name="T86" fmla="*/ 132 w 272"/>
                <a:gd name="T87" fmla="*/ 300 h 332"/>
                <a:gd name="T88" fmla="*/ 104 w 272"/>
                <a:gd name="T89" fmla="*/ 264 h 332"/>
                <a:gd name="T90" fmla="*/ 92 w 272"/>
                <a:gd name="T91" fmla="*/ 266 h 332"/>
                <a:gd name="T92" fmla="*/ 88 w 272"/>
                <a:gd name="T93" fmla="*/ 272 h 332"/>
                <a:gd name="T94" fmla="*/ 106 w 272"/>
                <a:gd name="T95" fmla="*/ 300 h 332"/>
                <a:gd name="T96" fmla="*/ 78 w 272"/>
                <a:gd name="T97" fmla="*/ 280 h 332"/>
                <a:gd name="T98" fmla="*/ 78 w 272"/>
                <a:gd name="T99" fmla="*/ 268 h 332"/>
                <a:gd name="T100" fmla="*/ 72 w 272"/>
                <a:gd name="T101" fmla="*/ 264 h 332"/>
                <a:gd name="T102" fmla="*/ 62 w 272"/>
                <a:gd name="T103" fmla="*/ 266 h 332"/>
                <a:gd name="T104" fmla="*/ 16 w 272"/>
                <a:gd name="T105" fmla="*/ 300 h 332"/>
                <a:gd name="T106" fmla="*/ 0 w 272"/>
                <a:gd name="T107" fmla="*/ 310 h 332"/>
                <a:gd name="T108" fmla="*/ 0 w 272"/>
                <a:gd name="T109" fmla="*/ 322 h 332"/>
                <a:gd name="T110" fmla="*/ 16 w 272"/>
                <a:gd name="T111" fmla="*/ 332 h 332"/>
                <a:gd name="T112" fmla="*/ 158 w 272"/>
                <a:gd name="T113" fmla="*/ 330 h 332"/>
                <a:gd name="T114" fmla="*/ 168 w 272"/>
                <a:gd name="T115" fmla="*/ 316 h 332"/>
                <a:gd name="T116" fmla="*/ 164 w 272"/>
                <a:gd name="T117" fmla="*/ 304 h 332"/>
                <a:gd name="T118" fmla="*/ 152 w 272"/>
                <a:gd name="T119" fmla="*/ 300 h 332"/>
                <a:gd name="T120" fmla="*/ 246 w 272"/>
                <a:gd name="T121" fmla="*/ 160 h 332"/>
                <a:gd name="T122" fmla="*/ 238 w 272"/>
                <a:gd name="T123" fmla="*/ 72 h 332"/>
                <a:gd name="T124" fmla="*/ 232 w 272"/>
                <a:gd name="T125" fmla="*/ 7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2" h="332">
                  <a:moveTo>
                    <a:pt x="168" y="94"/>
                  </a:moveTo>
                  <a:lnTo>
                    <a:pt x="218" y="44"/>
                  </a:lnTo>
                  <a:lnTo>
                    <a:pt x="218" y="44"/>
                  </a:lnTo>
                  <a:lnTo>
                    <a:pt x="218" y="38"/>
                  </a:lnTo>
                  <a:lnTo>
                    <a:pt x="218" y="32"/>
                  </a:lnTo>
                  <a:lnTo>
                    <a:pt x="220" y="26"/>
                  </a:lnTo>
                  <a:lnTo>
                    <a:pt x="222" y="22"/>
                  </a:lnTo>
                  <a:lnTo>
                    <a:pt x="238" y="6"/>
                  </a:lnTo>
                  <a:lnTo>
                    <a:pt x="238" y="6"/>
                  </a:lnTo>
                  <a:lnTo>
                    <a:pt x="244" y="2"/>
                  </a:lnTo>
                  <a:lnTo>
                    <a:pt x="252" y="0"/>
                  </a:lnTo>
                  <a:lnTo>
                    <a:pt x="260" y="2"/>
                  </a:lnTo>
                  <a:lnTo>
                    <a:pt x="266" y="6"/>
                  </a:lnTo>
                  <a:lnTo>
                    <a:pt x="266" y="6"/>
                  </a:lnTo>
                  <a:lnTo>
                    <a:pt x="270" y="12"/>
                  </a:lnTo>
                  <a:lnTo>
                    <a:pt x="272" y="20"/>
                  </a:lnTo>
                  <a:lnTo>
                    <a:pt x="270" y="28"/>
                  </a:lnTo>
                  <a:lnTo>
                    <a:pt x="266" y="34"/>
                  </a:lnTo>
                  <a:lnTo>
                    <a:pt x="252" y="50"/>
                  </a:lnTo>
                  <a:lnTo>
                    <a:pt x="252" y="50"/>
                  </a:lnTo>
                  <a:lnTo>
                    <a:pt x="244" y="54"/>
                  </a:lnTo>
                  <a:lnTo>
                    <a:pt x="238" y="56"/>
                  </a:lnTo>
                  <a:lnTo>
                    <a:pt x="238" y="56"/>
                  </a:lnTo>
                  <a:lnTo>
                    <a:pt x="228" y="54"/>
                  </a:lnTo>
                  <a:lnTo>
                    <a:pt x="178" y="104"/>
                  </a:lnTo>
                  <a:lnTo>
                    <a:pt x="216" y="144"/>
                  </a:lnTo>
                  <a:lnTo>
                    <a:pt x="216" y="144"/>
                  </a:lnTo>
                  <a:lnTo>
                    <a:pt x="198" y="160"/>
                  </a:lnTo>
                  <a:lnTo>
                    <a:pt x="178" y="176"/>
                  </a:lnTo>
                  <a:lnTo>
                    <a:pt x="158" y="188"/>
                  </a:lnTo>
                  <a:lnTo>
                    <a:pt x="138" y="196"/>
                  </a:lnTo>
                  <a:lnTo>
                    <a:pt x="120" y="200"/>
                  </a:lnTo>
                  <a:lnTo>
                    <a:pt x="104" y="202"/>
                  </a:lnTo>
                  <a:lnTo>
                    <a:pt x="92" y="198"/>
                  </a:lnTo>
                  <a:lnTo>
                    <a:pt x="86" y="196"/>
                  </a:lnTo>
                  <a:lnTo>
                    <a:pt x="80" y="192"/>
                  </a:lnTo>
                  <a:lnTo>
                    <a:pt x="80" y="192"/>
                  </a:lnTo>
                  <a:lnTo>
                    <a:pt x="76" y="188"/>
                  </a:lnTo>
                  <a:lnTo>
                    <a:pt x="74" y="182"/>
                  </a:lnTo>
                  <a:lnTo>
                    <a:pt x="72" y="168"/>
                  </a:lnTo>
                  <a:lnTo>
                    <a:pt x="72" y="152"/>
                  </a:lnTo>
                  <a:lnTo>
                    <a:pt x="78" y="134"/>
                  </a:lnTo>
                  <a:lnTo>
                    <a:pt x="86" y="114"/>
                  </a:lnTo>
                  <a:lnTo>
                    <a:pt x="98" y="96"/>
                  </a:lnTo>
                  <a:lnTo>
                    <a:pt x="112" y="76"/>
                  </a:lnTo>
                  <a:lnTo>
                    <a:pt x="130" y="56"/>
                  </a:lnTo>
                  <a:lnTo>
                    <a:pt x="168" y="94"/>
                  </a:lnTo>
                  <a:close/>
                  <a:moveTo>
                    <a:pt x="120" y="46"/>
                  </a:moveTo>
                  <a:lnTo>
                    <a:pt x="78" y="4"/>
                  </a:lnTo>
                  <a:lnTo>
                    <a:pt x="78" y="4"/>
                  </a:lnTo>
                  <a:lnTo>
                    <a:pt x="62" y="22"/>
                  </a:lnTo>
                  <a:lnTo>
                    <a:pt x="52" y="42"/>
                  </a:lnTo>
                  <a:lnTo>
                    <a:pt x="44" y="62"/>
                  </a:lnTo>
                  <a:lnTo>
                    <a:pt x="40" y="84"/>
                  </a:lnTo>
                  <a:lnTo>
                    <a:pt x="38" y="106"/>
                  </a:lnTo>
                  <a:lnTo>
                    <a:pt x="42" y="128"/>
                  </a:lnTo>
                  <a:lnTo>
                    <a:pt x="48" y="148"/>
                  </a:lnTo>
                  <a:lnTo>
                    <a:pt x="58" y="168"/>
                  </a:lnTo>
                  <a:lnTo>
                    <a:pt x="58" y="168"/>
                  </a:lnTo>
                  <a:lnTo>
                    <a:pt x="58" y="156"/>
                  </a:lnTo>
                  <a:lnTo>
                    <a:pt x="60" y="140"/>
                  </a:lnTo>
                  <a:lnTo>
                    <a:pt x="66" y="126"/>
                  </a:lnTo>
                  <a:lnTo>
                    <a:pt x="72" y="110"/>
                  </a:lnTo>
                  <a:lnTo>
                    <a:pt x="82" y="94"/>
                  </a:lnTo>
                  <a:lnTo>
                    <a:pt x="92" y="78"/>
                  </a:lnTo>
                  <a:lnTo>
                    <a:pt x="104" y="62"/>
                  </a:lnTo>
                  <a:lnTo>
                    <a:pt x="120" y="46"/>
                  </a:lnTo>
                  <a:lnTo>
                    <a:pt x="120" y="46"/>
                  </a:lnTo>
                  <a:close/>
                  <a:moveTo>
                    <a:pt x="108" y="216"/>
                  </a:moveTo>
                  <a:lnTo>
                    <a:pt x="108" y="216"/>
                  </a:lnTo>
                  <a:lnTo>
                    <a:pt x="104" y="216"/>
                  </a:lnTo>
                  <a:lnTo>
                    <a:pt x="104" y="216"/>
                  </a:lnTo>
                  <a:lnTo>
                    <a:pt x="120" y="224"/>
                  </a:lnTo>
                  <a:lnTo>
                    <a:pt x="138" y="230"/>
                  </a:lnTo>
                  <a:lnTo>
                    <a:pt x="154" y="234"/>
                  </a:lnTo>
                  <a:lnTo>
                    <a:pt x="172" y="234"/>
                  </a:lnTo>
                  <a:lnTo>
                    <a:pt x="172" y="234"/>
                  </a:lnTo>
                  <a:lnTo>
                    <a:pt x="186" y="234"/>
                  </a:lnTo>
                  <a:lnTo>
                    <a:pt x="198" y="232"/>
                  </a:lnTo>
                  <a:lnTo>
                    <a:pt x="212" y="230"/>
                  </a:lnTo>
                  <a:lnTo>
                    <a:pt x="224" y="224"/>
                  </a:lnTo>
                  <a:lnTo>
                    <a:pt x="236" y="220"/>
                  </a:lnTo>
                  <a:lnTo>
                    <a:pt x="248" y="212"/>
                  </a:lnTo>
                  <a:lnTo>
                    <a:pt x="258" y="204"/>
                  </a:lnTo>
                  <a:lnTo>
                    <a:pt x="268" y="196"/>
                  </a:lnTo>
                  <a:lnTo>
                    <a:pt x="226" y="154"/>
                  </a:lnTo>
                  <a:lnTo>
                    <a:pt x="226" y="154"/>
                  </a:lnTo>
                  <a:lnTo>
                    <a:pt x="212" y="168"/>
                  </a:lnTo>
                  <a:lnTo>
                    <a:pt x="196" y="180"/>
                  </a:lnTo>
                  <a:lnTo>
                    <a:pt x="180" y="190"/>
                  </a:lnTo>
                  <a:lnTo>
                    <a:pt x="164" y="200"/>
                  </a:lnTo>
                  <a:lnTo>
                    <a:pt x="150" y="206"/>
                  </a:lnTo>
                  <a:lnTo>
                    <a:pt x="134" y="212"/>
                  </a:lnTo>
                  <a:lnTo>
                    <a:pt x="120" y="214"/>
                  </a:lnTo>
                  <a:lnTo>
                    <a:pt x="108" y="216"/>
                  </a:lnTo>
                  <a:lnTo>
                    <a:pt x="108" y="216"/>
                  </a:lnTo>
                  <a:close/>
                  <a:moveTo>
                    <a:pt x="78" y="210"/>
                  </a:moveTo>
                  <a:lnTo>
                    <a:pt x="62" y="210"/>
                  </a:lnTo>
                  <a:lnTo>
                    <a:pt x="62" y="194"/>
                  </a:lnTo>
                  <a:lnTo>
                    <a:pt x="62" y="194"/>
                  </a:lnTo>
                  <a:lnTo>
                    <a:pt x="48" y="174"/>
                  </a:lnTo>
                  <a:lnTo>
                    <a:pt x="48" y="224"/>
                  </a:lnTo>
                  <a:lnTo>
                    <a:pt x="98" y="224"/>
                  </a:lnTo>
                  <a:lnTo>
                    <a:pt x="98" y="224"/>
                  </a:lnTo>
                  <a:lnTo>
                    <a:pt x="78" y="210"/>
                  </a:lnTo>
                  <a:lnTo>
                    <a:pt x="78" y="210"/>
                  </a:lnTo>
                  <a:close/>
                  <a:moveTo>
                    <a:pt x="68" y="256"/>
                  </a:moveTo>
                  <a:lnTo>
                    <a:pt x="100" y="256"/>
                  </a:lnTo>
                  <a:lnTo>
                    <a:pt x="100" y="256"/>
                  </a:lnTo>
                  <a:lnTo>
                    <a:pt x="104" y="254"/>
                  </a:lnTo>
                  <a:lnTo>
                    <a:pt x="108" y="252"/>
                  </a:lnTo>
                  <a:lnTo>
                    <a:pt x="110" y="250"/>
                  </a:lnTo>
                  <a:lnTo>
                    <a:pt x="110" y="246"/>
                  </a:lnTo>
                  <a:lnTo>
                    <a:pt x="110" y="246"/>
                  </a:lnTo>
                  <a:lnTo>
                    <a:pt x="110" y="242"/>
                  </a:lnTo>
                  <a:lnTo>
                    <a:pt x="108" y="238"/>
                  </a:lnTo>
                  <a:lnTo>
                    <a:pt x="104" y="236"/>
                  </a:lnTo>
                  <a:lnTo>
                    <a:pt x="100" y="236"/>
                  </a:lnTo>
                  <a:lnTo>
                    <a:pt x="68" y="236"/>
                  </a:lnTo>
                  <a:lnTo>
                    <a:pt x="68" y="236"/>
                  </a:lnTo>
                  <a:lnTo>
                    <a:pt x="64" y="236"/>
                  </a:lnTo>
                  <a:lnTo>
                    <a:pt x="60" y="238"/>
                  </a:lnTo>
                  <a:lnTo>
                    <a:pt x="58" y="242"/>
                  </a:lnTo>
                  <a:lnTo>
                    <a:pt x="58" y="246"/>
                  </a:lnTo>
                  <a:lnTo>
                    <a:pt x="58" y="246"/>
                  </a:lnTo>
                  <a:lnTo>
                    <a:pt x="58" y="250"/>
                  </a:lnTo>
                  <a:lnTo>
                    <a:pt x="60" y="252"/>
                  </a:lnTo>
                  <a:lnTo>
                    <a:pt x="64" y="254"/>
                  </a:lnTo>
                  <a:lnTo>
                    <a:pt x="68" y="256"/>
                  </a:lnTo>
                  <a:lnTo>
                    <a:pt x="68" y="256"/>
                  </a:lnTo>
                  <a:close/>
                  <a:moveTo>
                    <a:pt x="152" y="300"/>
                  </a:moveTo>
                  <a:lnTo>
                    <a:pt x="132" y="300"/>
                  </a:lnTo>
                  <a:lnTo>
                    <a:pt x="106" y="266"/>
                  </a:lnTo>
                  <a:lnTo>
                    <a:pt x="106" y="266"/>
                  </a:lnTo>
                  <a:lnTo>
                    <a:pt x="104" y="264"/>
                  </a:lnTo>
                  <a:lnTo>
                    <a:pt x="100" y="264"/>
                  </a:lnTo>
                  <a:lnTo>
                    <a:pt x="96" y="264"/>
                  </a:lnTo>
                  <a:lnTo>
                    <a:pt x="92" y="266"/>
                  </a:lnTo>
                  <a:lnTo>
                    <a:pt x="92" y="266"/>
                  </a:lnTo>
                  <a:lnTo>
                    <a:pt x="90" y="268"/>
                  </a:lnTo>
                  <a:lnTo>
                    <a:pt x="88" y="272"/>
                  </a:lnTo>
                  <a:lnTo>
                    <a:pt x="90" y="276"/>
                  </a:lnTo>
                  <a:lnTo>
                    <a:pt x="90" y="280"/>
                  </a:lnTo>
                  <a:lnTo>
                    <a:pt x="106" y="300"/>
                  </a:lnTo>
                  <a:lnTo>
                    <a:pt x="62" y="300"/>
                  </a:lnTo>
                  <a:lnTo>
                    <a:pt x="78" y="280"/>
                  </a:lnTo>
                  <a:lnTo>
                    <a:pt x="78" y="280"/>
                  </a:lnTo>
                  <a:lnTo>
                    <a:pt x="78" y="276"/>
                  </a:lnTo>
                  <a:lnTo>
                    <a:pt x="80" y="272"/>
                  </a:lnTo>
                  <a:lnTo>
                    <a:pt x="78" y="268"/>
                  </a:lnTo>
                  <a:lnTo>
                    <a:pt x="76" y="266"/>
                  </a:lnTo>
                  <a:lnTo>
                    <a:pt x="76" y="266"/>
                  </a:lnTo>
                  <a:lnTo>
                    <a:pt x="72" y="264"/>
                  </a:lnTo>
                  <a:lnTo>
                    <a:pt x="68" y="264"/>
                  </a:lnTo>
                  <a:lnTo>
                    <a:pt x="64" y="264"/>
                  </a:lnTo>
                  <a:lnTo>
                    <a:pt x="62" y="266"/>
                  </a:lnTo>
                  <a:lnTo>
                    <a:pt x="36" y="300"/>
                  </a:lnTo>
                  <a:lnTo>
                    <a:pt x="16" y="300"/>
                  </a:lnTo>
                  <a:lnTo>
                    <a:pt x="16" y="300"/>
                  </a:lnTo>
                  <a:lnTo>
                    <a:pt x="10" y="300"/>
                  </a:lnTo>
                  <a:lnTo>
                    <a:pt x="4" y="304"/>
                  </a:lnTo>
                  <a:lnTo>
                    <a:pt x="0" y="310"/>
                  </a:lnTo>
                  <a:lnTo>
                    <a:pt x="0" y="316"/>
                  </a:lnTo>
                  <a:lnTo>
                    <a:pt x="0" y="316"/>
                  </a:lnTo>
                  <a:lnTo>
                    <a:pt x="0" y="322"/>
                  </a:lnTo>
                  <a:lnTo>
                    <a:pt x="4" y="326"/>
                  </a:lnTo>
                  <a:lnTo>
                    <a:pt x="10" y="330"/>
                  </a:lnTo>
                  <a:lnTo>
                    <a:pt x="16" y="332"/>
                  </a:lnTo>
                  <a:lnTo>
                    <a:pt x="152" y="332"/>
                  </a:lnTo>
                  <a:lnTo>
                    <a:pt x="152" y="332"/>
                  </a:lnTo>
                  <a:lnTo>
                    <a:pt x="158" y="330"/>
                  </a:lnTo>
                  <a:lnTo>
                    <a:pt x="164" y="326"/>
                  </a:lnTo>
                  <a:lnTo>
                    <a:pt x="168" y="322"/>
                  </a:lnTo>
                  <a:lnTo>
                    <a:pt x="168" y="316"/>
                  </a:lnTo>
                  <a:lnTo>
                    <a:pt x="168" y="316"/>
                  </a:lnTo>
                  <a:lnTo>
                    <a:pt x="168" y="310"/>
                  </a:lnTo>
                  <a:lnTo>
                    <a:pt x="164" y="304"/>
                  </a:lnTo>
                  <a:lnTo>
                    <a:pt x="158" y="300"/>
                  </a:lnTo>
                  <a:lnTo>
                    <a:pt x="152" y="300"/>
                  </a:lnTo>
                  <a:lnTo>
                    <a:pt x="152" y="300"/>
                  </a:lnTo>
                  <a:close/>
                  <a:moveTo>
                    <a:pt x="232" y="72"/>
                  </a:moveTo>
                  <a:lnTo>
                    <a:pt x="232" y="146"/>
                  </a:lnTo>
                  <a:lnTo>
                    <a:pt x="246" y="160"/>
                  </a:lnTo>
                  <a:lnTo>
                    <a:pt x="246" y="70"/>
                  </a:lnTo>
                  <a:lnTo>
                    <a:pt x="246" y="70"/>
                  </a:lnTo>
                  <a:lnTo>
                    <a:pt x="238" y="72"/>
                  </a:lnTo>
                  <a:lnTo>
                    <a:pt x="238" y="72"/>
                  </a:lnTo>
                  <a:lnTo>
                    <a:pt x="232" y="72"/>
                  </a:lnTo>
                  <a:lnTo>
                    <a:pt x="232" y="72"/>
                  </a:lnTo>
                  <a:close/>
                </a:path>
              </a:pathLst>
            </a:custGeom>
            <a:solidFill>
              <a:srgbClr val="505050"/>
            </a:solid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71" name="Group 70">
            <a:extLst>
              <a:ext uri="{FF2B5EF4-FFF2-40B4-BE49-F238E27FC236}">
                <a16:creationId xmlns:a16="http://schemas.microsoft.com/office/drawing/2014/main" id="{6D957602-EE39-440C-BB23-414B5407E51D}"/>
              </a:ext>
            </a:extLst>
          </p:cNvPr>
          <p:cNvGrpSpPr/>
          <p:nvPr/>
        </p:nvGrpSpPr>
        <p:grpSpPr>
          <a:xfrm>
            <a:off x="7275703" y="1663988"/>
            <a:ext cx="523325" cy="523325"/>
            <a:chOff x="6722836" y="2258092"/>
            <a:chExt cx="612000" cy="612000"/>
          </a:xfrm>
        </p:grpSpPr>
        <p:sp>
          <p:nvSpPr>
            <p:cNvPr id="72" name="Oval 71">
              <a:extLst>
                <a:ext uri="{FF2B5EF4-FFF2-40B4-BE49-F238E27FC236}">
                  <a16:creationId xmlns:a16="http://schemas.microsoft.com/office/drawing/2014/main" id="{EE0E0AF8-DC91-4829-B115-0F923B74B8A8}"/>
                </a:ext>
              </a:extLst>
            </p:cNvPr>
            <p:cNvSpPr/>
            <p:nvPr/>
          </p:nvSpPr>
          <p:spPr bwMode="ltGray">
            <a:xfrm>
              <a:off x="6722836"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73" name="Freeform 4810">
              <a:extLst>
                <a:ext uri="{FF2B5EF4-FFF2-40B4-BE49-F238E27FC236}">
                  <a16:creationId xmlns:a16="http://schemas.microsoft.com/office/drawing/2014/main" id="{F2394365-E0EA-49B8-9818-7AE62CD3A915}"/>
                </a:ext>
              </a:extLst>
            </p:cNvPr>
            <p:cNvSpPr>
              <a:spLocks noEditPoints="1"/>
            </p:cNvSpPr>
            <p:nvPr/>
          </p:nvSpPr>
          <p:spPr bwMode="auto">
            <a:xfrm>
              <a:off x="6816784" y="2354435"/>
              <a:ext cx="424105" cy="402042"/>
            </a:xfrm>
            <a:custGeom>
              <a:avLst/>
              <a:gdLst>
                <a:gd name="T0" fmla="*/ 302 w 346"/>
                <a:gd name="T1" fmla="*/ 272 h 328"/>
                <a:gd name="T2" fmla="*/ 260 w 346"/>
                <a:gd name="T3" fmla="*/ 316 h 328"/>
                <a:gd name="T4" fmla="*/ 172 w 346"/>
                <a:gd name="T5" fmla="*/ 328 h 328"/>
                <a:gd name="T6" fmla="*/ 98 w 346"/>
                <a:gd name="T7" fmla="*/ 320 h 328"/>
                <a:gd name="T8" fmla="*/ 56 w 346"/>
                <a:gd name="T9" fmla="*/ 296 h 328"/>
                <a:gd name="T10" fmla="*/ 18 w 346"/>
                <a:gd name="T11" fmla="*/ 240 h 328"/>
                <a:gd name="T12" fmla="*/ 2 w 346"/>
                <a:gd name="T13" fmla="*/ 188 h 328"/>
                <a:gd name="T14" fmla="*/ 24 w 346"/>
                <a:gd name="T15" fmla="*/ 178 h 328"/>
                <a:gd name="T16" fmla="*/ 94 w 346"/>
                <a:gd name="T17" fmla="*/ 212 h 328"/>
                <a:gd name="T18" fmla="*/ 108 w 346"/>
                <a:gd name="T19" fmla="*/ 254 h 328"/>
                <a:gd name="T20" fmla="*/ 156 w 346"/>
                <a:gd name="T21" fmla="*/ 286 h 328"/>
                <a:gd name="T22" fmla="*/ 202 w 346"/>
                <a:gd name="T23" fmla="*/ 282 h 328"/>
                <a:gd name="T24" fmla="*/ 244 w 346"/>
                <a:gd name="T25" fmla="*/ 242 h 328"/>
                <a:gd name="T26" fmla="*/ 272 w 346"/>
                <a:gd name="T27" fmla="*/ 204 h 328"/>
                <a:gd name="T28" fmla="*/ 336 w 346"/>
                <a:gd name="T29" fmla="*/ 182 h 328"/>
                <a:gd name="T30" fmla="*/ 346 w 346"/>
                <a:gd name="T31" fmla="*/ 194 h 328"/>
                <a:gd name="T32" fmla="*/ 100 w 346"/>
                <a:gd name="T33" fmla="*/ 180 h 328"/>
                <a:gd name="T34" fmla="*/ 128 w 346"/>
                <a:gd name="T35" fmla="*/ 146 h 328"/>
                <a:gd name="T36" fmla="*/ 172 w 346"/>
                <a:gd name="T37" fmla="*/ 132 h 328"/>
                <a:gd name="T38" fmla="*/ 206 w 346"/>
                <a:gd name="T39" fmla="*/ 140 h 328"/>
                <a:gd name="T40" fmla="*/ 238 w 346"/>
                <a:gd name="T41" fmla="*/ 170 h 328"/>
                <a:gd name="T42" fmla="*/ 280 w 346"/>
                <a:gd name="T43" fmla="*/ 164 h 328"/>
                <a:gd name="T44" fmla="*/ 296 w 346"/>
                <a:gd name="T45" fmla="*/ 106 h 328"/>
                <a:gd name="T46" fmla="*/ 258 w 346"/>
                <a:gd name="T47" fmla="*/ 46 h 328"/>
                <a:gd name="T48" fmla="*/ 212 w 346"/>
                <a:gd name="T49" fmla="*/ 84 h 328"/>
                <a:gd name="T50" fmla="*/ 200 w 346"/>
                <a:gd name="T51" fmla="*/ 94 h 328"/>
                <a:gd name="T52" fmla="*/ 194 w 346"/>
                <a:gd name="T53" fmla="*/ 90 h 328"/>
                <a:gd name="T54" fmla="*/ 208 w 346"/>
                <a:gd name="T55" fmla="*/ 10 h 328"/>
                <a:gd name="T56" fmla="*/ 204 w 346"/>
                <a:gd name="T57" fmla="*/ 6 h 328"/>
                <a:gd name="T58" fmla="*/ 172 w 346"/>
                <a:gd name="T59" fmla="*/ 0 h 328"/>
                <a:gd name="T60" fmla="*/ 140 w 346"/>
                <a:gd name="T61" fmla="*/ 6 h 328"/>
                <a:gd name="T62" fmla="*/ 154 w 346"/>
                <a:gd name="T63" fmla="*/ 78 h 328"/>
                <a:gd name="T64" fmla="*/ 146 w 346"/>
                <a:gd name="T65" fmla="*/ 94 h 328"/>
                <a:gd name="T66" fmla="*/ 140 w 346"/>
                <a:gd name="T67" fmla="*/ 92 h 328"/>
                <a:gd name="T68" fmla="*/ 116 w 346"/>
                <a:gd name="T69" fmla="*/ 28 h 328"/>
                <a:gd name="T70" fmla="*/ 74 w 346"/>
                <a:gd name="T71" fmla="*/ 58 h 328"/>
                <a:gd name="T72" fmla="*/ 42 w 346"/>
                <a:gd name="T73" fmla="*/ 128 h 328"/>
                <a:gd name="T74" fmla="*/ 82 w 346"/>
                <a:gd name="T75" fmla="*/ 172 h 328"/>
                <a:gd name="T76" fmla="*/ 222 w 346"/>
                <a:gd name="T77" fmla="*/ 210 h 328"/>
                <a:gd name="T78" fmla="*/ 208 w 346"/>
                <a:gd name="T79" fmla="*/ 246 h 328"/>
                <a:gd name="T80" fmla="*/ 172 w 346"/>
                <a:gd name="T81" fmla="*/ 260 h 328"/>
                <a:gd name="T82" fmla="*/ 144 w 346"/>
                <a:gd name="T83" fmla="*/ 252 h 328"/>
                <a:gd name="T84" fmla="*/ 124 w 346"/>
                <a:gd name="T85" fmla="*/ 220 h 328"/>
                <a:gd name="T86" fmla="*/ 126 w 346"/>
                <a:gd name="T87" fmla="*/ 190 h 328"/>
                <a:gd name="T88" fmla="*/ 152 w 346"/>
                <a:gd name="T89" fmla="*/ 164 h 328"/>
                <a:gd name="T90" fmla="*/ 182 w 346"/>
                <a:gd name="T91" fmla="*/ 162 h 328"/>
                <a:gd name="T92" fmla="*/ 214 w 346"/>
                <a:gd name="T93" fmla="*/ 182 h 328"/>
                <a:gd name="T94" fmla="*/ 222 w 346"/>
                <a:gd name="T95" fmla="*/ 210 h 328"/>
                <a:gd name="T96" fmla="*/ 206 w 346"/>
                <a:gd name="T97" fmla="*/ 204 h 328"/>
                <a:gd name="T98" fmla="*/ 198 w 346"/>
                <a:gd name="T99" fmla="*/ 202 h 328"/>
                <a:gd name="T100" fmla="*/ 192 w 346"/>
                <a:gd name="T101" fmla="*/ 210 h 328"/>
                <a:gd name="T102" fmla="*/ 172 w 346"/>
                <a:gd name="T103" fmla="*/ 232 h 328"/>
                <a:gd name="T104" fmla="*/ 164 w 346"/>
                <a:gd name="T105" fmla="*/ 236 h 328"/>
                <a:gd name="T106" fmla="*/ 166 w 346"/>
                <a:gd name="T107" fmla="*/ 244 h 328"/>
                <a:gd name="T108" fmla="*/ 180 w 346"/>
                <a:gd name="T109" fmla="*/ 246 h 328"/>
                <a:gd name="T110" fmla="*/ 202 w 346"/>
                <a:gd name="T111" fmla="*/ 230 h 328"/>
                <a:gd name="T112" fmla="*/ 208 w 346"/>
                <a:gd name="T113" fmla="*/ 21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6" h="328">
                  <a:moveTo>
                    <a:pt x="344" y="200"/>
                  </a:moveTo>
                  <a:lnTo>
                    <a:pt x="344" y="200"/>
                  </a:lnTo>
                  <a:lnTo>
                    <a:pt x="322" y="240"/>
                  </a:lnTo>
                  <a:lnTo>
                    <a:pt x="302" y="272"/>
                  </a:lnTo>
                  <a:lnTo>
                    <a:pt x="286" y="294"/>
                  </a:lnTo>
                  <a:lnTo>
                    <a:pt x="276" y="304"/>
                  </a:lnTo>
                  <a:lnTo>
                    <a:pt x="268" y="310"/>
                  </a:lnTo>
                  <a:lnTo>
                    <a:pt x="260" y="316"/>
                  </a:lnTo>
                  <a:lnTo>
                    <a:pt x="250" y="320"/>
                  </a:lnTo>
                  <a:lnTo>
                    <a:pt x="228" y="326"/>
                  </a:lnTo>
                  <a:lnTo>
                    <a:pt x="204" y="328"/>
                  </a:lnTo>
                  <a:lnTo>
                    <a:pt x="172" y="328"/>
                  </a:lnTo>
                  <a:lnTo>
                    <a:pt x="172" y="328"/>
                  </a:lnTo>
                  <a:lnTo>
                    <a:pt x="146" y="328"/>
                  </a:lnTo>
                  <a:lnTo>
                    <a:pt x="122" y="326"/>
                  </a:lnTo>
                  <a:lnTo>
                    <a:pt x="98" y="320"/>
                  </a:lnTo>
                  <a:lnTo>
                    <a:pt x="88" y="316"/>
                  </a:lnTo>
                  <a:lnTo>
                    <a:pt x="76" y="312"/>
                  </a:lnTo>
                  <a:lnTo>
                    <a:pt x="66" y="304"/>
                  </a:lnTo>
                  <a:lnTo>
                    <a:pt x="56" y="296"/>
                  </a:lnTo>
                  <a:lnTo>
                    <a:pt x="48" y="286"/>
                  </a:lnTo>
                  <a:lnTo>
                    <a:pt x="38" y="274"/>
                  </a:lnTo>
                  <a:lnTo>
                    <a:pt x="28" y="258"/>
                  </a:lnTo>
                  <a:lnTo>
                    <a:pt x="18" y="240"/>
                  </a:lnTo>
                  <a:lnTo>
                    <a:pt x="0" y="198"/>
                  </a:lnTo>
                  <a:lnTo>
                    <a:pt x="0" y="198"/>
                  </a:lnTo>
                  <a:lnTo>
                    <a:pt x="0" y="192"/>
                  </a:lnTo>
                  <a:lnTo>
                    <a:pt x="2" y="188"/>
                  </a:lnTo>
                  <a:lnTo>
                    <a:pt x="2" y="188"/>
                  </a:lnTo>
                  <a:lnTo>
                    <a:pt x="4" y="184"/>
                  </a:lnTo>
                  <a:lnTo>
                    <a:pt x="10" y="182"/>
                  </a:lnTo>
                  <a:lnTo>
                    <a:pt x="24" y="178"/>
                  </a:lnTo>
                  <a:lnTo>
                    <a:pt x="24" y="178"/>
                  </a:lnTo>
                  <a:lnTo>
                    <a:pt x="54" y="196"/>
                  </a:lnTo>
                  <a:lnTo>
                    <a:pt x="72" y="204"/>
                  </a:lnTo>
                  <a:lnTo>
                    <a:pt x="94" y="212"/>
                  </a:lnTo>
                  <a:lnTo>
                    <a:pt x="94" y="212"/>
                  </a:lnTo>
                  <a:lnTo>
                    <a:pt x="96" y="228"/>
                  </a:lnTo>
                  <a:lnTo>
                    <a:pt x="100" y="242"/>
                  </a:lnTo>
                  <a:lnTo>
                    <a:pt x="108" y="254"/>
                  </a:lnTo>
                  <a:lnTo>
                    <a:pt x="118" y="266"/>
                  </a:lnTo>
                  <a:lnTo>
                    <a:pt x="130" y="276"/>
                  </a:lnTo>
                  <a:lnTo>
                    <a:pt x="142" y="282"/>
                  </a:lnTo>
                  <a:lnTo>
                    <a:pt x="156" y="286"/>
                  </a:lnTo>
                  <a:lnTo>
                    <a:pt x="172" y="288"/>
                  </a:lnTo>
                  <a:lnTo>
                    <a:pt x="172" y="288"/>
                  </a:lnTo>
                  <a:lnTo>
                    <a:pt x="188" y="286"/>
                  </a:lnTo>
                  <a:lnTo>
                    <a:pt x="202" y="282"/>
                  </a:lnTo>
                  <a:lnTo>
                    <a:pt x="214" y="276"/>
                  </a:lnTo>
                  <a:lnTo>
                    <a:pt x="226" y="266"/>
                  </a:lnTo>
                  <a:lnTo>
                    <a:pt x="236" y="254"/>
                  </a:lnTo>
                  <a:lnTo>
                    <a:pt x="244" y="242"/>
                  </a:lnTo>
                  <a:lnTo>
                    <a:pt x="248" y="228"/>
                  </a:lnTo>
                  <a:lnTo>
                    <a:pt x="250" y="212"/>
                  </a:lnTo>
                  <a:lnTo>
                    <a:pt x="250" y="212"/>
                  </a:lnTo>
                  <a:lnTo>
                    <a:pt x="272" y="204"/>
                  </a:lnTo>
                  <a:lnTo>
                    <a:pt x="290" y="196"/>
                  </a:lnTo>
                  <a:lnTo>
                    <a:pt x="320" y="178"/>
                  </a:lnTo>
                  <a:lnTo>
                    <a:pt x="336" y="182"/>
                  </a:lnTo>
                  <a:lnTo>
                    <a:pt x="336" y="182"/>
                  </a:lnTo>
                  <a:lnTo>
                    <a:pt x="340" y="184"/>
                  </a:lnTo>
                  <a:lnTo>
                    <a:pt x="344" y="188"/>
                  </a:lnTo>
                  <a:lnTo>
                    <a:pt x="344" y="188"/>
                  </a:lnTo>
                  <a:lnTo>
                    <a:pt x="346" y="194"/>
                  </a:lnTo>
                  <a:lnTo>
                    <a:pt x="344" y="200"/>
                  </a:lnTo>
                  <a:lnTo>
                    <a:pt x="344" y="200"/>
                  </a:lnTo>
                  <a:close/>
                  <a:moveTo>
                    <a:pt x="100" y="180"/>
                  </a:moveTo>
                  <a:lnTo>
                    <a:pt x="100" y="180"/>
                  </a:lnTo>
                  <a:lnTo>
                    <a:pt x="106" y="170"/>
                  </a:lnTo>
                  <a:lnTo>
                    <a:pt x="112" y="160"/>
                  </a:lnTo>
                  <a:lnTo>
                    <a:pt x="120" y="152"/>
                  </a:lnTo>
                  <a:lnTo>
                    <a:pt x="128" y="146"/>
                  </a:lnTo>
                  <a:lnTo>
                    <a:pt x="138" y="140"/>
                  </a:lnTo>
                  <a:lnTo>
                    <a:pt x="148" y="136"/>
                  </a:lnTo>
                  <a:lnTo>
                    <a:pt x="160" y="134"/>
                  </a:lnTo>
                  <a:lnTo>
                    <a:pt x="172" y="132"/>
                  </a:lnTo>
                  <a:lnTo>
                    <a:pt x="172" y="132"/>
                  </a:lnTo>
                  <a:lnTo>
                    <a:pt x="184" y="134"/>
                  </a:lnTo>
                  <a:lnTo>
                    <a:pt x="196" y="136"/>
                  </a:lnTo>
                  <a:lnTo>
                    <a:pt x="206" y="140"/>
                  </a:lnTo>
                  <a:lnTo>
                    <a:pt x="216" y="146"/>
                  </a:lnTo>
                  <a:lnTo>
                    <a:pt x="224" y="152"/>
                  </a:lnTo>
                  <a:lnTo>
                    <a:pt x="232" y="162"/>
                  </a:lnTo>
                  <a:lnTo>
                    <a:pt x="238" y="170"/>
                  </a:lnTo>
                  <a:lnTo>
                    <a:pt x="244" y="180"/>
                  </a:lnTo>
                  <a:lnTo>
                    <a:pt x="244" y="180"/>
                  </a:lnTo>
                  <a:lnTo>
                    <a:pt x="262" y="172"/>
                  </a:lnTo>
                  <a:lnTo>
                    <a:pt x="280" y="164"/>
                  </a:lnTo>
                  <a:lnTo>
                    <a:pt x="306" y="150"/>
                  </a:lnTo>
                  <a:lnTo>
                    <a:pt x="306" y="150"/>
                  </a:lnTo>
                  <a:lnTo>
                    <a:pt x="302" y="128"/>
                  </a:lnTo>
                  <a:lnTo>
                    <a:pt x="296" y="106"/>
                  </a:lnTo>
                  <a:lnTo>
                    <a:pt x="290" y="88"/>
                  </a:lnTo>
                  <a:lnTo>
                    <a:pt x="282" y="72"/>
                  </a:lnTo>
                  <a:lnTo>
                    <a:pt x="270" y="58"/>
                  </a:lnTo>
                  <a:lnTo>
                    <a:pt x="258" y="46"/>
                  </a:lnTo>
                  <a:lnTo>
                    <a:pt x="244" y="36"/>
                  </a:lnTo>
                  <a:lnTo>
                    <a:pt x="228" y="28"/>
                  </a:lnTo>
                  <a:lnTo>
                    <a:pt x="212" y="84"/>
                  </a:lnTo>
                  <a:lnTo>
                    <a:pt x="212" y="84"/>
                  </a:lnTo>
                  <a:lnTo>
                    <a:pt x="210" y="88"/>
                  </a:lnTo>
                  <a:lnTo>
                    <a:pt x="208" y="92"/>
                  </a:lnTo>
                  <a:lnTo>
                    <a:pt x="204" y="92"/>
                  </a:lnTo>
                  <a:lnTo>
                    <a:pt x="200" y="94"/>
                  </a:lnTo>
                  <a:lnTo>
                    <a:pt x="200" y="94"/>
                  </a:lnTo>
                  <a:lnTo>
                    <a:pt x="198" y="94"/>
                  </a:lnTo>
                  <a:lnTo>
                    <a:pt x="198" y="94"/>
                  </a:lnTo>
                  <a:lnTo>
                    <a:pt x="194" y="90"/>
                  </a:lnTo>
                  <a:lnTo>
                    <a:pt x="190" y="88"/>
                  </a:lnTo>
                  <a:lnTo>
                    <a:pt x="188" y="84"/>
                  </a:lnTo>
                  <a:lnTo>
                    <a:pt x="190" y="78"/>
                  </a:lnTo>
                  <a:lnTo>
                    <a:pt x="208" y="10"/>
                  </a:lnTo>
                  <a:lnTo>
                    <a:pt x="208" y="10"/>
                  </a:lnTo>
                  <a:lnTo>
                    <a:pt x="206" y="8"/>
                  </a:lnTo>
                  <a:lnTo>
                    <a:pt x="204" y="6"/>
                  </a:lnTo>
                  <a:lnTo>
                    <a:pt x="204" y="6"/>
                  </a:lnTo>
                  <a:lnTo>
                    <a:pt x="194" y="2"/>
                  </a:lnTo>
                  <a:lnTo>
                    <a:pt x="184" y="0"/>
                  </a:lnTo>
                  <a:lnTo>
                    <a:pt x="172" y="0"/>
                  </a:lnTo>
                  <a:lnTo>
                    <a:pt x="172" y="0"/>
                  </a:lnTo>
                  <a:lnTo>
                    <a:pt x="160" y="0"/>
                  </a:lnTo>
                  <a:lnTo>
                    <a:pt x="150" y="2"/>
                  </a:lnTo>
                  <a:lnTo>
                    <a:pt x="140" y="6"/>
                  </a:lnTo>
                  <a:lnTo>
                    <a:pt x="140" y="6"/>
                  </a:lnTo>
                  <a:lnTo>
                    <a:pt x="138" y="8"/>
                  </a:lnTo>
                  <a:lnTo>
                    <a:pt x="136" y="10"/>
                  </a:lnTo>
                  <a:lnTo>
                    <a:pt x="154" y="78"/>
                  </a:lnTo>
                  <a:lnTo>
                    <a:pt x="154" y="78"/>
                  </a:lnTo>
                  <a:lnTo>
                    <a:pt x="156" y="84"/>
                  </a:lnTo>
                  <a:lnTo>
                    <a:pt x="154" y="88"/>
                  </a:lnTo>
                  <a:lnTo>
                    <a:pt x="150" y="90"/>
                  </a:lnTo>
                  <a:lnTo>
                    <a:pt x="146" y="94"/>
                  </a:lnTo>
                  <a:lnTo>
                    <a:pt x="146" y="94"/>
                  </a:lnTo>
                  <a:lnTo>
                    <a:pt x="144" y="94"/>
                  </a:lnTo>
                  <a:lnTo>
                    <a:pt x="144" y="94"/>
                  </a:lnTo>
                  <a:lnTo>
                    <a:pt x="140" y="92"/>
                  </a:lnTo>
                  <a:lnTo>
                    <a:pt x="136" y="92"/>
                  </a:lnTo>
                  <a:lnTo>
                    <a:pt x="134" y="88"/>
                  </a:lnTo>
                  <a:lnTo>
                    <a:pt x="132" y="84"/>
                  </a:lnTo>
                  <a:lnTo>
                    <a:pt x="116" y="28"/>
                  </a:lnTo>
                  <a:lnTo>
                    <a:pt x="116" y="28"/>
                  </a:lnTo>
                  <a:lnTo>
                    <a:pt x="100" y="36"/>
                  </a:lnTo>
                  <a:lnTo>
                    <a:pt x="86" y="46"/>
                  </a:lnTo>
                  <a:lnTo>
                    <a:pt x="74" y="58"/>
                  </a:lnTo>
                  <a:lnTo>
                    <a:pt x="62" y="72"/>
                  </a:lnTo>
                  <a:lnTo>
                    <a:pt x="54" y="88"/>
                  </a:lnTo>
                  <a:lnTo>
                    <a:pt x="48" y="106"/>
                  </a:lnTo>
                  <a:lnTo>
                    <a:pt x="42" y="128"/>
                  </a:lnTo>
                  <a:lnTo>
                    <a:pt x="38" y="150"/>
                  </a:lnTo>
                  <a:lnTo>
                    <a:pt x="38" y="150"/>
                  </a:lnTo>
                  <a:lnTo>
                    <a:pt x="64" y="164"/>
                  </a:lnTo>
                  <a:lnTo>
                    <a:pt x="82" y="172"/>
                  </a:lnTo>
                  <a:lnTo>
                    <a:pt x="100" y="180"/>
                  </a:lnTo>
                  <a:lnTo>
                    <a:pt x="100" y="180"/>
                  </a:lnTo>
                  <a:close/>
                  <a:moveTo>
                    <a:pt x="222" y="210"/>
                  </a:moveTo>
                  <a:lnTo>
                    <a:pt x="222" y="210"/>
                  </a:lnTo>
                  <a:lnTo>
                    <a:pt x="220" y="220"/>
                  </a:lnTo>
                  <a:lnTo>
                    <a:pt x="218" y="230"/>
                  </a:lnTo>
                  <a:lnTo>
                    <a:pt x="214" y="238"/>
                  </a:lnTo>
                  <a:lnTo>
                    <a:pt x="208" y="246"/>
                  </a:lnTo>
                  <a:lnTo>
                    <a:pt x="200" y="252"/>
                  </a:lnTo>
                  <a:lnTo>
                    <a:pt x="192" y="256"/>
                  </a:lnTo>
                  <a:lnTo>
                    <a:pt x="182" y="260"/>
                  </a:lnTo>
                  <a:lnTo>
                    <a:pt x="172" y="260"/>
                  </a:lnTo>
                  <a:lnTo>
                    <a:pt x="172" y="260"/>
                  </a:lnTo>
                  <a:lnTo>
                    <a:pt x="162" y="260"/>
                  </a:lnTo>
                  <a:lnTo>
                    <a:pt x="152" y="256"/>
                  </a:lnTo>
                  <a:lnTo>
                    <a:pt x="144" y="252"/>
                  </a:lnTo>
                  <a:lnTo>
                    <a:pt x="136" y="246"/>
                  </a:lnTo>
                  <a:lnTo>
                    <a:pt x="130" y="238"/>
                  </a:lnTo>
                  <a:lnTo>
                    <a:pt x="126" y="230"/>
                  </a:lnTo>
                  <a:lnTo>
                    <a:pt x="124" y="220"/>
                  </a:lnTo>
                  <a:lnTo>
                    <a:pt x="122" y="210"/>
                  </a:lnTo>
                  <a:lnTo>
                    <a:pt x="122" y="210"/>
                  </a:lnTo>
                  <a:lnTo>
                    <a:pt x="124" y="200"/>
                  </a:lnTo>
                  <a:lnTo>
                    <a:pt x="126" y="190"/>
                  </a:lnTo>
                  <a:lnTo>
                    <a:pt x="130" y="182"/>
                  </a:lnTo>
                  <a:lnTo>
                    <a:pt x="136" y="176"/>
                  </a:lnTo>
                  <a:lnTo>
                    <a:pt x="144" y="170"/>
                  </a:lnTo>
                  <a:lnTo>
                    <a:pt x="152" y="164"/>
                  </a:lnTo>
                  <a:lnTo>
                    <a:pt x="162" y="162"/>
                  </a:lnTo>
                  <a:lnTo>
                    <a:pt x="172" y="160"/>
                  </a:lnTo>
                  <a:lnTo>
                    <a:pt x="172" y="160"/>
                  </a:lnTo>
                  <a:lnTo>
                    <a:pt x="182" y="162"/>
                  </a:lnTo>
                  <a:lnTo>
                    <a:pt x="192" y="164"/>
                  </a:lnTo>
                  <a:lnTo>
                    <a:pt x="200" y="170"/>
                  </a:lnTo>
                  <a:lnTo>
                    <a:pt x="208" y="176"/>
                  </a:lnTo>
                  <a:lnTo>
                    <a:pt x="214" y="182"/>
                  </a:lnTo>
                  <a:lnTo>
                    <a:pt x="218" y="190"/>
                  </a:lnTo>
                  <a:lnTo>
                    <a:pt x="220" y="200"/>
                  </a:lnTo>
                  <a:lnTo>
                    <a:pt x="222" y="210"/>
                  </a:lnTo>
                  <a:lnTo>
                    <a:pt x="222" y="210"/>
                  </a:lnTo>
                  <a:close/>
                  <a:moveTo>
                    <a:pt x="208" y="210"/>
                  </a:moveTo>
                  <a:lnTo>
                    <a:pt x="208" y="210"/>
                  </a:lnTo>
                  <a:lnTo>
                    <a:pt x="208" y="208"/>
                  </a:lnTo>
                  <a:lnTo>
                    <a:pt x="206" y="204"/>
                  </a:lnTo>
                  <a:lnTo>
                    <a:pt x="204" y="202"/>
                  </a:lnTo>
                  <a:lnTo>
                    <a:pt x="200" y="202"/>
                  </a:lnTo>
                  <a:lnTo>
                    <a:pt x="200" y="202"/>
                  </a:lnTo>
                  <a:lnTo>
                    <a:pt x="198" y="202"/>
                  </a:lnTo>
                  <a:lnTo>
                    <a:pt x="196" y="204"/>
                  </a:lnTo>
                  <a:lnTo>
                    <a:pt x="194" y="208"/>
                  </a:lnTo>
                  <a:lnTo>
                    <a:pt x="192" y="210"/>
                  </a:lnTo>
                  <a:lnTo>
                    <a:pt x="192" y="210"/>
                  </a:lnTo>
                  <a:lnTo>
                    <a:pt x="192" y="218"/>
                  </a:lnTo>
                  <a:lnTo>
                    <a:pt x="186" y="226"/>
                  </a:lnTo>
                  <a:lnTo>
                    <a:pt x="180" y="230"/>
                  </a:lnTo>
                  <a:lnTo>
                    <a:pt x="172" y="232"/>
                  </a:lnTo>
                  <a:lnTo>
                    <a:pt x="172" y="232"/>
                  </a:lnTo>
                  <a:lnTo>
                    <a:pt x="168" y="232"/>
                  </a:lnTo>
                  <a:lnTo>
                    <a:pt x="166" y="234"/>
                  </a:lnTo>
                  <a:lnTo>
                    <a:pt x="164" y="236"/>
                  </a:lnTo>
                  <a:lnTo>
                    <a:pt x="164" y="240"/>
                  </a:lnTo>
                  <a:lnTo>
                    <a:pt x="164" y="240"/>
                  </a:lnTo>
                  <a:lnTo>
                    <a:pt x="164" y="242"/>
                  </a:lnTo>
                  <a:lnTo>
                    <a:pt x="166" y="244"/>
                  </a:lnTo>
                  <a:lnTo>
                    <a:pt x="168" y="246"/>
                  </a:lnTo>
                  <a:lnTo>
                    <a:pt x="172" y="248"/>
                  </a:lnTo>
                  <a:lnTo>
                    <a:pt x="172" y="248"/>
                  </a:lnTo>
                  <a:lnTo>
                    <a:pt x="180" y="246"/>
                  </a:lnTo>
                  <a:lnTo>
                    <a:pt x="186" y="244"/>
                  </a:lnTo>
                  <a:lnTo>
                    <a:pt x="192" y="240"/>
                  </a:lnTo>
                  <a:lnTo>
                    <a:pt x="198" y="236"/>
                  </a:lnTo>
                  <a:lnTo>
                    <a:pt x="202" y="230"/>
                  </a:lnTo>
                  <a:lnTo>
                    <a:pt x="206" y="224"/>
                  </a:lnTo>
                  <a:lnTo>
                    <a:pt x="208" y="218"/>
                  </a:lnTo>
                  <a:lnTo>
                    <a:pt x="208" y="210"/>
                  </a:lnTo>
                  <a:lnTo>
                    <a:pt x="208" y="210"/>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74" name="Group 73">
            <a:extLst>
              <a:ext uri="{FF2B5EF4-FFF2-40B4-BE49-F238E27FC236}">
                <a16:creationId xmlns:a16="http://schemas.microsoft.com/office/drawing/2014/main" id="{78282032-18DB-4CD5-974E-61ABBD70113F}"/>
              </a:ext>
            </a:extLst>
          </p:cNvPr>
          <p:cNvGrpSpPr/>
          <p:nvPr/>
        </p:nvGrpSpPr>
        <p:grpSpPr>
          <a:xfrm>
            <a:off x="3529819" y="2704062"/>
            <a:ext cx="523325" cy="523325"/>
            <a:chOff x="2342233" y="3474401"/>
            <a:chExt cx="612000" cy="612000"/>
          </a:xfrm>
        </p:grpSpPr>
        <p:sp>
          <p:nvSpPr>
            <p:cNvPr id="75" name="Oval 74">
              <a:extLst>
                <a:ext uri="{FF2B5EF4-FFF2-40B4-BE49-F238E27FC236}">
                  <a16:creationId xmlns:a16="http://schemas.microsoft.com/office/drawing/2014/main" id="{E231234B-2CD5-4D22-A8E3-222740141EA0}"/>
                </a:ext>
              </a:extLst>
            </p:cNvPr>
            <p:cNvSpPr/>
            <p:nvPr/>
          </p:nvSpPr>
          <p:spPr bwMode="ltGray">
            <a:xfrm>
              <a:off x="2342233"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76" name="Freeform 4811">
              <a:extLst>
                <a:ext uri="{FF2B5EF4-FFF2-40B4-BE49-F238E27FC236}">
                  <a16:creationId xmlns:a16="http://schemas.microsoft.com/office/drawing/2014/main" id="{D115E449-3533-4CD3-9446-95D2F8DD8BD2}"/>
                </a:ext>
              </a:extLst>
            </p:cNvPr>
            <p:cNvSpPr>
              <a:spLocks noEditPoints="1"/>
            </p:cNvSpPr>
            <p:nvPr/>
          </p:nvSpPr>
          <p:spPr bwMode="auto">
            <a:xfrm>
              <a:off x="2455792" y="3538350"/>
              <a:ext cx="384882" cy="492747"/>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77" name="Group 76">
            <a:extLst>
              <a:ext uri="{FF2B5EF4-FFF2-40B4-BE49-F238E27FC236}">
                <a16:creationId xmlns:a16="http://schemas.microsoft.com/office/drawing/2014/main" id="{B6D4F5D6-D992-4D0E-A0B9-0BB0A5E65D7D}"/>
              </a:ext>
            </a:extLst>
          </p:cNvPr>
          <p:cNvGrpSpPr/>
          <p:nvPr/>
        </p:nvGrpSpPr>
        <p:grpSpPr>
          <a:xfrm>
            <a:off x="4277792" y="2704062"/>
            <a:ext cx="523325" cy="523325"/>
            <a:chOff x="3216946" y="3474401"/>
            <a:chExt cx="612000" cy="612000"/>
          </a:xfrm>
        </p:grpSpPr>
        <p:sp>
          <p:nvSpPr>
            <p:cNvPr id="78" name="Oval 77">
              <a:extLst>
                <a:ext uri="{FF2B5EF4-FFF2-40B4-BE49-F238E27FC236}">
                  <a16:creationId xmlns:a16="http://schemas.microsoft.com/office/drawing/2014/main" id="{62381E43-DC79-4590-8B90-F2DE8357CB6B}"/>
                </a:ext>
              </a:extLst>
            </p:cNvPr>
            <p:cNvSpPr/>
            <p:nvPr/>
          </p:nvSpPr>
          <p:spPr bwMode="ltGray">
            <a:xfrm>
              <a:off x="3216946"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79" name="Freeform 4812">
              <a:extLst>
                <a:ext uri="{FF2B5EF4-FFF2-40B4-BE49-F238E27FC236}">
                  <a16:creationId xmlns:a16="http://schemas.microsoft.com/office/drawing/2014/main" id="{A141898D-C5E3-4583-A5BC-95F3C12BA52A}"/>
                </a:ext>
              </a:extLst>
            </p:cNvPr>
            <p:cNvSpPr>
              <a:spLocks noEditPoints="1"/>
            </p:cNvSpPr>
            <p:nvPr/>
          </p:nvSpPr>
          <p:spPr bwMode="auto">
            <a:xfrm>
              <a:off x="3288830" y="3586713"/>
              <a:ext cx="468232" cy="362818"/>
            </a:xfrm>
            <a:custGeom>
              <a:avLst/>
              <a:gdLst>
                <a:gd name="T0" fmla="*/ 110 w 382"/>
                <a:gd name="T1" fmla="*/ 284 h 296"/>
                <a:gd name="T2" fmla="*/ 106 w 382"/>
                <a:gd name="T3" fmla="*/ 292 h 296"/>
                <a:gd name="T4" fmla="*/ 98 w 382"/>
                <a:gd name="T5" fmla="*/ 296 h 296"/>
                <a:gd name="T6" fmla="*/ 86 w 382"/>
                <a:gd name="T7" fmla="*/ 288 h 296"/>
                <a:gd name="T8" fmla="*/ 194 w 382"/>
                <a:gd name="T9" fmla="*/ 222 h 296"/>
                <a:gd name="T10" fmla="*/ 110 w 382"/>
                <a:gd name="T11" fmla="*/ 58 h 296"/>
                <a:gd name="T12" fmla="*/ 48 w 382"/>
                <a:gd name="T13" fmla="*/ 58 h 296"/>
                <a:gd name="T14" fmla="*/ 72 w 382"/>
                <a:gd name="T15" fmla="*/ 132 h 296"/>
                <a:gd name="T16" fmla="*/ 348 w 382"/>
                <a:gd name="T17" fmla="*/ 128 h 296"/>
                <a:gd name="T18" fmla="*/ 348 w 382"/>
                <a:gd name="T19" fmla="*/ 130 h 296"/>
                <a:gd name="T20" fmla="*/ 348 w 382"/>
                <a:gd name="T21" fmla="*/ 244 h 296"/>
                <a:gd name="T22" fmla="*/ 348 w 382"/>
                <a:gd name="T23" fmla="*/ 246 h 296"/>
                <a:gd name="T24" fmla="*/ 346 w 382"/>
                <a:gd name="T25" fmla="*/ 248 h 296"/>
                <a:gd name="T26" fmla="*/ 344 w 382"/>
                <a:gd name="T27" fmla="*/ 250 h 296"/>
                <a:gd name="T28" fmla="*/ 344 w 382"/>
                <a:gd name="T29" fmla="*/ 250 h 296"/>
                <a:gd name="T30" fmla="*/ 342 w 382"/>
                <a:gd name="T31" fmla="*/ 252 h 296"/>
                <a:gd name="T32" fmla="*/ 256 w 382"/>
                <a:gd name="T33" fmla="*/ 276 h 296"/>
                <a:gd name="T34" fmla="*/ 254 w 382"/>
                <a:gd name="T35" fmla="*/ 276 h 296"/>
                <a:gd name="T36" fmla="*/ 166 w 382"/>
                <a:gd name="T37" fmla="*/ 252 h 296"/>
                <a:gd name="T38" fmla="*/ 164 w 382"/>
                <a:gd name="T39" fmla="*/ 250 h 296"/>
                <a:gd name="T40" fmla="*/ 164 w 382"/>
                <a:gd name="T41" fmla="*/ 250 h 296"/>
                <a:gd name="T42" fmla="*/ 164 w 382"/>
                <a:gd name="T43" fmla="*/ 250 h 296"/>
                <a:gd name="T44" fmla="*/ 162 w 382"/>
                <a:gd name="T45" fmla="*/ 248 h 296"/>
                <a:gd name="T46" fmla="*/ 160 w 382"/>
                <a:gd name="T47" fmla="*/ 244 h 296"/>
                <a:gd name="T48" fmla="*/ 160 w 382"/>
                <a:gd name="T49" fmla="*/ 244 h 296"/>
                <a:gd name="T50" fmla="*/ 194 w 382"/>
                <a:gd name="T51" fmla="*/ 238 h 296"/>
                <a:gd name="T52" fmla="*/ 206 w 382"/>
                <a:gd name="T53" fmla="*/ 232 h 296"/>
                <a:gd name="T54" fmla="*/ 210 w 382"/>
                <a:gd name="T55" fmla="*/ 224 h 296"/>
                <a:gd name="T56" fmla="*/ 206 w 382"/>
                <a:gd name="T57" fmla="*/ 212 h 296"/>
                <a:gd name="T58" fmla="*/ 170 w 382"/>
                <a:gd name="T59" fmla="*/ 148 h 296"/>
                <a:gd name="T60" fmla="*/ 178 w 382"/>
                <a:gd name="T61" fmla="*/ 146 h 296"/>
                <a:gd name="T62" fmla="*/ 184 w 382"/>
                <a:gd name="T63" fmla="*/ 140 h 296"/>
                <a:gd name="T64" fmla="*/ 184 w 382"/>
                <a:gd name="T65" fmla="*/ 126 h 296"/>
                <a:gd name="T66" fmla="*/ 240 w 382"/>
                <a:gd name="T67" fmla="*/ 100 h 296"/>
                <a:gd name="T68" fmla="*/ 148 w 382"/>
                <a:gd name="T69" fmla="*/ 82 h 296"/>
                <a:gd name="T70" fmla="*/ 284 w 382"/>
                <a:gd name="T71" fmla="*/ 60 h 296"/>
                <a:gd name="T72" fmla="*/ 348 w 382"/>
                <a:gd name="T73" fmla="*/ 128 h 296"/>
                <a:gd name="T74" fmla="*/ 254 w 382"/>
                <a:gd name="T75" fmla="*/ 114 h 296"/>
                <a:gd name="T76" fmla="*/ 254 w 382"/>
                <a:gd name="T77" fmla="*/ 114 h 296"/>
                <a:gd name="T78" fmla="*/ 262 w 382"/>
                <a:gd name="T79" fmla="*/ 230 h 296"/>
                <a:gd name="T80" fmla="*/ 310 w 382"/>
                <a:gd name="T81" fmla="*/ 244 h 296"/>
                <a:gd name="T82" fmla="*/ 354 w 382"/>
                <a:gd name="T83" fmla="*/ 96 h 296"/>
                <a:gd name="T84" fmla="*/ 334 w 382"/>
                <a:gd name="T85" fmla="*/ 11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82" h="296">
                  <a:moveTo>
                    <a:pt x="86" y="238"/>
                  </a:moveTo>
                  <a:lnTo>
                    <a:pt x="110" y="238"/>
                  </a:lnTo>
                  <a:lnTo>
                    <a:pt x="110" y="284"/>
                  </a:lnTo>
                  <a:lnTo>
                    <a:pt x="110" y="284"/>
                  </a:lnTo>
                  <a:lnTo>
                    <a:pt x="108" y="288"/>
                  </a:lnTo>
                  <a:lnTo>
                    <a:pt x="106" y="292"/>
                  </a:lnTo>
                  <a:lnTo>
                    <a:pt x="102" y="294"/>
                  </a:lnTo>
                  <a:lnTo>
                    <a:pt x="98" y="296"/>
                  </a:lnTo>
                  <a:lnTo>
                    <a:pt x="98" y="296"/>
                  </a:lnTo>
                  <a:lnTo>
                    <a:pt x="92" y="294"/>
                  </a:lnTo>
                  <a:lnTo>
                    <a:pt x="88" y="292"/>
                  </a:lnTo>
                  <a:lnTo>
                    <a:pt x="86" y="288"/>
                  </a:lnTo>
                  <a:lnTo>
                    <a:pt x="86" y="284"/>
                  </a:lnTo>
                  <a:lnTo>
                    <a:pt x="86" y="238"/>
                  </a:lnTo>
                  <a:close/>
                  <a:moveTo>
                    <a:pt x="194" y="222"/>
                  </a:moveTo>
                  <a:lnTo>
                    <a:pt x="122" y="132"/>
                  </a:lnTo>
                  <a:lnTo>
                    <a:pt x="170" y="132"/>
                  </a:lnTo>
                  <a:lnTo>
                    <a:pt x="110" y="58"/>
                  </a:lnTo>
                  <a:lnTo>
                    <a:pt x="146" y="58"/>
                  </a:lnTo>
                  <a:lnTo>
                    <a:pt x="98" y="0"/>
                  </a:lnTo>
                  <a:lnTo>
                    <a:pt x="48" y="58"/>
                  </a:lnTo>
                  <a:lnTo>
                    <a:pt x="84" y="58"/>
                  </a:lnTo>
                  <a:lnTo>
                    <a:pt x="24" y="132"/>
                  </a:lnTo>
                  <a:lnTo>
                    <a:pt x="72" y="132"/>
                  </a:lnTo>
                  <a:lnTo>
                    <a:pt x="0" y="222"/>
                  </a:lnTo>
                  <a:lnTo>
                    <a:pt x="194" y="222"/>
                  </a:lnTo>
                  <a:close/>
                  <a:moveTo>
                    <a:pt x="348" y="128"/>
                  </a:moveTo>
                  <a:lnTo>
                    <a:pt x="348" y="128"/>
                  </a:lnTo>
                  <a:lnTo>
                    <a:pt x="348" y="130"/>
                  </a:lnTo>
                  <a:lnTo>
                    <a:pt x="348" y="130"/>
                  </a:lnTo>
                  <a:lnTo>
                    <a:pt x="348" y="244"/>
                  </a:lnTo>
                  <a:lnTo>
                    <a:pt x="348" y="244"/>
                  </a:lnTo>
                  <a:lnTo>
                    <a:pt x="348" y="244"/>
                  </a:lnTo>
                  <a:lnTo>
                    <a:pt x="348" y="244"/>
                  </a:lnTo>
                  <a:lnTo>
                    <a:pt x="348" y="244"/>
                  </a:lnTo>
                  <a:lnTo>
                    <a:pt x="348" y="246"/>
                  </a:lnTo>
                  <a:lnTo>
                    <a:pt x="348" y="246"/>
                  </a:lnTo>
                  <a:lnTo>
                    <a:pt x="346" y="248"/>
                  </a:lnTo>
                  <a:lnTo>
                    <a:pt x="346" y="248"/>
                  </a:lnTo>
                  <a:lnTo>
                    <a:pt x="346" y="250"/>
                  </a:lnTo>
                  <a:lnTo>
                    <a:pt x="346" y="250"/>
                  </a:lnTo>
                  <a:lnTo>
                    <a:pt x="344" y="250"/>
                  </a:lnTo>
                  <a:lnTo>
                    <a:pt x="344" y="250"/>
                  </a:lnTo>
                  <a:lnTo>
                    <a:pt x="344" y="250"/>
                  </a:lnTo>
                  <a:lnTo>
                    <a:pt x="344" y="250"/>
                  </a:lnTo>
                  <a:lnTo>
                    <a:pt x="344" y="250"/>
                  </a:lnTo>
                  <a:lnTo>
                    <a:pt x="344" y="250"/>
                  </a:lnTo>
                  <a:lnTo>
                    <a:pt x="342" y="252"/>
                  </a:lnTo>
                  <a:lnTo>
                    <a:pt x="342" y="252"/>
                  </a:lnTo>
                  <a:lnTo>
                    <a:pt x="342" y="252"/>
                  </a:lnTo>
                  <a:lnTo>
                    <a:pt x="256" y="276"/>
                  </a:lnTo>
                  <a:lnTo>
                    <a:pt x="256" y="276"/>
                  </a:lnTo>
                  <a:lnTo>
                    <a:pt x="254" y="276"/>
                  </a:lnTo>
                  <a:lnTo>
                    <a:pt x="254" y="276"/>
                  </a:lnTo>
                  <a:lnTo>
                    <a:pt x="252" y="276"/>
                  </a:lnTo>
                  <a:lnTo>
                    <a:pt x="166" y="252"/>
                  </a:lnTo>
                  <a:lnTo>
                    <a:pt x="166" y="252"/>
                  </a:lnTo>
                  <a:lnTo>
                    <a:pt x="166" y="252"/>
                  </a:lnTo>
                  <a:lnTo>
                    <a:pt x="166" y="252"/>
                  </a:lnTo>
                  <a:lnTo>
                    <a:pt x="164" y="250"/>
                  </a:lnTo>
                  <a:lnTo>
                    <a:pt x="164" y="250"/>
                  </a:lnTo>
                  <a:lnTo>
                    <a:pt x="164" y="250"/>
                  </a:lnTo>
                  <a:lnTo>
                    <a:pt x="164" y="250"/>
                  </a:lnTo>
                  <a:lnTo>
                    <a:pt x="164" y="250"/>
                  </a:lnTo>
                  <a:lnTo>
                    <a:pt x="164" y="250"/>
                  </a:lnTo>
                  <a:lnTo>
                    <a:pt x="164" y="250"/>
                  </a:lnTo>
                  <a:lnTo>
                    <a:pt x="164" y="250"/>
                  </a:lnTo>
                  <a:lnTo>
                    <a:pt x="162" y="248"/>
                  </a:lnTo>
                  <a:lnTo>
                    <a:pt x="162" y="248"/>
                  </a:lnTo>
                  <a:lnTo>
                    <a:pt x="162" y="246"/>
                  </a:lnTo>
                  <a:lnTo>
                    <a:pt x="162" y="246"/>
                  </a:lnTo>
                  <a:lnTo>
                    <a:pt x="160" y="244"/>
                  </a:lnTo>
                  <a:lnTo>
                    <a:pt x="160" y="244"/>
                  </a:lnTo>
                  <a:lnTo>
                    <a:pt x="160" y="244"/>
                  </a:lnTo>
                  <a:lnTo>
                    <a:pt x="160" y="244"/>
                  </a:lnTo>
                  <a:lnTo>
                    <a:pt x="160" y="238"/>
                  </a:lnTo>
                  <a:lnTo>
                    <a:pt x="194" y="238"/>
                  </a:lnTo>
                  <a:lnTo>
                    <a:pt x="194" y="238"/>
                  </a:lnTo>
                  <a:lnTo>
                    <a:pt x="198" y="236"/>
                  </a:lnTo>
                  <a:lnTo>
                    <a:pt x="202" y="236"/>
                  </a:lnTo>
                  <a:lnTo>
                    <a:pt x="206" y="232"/>
                  </a:lnTo>
                  <a:lnTo>
                    <a:pt x="208" y="228"/>
                  </a:lnTo>
                  <a:lnTo>
                    <a:pt x="208" y="228"/>
                  </a:lnTo>
                  <a:lnTo>
                    <a:pt x="210" y="224"/>
                  </a:lnTo>
                  <a:lnTo>
                    <a:pt x="210" y="220"/>
                  </a:lnTo>
                  <a:lnTo>
                    <a:pt x="210" y="216"/>
                  </a:lnTo>
                  <a:lnTo>
                    <a:pt x="206" y="212"/>
                  </a:lnTo>
                  <a:lnTo>
                    <a:pt x="160" y="156"/>
                  </a:lnTo>
                  <a:lnTo>
                    <a:pt x="160" y="148"/>
                  </a:lnTo>
                  <a:lnTo>
                    <a:pt x="170" y="148"/>
                  </a:lnTo>
                  <a:lnTo>
                    <a:pt x="170" y="148"/>
                  </a:lnTo>
                  <a:lnTo>
                    <a:pt x="174" y="148"/>
                  </a:lnTo>
                  <a:lnTo>
                    <a:pt x="178" y="146"/>
                  </a:lnTo>
                  <a:lnTo>
                    <a:pt x="182" y="144"/>
                  </a:lnTo>
                  <a:lnTo>
                    <a:pt x="184" y="140"/>
                  </a:lnTo>
                  <a:lnTo>
                    <a:pt x="184" y="140"/>
                  </a:lnTo>
                  <a:lnTo>
                    <a:pt x="186" y="136"/>
                  </a:lnTo>
                  <a:lnTo>
                    <a:pt x="186" y="130"/>
                  </a:lnTo>
                  <a:lnTo>
                    <a:pt x="184" y="126"/>
                  </a:lnTo>
                  <a:lnTo>
                    <a:pt x="182" y="122"/>
                  </a:lnTo>
                  <a:lnTo>
                    <a:pt x="178" y="118"/>
                  </a:lnTo>
                  <a:lnTo>
                    <a:pt x="240" y="100"/>
                  </a:lnTo>
                  <a:lnTo>
                    <a:pt x="220" y="78"/>
                  </a:lnTo>
                  <a:lnTo>
                    <a:pt x="160" y="96"/>
                  </a:lnTo>
                  <a:lnTo>
                    <a:pt x="148" y="82"/>
                  </a:lnTo>
                  <a:lnTo>
                    <a:pt x="226" y="60"/>
                  </a:lnTo>
                  <a:lnTo>
                    <a:pt x="254" y="94"/>
                  </a:lnTo>
                  <a:lnTo>
                    <a:pt x="284" y="60"/>
                  </a:lnTo>
                  <a:lnTo>
                    <a:pt x="382" y="88"/>
                  </a:lnTo>
                  <a:lnTo>
                    <a:pt x="348" y="128"/>
                  </a:lnTo>
                  <a:lnTo>
                    <a:pt x="348" y="128"/>
                  </a:lnTo>
                  <a:lnTo>
                    <a:pt x="348" y="128"/>
                  </a:lnTo>
                  <a:lnTo>
                    <a:pt x="348" y="128"/>
                  </a:lnTo>
                  <a:close/>
                  <a:moveTo>
                    <a:pt x="254" y="114"/>
                  </a:moveTo>
                  <a:lnTo>
                    <a:pt x="198" y="130"/>
                  </a:lnTo>
                  <a:lnTo>
                    <a:pt x="254" y="144"/>
                  </a:lnTo>
                  <a:lnTo>
                    <a:pt x="254" y="114"/>
                  </a:lnTo>
                  <a:close/>
                  <a:moveTo>
                    <a:pt x="332" y="140"/>
                  </a:moveTo>
                  <a:lnTo>
                    <a:pt x="262" y="160"/>
                  </a:lnTo>
                  <a:lnTo>
                    <a:pt x="262" y="230"/>
                  </a:lnTo>
                  <a:lnTo>
                    <a:pt x="262" y="258"/>
                  </a:lnTo>
                  <a:lnTo>
                    <a:pt x="310" y="244"/>
                  </a:lnTo>
                  <a:lnTo>
                    <a:pt x="310" y="244"/>
                  </a:lnTo>
                  <a:lnTo>
                    <a:pt x="332" y="238"/>
                  </a:lnTo>
                  <a:lnTo>
                    <a:pt x="332" y="140"/>
                  </a:lnTo>
                  <a:close/>
                  <a:moveTo>
                    <a:pt x="354" y="96"/>
                  </a:moveTo>
                  <a:lnTo>
                    <a:pt x="288" y="78"/>
                  </a:lnTo>
                  <a:lnTo>
                    <a:pt x="270" y="100"/>
                  </a:lnTo>
                  <a:lnTo>
                    <a:pt x="334" y="118"/>
                  </a:lnTo>
                  <a:lnTo>
                    <a:pt x="354" y="96"/>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80" name="Group 79">
            <a:extLst>
              <a:ext uri="{FF2B5EF4-FFF2-40B4-BE49-F238E27FC236}">
                <a16:creationId xmlns:a16="http://schemas.microsoft.com/office/drawing/2014/main" id="{8B5AC4D4-84D1-4C88-9DA6-0EC54C4A7824}"/>
              </a:ext>
            </a:extLst>
          </p:cNvPr>
          <p:cNvGrpSpPr/>
          <p:nvPr/>
        </p:nvGrpSpPr>
        <p:grpSpPr>
          <a:xfrm>
            <a:off x="2781846" y="2704062"/>
            <a:ext cx="523325" cy="523325"/>
            <a:chOff x="1467520" y="3474401"/>
            <a:chExt cx="612000" cy="612000"/>
          </a:xfrm>
        </p:grpSpPr>
        <p:sp>
          <p:nvSpPr>
            <p:cNvPr id="81" name="Oval 80">
              <a:extLst>
                <a:ext uri="{FF2B5EF4-FFF2-40B4-BE49-F238E27FC236}">
                  <a16:creationId xmlns:a16="http://schemas.microsoft.com/office/drawing/2014/main" id="{AA1B30C2-0D55-492E-900A-47CC7816616B}"/>
                </a:ext>
              </a:extLst>
            </p:cNvPr>
            <p:cNvSpPr/>
            <p:nvPr/>
          </p:nvSpPr>
          <p:spPr bwMode="ltGray">
            <a:xfrm>
              <a:off x="1467520"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82" name="Freeform 4813">
              <a:extLst>
                <a:ext uri="{FF2B5EF4-FFF2-40B4-BE49-F238E27FC236}">
                  <a16:creationId xmlns:a16="http://schemas.microsoft.com/office/drawing/2014/main" id="{99139E92-002D-487D-9797-907A47E0A2B6}"/>
                </a:ext>
              </a:extLst>
            </p:cNvPr>
            <p:cNvSpPr>
              <a:spLocks noEditPoints="1"/>
            </p:cNvSpPr>
            <p:nvPr/>
          </p:nvSpPr>
          <p:spPr bwMode="auto">
            <a:xfrm>
              <a:off x="1562693" y="3643764"/>
              <a:ext cx="421654" cy="274565"/>
            </a:xfrm>
            <a:custGeom>
              <a:avLst/>
              <a:gdLst>
                <a:gd name="T0" fmla="*/ 310 w 344"/>
                <a:gd name="T1" fmla="*/ 106 h 224"/>
                <a:gd name="T2" fmla="*/ 318 w 344"/>
                <a:gd name="T3" fmla="*/ 88 h 224"/>
                <a:gd name="T4" fmla="*/ 336 w 344"/>
                <a:gd name="T5" fmla="*/ 78 h 224"/>
                <a:gd name="T6" fmla="*/ 344 w 344"/>
                <a:gd name="T7" fmla="*/ 10 h 224"/>
                <a:gd name="T8" fmla="*/ 338 w 344"/>
                <a:gd name="T9" fmla="*/ 0 h 224"/>
                <a:gd name="T10" fmla="*/ 10 w 344"/>
                <a:gd name="T11" fmla="*/ 0 h 224"/>
                <a:gd name="T12" fmla="*/ 2 w 344"/>
                <a:gd name="T13" fmla="*/ 6 h 224"/>
                <a:gd name="T14" fmla="*/ 0 w 344"/>
                <a:gd name="T15" fmla="*/ 78 h 224"/>
                <a:gd name="T16" fmla="*/ 20 w 344"/>
                <a:gd name="T17" fmla="*/ 84 h 224"/>
                <a:gd name="T18" fmla="*/ 32 w 344"/>
                <a:gd name="T19" fmla="*/ 98 h 224"/>
                <a:gd name="T20" fmla="*/ 36 w 344"/>
                <a:gd name="T21" fmla="*/ 112 h 224"/>
                <a:gd name="T22" fmla="*/ 30 w 344"/>
                <a:gd name="T23" fmla="*/ 132 h 224"/>
                <a:gd name="T24" fmla="*/ 14 w 344"/>
                <a:gd name="T25" fmla="*/ 144 h 224"/>
                <a:gd name="T26" fmla="*/ 0 w 344"/>
                <a:gd name="T27" fmla="*/ 214 h 224"/>
                <a:gd name="T28" fmla="*/ 4 w 344"/>
                <a:gd name="T29" fmla="*/ 222 h 224"/>
                <a:gd name="T30" fmla="*/ 334 w 344"/>
                <a:gd name="T31" fmla="*/ 224 h 224"/>
                <a:gd name="T32" fmla="*/ 340 w 344"/>
                <a:gd name="T33" fmla="*/ 222 h 224"/>
                <a:gd name="T34" fmla="*/ 344 w 344"/>
                <a:gd name="T35" fmla="*/ 146 h 224"/>
                <a:gd name="T36" fmla="*/ 330 w 344"/>
                <a:gd name="T37" fmla="*/ 144 h 224"/>
                <a:gd name="T38" fmla="*/ 314 w 344"/>
                <a:gd name="T39" fmla="*/ 132 h 224"/>
                <a:gd name="T40" fmla="*/ 308 w 344"/>
                <a:gd name="T41" fmla="*/ 112 h 224"/>
                <a:gd name="T42" fmla="*/ 318 w 344"/>
                <a:gd name="T43" fmla="*/ 24 h 224"/>
                <a:gd name="T44" fmla="*/ 290 w 344"/>
                <a:gd name="T45" fmla="*/ 24 h 224"/>
                <a:gd name="T46" fmla="*/ 160 w 344"/>
                <a:gd name="T47" fmla="*/ 52 h 224"/>
                <a:gd name="T48" fmla="*/ 204 w 344"/>
                <a:gd name="T49" fmla="*/ 112 h 224"/>
                <a:gd name="T50" fmla="*/ 204 w 344"/>
                <a:gd name="T51" fmla="*/ 112 h 224"/>
                <a:gd name="T52" fmla="*/ 24 w 344"/>
                <a:gd name="T53" fmla="*/ 176 h 224"/>
                <a:gd name="T54" fmla="*/ 54 w 344"/>
                <a:gd name="T55" fmla="*/ 52 h 224"/>
                <a:gd name="T56" fmla="*/ 54 w 344"/>
                <a:gd name="T57" fmla="*/ 24 h 224"/>
                <a:gd name="T58" fmla="*/ 78 w 344"/>
                <a:gd name="T59" fmla="*/ 204 h 224"/>
                <a:gd name="T60" fmla="*/ 106 w 344"/>
                <a:gd name="T61" fmla="*/ 204 h 224"/>
                <a:gd name="T62" fmla="*/ 78 w 344"/>
                <a:gd name="T63" fmla="*/ 24 h 224"/>
                <a:gd name="T64" fmla="*/ 160 w 344"/>
                <a:gd name="T65" fmla="*/ 204 h 224"/>
                <a:gd name="T66" fmla="*/ 160 w 344"/>
                <a:gd name="T67" fmla="*/ 176 h 224"/>
                <a:gd name="T68" fmla="*/ 184 w 344"/>
                <a:gd name="T69" fmla="*/ 204 h 224"/>
                <a:gd name="T70" fmla="*/ 212 w 344"/>
                <a:gd name="T71" fmla="*/ 204 h 224"/>
                <a:gd name="T72" fmla="*/ 184 w 344"/>
                <a:gd name="T73" fmla="*/ 24 h 224"/>
                <a:gd name="T74" fmla="*/ 266 w 344"/>
                <a:gd name="T75" fmla="*/ 204 h 224"/>
                <a:gd name="T76" fmla="*/ 266 w 344"/>
                <a:gd name="T77" fmla="*/ 176 h 224"/>
                <a:gd name="T78" fmla="*/ 236 w 344"/>
                <a:gd name="T79" fmla="*/ 52 h 224"/>
                <a:gd name="T80" fmla="*/ 266 w 344"/>
                <a:gd name="T81" fmla="*/ 52 h 224"/>
                <a:gd name="T82" fmla="*/ 290 w 344"/>
                <a:gd name="T83" fmla="*/ 176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44" h="224">
                  <a:moveTo>
                    <a:pt x="308" y="112"/>
                  </a:moveTo>
                  <a:lnTo>
                    <a:pt x="308" y="112"/>
                  </a:lnTo>
                  <a:lnTo>
                    <a:pt x="310" y="106"/>
                  </a:lnTo>
                  <a:lnTo>
                    <a:pt x="312" y="98"/>
                  </a:lnTo>
                  <a:lnTo>
                    <a:pt x="314" y="92"/>
                  </a:lnTo>
                  <a:lnTo>
                    <a:pt x="318" y="88"/>
                  </a:lnTo>
                  <a:lnTo>
                    <a:pt x="324" y="84"/>
                  </a:lnTo>
                  <a:lnTo>
                    <a:pt x="330" y="80"/>
                  </a:lnTo>
                  <a:lnTo>
                    <a:pt x="336" y="78"/>
                  </a:lnTo>
                  <a:lnTo>
                    <a:pt x="344" y="78"/>
                  </a:lnTo>
                  <a:lnTo>
                    <a:pt x="344" y="10"/>
                  </a:lnTo>
                  <a:lnTo>
                    <a:pt x="344" y="10"/>
                  </a:lnTo>
                  <a:lnTo>
                    <a:pt x="342" y="6"/>
                  </a:lnTo>
                  <a:lnTo>
                    <a:pt x="340" y="2"/>
                  </a:lnTo>
                  <a:lnTo>
                    <a:pt x="338" y="0"/>
                  </a:lnTo>
                  <a:lnTo>
                    <a:pt x="334" y="0"/>
                  </a:lnTo>
                  <a:lnTo>
                    <a:pt x="10" y="0"/>
                  </a:lnTo>
                  <a:lnTo>
                    <a:pt x="10" y="0"/>
                  </a:lnTo>
                  <a:lnTo>
                    <a:pt x="6" y="0"/>
                  </a:lnTo>
                  <a:lnTo>
                    <a:pt x="4" y="2"/>
                  </a:lnTo>
                  <a:lnTo>
                    <a:pt x="2" y="6"/>
                  </a:lnTo>
                  <a:lnTo>
                    <a:pt x="0" y="10"/>
                  </a:lnTo>
                  <a:lnTo>
                    <a:pt x="0" y="78"/>
                  </a:lnTo>
                  <a:lnTo>
                    <a:pt x="0" y="78"/>
                  </a:lnTo>
                  <a:lnTo>
                    <a:pt x="8" y="78"/>
                  </a:lnTo>
                  <a:lnTo>
                    <a:pt x="14" y="80"/>
                  </a:lnTo>
                  <a:lnTo>
                    <a:pt x="20" y="84"/>
                  </a:lnTo>
                  <a:lnTo>
                    <a:pt x="26" y="88"/>
                  </a:lnTo>
                  <a:lnTo>
                    <a:pt x="30" y="92"/>
                  </a:lnTo>
                  <a:lnTo>
                    <a:pt x="32" y="98"/>
                  </a:lnTo>
                  <a:lnTo>
                    <a:pt x="34" y="106"/>
                  </a:lnTo>
                  <a:lnTo>
                    <a:pt x="36" y="112"/>
                  </a:lnTo>
                  <a:lnTo>
                    <a:pt x="36" y="112"/>
                  </a:lnTo>
                  <a:lnTo>
                    <a:pt x="34" y="120"/>
                  </a:lnTo>
                  <a:lnTo>
                    <a:pt x="32" y="126"/>
                  </a:lnTo>
                  <a:lnTo>
                    <a:pt x="30" y="132"/>
                  </a:lnTo>
                  <a:lnTo>
                    <a:pt x="26" y="136"/>
                  </a:lnTo>
                  <a:lnTo>
                    <a:pt x="20" y="140"/>
                  </a:lnTo>
                  <a:lnTo>
                    <a:pt x="14" y="144"/>
                  </a:lnTo>
                  <a:lnTo>
                    <a:pt x="8" y="146"/>
                  </a:lnTo>
                  <a:lnTo>
                    <a:pt x="0" y="146"/>
                  </a:lnTo>
                  <a:lnTo>
                    <a:pt x="0" y="214"/>
                  </a:lnTo>
                  <a:lnTo>
                    <a:pt x="0" y="214"/>
                  </a:lnTo>
                  <a:lnTo>
                    <a:pt x="2" y="218"/>
                  </a:lnTo>
                  <a:lnTo>
                    <a:pt x="4" y="222"/>
                  </a:lnTo>
                  <a:lnTo>
                    <a:pt x="6" y="224"/>
                  </a:lnTo>
                  <a:lnTo>
                    <a:pt x="10" y="224"/>
                  </a:lnTo>
                  <a:lnTo>
                    <a:pt x="334" y="224"/>
                  </a:lnTo>
                  <a:lnTo>
                    <a:pt x="334" y="224"/>
                  </a:lnTo>
                  <a:lnTo>
                    <a:pt x="338" y="224"/>
                  </a:lnTo>
                  <a:lnTo>
                    <a:pt x="340" y="222"/>
                  </a:lnTo>
                  <a:lnTo>
                    <a:pt x="342" y="218"/>
                  </a:lnTo>
                  <a:lnTo>
                    <a:pt x="344" y="214"/>
                  </a:lnTo>
                  <a:lnTo>
                    <a:pt x="344" y="146"/>
                  </a:lnTo>
                  <a:lnTo>
                    <a:pt x="344" y="146"/>
                  </a:lnTo>
                  <a:lnTo>
                    <a:pt x="336" y="146"/>
                  </a:lnTo>
                  <a:lnTo>
                    <a:pt x="330" y="144"/>
                  </a:lnTo>
                  <a:lnTo>
                    <a:pt x="324" y="140"/>
                  </a:lnTo>
                  <a:lnTo>
                    <a:pt x="318" y="136"/>
                  </a:lnTo>
                  <a:lnTo>
                    <a:pt x="314" y="132"/>
                  </a:lnTo>
                  <a:lnTo>
                    <a:pt x="312" y="126"/>
                  </a:lnTo>
                  <a:lnTo>
                    <a:pt x="310" y="120"/>
                  </a:lnTo>
                  <a:lnTo>
                    <a:pt x="308" y="112"/>
                  </a:lnTo>
                  <a:lnTo>
                    <a:pt x="308" y="112"/>
                  </a:lnTo>
                  <a:close/>
                  <a:moveTo>
                    <a:pt x="290" y="24"/>
                  </a:moveTo>
                  <a:lnTo>
                    <a:pt x="318" y="24"/>
                  </a:lnTo>
                  <a:lnTo>
                    <a:pt x="318" y="52"/>
                  </a:lnTo>
                  <a:lnTo>
                    <a:pt x="290" y="52"/>
                  </a:lnTo>
                  <a:lnTo>
                    <a:pt x="290" y="24"/>
                  </a:lnTo>
                  <a:close/>
                  <a:moveTo>
                    <a:pt x="130" y="24"/>
                  </a:moveTo>
                  <a:lnTo>
                    <a:pt x="160" y="24"/>
                  </a:lnTo>
                  <a:lnTo>
                    <a:pt x="160" y="52"/>
                  </a:lnTo>
                  <a:lnTo>
                    <a:pt x="130" y="52"/>
                  </a:lnTo>
                  <a:lnTo>
                    <a:pt x="130" y="24"/>
                  </a:lnTo>
                  <a:close/>
                  <a:moveTo>
                    <a:pt x="204" y="112"/>
                  </a:moveTo>
                  <a:lnTo>
                    <a:pt x="154" y="146"/>
                  </a:lnTo>
                  <a:lnTo>
                    <a:pt x="154" y="78"/>
                  </a:lnTo>
                  <a:lnTo>
                    <a:pt x="204" y="112"/>
                  </a:lnTo>
                  <a:close/>
                  <a:moveTo>
                    <a:pt x="54" y="204"/>
                  </a:moveTo>
                  <a:lnTo>
                    <a:pt x="24" y="204"/>
                  </a:lnTo>
                  <a:lnTo>
                    <a:pt x="24" y="176"/>
                  </a:lnTo>
                  <a:lnTo>
                    <a:pt x="54" y="176"/>
                  </a:lnTo>
                  <a:lnTo>
                    <a:pt x="54" y="204"/>
                  </a:lnTo>
                  <a:close/>
                  <a:moveTo>
                    <a:pt x="54" y="52"/>
                  </a:moveTo>
                  <a:lnTo>
                    <a:pt x="24" y="52"/>
                  </a:lnTo>
                  <a:lnTo>
                    <a:pt x="24" y="24"/>
                  </a:lnTo>
                  <a:lnTo>
                    <a:pt x="54" y="24"/>
                  </a:lnTo>
                  <a:lnTo>
                    <a:pt x="54" y="52"/>
                  </a:lnTo>
                  <a:close/>
                  <a:moveTo>
                    <a:pt x="106" y="204"/>
                  </a:moveTo>
                  <a:lnTo>
                    <a:pt x="78" y="204"/>
                  </a:lnTo>
                  <a:lnTo>
                    <a:pt x="78" y="176"/>
                  </a:lnTo>
                  <a:lnTo>
                    <a:pt x="106" y="176"/>
                  </a:lnTo>
                  <a:lnTo>
                    <a:pt x="106" y="204"/>
                  </a:lnTo>
                  <a:close/>
                  <a:moveTo>
                    <a:pt x="106" y="52"/>
                  </a:moveTo>
                  <a:lnTo>
                    <a:pt x="78" y="52"/>
                  </a:lnTo>
                  <a:lnTo>
                    <a:pt x="78" y="24"/>
                  </a:lnTo>
                  <a:lnTo>
                    <a:pt x="106" y="24"/>
                  </a:lnTo>
                  <a:lnTo>
                    <a:pt x="106" y="52"/>
                  </a:lnTo>
                  <a:close/>
                  <a:moveTo>
                    <a:pt x="160" y="204"/>
                  </a:moveTo>
                  <a:lnTo>
                    <a:pt x="130" y="204"/>
                  </a:lnTo>
                  <a:lnTo>
                    <a:pt x="130" y="176"/>
                  </a:lnTo>
                  <a:lnTo>
                    <a:pt x="160" y="176"/>
                  </a:lnTo>
                  <a:lnTo>
                    <a:pt x="160" y="204"/>
                  </a:lnTo>
                  <a:close/>
                  <a:moveTo>
                    <a:pt x="212" y="204"/>
                  </a:moveTo>
                  <a:lnTo>
                    <a:pt x="184" y="204"/>
                  </a:lnTo>
                  <a:lnTo>
                    <a:pt x="184" y="176"/>
                  </a:lnTo>
                  <a:lnTo>
                    <a:pt x="212" y="176"/>
                  </a:lnTo>
                  <a:lnTo>
                    <a:pt x="212" y="204"/>
                  </a:lnTo>
                  <a:close/>
                  <a:moveTo>
                    <a:pt x="212" y="52"/>
                  </a:moveTo>
                  <a:lnTo>
                    <a:pt x="184" y="52"/>
                  </a:lnTo>
                  <a:lnTo>
                    <a:pt x="184" y="24"/>
                  </a:lnTo>
                  <a:lnTo>
                    <a:pt x="212" y="24"/>
                  </a:lnTo>
                  <a:lnTo>
                    <a:pt x="212" y="52"/>
                  </a:lnTo>
                  <a:close/>
                  <a:moveTo>
                    <a:pt x="266" y="204"/>
                  </a:moveTo>
                  <a:lnTo>
                    <a:pt x="236" y="204"/>
                  </a:lnTo>
                  <a:lnTo>
                    <a:pt x="236" y="176"/>
                  </a:lnTo>
                  <a:lnTo>
                    <a:pt x="266" y="176"/>
                  </a:lnTo>
                  <a:lnTo>
                    <a:pt x="266" y="204"/>
                  </a:lnTo>
                  <a:close/>
                  <a:moveTo>
                    <a:pt x="266" y="52"/>
                  </a:moveTo>
                  <a:lnTo>
                    <a:pt x="236" y="52"/>
                  </a:lnTo>
                  <a:lnTo>
                    <a:pt x="236" y="24"/>
                  </a:lnTo>
                  <a:lnTo>
                    <a:pt x="266" y="24"/>
                  </a:lnTo>
                  <a:lnTo>
                    <a:pt x="266" y="52"/>
                  </a:lnTo>
                  <a:close/>
                  <a:moveTo>
                    <a:pt x="318" y="204"/>
                  </a:moveTo>
                  <a:lnTo>
                    <a:pt x="290" y="204"/>
                  </a:lnTo>
                  <a:lnTo>
                    <a:pt x="290" y="176"/>
                  </a:lnTo>
                  <a:lnTo>
                    <a:pt x="318" y="176"/>
                  </a:lnTo>
                  <a:lnTo>
                    <a:pt x="318" y="204"/>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83" name="Group 82">
            <a:extLst>
              <a:ext uri="{FF2B5EF4-FFF2-40B4-BE49-F238E27FC236}">
                <a16:creationId xmlns:a16="http://schemas.microsoft.com/office/drawing/2014/main" id="{DDDF2837-65F6-48CA-B2D2-EA25914B2F32}"/>
              </a:ext>
            </a:extLst>
          </p:cNvPr>
          <p:cNvGrpSpPr/>
          <p:nvPr/>
        </p:nvGrpSpPr>
        <p:grpSpPr>
          <a:xfrm>
            <a:off x="5025765" y="2704062"/>
            <a:ext cx="523325" cy="523325"/>
            <a:chOff x="4091659" y="3474401"/>
            <a:chExt cx="612000" cy="612000"/>
          </a:xfrm>
        </p:grpSpPr>
        <p:sp>
          <p:nvSpPr>
            <p:cNvPr id="84" name="Oval 83">
              <a:extLst>
                <a:ext uri="{FF2B5EF4-FFF2-40B4-BE49-F238E27FC236}">
                  <a16:creationId xmlns:a16="http://schemas.microsoft.com/office/drawing/2014/main" id="{542E9F2C-C93D-4BDB-A9B4-24EA2E41D9F8}"/>
                </a:ext>
              </a:extLst>
            </p:cNvPr>
            <p:cNvSpPr/>
            <p:nvPr/>
          </p:nvSpPr>
          <p:spPr bwMode="ltGray">
            <a:xfrm>
              <a:off x="4091659"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85" name="Freeform 4815">
              <a:extLst>
                <a:ext uri="{FF2B5EF4-FFF2-40B4-BE49-F238E27FC236}">
                  <a16:creationId xmlns:a16="http://schemas.microsoft.com/office/drawing/2014/main" id="{5282473C-E9C2-409D-A53B-F967950D3188}"/>
                </a:ext>
              </a:extLst>
            </p:cNvPr>
            <p:cNvSpPr>
              <a:spLocks noEditPoints="1"/>
            </p:cNvSpPr>
            <p:nvPr/>
          </p:nvSpPr>
          <p:spPr bwMode="auto">
            <a:xfrm>
              <a:off x="4169672" y="3568886"/>
              <a:ext cx="455975" cy="468232"/>
            </a:xfrm>
            <a:custGeom>
              <a:avLst/>
              <a:gdLst>
                <a:gd name="T0" fmla="*/ 106 w 372"/>
                <a:gd name="T1" fmla="*/ 158 h 382"/>
                <a:gd name="T2" fmla="*/ 128 w 372"/>
                <a:gd name="T3" fmla="*/ 126 h 382"/>
                <a:gd name="T4" fmla="*/ 170 w 372"/>
                <a:gd name="T5" fmla="*/ 150 h 382"/>
                <a:gd name="T6" fmla="*/ 154 w 372"/>
                <a:gd name="T7" fmla="*/ 158 h 382"/>
                <a:gd name="T8" fmla="*/ 132 w 372"/>
                <a:gd name="T9" fmla="*/ 146 h 382"/>
                <a:gd name="T10" fmla="*/ 148 w 372"/>
                <a:gd name="T11" fmla="*/ 166 h 382"/>
                <a:gd name="T12" fmla="*/ 238 w 372"/>
                <a:gd name="T13" fmla="*/ 202 h 382"/>
                <a:gd name="T14" fmla="*/ 234 w 372"/>
                <a:gd name="T15" fmla="*/ 192 h 382"/>
                <a:gd name="T16" fmla="*/ 218 w 372"/>
                <a:gd name="T17" fmla="*/ 206 h 382"/>
                <a:gd name="T18" fmla="*/ 156 w 372"/>
                <a:gd name="T19" fmla="*/ 238 h 382"/>
                <a:gd name="T20" fmla="*/ 148 w 372"/>
                <a:gd name="T21" fmla="*/ 268 h 382"/>
                <a:gd name="T22" fmla="*/ 166 w 372"/>
                <a:gd name="T23" fmla="*/ 256 h 382"/>
                <a:gd name="T24" fmla="*/ 214 w 372"/>
                <a:gd name="T25" fmla="*/ 236 h 382"/>
                <a:gd name="T26" fmla="*/ 238 w 372"/>
                <a:gd name="T27" fmla="*/ 202 h 382"/>
                <a:gd name="T28" fmla="*/ 212 w 372"/>
                <a:gd name="T29" fmla="*/ 40 h 382"/>
                <a:gd name="T30" fmla="*/ 186 w 372"/>
                <a:gd name="T31" fmla="*/ 0 h 382"/>
                <a:gd name="T32" fmla="*/ 166 w 372"/>
                <a:gd name="T33" fmla="*/ 48 h 382"/>
                <a:gd name="T34" fmla="*/ 160 w 372"/>
                <a:gd name="T35" fmla="*/ 114 h 382"/>
                <a:gd name="T36" fmla="*/ 146 w 372"/>
                <a:gd name="T37" fmla="*/ 66 h 382"/>
                <a:gd name="T38" fmla="*/ 4 w 372"/>
                <a:gd name="T39" fmla="*/ 38 h 382"/>
                <a:gd name="T40" fmla="*/ 8 w 372"/>
                <a:gd name="T41" fmla="*/ 66 h 382"/>
                <a:gd name="T42" fmla="*/ 58 w 372"/>
                <a:gd name="T43" fmla="*/ 94 h 382"/>
                <a:gd name="T44" fmla="*/ 126 w 372"/>
                <a:gd name="T45" fmla="*/ 114 h 382"/>
                <a:gd name="T46" fmla="*/ 178 w 372"/>
                <a:gd name="T47" fmla="*/ 146 h 382"/>
                <a:gd name="T48" fmla="*/ 196 w 372"/>
                <a:gd name="T49" fmla="*/ 140 h 382"/>
                <a:gd name="T50" fmla="*/ 186 w 372"/>
                <a:gd name="T51" fmla="*/ 68 h 382"/>
                <a:gd name="T52" fmla="*/ 244 w 372"/>
                <a:gd name="T53" fmla="*/ 38 h 382"/>
                <a:gd name="T54" fmla="*/ 226 w 372"/>
                <a:gd name="T55" fmla="*/ 66 h 382"/>
                <a:gd name="T56" fmla="*/ 212 w 372"/>
                <a:gd name="T57" fmla="*/ 114 h 382"/>
                <a:gd name="T58" fmla="*/ 258 w 372"/>
                <a:gd name="T59" fmla="*/ 102 h 382"/>
                <a:gd name="T60" fmla="*/ 340 w 372"/>
                <a:gd name="T61" fmla="*/ 76 h 382"/>
                <a:gd name="T62" fmla="*/ 372 w 372"/>
                <a:gd name="T63" fmla="*/ 44 h 382"/>
                <a:gd name="T64" fmla="*/ 232 w 372"/>
                <a:gd name="T65" fmla="*/ 126 h 382"/>
                <a:gd name="T66" fmla="*/ 202 w 372"/>
                <a:gd name="T67" fmla="*/ 154 h 382"/>
                <a:gd name="T68" fmla="*/ 220 w 372"/>
                <a:gd name="T69" fmla="*/ 156 h 382"/>
                <a:gd name="T70" fmla="*/ 244 w 372"/>
                <a:gd name="T71" fmla="*/ 148 h 382"/>
                <a:gd name="T72" fmla="*/ 196 w 372"/>
                <a:gd name="T73" fmla="*/ 170 h 382"/>
                <a:gd name="T74" fmla="*/ 144 w 372"/>
                <a:gd name="T75" fmla="*/ 186 h 382"/>
                <a:gd name="T76" fmla="*/ 136 w 372"/>
                <a:gd name="T77" fmla="*/ 218 h 382"/>
                <a:gd name="T78" fmla="*/ 164 w 372"/>
                <a:gd name="T79" fmla="*/ 216 h 382"/>
                <a:gd name="T80" fmla="*/ 156 w 372"/>
                <a:gd name="T81" fmla="*/ 202 h 382"/>
                <a:gd name="T82" fmla="*/ 222 w 372"/>
                <a:gd name="T83" fmla="*/ 186 h 382"/>
                <a:gd name="T84" fmla="*/ 266 w 372"/>
                <a:gd name="T85" fmla="*/ 150 h 382"/>
                <a:gd name="T86" fmla="*/ 214 w 372"/>
                <a:gd name="T87" fmla="*/ 286 h 382"/>
                <a:gd name="T88" fmla="*/ 198 w 372"/>
                <a:gd name="T89" fmla="*/ 298 h 382"/>
                <a:gd name="T90" fmla="*/ 190 w 372"/>
                <a:gd name="T91" fmla="*/ 310 h 382"/>
                <a:gd name="T92" fmla="*/ 178 w 372"/>
                <a:gd name="T93" fmla="*/ 380 h 382"/>
                <a:gd name="T94" fmla="*/ 196 w 372"/>
                <a:gd name="T95" fmla="*/ 372 h 382"/>
                <a:gd name="T96" fmla="*/ 216 w 372"/>
                <a:gd name="T97" fmla="*/ 306 h 382"/>
                <a:gd name="T98" fmla="*/ 214 w 372"/>
                <a:gd name="T99" fmla="*/ 286 h 382"/>
                <a:gd name="T100" fmla="*/ 206 w 372"/>
                <a:gd name="T101" fmla="*/ 258 h 382"/>
                <a:gd name="T102" fmla="*/ 160 w 372"/>
                <a:gd name="T103" fmla="*/ 284 h 382"/>
                <a:gd name="T104" fmla="*/ 154 w 372"/>
                <a:gd name="T105" fmla="*/ 300 h 382"/>
                <a:gd name="T106" fmla="*/ 160 w 372"/>
                <a:gd name="T107" fmla="*/ 316 h 382"/>
                <a:gd name="T108" fmla="*/ 174 w 372"/>
                <a:gd name="T109" fmla="*/ 316 h 382"/>
                <a:gd name="T110" fmla="*/ 174 w 372"/>
                <a:gd name="T111" fmla="*/ 298 h 382"/>
                <a:gd name="T112" fmla="*/ 222 w 372"/>
                <a:gd name="T113" fmla="*/ 268 h 382"/>
                <a:gd name="T114" fmla="*/ 210 w 372"/>
                <a:gd name="T115" fmla="*/ 246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72" h="382">
                  <a:moveTo>
                    <a:pt x="136" y="182"/>
                  </a:moveTo>
                  <a:lnTo>
                    <a:pt x="136" y="182"/>
                  </a:lnTo>
                  <a:lnTo>
                    <a:pt x="124" y="178"/>
                  </a:lnTo>
                  <a:lnTo>
                    <a:pt x="114" y="172"/>
                  </a:lnTo>
                  <a:lnTo>
                    <a:pt x="110" y="168"/>
                  </a:lnTo>
                  <a:lnTo>
                    <a:pt x="108" y="162"/>
                  </a:lnTo>
                  <a:lnTo>
                    <a:pt x="106" y="158"/>
                  </a:lnTo>
                  <a:lnTo>
                    <a:pt x="106" y="150"/>
                  </a:lnTo>
                  <a:lnTo>
                    <a:pt x="106" y="150"/>
                  </a:lnTo>
                  <a:lnTo>
                    <a:pt x="108" y="142"/>
                  </a:lnTo>
                  <a:lnTo>
                    <a:pt x="114" y="136"/>
                  </a:lnTo>
                  <a:lnTo>
                    <a:pt x="120" y="130"/>
                  </a:lnTo>
                  <a:lnTo>
                    <a:pt x="128" y="126"/>
                  </a:lnTo>
                  <a:lnTo>
                    <a:pt x="128" y="126"/>
                  </a:lnTo>
                  <a:lnTo>
                    <a:pt x="140" y="126"/>
                  </a:lnTo>
                  <a:lnTo>
                    <a:pt x="150" y="130"/>
                  </a:lnTo>
                  <a:lnTo>
                    <a:pt x="160" y="136"/>
                  </a:lnTo>
                  <a:lnTo>
                    <a:pt x="166" y="140"/>
                  </a:lnTo>
                  <a:lnTo>
                    <a:pt x="170" y="146"/>
                  </a:lnTo>
                  <a:lnTo>
                    <a:pt x="170" y="146"/>
                  </a:lnTo>
                  <a:lnTo>
                    <a:pt x="170" y="150"/>
                  </a:lnTo>
                  <a:lnTo>
                    <a:pt x="170" y="154"/>
                  </a:lnTo>
                  <a:lnTo>
                    <a:pt x="168" y="158"/>
                  </a:lnTo>
                  <a:lnTo>
                    <a:pt x="166" y="160"/>
                  </a:lnTo>
                  <a:lnTo>
                    <a:pt x="166" y="160"/>
                  </a:lnTo>
                  <a:lnTo>
                    <a:pt x="162" y="162"/>
                  </a:lnTo>
                  <a:lnTo>
                    <a:pt x="158" y="160"/>
                  </a:lnTo>
                  <a:lnTo>
                    <a:pt x="154" y="158"/>
                  </a:lnTo>
                  <a:lnTo>
                    <a:pt x="152" y="156"/>
                  </a:lnTo>
                  <a:lnTo>
                    <a:pt x="152" y="156"/>
                  </a:lnTo>
                  <a:lnTo>
                    <a:pt x="148" y="150"/>
                  </a:lnTo>
                  <a:lnTo>
                    <a:pt x="142" y="148"/>
                  </a:lnTo>
                  <a:lnTo>
                    <a:pt x="138" y="146"/>
                  </a:lnTo>
                  <a:lnTo>
                    <a:pt x="132" y="146"/>
                  </a:lnTo>
                  <a:lnTo>
                    <a:pt x="132" y="146"/>
                  </a:lnTo>
                  <a:lnTo>
                    <a:pt x="128" y="148"/>
                  </a:lnTo>
                  <a:lnTo>
                    <a:pt x="126" y="152"/>
                  </a:lnTo>
                  <a:lnTo>
                    <a:pt x="126" y="152"/>
                  </a:lnTo>
                  <a:lnTo>
                    <a:pt x="128" y="156"/>
                  </a:lnTo>
                  <a:lnTo>
                    <a:pt x="130" y="158"/>
                  </a:lnTo>
                  <a:lnTo>
                    <a:pt x="136" y="162"/>
                  </a:lnTo>
                  <a:lnTo>
                    <a:pt x="148" y="166"/>
                  </a:lnTo>
                  <a:lnTo>
                    <a:pt x="162" y="168"/>
                  </a:lnTo>
                  <a:lnTo>
                    <a:pt x="162" y="168"/>
                  </a:lnTo>
                  <a:lnTo>
                    <a:pt x="146" y="174"/>
                  </a:lnTo>
                  <a:lnTo>
                    <a:pt x="136" y="182"/>
                  </a:lnTo>
                  <a:lnTo>
                    <a:pt x="136" y="182"/>
                  </a:lnTo>
                  <a:close/>
                  <a:moveTo>
                    <a:pt x="238" y="202"/>
                  </a:moveTo>
                  <a:lnTo>
                    <a:pt x="238" y="202"/>
                  </a:lnTo>
                  <a:lnTo>
                    <a:pt x="238" y="202"/>
                  </a:lnTo>
                  <a:lnTo>
                    <a:pt x="238" y="202"/>
                  </a:lnTo>
                  <a:lnTo>
                    <a:pt x="238" y="202"/>
                  </a:lnTo>
                  <a:lnTo>
                    <a:pt x="238" y="202"/>
                  </a:lnTo>
                  <a:lnTo>
                    <a:pt x="238" y="202"/>
                  </a:lnTo>
                  <a:lnTo>
                    <a:pt x="238" y="198"/>
                  </a:lnTo>
                  <a:lnTo>
                    <a:pt x="234" y="192"/>
                  </a:lnTo>
                  <a:lnTo>
                    <a:pt x="234" y="192"/>
                  </a:lnTo>
                  <a:lnTo>
                    <a:pt x="208" y="196"/>
                  </a:lnTo>
                  <a:lnTo>
                    <a:pt x="208" y="196"/>
                  </a:lnTo>
                  <a:lnTo>
                    <a:pt x="216" y="202"/>
                  </a:lnTo>
                  <a:lnTo>
                    <a:pt x="218" y="206"/>
                  </a:lnTo>
                  <a:lnTo>
                    <a:pt x="218" y="206"/>
                  </a:lnTo>
                  <a:lnTo>
                    <a:pt x="218" y="206"/>
                  </a:lnTo>
                  <a:lnTo>
                    <a:pt x="218" y="210"/>
                  </a:lnTo>
                  <a:lnTo>
                    <a:pt x="212" y="214"/>
                  </a:lnTo>
                  <a:lnTo>
                    <a:pt x="202" y="220"/>
                  </a:lnTo>
                  <a:lnTo>
                    <a:pt x="188" y="224"/>
                  </a:lnTo>
                  <a:lnTo>
                    <a:pt x="188" y="224"/>
                  </a:lnTo>
                  <a:lnTo>
                    <a:pt x="168" y="230"/>
                  </a:lnTo>
                  <a:lnTo>
                    <a:pt x="156" y="238"/>
                  </a:lnTo>
                  <a:lnTo>
                    <a:pt x="150" y="242"/>
                  </a:lnTo>
                  <a:lnTo>
                    <a:pt x="148" y="246"/>
                  </a:lnTo>
                  <a:lnTo>
                    <a:pt x="146" y="252"/>
                  </a:lnTo>
                  <a:lnTo>
                    <a:pt x="146" y="258"/>
                  </a:lnTo>
                  <a:lnTo>
                    <a:pt x="146" y="258"/>
                  </a:lnTo>
                  <a:lnTo>
                    <a:pt x="146" y="262"/>
                  </a:lnTo>
                  <a:lnTo>
                    <a:pt x="148" y="268"/>
                  </a:lnTo>
                  <a:lnTo>
                    <a:pt x="156" y="276"/>
                  </a:lnTo>
                  <a:lnTo>
                    <a:pt x="156" y="276"/>
                  </a:lnTo>
                  <a:lnTo>
                    <a:pt x="164" y="270"/>
                  </a:lnTo>
                  <a:lnTo>
                    <a:pt x="174" y="264"/>
                  </a:lnTo>
                  <a:lnTo>
                    <a:pt x="174" y="264"/>
                  </a:lnTo>
                  <a:lnTo>
                    <a:pt x="168" y="260"/>
                  </a:lnTo>
                  <a:lnTo>
                    <a:pt x="166" y="256"/>
                  </a:lnTo>
                  <a:lnTo>
                    <a:pt x="166" y="256"/>
                  </a:lnTo>
                  <a:lnTo>
                    <a:pt x="166" y="254"/>
                  </a:lnTo>
                  <a:lnTo>
                    <a:pt x="170" y="252"/>
                  </a:lnTo>
                  <a:lnTo>
                    <a:pt x="178" y="248"/>
                  </a:lnTo>
                  <a:lnTo>
                    <a:pt x="192" y="244"/>
                  </a:lnTo>
                  <a:lnTo>
                    <a:pt x="192" y="244"/>
                  </a:lnTo>
                  <a:lnTo>
                    <a:pt x="214" y="236"/>
                  </a:lnTo>
                  <a:lnTo>
                    <a:pt x="222" y="232"/>
                  </a:lnTo>
                  <a:lnTo>
                    <a:pt x="228" y="226"/>
                  </a:lnTo>
                  <a:lnTo>
                    <a:pt x="234" y="222"/>
                  </a:lnTo>
                  <a:lnTo>
                    <a:pt x="238" y="216"/>
                  </a:lnTo>
                  <a:lnTo>
                    <a:pt x="238" y="208"/>
                  </a:lnTo>
                  <a:lnTo>
                    <a:pt x="238" y="202"/>
                  </a:lnTo>
                  <a:lnTo>
                    <a:pt x="238" y="202"/>
                  </a:lnTo>
                  <a:lnTo>
                    <a:pt x="238" y="202"/>
                  </a:lnTo>
                  <a:lnTo>
                    <a:pt x="238" y="202"/>
                  </a:lnTo>
                  <a:close/>
                  <a:moveTo>
                    <a:pt x="186" y="58"/>
                  </a:moveTo>
                  <a:lnTo>
                    <a:pt x="186" y="58"/>
                  </a:lnTo>
                  <a:lnTo>
                    <a:pt x="198" y="54"/>
                  </a:lnTo>
                  <a:lnTo>
                    <a:pt x="206" y="48"/>
                  </a:lnTo>
                  <a:lnTo>
                    <a:pt x="212" y="40"/>
                  </a:lnTo>
                  <a:lnTo>
                    <a:pt x="214" y="28"/>
                  </a:lnTo>
                  <a:lnTo>
                    <a:pt x="214" y="28"/>
                  </a:lnTo>
                  <a:lnTo>
                    <a:pt x="212" y="18"/>
                  </a:lnTo>
                  <a:lnTo>
                    <a:pt x="206" y="8"/>
                  </a:lnTo>
                  <a:lnTo>
                    <a:pt x="198" y="2"/>
                  </a:lnTo>
                  <a:lnTo>
                    <a:pt x="186" y="0"/>
                  </a:lnTo>
                  <a:lnTo>
                    <a:pt x="186" y="0"/>
                  </a:lnTo>
                  <a:lnTo>
                    <a:pt x="174" y="2"/>
                  </a:lnTo>
                  <a:lnTo>
                    <a:pt x="166" y="8"/>
                  </a:lnTo>
                  <a:lnTo>
                    <a:pt x="160" y="18"/>
                  </a:lnTo>
                  <a:lnTo>
                    <a:pt x="158" y="28"/>
                  </a:lnTo>
                  <a:lnTo>
                    <a:pt x="158" y="28"/>
                  </a:lnTo>
                  <a:lnTo>
                    <a:pt x="160" y="40"/>
                  </a:lnTo>
                  <a:lnTo>
                    <a:pt x="166" y="48"/>
                  </a:lnTo>
                  <a:lnTo>
                    <a:pt x="174" y="54"/>
                  </a:lnTo>
                  <a:lnTo>
                    <a:pt x="186" y="58"/>
                  </a:lnTo>
                  <a:lnTo>
                    <a:pt x="186" y="58"/>
                  </a:lnTo>
                  <a:close/>
                  <a:moveTo>
                    <a:pt x="134" y="116"/>
                  </a:moveTo>
                  <a:lnTo>
                    <a:pt x="156" y="116"/>
                  </a:lnTo>
                  <a:lnTo>
                    <a:pt x="156" y="116"/>
                  </a:lnTo>
                  <a:lnTo>
                    <a:pt x="160" y="114"/>
                  </a:lnTo>
                  <a:lnTo>
                    <a:pt x="162" y="112"/>
                  </a:lnTo>
                  <a:lnTo>
                    <a:pt x="162" y="72"/>
                  </a:lnTo>
                  <a:lnTo>
                    <a:pt x="162" y="72"/>
                  </a:lnTo>
                  <a:lnTo>
                    <a:pt x="160" y="70"/>
                  </a:lnTo>
                  <a:lnTo>
                    <a:pt x="156" y="68"/>
                  </a:lnTo>
                  <a:lnTo>
                    <a:pt x="156" y="68"/>
                  </a:lnTo>
                  <a:lnTo>
                    <a:pt x="146" y="66"/>
                  </a:lnTo>
                  <a:lnTo>
                    <a:pt x="140" y="60"/>
                  </a:lnTo>
                  <a:lnTo>
                    <a:pt x="134" y="54"/>
                  </a:lnTo>
                  <a:lnTo>
                    <a:pt x="132" y="44"/>
                  </a:lnTo>
                  <a:lnTo>
                    <a:pt x="132" y="44"/>
                  </a:lnTo>
                  <a:lnTo>
                    <a:pt x="130" y="40"/>
                  </a:lnTo>
                  <a:lnTo>
                    <a:pt x="128" y="38"/>
                  </a:lnTo>
                  <a:lnTo>
                    <a:pt x="4" y="38"/>
                  </a:lnTo>
                  <a:lnTo>
                    <a:pt x="4" y="38"/>
                  </a:lnTo>
                  <a:lnTo>
                    <a:pt x="2" y="40"/>
                  </a:lnTo>
                  <a:lnTo>
                    <a:pt x="0" y="44"/>
                  </a:lnTo>
                  <a:lnTo>
                    <a:pt x="0" y="44"/>
                  </a:lnTo>
                  <a:lnTo>
                    <a:pt x="0" y="50"/>
                  </a:lnTo>
                  <a:lnTo>
                    <a:pt x="2" y="56"/>
                  </a:lnTo>
                  <a:lnTo>
                    <a:pt x="8" y="66"/>
                  </a:lnTo>
                  <a:lnTo>
                    <a:pt x="18" y="72"/>
                  </a:lnTo>
                  <a:lnTo>
                    <a:pt x="24" y="74"/>
                  </a:lnTo>
                  <a:lnTo>
                    <a:pt x="32" y="76"/>
                  </a:lnTo>
                  <a:lnTo>
                    <a:pt x="48" y="76"/>
                  </a:lnTo>
                  <a:lnTo>
                    <a:pt x="48" y="76"/>
                  </a:lnTo>
                  <a:lnTo>
                    <a:pt x="52" y="86"/>
                  </a:lnTo>
                  <a:lnTo>
                    <a:pt x="58" y="94"/>
                  </a:lnTo>
                  <a:lnTo>
                    <a:pt x="68" y="100"/>
                  </a:lnTo>
                  <a:lnTo>
                    <a:pt x="80" y="102"/>
                  </a:lnTo>
                  <a:lnTo>
                    <a:pt x="114" y="102"/>
                  </a:lnTo>
                  <a:lnTo>
                    <a:pt x="114" y="102"/>
                  </a:lnTo>
                  <a:lnTo>
                    <a:pt x="116" y="108"/>
                  </a:lnTo>
                  <a:lnTo>
                    <a:pt x="122" y="112"/>
                  </a:lnTo>
                  <a:lnTo>
                    <a:pt x="126" y="114"/>
                  </a:lnTo>
                  <a:lnTo>
                    <a:pt x="134" y="116"/>
                  </a:lnTo>
                  <a:lnTo>
                    <a:pt x="134" y="116"/>
                  </a:lnTo>
                  <a:close/>
                  <a:moveTo>
                    <a:pt x="176" y="78"/>
                  </a:moveTo>
                  <a:lnTo>
                    <a:pt x="176" y="140"/>
                  </a:lnTo>
                  <a:lnTo>
                    <a:pt x="176" y="140"/>
                  </a:lnTo>
                  <a:lnTo>
                    <a:pt x="176" y="144"/>
                  </a:lnTo>
                  <a:lnTo>
                    <a:pt x="178" y="146"/>
                  </a:lnTo>
                  <a:lnTo>
                    <a:pt x="182" y="148"/>
                  </a:lnTo>
                  <a:lnTo>
                    <a:pt x="186" y="150"/>
                  </a:lnTo>
                  <a:lnTo>
                    <a:pt x="186" y="150"/>
                  </a:lnTo>
                  <a:lnTo>
                    <a:pt x="190" y="148"/>
                  </a:lnTo>
                  <a:lnTo>
                    <a:pt x="194" y="146"/>
                  </a:lnTo>
                  <a:lnTo>
                    <a:pt x="196" y="144"/>
                  </a:lnTo>
                  <a:lnTo>
                    <a:pt x="196" y="140"/>
                  </a:lnTo>
                  <a:lnTo>
                    <a:pt x="196" y="78"/>
                  </a:lnTo>
                  <a:lnTo>
                    <a:pt x="196" y="78"/>
                  </a:lnTo>
                  <a:lnTo>
                    <a:pt x="196" y="74"/>
                  </a:lnTo>
                  <a:lnTo>
                    <a:pt x="194" y="70"/>
                  </a:lnTo>
                  <a:lnTo>
                    <a:pt x="190" y="68"/>
                  </a:lnTo>
                  <a:lnTo>
                    <a:pt x="186" y="68"/>
                  </a:lnTo>
                  <a:lnTo>
                    <a:pt x="186" y="68"/>
                  </a:lnTo>
                  <a:lnTo>
                    <a:pt x="182" y="68"/>
                  </a:lnTo>
                  <a:lnTo>
                    <a:pt x="178" y="70"/>
                  </a:lnTo>
                  <a:lnTo>
                    <a:pt x="176" y="74"/>
                  </a:lnTo>
                  <a:lnTo>
                    <a:pt x="176" y="78"/>
                  </a:lnTo>
                  <a:lnTo>
                    <a:pt x="176" y="78"/>
                  </a:lnTo>
                  <a:close/>
                  <a:moveTo>
                    <a:pt x="368" y="38"/>
                  </a:moveTo>
                  <a:lnTo>
                    <a:pt x="244" y="38"/>
                  </a:lnTo>
                  <a:lnTo>
                    <a:pt x="244" y="38"/>
                  </a:lnTo>
                  <a:lnTo>
                    <a:pt x="242" y="40"/>
                  </a:lnTo>
                  <a:lnTo>
                    <a:pt x="240" y="44"/>
                  </a:lnTo>
                  <a:lnTo>
                    <a:pt x="240" y="44"/>
                  </a:lnTo>
                  <a:lnTo>
                    <a:pt x="238" y="54"/>
                  </a:lnTo>
                  <a:lnTo>
                    <a:pt x="232" y="60"/>
                  </a:lnTo>
                  <a:lnTo>
                    <a:pt x="226" y="66"/>
                  </a:lnTo>
                  <a:lnTo>
                    <a:pt x="216" y="68"/>
                  </a:lnTo>
                  <a:lnTo>
                    <a:pt x="216" y="68"/>
                  </a:lnTo>
                  <a:lnTo>
                    <a:pt x="212" y="70"/>
                  </a:lnTo>
                  <a:lnTo>
                    <a:pt x="210" y="72"/>
                  </a:lnTo>
                  <a:lnTo>
                    <a:pt x="210" y="112"/>
                  </a:lnTo>
                  <a:lnTo>
                    <a:pt x="210" y="112"/>
                  </a:lnTo>
                  <a:lnTo>
                    <a:pt x="212" y="114"/>
                  </a:lnTo>
                  <a:lnTo>
                    <a:pt x="216" y="116"/>
                  </a:lnTo>
                  <a:lnTo>
                    <a:pt x="238" y="116"/>
                  </a:lnTo>
                  <a:lnTo>
                    <a:pt x="238" y="116"/>
                  </a:lnTo>
                  <a:lnTo>
                    <a:pt x="246" y="114"/>
                  </a:lnTo>
                  <a:lnTo>
                    <a:pt x="250" y="112"/>
                  </a:lnTo>
                  <a:lnTo>
                    <a:pt x="256" y="108"/>
                  </a:lnTo>
                  <a:lnTo>
                    <a:pt x="258" y="102"/>
                  </a:lnTo>
                  <a:lnTo>
                    <a:pt x="292" y="102"/>
                  </a:lnTo>
                  <a:lnTo>
                    <a:pt x="292" y="102"/>
                  </a:lnTo>
                  <a:lnTo>
                    <a:pt x="304" y="100"/>
                  </a:lnTo>
                  <a:lnTo>
                    <a:pt x="314" y="94"/>
                  </a:lnTo>
                  <a:lnTo>
                    <a:pt x="320" y="86"/>
                  </a:lnTo>
                  <a:lnTo>
                    <a:pt x="324" y="76"/>
                  </a:lnTo>
                  <a:lnTo>
                    <a:pt x="340" y="76"/>
                  </a:lnTo>
                  <a:lnTo>
                    <a:pt x="340" y="76"/>
                  </a:lnTo>
                  <a:lnTo>
                    <a:pt x="348" y="74"/>
                  </a:lnTo>
                  <a:lnTo>
                    <a:pt x="354" y="72"/>
                  </a:lnTo>
                  <a:lnTo>
                    <a:pt x="364" y="66"/>
                  </a:lnTo>
                  <a:lnTo>
                    <a:pt x="370" y="56"/>
                  </a:lnTo>
                  <a:lnTo>
                    <a:pt x="372" y="50"/>
                  </a:lnTo>
                  <a:lnTo>
                    <a:pt x="372" y="44"/>
                  </a:lnTo>
                  <a:lnTo>
                    <a:pt x="372" y="44"/>
                  </a:lnTo>
                  <a:lnTo>
                    <a:pt x="370" y="40"/>
                  </a:lnTo>
                  <a:lnTo>
                    <a:pt x="368" y="38"/>
                  </a:lnTo>
                  <a:lnTo>
                    <a:pt x="368" y="38"/>
                  </a:lnTo>
                  <a:close/>
                  <a:moveTo>
                    <a:pt x="244" y="126"/>
                  </a:moveTo>
                  <a:lnTo>
                    <a:pt x="244" y="126"/>
                  </a:lnTo>
                  <a:lnTo>
                    <a:pt x="232" y="126"/>
                  </a:lnTo>
                  <a:lnTo>
                    <a:pt x="222" y="130"/>
                  </a:lnTo>
                  <a:lnTo>
                    <a:pt x="212" y="136"/>
                  </a:lnTo>
                  <a:lnTo>
                    <a:pt x="206" y="140"/>
                  </a:lnTo>
                  <a:lnTo>
                    <a:pt x="202" y="146"/>
                  </a:lnTo>
                  <a:lnTo>
                    <a:pt x="202" y="146"/>
                  </a:lnTo>
                  <a:lnTo>
                    <a:pt x="202" y="150"/>
                  </a:lnTo>
                  <a:lnTo>
                    <a:pt x="202" y="154"/>
                  </a:lnTo>
                  <a:lnTo>
                    <a:pt x="204" y="158"/>
                  </a:lnTo>
                  <a:lnTo>
                    <a:pt x="206" y="160"/>
                  </a:lnTo>
                  <a:lnTo>
                    <a:pt x="206" y="160"/>
                  </a:lnTo>
                  <a:lnTo>
                    <a:pt x="210" y="162"/>
                  </a:lnTo>
                  <a:lnTo>
                    <a:pt x="214" y="160"/>
                  </a:lnTo>
                  <a:lnTo>
                    <a:pt x="218" y="158"/>
                  </a:lnTo>
                  <a:lnTo>
                    <a:pt x="220" y="156"/>
                  </a:lnTo>
                  <a:lnTo>
                    <a:pt x="220" y="156"/>
                  </a:lnTo>
                  <a:lnTo>
                    <a:pt x="224" y="150"/>
                  </a:lnTo>
                  <a:lnTo>
                    <a:pt x="230" y="148"/>
                  </a:lnTo>
                  <a:lnTo>
                    <a:pt x="234" y="146"/>
                  </a:lnTo>
                  <a:lnTo>
                    <a:pt x="240" y="146"/>
                  </a:lnTo>
                  <a:lnTo>
                    <a:pt x="240" y="146"/>
                  </a:lnTo>
                  <a:lnTo>
                    <a:pt x="244" y="148"/>
                  </a:lnTo>
                  <a:lnTo>
                    <a:pt x="246" y="152"/>
                  </a:lnTo>
                  <a:lnTo>
                    <a:pt x="246" y="152"/>
                  </a:lnTo>
                  <a:lnTo>
                    <a:pt x="244" y="156"/>
                  </a:lnTo>
                  <a:lnTo>
                    <a:pt x="242" y="160"/>
                  </a:lnTo>
                  <a:lnTo>
                    <a:pt x="230" y="164"/>
                  </a:lnTo>
                  <a:lnTo>
                    <a:pt x="214" y="168"/>
                  </a:lnTo>
                  <a:lnTo>
                    <a:pt x="196" y="170"/>
                  </a:lnTo>
                  <a:lnTo>
                    <a:pt x="196" y="170"/>
                  </a:lnTo>
                  <a:lnTo>
                    <a:pt x="184" y="172"/>
                  </a:lnTo>
                  <a:lnTo>
                    <a:pt x="184" y="172"/>
                  </a:lnTo>
                  <a:lnTo>
                    <a:pt x="170" y="174"/>
                  </a:lnTo>
                  <a:lnTo>
                    <a:pt x="160" y="178"/>
                  </a:lnTo>
                  <a:lnTo>
                    <a:pt x="150" y="182"/>
                  </a:lnTo>
                  <a:lnTo>
                    <a:pt x="144" y="186"/>
                  </a:lnTo>
                  <a:lnTo>
                    <a:pt x="140" y="190"/>
                  </a:lnTo>
                  <a:lnTo>
                    <a:pt x="136" y="194"/>
                  </a:lnTo>
                  <a:lnTo>
                    <a:pt x="134" y="202"/>
                  </a:lnTo>
                  <a:lnTo>
                    <a:pt x="134" y="202"/>
                  </a:lnTo>
                  <a:lnTo>
                    <a:pt x="134" y="202"/>
                  </a:lnTo>
                  <a:lnTo>
                    <a:pt x="134" y="210"/>
                  </a:lnTo>
                  <a:lnTo>
                    <a:pt x="136" y="218"/>
                  </a:lnTo>
                  <a:lnTo>
                    <a:pt x="142" y="226"/>
                  </a:lnTo>
                  <a:lnTo>
                    <a:pt x="150" y="232"/>
                  </a:lnTo>
                  <a:lnTo>
                    <a:pt x="150" y="232"/>
                  </a:lnTo>
                  <a:lnTo>
                    <a:pt x="160" y="226"/>
                  </a:lnTo>
                  <a:lnTo>
                    <a:pt x="172" y="220"/>
                  </a:lnTo>
                  <a:lnTo>
                    <a:pt x="172" y="220"/>
                  </a:lnTo>
                  <a:lnTo>
                    <a:pt x="164" y="216"/>
                  </a:lnTo>
                  <a:lnTo>
                    <a:pt x="158" y="212"/>
                  </a:lnTo>
                  <a:lnTo>
                    <a:pt x="154" y="208"/>
                  </a:lnTo>
                  <a:lnTo>
                    <a:pt x="154" y="206"/>
                  </a:lnTo>
                  <a:lnTo>
                    <a:pt x="154" y="206"/>
                  </a:lnTo>
                  <a:lnTo>
                    <a:pt x="154" y="206"/>
                  </a:lnTo>
                  <a:lnTo>
                    <a:pt x="154" y="206"/>
                  </a:lnTo>
                  <a:lnTo>
                    <a:pt x="156" y="202"/>
                  </a:lnTo>
                  <a:lnTo>
                    <a:pt x="162" y="198"/>
                  </a:lnTo>
                  <a:lnTo>
                    <a:pt x="172" y="194"/>
                  </a:lnTo>
                  <a:lnTo>
                    <a:pt x="188" y="192"/>
                  </a:lnTo>
                  <a:lnTo>
                    <a:pt x="188" y="192"/>
                  </a:lnTo>
                  <a:lnTo>
                    <a:pt x="200" y="190"/>
                  </a:lnTo>
                  <a:lnTo>
                    <a:pt x="200" y="190"/>
                  </a:lnTo>
                  <a:lnTo>
                    <a:pt x="222" y="186"/>
                  </a:lnTo>
                  <a:lnTo>
                    <a:pt x="234" y="184"/>
                  </a:lnTo>
                  <a:lnTo>
                    <a:pt x="244" y="180"/>
                  </a:lnTo>
                  <a:lnTo>
                    <a:pt x="254" y="176"/>
                  </a:lnTo>
                  <a:lnTo>
                    <a:pt x="260" y="170"/>
                  </a:lnTo>
                  <a:lnTo>
                    <a:pt x="264" y="162"/>
                  </a:lnTo>
                  <a:lnTo>
                    <a:pt x="266" y="150"/>
                  </a:lnTo>
                  <a:lnTo>
                    <a:pt x="266" y="150"/>
                  </a:lnTo>
                  <a:lnTo>
                    <a:pt x="264" y="142"/>
                  </a:lnTo>
                  <a:lnTo>
                    <a:pt x="258" y="136"/>
                  </a:lnTo>
                  <a:lnTo>
                    <a:pt x="252" y="130"/>
                  </a:lnTo>
                  <a:lnTo>
                    <a:pt x="244" y="126"/>
                  </a:lnTo>
                  <a:lnTo>
                    <a:pt x="244" y="126"/>
                  </a:lnTo>
                  <a:close/>
                  <a:moveTo>
                    <a:pt x="214" y="286"/>
                  </a:moveTo>
                  <a:lnTo>
                    <a:pt x="214" y="286"/>
                  </a:lnTo>
                  <a:lnTo>
                    <a:pt x="212" y="288"/>
                  </a:lnTo>
                  <a:lnTo>
                    <a:pt x="210" y="290"/>
                  </a:lnTo>
                  <a:lnTo>
                    <a:pt x="210" y="290"/>
                  </a:lnTo>
                  <a:lnTo>
                    <a:pt x="196" y="296"/>
                  </a:lnTo>
                  <a:lnTo>
                    <a:pt x="196" y="296"/>
                  </a:lnTo>
                  <a:lnTo>
                    <a:pt x="198" y="298"/>
                  </a:lnTo>
                  <a:lnTo>
                    <a:pt x="198" y="298"/>
                  </a:lnTo>
                  <a:lnTo>
                    <a:pt x="198" y="300"/>
                  </a:lnTo>
                  <a:lnTo>
                    <a:pt x="198" y="300"/>
                  </a:lnTo>
                  <a:lnTo>
                    <a:pt x="198" y="300"/>
                  </a:lnTo>
                  <a:lnTo>
                    <a:pt x="198" y="300"/>
                  </a:lnTo>
                  <a:lnTo>
                    <a:pt x="194" y="306"/>
                  </a:lnTo>
                  <a:lnTo>
                    <a:pt x="190" y="310"/>
                  </a:lnTo>
                  <a:lnTo>
                    <a:pt x="190" y="310"/>
                  </a:lnTo>
                  <a:lnTo>
                    <a:pt x="182" y="318"/>
                  </a:lnTo>
                  <a:lnTo>
                    <a:pt x="178" y="330"/>
                  </a:lnTo>
                  <a:lnTo>
                    <a:pt x="176" y="346"/>
                  </a:lnTo>
                  <a:lnTo>
                    <a:pt x="176" y="372"/>
                  </a:lnTo>
                  <a:lnTo>
                    <a:pt x="176" y="372"/>
                  </a:lnTo>
                  <a:lnTo>
                    <a:pt x="176" y="376"/>
                  </a:lnTo>
                  <a:lnTo>
                    <a:pt x="178" y="380"/>
                  </a:lnTo>
                  <a:lnTo>
                    <a:pt x="182" y="382"/>
                  </a:lnTo>
                  <a:lnTo>
                    <a:pt x="186" y="382"/>
                  </a:lnTo>
                  <a:lnTo>
                    <a:pt x="186" y="382"/>
                  </a:lnTo>
                  <a:lnTo>
                    <a:pt x="190" y="382"/>
                  </a:lnTo>
                  <a:lnTo>
                    <a:pt x="194" y="380"/>
                  </a:lnTo>
                  <a:lnTo>
                    <a:pt x="196" y="376"/>
                  </a:lnTo>
                  <a:lnTo>
                    <a:pt x="196" y="372"/>
                  </a:lnTo>
                  <a:lnTo>
                    <a:pt x="196" y="372"/>
                  </a:lnTo>
                  <a:lnTo>
                    <a:pt x="196" y="336"/>
                  </a:lnTo>
                  <a:lnTo>
                    <a:pt x="200" y="330"/>
                  </a:lnTo>
                  <a:lnTo>
                    <a:pt x="204" y="324"/>
                  </a:lnTo>
                  <a:lnTo>
                    <a:pt x="204" y="324"/>
                  </a:lnTo>
                  <a:lnTo>
                    <a:pt x="212" y="316"/>
                  </a:lnTo>
                  <a:lnTo>
                    <a:pt x="216" y="306"/>
                  </a:lnTo>
                  <a:lnTo>
                    <a:pt x="216" y="306"/>
                  </a:lnTo>
                  <a:lnTo>
                    <a:pt x="216" y="302"/>
                  </a:lnTo>
                  <a:lnTo>
                    <a:pt x="216" y="302"/>
                  </a:lnTo>
                  <a:lnTo>
                    <a:pt x="218" y="300"/>
                  </a:lnTo>
                  <a:lnTo>
                    <a:pt x="218" y="300"/>
                  </a:lnTo>
                  <a:lnTo>
                    <a:pt x="216" y="294"/>
                  </a:lnTo>
                  <a:lnTo>
                    <a:pt x="214" y="286"/>
                  </a:lnTo>
                  <a:lnTo>
                    <a:pt x="214" y="286"/>
                  </a:lnTo>
                  <a:close/>
                  <a:moveTo>
                    <a:pt x="198" y="250"/>
                  </a:moveTo>
                  <a:lnTo>
                    <a:pt x="198" y="250"/>
                  </a:lnTo>
                  <a:lnTo>
                    <a:pt x="206" y="254"/>
                  </a:lnTo>
                  <a:lnTo>
                    <a:pt x="206" y="256"/>
                  </a:lnTo>
                  <a:lnTo>
                    <a:pt x="206" y="256"/>
                  </a:lnTo>
                  <a:lnTo>
                    <a:pt x="206" y="258"/>
                  </a:lnTo>
                  <a:lnTo>
                    <a:pt x="200" y="262"/>
                  </a:lnTo>
                  <a:lnTo>
                    <a:pt x="194" y="266"/>
                  </a:lnTo>
                  <a:lnTo>
                    <a:pt x="184" y="270"/>
                  </a:lnTo>
                  <a:lnTo>
                    <a:pt x="184" y="270"/>
                  </a:lnTo>
                  <a:lnTo>
                    <a:pt x="174" y="272"/>
                  </a:lnTo>
                  <a:lnTo>
                    <a:pt x="168" y="276"/>
                  </a:lnTo>
                  <a:lnTo>
                    <a:pt x="160" y="284"/>
                  </a:lnTo>
                  <a:lnTo>
                    <a:pt x="156" y="292"/>
                  </a:lnTo>
                  <a:lnTo>
                    <a:pt x="154" y="300"/>
                  </a:lnTo>
                  <a:lnTo>
                    <a:pt x="154" y="300"/>
                  </a:lnTo>
                  <a:lnTo>
                    <a:pt x="154" y="300"/>
                  </a:lnTo>
                  <a:lnTo>
                    <a:pt x="154" y="300"/>
                  </a:lnTo>
                  <a:lnTo>
                    <a:pt x="154" y="300"/>
                  </a:lnTo>
                  <a:lnTo>
                    <a:pt x="154" y="300"/>
                  </a:lnTo>
                  <a:lnTo>
                    <a:pt x="154" y="300"/>
                  </a:lnTo>
                  <a:lnTo>
                    <a:pt x="154" y="300"/>
                  </a:lnTo>
                  <a:lnTo>
                    <a:pt x="154" y="300"/>
                  </a:lnTo>
                  <a:lnTo>
                    <a:pt x="156" y="308"/>
                  </a:lnTo>
                  <a:lnTo>
                    <a:pt x="160" y="314"/>
                  </a:lnTo>
                  <a:lnTo>
                    <a:pt x="160" y="314"/>
                  </a:lnTo>
                  <a:lnTo>
                    <a:pt x="160" y="316"/>
                  </a:lnTo>
                  <a:lnTo>
                    <a:pt x="160" y="316"/>
                  </a:lnTo>
                  <a:lnTo>
                    <a:pt x="168" y="324"/>
                  </a:lnTo>
                  <a:lnTo>
                    <a:pt x="168" y="324"/>
                  </a:lnTo>
                  <a:lnTo>
                    <a:pt x="170" y="326"/>
                  </a:lnTo>
                  <a:lnTo>
                    <a:pt x="170" y="326"/>
                  </a:lnTo>
                  <a:lnTo>
                    <a:pt x="174" y="316"/>
                  </a:lnTo>
                  <a:lnTo>
                    <a:pt x="174" y="316"/>
                  </a:lnTo>
                  <a:lnTo>
                    <a:pt x="176" y="312"/>
                  </a:lnTo>
                  <a:lnTo>
                    <a:pt x="176" y="312"/>
                  </a:lnTo>
                  <a:lnTo>
                    <a:pt x="180" y="308"/>
                  </a:lnTo>
                  <a:lnTo>
                    <a:pt x="180" y="308"/>
                  </a:lnTo>
                  <a:lnTo>
                    <a:pt x="176" y="302"/>
                  </a:lnTo>
                  <a:lnTo>
                    <a:pt x="174" y="298"/>
                  </a:lnTo>
                  <a:lnTo>
                    <a:pt x="174" y="298"/>
                  </a:lnTo>
                  <a:lnTo>
                    <a:pt x="176" y="296"/>
                  </a:lnTo>
                  <a:lnTo>
                    <a:pt x="178" y="294"/>
                  </a:lnTo>
                  <a:lnTo>
                    <a:pt x="188" y="290"/>
                  </a:lnTo>
                  <a:lnTo>
                    <a:pt x="188" y="290"/>
                  </a:lnTo>
                  <a:lnTo>
                    <a:pt x="202" y="284"/>
                  </a:lnTo>
                  <a:lnTo>
                    <a:pt x="214" y="278"/>
                  </a:lnTo>
                  <a:lnTo>
                    <a:pt x="222" y="268"/>
                  </a:lnTo>
                  <a:lnTo>
                    <a:pt x="226" y="264"/>
                  </a:lnTo>
                  <a:lnTo>
                    <a:pt x="226" y="258"/>
                  </a:lnTo>
                  <a:lnTo>
                    <a:pt x="226" y="258"/>
                  </a:lnTo>
                  <a:lnTo>
                    <a:pt x="226" y="248"/>
                  </a:lnTo>
                  <a:lnTo>
                    <a:pt x="220" y="242"/>
                  </a:lnTo>
                  <a:lnTo>
                    <a:pt x="220" y="242"/>
                  </a:lnTo>
                  <a:lnTo>
                    <a:pt x="210" y="246"/>
                  </a:lnTo>
                  <a:lnTo>
                    <a:pt x="198" y="250"/>
                  </a:lnTo>
                  <a:lnTo>
                    <a:pt x="198" y="250"/>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86" name="Group 85">
            <a:extLst>
              <a:ext uri="{FF2B5EF4-FFF2-40B4-BE49-F238E27FC236}">
                <a16:creationId xmlns:a16="http://schemas.microsoft.com/office/drawing/2014/main" id="{4C8934F8-C06F-475B-9A0A-7C11587165B7}"/>
              </a:ext>
            </a:extLst>
          </p:cNvPr>
          <p:cNvGrpSpPr/>
          <p:nvPr/>
        </p:nvGrpSpPr>
        <p:grpSpPr>
          <a:xfrm>
            <a:off x="5773738" y="2704062"/>
            <a:ext cx="523325" cy="523325"/>
            <a:chOff x="4966372" y="3474401"/>
            <a:chExt cx="612000" cy="612000"/>
          </a:xfrm>
        </p:grpSpPr>
        <p:sp>
          <p:nvSpPr>
            <p:cNvPr id="87" name="Oval 86">
              <a:extLst>
                <a:ext uri="{FF2B5EF4-FFF2-40B4-BE49-F238E27FC236}">
                  <a16:creationId xmlns:a16="http://schemas.microsoft.com/office/drawing/2014/main" id="{61A1AAAE-D3BD-4FF8-B4B1-EE4708E95312}"/>
                </a:ext>
              </a:extLst>
            </p:cNvPr>
            <p:cNvSpPr/>
            <p:nvPr/>
          </p:nvSpPr>
          <p:spPr bwMode="ltGray">
            <a:xfrm>
              <a:off x="4966372"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88" name="Freeform 4816">
              <a:extLst>
                <a:ext uri="{FF2B5EF4-FFF2-40B4-BE49-F238E27FC236}">
                  <a16:creationId xmlns:a16="http://schemas.microsoft.com/office/drawing/2014/main" id="{664D62A5-CFA3-42CA-A65A-2869CF3195DD}"/>
                </a:ext>
              </a:extLst>
            </p:cNvPr>
            <p:cNvSpPr>
              <a:spLocks noEditPoints="1"/>
            </p:cNvSpPr>
            <p:nvPr/>
          </p:nvSpPr>
          <p:spPr bwMode="auto">
            <a:xfrm>
              <a:off x="5029676" y="3588046"/>
              <a:ext cx="485392" cy="419202"/>
            </a:xfrm>
            <a:custGeom>
              <a:avLst/>
              <a:gdLst>
                <a:gd name="T0" fmla="*/ 294 w 396"/>
                <a:gd name="T1" fmla="*/ 80 h 342"/>
                <a:gd name="T2" fmla="*/ 206 w 396"/>
                <a:gd name="T3" fmla="*/ 196 h 342"/>
                <a:gd name="T4" fmla="*/ 190 w 396"/>
                <a:gd name="T5" fmla="*/ 196 h 342"/>
                <a:gd name="T6" fmla="*/ 102 w 396"/>
                <a:gd name="T7" fmla="*/ 80 h 342"/>
                <a:gd name="T8" fmla="*/ 98 w 396"/>
                <a:gd name="T9" fmla="*/ 44 h 342"/>
                <a:gd name="T10" fmla="*/ 130 w 396"/>
                <a:gd name="T11" fmla="*/ 4 h 342"/>
                <a:gd name="T12" fmla="*/ 178 w 396"/>
                <a:gd name="T13" fmla="*/ 6 h 342"/>
                <a:gd name="T14" fmla="*/ 218 w 396"/>
                <a:gd name="T15" fmla="*/ 6 h 342"/>
                <a:gd name="T16" fmla="*/ 266 w 396"/>
                <a:gd name="T17" fmla="*/ 4 h 342"/>
                <a:gd name="T18" fmla="*/ 298 w 396"/>
                <a:gd name="T19" fmla="*/ 44 h 342"/>
                <a:gd name="T20" fmla="*/ 348 w 396"/>
                <a:gd name="T21" fmla="*/ 106 h 342"/>
                <a:gd name="T22" fmla="*/ 368 w 396"/>
                <a:gd name="T23" fmla="*/ 82 h 342"/>
                <a:gd name="T24" fmla="*/ 344 w 396"/>
                <a:gd name="T25" fmla="*/ 76 h 342"/>
                <a:gd name="T26" fmla="*/ 330 w 396"/>
                <a:gd name="T27" fmla="*/ 152 h 342"/>
                <a:gd name="T28" fmla="*/ 376 w 396"/>
                <a:gd name="T29" fmla="*/ 96 h 342"/>
                <a:gd name="T30" fmla="*/ 356 w 396"/>
                <a:gd name="T31" fmla="*/ 160 h 342"/>
                <a:gd name="T32" fmla="*/ 362 w 396"/>
                <a:gd name="T33" fmla="*/ 172 h 342"/>
                <a:gd name="T34" fmla="*/ 362 w 396"/>
                <a:gd name="T35" fmla="*/ 196 h 342"/>
                <a:gd name="T36" fmla="*/ 310 w 396"/>
                <a:gd name="T37" fmla="*/ 234 h 342"/>
                <a:gd name="T38" fmla="*/ 352 w 396"/>
                <a:gd name="T39" fmla="*/ 176 h 342"/>
                <a:gd name="T40" fmla="*/ 326 w 396"/>
                <a:gd name="T41" fmla="*/ 166 h 342"/>
                <a:gd name="T42" fmla="*/ 248 w 396"/>
                <a:gd name="T43" fmla="*/ 208 h 342"/>
                <a:gd name="T44" fmla="*/ 210 w 396"/>
                <a:gd name="T45" fmla="*/ 242 h 342"/>
                <a:gd name="T46" fmla="*/ 214 w 396"/>
                <a:gd name="T47" fmla="*/ 294 h 342"/>
                <a:gd name="T48" fmla="*/ 272 w 396"/>
                <a:gd name="T49" fmla="*/ 332 h 342"/>
                <a:gd name="T50" fmla="*/ 304 w 396"/>
                <a:gd name="T51" fmla="*/ 300 h 342"/>
                <a:gd name="T52" fmla="*/ 396 w 396"/>
                <a:gd name="T53" fmla="*/ 118 h 342"/>
                <a:gd name="T54" fmla="*/ 376 w 396"/>
                <a:gd name="T55" fmla="*/ 96 h 342"/>
                <a:gd name="T56" fmla="*/ 316 w 396"/>
                <a:gd name="T57" fmla="*/ 102 h 342"/>
                <a:gd name="T58" fmla="*/ 310 w 396"/>
                <a:gd name="T59" fmla="*/ 160 h 342"/>
                <a:gd name="T60" fmla="*/ 50 w 396"/>
                <a:gd name="T61" fmla="*/ 154 h 342"/>
                <a:gd name="T62" fmla="*/ 66 w 396"/>
                <a:gd name="T63" fmla="*/ 94 h 342"/>
                <a:gd name="T64" fmla="*/ 44 w 396"/>
                <a:gd name="T65" fmla="*/ 74 h 342"/>
                <a:gd name="T66" fmla="*/ 26 w 396"/>
                <a:gd name="T67" fmla="*/ 88 h 342"/>
                <a:gd name="T68" fmla="*/ 50 w 396"/>
                <a:gd name="T69" fmla="*/ 154 h 342"/>
                <a:gd name="T70" fmla="*/ 6 w 396"/>
                <a:gd name="T71" fmla="*/ 214 h 342"/>
                <a:gd name="T72" fmla="*/ 98 w 396"/>
                <a:gd name="T73" fmla="*/ 306 h 342"/>
                <a:gd name="T74" fmla="*/ 174 w 396"/>
                <a:gd name="T75" fmla="*/ 304 h 342"/>
                <a:gd name="T76" fmla="*/ 190 w 396"/>
                <a:gd name="T77" fmla="*/ 264 h 342"/>
                <a:gd name="T78" fmla="*/ 174 w 396"/>
                <a:gd name="T79" fmla="*/ 224 h 342"/>
                <a:gd name="T80" fmla="*/ 78 w 396"/>
                <a:gd name="T81" fmla="*/ 170 h 342"/>
                <a:gd name="T82" fmla="*/ 48 w 396"/>
                <a:gd name="T83" fmla="*/ 170 h 342"/>
                <a:gd name="T84" fmla="*/ 48 w 396"/>
                <a:gd name="T85" fmla="*/ 198 h 342"/>
                <a:gd name="T86" fmla="*/ 40 w 396"/>
                <a:gd name="T87" fmla="*/ 206 h 342"/>
                <a:gd name="T88" fmla="*/ 32 w 396"/>
                <a:gd name="T89" fmla="*/ 184 h 342"/>
                <a:gd name="T90" fmla="*/ 40 w 396"/>
                <a:gd name="T91" fmla="*/ 160 h 342"/>
                <a:gd name="T92" fmla="*/ 34 w 396"/>
                <a:gd name="T93" fmla="*/ 102 h 342"/>
                <a:gd name="T94" fmla="*/ 6 w 396"/>
                <a:gd name="T95" fmla="*/ 102 h 342"/>
                <a:gd name="T96" fmla="*/ 88 w 396"/>
                <a:gd name="T97" fmla="*/ 162 h 342"/>
                <a:gd name="T98" fmla="*/ 80 w 396"/>
                <a:gd name="T99" fmla="*/ 102 h 342"/>
                <a:gd name="T100" fmla="*/ 86 w 396"/>
                <a:gd name="T101" fmla="*/ 16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96" h="342">
                  <a:moveTo>
                    <a:pt x="300" y="56"/>
                  </a:moveTo>
                  <a:lnTo>
                    <a:pt x="300" y="56"/>
                  </a:lnTo>
                  <a:lnTo>
                    <a:pt x="298" y="64"/>
                  </a:lnTo>
                  <a:lnTo>
                    <a:pt x="296" y="72"/>
                  </a:lnTo>
                  <a:lnTo>
                    <a:pt x="294" y="80"/>
                  </a:lnTo>
                  <a:lnTo>
                    <a:pt x="288" y="88"/>
                  </a:lnTo>
                  <a:lnTo>
                    <a:pt x="288" y="88"/>
                  </a:lnTo>
                  <a:lnTo>
                    <a:pt x="288" y="90"/>
                  </a:lnTo>
                  <a:lnTo>
                    <a:pt x="206" y="196"/>
                  </a:lnTo>
                  <a:lnTo>
                    <a:pt x="206" y="196"/>
                  </a:lnTo>
                  <a:lnTo>
                    <a:pt x="202" y="198"/>
                  </a:lnTo>
                  <a:lnTo>
                    <a:pt x="198" y="200"/>
                  </a:lnTo>
                  <a:lnTo>
                    <a:pt x="198" y="200"/>
                  </a:lnTo>
                  <a:lnTo>
                    <a:pt x="194" y="198"/>
                  </a:lnTo>
                  <a:lnTo>
                    <a:pt x="190" y="196"/>
                  </a:lnTo>
                  <a:lnTo>
                    <a:pt x="108" y="90"/>
                  </a:lnTo>
                  <a:lnTo>
                    <a:pt x="108" y="90"/>
                  </a:lnTo>
                  <a:lnTo>
                    <a:pt x="108" y="88"/>
                  </a:lnTo>
                  <a:lnTo>
                    <a:pt x="108" y="88"/>
                  </a:lnTo>
                  <a:lnTo>
                    <a:pt x="102" y="80"/>
                  </a:lnTo>
                  <a:lnTo>
                    <a:pt x="100" y="72"/>
                  </a:lnTo>
                  <a:lnTo>
                    <a:pt x="98" y="64"/>
                  </a:lnTo>
                  <a:lnTo>
                    <a:pt x="96" y="56"/>
                  </a:lnTo>
                  <a:lnTo>
                    <a:pt x="96" y="56"/>
                  </a:lnTo>
                  <a:lnTo>
                    <a:pt x="98" y="44"/>
                  </a:lnTo>
                  <a:lnTo>
                    <a:pt x="102" y="34"/>
                  </a:lnTo>
                  <a:lnTo>
                    <a:pt x="106" y="24"/>
                  </a:lnTo>
                  <a:lnTo>
                    <a:pt x="114" y="16"/>
                  </a:lnTo>
                  <a:lnTo>
                    <a:pt x="122" y="10"/>
                  </a:lnTo>
                  <a:lnTo>
                    <a:pt x="130" y="4"/>
                  </a:lnTo>
                  <a:lnTo>
                    <a:pt x="142" y="2"/>
                  </a:lnTo>
                  <a:lnTo>
                    <a:pt x="152" y="0"/>
                  </a:lnTo>
                  <a:lnTo>
                    <a:pt x="152" y="0"/>
                  </a:lnTo>
                  <a:lnTo>
                    <a:pt x="166" y="2"/>
                  </a:lnTo>
                  <a:lnTo>
                    <a:pt x="178" y="6"/>
                  </a:lnTo>
                  <a:lnTo>
                    <a:pt x="190" y="14"/>
                  </a:lnTo>
                  <a:lnTo>
                    <a:pt x="198" y="24"/>
                  </a:lnTo>
                  <a:lnTo>
                    <a:pt x="198" y="24"/>
                  </a:lnTo>
                  <a:lnTo>
                    <a:pt x="206" y="14"/>
                  </a:lnTo>
                  <a:lnTo>
                    <a:pt x="218" y="6"/>
                  </a:lnTo>
                  <a:lnTo>
                    <a:pt x="230" y="2"/>
                  </a:lnTo>
                  <a:lnTo>
                    <a:pt x="244" y="0"/>
                  </a:lnTo>
                  <a:lnTo>
                    <a:pt x="244" y="0"/>
                  </a:lnTo>
                  <a:lnTo>
                    <a:pt x="254" y="2"/>
                  </a:lnTo>
                  <a:lnTo>
                    <a:pt x="266" y="4"/>
                  </a:lnTo>
                  <a:lnTo>
                    <a:pt x="274" y="10"/>
                  </a:lnTo>
                  <a:lnTo>
                    <a:pt x="282" y="16"/>
                  </a:lnTo>
                  <a:lnTo>
                    <a:pt x="290" y="24"/>
                  </a:lnTo>
                  <a:lnTo>
                    <a:pt x="294" y="34"/>
                  </a:lnTo>
                  <a:lnTo>
                    <a:pt x="298" y="44"/>
                  </a:lnTo>
                  <a:lnTo>
                    <a:pt x="300" y="56"/>
                  </a:lnTo>
                  <a:lnTo>
                    <a:pt x="300" y="56"/>
                  </a:lnTo>
                  <a:close/>
                  <a:moveTo>
                    <a:pt x="346" y="118"/>
                  </a:moveTo>
                  <a:lnTo>
                    <a:pt x="346" y="118"/>
                  </a:lnTo>
                  <a:lnTo>
                    <a:pt x="348" y="106"/>
                  </a:lnTo>
                  <a:lnTo>
                    <a:pt x="352" y="98"/>
                  </a:lnTo>
                  <a:lnTo>
                    <a:pt x="360" y="90"/>
                  </a:lnTo>
                  <a:lnTo>
                    <a:pt x="370" y="88"/>
                  </a:lnTo>
                  <a:lnTo>
                    <a:pt x="370" y="88"/>
                  </a:lnTo>
                  <a:lnTo>
                    <a:pt x="368" y="82"/>
                  </a:lnTo>
                  <a:lnTo>
                    <a:pt x="364" y="78"/>
                  </a:lnTo>
                  <a:lnTo>
                    <a:pt x="358" y="74"/>
                  </a:lnTo>
                  <a:lnTo>
                    <a:pt x="352" y="74"/>
                  </a:lnTo>
                  <a:lnTo>
                    <a:pt x="352" y="74"/>
                  </a:lnTo>
                  <a:lnTo>
                    <a:pt x="344" y="76"/>
                  </a:lnTo>
                  <a:lnTo>
                    <a:pt x="336" y="80"/>
                  </a:lnTo>
                  <a:lnTo>
                    <a:pt x="332" y="86"/>
                  </a:lnTo>
                  <a:lnTo>
                    <a:pt x="330" y="94"/>
                  </a:lnTo>
                  <a:lnTo>
                    <a:pt x="330" y="152"/>
                  </a:lnTo>
                  <a:lnTo>
                    <a:pt x="330" y="152"/>
                  </a:lnTo>
                  <a:lnTo>
                    <a:pt x="338" y="152"/>
                  </a:lnTo>
                  <a:lnTo>
                    <a:pt x="346" y="154"/>
                  </a:lnTo>
                  <a:lnTo>
                    <a:pt x="346" y="118"/>
                  </a:lnTo>
                  <a:close/>
                  <a:moveTo>
                    <a:pt x="376" y="96"/>
                  </a:moveTo>
                  <a:lnTo>
                    <a:pt x="376" y="96"/>
                  </a:lnTo>
                  <a:lnTo>
                    <a:pt x="368" y="98"/>
                  </a:lnTo>
                  <a:lnTo>
                    <a:pt x="362" y="102"/>
                  </a:lnTo>
                  <a:lnTo>
                    <a:pt x="356" y="110"/>
                  </a:lnTo>
                  <a:lnTo>
                    <a:pt x="356" y="118"/>
                  </a:lnTo>
                  <a:lnTo>
                    <a:pt x="356" y="160"/>
                  </a:lnTo>
                  <a:lnTo>
                    <a:pt x="356" y="160"/>
                  </a:lnTo>
                  <a:lnTo>
                    <a:pt x="356" y="160"/>
                  </a:lnTo>
                  <a:lnTo>
                    <a:pt x="356" y="160"/>
                  </a:lnTo>
                  <a:lnTo>
                    <a:pt x="360" y="166"/>
                  </a:lnTo>
                  <a:lnTo>
                    <a:pt x="362" y="172"/>
                  </a:lnTo>
                  <a:lnTo>
                    <a:pt x="364" y="178"/>
                  </a:lnTo>
                  <a:lnTo>
                    <a:pt x="364" y="184"/>
                  </a:lnTo>
                  <a:lnTo>
                    <a:pt x="364" y="184"/>
                  </a:lnTo>
                  <a:lnTo>
                    <a:pt x="364" y="190"/>
                  </a:lnTo>
                  <a:lnTo>
                    <a:pt x="362" y="196"/>
                  </a:lnTo>
                  <a:lnTo>
                    <a:pt x="360" y="202"/>
                  </a:lnTo>
                  <a:lnTo>
                    <a:pt x="356" y="206"/>
                  </a:lnTo>
                  <a:lnTo>
                    <a:pt x="316" y="246"/>
                  </a:lnTo>
                  <a:lnTo>
                    <a:pt x="316" y="246"/>
                  </a:lnTo>
                  <a:lnTo>
                    <a:pt x="310" y="234"/>
                  </a:lnTo>
                  <a:lnTo>
                    <a:pt x="348" y="198"/>
                  </a:lnTo>
                  <a:lnTo>
                    <a:pt x="348" y="198"/>
                  </a:lnTo>
                  <a:lnTo>
                    <a:pt x="352" y="192"/>
                  </a:lnTo>
                  <a:lnTo>
                    <a:pt x="352" y="184"/>
                  </a:lnTo>
                  <a:lnTo>
                    <a:pt x="352" y="176"/>
                  </a:lnTo>
                  <a:lnTo>
                    <a:pt x="348" y="170"/>
                  </a:lnTo>
                  <a:lnTo>
                    <a:pt x="348" y="170"/>
                  </a:lnTo>
                  <a:lnTo>
                    <a:pt x="340" y="166"/>
                  </a:lnTo>
                  <a:lnTo>
                    <a:pt x="332" y="164"/>
                  </a:lnTo>
                  <a:lnTo>
                    <a:pt x="326" y="166"/>
                  </a:lnTo>
                  <a:lnTo>
                    <a:pt x="318" y="170"/>
                  </a:lnTo>
                  <a:lnTo>
                    <a:pt x="278" y="210"/>
                  </a:lnTo>
                  <a:lnTo>
                    <a:pt x="278" y="210"/>
                  </a:lnTo>
                  <a:lnTo>
                    <a:pt x="264" y="208"/>
                  </a:lnTo>
                  <a:lnTo>
                    <a:pt x="248" y="208"/>
                  </a:lnTo>
                  <a:lnTo>
                    <a:pt x="234" y="214"/>
                  </a:lnTo>
                  <a:lnTo>
                    <a:pt x="222" y="224"/>
                  </a:lnTo>
                  <a:lnTo>
                    <a:pt x="222" y="224"/>
                  </a:lnTo>
                  <a:lnTo>
                    <a:pt x="214" y="232"/>
                  </a:lnTo>
                  <a:lnTo>
                    <a:pt x="210" y="242"/>
                  </a:lnTo>
                  <a:lnTo>
                    <a:pt x="206" y="252"/>
                  </a:lnTo>
                  <a:lnTo>
                    <a:pt x="206" y="264"/>
                  </a:lnTo>
                  <a:lnTo>
                    <a:pt x="206" y="274"/>
                  </a:lnTo>
                  <a:lnTo>
                    <a:pt x="210" y="284"/>
                  </a:lnTo>
                  <a:lnTo>
                    <a:pt x="214" y="294"/>
                  </a:lnTo>
                  <a:lnTo>
                    <a:pt x="222" y="304"/>
                  </a:lnTo>
                  <a:lnTo>
                    <a:pt x="222" y="304"/>
                  </a:lnTo>
                  <a:lnTo>
                    <a:pt x="262" y="342"/>
                  </a:lnTo>
                  <a:lnTo>
                    <a:pt x="272" y="332"/>
                  </a:lnTo>
                  <a:lnTo>
                    <a:pt x="272" y="332"/>
                  </a:lnTo>
                  <a:lnTo>
                    <a:pt x="298" y="306"/>
                  </a:lnTo>
                  <a:lnTo>
                    <a:pt x="298" y="306"/>
                  </a:lnTo>
                  <a:lnTo>
                    <a:pt x="302" y="304"/>
                  </a:lnTo>
                  <a:lnTo>
                    <a:pt x="302" y="304"/>
                  </a:lnTo>
                  <a:lnTo>
                    <a:pt x="304" y="300"/>
                  </a:lnTo>
                  <a:lnTo>
                    <a:pt x="390" y="214"/>
                  </a:lnTo>
                  <a:lnTo>
                    <a:pt x="390" y="214"/>
                  </a:lnTo>
                  <a:lnTo>
                    <a:pt x="394" y="208"/>
                  </a:lnTo>
                  <a:lnTo>
                    <a:pt x="396" y="200"/>
                  </a:lnTo>
                  <a:lnTo>
                    <a:pt x="396" y="118"/>
                  </a:lnTo>
                  <a:lnTo>
                    <a:pt x="396" y="118"/>
                  </a:lnTo>
                  <a:lnTo>
                    <a:pt x="394" y="110"/>
                  </a:lnTo>
                  <a:lnTo>
                    <a:pt x="390" y="102"/>
                  </a:lnTo>
                  <a:lnTo>
                    <a:pt x="384" y="98"/>
                  </a:lnTo>
                  <a:lnTo>
                    <a:pt x="376" y="96"/>
                  </a:lnTo>
                  <a:lnTo>
                    <a:pt x="376" y="96"/>
                  </a:lnTo>
                  <a:close/>
                  <a:moveTo>
                    <a:pt x="320" y="154"/>
                  </a:moveTo>
                  <a:lnTo>
                    <a:pt x="320" y="98"/>
                  </a:lnTo>
                  <a:lnTo>
                    <a:pt x="320" y="98"/>
                  </a:lnTo>
                  <a:lnTo>
                    <a:pt x="316" y="102"/>
                  </a:lnTo>
                  <a:lnTo>
                    <a:pt x="312" y="106"/>
                  </a:lnTo>
                  <a:lnTo>
                    <a:pt x="310" y="112"/>
                  </a:lnTo>
                  <a:lnTo>
                    <a:pt x="308" y="118"/>
                  </a:lnTo>
                  <a:lnTo>
                    <a:pt x="308" y="162"/>
                  </a:lnTo>
                  <a:lnTo>
                    <a:pt x="310" y="160"/>
                  </a:lnTo>
                  <a:lnTo>
                    <a:pt x="310" y="160"/>
                  </a:lnTo>
                  <a:lnTo>
                    <a:pt x="316" y="156"/>
                  </a:lnTo>
                  <a:lnTo>
                    <a:pt x="320" y="154"/>
                  </a:lnTo>
                  <a:lnTo>
                    <a:pt x="320" y="154"/>
                  </a:lnTo>
                  <a:close/>
                  <a:moveTo>
                    <a:pt x="50" y="154"/>
                  </a:moveTo>
                  <a:lnTo>
                    <a:pt x="50" y="154"/>
                  </a:lnTo>
                  <a:lnTo>
                    <a:pt x="58" y="152"/>
                  </a:lnTo>
                  <a:lnTo>
                    <a:pt x="66" y="152"/>
                  </a:lnTo>
                  <a:lnTo>
                    <a:pt x="66" y="94"/>
                  </a:lnTo>
                  <a:lnTo>
                    <a:pt x="66" y="94"/>
                  </a:lnTo>
                  <a:lnTo>
                    <a:pt x="64" y="86"/>
                  </a:lnTo>
                  <a:lnTo>
                    <a:pt x="60" y="80"/>
                  </a:lnTo>
                  <a:lnTo>
                    <a:pt x="52" y="76"/>
                  </a:lnTo>
                  <a:lnTo>
                    <a:pt x="44" y="74"/>
                  </a:lnTo>
                  <a:lnTo>
                    <a:pt x="44" y="74"/>
                  </a:lnTo>
                  <a:lnTo>
                    <a:pt x="38" y="74"/>
                  </a:lnTo>
                  <a:lnTo>
                    <a:pt x="32" y="78"/>
                  </a:lnTo>
                  <a:lnTo>
                    <a:pt x="28" y="82"/>
                  </a:lnTo>
                  <a:lnTo>
                    <a:pt x="26" y="88"/>
                  </a:lnTo>
                  <a:lnTo>
                    <a:pt x="26" y="88"/>
                  </a:lnTo>
                  <a:lnTo>
                    <a:pt x="36" y="90"/>
                  </a:lnTo>
                  <a:lnTo>
                    <a:pt x="44" y="98"/>
                  </a:lnTo>
                  <a:lnTo>
                    <a:pt x="48" y="106"/>
                  </a:lnTo>
                  <a:lnTo>
                    <a:pt x="50" y="118"/>
                  </a:lnTo>
                  <a:lnTo>
                    <a:pt x="50" y="154"/>
                  </a:lnTo>
                  <a:close/>
                  <a:moveTo>
                    <a:pt x="0" y="118"/>
                  </a:moveTo>
                  <a:lnTo>
                    <a:pt x="0" y="200"/>
                  </a:lnTo>
                  <a:lnTo>
                    <a:pt x="0" y="200"/>
                  </a:lnTo>
                  <a:lnTo>
                    <a:pt x="2" y="208"/>
                  </a:lnTo>
                  <a:lnTo>
                    <a:pt x="6" y="214"/>
                  </a:lnTo>
                  <a:lnTo>
                    <a:pt x="92" y="300"/>
                  </a:lnTo>
                  <a:lnTo>
                    <a:pt x="92" y="300"/>
                  </a:lnTo>
                  <a:lnTo>
                    <a:pt x="94" y="304"/>
                  </a:lnTo>
                  <a:lnTo>
                    <a:pt x="94" y="304"/>
                  </a:lnTo>
                  <a:lnTo>
                    <a:pt x="98" y="306"/>
                  </a:lnTo>
                  <a:lnTo>
                    <a:pt x="124" y="332"/>
                  </a:lnTo>
                  <a:lnTo>
                    <a:pt x="124" y="332"/>
                  </a:lnTo>
                  <a:lnTo>
                    <a:pt x="134" y="342"/>
                  </a:lnTo>
                  <a:lnTo>
                    <a:pt x="174" y="304"/>
                  </a:lnTo>
                  <a:lnTo>
                    <a:pt x="174" y="304"/>
                  </a:lnTo>
                  <a:lnTo>
                    <a:pt x="174" y="304"/>
                  </a:lnTo>
                  <a:lnTo>
                    <a:pt x="182" y="294"/>
                  </a:lnTo>
                  <a:lnTo>
                    <a:pt x="186" y="284"/>
                  </a:lnTo>
                  <a:lnTo>
                    <a:pt x="190" y="274"/>
                  </a:lnTo>
                  <a:lnTo>
                    <a:pt x="190" y="264"/>
                  </a:lnTo>
                  <a:lnTo>
                    <a:pt x="190" y="252"/>
                  </a:lnTo>
                  <a:lnTo>
                    <a:pt x="186" y="242"/>
                  </a:lnTo>
                  <a:lnTo>
                    <a:pt x="182" y="232"/>
                  </a:lnTo>
                  <a:lnTo>
                    <a:pt x="174" y="224"/>
                  </a:lnTo>
                  <a:lnTo>
                    <a:pt x="174" y="224"/>
                  </a:lnTo>
                  <a:lnTo>
                    <a:pt x="162" y="214"/>
                  </a:lnTo>
                  <a:lnTo>
                    <a:pt x="148" y="208"/>
                  </a:lnTo>
                  <a:lnTo>
                    <a:pt x="132" y="208"/>
                  </a:lnTo>
                  <a:lnTo>
                    <a:pt x="118" y="210"/>
                  </a:lnTo>
                  <a:lnTo>
                    <a:pt x="78" y="170"/>
                  </a:lnTo>
                  <a:lnTo>
                    <a:pt x="78" y="170"/>
                  </a:lnTo>
                  <a:lnTo>
                    <a:pt x="70" y="166"/>
                  </a:lnTo>
                  <a:lnTo>
                    <a:pt x="64" y="164"/>
                  </a:lnTo>
                  <a:lnTo>
                    <a:pt x="56" y="166"/>
                  </a:lnTo>
                  <a:lnTo>
                    <a:pt x="48" y="170"/>
                  </a:lnTo>
                  <a:lnTo>
                    <a:pt x="48" y="170"/>
                  </a:lnTo>
                  <a:lnTo>
                    <a:pt x="44" y="176"/>
                  </a:lnTo>
                  <a:lnTo>
                    <a:pt x="44" y="184"/>
                  </a:lnTo>
                  <a:lnTo>
                    <a:pt x="44" y="192"/>
                  </a:lnTo>
                  <a:lnTo>
                    <a:pt x="48" y="198"/>
                  </a:lnTo>
                  <a:lnTo>
                    <a:pt x="86" y="234"/>
                  </a:lnTo>
                  <a:lnTo>
                    <a:pt x="86" y="234"/>
                  </a:lnTo>
                  <a:lnTo>
                    <a:pt x="80" y="246"/>
                  </a:lnTo>
                  <a:lnTo>
                    <a:pt x="40" y="206"/>
                  </a:lnTo>
                  <a:lnTo>
                    <a:pt x="40" y="206"/>
                  </a:lnTo>
                  <a:lnTo>
                    <a:pt x="36" y="202"/>
                  </a:lnTo>
                  <a:lnTo>
                    <a:pt x="34" y="196"/>
                  </a:lnTo>
                  <a:lnTo>
                    <a:pt x="32" y="190"/>
                  </a:lnTo>
                  <a:lnTo>
                    <a:pt x="32" y="184"/>
                  </a:lnTo>
                  <a:lnTo>
                    <a:pt x="32" y="184"/>
                  </a:lnTo>
                  <a:lnTo>
                    <a:pt x="32" y="178"/>
                  </a:lnTo>
                  <a:lnTo>
                    <a:pt x="34" y="172"/>
                  </a:lnTo>
                  <a:lnTo>
                    <a:pt x="36" y="166"/>
                  </a:lnTo>
                  <a:lnTo>
                    <a:pt x="40" y="160"/>
                  </a:lnTo>
                  <a:lnTo>
                    <a:pt x="40" y="160"/>
                  </a:lnTo>
                  <a:lnTo>
                    <a:pt x="40" y="160"/>
                  </a:lnTo>
                  <a:lnTo>
                    <a:pt x="40" y="118"/>
                  </a:lnTo>
                  <a:lnTo>
                    <a:pt x="40" y="118"/>
                  </a:lnTo>
                  <a:lnTo>
                    <a:pt x="40" y="110"/>
                  </a:lnTo>
                  <a:lnTo>
                    <a:pt x="34" y="102"/>
                  </a:lnTo>
                  <a:lnTo>
                    <a:pt x="28" y="98"/>
                  </a:lnTo>
                  <a:lnTo>
                    <a:pt x="20" y="96"/>
                  </a:lnTo>
                  <a:lnTo>
                    <a:pt x="20" y="96"/>
                  </a:lnTo>
                  <a:lnTo>
                    <a:pt x="12" y="98"/>
                  </a:lnTo>
                  <a:lnTo>
                    <a:pt x="6" y="102"/>
                  </a:lnTo>
                  <a:lnTo>
                    <a:pt x="2" y="110"/>
                  </a:lnTo>
                  <a:lnTo>
                    <a:pt x="0" y="118"/>
                  </a:lnTo>
                  <a:lnTo>
                    <a:pt x="0" y="118"/>
                  </a:lnTo>
                  <a:close/>
                  <a:moveTo>
                    <a:pt x="86" y="160"/>
                  </a:moveTo>
                  <a:lnTo>
                    <a:pt x="88" y="162"/>
                  </a:lnTo>
                  <a:lnTo>
                    <a:pt x="88" y="118"/>
                  </a:lnTo>
                  <a:lnTo>
                    <a:pt x="88" y="118"/>
                  </a:lnTo>
                  <a:lnTo>
                    <a:pt x="86" y="112"/>
                  </a:lnTo>
                  <a:lnTo>
                    <a:pt x="84" y="106"/>
                  </a:lnTo>
                  <a:lnTo>
                    <a:pt x="80" y="102"/>
                  </a:lnTo>
                  <a:lnTo>
                    <a:pt x="76" y="98"/>
                  </a:lnTo>
                  <a:lnTo>
                    <a:pt x="76" y="154"/>
                  </a:lnTo>
                  <a:lnTo>
                    <a:pt x="76" y="154"/>
                  </a:lnTo>
                  <a:lnTo>
                    <a:pt x="80" y="156"/>
                  </a:lnTo>
                  <a:lnTo>
                    <a:pt x="86" y="160"/>
                  </a:lnTo>
                  <a:lnTo>
                    <a:pt x="86" y="160"/>
                  </a:lnTo>
                  <a:close/>
                </a:path>
              </a:pathLst>
            </a:custGeom>
            <a:solidFill>
              <a:srgbClr val="505050"/>
            </a:solid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89" name="Group 88">
            <a:extLst>
              <a:ext uri="{FF2B5EF4-FFF2-40B4-BE49-F238E27FC236}">
                <a16:creationId xmlns:a16="http://schemas.microsoft.com/office/drawing/2014/main" id="{6099DBBE-ADF3-4647-AA18-D6F069F6A6B5}"/>
              </a:ext>
            </a:extLst>
          </p:cNvPr>
          <p:cNvGrpSpPr/>
          <p:nvPr/>
        </p:nvGrpSpPr>
        <p:grpSpPr>
          <a:xfrm>
            <a:off x="6521711" y="2704062"/>
            <a:ext cx="523325" cy="523325"/>
            <a:chOff x="5841085" y="3474401"/>
            <a:chExt cx="612000" cy="612000"/>
          </a:xfrm>
        </p:grpSpPr>
        <p:sp>
          <p:nvSpPr>
            <p:cNvPr id="90" name="Oval 89">
              <a:extLst>
                <a:ext uri="{FF2B5EF4-FFF2-40B4-BE49-F238E27FC236}">
                  <a16:creationId xmlns:a16="http://schemas.microsoft.com/office/drawing/2014/main" id="{C3FFFB99-2F09-41C9-AAE4-5E369A28EE4A}"/>
                </a:ext>
              </a:extLst>
            </p:cNvPr>
            <p:cNvSpPr/>
            <p:nvPr/>
          </p:nvSpPr>
          <p:spPr bwMode="ltGray">
            <a:xfrm>
              <a:off x="5841085"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91" name="Freeform 4817">
              <a:extLst>
                <a:ext uri="{FF2B5EF4-FFF2-40B4-BE49-F238E27FC236}">
                  <a16:creationId xmlns:a16="http://schemas.microsoft.com/office/drawing/2014/main" id="{736031E4-43D5-42DF-A01A-7E938C6492DE}"/>
                </a:ext>
              </a:extLst>
            </p:cNvPr>
            <p:cNvSpPr>
              <a:spLocks noEditPoints="1"/>
            </p:cNvSpPr>
            <p:nvPr/>
          </p:nvSpPr>
          <p:spPr bwMode="auto">
            <a:xfrm>
              <a:off x="5959762" y="3586713"/>
              <a:ext cx="438814" cy="426557"/>
            </a:xfrm>
            <a:custGeom>
              <a:avLst/>
              <a:gdLst>
                <a:gd name="T0" fmla="*/ 322 w 358"/>
                <a:gd name="T1" fmla="*/ 152 h 348"/>
                <a:gd name="T2" fmla="*/ 318 w 358"/>
                <a:gd name="T3" fmla="*/ 158 h 348"/>
                <a:gd name="T4" fmla="*/ 306 w 358"/>
                <a:gd name="T5" fmla="*/ 162 h 348"/>
                <a:gd name="T6" fmla="*/ 300 w 358"/>
                <a:gd name="T7" fmla="*/ 152 h 348"/>
                <a:gd name="T8" fmla="*/ 306 w 358"/>
                <a:gd name="T9" fmla="*/ 142 h 348"/>
                <a:gd name="T10" fmla="*/ 318 w 358"/>
                <a:gd name="T11" fmla="*/ 144 h 348"/>
                <a:gd name="T12" fmla="*/ 356 w 358"/>
                <a:gd name="T13" fmla="*/ 160 h 348"/>
                <a:gd name="T14" fmla="*/ 336 w 358"/>
                <a:gd name="T15" fmla="*/ 190 h 348"/>
                <a:gd name="T16" fmla="*/ 312 w 358"/>
                <a:gd name="T17" fmla="*/ 198 h 348"/>
                <a:gd name="T18" fmla="*/ 278 w 358"/>
                <a:gd name="T19" fmla="*/ 184 h 348"/>
                <a:gd name="T20" fmla="*/ 264 w 358"/>
                <a:gd name="T21" fmla="*/ 152 h 348"/>
                <a:gd name="T22" fmla="*/ 282 w 358"/>
                <a:gd name="T23" fmla="*/ 116 h 348"/>
                <a:gd name="T24" fmla="*/ 288 w 358"/>
                <a:gd name="T25" fmla="*/ 106 h 348"/>
                <a:gd name="T26" fmla="*/ 258 w 358"/>
                <a:gd name="T27" fmla="*/ 104 h 348"/>
                <a:gd name="T28" fmla="*/ 242 w 358"/>
                <a:gd name="T29" fmla="*/ 134 h 348"/>
                <a:gd name="T30" fmla="*/ 258 w 358"/>
                <a:gd name="T31" fmla="*/ 264 h 348"/>
                <a:gd name="T32" fmla="*/ 238 w 358"/>
                <a:gd name="T33" fmla="*/ 320 h 348"/>
                <a:gd name="T34" fmla="*/ 174 w 358"/>
                <a:gd name="T35" fmla="*/ 348 h 348"/>
                <a:gd name="T36" fmla="*/ 126 w 358"/>
                <a:gd name="T37" fmla="*/ 332 h 348"/>
                <a:gd name="T38" fmla="*/ 94 w 358"/>
                <a:gd name="T39" fmla="*/ 294 h 348"/>
                <a:gd name="T40" fmla="*/ 88 w 358"/>
                <a:gd name="T41" fmla="*/ 228 h 348"/>
                <a:gd name="T42" fmla="*/ 26 w 358"/>
                <a:gd name="T43" fmla="*/ 196 h 348"/>
                <a:gd name="T44" fmla="*/ 0 w 358"/>
                <a:gd name="T45" fmla="*/ 130 h 348"/>
                <a:gd name="T46" fmla="*/ 4 w 358"/>
                <a:gd name="T47" fmla="*/ 12 h 348"/>
                <a:gd name="T48" fmla="*/ 48 w 358"/>
                <a:gd name="T49" fmla="*/ 0 h 348"/>
                <a:gd name="T50" fmla="*/ 78 w 358"/>
                <a:gd name="T51" fmla="*/ 6 h 348"/>
                <a:gd name="T52" fmla="*/ 82 w 358"/>
                <a:gd name="T53" fmla="*/ 32 h 348"/>
                <a:gd name="T54" fmla="*/ 48 w 358"/>
                <a:gd name="T55" fmla="*/ 46 h 348"/>
                <a:gd name="T56" fmla="*/ 28 w 358"/>
                <a:gd name="T57" fmla="*/ 130 h 348"/>
                <a:gd name="T58" fmla="*/ 48 w 358"/>
                <a:gd name="T59" fmla="*/ 180 h 348"/>
                <a:gd name="T60" fmla="*/ 98 w 358"/>
                <a:gd name="T61" fmla="*/ 200 h 348"/>
                <a:gd name="T62" fmla="*/ 138 w 358"/>
                <a:gd name="T63" fmla="*/ 188 h 348"/>
                <a:gd name="T64" fmla="*/ 164 w 358"/>
                <a:gd name="T65" fmla="*/ 156 h 348"/>
                <a:gd name="T66" fmla="*/ 168 w 358"/>
                <a:gd name="T67" fmla="*/ 130 h 348"/>
                <a:gd name="T68" fmla="*/ 136 w 358"/>
                <a:gd name="T69" fmla="*/ 46 h 348"/>
                <a:gd name="T70" fmla="*/ 114 w 358"/>
                <a:gd name="T71" fmla="*/ 32 h 348"/>
                <a:gd name="T72" fmla="*/ 120 w 358"/>
                <a:gd name="T73" fmla="*/ 6 h 348"/>
                <a:gd name="T74" fmla="*/ 148 w 358"/>
                <a:gd name="T75" fmla="*/ 8 h 348"/>
                <a:gd name="T76" fmla="*/ 192 w 358"/>
                <a:gd name="T77" fmla="*/ 12 h 348"/>
                <a:gd name="T78" fmla="*/ 196 w 358"/>
                <a:gd name="T79" fmla="*/ 130 h 348"/>
                <a:gd name="T80" fmla="*/ 190 w 358"/>
                <a:gd name="T81" fmla="*/ 166 h 348"/>
                <a:gd name="T82" fmla="*/ 156 w 358"/>
                <a:gd name="T83" fmla="*/ 210 h 348"/>
                <a:gd name="T84" fmla="*/ 108 w 358"/>
                <a:gd name="T85" fmla="*/ 262 h 348"/>
                <a:gd name="T86" fmla="*/ 114 w 358"/>
                <a:gd name="T87" fmla="*/ 286 h 348"/>
                <a:gd name="T88" fmla="*/ 138 w 358"/>
                <a:gd name="T89" fmla="*/ 316 h 348"/>
                <a:gd name="T90" fmla="*/ 174 w 358"/>
                <a:gd name="T91" fmla="*/ 328 h 348"/>
                <a:gd name="T92" fmla="*/ 224 w 358"/>
                <a:gd name="T93" fmla="*/ 306 h 348"/>
                <a:gd name="T94" fmla="*/ 238 w 358"/>
                <a:gd name="T95" fmla="*/ 262 h 348"/>
                <a:gd name="T96" fmla="*/ 222 w 358"/>
                <a:gd name="T97" fmla="*/ 134 h 348"/>
                <a:gd name="T98" fmla="*/ 236 w 358"/>
                <a:gd name="T99" fmla="*/ 94 h 348"/>
                <a:gd name="T100" fmla="*/ 264 w 358"/>
                <a:gd name="T101" fmla="*/ 80 h 348"/>
                <a:gd name="T102" fmla="*/ 300 w 358"/>
                <a:gd name="T103" fmla="*/ 90 h 348"/>
                <a:gd name="T104" fmla="*/ 314 w 358"/>
                <a:gd name="T105" fmla="*/ 106 h 348"/>
                <a:gd name="T106" fmla="*/ 344 w 358"/>
                <a:gd name="T107" fmla="*/ 120 h 348"/>
                <a:gd name="T108" fmla="*/ 358 w 358"/>
                <a:gd name="T109" fmla="*/ 152 h 348"/>
                <a:gd name="T110" fmla="*/ 336 w 358"/>
                <a:gd name="T111" fmla="*/ 142 h 348"/>
                <a:gd name="T112" fmla="*/ 312 w 358"/>
                <a:gd name="T113" fmla="*/ 124 h 348"/>
                <a:gd name="T114" fmla="*/ 286 w 358"/>
                <a:gd name="T115" fmla="*/ 140 h 348"/>
                <a:gd name="T116" fmla="*/ 292 w 358"/>
                <a:gd name="T117" fmla="*/ 170 h 348"/>
                <a:gd name="T118" fmla="*/ 322 w 358"/>
                <a:gd name="T119" fmla="*/ 176 h 348"/>
                <a:gd name="T120" fmla="*/ 338 w 358"/>
                <a:gd name="T121" fmla="*/ 152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8" h="348">
                  <a:moveTo>
                    <a:pt x="318" y="144"/>
                  </a:moveTo>
                  <a:lnTo>
                    <a:pt x="318" y="144"/>
                  </a:lnTo>
                  <a:lnTo>
                    <a:pt x="322" y="148"/>
                  </a:lnTo>
                  <a:lnTo>
                    <a:pt x="322" y="152"/>
                  </a:lnTo>
                  <a:lnTo>
                    <a:pt x="322" y="152"/>
                  </a:lnTo>
                  <a:lnTo>
                    <a:pt x="322" y="156"/>
                  </a:lnTo>
                  <a:lnTo>
                    <a:pt x="318" y="158"/>
                  </a:lnTo>
                  <a:lnTo>
                    <a:pt x="318" y="158"/>
                  </a:lnTo>
                  <a:lnTo>
                    <a:pt x="316" y="162"/>
                  </a:lnTo>
                  <a:lnTo>
                    <a:pt x="312" y="162"/>
                  </a:lnTo>
                  <a:lnTo>
                    <a:pt x="312" y="162"/>
                  </a:lnTo>
                  <a:lnTo>
                    <a:pt x="306" y="162"/>
                  </a:lnTo>
                  <a:lnTo>
                    <a:pt x="304" y="158"/>
                  </a:lnTo>
                  <a:lnTo>
                    <a:pt x="302" y="156"/>
                  </a:lnTo>
                  <a:lnTo>
                    <a:pt x="300" y="152"/>
                  </a:lnTo>
                  <a:lnTo>
                    <a:pt x="300" y="152"/>
                  </a:lnTo>
                  <a:lnTo>
                    <a:pt x="302" y="148"/>
                  </a:lnTo>
                  <a:lnTo>
                    <a:pt x="304" y="144"/>
                  </a:lnTo>
                  <a:lnTo>
                    <a:pt x="304" y="144"/>
                  </a:lnTo>
                  <a:lnTo>
                    <a:pt x="306" y="142"/>
                  </a:lnTo>
                  <a:lnTo>
                    <a:pt x="312" y="140"/>
                  </a:lnTo>
                  <a:lnTo>
                    <a:pt x="312" y="140"/>
                  </a:lnTo>
                  <a:lnTo>
                    <a:pt x="316" y="142"/>
                  </a:lnTo>
                  <a:lnTo>
                    <a:pt x="318" y="144"/>
                  </a:lnTo>
                  <a:lnTo>
                    <a:pt x="318" y="144"/>
                  </a:lnTo>
                  <a:close/>
                  <a:moveTo>
                    <a:pt x="358" y="152"/>
                  </a:moveTo>
                  <a:lnTo>
                    <a:pt x="358" y="152"/>
                  </a:lnTo>
                  <a:lnTo>
                    <a:pt x="356" y="160"/>
                  </a:lnTo>
                  <a:lnTo>
                    <a:pt x="354" y="170"/>
                  </a:lnTo>
                  <a:lnTo>
                    <a:pt x="350" y="178"/>
                  </a:lnTo>
                  <a:lnTo>
                    <a:pt x="344" y="184"/>
                  </a:lnTo>
                  <a:lnTo>
                    <a:pt x="336" y="190"/>
                  </a:lnTo>
                  <a:lnTo>
                    <a:pt x="330" y="194"/>
                  </a:lnTo>
                  <a:lnTo>
                    <a:pt x="320" y="196"/>
                  </a:lnTo>
                  <a:lnTo>
                    <a:pt x="312" y="198"/>
                  </a:lnTo>
                  <a:lnTo>
                    <a:pt x="312" y="198"/>
                  </a:lnTo>
                  <a:lnTo>
                    <a:pt x="302" y="196"/>
                  </a:lnTo>
                  <a:lnTo>
                    <a:pt x="294" y="194"/>
                  </a:lnTo>
                  <a:lnTo>
                    <a:pt x="286" y="190"/>
                  </a:lnTo>
                  <a:lnTo>
                    <a:pt x="278" y="184"/>
                  </a:lnTo>
                  <a:lnTo>
                    <a:pt x="272" y="178"/>
                  </a:lnTo>
                  <a:lnTo>
                    <a:pt x="268" y="170"/>
                  </a:lnTo>
                  <a:lnTo>
                    <a:pt x="266" y="160"/>
                  </a:lnTo>
                  <a:lnTo>
                    <a:pt x="264" y="152"/>
                  </a:lnTo>
                  <a:lnTo>
                    <a:pt x="264" y="152"/>
                  </a:lnTo>
                  <a:lnTo>
                    <a:pt x="266" y="138"/>
                  </a:lnTo>
                  <a:lnTo>
                    <a:pt x="272" y="126"/>
                  </a:lnTo>
                  <a:lnTo>
                    <a:pt x="282" y="116"/>
                  </a:lnTo>
                  <a:lnTo>
                    <a:pt x="292" y="110"/>
                  </a:lnTo>
                  <a:lnTo>
                    <a:pt x="292" y="110"/>
                  </a:lnTo>
                  <a:lnTo>
                    <a:pt x="288" y="106"/>
                  </a:lnTo>
                  <a:lnTo>
                    <a:pt x="288" y="106"/>
                  </a:lnTo>
                  <a:lnTo>
                    <a:pt x="278" y="100"/>
                  </a:lnTo>
                  <a:lnTo>
                    <a:pt x="266" y="100"/>
                  </a:lnTo>
                  <a:lnTo>
                    <a:pt x="266" y="100"/>
                  </a:lnTo>
                  <a:lnTo>
                    <a:pt x="258" y="104"/>
                  </a:lnTo>
                  <a:lnTo>
                    <a:pt x="250" y="108"/>
                  </a:lnTo>
                  <a:lnTo>
                    <a:pt x="246" y="114"/>
                  </a:lnTo>
                  <a:lnTo>
                    <a:pt x="244" y="120"/>
                  </a:lnTo>
                  <a:lnTo>
                    <a:pt x="242" y="134"/>
                  </a:lnTo>
                  <a:lnTo>
                    <a:pt x="242" y="144"/>
                  </a:lnTo>
                  <a:lnTo>
                    <a:pt x="256" y="242"/>
                  </a:lnTo>
                  <a:lnTo>
                    <a:pt x="256" y="242"/>
                  </a:lnTo>
                  <a:lnTo>
                    <a:pt x="258" y="264"/>
                  </a:lnTo>
                  <a:lnTo>
                    <a:pt x="256" y="284"/>
                  </a:lnTo>
                  <a:lnTo>
                    <a:pt x="248" y="304"/>
                  </a:lnTo>
                  <a:lnTo>
                    <a:pt x="238" y="320"/>
                  </a:lnTo>
                  <a:lnTo>
                    <a:pt x="238" y="320"/>
                  </a:lnTo>
                  <a:lnTo>
                    <a:pt x="226" y="332"/>
                  </a:lnTo>
                  <a:lnTo>
                    <a:pt x="210" y="340"/>
                  </a:lnTo>
                  <a:lnTo>
                    <a:pt x="192" y="346"/>
                  </a:lnTo>
                  <a:lnTo>
                    <a:pt x="174" y="348"/>
                  </a:lnTo>
                  <a:lnTo>
                    <a:pt x="174" y="348"/>
                  </a:lnTo>
                  <a:lnTo>
                    <a:pt x="158" y="346"/>
                  </a:lnTo>
                  <a:lnTo>
                    <a:pt x="142" y="340"/>
                  </a:lnTo>
                  <a:lnTo>
                    <a:pt x="126" y="332"/>
                  </a:lnTo>
                  <a:lnTo>
                    <a:pt x="114" y="322"/>
                  </a:lnTo>
                  <a:lnTo>
                    <a:pt x="114" y="322"/>
                  </a:lnTo>
                  <a:lnTo>
                    <a:pt x="102" y="308"/>
                  </a:lnTo>
                  <a:lnTo>
                    <a:pt x="94" y="294"/>
                  </a:lnTo>
                  <a:lnTo>
                    <a:pt x="90" y="278"/>
                  </a:lnTo>
                  <a:lnTo>
                    <a:pt x="88" y="262"/>
                  </a:lnTo>
                  <a:lnTo>
                    <a:pt x="88" y="228"/>
                  </a:lnTo>
                  <a:lnTo>
                    <a:pt x="88" y="228"/>
                  </a:lnTo>
                  <a:lnTo>
                    <a:pt x="70" y="224"/>
                  </a:lnTo>
                  <a:lnTo>
                    <a:pt x="54" y="216"/>
                  </a:lnTo>
                  <a:lnTo>
                    <a:pt x="38" y="208"/>
                  </a:lnTo>
                  <a:lnTo>
                    <a:pt x="26" y="196"/>
                  </a:lnTo>
                  <a:lnTo>
                    <a:pt x="16" y="182"/>
                  </a:lnTo>
                  <a:lnTo>
                    <a:pt x="8" y="166"/>
                  </a:lnTo>
                  <a:lnTo>
                    <a:pt x="2" y="148"/>
                  </a:lnTo>
                  <a:lnTo>
                    <a:pt x="0" y="130"/>
                  </a:lnTo>
                  <a:lnTo>
                    <a:pt x="0" y="22"/>
                  </a:lnTo>
                  <a:lnTo>
                    <a:pt x="0" y="22"/>
                  </a:lnTo>
                  <a:lnTo>
                    <a:pt x="2" y="16"/>
                  </a:lnTo>
                  <a:lnTo>
                    <a:pt x="4" y="12"/>
                  </a:lnTo>
                  <a:lnTo>
                    <a:pt x="8" y="10"/>
                  </a:lnTo>
                  <a:lnTo>
                    <a:pt x="14" y="8"/>
                  </a:lnTo>
                  <a:lnTo>
                    <a:pt x="48" y="8"/>
                  </a:lnTo>
                  <a:lnTo>
                    <a:pt x="48" y="0"/>
                  </a:lnTo>
                  <a:lnTo>
                    <a:pt x="62" y="0"/>
                  </a:lnTo>
                  <a:lnTo>
                    <a:pt x="62" y="0"/>
                  </a:lnTo>
                  <a:lnTo>
                    <a:pt x="70" y="2"/>
                  </a:lnTo>
                  <a:lnTo>
                    <a:pt x="78" y="6"/>
                  </a:lnTo>
                  <a:lnTo>
                    <a:pt x="82" y="14"/>
                  </a:lnTo>
                  <a:lnTo>
                    <a:pt x="84" y="22"/>
                  </a:lnTo>
                  <a:lnTo>
                    <a:pt x="84" y="22"/>
                  </a:lnTo>
                  <a:lnTo>
                    <a:pt x="82" y="32"/>
                  </a:lnTo>
                  <a:lnTo>
                    <a:pt x="78" y="38"/>
                  </a:lnTo>
                  <a:lnTo>
                    <a:pt x="70" y="44"/>
                  </a:lnTo>
                  <a:lnTo>
                    <a:pt x="62" y="46"/>
                  </a:lnTo>
                  <a:lnTo>
                    <a:pt x="48" y="46"/>
                  </a:lnTo>
                  <a:lnTo>
                    <a:pt x="48" y="36"/>
                  </a:lnTo>
                  <a:lnTo>
                    <a:pt x="28" y="36"/>
                  </a:lnTo>
                  <a:lnTo>
                    <a:pt x="28" y="130"/>
                  </a:lnTo>
                  <a:lnTo>
                    <a:pt x="28" y="130"/>
                  </a:lnTo>
                  <a:lnTo>
                    <a:pt x="30" y="144"/>
                  </a:lnTo>
                  <a:lnTo>
                    <a:pt x="34" y="156"/>
                  </a:lnTo>
                  <a:lnTo>
                    <a:pt x="40" y="168"/>
                  </a:lnTo>
                  <a:lnTo>
                    <a:pt x="48" y="180"/>
                  </a:lnTo>
                  <a:lnTo>
                    <a:pt x="60" y="188"/>
                  </a:lnTo>
                  <a:lnTo>
                    <a:pt x="72" y="194"/>
                  </a:lnTo>
                  <a:lnTo>
                    <a:pt x="84" y="198"/>
                  </a:lnTo>
                  <a:lnTo>
                    <a:pt x="98" y="200"/>
                  </a:lnTo>
                  <a:lnTo>
                    <a:pt x="98" y="200"/>
                  </a:lnTo>
                  <a:lnTo>
                    <a:pt x="112" y="198"/>
                  </a:lnTo>
                  <a:lnTo>
                    <a:pt x="126" y="194"/>
                  </a:lnTo>
                  <a:lnTo>
                    <a:pt x="138" y="188"/>
                  </a:lnTo>
                  <a:lnTo>
                    <a:pt x="148" y="180"/>
                  </a:lnTo>
                  <a:lnTo>
                    <a:pt x="148" y="180"/>
                  </a:lnTo>
                  <a:lnTo>
                    <a:pt x="156" y="168"/>
                  </a:lnTo>
                  <a:lnTo>
                    <a:pt x="164" y="156"/>
                  </a:lnTo>
                  <a:lnTo>
                    <a:pt x="168" y="144"/>
                  </a:lnTo>
                  <a:lnTo>
                    <a:pt x="168" y="130"/>
                  </a:lnTo>
                  <a:lnTo>
                    <a:pt x="168" y="130"/>
                  </a:lnTo>
                  <a:lnTo>
                    <a:pt x="168" y="130"/>
                  </a:lnTo>
                  <a:lnTo>
                    <a:pt x="168" y="36"/>
                  </a:lnTo>
                  <a:lnTo>
                    <a:pt x="148" y="36"/>
                  </a:lnTo>
                  <a:lnTo>
                    <a:pt x="148" y="46"/>
                  </a:lnTo>
                  <a:lnTo>
                    <a:pt x="136" y="46"/>
                  </a:lnTo>
                  <a:lnTo>
                    <a:pt x="136" y="46"/>
                  </a:lnTo>
                  <a:lnTo>
                    <a:pt x="126" y="44"/>
                  </a:lnTo>
                  <a:lnTo>
                    <a:pt x="120" y="38"/>
                  </a:lnTo>
                  <a:lnTo>
                    <a:pt x="114" y="32"/>
                  </a:lnTo>
                  <a:lnTo>
                    <a:pt x="112" y="22"/>
                  </a:lnTo>
                  <a:lnTo>
                    <a:pt x="112" y="22"/>
                  </a:lnTo>
                  <a:lnTo>
                    <a:pt x="114" y="14"/>
                  </a:lnTo>
                  <a:lnTo>
                    <a:pt x="120" y="6"/>
                  </a:lnTo>
                  <a:lnTo>
                    <a:pt x="126" y="2"/>
                  </a:lnTo>
                  <a:lnTo>
                    <a:pt x="136" y="0"/>
                  </a:lnTo>
                  <a:lnTo>
                    <a:pt x="148" y="0"/>
                  </a:lnTo>
                  <a:lnTo>
                    <a:pt x="148" y="8"/>
                  </a:lnTo>
                  <a:lnTo>
                    <a:pt x="182" y="8"/>
                  </a:lnTo>
                  <a:lnTo>
                    <a:pt x="182" y="8"/>
                  </a:lnTo>
                  <a:lnTo>
                    <a:pt x="188" y="10"/>
                  </a:lnTo>
                  <a:lnTo>
                    <a:pt x="192" y="12"/>
                  </a:lnTo>
                  <a:lnTo>
                    <a:pt x="196" y="16"/>
                  </a:lnTo>
                  <a:lnTo>
                    <a:pt x="196" y="22"/>
                  </a:lnTo>
                  <a:lnTo>
                    <a:pt x="196" y="130"/>
                  </a:lnTo>
                  <a:lnTo>
                    <a:pt x="196" y="130"/>
                  </a:lnTo>
                  <a:lnTo>
                    <a:pt x="196" y="130"/>
                  </a:lnTo>
                  <a:lnTo>
                    <a:pt x="196" y="130"/>
                  </a:lnTo>
                  <a:lnTo>
                    <a:pt x="194" y="148"/>
                  </a:lnTo>
                  <a:lnTo>
                    <a:pt x="190" y="166"/>
                  </a:lnTo>
                  <a:lnTo>
                    <a:pt x="180" y="184"/>
                  </a:lnTo>
                  <a:lnTo>
                    <a:pt x="168" y="198"/>
                  </a:lnTo>
                  <a:lnTo>
                    <a:pt x="168" y="198"/>
                  </a:lnTo>
                  <a:lnTo>
                    <a:pt x="156" y="210"/>
                  </a:lnTo>
                  <a:lnTo>
                    <a:pt x="140" y="218"/>
                  </a:lnTo>
                  <a:lnTo>
                    <a:pt x="124" y="224"/>
                  </a:lnTo>
                  <a:lnTo>
                    <a:pt x="108" y="228"/>
                  </a:lnTo>
                  <a:lnTo>
                    <a:pt x="108" y="262"/>
                  </a:lnTo>
                  <a:lnTo>
                    <a:pt x="108" y="262"/>
                  </a:lnTo>
                  <a:lnTo>
                    <a:pt x="108" y="262"/>
                  </a:lnTo>
                  <a:lnTo>
                    <a:pt x="110" y="274"/>
                  </a:lnTo>
                  <a:lnTo>
                    <a:pt x="114" y="286"/>
                  </a:lnTo>
                  <a:lnTo>
                    <a:pt x="120" y="298"/>
                  </a:lnTo>
                  <a:lnTo>
                    <a:pt x="128" y="308"/>
                  </a:lnTo>
                  <a:lnTo>
                    <a:pt x="128" y="308"/>
                  </a:lnTo>
                  <a:lnTo>
                    <a:pt x="138" y="316"/>
                  </a:lnTo>
                  <a:lnTo>
                    <a:pt x="148" y="322"/>
                  </a:lnTo>
                  <a:lnTo>
                    <a:pt x="162" y="326"/>
                  </a:lnTo>
                  <a:lnTo>
                    <a:pt x="174" y="328"/>
                  </a:lnTo>
                  <a:lnTo>
                    <a:pt x="174" y="328"/>
                  </a:lnTo>
                  <a:lnTo>
                    <a:pt x="188" y="326"/>
                  </a:lnTo>
                  <a:lnTo>
                    <a:pt x="202" y="322"/>
                  </a:lnTo>
                  <a:lnTo>
                    <a:pt x="214" y="316"/>
                  </a:lnTo>
                  <a:lnTo>
                    <a:pt x="224" y="306"/>
                  </a:lnTo>
                  <a:lnTo>
                    <a:pt x="224" y="306"/>
                  </a:lnTo>
                  <a:lnTo>
                    <a:pt x="232" y="294"/>
                  </a:lnTo>
                  <a:lnTo>
                    <a:pt x="236" y="280"/>
                  </a:lnTo>
                  <a:lnTo>
                    <a:pt x="238" y="262"/>
                  </a:lnTo>
                  <a:lnTo>
                    <a:pt x="238" y="246"/>
                  </a:lnTo>
                  <a:lnTo>
                    <a:pt x="222" y="146"/>
                  </a:lnTo>
                  <a:lnTo>
                    <a:pt x="222" y="146"/>
                  </a:lnTo>
                  <a:lnTo>
                    <a:pt x="222" y="134"/>
                  </a:lnTo>
                  <a:lnTo>
                    <a:pt x="222" y="122"/>
                  </a:lnTo>
                  <a:lnTo>
                    <a:pt x="224" y="112"/>
                  </a:lnTo>
                  <a:lnTo>
                    <a:pt x="230" y="102"/>
                  </a:lnTo>
                  <a:lnTo>
                    <a:pt x="236" y="94"/>
                  </a:lnTo>
                  <a:lnTo>
                    <a:pt x="244" y="88"/>
                  </a:lnTo>
                  <a:lnTo>
                    <a:pt x="252" y="84"/>
                  </a:lnTo>
                  <a:lnTo>
                    <a:pt x="264" y="80"/>
                  </a:lnTo>
                  <a:lnTo>
                    <a:pt x="264" y="80"/>
                  </a:lnTo>
                  <a:lnTo>
                    <a:pt x="272" y="80"/>
                  </a:lnTo>
                  <a:lnTo>
                    <a:pt x="282" y="82"/>
                  </a:lnTo>
                  <a:lnTo>
                    <a:pt x="292" y="84"/>
                  </a:lnTo>
                  <a:lnTo>
                    <a:pt x="300" y="90"/>
                  </a:lnTo>
                  <a:lnTo>
                    <a:pt x="300" y="90"/>
                  </a:lnTo>
                  <a:lnTo>
                    <a:pt x="308" y="96"/>
                  </a:lnTo>
                  <a:lnTo>
                    <a:pt x="314" y="106"/>
                  </a:lnTo>
                  <a:lnTo>
                    <a:pt x="314" y="106"/>
                  </a:lnTo>
                  <a:lnTo>
                    <a:pt x="324" y="106"/>
                  </a:lnTo>
                  <a:lnTo>
                    <a:pt x="332" y="110"/>
                  </a:lnTo>
                  <a:lnTo>
                    <a:pt x="338" y="114"/>
                  </a:lnTo>
                  <a:lnTo>
                    <a:pt x="344" y="120"/>
                  </a:lnTo>
                  <a:lnTo>
                    <a:pt x="350" y="126"/>
                  </a:lnTo>
                  <a:lnTo>
                    <a:pt x="354" y="134"/>
                  </a:lnTo>
                  <a:lnTo>
                    <a:pt x="356" y="142"/>
                  </a:lnTo>
                  <a:lnTo>
                    <a:pt x="358" y="152"/>
                  </a:lnTo>
                  <a:lnTo>
                    <a:pt x="358" y="152"/>
                  </a:lnTo>
                  <a:close/>
                  <a:moveTo>
                    <a:pt x="338" y="152"/>
                  </a:moveTo>
                  <a:lnTo>
                    <a:pt x="338" y="152"/>
                  </a:lnTo>
                  <a:lnTo>
                    <a:pt x="336" y="142"/>
                  </a:lnTo>
                  <a:lnTo>
                    <a:pt x="330" y="132"/>
                  </a:lnTo>
                  <a:lnTo>
                    <a:pt x="330" y="132"/>
                  </a:lnTo>
                  <a:lnTo>
                    <a:pt x="322" y="126"/>
                  </a:lnTo>
                  <a:lnTo>
                    <a:pt x="312" y="124"/>
                  </a:lnTo>
                  <a:lnTo>
                    <a:pt x="300" y="126"/>
                  </a:lnTo>
                  <a:lnTo>
                    <a:pt x="292" y="132"/>
                  </a:lnTo>
                  <a:lnTo>
                    <a:pt x="292" y="132"/>
                  </a:lnTo>
                  <a:lnTo>
                    <a:pt x="286" y="140"/>
                  </a:lnTo>
                  <a:lnTo>
                    <a:pt x="284" y="152"/>
                  </a:lnTo>
                  <a:lnTo>
                    <a:pt x="284" y="152"/>
                  </a:lnTo>
                  <a:lnTo>
                    <a:pt x="286" y="162"/>
                  </a:lnTo>
                  <a:lnTo>
                    <a:pt x="292" y="170"/>
                  </a:lnTo>
                  <a:lnTo>
                    <a:pt x="300" y="176"/>
                  </a:lnTo>
                  <a:lnTo>
                    <a:pt x="312" y="178"/>
                  </a:lnTo>
                  <a:lnTo>
                    <a:pt x="312" y="178"/>
                  </a:lnTo>
                  <a:lnTo>
                    <a:pt x="322" y="176"/>
                  </a:lnTo>
                  <a:lnTo>
                    <a:pt x="330" y="170"/>
                  </a:lnTo>
                  <a:lnTo>
                    <a:pt x="330" y="170"/>
                  </a:lnTo>
                  <a:lnTo>
                    <a:pt x="336" y="162"/>
                  </a:lnTo>
                  <a:lnTo>
                    <a:pt x="338" y="152"/>
                  </a:lnTo>
                  <a:lnTo>
                    <a:pt x="338" y="152"/>
                  </a:lnTo>
                  <a:close/>
                </a:path>
              </a:pathLst>
            </a:custGeom>
            <a:solidFill>
              <a:srgbClr val="505050"/>
            </a:solid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92" name="Group 91">
            <a:extLst>
              <a:ext uri="{FF2B5EF4-FFF2-40B4-BE49-F238E27FC236}">
                <a16:creationId xmlns:a16="http://schemas.microsoft.com/office/drawing/2014/main" id="{CD11BC7E-47B5-41A6-8874-6E841578AB9C}"/>
              </a:ext>
            </a:extLst>
          </p:cNvPr>
          <p:cNvGrpSpPr/>
          <p:nvPr/>
        </p:nvGrpSpPr>
        <p:grpSpPr>
          <a:xfrm>
            <a:off x="7275703" y="2704062"/>
            <a:ext cx="523325" cy="523325"/>
            <a:chOff x="6722836" y="3474401"/>
            <a:chExt cx="612000" cy="612000"/>
          </a:xfrm>
        </p:grpSpPr>
        <p:sp>
          <p:nvSpPr>
            <p:cNvPr id="93" name="Oval 92">
              <a:extLst>
                <a:ext uri="{FF2B5EF4-FFF2-40B4-BE49-F238E27FC236}">
                  <a16:creationId xmlns:a16="http://schemas.microsoft.com/office/drawing/2014/main" id="{5308C24B-780D-4789-A284-955D61D06110}"/>
                </a:ext>
              </a:extLst>
            </p:cNvPr>
            <p:cNvSpPr/>
            <p:nvPr/>
          </p:nvSpPr>
          <p:spPr bwMode="ltGray">
            <a:xfrm>
              <a:off x="6722836"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94" name="Freeform 4818">
              <a:extLst>
                <a:ext uri="{FF2B5EF4-FFF2-40B4-BE49-F238E27FC236}">
                  <a16:creationId xmlns:a16="http://schemas.microsoft.com/office/drawing/2014/main" id="{4DA87E74-1252-48A8-ACE7-12E241AAA05C}"/>
                </a:ext>
              </a:extLst>
            </p:cNvPr>
            <p:cNvSpPr>
              <a:spLocks noEditPoints="1"/>
            </p:cNvSpPr>
            <p:nvPr/>
          </p:nvSpPr>
          <p:spPr bwMode="auto">
            <a:xfrm>
              <a:off x="6891554" y="3552393"/>
              <a:ext cx="274565" cy="470683"/>
            </a:xfrm>
            <a:custGeom>
              <a:avLst/>
              <a:gdLst>
                <a:gd name="T0" fmla="*/ 126 w 224"/>
                <a:gd name="T1" fmla="*/ 266 h 384"/>
                <a:gd name="T2" fmla="*/ 128 w 224"/>
                <a:gd name="T3" fmla="*/ 258 h 384"/>
                <a:gd name="T4" fmla="*/ 142 w 224"/>
                <a:gd name="T5" fmla="*/ 238 h 384"/>
                <a:gd name="T6" fmla="*/ 168 w 224"/>
                <a:gd name="T7" fmla="*/ 220 h 384"/>
                <a:gd name="T8" fmla="*/ 196 w 224"/>
                <a:gd name="T9" fmla="*/ 188 h 384"/>
                <a:gd name="T10" fmla="*/ 218 w 224"/>
                <a:gd name="T11" fmla="*/ 142 h 384"/>
                <a:gd name="T12" fmla="*/ 224 w 224"/>
                <a:gd name="T13" fmla="*/ 106 h 384"/>
                <a:gd name="T14" fmla="*/ 214 w 224"/>
                <a:gd name="T15" fmla="*/ 34 h 384"/>
                <a:gd name="T16" fmla="*/ 18 w 224"/>
                <a:gd name="T17" fmla="*/ 0 h 384"/>
                <a:gd name="T18" fmla="*/ 4 w 224"/>
                <a:gd name="T19" fmla="*/ 68 h 384"/>
                <a:gd name="T20" fmla="*/ 0 w 224"/>
                <a:gd name="T21" fmla="*/ 106 h 384"/>
                <a:gd name="T22" fmla="*/ 12 w 224"/>
                <a:gd name="T23" fmla="*/ 158 h 384"/>
                <a:gd name="T24" fmla="*/ 36 w 224"/>
                <a:gd name="T25" fmla="*/ 200 h 384"/>
                <a:gd name="T26" fmla="*/ 56 w 224"/>
                <a:gd name="T27" fmla="*/ 220 h 384"/>
                <a:gd name="T28" fmla="*/ 88 w 224"/>
                <a:gd name="T29" fmla="*/ 244 h 384"/>
                <a:gd name="T30" fmla="*/ 98 w 224"/>
                <a:gd name="T31" fmla="*/ 266 h 384"/>
                <a:gd name="T32" fmla="*/ 54 w 224"/>
                <a:gd name="T33" fmla="*/ 364 h 384"/>
                <a:gd name="T34" fmla="*/ 44 w 224"/>
                <a:gd name="T35" fmla="*/ 370 h 384"/>
                <a:gd name="T36" fmla="*/ 44 w 224"/>
                <a:gd name="T37" fmla="*/ 378 h 384"/>
                <a:gd name="T38" fmla="*/ 54 w 224"/>
                <a:gd name="T39" fmla="*/ 384 h 384"/>
                <a:gd name="T40" fmla="*/ 174 w 224"/>
                <a:gd name="T41" fmla="*/ 382 h 384"/>
                <a:gd name="T42" fmla="*/ 180 w 224"/>
                <a:gd name="T43" fmla="*/ 374 h 384"/>
                <a:gd name="T44" fmla="*/ 176 w 224"/>
                <a:gd name="T45" fmla="*/ 366 h 384"/>
                <a:gd name="T46" fmla="*/ 170 w 224"/>
                <a:gd name="T47" fmla="*/ 364 h 384"/>
                <a:gd name="T48" fmla="*/ 52 w 224"/>
                <a:gd name="T49" fmla="*/ 186 h 384"/>
                <a:gd name="T50" fmla="*/ 28 w 224"/>
                <a:gd name="T51" fmla="*/ 150 h 384"/>
                <a:gd name="T52" fmla="*/ 20 w 224"/>
                <a:gd name="T53" fmla="*/ 106 h 384"/>
                <a:gd name="T54" fmla="*/ 22 w 224"/>
                <a:gd name="T55" fmla="*/ 80 h 384"/>
                <a:gd name="T56" fmla="*/ 84 w 224"/>
                <a:gd name="T57" fmla="*/ 80 h 384"/>
                <a:gd name="T58" fmla="*/ 126 w 224"/>
                <a:gd name="T59" fmla="*/ 90 h 384"/>
                <a:gd name="T60" fmla="*/ 164 w 224"/>
                <a:gd name="T61" fmla="*/ 94 h 384"/>
                <a:gd name="T62" fmla="*/ 156 w 224"/>
                <a:gd name="T63" fmla="*/ 132 h 384"/>
                <a:gd name="T64" fmla="*/ 138 w 224"/>
                <a:gd name="T65" fmla="*/ 162 h 384"/>
                <a:gd name="T66" fmla="*/ 122 w 224"/>
                <a:gd name="T67" fmla="*/ 176 h 384"/>
                <a:gd name="T68" fmla="*/ 116 w 224"/>
                <a:gd name="T69" fmla="*/ 186 h 384"/>
                <a:gd name="T70" fmla="*/ 122 w 224"/>
                <a:gd name="T71" fmla="*/ 194 h 384"/>
                <a:gd name="T72" fmla="*/ 132 w 224"/>
                <a:gd name="T73" fmla="*/ 194 h 384"/>
                <a:gd name="T74" fmla="*/ 152 w 224"/>
                <a:gd name="T75" fmla="*/ 176 h 384"/>
                <a:gd name="T76" fmla="*/ 174 w 224"/>
                <a:gd name="T77" fmla="*/ 138 h 384"/>
                <a:gd name="T78" fmla="*/ 184 w 224"/>
                <a:gd name="T79" fmla="*/ 92 h 384"/>
                <a:gd name="T80" fmla="*/ 204 w 224"/>
                <a:gd name="T81" fmla="*/ 88 h 384"/>
                <a:gd name="T82" fmla="*/ 204 w 224"/>
                <a:gd name="T83" fmla="*/ 122 h 384"/>
                <a:gd name="T84" fmla="*/ 188 w 224"/>
                <a:gd name="T85" fmla="*/ 164 h 384"/>
                <a:gd name="T86" fmla="*/ 156 w 224"/>
                <a:gd name="T87" fmla="*/ 204 h 384"/>
                <a:gd name="T88" fmla="*/ 142 w 224"/>
                <a:gd name="T89" fmla="*/ 214 h 384"/>
                <a:gd name="T90" fmla="*/ 112 w 224"/>
                <a:gd name="T91" fmla="*/ 222 h 384"/>
                <a:gd name="T92" fmla="*/ 96 w 224"/>
                <a:gd name="T93" fmla="*/ 220 h 384"/>
                <a:gd name="T94" fmla="*/ 68 w 224"/>
                <a:gd name="T95" fmla="*/ 20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4" h="384">
                  <a:moveTo>
                    <a:pt x="170" y="364"/>
                  </a:moveTo>
                  <a:lnTo>
                    <a:pt x="126" y="364"/>
                  </a:lnTo>
                  <a:lnTo>
                    <a:pt x="126" y="266"/>
                  </a:lnTo>
                  <a:lnTo>
                    <a:pt x="126" y="266"/>
                  </a:lnTo>
                  <a:lnTo>
                    <a:pt x="126" y="266"/>
                  </a:lnTo>
                  <a:lnTo>
                    <a:pt x="128" y="258"/>
                  </a:lnTo>
                  <a:lnTo>
                    <a:pt x="132" y="250"/>
                  </a:lnTo>
                  <a:lnTo>
                    <a:pt x="136" y="242"/>
                  </a:lnTo>
                  <a:lnTo>
                    <a:pt x="142" y="238"/>
                  </a:lnTo>
                  <a:lnTo>
                    <a:pt x="156" y="228"/>
                  </a:lnTo>
                  <a:lnTo>
                    <a:pt x="168" y="220"/>
                  </a:lnTo>
                  <a:lnTo>
                    <a:pt x="168" y="220"/>
                  </a:lnTo>
                  <a:lnTo>
                    <a:pt x="178" y="210"/>
                  </a:lnTo>
                  <a:lnTo>
                    <a:pt x="188" y="200"/>
                  </a:lnTo>
                  <a:lnTo>
                    <a:pt x="196" y="188"/>
                  </a:lnTo>
                  <a:lnTo>
                    <a:pt x="206" y="174"/>
                  </a:lnTo>
                  <a:lnTo>
                    <a:pt x="212" y="158"/>
                  </a:lnTo>
                  <a:lnTo>
                    <a:pt x="218" y="142"/>
                  </a:lnTo>
                  <a:lnTo>
                    <a:pt x="222" y="124"/>
                  </a:lnTo>
                  <a:lnTo>
                    <a:pt x="224" y="106"/>
                  </a:lnTo>
                  <a:lnTo>
                    <a:pt x="224" y="106"/>
                  </a:lnTo>
                  <a:lnTo>
                    <a:pt x="222" y="88"/>
                  </a:lnTo>
                  <a:lnTo>
                    <a:pt x="220" y="68"/>
                  </a:lnTo>
                  <a:lnTo>
                    <a:pt x="214" y="34"/>
                  </a:lnTo>
                  <a:lnTo>
                    <a:pt x="206" y="0"/>
                  </a:lnTo>
                  <a:lnTo>
                    <a:pt x="112" y="0"/>
                  </a:lnTo>
                  <a:lnTo>
                    <a:pt x="18" y="0"/>
                  </a:lnTo>
                  <a:lnTo>
                    <a:pt x="18" y="0"/>
                  </a:lnTo>
                  <a:lnTo>
                    <a:pt x="10" y="34"/>
                  </a:lnTo>
                  <a:lnTo>
                    <a:pt x="4" y="68"/>
                  </a:lnTo>
                  <a:lnTo>
                    <a:pt x="2" y="88"/>
                  </a:lnTo>
                  <a:lnTo>
                    <a:pt x="0" y="106"/>
                  </a:lnTo>
                  <a:lnTo>
                    <a:pt x="0" y="106"/>
                  </a:lnTo>
                  <a:lnTo>
                    <a:pt x="2" y="124"/>
                  </a:lnTo>
                  <a:lnTo>
                    <a:pt x="6" y="142"/>
                  </a:lnTo>
                  <a:lnTo>
                    <a:pt x="12" y="158"/>
                  </a:lnTo>
                  <a:lnTo>
                    <a:pt x="18" y="174"/>
                  </a:lnTo>
                  <a:lnTo>
                    <a:pt x="28" y="188"/>
                  </a:lnTo>
                  <a:lnTo>
                    <a:pt x="36" y="200"/>
                  </a:lnTo>
                  <a:lnTo>
                    <a:pt x="46" y="210"/>
                  </a:lnTo>
                  <a:lnTo>
                    <a:pt x="56" y="220"/>
                  </a:lnTo>
                  <a:lnTo>
                    <a:pt x="56" y="220"/>
                  </a:lnTo>
                  <a:lnTo>
                    <a:pt x="68" y="228"/>
                  </a:lnTo>
                  <a:lnTo>
                    <a:pt x="82" y="238"/>
                  </a:lnTo>
                  <a:lnTo>
                    <a:pt x="88" y="244"/>
                  </a:lnTo>
                  <a:lnTo>
                    <a:pt x="94" y="250"/>
                  </a:lnTo>
                  <a:lnTo>
                    <a:pt x="96" y="258"/>
                  </a:lnTo>
                  <a:lnTo>
                    <a:pt x="98" y="266"/>
                  </a:lnTo>
                  <a:lnTo>
                    <a:pt x="98" y="364"/>
                  </a:lnTo>
                  <a:lnTo>
                    <a:pt x="54" y="364"/>
                  </a:lnTo>
                  <a:lnTo>
                    <a:pt x="54" y="364"/>
                  </a:lnTo>
                  <a:lnTo>
                    <a:pt x="50" y="364"/>
                  </a:lnTo>
                  <a:lnTo>
                    <a:pt x="48" y="366"/>
                  </a:lnTo>
                  <a:lnTo>
                    <a:pt x="44" y="370"/>
                  </a:lnTo>
                  <a:lnTo>
                    <a:pt x="44" y="374"/>
                  </a:lnTo>
                  <a:lnTo>
                    <a:pt x="44" y="374"/>
                  </a:lnTo>
                  <a:lnTo>
                    <a:pt x="44" y="378"/>
                  </a:lnTo>
                  <a:lnTo>
                    <a:pt x="48" y="380"/>
                  </a:lnTo>
                  <a:lnTo>
                    <a:pt x="50" y="382"/>
                  </a:lnTo>
                  <a:lnTo>
                    <a:pt x="54" y="384"/>
                  </a:lnTo>
                  <a:lnTo>
                    <a:pt x="170" y="384"/>
                  </a:lnTo>
                  <a:lnTo>
                    <a:pt x="170" y="384"/>
                  </a:lnTo>
                  <a:lnTo>
                    <a:pt x="174" y="382"/>
                  </a:lnTo>
                  <a:lnTo>
                    <a:pt x="176" y="380"/>
                  </a:lnTo>
                  <a:lnTo>
                    <a:pt x="180" y="378"/>
                  </a:lnTo>
                  <a:lnTo>
                    <a:pt x="180" y="374"/>
                  </a:lnTo>
                  <a:lnTo>
                    <a:pt x="180" y="374"/>
                  </a:lnTo>
                  <a:lnTo>
                    <a:pt x="180" y="370"/>
                  </a:lnTo>
                  <a:lnTo>
                    <a:pt x="176" y="366"/>
                  </a:lnTo>
                  <a:lnTo>
                    <a:pt x="174" y="364"/>
                  </a:lnTo>
                  <a:lnTo>
                    <a:pt x="170" y="364"/>
                  </a:lnTo>
                  <a:lnTo>
                    <a:pt x="170" y="364"/>
                  </a:lnTo>
                  <a:close/>
                  <a:moveTo>
                    <a:pt x="68" y="204"/>
                  </a:moveTo>
                  <a:lnTo>
                    <a:pt x="68" y="204"/>
                  </a:lnTo>
                  <a:lnTo>
                    <a:pt x="52" y="186"/>
                  </a:lnTo>
                  <a:lnTo>
                    <a:pt x="42" y="176"/>
                  </a:lnTo>
                  <a:lnTo>
                    <a:pt x="36" y="164"/>
                  </a:lnTo>
                  <a:lnTo>
                    <a:pt x="28" y="150"/>
                  </a:lnTo>
                  <a:lnTo>
                    <a:pt x="24" y="136"/>
                  </a:lnTo>
                  <a:lnTo>
                    <a:pt x="20" y="122"/>
                  </a:lnTo>
                  <a:lnTo>
                    <a:pt x="20" y="106"/>
                  </a:lnTo>
                  <a:lnTo>
                    <a:pt x="20" y="106"/>
                  </a:lnTo>
                  <a:lnTo>
                    <a:pt x="22" y="80"/>
                  </a:lnTo>
                  <a:lnTo>
                    <a:pt x="22" y="80"/>
                  </a:lnTo>
                  <a:lnTo>
                    <a:pt x="38" y="78"/>
                  </a:lnTo>
                  <a:lnTo>
                    <a:pt x="58" y="78"/>
                  </a:lnTo>
                  <a:lnTo>
                    <a:pt x="84" y="80"/>
                  </a:lnTo>
                  <a:lnTo>
                    <a:pt x="112" y="88"/>
                  </a:lnTo>
                  <a:lnTo>
                    <a:pt x="112" y="88"/>
                  </a:lnTo>
                  <a:lnTo>
                    <a:pt x="126" y="90"/>
                  </a:lnTo>
                  <a:lnTo>
                    <a:pt x="138" y="92"/>
                  </a:lnTo>
                  <a:lnTo>
                    <a:pt x="164" y="94"/>
                  </a:lnTo>
                  <a:lnTo>
                    <a:pt x="164" y="94"/>
                  </a:lnTo>
                  <a:lnTo>
                    <a:pt x="162" y="106"/>
                  </a:lnTo>
                  <a:lnTo>
                    <a:pt x="160" y="120"/>
                  </a:lnTo>
                  <a:lnTo>
                    <a:pt x="156" y="132"/>
                  </a:lnTo>
                  <a:lnTo>
                    <a:pt x="150" y="144"/>
                  </a:lnTo>
                  <a:lnTo>
                    <a:pt x="144" y="154"/>
                  </a:lnTo>
                  <a:lnTo>
                    <a:pt x="138" y="162"/>
                  </a:lnTo>
                  <a:lnTo>
                    <a:pt x="130" y="170"/>
                  </a:lnTo>
                  <a:lnTo>
                    <a:pt x="122" y="176"/>
                  </a:lnTo>
                  <a:lnTo>
                    <a:pt x="122" y="176"/>
                  </a:lnTo>
                  <a:lnTo>
                    <a:pt x="118" y="178"/>
                  </a:lnTo>
                  <a:lnTo>
                    <a:pt x="116" y="182"/>
                  </a:lnTo>
                  <a:lnTo>
                    <a:pt x="116" y="186"/>
                  </a:lnTo>
                  <a:lnTo>
                    <a:pt x="118" y="190"/>
                  </a:lnTo>
                  <a:lnTo>
                    <a:pt x="118" y="190"/>
                  </a:lnTo>
                  <a:lnTo>
                    <a:pt x="122" y="194"/>
                  </a:lnTo>
                  <a:lnTo>
                    <a:pt x="126" y="194"/>
                  </a:lnTo>
                  <a:lnTo>
                    <a:pt x="126" y="194"/>
                  </a:lnTo>
                  <a:lnTo>
                    <a:pt x="132" y="194"/>
                  </a:lnTo>
                  <a:lnTo>
                    <a:pt x="132" y="194"/>
                  </a:lnTo>
                  <a:lnTo>
                    <a:pt x="142" y="186"/>
                  </a:lnTo>
                  <a:lnTo>
                    <a:pt x="152" y="176"/>
                  </a:lnTo>
                  <a:lnTo>
                    <a:pt x="160" y="166"/>
                  </a:lnTo>
                  <a:lnTo>
                    <a:pt x="168" y="152"/>
                  </a:lnTo>
                  <a:lnTo>
                    <a:pt x="174" y="138"/>
                  </a:lnTo>
                  <a:lnTo>
                    <a:pt x="178" y="124"/>
                  </a:lnTo>
                  <a:lnTo>
                    <a:pt x="182" y="108"/>
                  </a:lnTo>
                  <a:lnTo>
                    <a:pt x="184" y="92"/>
                  </a:lnTo>
                  <a:lnTo>
                    <a:pt x="184" y="92"/>
                  </a:lnTo>
                  <a:lnTo>
                    <a:pt x="204" y="88"/>
                  </a:lnTo>
                  <a:lnTo>
                    <a:pt x="204" y="88"/>
                  </a:lnTo>
                  <a:lnTo>
                    <a:pt x="204" y="106"/>
                  </a:lnTo>
                  <a:lnTo>
                    <a:pt x="204" y="106"/>
                  </a:lnTo>
                  <a:lnTo>
                    <a:pt x="204" y="122"/>
                  </a:lnTo>
                  <a:lnTo>
                    <a:pt x="200" y="136"/>
                  </a:lnTo>
                  <a:lnTo>
                    <a:pt x="196" y="150"/>
                  </a:lnTo>
                  <a:lnTo>
                    <a:pt x="188" y="164"/>
                  </a:lnTo>
                  <a:lnTo>
                    <a:pt x="182" y="176"/>
                  </a:lnTo>
                  <a:lnTo>
                    <a:pt x="172" y="186"/>
                  </a:lnTo>
                  <a:lnTo>
                    <a:pt x="156" y="204"/>
                  </a:lnTo>
                  <a:lnTo>
                    <a:pt x="156" y="204"/>
                  </a:lnTo>
                  <a:lnTo>
                    <a:pt x="152" y="208"/>
                  </a:lnTo>
                  <a:lnTo>
                    <a:pt x="142" y="214"/>
                  </a:lnTo>
                  <a:lnTo>
                    <a:pt x="128" y="220"/>
                  </a:lnTo>
                  <a:lnTo>
                    <a:pt x="120" y="222"/>
                  </a:lnTo>
                  <a:lnTo>
                    <a:pt x="112" y="222"/>
                  </a:lnTo>
                  <a:lnTo>
                    <a:pt x="112" y="222"/>
                  </a:lnTo>
                  <a:lnTo>
                    <a:pt x="104" y="222"/>
                  </a:lnTo>
                  <a:lnTo>
                    <a:pt x="96" y="220"/>
                  </a:lnTo>
                  <a:lnTo>
                    <a:pt x="82" y="214"/>
                  </a:lnTo>
                  <a:lnTo>
                    <a:pt x="72" y="208"/>
                  </a:lnTo>
                  <a:lnTo>
                    <a:pt x="68" y="204"/>
                  </a:lnTo>
                  <a:lnTo>
                    <a:pt x="68" y="204"/>
                  </a:lnTo>
                  <a:close/>
                </a:path>
              </a:pathLst>
            </a:custGeom>
            <a:solidFill>
              <a:srgbClr val="505050"/>
            </a:solid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95" name="Group 94">
            <a:extLst>
              <a:ext uri="{FF2B5EF4-FFF2-40B4-BE49-F238E27FC236}">
                <a16:creationId xmlns:a16="http://schemas.microsoft.com/office/drawing/2014/main" id="{1744D7E6-D2B7-4E5E-8ED9-AAF040512C0F}"/>
              </a:ext>
            </a:extLst>
          </p:cNvPr>
          <p:cNvGrpSpPr/>
          <p:nvPr/>
        </p:nvGrpSpPr>
        <p:grpSpPr>
          <a:xfrm>
            <a:off x="2781846" y="3744136"/>
            <a:ext cx="523325" cy="523325"/>
            <a:chOff x="1467520" y="4690710"/>
            <a:chExt cx="612000" cy="612000"/>
          </a:xfrm>
        </p:grpSpPr>
        <p:sp>
          <p:nvSpPr>
            <p:cNvPr id="96" name="Oval 95">
              <a:extLst>
                <a:ext uri="{FF2B5EF4-FFF2-40B4-BE49-F238E27FC236}">
                  <a16:creationId xmlns:a16="http://schemas.microsoft.com/office/drawing/2014/main" id="{FC10308A-5764-4239-9750-80657BA829EA}"/>
                </a:ext>
              </a:extLst>
            </p:cNvPr>
            <p:cNvSpPr/>
            <p:nvPr/>
          </p:nvSpPr>
          <p:spPr bwMode="ltGray">
            <a:xfrm>
              <a:off x="1467520" y="4690710"/>
              <a:ext cx="612000" cy="612000"/>
            </a:xfrm>
            <a:prstGeom prst="ellipse">
              <a:avLst/>
            </a:prstGeom>
            <a:noFill/>
            <a:ln>
              <a:noFill/>
            </a:ln>
          </p:spPr>
          <p:txBody>
            <a:bodyPr vert="horz" wrap="square" lIns="78191" tIns="39095" rIns="78191" bIns="39095" numCol="1" anchor="t" anchorCtr="0" compatLnSpc="1">
              <a:prstTxWarp prst="textNoShape">
                <a:avLst/>
              </a:prstTxWarp>
            </a:bodyPr>
            <a:lstStyle/>
            <a:p>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97" name="Freeform 4824">
              <a:extLst>
                <a:ext uri="{FF2B5EF4-FFF2-40B4-BE49-F238E27FC236}">
                  <a16:creationId xmlns:a16="http://schemas.microsoft.com/office/drawing/2014/main" id="{A8EF1B29-EEF3-49FF-9927-A2D4E0D618A7}"/>
                </a:ext>
              </a:extLst>
            </p:cNvPr>
            <p:cNvSpPr>
              <a:spLocks noEditPoints="1"/>
            </p:cNvSpPr>
            <p:nvPr/>
          </p:nvSpPr>
          <p:spPr bwMode="auto">
            <a:xfrm>
              <a:off x="1587208" y="4797742"/>
              <a:ext cx="372624" cy="436363"/>
            </a:xfrm>
            <a:custGeom>
              <a:avLst/>
              <a:gdLst>
                <a:gd name="T0" fmla="*/ 106 w 304"/>
                <a:gd name="T1" fmla="*/ 284 h 356"/>
                <a:gd name="T2" fmla="*/ 32 w 304"/>
                <a:gd name="T3" fmla="*/ 116 h 356"/>
                <a:gd name="T4" fmla="*/ 128 w 304"/>
                <a:gd name="T5" fmla="*/ 258 h 356"/>
                <a:gd name="T6" fmla="*/ 304 w 304"/>
                <a:gd name="T7" fmla="*/ 78 h 356"/>
                <a:gd name="T8" fmla="*/ 304 w 304"/>
                <a:gd name="T9" fmla="*/ 264 h 356"/>
                <a:gd name="T10" fmla="*/ 298 w 304"/>
                <a:gd name="T11" fmla="*/ 272 h 356"/>
                <a:gd name="T12" fmla="*/ 280 w 304"/>
                <a:gd name="T13" fmla="*/ 290 h 356"/>
                <a:gd name="T14" fmla="*/ 280 w 304"/>
                <a:gd name="T15" fmla="*/ 294 h 356"/>
                <a:gd name="T16" fmla="*/ 156 w 304"/>
                <a:gd name="T17" fmla="*/ 354 h 356"/>
                <a:gd name="T18" fmla="*/ 156 w 304"/>
                <a:gd name="T19" fmla="*/ 354 h 356"/>
                <a:gd name="T20" fmla="*/ 152 w 304"/>
                <a:gd name="T21" fmla="*/ 356 h 356"/>
                <a:gd name="T22" fmla="*/ 148 w 304"/>
                <a:gd name="T23" fmla="*/ 354 h 356"/>
                <a:gd name="T24" fmla="*/ 148 w 304"/>
                <a:gd name="T25" fmla="*/ 354 h 356"/>
                <a:gd name="T26" fmla="*/ 28 w 304"/>
                <a:gd name="T27" fmla="*/ 298 h 356"/>
                <a:gd name="T28" fmla="*/ 24 w 304"/>
                <a:gd name="T29" fmla="*/ 290 h 356"/>
                <a:gd name="T30" fmla="*/ 6 w 304"/>
                <a:gd name="T31" fmla="*/ 272 h 356"/>
                <a:gd name="T32" fmla="*/ 2 w 304"/>
                <a:gd name="T33" fmla="*/ 270 h 356"/>
                <a:gd name="T34" fmla="*/ 0 w 304"/>
                <a:gd name="T35" fmla="*/ 78 h 356"/>
                <a:gd name="T36" fmla="*/ 0 w 304"/>
                <a:gd name="T37" fmla="*/ 78 h 356"/>
                <a:gd name="T38" fmla="*/ 0 w 304"/>
                <a:gd name="T39" fmla="*/ 76 h 356"/>
                <a:gd name="T40" fmla="*/ 0 w 304"/>
                <a:gd name="T41" fmla="*/ 76 h 356"/>
                <a:gd name="T42" fmla="*/ 2 w 304"/>
                <a:gd name="T43" fmla="*/ 72 h 356"/>
                <a:gd name="T44" fmla="*/ 148 w 304"/>
                <a:gd name="T45" fmla="*/ 2 h 356"/>
                <a:gd name="T46" fmla="*/ 148 w 304"/>
                <a:gd name="T47" fmla="*/ 2 h 356"/>
                <a:gd name="T48" fmla="*/ 150 w 304"/>
                <a:gd name="T49" fmla="*/ 2 h 356"/>
                <a:gd name="T50" fmla="*/ 152 w 304"/>
                <a:gd name="T51" fmla="*/ 0 h 356"/>
                <a:gd name="T52" fmla="*/ 154 w 304"/>
                <a:gd name="T53" fmla="*/ 2 h 356"/>
                <a:gd name="T54" fmla="*/ 156 w 304"/>
                <a:gd name="T55" fmla="*/ 2 h 356"/>
                <a:gd name="T56" fmla="*/ 156 w 304"/>
                <a:gd name="T57" fmla="*/ 2 h 356"/>
                <a:gd name="T58" fmla="*/ 298 w 304"/>
                <a:gd name="T59" fmla="*/ 70 h 356"/>
                <a:gd name="T60" fmla="*/ 304 w 304"/>
                <a:gd name="T61" fmla="*/ 76 h 356"/>
                <a:gd name="T62" fmla="*/ 304 w 304"/>
                <a:gd name="T63" fmla="*/ 76 h 356"/>
                <a:gd name="T64" fmla="*/ 304 w 304"/>
                <a:gd name="T65" fmla="*/ 78 h 356"/>
                <a:gd name="T66" fmla="*/ 304 w 304"/>
                <a:gd name="T67" fmla="*/ 78 h 356"/>
                <a:gd name="T68" fmla="*/ 144 w 304"/>
                <a:gd name="T69" fmla="*/ 150 h 356"/>
                <a:gd name="T70" fmla="*/ 16 w 304"/>
                <a:gd name="T71" fmla="*/ 260 h 356"/>
                <a:gd name="T72" fmla="*/ 144 w 304"/>
                <a:gd name="T73" fmla="*/ 150 h 356"/>
                <a:gd name="T74" fmla="*/ 152 w 304"/>
                <a:gd name="T75" fmla="*/ 18 h 356"/>
                <a:gd name="T76" fmla="*/ 152 w 304"/>
                <a:gd name="T77" fmla="*/ 136 h 356"/>
                <a:gd name="T78" fmla="*/ 288 w 304"/>
                <a:gd name="T79" fmla="*/ 90 h 356"/>
                <a:gd name="T80" fmla="*/ 160 w 304"/>
                <a:gd name="T81" fmla="*/ 286 h 356"/>
                <a:gd name="T82" fmla="*/ 184 w 304"/>
                <a:gd name="T83" fmla="*/ 308 h 356"/>
                <a:gd name="T84" fmla="*/ 288 w 304"/>
                <a:gd name="T85" fmla="*/ 90 h 356"/>
                <a:gd name="T86" fmla="*/ 208 w 304"/>
                <a:gd name="T87" fmla="*/ 92 h 356"/>
                <a:gd name="T88" fmla="*/ 210 w 304"/>
                <a:gd name="T89" fmla="*/ 62 h 356"/>
                <a:gd name="T90" fmla="*/ 64 w 304"/>
                <a:gd name="T91" fmla="*/ 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4" h="356">
                  <a:moveTo>
                    <a:pt x="128" y="294"/>
                  </a:moveTo>
                  <a:lnTo>
                    <a:pt x="106" y="284"/>
                  </a:lnTo>
                  <a:lnTo>
                    <a:pt x="32" y="152"/>
                  </a:lnTo>
                  <a:lnTo>
                    <a:pt x="32" y="116"/>
                  </a:lnTo>
                  <a:lnTo>
                    <a:pt x="54" y="126"/>
                  </a:lnTo>
                  <a:lnTo>
                    <a:pt x="128" y="258"/>
                  </a:lnTo>
                  <a:lnTo>
                    <a:pt x="128" y="294"/>
                  </a:lnTo>
                  <a:close/>
                  <a:moveTo>
                    <a:pt x="304" y="78"/>
                  </a:moveTo>
                  <a:lnTo>
                    <a:pt x="304" y="264"/>
                  </a:lnTo>
                  <a:lnTo>
                    <a:pt x="304" y="264"/>
                  </a:lnTo>
                  <a:lnTo>
                    <a:pt x="302" y="270"/>
                  </a:lnTo>
                  <a:lnTo>
                    <a:pt x="298" y="272"/>
                  </a:lnTo>
                  <a:lnTo>
                    <a:pt x="280" y="280"/>
                  </a:lnTo>
                  <a:lnTo>
                    <a:pt x="280" y="290"/>
                  </a:lnTo>
                  <a:lnTo>
                    <a:pt x="280" y="290"/>
                  </a:lnTo>
                  <a:lnTo>
                    <a:pt x="280" y="294"/>
                  </a:lnTo>
                  <a:lnTo>
                    <a:pt x="276" y="298"/>
                  </a:lnTo>
                  <a:lnTo>
                    <a:pt x="156" y="354"/>
                  </a:lnTo>
                  <a:lnTo>
                    <a:pt x="156" y="354"/>
                  </a:lnTo>
                  <a:lnTo>
                    <a:pt x="156" y="354"/>
                  </a:lnTo>
                  <a:lnTo>
                    <a:pt x="156" y="354"/>
                  </a:lnTo>
                  <a:lnTo>
                    <a:pt x="152" y="356"/>
                  </a:lnTo>
                  <a:lnTo>
                    <a:pt x="152" y="356"/>
                  </a:lnTo>
                  <a:lnTo>
                    <a:pt x="148" y="354"/>
                  </a:lnTo>
                  <a:lnTo>
                    <a:pt x="148" y="354"/>
                  </a:lnTo>
                  <a:lnTo>
                    <a:pt x="148" y="354"/>
                  </a:lnTo>
                  <a:lnTo>
                    <a:pt x="28" y="298"/>
                  </a:lnTo>
                  <a:lnTo>
                    <a:pt x="28" y="298"/>
                  </a:lnTo>
                  <a:lnTo>
                    <a:pt x="24" y="294"/>
                  </a:lnTo>
                  <a:lnTo>
                    <a:pt x="24" y="290"/>
                  </a:lnTo>
                  <a:lnTo>
                    <a:pt x="24" y="280"/>
                  </a:lnTo>
                  <a:lnTo>
                    <a:pt x="6" y="272"/>
                  </a:lnTo>
                  <a:lnTo>
                    <a:pt x="6" y="272"/>
                  </a:lnTo>
                  <a:lnTo>
                    <a:pt x="2" y="270"/>
                  </a:lnTo>
                  <a:lnTo>
                    <a:pt x="0" y="264"/>
                  </a:lnTo>
                  <a:lnTo>
                    <a:pt x="0" y="78"/>
                  </a:lnTo>
                  <a:lnTo>
                    <a:pt x="0" y="78"/>
                  </a:lnTo>
                  <a:lnTo>
                    <a:pt x="0" y="78"/>
                  </a:lnTo>
                  <a:lnTo>
                    <a:pt x="0" y="78"/>
                  </a:lnTo>
                  <a:lnTo>
                    <a:pt x="0" y="76"/>
                  </a:lnTo>
                  <a:lnTo>
                    <a:pt x="0" y="76"/>
                  </a:lnTo>
                  <a:lnTo>
                    <a:pt x="0" y="76"/>
                  </a:lnTo>
                  <a:lnTo>
                    <a:pt x="0" y="76"/>
                  </a:lnTo>
                  <a:lnTo>
                    <a:pt x="2" y="72"/>
                  </a:lnTo>
                  <a:lnTo>
                    <a:pt x="6" y="70"/>
                  </a:lnTo>
                  <a:lnTo>
                    <a:pt x="148" y="2"/>
                  </a:lnTo>
                  <a:lnTo>
                    <a:pt x="148" y="2"/>
                  </a:lnTo>
                  <a:lnTo>
                    <a:pt x="148" y="2"/>
                  </a:lnTo>
                  <a:lnTo>
                    <a:pt x="148" y="2"/>
                  </a:lnTo>
                  <a:lnTo>
                    <a:pt x="150" y="2"/>
                  </a:lnTo>
                  <a:lnTo>
                    <a:pt x="150" y="2"/>
                  </a:lnTo>
                  <a:lnTo>
                    <a:pt x="152" y="0"/>
                  </a:lnTo>
                  <a:lnTo>
                    <a:pt x="152" y="0"/>
                  </a:lnTo>
                  <a:lnTo>
                    <a:pt x="154" y="2"/>
                  </a:lnTo>
                  <a:lnTo>
                    <a:pt x="154" y="2"/>
                  </a:lnTo>
                  <a:lnTo>
                    <a:pt x="156" y="2"/>
                  </a:lnTo>
                  <a:lnTo>
                    <a:pt x="156" y="2"/>
                  </a:lnTo>
                  <a:lnTo>
                    <a:pt x="156" y="2"/>
                  </a:lnTo>
                  <a:lnTo>
                    <a:pt x="298" y="70"/>
                  </a:lnTo>
                  <a:lnTo>
                    <a:pt x="298" y="70"/>
                  </a:lnTo>
                  <a:lnTo>
                    <a:pt x="302" y="72"/>
                  </a:lnTo>
                  <a:lnTo>
                    <a:pt x="304" y="76"/>
                  </a:lnTo>
                  <a:lnTo>
                    <a:pt x="304" y="76"/>
                  </a:lnTo>
                  <a:lnTo>
                    <a:pt x="304" y="76"/>
                  </a:lnTo>
                  <a:lnTo>
                    <a:pt x="304" y="76"/>
                  </a:lnTo>
                  <a:lnTo>
                    <a:pt x="304" y="78"/>
                  </a:lnTo>
                  <a:lnTo>
                    <a:pt x="304" y="78"/>
                  </a:lnTo>
                  <a:lnTo>
                    <a:pt x="304" y="78"/>
                  </a:lnTo>
                  <a:lnTo>
                    <a:pt x="304" y="78"/>
                  </a:lnTo>
                  <a:close/>
                  <a:moveTo>
                    <a:pt x="144" y="150"/>
                  </a:moveTo>
                  <a:lnTo>
                    <a:pt x="16" y="90"/>
                  </a:lnTo>
                  <a:lnTo>
                    <a:pt x="16" y="260"/>
                  </a:lnTo>
                  <a:lnTo>
                    <a:pt x="144" y="320"/>
                  </a:lnTo>
                  <a:lnTo>
                    <a:pt x="144" y="150"/>
                  </a:lnTo>
                  <a:close/>
                  <a:moveTo>
                    <a:pt x="278" y="78"/>
                  </a:moveTo>
                  <a:lnTo>
                    <a:pt x="152" y="18"/>
                  </a:lnTo>
                  <a:lnTo>
                    <a:pt x="26" y="78"/>
                  </a:lnTo>
                  <a:lnTo>
                    <a:pt x="152" y="136"/>
                  </a:lnTo>
                  <a:lnTo>
                    <a:pt x="278" y="78"/>
                  </a:lnTo>
                  <a:close/>
                  <a:moveTo>
                    <a:pt x="288" y="90"/>
                  </a:moveTo>
                  <a:lnTo>
                    <a:pt x="264" y="102"/>
                  </a:lnTo>
                  <a:lnTo>
                    <a:pt x="160" y="286"/>
                  </a:lnTo>
                  <a:lnTo>
                    <a:pt x="160" y="320"/>
                  </a:lnTo>
                  <a:lnTo>
                    <a:pt x="184" y="308"/>
                  </a:lnTo>
                  <a:lnTo>
                    <a:pt x="288" y="124"/>
                  </a:lnTo>
                  <a:lnTo>
                    <a:pt x="288" y="90"/>
                  </a:lnTo>
                  <a:close/>
                  <a:moveTo>
                    <a:pt x="96" y="92"/>
                  </a:moveTo>
                  <a:lnTo>
                    <a:pt x="208" y="92"/>
                  </a:lnTo>
                  <a:lnTo>
                    <a:pt x="240" y="78"/>
                  </a:lnTo>
                  <a:lnTo>
                    <a:pt x="210" y="62"/>
                  </a:lnTo>
                  <a:lnTo>
                    <a:pt x="94" y="62"/>
                  </a:lnTo>
                  <a:lnTo>
                    <a:pt x="64" y="78"/>
                  </a:lnTo>
                  <a:lnTo>
                    <a:pt x="96" y="92"/>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98" name="Group 97">
            <a:extLst>
              <a:ext uri="{FF2B5EF4-FFF2-40B4-BE49-F238E27FC236}">
                <a16:creationId xmlns:a16="http://schemas.microsoft.com/office/drawing/2014/main" id="{BFAE15E4-4762-41BC-BCE5-0ABE9B661869}"/>
              </a:ext>
            </a:extLst>
          </p:cNvPr>
          <p:cNvGrpSpPr/>
          <p:nvPr/>
        </p:nvGrpSpPr>
        <p:grpSpPr>
          <a:xfrm>
            <a:off x="3529819" y="3744136"/>
            <a:ext cx="523325" cy="523325"/>
            <a:chOff x="2342233" y="4690710"/>
            <a:chExt cx="612000" cy="612000"/>
          </a:xfrm>
          <a:solidFill>
            <a:srgbClr val="505050"/>
          </a:solidFill>
        </p:grpSpPr>
        <p:sp>
          <p:nvSpPr>
            <p:cNvPr id="99" name="Oval 98">
              <a:extLst>
                <a:ext uri="{FF2B5EF4-FFF2-40B4-BE49-F238E27FC236}">
                  <a16:creationId xmlns:a16="http://schemas.microsoft.com/office/drawing/2014/main" id="{FEBD3575-A184-4928-9300-339F0D3A5BD7}"/>
                </a:ext>
              </a:extLst>
            </p:cNvPr>
            <p:cNvSpPr/>
            <p:nvPr/>
          </p:nvSpPr>
          <p:spPr bwMode="ltGray">
            <a:xfrm>
              <a:off x="2342233"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00" name="Freeform 4825">
              <a:extLst>
                <a:ext uri="{FF2B5EF4-FFF2-40B4-BE49-F238E27FC236}">
                  <a16:creationId xmlns:a16="http://schemas.microsoft.com/office/drawing/2014/main" id="{F6EE1E39-ABB4-409F-84B6-A24421794679}"/>
                </a:ext>
              </a:extLst>
            </p:cNvPr>
            <p:cNvSpPr>
              <a:spLocks noEditPoints="1"/>
            </p:cNvSpPr>
            <p:nvPr/>
          </p:nvSpPr>
          <p:spPr bwMode="auto">
            <a:xfrm>
              <a:off x="2498693" y="4810000"/>
              <a:ext cx="299080" cy="409397"/>
            </a:xfrm>
            <a:custGeom>
              <a:avLst/>
              <a:gdLst>
                <a:gd name="T0" fmla="*/ 244 w 244"/>
                <a:gd name="T1" fmla="*/ 162 h 334"/>
                <a:gd name="T2" fmla="*/ 242 w 244"/>
                <a:gd name="T3" fmla="*/ 166 h 334"/>
                <a:gd name="T4" fmla="*/ 238 w 244"/>
                <a:gd name="T5" fmla="*/ 172 h 334"/>
                <a:gd name="T6" fmla="*/ 188 w 244"/>
                <a:gd name="T7" fmla="*/ 172 h 334"/>
                <a:gd name="T8" fmla="*/ 188 w 244"/>
                <a:gd name="T9" fmla="*/ 114 h 334"/>
                <a:gd name="T10" fmla="*/ 184 w 244"/>
                <a:gd name="T11" fmla="*/ 88 h 334"/>
                <a:gd name="T12" fmla="*/ 168 w 244"/>
                <a:gd name="T13" fmla="*/ 68 h 334"/>
                <a:gd name="T14" fmla="*/ 148 w 244"/>
                <a:gd name="T15" fmla="*/ 54 h 334"/>
                <a:gd name="T16" fmla="*/ 122 w 244"/>
                <a:gd name="T17" fmla="*/ 48 h 334"/>
                <a:gd name="T18" fmla="*/ 108 w 244"/>
                <a:gd name="T19" fmla="*/ 50 h 334"/>
                <a:gd name="T20" fmla="*/ 84 w 244"/>
                <a:gd name="T21" fmla="*/ 60 h 334"/>
                <a:gd name="T22" fmla="*/ 66 w 244"/>
                <a:gd name="T23" fmla="*/ 78 h 334"/>
                <a:gd name="T24" fmla="*/ 58 w 244"/>
                <a:gd name="T25" fmla="*/ 100 h 334"/>
                <a:gd name="T26" fmla="*/ 56 w 244"/>
                <a:gd name="T27" fmla="*/ 172 h 334"/>
                <a:gd name="T28" fmla="*/ 10 w 244"/>
                <a:gd name="T29" fmla="*/ 172 h 334"/>
                <a:gd name="T30" fmla="*/ 4 w 244"/>
                <a:gd name="T31" fmla="*/ 170 h 334"/>
                <a:gd name="T32" fmla="*/ 0 w 244"/>
                <a:gd name="T33" fmla="*/ 162 h 334"/>
                <a:gd name="T34" fmla="*/ 0 w 244"/>
                <a:gd name="T35" fmla="*/ 10 h 334"/>
                <a:gd name="T36" fmla="*/ 4 w 244"/>
                <a:gd name="T37" fmla="*/ 2 h 334"/>
                <a:gd name="T38" fmla="*/ 10 w 244"/>
                <a:gd name="T39" fmla="*/ 0 h 334"/>
                <a:gd name="T40" fmla="*/ 234 w 244"/>
                <a:gd name="T41" fmla="*/ 0 h 334"/>
                <a:gd name="T42" fmla="*/ 240 w 244"/>
                <a:gd name="T43" fmla="*/ 2 h 334"/>
                <a:gd name="T44" fmla="*/ 244 w 244"/>
                <a:gd name="T45" fmla="*/ 10 h 334"/>
                <a:gd name="T46" fmla="*/ 222 w 244"/>
                <a:gd name="T47" fmla="*/ 334 h 334"/>
                <a:gd name="T48" fmla="*/ 102 w 244"/>
                <a:gd name="T49" fmla="*/ 122 h 334"/>
                <a:gd name="T50" fmla="*/ 222 w 244"/>
                <a:gd name="T51" fmla="*/ 334 h 334"/>
                <a:gd name="T52" fmla="*/ 114 w 244"/>
                <a:gd name="T53" fmla="*/ 156 h 334"/>
                <a:gd name="T54" fmla="*/ 128 w 244"/>
                <a:gd name="T55" fmla="*/ 138 h 334"/>
                <a:gd name="T56" fmla="*/ 114 w 244"/>
                <a:gd name="T57" fmla="*/ 172 h 334"/>
                <a:gd name="T58" fmla="*/ 134 w 244"/>
                <a:gd name="T59" fmla="*/ 206 h 334"/>
                <a:gd name="T60" fmla="*/ 114 w 244"/>
                <a:gd name="T61" fmla="*/ 172 h 334"/>
                <a:gd name="T62" fmla="*/ 134 w 244"/>
                <a:gd name="T63" fmla="*/ 226 h 334"/>
                <a:gd name="T64" fmla="*/ 104 w 244"/>
                <a:gd name="T65" fmla="*/ 300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4" h="334">
                  <a:moveTo>
                    <a:pt x="244" y="10"/>
                  </a:moveTo>
                  <a:lnTo>
                    <a:pt x="244" y="162"/>
                  </a:lnTo>
                  <a:lnTo>
                    <a:pt x="244" y="162"/>
                  </a:lnTo>
                  <a:lnTo>
                    <a:pt x="242" y="166"/>
                  </a:lnTo>
                  <a:lnTo>
                    <a:pt x="240" y="170"/>
                  </a:lnTo>
                  <a:lnTo>
                    <a:pt x="238" y="172"/>
                  </a:lnTo>
                  <a:lnTo>
                    <a:pt x="234" y="172"/>
                  </a:lnTo>
                  <a:lnTo>
                    <a:pt x="188" y="172"/>
                  </a:lnTo>
                  <a:lnTo>
                    <a:pt x="188" y="114"/>
                  </a:lnTo>
                  <a:lnTo>
                    <a:pt x="188" y="114"/>
                  </a:lnTo>
                  <a:lnTo>
                    <a:pt x="186" y="100"/>
                  </a:lnTo>
                  <a:lnTo>
                    <a:pt x="184" y="88"/>
                  </a:lnTo>
                  <a:lnTo>
                    <a:pt x="176" y="78"/>
                  </a:lnTo>
                  <a:lnTo>
                    <a:pt x="168" y="68"/>
                  </a:lnTo>
                  <a:lnTo>
                    <a:pt x="160" y="60"/>
                  </a:lnTo>
                  <a:lnTo>
                    <a:pt x="148" y="54"/>
                  </a:lnTo>
                  <a:lnTo>
                    <a:pt x="136" y="50"/>
                  </a:lnTo>
                  <a:lnTo>
                    <a:pt x="122" y="48"/>
                  </a:lnTo>
                  <a:lnTo>
                    <a:pt x="122" y="48"/>
                  </a:lnTo>
                  <a:lnTo>
                    <a:pt x="108" y="50"/>
                  </a:lnTo>
                  <a:lnTo>
                    <a:pt x="96" y="54"/>
                  </a:lnTo>
                  <a:lnTo>
                    <a:pt x="84" y="60"/>
                  </a:lnTo>
                  <a:lnTo>
                    <a:pt x="76" y="68"/>
                  </a:lnTo>
                  <a:lnTo>
                    <a:pt x="66" y="78"/>
                  </a:lnTo>
                  <a:lnTo>
                    <a:pt x="60" y="88"/>
                  </a:lnTo>
                  <a:lnTo>
                    <a:pt x="58" y="100"/>
                  </a:lnTo>
                  <a:lnTo>
                    <a:pt x="56" y="114"/>
                  </a:lnTo>
                  <a:lnTo>
                    <a:pt x="56" y="172"/>
                  </a:lnTo>
                  <a:lnTo>
                    <a:pt x="10" y="172"/>
                  </a:lnTo>
                  <a:lnTo>
                    <a:pt x="10" y="172"/>
                  </a:lnTo>
                  <a:lnTo>
                    <a:pt x="6" y="172"/>
                  </a:lnTo>
                  <a:lnTo>
                    <a:pt x="4" y="170"/>
                  </a:lnTo>
                  <a:lnTo>
                    <a:pt x="2" y="166"/>
                  </a:lnTo>
                  <a:lnTo>
                    <a:pt x="0" y="162"/>
                  </a:lnTo>
                  <a:lnTo>
                    <a:pt x="0" y="10"/>
                  </a:lnTo>
                  <a:lnTo>
                    <a:pt x="0" y="10"/>
                  </a:lnTo>
                  <a:lnTo>
                    <a:pt x="2" y="6"/>
                  </a:lnTo>
                  <a:lnTo>
                    <a:pt x="4" y="2"/>
                  </a:lnTo>
                  <a:lnTo>
                    <a:pt x="6" y="0"/>
                  </a:lnTo>
                  <a:lnTo>
                    <a:pt x="10" y="0"/>
                  </a:lnTo>
                  <a:lnTo>
                    <a:pt x="234" y="0"/>
                  </a:lnTo>
                  <a:lnTo>
                    <a:pt x="234" y="0"/>
                  </a:lnTo>
                  <a:lnTo>
                    <a:pt x="238" y="0"/>
                  </a:lnTo>
                  <a:lnTo>
                    <a:pt x="240" y="2"/>
                  </a:lnTo>
                  <a:lnTo>
                    <a:pt x="242" y="6"/>
                  </a:lnTo>
                  <a:lnTo>
                    <a:pt x="244" y="10"/>
                  </a:lnTo>
                  <a:lnTo>
                    <a:pt x="244" y="10"/>
                  </a:lnTo>
                  <a:close/>
                  <a:moveTo>
                    <a:pt x="222" y="334"/>
                  </a:moveTo>
                  <a:lnTo>
                    <a:pt x="22" y="334"/>
                  </a:lnTo>
                  <a:lnTo>
                    <a:pt x="102" y="122"/>
                  </a:lnTo>
                  <a:lnTo>
                    <a:pt x="142" y="122"/>
                  </a:lnTo>
                  <a:lnTo>
                    <a:pt x="222" y="334"/>
                  </a:lnTo>
                  <a:close/>
                  <a:moveTo>
                    <a:pt x="116" y="138"/>
                  </a:moveTo>
                  <a:lnTo>
                    <a:pt x="114" y="156"/>
                  </a:lnTo>
                  <a:lnTo>
                    <a:pt x="130" y="156"/>
                  </a:lnTo>
                  <a:lnTo>
                    <a:pt x="128" y="138"/>
                  </a:lnTo>
                  <a:lnTo>
                    <a:pt x="116" y="138"/>
                  </a:lnTo>
                  <a:close/>
                  <a:moveTo>
                    <a:pt x="114" y="172"/>
                  </a:moveTo>
                  <a:lnTo>
                    <a:pt x="110" y="206"/>
                  </a:lnTo>
                  <a:lnTo>
                    <a:pt x="134" y="206"/>
                  </a:lnTo>
                  <a:lnTo>
                    <a:pt x="130" y="172"/>
                  </a:lnTo>
                  <a:lnTo>
                    <a:pt x="114" y="172"/>
                  </a:lnTo>
                  <a:close/>
                  <a:moveTo>
                    <a:pt x="140" y="300"/>
                  </a:moveTo>
                  <a:lnTo>
                    <a:pt x="134" y="226"/>
                  </a:lnTo>
                  <a:lnTo>
                    <a:pt x="110" y="226"/>
                  </a:lnTo>
                  <a:lnTo>
                    <a:pt x="104" y="300"/>
                  </a:lnTo>
                  <a:lnTo>
                    <a:pt x="140" y="300"/>
                  </a:lnTo>
                  <a:close/>
                </a:path>
              </a:pathLst>
            </a:custGeom>
            <a:grp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01" name="Group 100">
            <a:extLst>
              <a:ext uri="{FF2B5EF4-FFF2-40B4-BE49-F238E27FC236}">
                <a16:creationId xmlns:a16="http://schemas.microsoft.com/office/drawing/2014/main" id="{6F155C4F-09C2-4561-8C1E-6E868095D1C4}"/>
              </a:ext>
            </a:extLst>
          </p:cNvPr>
          <p:cNvGrpSpPr/>
          <p:nvPr/>
        </p:nvGrpSpPr>
        <p:grpSpPr>
          <a:xfrm>
            <a:off x="4277792" y="3744136"/>
            <a:ext cx="523325" cy="523325"/>
            <a:chOff x="3216946" y="4690710"/>
            <a:chExt cx="612000" cy="612000"/>
          </a:xfrm>
          <a:solidFill>
            <a:srgbClr val="505050"/>
          </a:solidFill>
        </p:grpSpPr>
        <p:sp>
          <p:nvSpPr>
            <p:cNvPr id="102" name="Oval 101">
              <a:extLst>
                <a:ext uri="{FF2B5EF4-FFF2-40B4-BE49-F238E27FC236}">
                  <a16:creationId xmlns:a16="http://schemas.microsoft.com/office/drawing/2014/main" id="{0354E1D2-739C-4A81-9F02-F9F044E7ED31}"/>
                </a:ext>
              </a:extLst>
            </p:cNvPr>
            <p:cNvSpPr/>
            <p:nvPr/>
          </p:nvSpPr>
          <p:spPr bwMode="ltGray">
            <a:xfrm>
              <a:off x="3216946"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03" name="Freeform 4826">
              <a:extLst>
                <a:ext uri="{FF2B5EF4-FFF2-40B4-BE49-F238E27FC236}">
                  <a16:creationId xmlns:a16="http://schemas.microsoft.com/office/drawing/2014/main" id="{CA300120-BF05-4A61-8A25-293FA18734C7}"/>
                </a:ext>
              </a:extLst>
            </p:cNvPr>
            <p:cNvSpPr>
              <a:spLocks noEditPoints="1"/>
            </p:cNvSpPr>
            <p:nvPr/>
          </p:nvSpPr>
          <p:spPr bwMode="auto">
            <a:xfrm>
              <a:off x="3319474" y="4797076"/>
              <a:ext cx="406945" cy="406945"/>
            </a:xfrm>
            <a:custGeom>
              <a:avLst/>
              <a:gdLst>
                <a:gd name="T0" fmla="*/ 202 w 332"/>
                <a:gd name="T1" fmla="*/ 12 h 332"/>
                <a:gd name="T2" fmla="*/ 228 w 332"/>
                <a:gd name="T3" fmla="*/ 26 h 332"/>
                <a:gd name="T4" fmla="*/ 322 w 332"/>
                <a:gd name="T5" fmla="*/ 120 h 332"/>
                <a:gd name="T6" fmla="*/ 300 w 332"/>
                <a:gd name="T7" fmla="*/ 128 h 332"/>
                <a:gd name="T8" fmla="*/ 320 w 332"/>
                <a:gd name="T9" fmla="*/ 132 h 332"/>
                <a:gd name="T10" fmla="*/ 322 w 332"/>
                <a:gd name="T11" fmla="*/ 56 h 332"/>
                <a:gd name="T12" fmla="*/ 308 w 332"/>
                <a:gd name="T13" fmla="*/ 88 h 332"/>
                <a:gd name="T14" fmla="*/ 320 w 332"/>
                <a:gd name="T15" fmla="*/ 46 h 332"/>
                <a:gd name="T16" fmla="*/ 306 w 332"/>
                <a:gd name="T17" fmla="*/ 12 h 332"/>
                <a:gd name="T18" fmla="*/ 300 w 332"/>
                <a:gd name="T19" fmla="*/ 32 h 332"/>
                <a:gd name="T20" fmla="*/ 260 w 332"/>
                <a:gd name="T21" fmla="*/ 22 h 332"/>
                <a:gd name="T22" fmla="*/ 282 w 332"/>
                <a:gd name="T23" fmla="*/ 4 h 332"/>
                <a:gd name="T24" fmla="*/ 240 w 332"/>
                <a:gd name="T25" fmla="*/ 10 h 332"/>
                <a:gd name="T26" fmla="*/ 26 w 332"/>
                <a:gd name="T27" fmla="*/ 136 h 332"/>
                <a:gd name="T28" fmla="*/ 16 w 332"/>
                <a:gd name="T29" fmla="*/ 98 h 332"/>
                <a:gd name="T30" fmla="*/ 14 w 332"/>
                <a:gd name="T31" fmla="*/ 136 h 332"/>
                <a:gd name="T32" fmla="*/ 132 w 332"/>
                <a:gd name="T33" fmla="*/ 12 h 332"/>
                <a:gd name="T34" fmla="*/ 118 w 332"/>
                <a:gd name="T35" fmla="*/ 30 h 332"/>
                <a:gd name="T36" fmla="*/ 100 w 332"/>
                <a:gd name="T37" fmla="*/ 12 h 332"/>
                <a:gd name="T38" fmla="*/ 58 w 332"/>
                <a:gd name="T39" fmla="*/ 2 h 332"/>
                <a:gd name="T40" fmla="*/ 80 w 332"/>
                <a:gd name="T41" fmla="*/ 22 h 332"/>
                <a:gd name="T42" fmla="*/ 32 w 332"/>
                <a:gd name="T43" fmla="*/ 32 h 332"/>
                <a:gd name="T44" fmla="*/ 36 w 332"/>
                <a:gd name="T45" fmla="*/ 6 h 332"/>
                <a:gd name="T46" fmla="*/ 14 w 332"/>
                <a:gd name="T47" fmla="*/ 38 h 332"/>
                <a:gd name="T48" fmla="*/ 22 w 332"/>
                <a:gd name="T49" fmla="*/ 80 h 332"/>
                <a:gd name="T50" fmla="*/ 12 w 332"/>
                <a:gd name="T51" fmla="*/ 48 h 332"/>
                <a:gd name="T52" fmla="*/ 4 w 332"/>
                <a:gd name="T53" fmla="*/ 86 h 332"/>
                <a:gd name="T54" fmla="*/ 130 w 332"/>
                <a:gd name="T55" fmla="*/ 320 h 332"/>
                <a:gd name="T56" fmla="*/ 116 w 332"/>
                <a:gd name="T57" fmla="*/ 302 h 332"/>
                <a:gd name="T58" fmla="*/ 110 w 332"/>
                <a:gd name="T59" fmla="*/ 324 h 332"/>
                <a:gd name="T60" fmla="*/ 16 w 332"/>
                <a:gd name="T61" fmla="*/ 194 h 332"/>
                <a:gd name="T62" fmla="*/ 20 w 332"/>
                <a:gd name="T63" fmla="*/ 222 h 332"/>
                <a:gd name="T64" fmla="*/ 24 w 332"/>
                <a:gd name="T65" fmla="*/ 244 h 332"/>
                <a:gd name="T66" fmla="*/ 2 w 332"/>
                <a:gd name="T67" fmla="*/ 248 h 332"/>
                <a:gd name="T68" fmla="*/ 10 w 332"/>
                <a:gd name="T69" fmla="*/ 276 h 332"/>
                <a:gd name="T70" fmla="*/ 36 w 332"/>
                <a:gd name="T71" fmla="*/ 304 h 332"/>
                <a:gd name="T72" fmla="*/ 8 w 332"/>
                <a:gd name="T73" fmla="*/ 288 h 332"/>
                <a:gd name="T74" fmla="*/ 30 w 332"/>
                <a:gd name="T75" fmla="*/ 322 h 332"/>
                <a:gd name="T76" fmla="*/ 90 w 332"/>
                <a:gd name="T77" fmla="*/ 322 h 332"/>
                <a:gd name="T78" fmla="*/ 58 w 332"/>
                <a:gd name="T79" fmla="*/ 310 h 332"/>
                <a:gd name="T80" fmla="*/ 60 w 332"/>
                <a:gd name="T81" fmla="*/ 332 h 332"/>
                <a:gd name="T82" fmla="*/ 322 w 332"/>
                <a:gd name="T83" fmla="*/ 212 h 332"/>
                <a:gd name="T84" fmla="*/ 300 w 332"/>
                <a:gd name="T85" fmla="*/ 206 h 332"/>
                <a:gd name="T86" fmla="*/ 222 w 332"/>
                <a:gd name="T87" fmla="*/ 314 h 332"/>
                <a:gd name="T88" fmla="*/ 192 w 332"/>
                <a:gd name="T89" fmla="*/ 310 h 332"/>
                <a:gd name="T90" fmla="*/ 222 w 332"/>
                <a:gd name="T91" fmla="*/ 318 h 332"/>
                <a:gd name="T92" fmla="*/ 252 w 332"/>
                <a:gd name="T93" fmla="*/ 310 h 332"/>
                <a:gd name="T94" fmla="*/ 240 w 332"/>
                <a:gd name="T95" fmla="*/ 328 h 332"/>
                <a:gd name="T96" fmla="*/ 276 w 332"/>
                <a:gd name="T97" fmla="*/ 326 h 332"/>
                <a:gd name="T98" fmla="*/ 322 w 332"/>
                <a:gd name="T99" fmla="*/ 300 h 332"/>
                <a:gd name="T100" fmla="*/ 294 w 332"/>
                <a:gd name="T101" fmla="*/ 304 h 332"/>
                <a:gd name="T102" fmla="*/ 298 w 332"/>
                <a:gd name="T103" fmla="*/ 326 h 332"/>
                <a:gd name="T104" fmla="*/ 318 w 332"/>
                <a:gd name="T105" fmla="*/ 240 h 332"/>
                <a:gd name="T106" fmla="*/ 312 w 332"/>
                <a:gd name="T107" fmla="*/ 274 h 332"/>
                <a:gd name="T108" fmla="*/ 330 w 332"/>
                <a:gd name="T109" fmla="*/ 274 h 332"/>
                <a:gd name="T110" fmla="*/ 140 w 332"/>
                <a:gd name="T111" fmla="*/ 104 h 332"/>
                <a:gd name="T112" fmla="*/ 296 w 332"/>
                <a:gd name="T113" fmla="*/ 140 h 332"/>
                <a:gd name="T114" fmla="*/ 228 w 332"/>
                <a:gd name="T115" fmla="*/ 192 h 332"/>
                <a:gd name="T116" fmla="*/ 282 w 332"/>
                <a:gd name="T117" fmla="*/ 228 h 332"/>
                <a:gd name="T118" fmla="*/ 42 w 332"/>
                <a:gd name="T119" fmla="*/ 21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32" h="332">
                  <a:moveTo>
                    <a:pt x="204" y="32"/>
                  </a:moveTo>
                  <a:lnTo>
                    <a:pt x="204" y="32"/>
                  </a:lnTo>
                  <a:lnTo>
                    <a:pt x="200" y="30"/>
                  </a:lnTo>
                  <a:lnTo>
                    <a:pt x="198" y="28"/>
                  </a:lnTo>
                  <a:lnTo>
                    <a:pt x="196" y="26"/>
                  </a:lnTo>
                  <a:lnTo>
                    <a:pt x="194" y="22"/>
                  </a:lnTo>
                  <a:lnTo>
                    <a:pt x="194" y="22"/>
                  </a:lnTo>
                  <a:lnTo>
                    <a:pt x="194" y="18"/>
                  </a:lnTo>
                  <a:lnTo>
                    <a:pt x="196" y="16"/>
                  </a:lnTo>
                  <a:lnTo>
                    <a:pt x="198" y="12"/>
                  </a:lnTo>
                  <a:lnTo>
                    <a:pt x="202" y="12"/>
                  </a:lnTo>
                  <a:lnTo>
                    <a:pt x="202" y="12"/>
                  </a:lnTo>
                  <a:lnTo>
                    <a:pt x="212" y="10"/>
                  </a:lnTo>
                  <a:lnTo>
                    <a:pt x="212" y="10"/>
                  </a:lnTo>
                  <a:lnTo>
                    <a:pt x="222" y="8"/>
                  </a:lnTo>
                  <a:lnTo>
                    <a:pt x="222" y="8"/>
                  </a:lnTo>
                  <a:lnTo>
                    <a:pt x="226" y="8"/>
                  </a:lnTo>
                  <a:lnTo>
                    <a:pt x="228" y="10"/>
                  </a:lnTo>
                  <a:lnTo>
                    <a:pt x="232" y="12"/>
                  </a:lnTo>
                  <a:lnTo>
                    <a:pt x="234" y="16"/>
                  </a:lnTo>
                  <a:lnTo>
                    <a:pt x="234" y="16"/>
                  </a:lnTo>
                  <a:lnTo>
                    <a:pt x="234" y="20"/>
                  </a:lnTo>
                  <a:lnTo>
                    <a:pt x="232" y="24"/>
                  </a:lnTo>
                  <a:lnTo>
                    <a:pt x="228" y="26"/>
                  </a:lnTo>
                  <a:lnTo>
                    <a:pt x="226" y="28"/>
                  </a:lnTo>
                  <a:lnTo>
                    <a:pt x="226" y="28"/>
                  </a:lnTo>
                  <a:lnTo>
                    <a:pt x="214" y="30"/>
                  </a:lnTo>
                  <a:lnTo>
                    <a:pt x="214" y="30"/>
                  </a:lnTo>
                  <a:lnTo>
                    <a:pt x="206" y="32"/>
                  </a:lnTo>
                  <a:lnTo>
                    <a:pt x="206" y="32"/>
                  </a:lnTo>
                  <a:lnTo>
                    <a:pt x="204" y="32"/>
                  </a:lnTo>
                  <a:lnTo>
                    <a:pt x="204" y="32"/>
                  </a:lnTo>
                  <a:close/>
                  <a:moveTo>
                    <a:pt x="320" y="132"/>
                  </a:moveTo>
                  <a:lnTo>
                    <a:pt x="320" y="132"/>
                  </a:lnTo>
                  <a:lnTo>
                    <a:pt x="322" y="120"/>
                  </a:lnTo>
                  <a:lnTo>
                    <a:pt x="322" y="120"/>
                  </a:lnTo>
                  <a:lnTo>
                    <a:pt x="322" y="116"/>
                  </a:lnTo>
                  <a:lnTo>
                    <a:pt x="320" y="114"/>
                  </a:lnTo>
                  <a:lnTo>
                    <a:pt x="318" y="110"/>
                  </a:lnTo>
                  <a:lnTo>
                    <a:pt x="314" y="108"/>
                  </a:lnTo>
                  <a:lnTo>
                    <a:pt x="314" y="108"/>
                  </a:lnTo>
                  <a:lnTo>
                    <a:pt x="310" y="110"/>
                  </a:lnTo>
                  <a:lnTo>
                    <a:pt x="306" y="110"/>
                  </a:lnTo>
                  <a:lnTo>
                    <a:pt x="304" y="114"/>
                  </a:lnTo>
                  <a:lnTo>
                    <a:pt x="302" y="118"/>
                  </a:lnTo>
                  <a:lnTo>
                    <a:pt x="302" y="118"/>
                  </a:lnTo>
                  <a:lnTo>
                    <a:pt x="300" y="128"/>
                  </a:lnTo>
                  <a:lnTo>
                    <a:pt x="300" y="128"/>
                  </a:lnTo>
                  <a:lnTo>
                    <a:pt x="300" y="132"/>
                  </a:lnTo>
                  <a:lnTo>
                    <a:pt x="302" y="136"/>
                  </a:lnTo>
                  <a:lnTo>
                    <a:pt x="306" y="138"/>
                  </a:lnTo>
                  <a:lnTo>
                    <a:pt x="310" y="140"/>
                  </a:lnTo>
                  <a:lnTo>
                    <a:pt x="310" y="140"/>
                  </a:lnTo>
                  <a:lnTo>
                    <a:pt x="310" y="140"/>
                  </a:lnTo>
                  <a:lnTo>
                    <a:pt x="310" y="140"/>
                  </a:lnTo>
                  <a:lnTo>
                    <a:pt x="314" y="138"/>
                  </a:lnTo>
                  <a:lnTo>
                    <a:pt x="318" y="138"/>
                  </a:lnTo>
                  <a:lnTo>
                    <a:pt x="320" y="134"/>
                  </a:lnTo>
                  <a:lnTo>
                    <a:pt x="320" y="132"/>
                  </a:lnTo>
                  <a:lnTo>
                    <a:pt x="320" y="132"/>
                  </a:lnTo>
                  <a:close/>
                  <a:moveTo>
                    <a:pt x="328" y="92"/>
                  </a:moveTo>
                  <a:lnTo>
                    <a:pt x="328" y="92"/>
                  </a:lnTo>
                  <a:lnTo>
                    <a:pt x="330" y="82"/>
                  </a:lnTo>
                  <a:lnTo>
                    <a:pt x="330" y="82"/>
                  </a:lnTo>
                  <a:lnTo>
                    <a:pt x="330" y="74"/>
                  </a:lnTo>
                  <a:lnTo>
                    <a:pt x="330" y="74"/>
                  </a:lnTo>
                  <a:lnTo>
                    <a:pt x="332" y="66"/>
                  </a:lnTo>
                  <a:lnTo>
                    <a:pt x="332" y="66"/>
                  </a:lnTo>
                  <a:lnTo>
                    <a:pt x="330" y="62"/>
                  </a:lnTo>
                  <a:lnTo>
                    <a:pt x="328" y="58"/>
                  </a:lnTo>
                  <a:lnTo>
                    <a:pt x="326" y="56"/>
                  </a:lnTo>
                  <a:lnTo>
                    <a:pt x="322" y="56"/>
                  </a:lnTo>
                  <a:lnTo>
                    <a:pt x="322" y="56"/>
                  </a:lnTo>
                  <a:lnTo>
                    <a:pt x="318" y="56"/>
                  </a:lnTo>
                  <a:lnTo>
                    <a:pt x="314" y="58"/>
                  </a:lnTo>
                  <a:lnTo>
                    <a:pt x="312" y="62"/>
                  </a:lnTo>
                  <a:lnTo>
                    <a:pt x="312" y="64"/>
                  </a:lnTo>
                  <a:lnTo>
                    <a:pt x="312" y="64"/>
                  </a:lnTo>
                  <a:lnTo>
                    <a:pt x="310" y="72"/>
                  </a:lnTo>
                  <a:lnTo>
                    <a:pt x="310" y="72"/>
                  </a:lnTo>
                  <a:lnTo>
                    <a:pt x="310" y="80"/>
                  </a:lnTo>
                  <a:lnTo>
                    <a:pt x="310" y="80"/>
                  </a:lnTo>
                  <a:lnTo>
                    <a:pt x="308" y="88"/>
                  </a:lnTo>
                  <a:lnTo>
                    <a:pt x="308" y="88"/>
                  </a:lnTo>
                  <a:lnTo>
                    <a:pt x="308" y="92"/>
                  </a:lnTo>
                  <a:lnTo>
                    <a:pt x="310" y="96"/>
                  </a:lnTo>
                  <a:lnTo>
                    <a:pt x="312" y="98"/>
                  </a:lnTo>
                  <a:lnTo>
                    <a:pt x="316" y="100"/>
                  </a:lnTo>
                  <a:lnTo>
                    <a:pt x="316" y="100"/>
                  </a:lnTo>
                  <a:lnTo>
                    <a:pt x="318" y="100"/>
                  </a:lnTo>
                  <a:lnTo>
                    <a:pt x="318" y="100"/>
                  </a:lnTo>
                  <a:lnTo>
                    <a:pt x="324" y="98"/>
                  </a:lnTo>
                  <a:lnTo>
                    <a:pt x="326" y="96"/>
                  </a:lnTo>
                  <a:lnTo>
                    <a:pt x="328" y="92"/>
                  </a:lnTo>
                  <a:lnTo>
                    <a:pt x="328" y="92"/>
                  </a:lnTo>
                  <a:close/>
                  <a:moveTo>
                    <a:pt x="320" y="46"/>
                  </a:moveTo>
                  <a:lnTo>
                    <a:pt x="320" y="46"/>
                  </a:lnTo>
                  <a:lnTo>
                    <a:pt x="324" y="44"/>
                  </a:lnTo>
                  <a:lnTo>
                    <a:pt x="326" y="40"/>
                  </a:lnTo>
                  <a:lnTo>
                    <a:pt x="326" y="36"/>
                  </a:lnTo>
                  <a:lnTo>
                    <a:pt x="326" y="32"/>
                  </a:lnTo>
                  <a:lnTo>
                    <a:pt x="326" y="32"/>
                  </a:lnTo>
                  <a:lnTo>
                    <a:pt x="320" y="26"/>
                  </a:lnTo>
                  <a:lnTo>
                    <a:pt x="320" y="26"/>
                  </a:lnTo>
                  <a:lnTo>
                    <a:pt x="314" y="18"/>
                  </a:lnTo>
                  <a:lnTo>
                    <a:pt x="314" y="18"/>
                  </a:lnTo>
                  <a:lnTo>
                    <a:pt x="306" y="12"/>
                  </a:lnTo>
                  <a:lnTo>
                    <a:pt x="306" y="12"/>
                  </a:lnTo>
                  <a:lnTo>
                    <a:pt x="304" y="10"/>
                  </a:lnTo>
                  <a:lnTo>
                    <a:pt x="300" y="10"/>
                  </a:lnTo>
                  <a:lnTo>
                    <a:pt x="296" y="12"/>
                  </a:lnTo>
                  <a:lnTo>
                    <a:pt x="292" y="14"/>
                  </a:lnTo>
                  <a:lnTo>
                    <a:pt x="292" y="14"/>
                  </a:lnTo>
                  <a:lnTo>
                    <a:pt x="292" y="18"/>
                  </a:lnTo>
                  <a:lnTo>
                    <a:pt x="290" y="22"/>
                  </a:lnTo>
                  <a:lnTo>
                    <a:pt x="292" y="24"/>
                  </a:lnTo>
                  <a:lnTo>
                    <a:pt x="294" y="28"/>
                  </a:lnTo>
                  <a:lnTo>
                    <a:pt x="294" y="28"/>
                  </a:lnTo>
                  <a:lnTo>
                    <a:pt x="300" y="32"/>
                  </a:lnTo>
                  <a:lnTo>
                    <a:pt x="300" y="32"/>
                  </a:lnTo>
                  <a:lnTo>
                    <a:pt x="304" y="38"/>
                  </a:lnTo>
                  <a:lnTo>
                    <a:pt x="304" y="38"/>
                  </a:lnTo>
                  <a:lnTo>
                    <a:pt x="308" y="42"/>
                  </a:lnTo>
                  <a:lnTo>
                    <a:pt x="308" y="42"/>
                  </a:lnTo>
                  <a:lnTo>
                    <a:pt x="312" y="46"/>
                  </a:lnTo>
                  <a:lnTo>
                    <a:pt x="316" y="48"/>
                  </a:lnTo>
                  <a:lnTo>
                    <a:pt x="316" y="48"/>
                  </a:lnTo>
                  <a:lnTo>
                    <a:pt x="320" y="46"/>
                  </a:lnTo>
                  <a:lnTo>
                    <a:pt x="320" y="46"/>
                  </a:lnTo>
                  <a:close/>
                  <a:moveTo>
                    <a:pt x="252" y="22"/>
                  </a:moveTo>
                  <a:lnTo>
                    <a:pt x="252" y="22"/>
                  </a:lnTo>
                  <a:lnTo>
                    <a:pt x="260" y="22"/>
                  </a:lnTo>
                  <a:lnTo>
                    <a:pt x="260" y="22"/>
                  </a:lnTo>
                  <a:lnTo>
                    <a:pt x="268" y="20"/>
                  </a:lnTo>
                  <a:lnTo>
                    <a:pt x="268" y="20"/>
                  </a:lnTo>
                  <a:lnTo>
                    <a:pt x="274" y="20"/>
                  </a:lnTo>
                  <a:lnTo>
                    <a:pt x="274" y="20"/>
                  </a:lnTo>
                  <a:lnTo>
                    <a:pt x="278" y="20"/>
                  </a:lnTo>
                  <a:lnTo>
                    <a:pt x="280" y="18"/>
                  </a:lnTo>
                  <a:lnTo>
                    <a:pt x="284" y="14"/>
                  </a:lnTo>
                  <a:lnTo>
                    <a:pt x="284" y="12"/>
                  </a:lnTo>
                  <a:lnTo>
                    <a:pt x="284" y="12"/>
                  </a:lnTo>
                  <a:lnTo>
                    <a:pt x="284" y="8"/>
                  </a:lnTo>
                  <a:lnTo>
                    <a:pt x="282" y="4"/>
                  </a:lnTo>
                  <a:lnTo>
                    <a:pt x="278" y="2"/>
                  </a:lnTo>
                  <a:lnTo>
                    <a:pt x="274" y="0"/>
                  </a:lnTo>
                  <a:lnTo>
                    <a:pt x="274" y="0"/>
                  </a:lnTo>
                  <a:lnTo>
                    <a:pt x="266" y="0"/>
                  </a:lnTo>
                  <a:lnTo>
                    <a:pt x="266" y="0"/>
                  </a:lnTo>
                  <a:lnTo>
                    <a:pt x="258" y="2"/>
                  </a:lnTo>
                  <a:lnTo>
                    <a:pt x="258" y="2"/>
                  </a:lnTo>
                  <a:lnTo>
                    <a:pt x="250" y="2"/>
                  </a:lnTo>
                  <a:lnTo>
                    <a:pt x="250" y="2"/>
                  </a:lnTo>
                  <a:lnTo>
                    <a:pt x="246" y="4"/>
                  </a:lnTo>
                  <a:lnTo>
                    <a:pt x="242" y="6"/>
                  </a:lnTo>
                  <a:lnTo>
                    <a:pt x="240" y="10"/>
                  </a:lnTo>
                  <a:lnTo>
                    <a:pt x="240" y="14"/>
                  </a:lnTo>
                  <a:lnTo>
                    <a:pt x="240" y="14"/>
                  </a:lnTo>
                  <a:lnTo>
                    <a:pt x="242" y="18"/>
                  </a:lnTo>
                  <a:lnTo>
                    <a:pt x="244" y="20"/>
                  </a:lnTo>
                  <a:lnTo>
                    <a:pt x="248" y="22"/>
                  </a:lnTo>
                  <a:lnTo>
                    <a:pt x="250" y="22"/>
                  </a:lnTo>
                  <a:lnTo>
                    <a:pt x="250" y="22"/>
                  </a:lnTo>
                  <a:lnTo>
                    <a:pt x="252" y="22"/>
                  </a:lnTo>
                  <a:lnTo>
                    <a:pt x="252" y="22"/>
                  </a:lnTo>
                  <a:close/>
                  <a:moveTo>
                    <a:pt x="22" y="138"/>
                  </a:moveTo>
                  <a:lnTo>
                    <a:pt x="22" y="138"/>
                  </a:lnTo>
                  <a:lnTo>
                    <a:pt x="26" y="136"/>
                  </a:lnTo>
                  <a:lnTo>
                    <a:pt x="30" y="134"/>
                  </a:lnTo>
                  <a:lnTo>
                    <a:pt x="30" y="130"/>
                  </a:lnTo>
                  <a:lnTo>
                    <a:pt x="32" y="126"/>
                  </a:lnTo>
                  <a:lnTo>
                    <a:pt x="32" y="126"/>
                  </a:lnTo>
                  <a:lnTo>
                    <a:pt x="30" y="116"/>
                  </a:lnTo>
                  <a:lnTo>
                    <a:pt x="30" y="116"/>
                  </a:lnTo>
                  <a:lnTo>
                    <a:pt x="28" y="106"/>
                  </a:lnTo>
                  <a:lnTo>
                    <a:pt x="28" y="106"/>
                  </a:lnTo>
                  <a:lnTo>
                    <a:pt x="26" y="102"/>
                  </a:lnTo>
                  <a:lnTo>
                    <a:pt x="24" y="100"/>
                  </a:lnTo>
                  <a:lnTo>
                    <a:pt x="20" y="98"/>
                  </a:lnTo>
                  <a:lnTo>
                    <a:pt x="16" y="98"/>
                  </a:lnTo>
                  <a:lnTo>
                    <a:pt x="16" y="98"/>
                  </a:lnTo>
                  <a:lnTo>
                    <a:pt x="12" y="100"/>
                  </a:lnTo>
                  <a:lnTo>
                    <a:pt x="10" y="102"/>
                  </a:lnTo>
                  <a:lnTo>
                    <a:pt x="8" y="106"/>
                  </a:lnTo>
                  <a:lnTo>
                    <a:pt x="8" y="110"/>
                  </a:lnTo>
                  <a:lnTo>
                    <a:pt x="8" y="110"/>
                  </a:lnTo>
                  <a:lnTo>
                    <a:pt x="10" y="120"/>
                  </a:lnTo>
                  <a:lnTo>
                    <a:pt x="10" y="120"/>
                  </a:lnTo>
                  <a:lnTo>
                    <a:pt x="12" y="130"/>
                  </a:lnTo>
                  <a:lnTo>
                    <a:pt x="12" y="130"/>
                  </a:lnTo>
                  <a:lnTo>
                    <a:pt x="12" y="132"/>
                  </a:lnTo>
                  <a:lnTo>
                    <a:pt x="14" y="136"/>
                  </a:lnTo>
                  <a:lnTo>
                    <a:pt x="18" y="138"/>
                  </a:lnTo>
                  <a:lnTo>
                    <a:pt x="22" y="138"/>
                  </a:lnTo>
                  <a:lnTo>
                    <a:pt x="22" y="138"/>
                  </a:lnTo>
                  <a:lnTo>
                    <a:pt x="22" y="138"/>
                  </a:lnTo>
                  <a:lnTo>
                    <a:pt x="22" y="138"/>
                  </a:lnTo>
                  <a:close/>
                  <a:moveTo>
                    <a:pt x="140" y="22"/>
                  </a:moveTo>
                  <a:lnTo>
                    <a:pt x="140" y="22"/>
                  </a:lnTo>
                  <a:lnTo>
                    <a:pt x="140" y="18"/>
                  </a:lnTo>
                  <a:lnTo>
                    <a:pt x="138" y="14"/>
                  </a:lnTo>
                  <a:lnTo>
                    <a:pt x="134" y="12"/>
                  </a:lnTo>
                  <a:lnTo>
                    <a:pt x="132" y="12"/>
                  </a:lnTo>
                  <a:lnTo>
                    <a:pt x="132" y="12"/>
                  </a:lnTo>
                  <a:lnTo>
                    <a:pt x="120" y="10"/>
                  </a:lnTo>
                  <a:lnTo>
                    <a:pt x="120" y="10"/>
                  </a:lnTo>
                  <a:lnTo>
                    <a:pt x="116" y="10"/>
                  </a:lnTo>
                  <a:lnTo>
                    <a:pt x="114" y="12"/>
                  </a:lnTo>
                  <a:lnTo>
                    <a:pt x="110" y="14"/>
                  </a:lnTo>
                  <a:lnTo>
                    <a:pt x="110" y="18"/>
                  </a:lnTo>
                  <a:lnTo>
                    <a:pt x="110" y="18"/>
                  </a:lnTo>
                  <a:lnTo>
                    <a:pt x="110" y="22"/>
                  </a:lnTo>
                  <a:lnTo>
                    <a:pt x="110" y="26"/>
                  </a:lnTo>
                  <a:lnTo>
                    <a:pt x="114" y="28"/>
                  </a:lnTo>
                  <a:lnTo>
                    <a:pt x="118" y="30"/>
                  </a:lnTo>
                  <a:lnTo>
                    <a:pt x="118" y="30"/>
                  </a:lnTo>
                  <a:lnTo>
                    <a:pt x="128" y="30"/>
                  </a:lnTo>
                  <a:lnTo>
                    <a:pt x="128" y="30"/>
                  </a:lnTo>
                  <a:lnTo>
                    <a:pt x="130" y="30"/>
                  </a:lnTo>
                  <a:lnTo>
                    <a:pt x="130" y="30"/>
                  </a:lnTo>
                  <a:lnTo>
                    <a:pt x="134" y="30"/>
                  </a:lnTo>
                  <a:lnTo>
                    <a:pt x="136" y="28"/>
                  </a:lnTo>
                  <a:lnTo>
                    <a:pt x="138" y="26"/>
                  </a:lnTo>
                  <a:lnTo>
                    <a:pt x="140" y="22"/>
                  </a:lnTo>
                  <a:lnTo>
                    <a:pt x="140" y="22"/>
                  </a:lnTo>
                  <a:close/>
                  <a:moveTo>
                    <a:pt x="100" y="16"/>
                  </a:moveTo>
                  <a:lnTo>
                    <a:pt x="100" y="16"/>
                  </a:lnTo>
                  <a:lnTo>
                    <a:pt x="100" y="12"/>
                  </a:lnTo>
                  <a:lnTo>
                    <a:pt x="98" y="8"/>
                  </a:lnTo>
                  <a:lnTo>
                    <a:pt x="96" y="6"/>
                  </a:lnTo>
                  <a:lnTo>
                    <a:pt x="92" y="4"/>
                  </a:lnTo>
                  <a:lnTo>
                    <a:pt x="92" y="4"/>
                  </a:lnTo>
                  <a:lnTo>
                    <a:pt x="84" y="2"/>
                  </a:lnTo>
                  <a:lnTo>
                    <a:pt x="84" y="2"/>
                  </a:lnTo>
                  <a:lnTo>
                    <a:pt x="74" y="0"/>
                  </a:lnTo>
                  <a:lnTo>
                    <a:pt x="74" y="0"/>
                  </a:lnTo>
                  <a:lnTo>
                    <a:pt x="66" y="0"/>
                  </a:lnTo>
                  <a:lnTo>
                    <a:pt x="66" y="0"/>
                  </a:lnTo>
                  <a:lnTo>
                    <a:pt x="62" y="0"/>
                  </a:lnTo>
                  <a:lnTo>
                    <a:pt x="58" y="2"/>
                  </a:lnTo>
                  <a:lnTo>
                    <a:pt x="56" y="6"/>
                  </a:lnTo>
                  <a:lnTo>
                    <a:pt x="56" y="10"/>
                  </a:lnTo>
                  <a:lnTo>
                    <a:pt x="56" y="10"/>
                  </a:lnTo>
                  <a:lnTo>
                    <a:pt x="56" y="14"/>
                  </a:lnTo>
                  <a:lnTo>
                    <a:pt x="58" y="16"/>
                  </a:lnTo>
                  <a:lnTo>
                    <a:pt x="62" y="20"/>
                  </a:lnTo>
                  <a:lnTo>
                    <a:pt x="64" y="20"/>
                  </a:lnTo>
                  <a:lnTo>
                    <a:pt x="64" y="20"/>
                  </a:lnTo>
                  <a:lnTo>
                    <a:pt x="72" y="20"/>
                  </a:lnTo>
                  <a:lnTo>
                    <a:pt x="72" y="20"/>
                  </a:lnTo>
                  <a:lnTo>
                    <a:pt x="80" y="22"/>
                  </a:lnTo>
                  <a:lnTo>
                    <a:pt x="80" y="22"/>
                  </a:lnTo>
                  <a:lnTo>
                    <a:pt x="88" y="24"/>
                  </a:lnTo>
                  <a:lnTo>
                    <a:pt x="88" y="24"/>
                  </a:lnTo>
                  <a:lnTo>
                    <a:pt x="90" y="24"/>
                  </a:lnTo>
                  <a:lnTo>
                    <a:pt x="90" y="24"/>
                  </a:lnTo>
                  <a:lnTo>
                    <a:pt x="96" y="22"/>
                  </a:lnTo>
                  <a:lnTo>
                    <a:pt x="98" y="18"/>
                  </a:lnTo>
                  <a:lnTo>
                    <a:pt x="100" y="16"/>
                  </a:lnTo>
                  <a:lnTo>
                    <a:pt x="100" y="16"/>
                  </a:lnTo>
                  <a:close/>
                  <a:moveTo>
                    <a:pt x="28" y="36"/>
                  </a:moveTo>
                  <a:lnTo>
                    <a:pt x="28" y="36"/>
                  </a:lnTo>
                  <a:lnTo>
                    <a:pt x="32" y="32"/>
                  </a:lnTo>
                  <a:lnTo>
                    <a:pt x="32" y="32"/>
                  </a:lnTo>
                  <a:lnTo>
                    <a:pt x="38" y="28"/>
                  </a:lnTo>
                  <a:lnTo>
                    <a:pt x="38" y="28"/>
                  </a:lnTo>
                  <a:lnTo>
                    <a:pt x="42" y="24"/>
                  </a:lnTo>
                  <a:lnTo>
                    <a:pt x="42" y="24"/>
                  </a:lnTo>
                  <a:lnTo>
                    <a:pt x="46" y="22"/>
                  </a:lnTo>
                  <a:lnTo>
                    <a:pt x="48" y="18"/>
                  </a:lnTo>
                  <a:lnTo>
                    <a:pt x="48" y="14"/>
                  </a:lnTo>
                  <a:lnTo>
                    <a:pt x="46" y="10"/>
                  </a:lnTo>
                  <a:lnTo>
                    <a:pt x="46" y="10"/>
                  </a:lnTo>
                  <a:lnTo>
                    <a:pt x="44" y="8"/>
                  </a:lnTo>
                  <a:lnTo>
                    <a:pt x="40" y="6"/>
                  </a:lnTo>
                  <a:lnTo>
                    <a:pt x="36" y="6"/>
                  </a:lnTo>
                  <a:lnTo>
                    <a:pt x="34" y="6"/>
                  </a:lnTo>
                  <a:lnTo>
                    <a:pt x="34" y="6"/>
                  </a:lnTo>
                  <a:lnTo>
                    <a:pt x="26" y="12"/>
                  </a:lnTo>
                  <a:lnTo>
                    <a:pt x="26" y="12"/>
                  </a:lnTo>
                  <a:lnTo>
                    <a:pt x="18" y="18"/>
                  </a:lnTo>
                  <a:lnTo>
                    <a:pt x="18" y="18"/>
                  </a:lnTo>
                  <a:lnTo>
                    <a:pt x="12" y="24"/>
                  </a:lnTo>
                  <a:lnTo>
                    <a:pt x="12" y="24"/>
                  </a:lnTo>
                  <a:lnTo>
                    <a:pt x="10" y="28"/>
                  </a:lnTo>
                  <a:lnTo>
                    <a:pt x="10" y="32"/>
                  </a:lnTo>
                  <a:lnTo>
                    <a:pt x="12" y="36"/>
                  </a:lnTo>
                  <a:lnTo>
                    <a:pt x="14" y="38"/>
                  </a:lnTo>
                  <a:lnTo>
                    <a:pt x="14" y="38"/>
                  </a:lnTo>
                  <a:lnTo>
                    <a:pt x="20" y="40"/>
                  </a:lnTo>
                  <a:lnTo>
                    <a:pt x="20" y="40"/>
                  </a:lnTo>
                  <a:lnTo>
                    <a:pt x="24" y="40"/>
                  </a:lnTo>
                  <a:lnTo>
                    <a:pt x="28" y="36"/>
                  </a:lnTo>
                  <a:lnTo>
                    <a:pt x="28" y="36"/>
                  </a:lnTo>
                  <a:close/>
                  <a:moveTo>
                    <a:pt x="14" y="90"/>
                  </a:moveTo>
                  <a:lnTo>
                    <a:pt x="14" y="90"/>
                  </a:lnTo>
                  <a:lnTo>
                    <a:pt x="18" y="90"/>
                  </a:lnTo>
                  <a:lnTo>
                    <a:pt x="20" y="86"/>
                  </a:lnTo>
                  <a:lnTo>
                    <a:pt x="22" y="84"/>
                  </a:lnTo>
                  <a:lnTo>
                    <a:pt x="22" y="80"/>
                  </a:lnTo>
                  <a:lnTo>
                    <a:pt x="22" y="80"/>
                  </a:lnTo>
                  <a:lnTo>
                    <a:pt x="22" y="72"/>
                  </a:lnTo>
                  <a:lnTo>
                    <a:pt x="22" y="72"/>
                  </a:lnTo>
                  <a:lnTo>
                    <a:pt x="20" y="64"/>
                  </a:lnTo>
                  <a:lnTo>
                    <a:pt x="20" y="64"/>
                  </a:lnTo>
                  <a:lnTo>
                    <a:pt x="20" y="58"/>
                  </a:lnTo>
                  <a:lnTo>
                    <a:pt x="20" y="58"/>
                  </a:lnTo>
                  <a:lnTo>
                    <a:pt x="20" y="54"/>
                  </a:lnTo>
                  <a:lnTo>
                    <a:pt x="18" y="50"/>
                  </a:lnTo>
                  <a:lnTo>
                    <a:pt x="16" y="48"/>
                  </a:lnTo>
                  <a:lnTo>
                    <a:pt x="12" y="48"/>
                  </a:lnTo>
                  <a:lnTo>
                    <a:pt x="12" y="48"/>
                  </a:lnTo>
                  <a:lnTo>
                    <a:pt x="8" y="48"/>
                  </a:lnTo>
                  <a:lnTo>
                    <a:pt x="4" y="50"/>
                  </a:lnTo>
                  <a:lnTo>
                    <a:pt x="2" y="54"/>
                  </a:lnTo>
                  <a:lnTo>
                    <a:pt x="0" y="56"/>
                  </a:lnTo>
                  <a:lnTo>
                    <a:pt x="0" y="56"/>
                  </a:lnTo>
                  <a:lnTo>
                    <a:pt x="0" y="66"/>
                  </a:lnTo>
                  <a:lnTo>
                    <a:pt x="0" y="66"/>
                  </a:lnTo>
                  <a:lnTo>
                    <a:pt x="2" y="74"/>
                  </a:lnTo>
                  <a:lnTo>
                    <a:pt x="2" y="74"/>
                  </a:lnTo>
                  <a:lnTo>
                    <a:pt x="2" y="82"/>
                  </a:lnTo>
                  <a:lnTo>
                    <a:pt x="2" y="82"/>
                  </a:lnTo>
                  <a:lnTo>
                    <a:pt x="4" y="86"/>
                  </a:lnTo>
                  <a:lnTo>
                    <a:pt x="6" y="88"/>
                  </a:lnTo>
                  <a:lnTo>
                    <a:pt x="10" y="90"/>
                  </a:lnTo>
                  <a:lnTo>
                    <a:pt x="12" y="90"/>
                  </a:lnTo>
                  <a:lnTo>
                    <a:pt x="12" y="90"/>
                  </a:lnTo>
                  <a:lnTo>
                    <a:pt x="14" y="90"/>
                  </a:lnTo>
                  <a:lnTo>
                    <a:pt x="14" y="90"/>
                  </a:lnTo>
                  <a:close/>
                  <a:moveTo>
                    <a:pt x="110" y="324"/>
                  </a:moveTo>
                  <a:lnTo>
                    <a:pt x="110" y="324"/>
                  </a:lnTo>
                  <a:lnTo>
                    <a:pt x="120" y="322"/>
                  </a:lnTo>
                  <a:lnTo>
                    <a:pt x="120" y="322"/>
                  </a:lnTo>
                  <a:lnTo>
                    <a:pt x="130" y="320"/>
                  </a:lnTo>
                  <a:lnTo>
                    <a:pt x="130" y="320"/>
                  </a:lnTo>
                  <a:lnTo>
                    <a:pt x="132" y="318"/>
                  </a:lnTo>
                  <a:lnTo>
                    <a:pt x="136" y="316"/>
                  </a:lnTo>
                  <a:lnTo>
                    <a:pt x="138" y="312"/>
                  </a:lnTo>
                  <a:lnTo>
                    <a:pt x="138" y="308"/>
                  </a:lnTo>
                  <a:lnTo>
                    <a:pt x="138" y="308"/>
                  </a:lnTo>
                  <a:lnTo>
                    <a:pt x="136" y="306"/>
                  </a:lnTo>
                  <a:lnTo>
                    <a:pt x="134" y="302"/>
                  </a:lnTo>
                  <a:lnTo>
                    <a:pt x="130" y="300"/>
                  </a:lnTo>
                  <a:lnTo>
                    <a:pt x="126" y="300"/>
                  </a:lnTo>
                  <a:lnTo>
                    <a:pt x="126" y="300"/>
                  </a:lnTo>
                  <a:lnTo>
                    <a:pt x="116" y="302"/>
                  </a:lnTo>
                  <a:lnTo>
                    <a:pt x="116" y="302"/>
                  </a:lnTo>
                  <a:lnTo>
                    <a:pt x="106" y="304"/>
                  </a:lnTo>
                  <a:lnTo>
                    <a:pt x="106" y="304"/>
                  </a:lnTo>
                  <a:lnTo>
                    <a:pt x="102" y="306"/>
                  </a:lnTo>
                  <a:lnTo>
                    <a:pt x="100" y="308"/>
                  </a:lnTo>
                  <a:lnTo>
                    <a:pt x="98" y="312"/>
                  </a:lnTo>
                  <a:lnTo>
                    <a:pt x="98" y="316"/>
                  </a:lnTo>
                  <a:lnTo>
                    <a:pt x="98" y="316"/>
                  </a:lnTo>
                  <a:lnTo>
                    <a:pt x="100" y="318"/>
                  </a:lnTo>
                  <a:lnTo>
                    <a:pt x="102" y="322"/>
                  </a:lnTo>
                  <a:lnTo>
                    <a:pt x="108" y="324"/>
                  </a:lnTo>
                  <a:lnTo>
                    <a:pt x="108" y="324"/>
                  </a:lnTo>
                  <a:lnTo>
                    <a:pt x="110" y="324"/>
                  </a:lnTo>
                  <a:lnTo>
                    <a:pt x="110" y="324"/>
                  </a:lnTo>
                  <a:close/>
                  <a:moveTo>
                    <a:pt x="30" y="214"/>
                  </a:moveTo>
                  <a:lnTo>
                    <a:pt x="30" y="214"/>
                  </a:lnTo>
                  <a:lnTo>
                    <a:pt x="30" y="204"/>
                  </a:lnTo>
                  <a:lnTo>
                    <a:pt x="30" y="204"/>
                  </a:lnTo>
                  <a:lnTo>
                    <a:pt x="30" y="200"/>
                  </a:lnTo>
                  <a:lnTo>
                    <a:pt x="30" y="196"/>
                  </a:lnTo>
                  <a:lnTo>
                    <a:pt x="26" y="194"/>
                  </a:lnTo>
                  <a:lnTo>
                    <a:pt x="22" y="192"/>
                  </a:lnTo>
                  <a:lnTo>
                    <a:pt x="22" y="192"/>
                  </a:lnTo>
                  <a:lnTo>
                    <a:pt x="18" y="192"/>
                  </a:lnTo>
                  <a:lnTo>
                    <a:pt x="16" y="194"/>
                  </a:lnTo>
                  <a:lnTo>
                    <a:pt x="12" y="196"/>
                  </a:lnTo>
                  <a:lnTo>
                    <a:pt x="12" y="200"/>
                  </a:lnTo>
                  <a:lnTo>
                    <a:pt x="12" y="200"/>
                  </a:lnTo>
                  <a:lnTo>
                    <a:pt x="10" y="210"/>
                  </a:lnTo>
                  <a:lnTo>
                    <a:pt x="10" y="210"/>
                  </a:lnTo>
                  <a:lnTo>
                    <a:pt x="10" y="214"/>
                  </a:lnTo>
                  <a:lnTo>
                    <a:pt x="12" y="218"/>
                  </a:lnTo>
                  <a:lnTo>
                    <a:pt x="14" y="222"/>
                  </a:lnTo>
                  <a:lnTo>
                    <a:pt x="18" y="222"/>
                  </a:lnTo>
                  <a:lnTo>
                    <a:pt x="18" y="222"/>
                  </a:lnTo>
                  <a:lnTo>
                    <a:pt x="20" y="222"/>
                  </a:lnTo>
                  <a:lnTo>
                    <a:pt x="20" y="222"/>
                  </a:lnTo>
                  <a:lnTo>
                    <a:pt x="22" y="222"/>
                  </a:lnTo>
                  <a:lnTo>
                    <a:pt x="26" y="220"/>
                  </a:lnTo>
                  <a:lnTo>
                    <a:pt x="28" y="218"/>
                  </a:lnTo>
                  <a:lnTo>
                    <a:pt x="30" y="214"/>
                  </a:lnTo>
                  <a:lnTo>
                    <a:pt x="30" y="214"/>
                  </a:lnTo>
                  <a:close/>
                  <a:moveTo>
                    <a:pt x="20" y="266"/>
                  </a:moveTo>
                  <a:lnTo>
                    <a:pt x="20" y="266"/>
                  </a:lnTo>
                  <a:lnTo>
                    <a:pt x="20" y="260"/>
                  </a:lnTo>
                  <a:lnTo>
                    <a:pt x="20" y="260"/>
                  </a:lnTo>
                  <a:lnTo>
                    <a:pt x="22" y="252"/>
                  </a:lnTo>
                  <a:lnTo>
                    <a:pt x="22" y="252"/>
                  </a:lnTo>
                  <a:lnTo>
                    <a:pt x="24" y="244"/>
                  </a:lnTo>
                  <a:lnTo>
                    <a:pt x="24" y="244"/>
                  </a:lnTo>
                  <a:lnTo>
                    <a:pt x="24" y="240"/>
                  </a:lnTo>
                  <a:lnTo>
                    <a:pt x="22" y="236"/>
                  </a:lnTo>
                  <a:lnTo>
                    <a:pt x="20" y="234"/>
                  </a:lnTo>
                  <a:lnTo>
                    <a:pt x="16" y="232"/>
                  </a:lnTo>
                  <a:lnTo>
                    <a:pt x="16" y="232"/>
                  </a:lnTo>
                  <a:lnTo>
                    <a:pt x="12" y="232"/>
                  </a:lnTo>
                  <a:lnTo>
                    <a:pt x="8" y="234"/>
                  </a:lnTo>
                  <a:lnTo>
                    <a:pt x="6" y="236"/>
                  </a:lnTo>
                  <a:lnTo>
                    <a:pt x="4" y="240"/>
                  </a:lnTo>
                  <a:lnTo>
                    <a:pt x="4" y="240"/>
                  </a:lnTo>
                  <a:lnTo>
                    <a:pt x="2" y="248"/>
                  </a:lnTo>
                  <a:lnTo>
                    <a:pt x="2" y="248"/>
                  </a:lnTo>
                  <a:lnTo>
                    <a:pt x="0" y="258"/>
                  </a:lnTo>
                  <a:lnTo>
                    <a:pt x="0" y="258"/>
                  </a:lnTo>
                  <a:lnTo>
                    <a:pt x="0" y="266"/>
                  </a:lnTo>
                  <a:lnTo>
                    <a:pt x="0" y="266"/>
                  </a:lnTo>
                  <a:lnTo>
                    <a:pt x="0" y="270"/>
                  </a:lnTo>
                  <a:lnTo>
                    <a:pt x="2" y="272"/>
                  </a:lnTo>
                  <a:lnTo>
                    <a:pt x="6" y="276"/>
                  </a:lnTo>
                  <a:lnTo>
                    <a:pt x="10" y="276"/>
                  </a:lnTo>
                  <a:lnTo>
                    <a:pt x="10" y="276"/>
                  </a:lnTo>
                  <a:lnTo>
                    <a:pt x="10" y="276"/>
                  </a:lnTo>
                  <a:lnTo>
                    <a:pt x="10" y="276"/>
                  </a:lnTo>
                  <a:lnTo>
                    <a:pt x="14" y="276"/>
                  </a:lnTo>
                  <a:lnTo>
                    <a:pt x="18" y="274"/>
                  </a:lnTo>
                  <a:lnTo>
                    <a:pt x="20" y="270"/>
                  </a:lnTo>
                  <a:lnTo>
                    <a:pt x="20" y="266"/>
                  </a:lnTo>
                  <a:lnTo>
                    <a:pt x="20" y="266"/>
                  </a:lnTo>
                  <a:close/>
                  <a:moveTo>
                    <a:pt x="38" y="318"/>
                  </a:moveTo>
                  <a:lnTo>
                    <a:pt x="38" y="318"/>
                  </a:lnTo>
                  <a:lnTo>
                    <a:pt x="40" y="314"/>
                  </a:lnTo>
                  <a:lnTo>
                    <a:pt x="40" y="310"/>
                  </a:lnTo>
                  <a:lnTo>
                    <a:pt x="40" y="306"/>
                  </a:lnTo>
                  <a:lnTo>
                    <a:pt x="36" y="304"/>
                  </a:lnTo>
                  <a:lnTo>
                    <a:pt x="36" y="304"/>
                  </a:lnTo>
                  <a:lnTo>
                    <a:pt x="32" y="300"/>
                  </a:lnTo>
                  <a:lnTo>
                    <a:pt x="32" y="300"/>
                  </a:lnTo>
                  <a:lnTo>
                    <a:pt x="28" y="294"/>
                  </a:lnTo>
                  <a:lnTo>
                    <a:pt x="28" y="294"/>
                  </a:lnTo>
                  <a:lnTo>
                    <a:pt x="24" y="290"/>
                  </a:lnTo>
                  <a:lnTo>
                    <a:pt x="24" y="290"/>
                  </a:lnTo>
                  <a:lnTo>
                    <a:pt x="22" y="286"/>
                  </a:lnTo>
                  <a:lnTo>
                    <a:pt x="18" y="284"/>
                  </a:lnTo>
                  <a:lnTo>
                    <a:pt x="14" y="284"/>
                  </a:lnTo>
                  <a:lnTo>
                    <a:pt x="10" y="286"/>
                  </a:lnTo>
                  <a:lnTo>
                    <a:pt x="10" y="286"/>
                  </a:lnTo>
                  <a:lnTo>
                    <a:pt x="8" y="288"/>
                  </a:lnTo>
                  <a:lnTo>
                    <a:pt x="6" y="290"/>
                  </a:lnTo>
                  <a:lnTo>
                    <a:pt x="6" y="294"/>
                  </a:lnTo>
                  <a:lnTo>
                    <a:pt x="6" y="298"/>
                  </a:lnTo>
                  <a:lnTo>
                    <a:pt x="6" y="298"/>
                  </a:lnTo>
                  <a:lnTo>
                    <a:pt x="12" y="306"/>
                  </a:lnTo>
                  <a:lnTo>
                    <a:pt x="12" y="306"/>
                  </a:lnTo>
                  <a:lnTo>
                    <a:pt x="18" y="314"/>
                  </a:lnTo>
                  <a:lnTo>
                    <a:pt x="18" y="314"/>
                  </a:lnTo>
                  <a:lnTo>
                    <a:pt x="24" y="320"/>
                  </a:lnTo>
                  <a:lnTo>
                    <a:pt x="24" y="320"/>
                  </a:lnTo>
                  <a:lnTo>
                    <a:pt x="30" y="322"/>
                  </a:lnTo>
                  <a:lnTo>
                    <a:pt x="30" y="322"/>
                  </a:lnTo>
                  <a:lnTo>
                    <a:pt x="36" y="320"/>
                  </a:lnTo>
                  <a:lnTo>
                    <a:pt x="38" y="318"/>
                  </a:lnTo>
                  <a:lnTo>
                    <a:pt x="38" y="318"/>
                  </a:lnTo>
                  <a:close/>
                  <a:moveTo>
                    <a:pt x="66" y="330"/>
                  </a:moveTo>
                  <a:lnTo>
                    <a:pt x="66" y="330"/>
                  </a:lnTo>
                  <a:lnTo>
                    <a:pt x="74" y="330"/>
                  </a:lnTo>
                  <a:lnTo>
                    <a:pt x="74" y="330"/>
                  </a:lnTo>
                  <a:lnTo>
                    <a:pt x="82" y="328"/>
                  </a:lnTo>
                  <a:lnTo>
                    <a:pt x="82" y="328"/>
                  </a:lnTo>
                  <a:lnTo>
                    <a:pt x="86" y="328"/>
                  </a:lnTo>
                  <a:lnTo>
                    <a:pt x="90" y="324"/>
                  </a:lnTo>
                  <a:lnTo>
                    <a:pt x="90" y="322"/>
                  </a:lnTo>
                  <a:lnTo>
                    <a:pt x="90" y="318"/>
                  </a:lnTo>
                  <a:lnTo>
                    <a:pt x="90" y="318"/>
                  </a:lnTo>
                  <a:lnTo>
                    <a:pt x="90" y="314"/>
                  </a:lnTo>
                  <a:lnTo>
                    <a:pt x="86" y="310"/>
                  </a:lnTo>
                  <a:lnTo>
                    <a:pt x="84" y="310"/>
                  </a:lnTo>
                  <a:lnTo>
                    <a:pt x="80" y="310"/>
                  </a:lnTo>
                  <a:lnTo>
                    <a:pt x="80" y="310"/>
                  </a:lnTo>
                  <a:lnTo>
                    <a:pt x="72" y="310"/>
                  </a:lnTo>
                  <a:lnTo>
                    <a:pt x="72" y="310"/>
                  </a:lnTo>
                  <a:lnTo>
                    <a:pt x="64" y="310"/>
                  </a:lnTo>
                  <a:lnTo>
                    <a:pt x="64" y="310"/>
                  </a:lnTo>
                  <a:lnTo>
                    <a:pt x="58" y="310"/>
                  </a:lnTo>
                  <a:lnTo>
                    <a:pt x="58" y="310"/>
                  </a:lnTo>
                  <a:lnTo>
                    <a:pt x="54" y="312"/>
                  </a:lnTo>
                  <a:lnTo>
                    <a:pt x="50" y="314"/>
                  </a:lnTo>
                  <a:lnTo>
                    <a:pt x="48" y="316"/>
                  </a:lnTo>
                  <a:lnTo>
                    <a:pt x="48" y="320"/>
                  </a:lnTo>
                  <a:lnTo>
                    <a:pt x="48" y="320"/>
                  </a:lnTo>
                  <a:lnTo>
                    <a:pt x="48" y="324"/>
                  </a:lnTo>
                  <a:lnTo>
                    <a:pt x="50" y="328"/>
                  </a:lnTo>
                  <a:lnTo>
                    <a:pt x="54" y="330"/>
                  </a:lnTo>
                  <a:lnTo>
                    <a:pt x="58" y="330"/>
                  </a:lnTo>
                  <a:lnTo>
                    <a:pt x="58" y="330"/>
                  </a:lnTo>
                  <a:lnTo>
                    <a:pt x="60" y="332"/>
                  </a:lnTo>
                  <a:lnTo>
                    <a:pt x="60" y="332"/>
                  </a:lnTo>
                  <a:lnTo>
                    <a:pt x="66" y="330"/>
                  </a:lnTo>
                  <a:lnTo>
                    <a:pt x="66" y="330"/>
                  </a:lnTo>
                  <a:close/>
                  <a:moveTo>
                    <a:pt x="316" y="234"/>
                  </a:moveTo>
                  <a:lnTo>
                    <a:pt x="316" y="234"/>
                  </a:lnTo>
                  <a:lnTo>
                    <a:pt x="320" y="232"/>
                  </a:lnTo>
                  <a:lnTo>
                    <a:pt x="322" y="228"/>
                  </a:lnTo>
                  <a:lnTo>
                    <a:pt x="324" y="226"/>
                  </a:lnTo>
                  <a:lnTo>
                    <a:pt x="324" y="222"/>
                  </a:lnTo>
                  <a:lnTo>
                    <a:pt x="324" y="222"/>
                  </a:lnTo>
                  <a:lnTo>
                    <a:pt x="322" y="212"/>
                  </a:lnTo>
                  <a:lnTo>
                    <a:pt x="322" y="212"/>
                  </a:lnTo>
                  <a:lnTo>
                    <a:pt x="320" y="202"/>
                  </a:lnTo>
                  <a:lnTo>
                    <a:pt x="320" y="202"/>
                  </a:lnTo>
                  <a:lnTo>
                    <a:pt x="318" y="198"/>
                  </a:lnTo>
                  <a:lnTo>
                    <a:pt x="316" y="196"/>
                  </a:lnTo>
                  <a:lnTo>
                    <a:pt x="312" y="194"/>
                  </a:lnTo>
                  <a:lnTo>
                    <a:pt x="308" y="194"/>
                  </a:lnTo>
                  <a:lnTo>
                    <a:pt x="308" y="194"/>
                  </a:lnTo>
                  <a:lnTo>
                    <a:pt x="306" y="196"/>
                  </a:lnTo>
                  <a:lnTo>
                    <a:pt x="302" y="198"/>
                  </a:lnTo>
                  <a:lnTo>
                    <a:pt x="300" y="202"/>
                  </a:lnTo>
                  <a:lnTo>
                    <a:pt x="300" y="206"/>
                  </a:lnTo>
                  <a:lnTo>
                    <a:pt x="300" y="206"/>
                  </a:lnTo>
                  <a:lnTo>
                    <a:pt x="302" y="214"/>
                  </a:lnTo>
                  <a:lnTo>
                    <a:pt x="302" y="214"/>
                  </a:lnTo>
                  <a:lnTo>
                    <a:pt x="304" y="226"/>
                  </a:lnTo>
                  <a:lnTo>
                    <a:pt x="304" y="226"/>
                  </a:lnTo>
                  <a:lnTo>
                    <a:pt x="306" y="228"/>
                  </a:lnTo>
                  <a:lnTo>
                    <a:pt x="308" y="232"/>
                  </a:lnTo>
                  <a:lnTo>
                    <a:pt x="314" y="234"/>
                  </a:lnTo>
                  <a:lnTo>
                    <a:pt x="314" y="234"/>
                  </a:lnTo>
                  <a:lnTo>
                    <a:pt x="316" y="234"/>
                  </a:lnTo>
                  <a:lnTo>
                    <a:pt x="316" y="234"/>
                  </a:lnTo>
                  <a:close/>
                  <a:moveTo>
                    <a:pt x="222" y="314"/>
                  </a:moveTo>
                  <a:lnTo>
                    <a:pt x="222" y="314"/>
                  </a:lnTo>
                  <a:lnTo>
                    <a:pt x="222" y="310"/>
                  </a:lnTo>
                  <a:lnTo>
                    <a:pt x="220" y="306"/>
                  </a:lnTo>
                  <a:lnTo>
                    <a:pt x="218" y="304"/>
                  </a:lnTo>
                  <a:lnTo>
                    <a:pt x="214" y="302"/>
                  </a:lnTo>
                  <a:lnTo>
                    <a:pt x="214" y="302"/>
                  </a:lnTo>
                  <a:lnTo>
                    <a:pt x="204" y="300"/>
                  </a:lnTo>
                  <a:lnTo>
                    <a:pt x="204" y="300"/>
                  </a:lnTo>
                  <a:lnTo>
                    <a:pt x="200" y="300"/>
                  </a:lnTo>
                  <a:lnTo>
                    <a:pt x="196" y="302"/>
                  </a:lnTo>
                  <a:lnTo>
                    <a:pt x="194" y="306"/>
                  </a:lnTo>
                  <a:lnTo>
                    <a:pt x="192" y="310"/>
                  </a:lnTo>
                  <a:lnTo>
                    <a:pt x="192" y="310"/>
                  </a:lnTo>
                  <a:lnTo>
                    <a:pt x="192" y="314"/>
                  </a:lnTo>
                  <a:lnTo>
                    <a:pt x="194" y="316"/>
                  </a:lnTo>
                  <a:lnTo>
                    <a:pt x="196" y="320"/>
                  </a:lnTo>
                  <a:lnTo>
                    <a:pt x="200" y="320"/>
                  </a:lnTo>
                  <a:lnTo>
                    <a:pt x="200" y="320"/>
                  </a:lnTo>
                  <a:lnTo>
                    <a:pt x="210" y="322"/>
                  </a:lnTo>
                  <a:lnTo>
                    <a:pt x="210" y="322"/>
                  </a:lnTo>
                  <a:lnTo>
                    <a:pt x="212" y="322"/>
                  </a:lnTo>
                  <a:lnTo>
                    <a:pt x="212" y="322"/>
                  </a:lnTo>
                  <a:lnTo>
                    <a:pt x="216" y="322"/>
                  </a:lnTo>
                  <a:lnTo>
                    <a:pt x="220" y="320"/>
                  </a:lnTo>
                  <a:lnTo>
                    <a:pt x="222" y="318"/>
                  </a:lnTo>
                  <a:lnTo>
                    <a:pt x="222" y="314"/>
                  </a:lnTo>
                  <a:lnTo>
                    <a:pt x="222" y="314"/>
                  </a:lnTo>
                  <a:close/>
                  <a:moveTo>
                    <a:pt x="276" y="322"/>
                  </a:moveTo>
                  <a:lnTo>
                    <a:pt x="276" y="322"/>
                  </a:lnTo>
                  <a:lnTo>
                    <a:pt x="276" y="318"/>
                  </a:lnTo>
                  <a:lnTo>
                    <a:pt x="274" y="314"/>
                  </a:lnTo>
                  <a:lnTo>
                    <a:pt x="270" y="312"/>
                  </a:lnTo>
                  <a:lnTo>
                    <a:pt x="266" y="312"/>
                  </a:lnTo>
                  <a:lnTo>
                    <a:pt x="266" y="312"/>
                  </a:lnTo>
                  <a:lnTo>
                    <a:pt x="260" y="310"/>
                  </a:lnTo>
                  <a:lnTo>
                    <a:pt x="260" y="310"/>
                  </a:lnTo>
                  <a:lnTo>
                    <a:pt x="252" y="310"/>
                  </a:lnTo>
                  <a:lnTo>
                    <a:pt x="252" y="310"/>
                  </a:lnTo>
                  <a:lnTo>
                    <a:pt x="244" y="308"/>
                  </a:lnTo>
                  <a:lnTo>
                    <a:pt x="244" y="308"/>
                  </a:lnTo>
                  <a:lnTo>
                    <a:pt x="240" y="308"/>
                  </a:lnTo>
                  <a:lnTo>
                    <a:pt x="236" y="310"/>
                  </a:lnTo>
                  <a:lnTo>
                    <a:pt x="234" y="312"/>
                  </a:lnTo>
                  <a:lnTo>
                    <a:pt x="232" y="316"/>
                  </a:lnTo>
                  <a:lnTo>
                    <a:pt x="232" y="316"/>
                  </a:lnTo>
                  <a:lnTo>
                    <a:pt x="232" y="320"/>
                  </a:lnTo>
                  <a:lnTo>
                    <a:pt x="234" y="324"/>
                  </a:lnTo>
                  <a:lnTo>
                    <a:pt x="236" y="326"/>
                  </a:lnTo>
                  <a:lnTo>
                    <a:pt x="240" y="328"/>
                  </a:lnTo>
                  <a:lnTo>
                    <a:pt x="240" y="328"/>
                  </a:lnTo>
                  <a:lnTo>
                    <a:pt x="248" y="330"/>
                  </a:lnTo>
                  <a:lnTo>
                    <a:pt x="248" y="330"/>
                  </a:lnTo>
                  <a:lnTo>
                    <a:pt x="258" y="330"/>
                  </a:lnTo>
                  <a:lnTo>
                    <a:pt x="258" y="330"/>
                  </a:lnTo>
                  <a:lnTo>
                    <a:pt x="266" y="332"/>
                  </a:lnTo>
                  <a:lnTo>
                    <a:pt x="266" y="332"/>
                  </a:lnTo>
                  <a:lnTo>
                    <a:pt x="266" y="332"/>
                  </a:lnTo>
                  <a:lnTo>
                    <a:pt x="266" y="332"/>
                  </a:lnTo>
                  <a:lnTo>
                    <a:pt x="270" y="330"/>
                  </a:lnTo>
                  <a:lnTo>
                    <a:pt x="274" y="328"/>
                  </a:lnTo>
                  <a:lnTo>
                    <a:pt x="276" y="326"/>
                  </a:lnTo>
                  <a:lnTo>
                    <a:pt x="276" y="322"/>
                  </a:lnTo>
                  <a:lnTo>
                    <a:pt x="276" y="322"/>
                  </a:lnTo>
                  <a:close/>
                  <a:moveTo>
                    <a:pt x="298" y="326"/>
                  </a:moveTo>
                  <a:lnTo>
                    <a:pt x="298" y="326"/>
                  </a:lnTo>
                  <a:lnTo>
                    <a:pt x="306" y="320"/>
                  </a:lnTo>
                  <a:lnTo>
                    <a:pt x="306" y="320"/>
                  </a:lnTo>
                  <a:lnTo>
                    <a:pt x="314" y="314"/>
                  </a:lnTo>
                  <a:lnTo>
                    <a:pt x="314" y="314"/>
                  </a:lnTo>
                  <a:lnTo>
                    <a:pt x="320" y="306"/>
                  </a:lnTo>
                  <a:lnTo>
                    <a:pt x="320" y="306"/>
                  </a:lnTo>
                  <a:lnTo>
                    <a:pt x="322" y="304"/>
                  </a:lnTo>
                  <a:lnTo>
                    <a:pt x="322" y="300"/>
                  </a:lnTo>
                  <a:lnTo>
                    <a:pt x="320" y="296"/>
                  </a:lnTo>
                  <a:lnTo>
                    <a:pt x="318" y="292"/>
                  </a:lnTo>
                  <a:lnTo>
                    <a:pt x="318" y="292"/>
                  </a:lnTo>
                  <a:lnTo>
                    <a:pt x="314" y="290"/>
                  </a:lnTo>
                  <a:lnTo>
                    <a:pt x="310" y="290"/>
                  </a:lnTo>
                  <a:lnTo>
                    <a:pt x="306" y="292"/>
                  </a:lnTo>
                  <a:lnTo>
                    <a:pt x="304" y="294"/>
                  </a:lnTo>
                  <a:lnTo>
                    <a:pt x="304" y="294"/>
                  </a:lnTo>
                  <a:lnTo>
                    <a:pt x="300" y="300"/>
                  </a:lnTo>
                  <a:lnTo>
                    <a:pt x="300" y="300"/>
                  </a:lnTo>
                  <a:lnTo>
                    <a:pt x="294" y="304"/>
                  </a:lnTo>
                  <a:lnTo>
                    <a:pt x="294" y="304"/>
                  </a:lnTo>
                  <a:lnTo>
                    <a:pt x="290" y="308"/>
                  </a:lnTo>
                  <a:lnTo>
                    <a:pt x="290" y="308"/>
                  </a:lnTo>
                  <a:lnTo>
                    <a:pt x="286" y="310"/>
                  </a:lnTo>
                  <a:lnTo>
                    <a:pt x="284" y="314"/>
                  </a:lnTo>
                  <a:lnTo>
                    <a:pt x="284" y="316"/>
                  </a:lnTo>
                  <a:lnTo>
                    <a:pt x="286" y="320"/>
                  </a:lnTo>
                  <a:lnTo>
                    <a:pt x="286" y="320"/>
                  </a:lnTo>
                  <a:lnTo>
                    <a:pt x="288" y="324"/>
                  </a:lnTo>
                  <a:lnTo>
                    <a:pt x="294" y="326"/>
                  </a:lnTo>
                  <a:lnTo>
                    <a:pt x="294" y="326"/>
                  </a:lnTo>
                  <a:lnTo>
                    <a:pt x="298" y="326"/>
                  </a:lnTo>
                  <a:lnTo>
                    <a:pt x="298" y="326"/>
                  </a:lnTo>
                  <a:close/>
                  <a:moveTo>
                    <a:pt x="330" y="274"/>
                  </a:moveTo>
                  <a:lnTo>
                    <a:pt x="330" y="274"/>
                  </a:lnTo>
                  <a:lnTo>
                    <a:pt x="330" y="266"/>
                  </a:lnTo>
                  <a:lnTo>
                    <a:pt x="330" y="266"/>
                  </a:lnTo>
                  <a:lnTo>
                    <a:pt x="330" y="258"/>
                  </a:lnTo>
                  <a:lnTo>
                    <a:pt x="330" y="258"/>
                  </a:lnTo>
                  <a:lnTo>
                    <a:pt x="328" y="248"/>
                  </a:lnTo>
                  <a:lnTo>
                    <a:pt x="328" y="248"/>
                  </a:lnTo>
                  <a:lnTo>
                    <a:pt x="328" y="246"/>
                  </a:lnTo>
                  <a:lnTo>
                    <a:pt x="324" y="242"/>
                  </a:lnTo>
                  <a:lnTo>
                    <a:pt x="322" y="240"/>
                  </a:lnTo>
                  <a:lnTo>
                    <a:pt x="318" y="240"/>
                  </a:lnTo>
                  <a:lnTo>
                    <a:pt x="318" y="240"/>
                  </a:lnTo>
                  <a:lnTo>
                    <a:pt x="314" y="242"/>
                  </a:lnTo>
                  <a:lnTo>
                    <a:pt x="310" y="244"/>
                  </a:lnTo>
                  <a:lnTo>
                    <a:pt x="310" y="248"/>
                  </a:lnTo>
                  <a:lnTo>
                    <a:pt x="310" y="252"/>
                  </a:lnTo>
                  <a:lnTo>
                    <a:pt x="310" y="252"/>
                  </a:lnTo>
                  <a:lnTo>
                    <a:pt x="310" y="260"/>
                  </a:lnTo>
                  <a:lnTo>
                    <a:pt x="310" y="260"/>
                  </a:lnTo>
                  <a:lnTo>
                    <a:pt x="310" y="268"/>
                  </a:lnTo>
                  <a:lnTo>
                    <a:pt x="310" y="268"/>
                  </a:lnTo>
                  <a:lnTo>
                    <a:pt x="312" y="274"/>
                  </a:lnTo>
                  <a:lnTo>
                    <a:pt x="312" y="274"/>
                  </a:lnTo>
                  <a:lnTo>
                    <a:pt x="312" y="278"/>
                  </a:lnTo>
                  <a:lnTo>
                    <a:pt x="314" y="280"/>
                  </a:lnTo>
                  <a:lnTo>
                    <a:pt x="316" y="282"/>
                  </a:lnTo>
                  <a:lnTo>
                    <a:pt x="320" y="284"/>
                  </a:lnTo>
                  <a:lnTo>
                    <a:pt x="320" y="284"/>
                  </a:lnTo>
                  <a:lnTo>
                    <a:pt x="322" y="284"/>
                  </a:lnTo>
                  <a:lnTo>
                    <a:pt x="322" y="284"/>
                  </a:lnTo>
                  <a:lnTo>
                    <a:pt x="324" y="284"/>
                  </a:lnTo>
                  <a:lnTo>
                    <a:pt x="328" y="282"/>
                  </a:lnTo>
                  <a:lnTo>
                    <a:pt x="330" y="278"/>
                  </a:lnTo>
                  <a:lnTo>
                    <a:pt x="330" y="274"/>
                  </a:lnTo>
                  <a:lnTo>
                    <a:pt x="330" y="274"/>
                  </a:lnTo>
                  <a:close/>
                  <a:moveTo>
                    <a:pt x="36" y="140"/>
                  </a:moveTo>
                  <a:lnTo>
                    <a:pt x="36" y="140"/>
                  </a:lnTo>
                  <a:lnTo>
                    <a:pt x="42" y="120"/>
                  </a:lnTo>
                  <a:lnTo>
                    <a:pt x="50" y="104"/>
                  </a:lnTo>
                  <a:lnTo>
                    <a:pt x="60" y="88"/>
                  </a:lnTo>
                  <a:lnTo>
                    <a:pt x="72" y="72"/>
                  </a:lnTo>
                  <a:lnTo>
                    <a:pt x="88" y="60"/>
                  </a:lnTo>
                  <a:lnTo>
                    <a:pt x="104" y="50"/>
                  </a:lnTo>
                  <a:lnTo>
                    <a:pt x="120" y="42"/>
                  </a:lnTo>
                  <a:lnTo>
                    <a:pt x="140" y="36"/>
                  </a:lnTo>
                  <a:lnTo>
                    <a:pt x="140" y="104"/>
                  </a:lnTo>
                  <a:lnTo>
                    <a:pt x="140" y="104"/>
                  </a:lnTo>
                  <a:lnTo>
                    <a:pt x="128" y="110"/>
                  </a:lnTo>
                  <a:lnTo>
                    <a:pt x="118" y="118"/>
                  </a:lnTo>
                  <a:lnTo>
                    <a:pt x="110" y="128"/>
                  </a:lnTo>
                  <a:lnTo>
                    <a:pt x="104" y="140"/>
                  </a:lnTo>
                  <a:lnTo>
                    <a:pt x="36" y="140"/>
                  </a:lnTo>
                  <a:close/>
                  <a:moveTo>
                    <a:pt x="192" y="104"/>
                  </a:moveTo>
                  <a:lnTo>
                    <a:pt x="192" y="104"/>
                  </a:lnTo>
                  <a:lnTo>
                    <a:pt x="204" y="110"/>
                  </a:lnTo>
                  <a:lnTo>
                    <a:pt x="214" y="118"/>
                  </a:lnTo>
                  <a:lnTo>
                    <a:pt x="222" y="128"/>
                  </a:lnTo>
                  <a:lnTo>
                    <a:pt x="228" y="140"/>
                  </a:lnTo>
                  <a:lnTo>
                    <a:pt x="296" y="140"/>
                  </a:lnTo>
                  <a:lnTo>
                    <a:pt x="296" y="140"/>
                  </a:lnTo>
                  <a:lnTo>
                    <a:pt x="290" y="120"/>
                  </a:lnTo>
                  <a:lnTo>
                    <a:pt x="282" y="104"/>
                  </a:lnTo>
                  <a:lnTo>
                    <a:pt x="272" y="88"/>
                  </a:lnTo>
                  <a:lnTo>
                    <a:pt x="260" y="72"/>
                  </a:lnTo>
                  <a:lnTo>
                    <a:pt x="244" y="60"/>
                  </a:lnTo>
                  <a:lnTo>
                    <a:pt x="228" y="50"/>
                  </a:lnTo>
                  <a:lnTo>
                    <a:pt x="212" y="42"/>
                  </a:lnTo>
                  <a:lnTo>
                    <a:pt x="192" y="36"/>
                  </a:lnTo>
                  <a:lnTo>
                    <a:pt x="192" y="104"/>
                  </a:lnTo>
                  <a:close/>
                  <a:moveTo>
                    <a:pt x="228" y="192"/>
                  </a:moveTo>
                  <a:lnTo>
                    <a:pt x="228" y="192"/>
                  </a:lnTo>
                  <a:lnTo>
                    <a:pt x="222" y="204"/>
                  </a:lnTo>
                  <a:lnTo>
                    <a:pt x="214" y="214"/>
                  </a:lnTo>
                  <a:lnTo>
                    <a:pt x="204" y="222"/>
                  </a:lnTo>
                  <a:lnTo>
                    <a:pt x="192" y="228"/>
                  </a:lnTo>
                  <a:lnTo>
                    <a:pt x="192" y="296"/>
                  </a:lnTo>
                  <a:lnTo>
                    <a:pt x="192" y="296"/>
                  </a:lnTo>
                  <a:lnTo>
                    <a:pt x="212" y="290"/>
                  </a:lnTo>
                  <a:lnTo>
                    <a:pt x="228" y="282"/>
                  </a:lnTo>
                  <a:lnTo>
                    <a:pt x="244" y="272"/>
                  </a:lnTo>
                  <a:lnTo>
                    <a:pt x="260" y="260"/>
                  </a:lnTo>
                  <a:lnTo>
                    <a:pt x="272" y="246"/>
                  </a:lnTo>
                  <a:lnTo>
                    <a:pt x="282" y="228"/>
                  </a:lnTo>
                  <a:lnTo>
                    <a:pt x="290" y="212"/>
                  </a:lnTo>
                  <a:lnTo>
                    <a:pt x="296" y="192"/>
                  </a:lnTo>
                  <a:lnTo>
                    <a:pt x="228" y="192"/>
                  </a:lnTo>
                  <a:close/>
                  <a:moveTo>
                    <a:pt x="140" y="228"/>
                  </a:moveTo>
                  <a:lnTo>
                    <a:pt x="140" y="228"/>
                  </a:lnTo>
                  <a:lnTo>
                    <a:pt x="128" y="222"/>
                  </a:lnTo>
                  <a:lnTo>
                    <a:pt x="118" y="214"/>
                  </a:lnTo>
                  <a:lnTo>
                    <a:pt x="110" y="204"/>
                  </a:lnTo>
                  <a:lnTo>
                    <a:pt x="104" y="192"/>
                  </a:lnTo>
                  <a:lnTo>
                    <a:pt x="36" y="192"/>
                  </a:lnTo>
                  <a:lnTo>
                    <a:pt x="36" y="192"/>
                  </a:lnTo>
                  <a:lnTo>
                    <a:pt x="42" y="212"/>
                  </a:lnTo>
                  <a:lnTo>
                    <a:pt x="50" y="228"/>
                  </a:lnTo>
                  <a:lnTo>
                    <a:pt x="60" y="244"/>
                  </a:lnTo>
                  <a:lnTo>
                    <a:pt x="72" y="260"/>
                  </a:lnTo>
                  <a:lnTo>
                    <a:pt x="88" y="272"/>
                  </a:lnTo>
                  <a:lnTo>
                    <a:pt x="104" y="282"/>
                  </a:lnTo>
                  <a:lnTo>
                    <a:pt x="120" y="290"/>
                  </a:lnTo>
                  <a:lnTo>
                    <a:pt x="140" y="296"/>
                  </a:lnTo>
                  <a:lnTo>
                    <a:pt x="140" y="228"/>
                  </a:lnTo>
                  <a:close/>
                </a:path>
              </a:pathLst>
            </a:custGeom>
            <a:grp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04" name="Group 103">
            <a:extLst>
              <a:ext uri="{FF2B5EF4-FFF2-40B4-BE49-F238E27FC236}">
                <a16:creationId xmlns:a16="http://schemas.microsoft.com/office/drawing/2014/main" id="{E32A71DC-8E0F-4AB5-B052-FC6AD06EFA5B}"/>
              </a:ext>
            </a:extLst>
          </p:cNvPr>
          <p:cNvGrpSpPr/>
          <p:nvPr/>
        </p:nvGrpSpPr>
        <p:grpSpPr>
          <a:xfrm>
            <a:off x="5025765" y="3744136"/>
            <a:ext cx="523325" cy="523325"/>
            <a:chOff x="4091659" y="4690710"/>
            <a:chExt cx="612000" cy="612000"/>
          </a:xfrm>
          <a:solidFill>
            <a:srgbClr val="505050"/>
          </a:solidFill>
        </p:grpSpPr>
        <p:sp>
          <p:nvSpPr>
            <p:cNvPr id="105" name="Oval 104">
              <a:extLst>
                <a:ext uri="{FF2B5EF4-FFF2-40B4-BE49-F238E27FC236}">
                  <a16:creationId xmlns:a16="http://schemas.microsoft.com/office/drawing/2014/main" id="{38384849-D199-4E57-B896-25DC8B064D60}"/>
                </a:ext>
              </a:extLst>
            </p:cNvPr>
            <p:cNvSpPr/>
            <p:nvPr/>
          </p:nvSpPr>
          <p:spPr bwMode="ltGray">
            <a:xfrm>
              <a:off x="4091659"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06" name="Freeform 4827">
              <a:extLst>
                <a:ext uri="{FF2B5EF4-FFF2-40B4-BE49-F238E27FC236}">
                  <a16:creationId xmlns:a16="http://schemas.microsoft.com/office/drawing/2014/main" id="{F62F9392-091A-4A1E-8E8A-BA18CEB37DD6}"/>
                </a:ext>
              </a:extLst>
            </p:cNvPr>
            <p:cNvSpPr>
              <a:spLocks noEditPoints="1"/>
            </p:cNvSpPr>
            <p:nvPr/>
          </p:nvSpPr>
          <p:spPr bwMode="auto">
            <a:xfrm>
              <a:off x="4181929" y="4792839"/>
              <a:ext cx="431460" cy="414299"/>
            </a:xfrm>
            <a:custGeom>
              <a:avLst/>
              <a:gdLst>
                <a:gd name="T0" fmla="*/ 338 w 352"/>
                <a:gd name="T1" fmla="*/ 194 h 338"/>
                <a:gd name="T2" fmla="*/ 294 w 352"/>
                <a:gd name="T3" fmla="*/ 46 h 338"/>
                <a:gd name="T4" fmla="*/ 292 w 352"/>
                <a:gd name="T5" fmla="*/ 46 h 338"/>
                <a:gd name="T6" fmla="*/ 292 w 352"/>
                <a:gd name="T7" fmla="*/ 44 h 338"/>
                <a:gd name="T8" fmla="*/ 290 w 352"/>
                <a:gd name="T9" fmla="*/ 44 h 338"/>
                <a:gd name="T10" fmla="*/ 288 w 352"/>
                <a:gd name="T11" fmla="*/ 42 h 338"/>
                <a:gd name="T12" fmla="*/ 288 w 352"/>
                <a:gd name="T13" fmla="*/ 42 h 338"/>
                <a:gd name="T14" fmla="*/ 286 w 352"/>
                <a:gd name="T15" fmla="*/ 40 h 338"/>
                <a:gd name="T16" fmla="*/ 284 w 352"/>
                <a:gd name="T17" fmla="*/ 40 h 338"/>
                <a:gd name="T18" fmla="*/ 202 w 352"/>
                <a:gd name="T19" fmla="*/ 40 h 338"/>
                <a:gd name="T20" fmla="*/ 192 w 352"/>
                <a:gd name="T21" fmla="*/ 26 h 338"/>
                <a:gd name="T22" fmla="*/ 186 w 352"/>
                <a:gd name="T23" fmla="*/ 10 h 338"/>
                <a:gd name="T24" fmla="*/ 180 w 352"/>
                <a:gd name="T25" fmla="*/ 2 h 338"/>
                <a:gd name="T26" fmla="*/ 172 w 352"/>
                <a:gd name="T27" fmla="*/ 2 h 338"/>
                <a:gd name="T28" fmla="*/ 166 w 352"/>
                <a:gd name="T29" fmla="*/ 10 h 338"/>
                <a:gd name="T30" fmla="*/ 160 w 352"/>
                <a:gd name="T31" fmla="*/ 26 h 338"/>
                <a:gd name="T32" fmla="*/ 150 w 352"/>
                <a:gd name="T33" fmla="*/ 40 h 338"/>
                <a:gd name="T34" fmla="*/ 68 w 352"/>
                <a:gd name="T35" fmla="*/ 40 h 338"/>
                <a:gd name="T36" fmla="*/ 66 w 352"/>
                <a:gd name="T37" fmla="*/ 40 h 338"/>
                <a:gd name="T38" fmla="*/ 64 w 352"/>
                <a:gd name="T39" fmla="*/ 42 h 338"/>
                <a:gd name="T40" fmla="*/ 64 w 352"/>
                <a:gd name="T41" fmla="*/ 42 h 338"/>
                <a:gd name="T42" fmla="*/ 62 w 352"/>
                <a:gd name="T43" fmla="*/ 44 h 338"/>
                <a:gd name="T44" fmla="*/ 60 w 352"/>
                <a:gd name="T45" fmla="*/ 44 h 338"/>
                <a:gd name="T46" fmla="*/ 60 w 352"/>
                <a:gd name="T47" fmla="*/ 46 h 338"/>
                <a:gd name="T48" fmla="*/ 58 w 352"/>
                <a:gd name="T49" fmla="*/ 46 h 338"/>
                <a:gd name="T50" fmla="*/ 14 w 352"/>
                <a:gd name="T51" fmla="*/ 194 h 338"/>
                <a:gd name="T52" fmla="*/ 0 w 352"/>
                <a:gd name="T53" fmla="*/ 194 h 338"/>
                <a:gd name="T54" fmla="*/ 18 w 352"/>
                <a:gd name="T55" fmla="*/ 220 h 338"/>
                <a:gd name="T56" fmla="*/ 46 w 352"/>
                <a:gd name="T57" fmla="*/ 236 h 338"/>
                <a:gd name="T58" fmla="*/ 68 w 352"/>
                <a:gd name="T59" fmla="*/ 240 h 338"/>
                <a:gd name="T60" fmla="*/ 100 w 352"/>
                <a:gd name="T61" fmla="*/ 232 h 338"/>
                <a:gd name="T62" fmla="*/ 124 w 352"/>
                <a:gd name="T63" fmla="*/ 212 h 338"/>
                <a:gd name="T64" fmla="*/ 122 w 352"/>
                <a:gd name="T65" fmla="*/ 194 h 338"/>
                <a:gd name="T66" fmla="*/ 82 w 352"/>
                <a:gd name="T67" fmla="*/ 60 h 338"/>
                <a:gd name="T68" fmla="*/ 152 w 352"/>
                <a:gd name="T69" fmla="*/ 66 h 338"/>
                <a:gd name="T70" fmla="*/ 166 w 352"/>
                <a:gd name="T71" fmla="*/ 78 h 338"/>
                <a:gd name="T72" fmla="*/ 122 w 352"/>
                <a:gd name="T73" fmla="*/ 306 h 338"/>
                <a:gd name="T74" fmla="*/ 108 w 352"/>
                <a:gd name="T75" fmla="*/ 316 h 338"/>
                <a:gd name="T76" fmla="*/ 108 w 352"/>
                <a:gd name="T77" fmla="*/ 328 h 338"/>
                <a:gd name="T78" fmla="*/ 122 w 352"/>
                <a:gd name="T79" fmla="*/ 338 h 338"/>
                <a:gd name="T80" fmla="*/ 236 w 352"/>
                <a:gd name="T81" fmla="*/ 338 h 338"/>
                <a:gd name="T82" fmla="*/ 246 w 352"/>
                <a:gd name="T83" fmla="*/ 322 h 338"/>
                <a:gd name="T84" fmla="*/ 242 w 352"/>
                <a:gd name="T85" fmla="*/ 312 h 338"/>
                <a:gd name="T86" fmla="*/ 186 w 352"/>
                <a:gd name="T87" fmla="*/ 306 h 338"/>
                <a:gd name="T88" fmla="*/ 192 w 352"/>
                <a:gd name="T89" fmla="*/ 74 h 338"/>
                <a:gd name="T90" fmla="*/ 202 w 352"/>
                <a:gd name="T91" fmla="*/ 60 h 338"/>
                <a:gd name="T92" fmla="*/ 230 w 352"/>
                <a:gd name="T93" fmla="*/ 194 h 338"/>
                <a:gd name="T94" fmla="*/ 216 w 352"/>
                <a:gd name="T95" fmla="*/ 194 h 338"/>
                <a:gd name="T96" fmla="*/ 234 w 352"/>
                <a:gd name="T97" fmla="*/ 220 h 338"/>
                <a:gd name="T98" fmla="*/ 262 w 352"/>
                <a:gd name="T99" fmla="*/ 236 h 338"/>
                <a:gd name="T100" fmla="*/ 284 w 352"/>
                <a:gd name="T101" fmla="*/ 240 h 338"/>
                <a:gd name="T102" fmla="*/ 316 w 352"/>
                <a:gd name="T103" fmla="*/ 232 h 338"/>
                <a:gd name="T104" fmla="*/ 340 w 352"/>
                <a:gd name="T105" fmla="*/ 212 h 338"/>
                <a:gd name="T106" fmla="*/ 338 w 352"/>
                <a:gd name="T107" fmla="*/ 194 h 338"/>
                <a:gd name="T108" fmla="*/ 100 w 352"/>
                <a:gd name="T109" fmla="*/ 194 h 338"/>
                <a:gd name="T110" fmla="*/ 284 w 352"/>
                <a:gd name="T111" fmla="*/ 8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2" h="338">
                  <a:moveTo>
                    <a:pt x="338" y="194"/>
                  </a:moveTo>
                  <a:lnTo>
                    <a:pt x="338" y="194"/>
                  </a:lnTo>
                  <a:lnTo>
                    <a:pt x="338" y="194"/>
                  </a:lnTo>
                  <a:lnTo>
                    <a:pt x="294" y="48"/>
                  </a:lnTo>
                  <a:lnTo>
                    <a:pt x="294" y="48"/>
                  </a:lnTo>
                  <a:lnTo>
                    <a:pt x="294" y="46"/>
                  </a:lnTo>
                  <a:lnTo>
                    <a:pt x="294" y="46"/>
                  </a:lnTo>
                  <a:lnTo>
                    <a:pt x="292" y="46"/>
                  </a:lnTo>
                  <a:lnTo>
                    <a:pt x="292" y="46"/>
                  </a:lnTo>
                  <a:lnTo>
                    <a:pt x="292" y="44"/>
                  </a:lnTo>
                  <a:lnTo>
                    <a:pt x="292" y="44"/>
                  </a:lnTo>
                  <a:lnTo>
                    <a:pt x="292" y="44"/>
                  </a:lnTo>
                  <a:lnTo>
                    <a:pt x="292" y="44"/>
                  </a:lnTo>
                  <a:lnTo>
                    <a:pt x="290" y="44"/>
                  </a:lnTo>
                  <a:lnTo>
                    <a:pt x="290" y="44"/>
                  </a:lnTo>
                  <a:lnTo>
                    <a:pt x="290" y="42"/>
                  </a:lnTo>
                  <a:lnTo>
                    <a:pt x="290" y="42"/>
                  </a:lnTo>
                  <a:lnTo>
                    <a:pt x="288" y="42"/>
                  </a:lnTo>
                  <a:lnTo>
                    <a:pt x="288" y="42"/>
                  </a:lnTo>
                  <a:lnTo>
                    <a:pt x="288" y="42"/>
                  </a:lnTo>
                  <a:lnTo>
                    <a:pt x="288" y="42"/>
                  </a:lnTo>
                  <a:lnTo>
                    <a:pt x="286" y="40"/>
                  </a:lnTo>
                  <a:lnTo>
                    <a:pt x="286" y="40"/>
                  </a:lnTo>
                  <a:lnTo>
                    <a:pt x="286" y="40"/>
                  </a:lnTo>
                  <a:lnTo>
                    <a:pt x="286" y="40"/>
                  </a:lnTo>
                  <a:lnTo>
                    <a:pt x="284" y="40"/>
                  </a:lnTo>
                  <a:lnTo>
                    <a:pt x="284" y="40"/>
                  </a:lnTo>
                  <a:lnTo>
                    <a:pt x="284" y="40"/>
                  </a:lnTo>
                  <a:lnTo>
                    <a:pt x="202" y="40"/>
                  </a:lnTo>
                  <a:lnTo>
                    <a:pt x="202" y="40"/>
                  </a:lnTo>
                  <a:lnTo>
                    <a:pt x="200" y="34"/>
                  </a:lnTo>
                  <a:lnTo>
                    <a:pt x="196" y="30"/>
                  </a:lnTo>
                  <a:lnTo>
                    <a:pt x="192" y="26"/>
                  </a:lnTo>
                  <a:lnTo>
                    <a:pt x="186" y="24"/>
                  </a:lnTo>
                  <a:lnTo>
                    <a:pt x="186" y="10"/>
                  </a:lnTo>
                  <a:lnTo>
                    <a:pt x="186" y="10"/>
                  </a:lnTo>
                  <a:lnTo>
                    <a:pt x="186" y="6"/>
                  </a:lnTo>
                  <a:lnTo>
                    <a:pt x="184" y="4"/>
                  </a:lnTo>
                  <a:lnTo>
                    <a:pt x="180" y="2"/>
                  </a:lnTo>
                  <a:lnTo>
                    <a:pt x="176" y="0"/>
                  </a:lnTo>
                  <a:lnTo>
                    <a:pt x="176" y="0"/>
                  </a:lnTo>
                  <a:lnTo>
                    <a:pt x="172" y="2"/>
                  </a:lnTo>
                  <a:lnTo>
                    <a:pt x="168" y="4"/>
                  </a:lnTo>
                  <a:lnTo>
                    <a:pt x="166" y="6"/>
                  </a:lnTo>
                  <a:lnTo>
                    <a:pt x="166" y="10"/>
                  </a:lnTo>
                  <a:lnTo>
                    <a:pt x="166" y="24"/>
                  </a:lnTo>
                  <a:lnTo>
                    <a:pt x="166" y="24"/>
                  </a:lnTo>
                  <a:lnTo>
                    <a:pt x="160" y="26"/>
                  </a:lnTo>
                  <a:lnTo>
                    <a:pt x="156" y="30"/>
                  </a:lnTo>
                  <a:lnTo>
                    <a:pt x="152" y="34"/>
                  </a:lnTo>
                  <a:lnTo>
                    <a:pt x="150" y="40"/>
                  </a:lnTo>
                  <a:lnTo>
                    <a:pt x="68" y="40"/>
                  </a:lnTo>
                  <a:lnTo>
                    <a:pt x="68" y="40"/>
                  </a:lnTo>
                  <a:lnTo>
                    <a:pt x="68" y="40"/>
                  </a:lnTo>
                  <a:lnTo>
                    <a:pt x="68" y="40"/>
                  </a:lnTo>
                  <a:lnTo>
                    <a:pt x="66" y="40"/>
                  </a:lnTo>
                  <a:lnTo>
                    <a:pt x="66" y="40"/>
                  </a:lnTo>
                  <a:lnTo>
                    <a:pt x="66" y="40"/>
                  </a:lnTo>
                  <a:lnTo>
                    <a:pt x="66" y="40"/>
                  </a:lnTo>
                  <a:lnTo>
                    <a:pt x="64" y="42"/>
                  </a:lnTo>
                  <a:lnTo>
                    <a:pt x="64" y="42"/>
                  </a:lnTo>
                  <a:lnTo>
                    <a:pt x="64" y="42"/>
                  </a:lnTo>
                  <a:lnTo>
                    <a:pt x="64" y="42"/>
                  </a:lnTo>
                  <a:lnTo>
                    <a:pt x="62" y="42"/>
                  </a:lnTo>
                  <a:lnTo>
                    <a:pt x="62" y="42"/>
                  </a:lnTo>
                  <a:lnTo>
                    <a:pt x="62" y="44"/>
                  </a:lnTo>
                  <a:lnTo>
                    <a:pt x="62" y="44"/>
                  </a:lnTo>
                  <a:lnTo>
                    <a:pt x="60" y="44"/>
                  </a:lnTo>
                  <a:lnTo>
                    <a:pt x="60" y="44"/>
                  </a:lnTo>
                  <a:lnTo>
                    <a:pt x="60" y="44"/>
                  </a:lnTo>
                  <a:lnTo>
                    <a:pt x="60" y="44"/>
                  </a:lnTo>
                  <a:lnTo>
                    <a:pt x="60" y="46"/>
                  </a:lnTo>
                  <a:lnTo>
                    <a:pt x="60" y="46"/>
                  </a:lnTo>
                  <a:lnTo>
                    <a:pt x="58" y="46"/>
                  </a:lnTo>
                  <a:lnTo>
                    <a:pt x="58" y="46"/>
                  </a:lnTo>
                  <a:lnTo>
                    <a:pt x="58" y="48"/>
                  </a:lnTo>
                  <a:lnTo>
                    <a:pt x="14" y="194"/>
                  </a:lnTo>
                  <a:lnTo>
                    <a:pt x="14" y="194"/>
                  </a:lnTo>
                  <a:lnTo>
                    <a:pt x="14" y="194"/>
                  </a:lnTo>
                  <a:lnTo>
                    <a:pt x="0" y="194"/>
                  </a:lnTo>
                  <a:lnTo>
                    <a:pt x="0" y="194"/>
                  </a:lnTo>
                  <a:lnTo>
                    <a:pt x="6" y="204"/>
                  </a:lnTo>
                  <a:lnTo>
                    <a:pt x="12" y="212"/>
                  </a:lnTo>
                  <a:lnTo>
                    <a:pt x="18" y="220"/>
                  </a:lnTo>
                  <a:lnTo>
                    <a:pt x="26" y="228"/>
                  </a:lnTo>
                  <a:lnTo>
                    <a:pt x="36" y="232"/>
                  </a:lnTo>
                  <a:lnTo>
                    <a:pt x="46" y="236"/>
                  </a:lnTo>
                  <a:lnTo>
                    <a:pt x="56" y="240"/>
                  </a:lnTo>
                  <a:lnTo>
                    <a:pt x="68" y="240"/>
                  </a:lnTo>
                  <a:lnTo>
                    <a:pt x="68" y="240"/>
                  </a:lnTo>
                  <a:lnTo>
                    <a:pt x="80" y="240"/>
                  </a:lnTo>
                  <a:lnTo>
                    <a:pt x="90" y="236"/>
                  </a:lnTo>
                  <a:lnTo>
                    <a:pt x="100" y="232"/>
                  </a:lnTo>
                  <a:lnTo>
                    <a:pt x="110" y="228"/>
                  </a:lnTo>
                  <a:lnTo>
                    <a:pt x="118" y="220"/>
                  </a:lnTo>
                  <a:lnTo>
                    <a:pt x="124" y="212"/>
                  </a:lnTo>
                  <a:lnTo>
                    <a:pt x="130" y="204"/>
                  </a:lnTo>
                  <a:lnTo>
                    <a:pt x="136" y="194"/>
                  </a:lnTo>
                  <a:lnTo>
                    <a:pt x="122" y="194"/>
                  </a:lnTo>
                  <a:lnTo>
                    <a:pt x="122" y="194"/>
                  </a:lnTo>
                  <a:lnTo>
                    <a:pt x="122" y="194"/>
                  </a:lnTo>
                  <a:lnTo>
                    <a:pt x="82" y="60"/>
                  </a:lnTo>
                  <a:lnTo>
                    <a:pt x="150" y="60"/>
                  </a:lnTo>
                  <a:lnTo>
                    <a:pt x="150" y="60"/>
                  </a:lnTo>
                  <a:lnTo>
                    <a:pt x="152" y="66"/>
                  </a:lnTo>
                  <a:lnTo>
                    <a:pt x="156" y="70"/>
                  </a:lnTo>
                  <a:lnTo>
                    <a:pt x="160" y="74"/>
                  </a:lnTo>
                  <a:lnTo>
                    <a:pt x="166" y="78"/>
                  </a:lnTo>
                  <a:lnTo>
                    <a:pt x="166" y="306"/>
                  </a:lnTo>
                  <a:lnTo>
                    <a:pt x="122" y="306"/>
                  </a:lnTo>
                  <a:lnTo>
                    <a:pt x="122" y="306"/>
                  </a:lnTo>
                  <a:lnTo>
                    <a:pt x="116" y="308"/>
                  </a:lnTo>
                  <a:lnTo>
                    <a:pt x="110" y="312"/>
                  </a:lnTo>
                  <a:lnTo>
                    <a:pt x="108" y="316"/>
                  </a:lnTo>
                  <a:lnTo>
                    <a:pt x="106" y="322"/>
                  </a:lnTo>
                  <a:lnTo>
                    <a:pt x="106" y="322"/>
                  </a:lnTo>
                  <a:lnTo>
                    <a:pt x="108" y="328"/>
                  </a:lnTo>
                  <a:lnTo>
                    <a:pt x="110" y="334"/>
                  </a:lnTo>
                  <a:lnTo>
                    <a:pt x="116" y="338"/>
                  </a:lnTo>
                  <a:lnTo>
                    <a:pt x="122" y="338"/>
                  </a:lnTo>
                  <a:lnTo>
                    <a:pt x="230" y="338"/>
                  </a:lnTo>
                  <a:lnTo>
                    <a:pt x="230" y="338"/>
                  </a:lnTo>
                  <a:lnTo>
                    <a:pt x="236" y="338"/>
                  </a:lnTo>
                  <a:lnTo>
                    <a:pt x="242" y="334"/>
                  </a:lnTo>
                  <a:lnTo>
                    <a:pt x="244" y="328"/>
                  </a:lnTo>
                  <a:lnTo>
                    <a:pt x="246" y="322"/>
                  </a:lnTo>
                  <a:lnTo>
                    <a:pt x="246" y="322"/>
                  </a:lnTo>
                  <a:lnTo>
                    <a:pt x="244" y="316"/>
                  </a:lnTo>
                  <a:lnTo>
                    <a:pt x="242" y="312"/>
                  </a:lnTo>
                  <a:lnTo>
                    <a:pt x="236" y="308"/>
                  </a:lnTo>
                  <a:lnTo>
                    <a:pt x="230" y="306"/>
                  </a:lnTo>
                  <a:lnTo>
                    <a:pt x="186" y="306"/>
                  </a:lnTo>
                  <a:lnTo>
                    <a:pt x="186" y="78"/>
                  </a:lnTo>
                  <a:lnTo>
                    <a:pt x="186" y="78"/>
                  </a:lnTo>
                  <a:lnTo>
                    <a:pt x="192" y="74"/>
                  </a:lnTo>
                  <a:lnTo>
                    <a:pt x="196" y="70"/>
                  </a:lnTo>
                  <a:lnTo>
                    <a:pt x="200" y="66"/>
                  </a:lnTo>
                  <a:lnTo>
                    <a:pt x="202" y="60"/>
                  </a:lnTo>
                  <a:lnTo>
                    <a:pt x="270" y="60"/>
                  </a:lnTo>
                  <a:lnTo>
                    <a:pt x="230" y="194"/>
                  </a:lnTo>
                  <a:lnTo>
                    <a:pt x="230" y="194"/>
                  </a:lnTo>
                  <a:lnTo>
                    <a:pt x="230" y="194"/>
                  </a:lnTo>
                  <a:lnTo>
                    <a:pt x="216" y="194"/>
                  </a:lnTo>
                  <a:lnTo>
                    <a:pt x="216" y="194"/>
                  </a:lnTo>
                  <a:lnTo>
                    <a:pt x="222" y="204"/>
                  </a:lnTo>
                  <a:lnTo>
                    <a:pt x="228" y="212"/>
                  </a:lnTo>
                  <a:lnTo>
                    <a:pt x="234" y="220"/>
                  </a:lnTo>
                  <a:lnTo>
                    <a:pt x="242" y="228"/>
                  </a:lnTo>
                  <a:lnTo>
                    <a:pt x="252" y="232"/>
                  </a:lnTo>
                  <a:lnTo>
                    <a:pt x="262" y="236"/>
                  </a:lnTo>
                  <a:lnTo>
                    <a:pt x="272" y="240"/>
                  </a:lnTo>
                  <a:lnTo>
                    <a:pt x="284" y="240"/>
                  </a:lnTo>
                  <a:lnTo>
                    <a:pt x="284" y="240"/>
                  </a:lnTo>
                  <a:lnTo>
                    <a:pt x="296" y="240"/>
                  </a:lnTo>
                  <a:lnTo>
                    <a:pt x="306" y="236"/>
                  </a:lnTo>
                  <a:lnTo>
                    <a:pt x="316" y="232"/>
                  </a:lnTo>
                  <a:lnTo>
                    <a:pt x="326" y="228"/>
                  </a:lnTo>
                  <a:lnTo>
                    <a:pt x="334" y="220"/>
                  </a:lnTo>
                  <a:lnTo>
                    <a:pt x="340" y="212"/>
                  </a:lnTo>
                  <a:lnTo>
                    <a:pt x="346" y="204"/>
                  </a:lnTo>
                  <a:lnTo>
                    <a:pt x="352" y="194"/>
                  </a:lnTo>
                  <a:lnTo>
                    <a:pt x="338" y="194"/>
                  </a:lnTo>
                  <a:close/>
                  <a:moveTo>
                    <a:pt x="36" y="194"/>
                  </a:moveTo>
                  <a:lnTo>
                    <a:pt x="68" y="86"/>
                  </a:lnTo>
                  <a:lnTo>
                    <a:pt x="100" y="194"/>
                  </a:lnTo>
                  <a:lnTo>
                    <a:pt x="36" y="194"/>
                  </a:lnTo>
                  <a:close/>
                  <a:moveTo>
                    <a:pt x="252" y="194"/>
                  </a:moveTo>
                  <a:lnTo>
                    <a:pt x="284" y="86"/>
                  </a:lnTo>
                  <a:lnTo>
                    <a:pt x="316" y="194"/>
                  </a:lnTo>
                  <a:lnTo>
                    <a:pt x="252" y="194"/>
                  </a:lnTo>
                  <a:close/>
                </a:path>
              </a:pathLst>
            </a:custGeom>
            <a:grp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07" name="Group 106">
            <a:extLst>
              <a:ext uri="{FF2B5EF4-FFF2-40B4-BE49-F238E27FC236}">
                <a16:creationId xmlns:a16="http://schemas.microsoft.com/office/drawing/2014/main" id="{9C4A3CD5-0F26-46DF-A5AB-2EEF0E338251}"/>
              </a:ext>
            </a:extLst>
          </p:cNvPr>
          <p:cNvGrpSpPr/>
          <p:nvPr/>
        </p:nvGrpSpPr>
        <p:grpSpPr>
          <a:xfrm>
            <a:off x="5773738" y="3744136"/>
            <a:ext cx="523325" cy="523325"/>
            <a:chOff x="4966372" y="4690710"/>
            <a:chExt cx="612000" cy="612000"/>
          </a:xfrm>
          <a:solidFill>
            <a:srgbClr val="505050"/>
          </a:solidFill>
        </p:grpSpPr>
        <p:sp>
          <p:nvSpPr>
            <p:cNvPr id="108" name="Oval 107">
              <a:extLst>
                <a:ext uri="{FF2B5EF4-FFF2-40B4-BE49-F238E27FC236}">
                  <a16:creationId xmlns:a16="http://schemas.microsoft.com/office/drawing/2014/main" id="{5AC433E3-C322-4C38-BB66-993CA3726F6D}"/>
                </a:ext>
              </a:extLst>
            </p:cNvPr>
            <p:cNvSpPr/>
            <p:nvPr/>
          </p:nvSpPr>
          <p:spPr bwMode="ltGray">
            <a:xfrm>
              <a:off x="4966372"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09" name="Freeform 4828">
              <a:extLst>
                <a:ext uri="{FF2B5EF4-FFF2-40B4-BE49-F238E27FC236}">
                  <a16:creationId xmlns:a16="http://schemas.microsoft.com/office/drawing/2014/main" id="{7FD4D87C-527F-4933-9761-677FD9B2EF05}"/>
                </a:ext>
              </a:extLst>
            </p:cNvPr>
            <p:cNvSpPr>
              <a:spLocks noEditPoints="1"/>
            </p:cNvSpPr>
            <p:nvPr/>
          </p:nvSpPr>
          <p:spPr bwMode="auto">
            <a:xfrm>
              <a:off x="5027225" y="4814903"/>
              <a:ext cx="490295" cy="294177"/>
            </a:xfrm>
            <a:custGeom>
              <a:avLst/>
              <a:gdLst>
                <a:gd name="T0" fmla="*/ 162 w 400"/>
                <a:gd name="T1" fmla="*/ 136 h 240"/>
                <a:gd name="T2" fmla="*/ 156 w 400"/>
                <a:gd name="T3" fmla="*/ 130 h 240"/>
                <a:gd name="T4" fmla="*/ 148 w 400"/>
                <a:gd name="T5" fmla="*/ 126 h 240"/>
                <a:gd name="T6" fmla="*/ 46 w 400"/>
                <a:gd name="T7" fmla="*/ 126 h 240"/>
                <a:gd name="T8" fmla="*/ 36 w 400"/>
                <a:gd name="T9" fmla="*/ 130 h 240"/>
                <a:gd name="T10" fmla="*/ 30 w 400"/>
                <a:gd name="T11" fmla="*/ 136 h 240"/>
                <a:gd name="T12" fmla="*/ 0 w 400"/>
                <a:gd name="T13" fmla="*/ 218 h 240"/>
                <a:gd name="T14" fmla="*/ 2 w 400"/>
                <a:gd name="T15" fmla="*/ 232 h 240"/>
                <a:gd name="T16" fmla="*/ 8 w 400"/>
                <a:gd name="T17" fmla="*/ 238 h 240"/>
                <a:gd name="T18" fmla="*/ 178 w 400"/>
                <a:gd name="T19" fmla="*/ 240 h 240"/>
                <a:gd name="T20" fmla="*/ 184 w 400"/>
                <a:gd name="T21" fmla="*/ 238 h 240"/>
                <a:gd name="T22" fmla="*/ 190 w 400"/>
                <a:gd name="T23" fmla="*/ 232 h 240"/>
                <a:gd name="T24" fmla="*/ 192 w 400"/>
                <a:gd name="T25" fmla="*/ 218 h 240"/>
                <a:gd name="T26" fmla="*/ 150 w 400"/>
                <a:gd name="T27" fmla="*/ 198 h 240"/>
                <a:gd name="T28" fmla="*/ 62 w 400"/>
                <a:gd name="T29" fmla="*/ 158 h 240"/>
                <a:gd name="T30" fmla="*/ 148 w 400"/>
                <a:gd name="T31" fmla="*/ 142 h 240"/>
                <a:gd name="T32" fmla="*/ 150 w 400"/>
                <a:gd name="T33" fmla="*/ 198 h 240"/>
                <a:gd name="T34" fmla="*/ 370 w 400"/>
                <a:gd name="T35" fmla="*/ 136 h 240"/>
                <a:gd name="T36" fmla="*/ 366 w 400"/>
                <a:gd name="T37" fmla="*/ 132 h 240"/>
                <a:gd name="T38" fmla="*/ 358 w 400"/>
                <a:gd name="T39" fmla="*/ 126 h 240"/>
                <a:gd name="T40" fmla="*/ 252 w 400"/>
                <a:gd name="T41" fmla="*/ 126 h 240"/>
                <a:gd name="T42" fmla="*/ 248 w 400"/>
                <a:gd name="T43" fmla="*/ 126 h 240"/>
                <a:gd name="T44" fmla="*/ 240 w 400"/>
                <a:gd name="T45" fmla="*/ 132 h 240"/>
                <a:gd name="T46" fmla="*/ 208 w 400"/>
                <a:gd name="T47" fmla="*/ 218 h 240"/>
                <a:gd name="T48" fmla="*/ 206 w 400"/>
                <a:gd name="T49" fmla="*/ 226 h 240"/>
                <a:gd name="T50" fmla="*/ 210 w 400"/>
                <a:gd name="T51" fmla="*/ 232 h 240"/>
                <a:gd name="T52" fmla="*/ 222 w 400"/>
                <a:gd name="T53" fmla="*/ 240 h 240"/>
                <a:gd name="T54" fmla="*/ 384 w 400"/>
                <a:gd name="T55" fmla="*/ 240 h 240"/>
                <a:gd name="T56" fmla="*/ 398 w 400"/>
                <a:gd name="T57" fmla="*/ 232 h 240"/>
                <a:gd name="T58" fmla="*/ 400 w 400"/>
                <a:gd name="T59" fmla="*/ 226 h 240"/>
                <a:gd name="T60" fmla="*/ 400 w 400"/>
                <a:gd name="T61" fmla="*/ 218 h 240"/>
                <a:gd name="T62" fmla="*/ 344 w 400"/>
                <a:gd name="T63" fmla="*/ 158 h 240"/>
                <a:gd name="T64" fmla="*/ 254 w 400"/>
                <a:gd name="T65" fmla="*/ 142 h 240"/>
                <a:gd name="T66" fmla="*/ 374 w 400"/>
                <a:gd name="T67" fmla="*/ 198 h 240"/>
                <a:gd name="T68" fmla="*/ 118 w 400"/>
                <a:gd name="T69" fmla="*/ 114 h 240"/>
                <a:gd name="T70" fmla="*/ 280 w 400"/>
                <a:gd name="T71" fmla="*/ 114 h 240"/>
                <a:gd name="T72" fmla="*/ 294 w 400"/>
                <a:gd name="T73" fmla="*/ 106 h 240"/>
                <a:gd name="T74" fmla="*/ 296 w 400"/>
                <a:gd name="T75" fmla="*/ 100 h 240"/>
                <a:gd name="T76" fmla="*/ 266 w 400"/>
                <a:gd name="T77" fmla="*/ 10 h 240"/>
                <a:gd name="T78" fmla="*/ 264 w 400"/>
                <a:gd name="T79" fmla="*/ 6 h 240"/>
                <a:gd name="T80" fmla="*/ 256 w 400"/>
                <a:gd name="T81" fmla="*/ 0 h 240"/>
                <a:gd name="T82" fmla="*/ 150 w 400"/>
                <a:gd name="T83" fmla="*/ 0 h 240"/>
                <a:gd name="T84" fmla="*/ 144 w 400"/>
                <a:gd name="T85" fmla="*/ 0 h 240"/>
                <a:gd name="T86" fmla="*/ 136 w 400"/>
                <a:gd name="T87" fmla="*/ 6 h 240"/>
                <a:gd name="T88" fmla="*/ 104 w 400"/>
                <a:gd name="T89" fmla="*/ 92 h 240"/>
                <a:gd name="T90" fmla="*/ 104 w 400"/>
                <a:gd name="T91" fmla="*/ 100 h 240"/>
                <a:gd name="T92" fmla="*/ 106 w 400"/>
                <a:gd name="T93" fmla="*/ 106 h 240"/>
                <a:gd name="T94" fmla="*/ 118 w 400"/>
                <a:gd name="T95" fmla="*/ 114 h 240"/>
                <a:gd name="T96" fmla="*/ 250 w 400"/>
                <a:gd name="T97" fmla="*/ 16 h 240"/>
                <a:gd name="T98" fmla="*/ 254 w 400"/>
                <a:gd name="T99" fmla="*/ 72 h 240"/>
                <a:gd name="T100" fmla="*/ 166 w 400"/>
                <a:gd name="T101" fmla="*/ 32 h 240"/>
                <a:gd name="T102" fmla="*/ 250 w 400"/>
                <a:gd name="T103" fmla="*/ 16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0" h="240">
                  <a:moveTo>
                    <a:pt x="162" y="136"/>
                  </a:moveTo>
                  <a:lnTo>
                    <a:pt x="162" y="136"/>
                  </a:lnTo>
                  <a:lnTo>
                    <a:pt x="160" y="132"/>
                  </a:lnTo>
                  <a:lnTo>
                    <a:pt x="156" y="130"/>
                  </a:lnTo>
                  <a:lnTo>
                    <a:pt x="152" y="126"/>
                  </a:lnTo>
                  <a:lnTo>
                    <a:pt x="148" y="126"/>
                  </a:lnTo>
                  <a:lnTo>
                    <a:pt x="46" y="126"/>
                  </a:lnTo>
                  <a:lnTo>
                    <a:pt x="46" y="126"/>
                  </a:lnTo>
                  <a:lnTo>
                    <a:pt x="42" y="126"/>
                  </a:lnTo>
                  <a:lnTo>
                    <a:pt x="36" y="130"/>
                  </a:lnTo>
                  <a:lnTo>
                    <a:pt x="34" y="132"/>
                  </a:lnTo>
                  <a:lnTo>
                    <a:pt x="30" y="136"/>
                  </a:lnTo>
                  <a:lnTo>
                    <a:pt x="0" y="218"/>
                  </a:lnTo>
                  <a:lnTo>
                    <a:pt x="0" y="218"/>
                  </a:lnTo>
                  <a:lnTo>
                    <a:pt x="0" y="226"/>
                  </a:lnTo>
                  <a:lnTo>
                    <a:pt x="2" y="232"/>
                  </a:lnTo>
                  <a:lnTo>
                    <a:pt x="2" y="232"/>
                  </a:lnTo>
                  <a:lnTo>
                    <a:pt x="8" y="238"/>
                  </a:lnTo>
                  <a:lnTo>
                    <a:pt x="16" y="240"/>
                  </a:lnTo>
                  <a:lnTo>
                    <a:pt x="178" y="240"/>
                  </a:lnTo>
                  <a:lnTo>
                    <a:pt x="178" y="240"/>
                  </a:lnTo>
                  <a:lnTo>
                    <a:pt x="184" y="238"/>
                  </a:lnTo>
                  <a:lnTo>
                    <a:pt x="190" y="232"/>
                  </a:lnTo>
                  <a:lnTo>
                    <a:pt x="190" y="232"/>
                  </a:lnTo>
                  <a:lnTo>
                    <a:pt x="194" y="226"/>
                  </a:lnTo>
                  <a:lnTo>
                    <a:pt x="192" y="218"/>
                  </a:lnTo>
                  <a:lnTo>
                    <a:pt x="162" y="136"/>
                  </a:lnTo>
                  <a:close/>
                  <a:moveTo>
                    <a:pt x="150" y="198"/>
                  </a:moveTo>
                  <a:lnTo>
                    <a:pt x="136" y="158"/>
                  </a:lnTo>
                  <a:lnTo>
                    <a:pt x="62" y="158"/>
                  </a:lnTo>
                  <a:lnTo>
                    <a:pt x="46" y="142"/>
                  </a:lnTo>
                  <a:lnTo>
                    <a:pt x="148" y="142"/>
                  </a:lnTo>
                  <a:lnTo>
                    <a:pt x="168" y="198"/>
                  </a:lnTo>
                  <a:lnTo>
                    <a:pt x="150" y="198"/>
                  </a:lnTo>
                  <a:close/>
                  <a:moveTo>
                    <a:pt x="400" y="218"/>
                  </a:moveTo>
                  <a:lnTo>
                    <a:pt x="370" y="136"/>
                  </a:lnTo>
                  <a:lnTo>
                    <a:pt x="370" y="136"/>
                  </a:lnTo>
                  <a:lnTo>
                    <a:pt x="366" y="132"/>
                  </a:lnTo>
                  <a:lnTo>
                    <a:pt x="364" y="130"/>
                  </a:lnTo>
                  <a:lnTo>
                    <a:pt x="358" y="126"/>
                  </a:lnTo>
                  <a:lnTo>
                    <a:pt x="354" y="126"/>
                  </a:lnTo>
                  <a:lnTo>
                    <a:pt x="252" y="126"/>
                  </a:lnTo>
                  <a:lnTo>
                    <a:pt x="252" y="126"/>
                  </a:lnTo>
                  <a:lnTo>
                    <a:pt x="248" y="126"/>
                  </a:lnTo>
                  <a:lnTo>
                    <a:pt x="244" y="130"/>
                  </a:lnTo>
                  <a:lnTo>
                    <a:pt x="240" y="132"/>
                  </a:lnTo>
                  <a:lnTo>
                    <a:pt x="238" y="136"/>
                  </a:lnTo>
                  <a:lnTo>
                    <a:pt x="208" y="218"/>
                  </a:lnTo>
                  <a:lnTo>
                    <a:pt x="208" y="218"/>
                  </a:lnTo>
                  <a:lnTo>
                    <a:pt x="206" y="226"/>
                  </a:lnTo>
                  <a:lnTo>
                    <a:pt x="210" y="232"/>
                  </a:lnTo>
                  <a:lnTo>
                    <a:pt x="210" y="232"/>
                  </a:lnTo>
                  <a:lnTo>
                    <a:pt x="216" y="238"/>
                  </a:lnTo>
                  <a:lnTo>
                    <a:pt x="222" y="240"/>
                  </a:lnTo>
                  <a:lnTo>
                    <a:pt x="384" y="240"/>
                  </a:lnTo>
                  <a:lnTo>
                    <a:pt x="384" y="240"/>
                  </a:lnTo>
                  <a:lnTo>
                    <a:pt x="392" y="238"/>
                  </a:lnTo>
                  <a:lnTo>
                    <a:pt x="398" y="232"/>
                  </a:lnTo>
                  <a:lnTo>
                    <a:pt x="398" y="232"/>
                  </a:lnTo>
                  <a:lnTo>
                    <a:pt x="400" y="226"/>
                  </a:lnTo>
                  <a:lnTo>
                    <a:pt x="400" y="218"/>
                  </a:lnTo>
                  <a:lnTo>
                    <a:pt x="400" y="218"/>
                  </a:lnTo>
                  <a:close/>
                  <a:moveTo>
                    <a:pt x="358" y="198"/>
                  </a:moveTo>
                  <a:lnTo>
                    <a:pt x="344" y="158"/>
                  </a:lnTo>
                  <a:lnTo>
                    <a:pt x="268" y="158"/>
                  </a:lnTo>
                  <a:lnTo>
                    <a:pt x="254" y="142"/>
                  </a:lnTo>
                  <a:lnTo>
                    <a:pt x="354" y="142"/>
                  </a:lnTo>
                  <a:lnTo>
                    <a:pt x="374" y="198"/>
                  </a:lnTo>
                  <a:lnTo>
                    <a:pt x="358" y="198"/>
                  </a:lnTo>
                  <a:close/>
                  <a:moveTo>
                    <a:pt x="118" y="114"/>
                  </a:moveTo>
                  <a:lnTo>
                    <a:pt x="280" y="114"/>
                  </a:lnTo>
                  <a:lnTo>
                    <a:pt x="280" y="114"/>
                  </a:lnTo>
                  <a:lnTo>
                    <a:pt x="288" y="112"/>
                  </a:lnTo>
                  <a:lnTo>
                    <a:pt x="294" y="106"/>
                  </a:lnTo>
                  <a:lnTo>
                    <a:pt x="294" y="106"/>
                  </a:lnTo>
                  <a:lnTo>
                    <a:pt x="296" y="100"/>
                  </a:lnTo>
                  <a:lnTo>
                    <a:pt x="296" y="92"/>
                  </a:lnTo>
                  <a:lnTo>
                    <a:pt x="266" y="10"/>
                  </a:lnTo>
                  <a:lnTo>
                    <a:pt x="266" y="10"/>
                  </a:lnTo>
                  <a:lnTo>
                    <a:pt x="264" y="6"/>
                  </a:lnTo>
                  <a:lnTo>
                    <a:pt x="260" y="4"/>
                  </a:lnTo>
                  <a:lnTo>
                    <a:pt x="256" y="0"/>
                  </a:lnTo>
                  <a:lnTo>
                    <a:pt x="250" y="0"/>
                  </a:lnTo>
                  <a:lnTo>
                    <a:pt x="150" y="0"/>
                  </a:lnTo>
                  <a:lnTo>
                    <a:pt x="150" y="0"/>
                  </a:lnTo>
                  <a:lnTo>
                    <a:pt x="144" y="0"/>
                  </a:lnTo>
                  <a:lnTo>
                    <a:pt x="140" y="4"/>
                  </a:lnTo>
                  <a:lnTo>
                    <a:pt x="136" y="6"/>
                  </a:lnTo>
                  <a:lnTo>
                    <a:pt x="134" y="10"/>
                  </a:lnTo>
                  <a:lnTo>
                    <a:pt x="104" y="92"/>
                  </a:lnTo>
                  <a:lnTo>
                    <a:pt x="104" y="92"/>
                  </a:lnTo>
                  <a:lnTo>
                    <a:pt x="104" y="100"/>
                  </a:lnTo>
                  <a:lnTo>
                    <a:pt x="106" y="106"/>
                  </a:lnTo>
                  <a:lnTo>
                    <a:pt x="106" y="106"/>
                  </a:lnTo>
                  <a:lnTo>
                    <a:pt x="112" y="112"/>
                  </a:lnTo>
                  <a:lnTo>
                    <a:pt x="118" y="114"/>
                  </a:lnTo>
                  <a:lnTo>
                    <a:pt x="118" y="114"/>
                  </a:lnTo>
                  <a:close/>
                  <a:moveTo>
                    <a:pt x="250" y="16"/>
                  </a:moveTo>
                  <a:lnTo>
                    <a:pt x="272" y="72"/>
                  </a:lnTo>
                  <a:lnTo>
                    <a:pt x="254" y="72"/>
                  </a:lnTo>
                  <a:lnTo>
                    <a:pt x="240" y="32"/>
                  </a:lnTo>
                  <a:lnTo>
                    <a:pt x="166" y="32"/>
                  </a:lnTo>
                  <a:lnTo>
                    <a:pt x="150" y="16"/>
                  </a:lnTo>
                  <a:lnTo>
                    <a:pt x="250" y="16"/>
                  </a:lnTo>
                  <a:close/>
                </a:path>
              </a:pathLst>
            </a:custGeom>
            <a:grp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10" name="Group 109">
            <a:extLst>
              <a:ext uri="{FF2B5EF4-FFF2-40B4-BE49-F238E27FC236}">
                <a16:creationId xmlns:a16="http://schemas.microsoft.com/office/drawing/2014/main" id="{C41BFAFF-AA93-427F-8D49-6D865FE0D9FF}"/>
              </a:ext>
            </a:extLst>
          </p:cNvPr>
          <p:cNvGrpSpPr/>
          <p:nvPr/>
        </p:nvGrpSpPr>
        <p:grpSpPr>
          <a:xfrm>
            <a:off x="6521711" y="3744136"/>
            <a:ext cx="523325" cy="523325"/>
            <a:chOff x="5841085" y="4690710"/>
            <a:chExt cx="612000" cy="612000"/>
          </a:xfrm>
          <a:solidFill>
            <a:srgbClr val="505050"/>
          </a:solidFill>
        </p:grpSpPr>
        <p:sp>
          <p:nvSpPr>
            <p:cNvPr id="111" name="Oval 110">
              <a:extLst>
                <a:ext uri="{FF2B5EF4-FFF2-40B4-BE49-F238E27FC236}">
                  <a16:creationId xmlns:a16="http://schemas.microsoft.com/office/drawing/2014/main" id="{43250886-020E-4968-B6D1-1D24AE30AF2D}"/>
                </a:ext>
              </a:extLst>
            </p:cNvPr>
            <p:cNvSpPr/>
            <p:nvPr/>
          </p:nvSpPr>
          <p:spPr bwMode="ltGray">
            <a:xfrm>
              <a:off x="5841085"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12" name="Freeform 4829">
              <a:extLst>
                <a:ext uri="{FF2B5EF4-FFF2-40B4-BE49-F238E27FC236}">
                  <a16:creationId xmlns:a16="http://schemas.microsoft.com/office/drawing/2014/main" id="{D0B88F22-8867-49DA-AA47-3906FB729348}"/>
                </a:ext>
              </a:extLst>
            </p:cNvPr>
            <p:cNvSpPr>
              <a:spLocks noEditPoints="1"/>
            </p:cNvSpPr>
            <p:nvPr/>
          </p:nvSpPr>
          <p:spPr bwMode="auto">
            <a:xfrm>
              <a:off x="5920324" y="4775679"/>
              <a:ext cx="453523" cy="451072"/>
            </a:xfrm>
            <a:custGeom>
              <a:avLst/>
              <a:gdLst>
                <a:gd name="T0" fmla="*/ 360 w 370"/>
                <a:gd name="T1" fmla="*/ 158 h 368"/>
                <a:gd name="T2" fmla="*/ 322 w 370"/>
                <a:gd name="T3" fmla="*/ 174 h 368"/>
                <a:gd name="T4" fmla="*/ 304 w 370"/>
                <a:gd name="T5" fmla="*/ 164 h 368"/>
                <a:gd name="T6" fmla="*/ 322 w 370"/>
                <a:gd name="T7" fmla="*/ 132 h 368"/>
                <a:gd name="T8" fmla="*/ 284 w 370"/>
                <a:gd name="T9" fmla="*/ 114 h 368"/>
                <a:gd name="T10" fmla="*/ 328 w 370"/>
                <a:gd name="T11" fmla="*/ 86 h 368"/>
                <a:gd name="T12" fmla="*/ 358 w 370"/>
                <a:gd name="T13" fmla="*/ 102 h 368"/>
                <a:gd name="T14" fmla="*/ 370 w 370"/>
                <a:gd name="T15" fmla="*/ 134 h 368"/>
                <a:gd name="T16" fmla="*/ 46 w 370"/>
                <a:gd name="T17" fmla="*/ 238 h 368"/>
                <a:gd name="T18" fmla="*/ 34 w 370"/>
                <a:gd name="T19" fmla="*/ 230 h 368"/>
                <a:gd name="T20" fmla="*/ 6 w 370"/>
                <a:gd name="T21" fmla="*/ 246 h 368"/>
                <a:gd name="T22" fmla="*/ 2 w 370"/>
                <a:gd name="T23" fmla="*/ 272 h 368"/>
                <a:gd name="T24" fmla="*/ 22 w 370"/>
                <a:gd name="T25" fmla="*/ 296 h 368"/>
                <a:gd name="T26" fmla="*/ 48 w 370"/>
                <a:gd name="T27" fmla="*/ 296 h 368"/>
                <a:gd name="T28" fmla="*/ 58 w 370"/>
                <a:gd name="T29" fmla="*/ 264 h 368"/>
                <a:gd name="T30" fmla="*/ 68 w 370"/>
                <a:gd name="T31" fmla="*/ 234 h 368"/>
                <a:gd name="T32" fmla="*/ 64 w 370"/>
                <a:gd name="T33" fmla="*/ 248 h 368"/>
                <a:gd name="T34" fmla="*/ 78 w 370"/>
                <a:gd name="T35" fmla="*/ 250 h 368"/>
                <a:gd name="T36" fmla="*/ 128 w 370"/>
                <a:gd name="T37" fmla="*/ 196 h 368"/>
                <a:gd name="T38" fmla="*/ 298 w 370"/>
                <a:gd name="T39" fmla="*/ 128 h 368"/>
                <a:gd name="T40" fmla="*/ 284 w 370"/>
                <a:gd name="T41" fmla="*/ 152 h 368"/>
                <a:gd name="T42" fmla="*/ 306 w 370"/>
                <a:gd name="T43" fmla="*/ 140 h 368"/>
                <a:gd name="T44" fmla="*/ 160 w 370"/>
                <a:gd name="T45" fmla="*/ 114 h 368"/>
                <a:gd name="T46" fmla="*/ 168 w 370"/>
                <a:gd name="T47" fmla="*/ 132 h 368"/>
                <a:gd name="T48" fmla="*/ 176 w 370"/>
                <a:gd name="T49" fmla="*/ 126 h 368"/>
                <a:gd name="T50" fmla="*/ 170 w 370"/>
                <a:gd name="T51" fmla="*/ 58 h 368"/>
                <a:gd name="T52" fmla="*/ 154 w 370"/>
                <a:gd name="T53" fmla="*/ 18 h 368"/>
                <a:gd name="T54" fmla="*/ 112 w 370"/>
                <a:gd name="T55" fmla="*/ 0 h 368"/>
                <a:gd name="T56" fmla="*/ 64 w 370"/>
                <a:gd name="T57" fmla="*/ 26 h 368"/>
                <a:gd name="T58" fmla="*/ 56 w 370"/>
                <a:gd name="T59" fmla="*/ 70 h 368"/>
                <a:gd name="T60" fmla="*/ 90 w 370"/>
                <a:gd name="T61" fmla="*/ 112 h 368"/>
                <a:gd name="T62" fmla="*/ 134 w 370"/>
                <a:gd name="T63" fmla="*/ 112 h 368"/>
                <a:gd name="T64" fmla="*/ 170 w 370"/>
                <a:gd name="T65" fmla="*/ 70 h 368"/>
                <a:gd name="T66" fmla="*/ 230 w 370"/>
                <a:gd name="T67" fmla="*/ 206 h 368"/>
                <a:gd name="T68" fmla="*/ 260 w 370"/>
                <a:gd name="T69" fmla="*/ 202 h 368"/>
                <a:gd name="T70" fmla="*/ 270 w 370"/>
                <a:gd name="T71" fmla="*/ 150 h 368"/>
                <a:gd name="T72" fmla="*/ 230 w 370"/>
                <a:gd name="T73" fmla="*/ 100 h 368"/>
                <a:gd name="T74" fmla="*/ 182 w 370"/>
                <a:gd name="T75" fmla="*/ 98 h 368"/>
                <a:gd name="T76" fmla="*/ 192 w 370"/>
                <a:gd name="T77" fmla="*/ 134 h 368"/>
                <a:gd name="T78" fmla="*/ 168 w 370"/>
                <a:gd name="T79" fmla="*/ 148 h 368"/>
                <a:gd name="T80" fmla="*/ 142 w 370"/>
                <a:gd name="T81" fmla="*/ 132 h 368"/>
                <a:gd name="T82" fmla="*/ 140 w 370"/>
                <a:gd name="T83" fmla="*/ 190 h 368"/>
                <a:gd name="T84" fmla="*/ 190 w 370"/>
                <a:gd name="T85" fmla="*/ 230 h 368"/>
                <a:gd name="T86" fmla="*/ 206 w 370"/>
                <a:gd name="T87" fmla="*/ 224 h 368"/>
                <a:gd name="T88" fmla="*/ 238 w 370"/>
                <a:gd name="T89" fmla="*/ 272 h 368"/>
                <a:gd name="T90" fmla="*/ 242 w 370"/>
                <a:gd name="T91" fmla="*/ 228 h 368"/>
                <a:gd name="T92" fmla="*/ 228 w 370"/>
                <a:gd name="T93" fmla="*/ 222 h 368"/>
                <a:gd name="T94" fmla="*/ 238 w 370"/>
                <a:gd name="T95" fmla="*/ 272 h 368"/>
                <a:gd name="T96" fmla="*/ 306 w 370"/>
                <a:gd name="T97" fmla="*/ 298 h 368"/>
                <a:gd name="T98" fmla="*/ 270 w 370"/>
                <a:gd name="T99" fmla="*/ 280 h 368"/>
                <a:gd name="T100" fmla="*/ 238 w 370"/>
                <a:gd name="T101" fmla="*/ 292 h 368"/>
                <a:gd name="T102" fmla="*/ 226 w 370"/>
                <a:gd name="T103" fmla="*/ 324 h 368"/>
                <a:gd name="T104" fmla="*/ 244 w 370"/>
                <a:gd name="T105" fmla="*/ 360 h 368"/>
                <a:gd name="T106" fmla="*/ 278 w 370"/>
                <a:gd name="T107" fmla="*/ 366 h 368"/>
                <a:gd name="T108" fmla="*/ 310 w 370"/>
                <a:gd name="T109" fmla="*/ 34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0" h="368">
                  <a:moveTo>
                    <a:pt x="370" y="134"/>
                  </a:moveTo>
                  <a:lnTo>
                    <a:pt x="370" y="134"/>
                  </a:lnTo>
                  <a:lnTo>
                    <a:pt x="368" y="142"/>
                  </a:lnTo>
                  <a:lnTo>
                    <a:pt x="366" y="150"/>
                  </a:lnTo>
                  <a:lnTo>
                    <a:pt x="360" y="158"/>
                  </a:lnTo>
                  <a:lnTo>
                    <a:pt x="354" y="164"/>
                  </a:lnTo>
                  <a:lnTo>
                    <a:pt x="348" y="168"/>
                  </a:lnTo>
                  <a:lnTo>
                    <a:pt x="340" y="172"/>
                  </a:lnTo>
                  <a:lnTo>
                    <a:pt x="332" y="174"/>
                  </a:lnTo>
                  <a:lnTo>
                    <a:pt x="322" y="174"/>
                  </a:lnTo>
                  <a:lnTo>
                    <a:pt x="322" y="174"/>
                  </a:lnTo>
                  <a:lnTo>
                    <a:pt x="310" y="172"/>
                  </a:lnTo>
                  <a:lnTo>
                    <a:pt x="298" y="166"/>
                  </a:lnTo>
                  <a:lnTo>
                    <a:pt x="304" y="164"/>
                  </a:lnTo>
                  <a:lnTo>
                    <a:pt x="304" y="164"/>
                  </a:lnTo>
                  <a:lnTo>
                    <a:pt x="312" y="160"/>
                  </a:lnTo>
                  <a:lnTo>
                    <a:pt x="320" y="152"/>
                  </a:lnTo>
                  <a:lnTo>
                    <a:pt x="322" y="142"/>
                  </a:lnTo>
                  <a:lnTo>
                    <a:pt x="322" y="132"/>
                  </a:lnTo>
                  <a:lnTo>
                    <a:pt x="322" y="132"/>
                  </a:lnTo>
                  <a:lnTo>
                    <a:pt x="318" y="122"/>
                  </a:lnTo>
                  <a:lnTo>
                    <a:pt x="310" y="116"/>
                  </a:lnTo>
                  <a:lnTo>
                    <a:pt x="300" y="112"/>
                  </a:lnTo>
                  <a:lnTo>
                    <a:pt x="290" y="112"/>
                  </a:lnTo>
                  <a:lnTo>
                    <a:pt x="284" y="114"/>
                  </a:lnTo>
                  <a:lnTo>
                    <a:pt x="284" y="114"/>
                  </a:lnTo>
                  <a:lnTo>
                    <a:pt x="292" y="102"/>
                  </a:lnTo>
                  <a:lnTo>
                    <a:pt x="302" y="94"/>
                  </a:lnTo>
                  <a:lnTo>
                    <a:pt x="314" y="88"/>
                  </a:lnTo>
                  <a:lnTo>
                    <a:pt x="328" y="86"/>
                  </a:lnTo>
                  <a:lnTo>
                    <a:pt x="328" y="86"/>
                  </a:lnTo>
                  <a:lnTo>
                    <a:pt x="338" y="88"/>
                  </a:lnTo>
                  <a:lnTo>
                    <a:pt x="346" y="90"/>
                  </a:lnTo>
                  <a:lnTo>
                    <a:pt x="352" y="96"/>
                  </a:lnTo>
                  <a:lnTo>
                    <a:pt x="358" y="102"/>
                  </a:lnTo>
                  <a:lnTo>
                    <a:pt x="364" y="108"/>
                  </a:lnTo>
                  <a:lnTo>
                    <a:pt x="368" y="116"/>
                  </a:lnTo>
                  <a:lnTo>
                    <a:pt x="370" y="124"/>
                  </a:lnTo>
                  <a:lnTo>
                    <a:pt x="370" y="134"/>
                  </a:lnTo>
                  <a:lnTo>
                    <a:pt x="370" y="134"/>
                  </a:lnTo>
                  <a:close/>
                  <a:moveTo>
                    <a:pt x="50" y="256"/>
                  </a:moveTo>
                  <a:lnTo>
                    <a:pt x="50" y="256"/>
                  </a:lnTo>
                  <a:lnTo>
                    <a:pt x="48" y="250"/>
                  </a:lnTo>
                  <a:lnTo>
                    <a:pt x="46" y="244"/>
                  </a:lnTo>
                  <a:lnTo>
                    <a:pt x="46" y="238"/>
                  </a:lnTo>
                  <a:lnTo>
                    <a:pt x="48" y="234"/>
                  </a:lnTo>
                  <a:lnTo>
                    <a:pt x="48" y="234"/>
                  </a:lnTo>
                  <a:lnTo>
                    <a:pt x="42" y="232"/>
                  </a:lnTo>
                  <a:lnTo>
                    <a:pt x="34" y="230"/>
                  </a:lnTo>
                  <a:lnTo>
                    <a:pt x="34" y="230"/>
                  </a:lnTo>
                  <a:lnTo>
                    <a:pt x="28" y="232"/>
                  </a:lnTo>
                  <a:lnTo>
                    <a:pt x="22" y="234"/>
                  </a:lnTo>
                  <a:lnTo>
                    <a:pt x="16" y="236"/>
                  </a:lnTo>
                  <a:lnTo>
                    <a:pt x="10" y="240"/>
                  </a:lnTo>
                  <a:lnTo>
                    <a:pt x="6" y="246"/>
                  </a:lnTo>
                  <a:lnTo>
                    <a:pt x="4" y="252"/>
                  </a:lnTo>
                  <a:lnTo>
                    <a:pt x="2" y="258"/>
                  </a:lnTo>
                  <a:lnTo>
                    <a:pt x="0" y="264"/>
                  </a:lnTo>
                  <a:lnTo>
                    <a:pt x="0" y="264"/>
                  </a:lnTo>
                  <a:lnTo>
                    <a:pt x="2" y="272"/>
                  </a:lnTo>
                  <a:lnTo>
                    <a:pt x="4" y="278"/>
                  </a:lnTo>
                  <a:lnTo>
                    <a:pt x="6" y="284"/>
                  </a:lnTo>
                  <a:lnTo>
                    <a:pt x="10" y="288"/>
                  </a:lnTo>
                  <a:lnTo>
                    <a:pt x="16" y="292"/>
                  </a:lnTo>
                  <a:lnTo>
                    <a:pt x="22" y="296"/>
                  </a:lnTo>
                  <a:lnTo>
                    <a:pt x="28" y="298"/>
                  </a:lnTo>
                  <a:lnTo>
                    <a:pt x="34" y="298"/>
                  </a:lnTo>
                  <a:lnTo>
                    <a:pt x="34" y="298"/>
                  </a:lnTo>
                  <a:lnTo>
                    <a:pt x="42" y="298"/>
                  </a:lnTo>
                  <a:lnTo>
                    <a:pt x="48" y="296"/>
                  </a:lnTo>
                  <a:lnTo>
                    <a:pt x="58" y="290"/>
                  </a:lnTo>
                  <a:lnTo>
                    <a:pt x="64" y="280"/>
                  </a:lnTo>
                  <a:lnTo>
                    <a:pt x="68" y="268"/>
                  </a:lnTo>
                  <a:lnTo>
                    <a:pt x="68" y="268"/>
                  </a:lnTo>
                  <a:lnTo>
                    <a:pt x="58" y="264"/>
                  </a:lnTo>
                  <a:lnTo>
                    <a:pt x="54" y="260"/>
                  </a:lnTo>
                  <a:lnTo>
                    <a:pt x="50" y="256"/>
                  </a:lnTo>
                  <a:lnTo>
                    <a:pt x="50" y="256"/>
                  </a:lnTo>
                  <a:close/>
                  <a:moveTo>
                    <a:pt x="128" y="196"/>
                  </a:moveTo>
                  <a:lnTo>
                    <a:pt x="68" y="234"/>
                  </a:lnTo>
                  <a:lnTo>
                    <a:pt x="68" y="234"/>
                  </a:lnTo>
                  <a:lnTo>
                    <a:pt x="64" y="236"/>
                  </a:lnTo>
                  <a:lnTo>
                    <a:pt x="62" y="240"/>
                  </a:lnTo>
                  <a:lnTo>
                    <a:pt x="62" y="244"/>
                  </a:lnTo>
                  <a:lnTo>
                    <a:pt x="64" y="248"/>
                  </a:lnTo>
                  <a:lnTo>
                    <a:pt x="64" y="248"/>
                  </a:lnTo>
                  <a:lnTo>
                    <a:pt x="68" y="250"/>
                  </a:lnTo>
                  <a:lnTo>
                    <a:pt x="72" y="252"/>
                  </a:lnTo>
                  <a:lnTo>
                    <a:pt x="72" y="252"/>
                  </a:lnTo>
                  <a:lnTo>
                    <a:pt x="78" y="250"/>
                  </a:lnTo>
                  <a:lnTo>
                    <a:pt x="138" y="214"/>
                  </a:lnTo>
                  <a:lnTo>
                    <a:pt x="138" y="214"/>
                  </a:lnTo>
                  <a:lnTo>
                    <a:pt x="134" y="206"/>
                  </a:lnTo>
                  <a:lnTo>
                    <a:pt x="128" y="196"/>
                  </a:lnTo>
                  <a:lnTo>
                    <a:pt x="128" y="196"/>
                  </a:lnTo>
                  <a:close/>
                  <a:moveTo>
                    <a:pt x="306" y="136"/>
                  </a:moveTo>
                  <a:lnTo>
                    <a:pt x="306" y="136"/>
                  </a:lnTo>
                  <a:lnTo>
                    <a:pt x="304" y="132"/>
                  </a:lnTo>
                  <a:lnTo>
                    <a:pt x="302" y="130"/>
                  </a:lnTo>
                  <a:lnTo>
                    <a:pt x="298" y="128"/>
                  </a:lnTo>
                  <a:lnTo>
                    <a:pt x="294" y="128"/>
                  </a:lnTo>
                  <a:lnTo>
                    <a:pt x="280" y="132"/>
                  </a:lnTo>
                  <a:lnTo>
                    <a:pt x="280" y="132"/>
                  </a:lnTo>
                  <a:lnTo>
                    <a:pt x="282" y="142"/>
                  </a:lnTo>
                  <a:lnTo>
                    <a:pt x="284" y="152"/>
                  </a:lnTo>
                  <a:lnTo>
                    <a:pt x="298" y="148"/>
                  </a:lnTo>
                  <a:lnTo>
                    <a:pt x="298" y="148"/>
                  </a:lnTo>
                  <a:lnTo>
                    <a:pt x="302" y="146"/>
                  </a:lnTo>
                  <a:lnTo>
                    <a:pt x="304" y="144"/>
                  </a:lnTo>
                  <a:lnTo>
                    <a:pt x="306" y="140"/>
                  </a:lnTo>
                  <a:lnTo>
                    <a:pt x="306" y="136"/>
                  </a:lnTo>
                  <a:lnTo>
                    <a:pt x="306" y="136"/>
                  </a:lnTo>
                  <a:close/>
                  <a:moveTo>
                    <a:pt x="168" y="108"/>
                  </a:moveTo>
                  <a:lnTo>
                    <a:pt x="168" y="108"/>
                  </a:lnTo>
                  <a:lnTo>
                    <a:pt x="160" y="114"/>
                  </a:lnTo>
                  <a:lnTo>
                    <a:pt x="152" y="120"/>
                  </a:lnTo>
                  <a:lnTo>
                    <a:pt x="160" y="130"/>
                  </a:lnTo>
                  <a:lnTo>
                    <a:pt x="160" y="130"/>
                  </a:lnTo>
                  <a:lnTo>
                    <a:pt x="164" y="132"/>
                  </a:lnTo>
                  <a:lnTo>
                    <a:pt x="168" y="132"/>
                  </a:lnTo>
                  <a:lnTo>
                    <a:pt x="168" y="132"/>
                  </a:lnTo>
                  <a:lnTo>
                    <a:pt x="172" y="132"/>
                  </a:lnTo>
                  <a:lnTo>
                    <a:pt x="174" y="130"/>
                  </a:lnTo>
                  <a:lnTo>
                    <a:pt x="174" y="130"/>
                  </a:lnTo>
                  <a:lnTo>
                    <a:pt x="176" y="126"/>
                  </a:lnTo>
                  <a:lnTo>
                    <a:pt x="178" y="124"/>
                  </a:lnTo>
                  <a:lnTo>
                    <a:pt x="178" y="120"/>
                  </a:lnTo>
                  <a:lnTo>
                    <a:pt x="176" y="116"/>
                  </a:lnTo>
                  <a:lnTo>
                    <a:pt x="168" y="108"/>
                  </a:lnTo>
                  <a:close/>
                  <a:moveTo>
                    <a:pt x="170" y="58"/>
                  </a:moveTo>
                  <a:lnTo>
                    <a:pt x="170" y="58"/>
                  </a:lnTo>
                  <a:lnTo>
                    <a:pt x="170" y="46"/>
                  </a:lnTo>
                  <a:lnTo>
                    <a:pt x="166" y="36"/>
                  </a:lnTo>
                  <a:lnTo>
                    <a:pt x="160" y="26"/>
                  </a:lnTo>
                  <a:lnTo>
                    <a:pt x="154" y="18"/>
                  </a:lnTo>
                  <a:lnTo>
                    <a:pt x="144" y="10"/>
                  </a:lnTo>
                  <a:lnTo>
                    <a:pt x="134" y="4"/>
                  </a:lnTo>
                  <a:lnTo>
                    <a:pt x="124" y="2"/>
                  </a:lnTo>
                  <a:lnTo>
                    <a:pt x="112" y="0"/>
                  </a:lnTo>
                  <a:lnTo>
                    <a:pt x="112" y="0"/>
                  </a:lnTo>
                  <a:lnTo>
                    <a:pt x="100" y="2"/>
                  </a:lnTo>
                  <a:lnTo>
                    <a:pt x="90" y="4"/>
                  </a:lnTo>
                  <a:lnTo>
                    <a:pt x="80" y="10"/>
                  </a:lnTo>
                  <a:lnTo>
                    <a:pt x="72" y="18"/>
                  </a:lnTo>
                  <a:lnTo>
                    <a:pt x="64" y="26"/>
                  </a:lnTo>
                  <a:lnTo>
                    <a:pt x="58" y="36"/>
                  </a:lnTo>
                  <a:lnTo>
                    <a:pt x="56" y="46"/>
                  </a:lnTo>
                  <a:lnTo>
                    <a:pt x="54" y="58"/>
                  </a:lnTo>
                  <a:lnTo>
                    <a:pt x="54" y="58"/>
                  </a:lnTo>
                  <a:lnTo>
                    <a:pt x="56" y="70"/>
                  </a:lnTo>
                  <a:lnTo>
                    <a:pt x="58" y="80"/>
                  </a:lnTo>
                  <a:lnTo>
                    <a:pt x="64" y="90"/>
                  </a:lnTo>
                  <a:lnTo>
                    <a:pt x="72" y="100"/>
                  </a:lnTo>
                  <a:lnTo>
                    <a:pt x="80" y="106"/>
                  </a:lnTo>
                  <a:lnTo>
                    <a:pt x="90" y="112"/>
                  </a:lnTo>
                  <a:lnTo>
                    <a:pt x="100" y="116"/>
                  </a:lnTo>
                  <a:lnTo>
                    <a:pt x="112" y="116"/>
                  </a:lnTo>
                  <a:lnTo>
                    <a:pt x="112" y="116"/>
                  </a:lnTo>
                  <a:lnTo>
                    <a:pt x="124" y="116"/>
                  </a:lnTo>
                  <a:lnTo>
                    <a:pt x="134" y="112"/>
                  </a:lnTo>
                  <a:lnTo>
                    <a:pt x="144" y="106"/>
                  </a:lnTo>
                  <a:lnTo>
                    <a:pt x="154" y="100"/>
                  </a:lnTo>
                  <a:lnTo>
                    <a:pt x="160" y="90"/>
                  </a:lnTo>
                  <a:lnTo>
                    <a:pt x="166" y="80"/>
                  </a:lnTo>
                  <a:lnTo>
                    <a:pt x="170" y="70"/>
                  </a:lnTo>
                  <a:lnTo>
                    <a:pt x="170" y="58"/>
                  </a:lnTo>
                  <a:lnTo>
                    <a:pt x="170" y="58"/>
                  </a:lnTo>
                  <a:close/>
                  <a:moveTo>
                    <a:pt x="222" y="208"/>
                  </a:moveTo>
                  <a:lnTo>
                    <a:pt x="222" y="208"/>
                  </a:lnTo>
                  <a:lnTo>
                    <a:pt x="230" y="206"/>
                  </a:lnTo>
                  <a:lnTo>
                    <a:pt x="238" y="206"/>
                  </a:lnTo>
                  <a:lnTo>
                    <a:pt x="244" y="208"/>
                  </a:lnTo>
                  <a:lnTo>
                    <a:pt x="250" y="214"/>
                  </a:lnTo>
                  <a:lnTo>
                    <a:pt x="250" y="214"/>
                  </a:lnTo>
                  <a:lnTo>
                    <a:pt x="260" y="202"/>
                  </a:lnTo>
                  <a:lnTo>
                    <a:pt x="266" y="190"/>
                  </a:lnTo>
                  <a:lnTo>
                    <a:pt x="270" y="178"/>
                  </a:lnTo>
                  <a:lnTo>
                    <a:pt x="272" y="164"/>
                  </a:lnTo>
                  <a:lnTo>
                    <a:pt x="272" y="164"/>
                  </a:lnTo>
                  <a:lnTo>
                    <a:pt x="270" y="150"/>
                  </a:lnTo>
                  <a:lnTo>
                    <a:pt x="266" y="136"/>
                  </a:lnTo>
                  <a:lnTo>
                    <a:pt x="260" y="124"/>
                  </a:lnTo>
                  <a:lnTo>
                    <a:pt x="252" y="114"/>
                  </a:lnTo>
                  <a:lnTo>
                    <a:pt x="242" y="106"/>
                  </a:lnTo>
                  <a:lnTo>
                    <a:pt x="230" y="100"/>
                  </a:lnTo>
                  <a:lnTo>
                    <a:pt x="218" y="96"/>
                  </a:lnTo>
                  <a:lnTo>
                    <a:pt x="204" y="94"/>
                  </a:lnTo>
                  <a:lnTo>
                    <a:pt x="204" y="94"/>
                  </a:lnTo>
                  <a:lnTo>
                    <a:pt x="192" y="96"/>
                  </a:lnTo>
                  <a:lnTo>
                    <a:pt x="182" y="98"/>
                  </a:lnTo>
                  <a:lnTo>
                    <a:pt x="188" y="106"/>
                  </a:lnTo>
                  <a:lnTo>
                    <a:pt x="188" y="106"/>
                  </a:lnTo>
                  <a:lnTo>
                    <a:pt x="194" y="114"/>
                  </a:lnTo>
                  <a:lnTo>
                    <a:pt x="194" y="124"/>
                  </a:lnTo>
                  <a:lnTo>
                    <a:pt x="192" y="134"/>
                  </a:lnTo>
                  <a:lnTo>
                    <a:pt x="186" y="142"/>
                  </a:lnTo>
                  <a:lnTo>
                    <a:pt x="186" y="142"/>
                  </a:lnTo>
                  <a:lnTo>
                    <a:pt x="176" y="148"/>
                  </a:lnTo>
                  <a:lnTo>
                    <a:pt x="168" y="148"/>
                  </a:lnTo>
                  <a:lnTo>
                    <a:pt x="168" y="148"/>
                  </a:lnTo>
                  <a:lnTo>
                    <a:pt x="158" y="146"/>
                  </a:lnTo>
                  <a:lnTo>
                    <a:pt x="152" y="144"/>
                  </a:lnTo>
                  <a:lnTo>
                    <a:pt x="148" y="140"/>
                  </a:lnTo>
                  <a:lnTo>
                    <a:pt x="142" y="132"/>
                  </a:lnTo>
                  <a:lnTo>
                    <a:pt x="142" y="132"/>
                  </a:lnTo>
                  <a:lnTo>
                    <a:pt x="136" y="148"/>
                  </a:lnTo>
                  <a:lnTo>
                    <a:pt x="134" y="164"/>
                  </a:lnTo>
                  <a:lnTo>
                    <a:pt x="134" y="164"/>
                  </a:lnTo>
                  <a:lnTo>
                    <a:pt x="136" y="176"/>
                  </a:lnTo>
                  <a:lnTo>
                    <a:pt x="140" y="190"/>
                  </a:lnTo>
                  <a:lnTo>
                    <a:pt x="146" y="202"/>
                  </a:lnTo>
                  <a:lnTo>
                    <a:pt x="154" y="212"/>
                  </a:lnTo>
                  <a:lnTo>
                    <a:pt x="164" y="220"/>
                  </a:lnTo>
                  <a:lnTo>
                    <a:pt x="176" y="226"/>
                  </a:lnTo>
                  <a:lnTo>
                    <a:pt x="190" y="230"/>
                  </a:lnTo>
                  <a:lnTo>
                    <a:pt x="204" y="232"/>
                  </a:lnTo>
                  <a:lnTo>
                    <a:pt x="204" y="232"/>
                  </a:lnTo>
                  <a:lnTo>
                    <a:pt x="206" y="232"/>
                  </a:lnTo>
                  <a:lnTo>
                    <a:pt x="206" y="232"/>
                  </a:lnTo>
                  <a:lnTo>
                    <a:pt x="206" y="224"/>
                  </a:lnTo>
                  <a:lnTo>
                    <a:pt x="210" y="218"/>
                  </a:lnTo>
                  <a:lnTo>
                    <a:pt x="214" y="212"/>
                  </a:lnTo>
                  <a:lnTo>
                    <a:pt x="222" y="208"/>
                  </a:lnTo>
                  <a:lnTo>
                    <a:pt x="222" y="208"/>
                  </a:lnTo>
                  <a:close/>
                  <a:moveTo>
                    <a:pt x="238" y="272"/>
                  </a:moveTo>
                  <a:lnTo>
                    <a:pt x="238" y="272"/>
                  </a:lnTo>
                  <a:lnTo>
                    <a:pt x="246" y="268"/>
                  </a:lnTo>
                  <a:lnTo>
                    <a:pt x="256" y="264"/>
                  </a:lnTo>
                  <a:lnTo>
                    <a:pt x="242" y="228"/>
                  </a:lnTo>
                  <a:lnTo>
                    <a:pt x="242" y="228"/>
                  </a:lnTo>
                  <a:lnTo>
                    <a:pt x="238" y="224"/>
                  </a:lnTo>
                  <a:lnTo>
                    <a:pt x="236" y="222"/>
                  </a:lnTo>
                  <a:lnTo>
                    <a:pt x="232" y="222"/>
                  </a:lnTo>
                  <a:lnTo>
                    <a:pt x="228" y="222"/>
                  </a:lnTo>
                  <a:lnTo>
                    <a:pt x="228" y="222"/>
                  </a:lnTo>
                  <a:lnTo>
                    <a:pt x="224" y="224"/>
                  </a:lnTo>
                  <a:lnTo>
                    <a:pt x="222" y="228"/>
                  </a:lnTo>
                  <a:lnTo>
                    <a:pt x="222" y="232"/>
                  </a:lnTo>
                  <a:lnTo>
                    <a:pt x="222" y="236"/>
                  </a:lnTo>
                  <a:lnTo>
                    <a:pt x="238" y="272"/>
                  </a:lnTo>
                  <a:close/>
                  <a:moveTo>
                    <a:pt x="314" y="324"/>
                  </a:moveTo>
                  <a:lnTo>
                    <a:pt x="314" y="324"/>
                  </a:lnTo>
                  <a:lnTo>
                    <a:pt x="312" y="314"/>
                  </a:lnTo>
                  <a:lnTo>
                    <a:pt x="310" y="306"/>
                  </a:lnTo>
                  <a:lnTo>
                    <a:pt x="306" y="298"/>
                  </a:lnTo>
                  <a:lnTo>
                    <a:pt x="300" y="292"/>
                  </a:lnTo>
                  <a:lnTo>
                    <a:pt x="294" y="286"/>
                  </a:lnTo>
                  <a:lnTo>
                    <a:pt x="286" y="282"/>
                  </a:lnTo>
                  <a:lnTo>
                    <a:pt x="278" y="280"/>
                  </a:lnTo>
                  <a:lnTo>
                    <a:pt x="270" y="280"/>
                  </a:lnTo>
                  <a:lnTo>
                    <a:pt x="270" y="280"/>
                  </a:lnTo>
                  <a:lnTo>
                    <a:pt x="260" y="280"/>
                  </a:lnTo>
                  <a:lnTo>
                    <a:pt x="252" y="282"/>
                  </a:lnTo>
                  <a:lnTo>
                    <a:pt x="244" y="286"/>
                  </a:lnTo>
                  <a:lnTo>
                    <a:pt x="238" y="292"/>
                  </a:lnTo>
                  <a:lnTo>
                    <a:pt x="234" y="298"/>
                  </a:lnTo>
                  <a:lnTo>
                    <a:pt x="230" y="306"/>
                  </a:lnTo>
                  <a:lnTo>
                    <a:pt x="226" y="314"/>
                  </a:lnTo>
                  <a:lnTo>
                    <a:pt x="226" y="324"/>
                  </a:lnTo>
                  <a:lnTo>
                    <a:pt x="226" y="324"/>
                  </a:lnTo>
                  <a:lnTo>
                    <a:pt x="226" y="332"/>
                  </a:lnTo>
                  <a:lnTo>
                    <a:pt x="230" y="340"/>
                  </a:lnTo>
                  <a:lnTo>
                    <a:pt x="234" y="348"/>
                  </a:lnTo>
                  <a:lnTo>
                    <a:pt x="238" y="354"/>
                  </a:lnTo>
                  <a:lnTo>
                    <a:pt x="244" y="360"/>
                  </a:lnTo>
                  <a:lnTo>
                    <a:pt x="252" y="364"/>
                  </a:lnTo>
                  <a:lnTo>
                    <a:pt x="260" y="366"/>
                  </a:lnTo>
                  <a:lnTo>
                    <a:pt x="270" y="368"/>
                  </a:lnTo>
                  <a:lnTo>
                    <a:pt x="270" y="368"/>
                  </a:lnTo>
                  <a:lnTo>
                    <a:pt x="278" y="366"/>
                  </a:lnTo>
                  <a:lnTo>
                    <a:pt x="286" y="364"/>
                  </a:lnTo>
                  <a:lnTo>
                    <a:pt x="294" y="360"/>
                  </a:lnTo>
                  <a:lnTo>
                    <a:pt x="300" y="354"/>
                  </a:lnTo>
                  <a:lnTo>
                    <a:pt x="306" y="348"/>
                  </a:lnTo>
                  <a:lnTo>
                    <a:pt x="310" y="340"/>
                  </a:lnTo>
                  <a:lnTo>
                    <a:pt x="312" y="332"/>
                  </a:lnTo>
                  <a:lnTo>
                    <a:pt x="314" y="324"/>
                  </a:lnTo>
                  <a:lnTo>
                    <a:pt x="314" y="324"/>
                  </a:lnTo>
                  <a:close/>
                </a:path>
              </a:pathLst>
            </a:custGeom>
            <a:grp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13" name="Group 112">
            <a:extLst>
              <a:ext uri="{FF2B5EF4-FFF2-40B4-BE49-F238E27FC236}">
                <a16:creationId xmlns:a16="http://schemas.microsoft.com/office/drawing/2014/main" id="{5180F217-8872-4A88-B64A-9F8D117C1EBD}"/>
              </a:ext>
            </a:extLst>
          </p:cNvPr>
          <p:cNvGrpSpPr/>
          <p:nvPr/>
        </p:nvGrpSpPr>
        <p:grpSpPr>
          <a:xfrm>
            <a:off x="7275331" y="3744136"/>
            <a:ext cx="524069" cy="523325"/>
            <a:chOff x="6722402" y="4690710"/>
            <a:chExt cx="612869" cy="612000"/>
          </a:xfrm>
          <a:solidFill>
            <a:srgbClr val="505050"/>
          </a:solidFill>
        </p:grpSpPr>
        <p:sp>
          <p:nvSpPr>
            <p:cNvPr id="114" name="Oval 113">
              <a:extLst>
                <a:ext uri="{FF2B5EF4-FFF2-40B4-BE49-F238E27FC236}">
                  <a16:creationId xmlns:a16="http://schemas.microsoft.com/office/drawing/2014/main" id="{D86C5B6D-DB99-42D9-800F-B40D5A7C0B0B}"/>
                </a:ext>
              </a:extLst>
            </p:cNvPr>
            <p:cNvSpPr/>
            <p:nvPr/>
          </p:nvSpPr>
          <p:spPr bwMode="ltGray">
            <a:xfrm>
              <a:off x="6722836"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15" name="Freeform 4830">
              <a:extLst>
                <a:ext uri="{FF2B5EF4-FFF2-40B4-BE49-F238E27FC236}">
                  <a16:creationId xmlns:a16="http://schemas.microsoft.com/office/drawing/2014/main" id="{F2AF934B-DD21-41D1-99C0-9AC350C64892}"/>
                </a:ext>
              </a:extLst>
            </p:cNvPr>
            <p:cNvSpPr>
              <a:spLocks noEditPoints="1"/>
            </p:cNvSpPr>
            <p:nvPr/>
          </p:nvSpPr>
          <p:spPr bwMode="auto">
            <a:xfrm>
              <a:off x="6722402" y="4753616"/>
              <a:ext cx="612869" cy="490295"/>
            </a:xfrm>
            <a:custGeom>
              <a:avLst/>
              <a:gdLst>
                <a:gd name="T0" fmla="*/ 478 w 500"/>
                <a:gd name="T1" fmla="*/ 164 h 400"/>
                <a:gd name="T2" fmla="*/ 422 w 500"/>
                <a:gd name="T3" fmla="*/ 150 h 400"/>
                <a:gd name="T4" fmla="*/ 374 w 500"/>
                <a:gd name="T5" fmla="*/ 120 h 400"/>
                <a:gd name="T6" fmla="*/ 358 w 500"/>
                <a:gd name="T7" fmla="*/ 106 h 400"/>
                <a:gd name="T8" fmla="*/ 356 w 500"/>
                <a:gd name="T9" fmla="*/ 104 h 400"/>
                <a:gd name="T10" fmla="*/ 260 w 500"/>
                <a:gd name="T11" fmla="*/ 8 h 400"/>
                <a:gd name="T12" fmla="*/ 260 w 500"/>
                <a:gd name="T13" fmla="*/ 6 h 400"/>
                <a:gd name="T14" fmla="*/ 256 w 500"/>
                <a:gd name="T15" fmla="*/ 4 h 400"/>
                <a:gd name="T16" fmla="*/ 256 w 500"/>
                <a:gd name="T17" fmla="*/ 2 h 400"/>
                <a:gd name="T18" fmla="*/ 252 w 500"/>
                <a:gd name="T19" fmla="*/ 0 h 400"/>
                <a:gd name="T20" fmla="*/ 252 w 500"/>
                <a:gd name="T21" fmla="*/ 0 h 400"/>
                <a:gd name="T22" fmla="*/ 248 w 500"/>
                <a:gd name="T23" fmla="*/ 0 h 400"/>
                <a:gd name="T24" fmla="*/ 248 w 500"/>
                <a:gd name="T25" fmla="*/ 0 h 400"/>
                <a:gd name="T26" fmla="*/ 244 w 500"/>
                <a:gd name="T27" fmla="*/ 2 h 400"/>
                <a:gd name="T28" fmla="*/ 244 w 500"/>
                <a:gd name="T29" fmla="*/ 4 h 400"/>
                <a:gd name="T30" fmla="*/ 240 w 500"/>
                <a:gd name="T31" fmla="*/ 6 h 400"/>
                <a:gd name="T32" fmla="*/ 214 w 500"/>
                <a:gd name="T33" fmla="*/ 102 h 400"/>
                <a:gd name="T34" fmla="*/ 144 w 500"/>
                <a:gd name="T35" fmla="*/ 104 h 400"/>
                <a:gd name="T36" fmla="*/ 142 w 500"/>
                <a:gd name="T37" fmla="*/ 106 h 400"/>
                <a:gd name="T38" fmla="*/ 126 w 500"/>
                <a:gd name="T39" fmla="*/ 120 h 400"/>
                <a:gd name="T40" fmla="*/ 78 w 500"/>
                <a:gd name="T41" fmla="*/ 150 h 400"/>
                <a:gd name="T42" fmla="*/ 22 w 500"/>
                <a:gd name="T43" fmla="*/ 164 h 400"/>
                <a:gd name="T44" fmla="*/ 0 w 500"/>
                <a:gd name="T45" fmla="*/ 186 h 400"/>
                <a:gd name="T46" fmla="*/ 0 w 500"/>
                <a:gd name="T47" fmla="*/ 186 h 400"/>
                <a:gd name="T48" fmla="*/ 20 w 500"/>
                <a:gd name="T49" fmla="*/ 184 h 400"/>
                <a:gd name="T50" fmla="*/ 80 w 500"/>
                <a:gd name="T51" fmla="*/ 170 h 400"/>
                <a:gd name="T52" fmla="*/ 134 w 500"/>
                <a:gd name="T53" fmla="*/ 140 h 400"/>
                <a:gd name="T54" fmla="*/ 138 w 500"/>
                <a:gd name="T55" fmla="*/ 388 h 400"/>
                <a:gd name="T56" fmla="*/ 140 w 500"/>
                <a:gd name="T57" fmla="*/ 394 h 400"/>
                <a:gd name="T58" fmla="*/ 146 w 500"/>
                <a:gd name="T59" fmla="*/ 400 h 400"/>
                <a:gd name="T60" fmla="*/ 154 w 500"/>
                <a:gd name="T61" fmla="*/ 398 h 400"/>
                <a:gd name="T62" fmla="*/ 250 w 500"/>
                <a:gd name="T63" fmla="*/ 322 h 400"/>
                <a:gd name="T64" fmla="*/ 342 w 500"/>
                <a:gd name="T65" fmla="*/ 392 h 400"/>
                <a:gd name="T66" fmla="*/ 352 w 500"/>
                <a:gd name="T67" fmla="*/ 400 h 400"/>
                <a:gd name="T68" fmla="*/ 358 w 500"/>
                <a:gd name="T69" fmla="*/ 398 h 400"/>
                <a:gd name="T70" fmla="*/ 362 w 500"/>
                <a:gd name="T71" fmla="*/ 388 h 400"/>
                <a:gd name="T72" fmla="*/ 350 w 500"/>
                <a:gd name="T73" fmla="*/ 126 h 400"/>
                <a:gd name="T74" fmla="*/ 402 w 500"/>
                <a:gd name="T75" fmla="*/ 162 h 400"/>
                <a:gd name="T76" fmla="*/ 458 w 500"/>
                <a:gd name="T77" fmla="*/ 182 h 400"/>
                <a:gd name="T78" fmla="*/ 500 w 500"/>
                <a:gd name="T79" fmla="*/ 186 h 400"/>
                <a:gd name="T80" fmla="*/ 500 w 500"/>
                <a:gd name="T81" fmla="*/ 186 h 400"/>
                <a:gd name="T82" fmla="*/ 498 w 500"/>
                <a:gd name="T83" fmla="*/ 166 h 400"/>
                <a:gd name="T84" fmla="*/ 282 w 500"/>
                <a:gd name="T85" fmla="*/ 166 h 400"/>
                <a:gd name="T86" fmla="*/ 250 w 500"/>
                <a:gd name="T87" fmla="*/ 220 h 400"/>
                <a:gd name="T88" fmla="*/ 280 w 500"/>
                <a:gd name="T89" fmla="*/ 202 h 400"/>
                <a:gd name="T90" fmla="*/ 236 w 500"/>
                <a:gd name="T91" fmla="*/ 102 h 400"/>
                <a:gd name="T92" fmla="*/ 270 w 500"/>
                <a:gd name="T93" fmla="*/ 122 h 400"/>
                <a:gd name="T94" fmla="*/ 224 w 500"/>
                <a:gd name="T95" fmla="*/ 146 h 400"/>
                <a:gd name="T96" fmla="*/ 230 w 500"/>
                <a:gd name="T97" fmla="*/ 172 h 400"/>
                <a:gd name="T98" fmla="*/ 184 w 500"/>
                <a:gd name="T99" fmla="*/ 122 h 400"/>
                <a:gd name="T100" fmla="*/ 184 w 500"/>
                <a:gd name="T101" fmla="*/ 122 h 400"/>
                <a:gd name="T102" fmla="*/ 196 w 500"/>
                <a:gd name="T103" fmla="*/ 250 h 400"/>
                <a:gd name="T104" fmla="*/ 186 w 500"/>
                <a:gd name="T105" fmla="*/ 286 h 400"/>
                <a:gd name="T106" fmla="*/ 200 w 500"/>
                <a:gd name="T107" fmla="*/ 272 h 400"/>
                <a:gd name="T108" fmla="*/ 250 w 500"/>
                <a:gd name="T109" fmla="*/ 300 h 400"/>
                <a:gd name="T110" fmla="*/ 270 w 500"/>
                <a:gd name="T111" fmla="*/ 312 h 400"/>
                <a:gd name="T112" fmla="*/ 304 w 500"/>
                <a:gd name="T113" fmla="*/ 250 h 400"/>
                <a:gd name="T114" fmla="*/ 304 w 500"/>
                <a:gd name="T115" fmla="*/ 250 h 400"/>
                <a:gd name="T116" fmla="*/ 316 w 500"/>
                <a:gd name="T117" fmla="*/ 12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00" h="400">
                  <a:moveTo>
                    <a:pt x="498" y="166"/>
                  </a:moveTo>
                  <a:lnTo>
                    <a:pt x="498" y="166"/>
                  </a:lnTo>
                  <a:lnTo>
                    <a:pt x="478" y="164"/>
                  </a:lnTo>
                  <a:lnTo>
                    <a:pt x="460" y="162"/>
                  </a:lnTo>
                  <a:lnTo>
                    <a:pt x="440" y="156"/>
                  </a:lnTo>
                  <a:lnTo>
                    <a:pt x="422" y="150"/>
                  </a:lnTo>
                  <a:lnTo>
                    <a:pt x="406" y="142"/>
                  </a:lnTo>
                  <a:lnTo>
                    <a:pt x="388" y="130"/>
                  </a:lnTo>
                  <a:lnTo>
                    <a:pt x="374" y="120"/>
                  </a:lnTo>
                  <a:lnTo>
                    <a:pt x="358" y="106"/>
                  </a:lnTo>
                  <a:lnTo>
                    <a:pt x="358" y="106"/>
                  </a:lnTo>
                  <a:lnTo>
                    <a:pt x="358" y="106"/>
                  </a:lnTo>
                  <a:lnTo>
                    <a:pt x="358" y="106"/>
                  </a:lnTo>
                  <a:lnTo>
                    <a:pt x="356" y="104"/>
                  </a:lnTo>
                  <a:lnTo>
                    <a:pt x="356" y="104"/>
                  </a:lnTo>
                  <a:lnTo>
                    <a:pt x="352" y="102"/>
                  </a:lnTo>
                  <a:lnTo>
                    <a:pt x="286" y="102"/>
                  </a:lnTo>
                  <a:lnTo>
                    <a:pt x="260" y="8"/>
                  </a:lnTo>
                  <a:lnTo>
                    <a:pt x="260" y="8"/>
                  </a:lnTo>
                  <a:lnTo>
                    <a:pt x="260" y="6"/>
                  </a:lnTo>
                  <a:lnTo>
                    <a:pt x="260" y="6"/>
                  </a:lnTo>
                  <a:lnTo>
                    <a:pt x="258" y="4"/>
                  </a:lnTo>
                  <a:lnTo>
                    <a:pt x="258" y="4"/>
                  </a:lnTo>
                  <a:lnTo>
                    <a:pt x="256" y="4"/>
                  </a:lnTo>
                  <a:lnTo>
                    <a:pt x="256" y="4"/>
                  </a:lnTo>
                  <a:lnTo>
                    <a:pt x="256" y="2"/>
                  </a:lnTo>
                  <a:lnTo>
                    <a:pt x="256" y="2"/>
                  </a:lnTo>
                  <a:lnTo>
                    <a:pt x="254" y="2"/>
                  </a:lnTo>
                  <a:lnTo>
                    <a:pt x="254" y="2"/>
                  </a:lnTo>
                  <a:lnTo>
                    <a:pt x="252" y="0"/>
                  </a:lnTo>
                  <a:lnTo>
                    <a:pt x="252" y="0"/>
                  </a:lnTo>
                  <a:lnTo>
                    <a:pt x="252" y="0"/>
                  </a:lnTo>
                  <a:lnTo>
                    <a:pt x="252" y="0"/>
                  </a:lnTo>
                  <a:lnTo>
                    <a:pt x="250" y="0"/>
                  </a:lnTo>
                  <a:lnTo>
                    <a:pt x="250" y="0"/>
                  </a:lnTo>
                  <a:lnTo>
                    <a:pt x="248" y="0"/>
                  </a:lnTo>
                  <a:lnTo>
                    <a:pt x="248" y="0"/>
                  </a:lnTo>
                  <a:lnTo>
                    <a:pt x="248" y="0"/>
                  </a:lnTo>
                  <a:lnTo>
                    <a:pt x="248" y="0"/>
                  </a:lnTo>
                  <a:lnTo>
                    <a:pt x="246" y="2"/>
                  </a:lnTo>
                  <a:lnTo>
                    <a:pt x="246" y="2"/>
                  </a:lnTo>
                  <a:lnTo>
                    <a:pt x="244" y="2"/>
                  </a:lnTo>
                  <a:lnTo>
                    <a:pt x="244" y="2"/>
                  </a:lnTo>
                  <a:lnTo>
                    <a:pt x="244" y="4"/>
                  </a:lnTo>
                  <a:lnTo>
                    <a:pt x="244" y="4"/>
                  </a:lnTo>
                  <a:lnTo>
                    <a:pt x="242" y="4"/>
                  </a:lnTo>
                  <a:lnTo>
                    <a:pt x="242" y="4"/>
                  </a:lnTo>
                  <a:lnTo>
                    <a:pt x="240" y="6"/>
                  </a:lnTo>
                  <a:lnTo>
                    <a:pt x="240" y="6"/>
                  </a:lnTo>
                  <a:lnTo>
                    <a:pt x="240" y="8"/>
                  </a:lnTo>
                  <a:lnTo>
                    <a:pt x="214" y="102"/>
                  </a:lnTo>
                  <a:lnTo>
                    <a:pt x="148" y="102"/>
                  </a:lnTo>
                  <a:lnTo>
                    <a:pt x="148" y="102"/>
                  </a:lnTo>
                  <a:lnTo>
                    <a:pt x="144" y="104"/>
                  </a:lnTo>
                  <a:lnTo>
                    <a:pt x="144" y="104"/>
                  </a:lnTo>
                  <a:lnTo>
                    <a:pt x="142" y="106"/>
                  </a:lnTo>
                  <a:lnTo>
                    <a:pt x="142" y="106"/>
                  </a:lnTo>
                  <a:lnTo>
                    <a:pt x="142" y="106"/>
                  </a:lnTo>
                  <a:lnTo>
                    <a:pt x="142" y="106"/>
                  </a:lnTo>
                  <a:lnTo>
                    <a:pt x="126" y="120"/>
                  </a:lnTo>
                  <a:lnTo>
                    <a:pt x="112" y="130"/>
                  </a:lnTo>
                  <a:lnTo>
                    <a:pt x="94" y="142"/>
                  </a:lnTo>
                  <a:lnTo>
                    <a:pt x="78" y="150"/>
                  </a:lnTo>
                  <a:lnTo>
                    <a:pt x="60" y="156"/>
                  </a:lnTo>
                  <a:lnTo>
                    <a:pt x="40" y="162"/>
                  </a:lnTo>
                  <a:lnTo>
                    <a:pt x="22" y="164"/>
                  </a:lnTo>
                  <a:lnTo>
                    <a:pt x="2" y="166"/>
                  </a:lnTo>
                  <a:lnTo>
                    <a:pt x="2" y="166"/>
                  </a:lnTo>
                  <a:lnTo>
                    <a:pt x="0" y="186"/>
                  </a:lnTo>
                  <a:lnTo>
                    <a:pt x="0" y="186"/>
                  </a:lnTo>
                  <a:lnTo>
                    <a:pt x="0" y="186"/>
                  </a:lnTo>
                  <a:lnTo>
                    <a:pt x="0" y="186"/>
                  </a:lnTo>
                  <a:lnTo>
                    <a:pt x="0" y="186"/>
                  </a:lnTo>
                  <a:lnTo>
                    <a:pt x="0" y="186"/>
                  </a:lnTo>
                  <a:lnTo>
                    <a:pt x="20" y="184"/>
                  </a:lnTo>
                  <a:lnTo>
                    <a:pt x="40" y="182"/>
                  </a:lnTo>
                  <a:lnTo>
                    <a:pt x="60" y="176"/>
                  </a:lnTo>
                  <a:lnTo>
                    <a:pt x="80" y="170"/>
                  </a:lnTo>
                  <a:lnTo>
                    <a:pt x="98" y="162"/>
                  </a:lnTo>
                  <a:lnTo>
                    <a:pt x="116" y="152"/>
                  </a:lnTo>
                  <a:lnTo>
                    <a:pt x="134" y="140"/>
                  </a:lnTo>
                  <a:lnTo>
                    <a:pt x="150" y="126"/>
                  </a:lnTo>
                  <a:lnTo>
                    <a:pt x="200" y="156"/>
                  </a:lnTo>
                  <a:lnTo>
                    <a:pt x="138" y="388"/>
                  </a:lnTo>
                  <a:lnTo>
                    <a:pt x="138" y="388"/>
                  </a:lnTo>
                  <a:lnTo>
                    <a:pt x="138" y="392"/>
                  </a:lnTo>
                  <a:lnTo>
                    <a:pt x="140" y="394"/>
                  </a:lnTo>
                  <a:lnTo>
                    <a:pt x="142" y="398"/>
                  </a:lnTo>
                  <a:lnTo>
                    <a:pt x="146" y="400"/>
                  </a:lnTo>
                  <a:lnTo>
                    <a:pt x="146" y="400"/>
                  </a:lnTo>
                  <a:lnTo>
                    <a:pt x="148" y="400"/>
                  </a:lnTo>
                  <a:lnTo>
                    <a:pt x="148" y="400"/>
                  </a:lnTo>
                  <a:lnTo>
                    <a:pt x="154" y="398"/>
                  </a:lnTo>
                  <a:lnTo>
                    <a:pt x="158" y="392"/>
                  </a:lnTo>
                  <a:lnTo>
                    <a:pt x="164" y="372"/>
                  </a:lnTo>
                  <a:lnTo>
                    <a:pt x="250" y="322"/>
                  </a:lnTo>
                  <a:lnTo>
                    <a:pt x="336" y="372"/>
                  </a:lnTo>
                  <a:lnTo>
                    <a:pt x="342" y="392"/>
                  </a:lnTo>
                  <a:lnTo>
                    <a:pt x="342" y="392"/>
                  </a:lnTo>
                  <a:lnTo>
                    <a:pt x="346" y="398"/>
                  </a:lnTo>
                  <a:lnTo>
                    <a:pt x="352" y="400"/>
                  </a:lnTo>
                  <a:lnTo>
                    <a:pt x="352" y="400"/>
                  </a:lnTo>
                  <a:lnTo>
                    <a:pt x="354" y="400"/>
                  </a:lnTo>
                  <a:lnTo>
                    <a:pt x="354" y="400"/>
                  </a:lnTo>
                  <a:lnTo>
                    <a:pt x="358" y="398"/>
                  </a:lnTo>
                  <a:lnTo>
                    <a:pt x="360" y="394"/>
                  </a:lnTo>
                  <a:lnTo>
                    <a:pt x="362" y="392"/>
                  </a:lnTo>
                  <a:lnTo>
                    <a:pt x="362" y="388"/>
                  </a:lnTo>
                  <a:lnTo>
                    <a:pt x="300" y="156"/>
                  </a:lnTo>
                  <a:lnTo>
                    <a:pt x="350" y="126"/>
                  </a:lnTo>
                  <a:lnTo>
                    <a:pt x="350" y="126"/>
                  </a:lnTo>
                  <a:lnTo>
                    <a:pt x="366" y="140"/>
                  </a:lnTo>
                  <a:lnTo>
                    <a:pt x="384" y="152"/>
                  </a:lnTo>
                  <a:lnTo>
                    <a:pt x="402" y="162"/>
                  </a:lnTo>
                  <a:lnTo>
                    <a:pt x="420" y="170"/>
                  </a:lnTo>
                  <a:lnTo>
                    <a:pt x="438" y="176"/>
                  </a:lnTo>
                  <a:lnTo>
                    <a:pt x="458" y="182"/>
                  </a:lnTo>
                  <a:lnTo>
                    <a:pt x="480" y="184"/>
                  </a:lnTo>
                  <a:lnTo>
                    <a:pt x="500" y="186"/>
                  </a:lnTo>
                  <a:lnTo>
                    <a:pt x="500" y="186"/>
                  </a:lnTo>
                  <a:lnTo>
                    <a:pt x="500" y="186"/>
                  </a:lnTo>
                  <a:lnTo>
                    <a:pt x="500" y="186"/>
                  </a:lnTo>
                  <a:lnTo>
                    <a:pt x="500" y="186"/>
                  </a:lnTo>
                  <a:lnTo>
                    <a:pt x="500" y="186"/>
                  </a:lnTo>
                  <a:lnTo>
                    <a:pt x="498" y="166"/>
                  </a:lnTo>
                  <a:lnTo>
                    <a:pt x="498" y="166"/>
                  </a:lnTo>
                  <a:close/>
                  <a:moveTo>
                    <a:pt x="286" y="182"/>
                  </a:moveTo>
                  <a:lnTo>
                    <a:pt x="270" y="172"/>
                  </a:lnTo>
                  <a:lnTo>
                    <a:pt x="282" y="166"/>
                  </a:lnTo>
                  <a:lnTo>
                    <a:pt x="286" y="182"/>
                  </a:lnTo>
                  <a:close/>
                  <a:moveTo>
                    <a:pt x="280" y="202"/>
                  </a:moveTo>
                  <a:lnTo>
                    <a:pt x="250" y="220"/>
                  </a:lnTo>
                  <a:lnTo>
                    <a:pt x="220" y="202"/>
                  </a:lnTo>
                  <a:lnTo>
                    <a:pt x="250" y="184"/>
                  </a:lnTo>
                  <a:lnTo>
                    <a:pt x="280" y="202"/>
                  </a:lnTo>
                  <a:close/>
                  <a:moveTo>
                    <a:pt x="250" y="50"/>
                  </a:moveTo>
                  <a:lnTo>
                    <a:pt x="264" y="102"/>
                  </a:lnTo>
                  <a:lnTo>
                    <a:pt x="236" y="102"/>
                  </a:lnTo>
                  <a:lnTo>
                    <a:pt x="250" y="50"/>
                  </a:lnTo>
                  <a:close/>
                  <a:moveTo>
                    <a:pt x="230" y="122"/>
                  </a:moveTo>
                  <a:lnTo>
                    <a:pt x="270" y="122"/>
                  </a:lnTo>
                  <a:lnTo>
                    <a:pt x="276" y="146"/>
                  </a:lnTo>
                  <a:lnTo>
                    <a:pt x="250" y="162"/>
                  </a:lnTo>
                  <a:lnTo>
                    <a:pt x="224" y="146"/>
                  </a:lnTo>
                  <a:lnTo>
                    <a:pt x="230" y="122"/>
                  </a:lnTo>
                  <a:close/>
                  <a:moveTo>
                    <a:pt x="218" y="166"/>
                  </a:moveTo>
                  <a:lnTo>
                    <a:pt x="230" y="172"/>
                  </a:lnTo>
                  <a:lnTo>
                    <a:pt x="214" y="182"/>
                  </a:lnTo>
                  <a:lnTo>
                    <a:pt x="218" y="166"/>
                  </a:lnTo>
                  <a:close/>
                  <a:moveTo>
                    <a:pt x="184" y="122"/>
                  </a:moveTo>
                  <a:lnTo>
                    <a:pt x="210" y="122"/>
                  </a:lnTo>
                  <a:lnTo>
                    <a:pt x="206" y="136"/>
                  </a:lnTo>
                  <a:lnTo>
                    <a:pt x="184" y="122"/>
                  </a:lnTo>
                  <a:close/>
                  <a:moveTo>
                    <a:pt x="206" y="216"/>
                  </a:moveTo>
                  <a:lnTo>
                    <a:pt x="230" y="232"/>
                  </a:lnTo>
                  <a:lnTo>
                    <a:pt x="196" y="250"/>
                  </a:lnTo>
                  <a:lnTo>
                    <a:pt x="206" y="216"/>
                  </a:lnTo>
                  <a:close/>
                  <a:moveTo>
                    <a:pt x="170" y="346"/>
                  </a:moveTo>
                  <a:lnTo>
                    <a:pt x="186" y="286"/>
                  </a:lnTo>
                  <a:lnTo>
                    <a:pt x="230" y="312"/>
                  </a:lnTo>
                  <a:lnTo>
                    <a:pt x="170" y="346"/>
                  </a:lnTo>
                  <a:close/>
                  <a:moveTo>
                    <a:pt x="200" y="272"/>
                  </a:moveTo>
                  <a:lnTo>
                    <a:pt x="250" y="242"/>
                  </a:lnTo>
                  <a:lnTo>
                    <a:pt x="300" y="272"/>
                  </a:lnTo>
                  <a:lnTo>
                    <a:pt x="250" y="300"/>
                  </a:lnTo>
                  <a:lnTo>
                    <a:pt x="200" y="272"/>
                  </a:lnTo>
                  <a:close/>
                  <a:moveTo>
                    <a:pt x="330" y="346"/>
                  </a:moveTo>
                  <a:lnTo>
                    <a:pt x="270" y="312"/>
                  </a:lnTo>
                  <a:lnTo>
                    <a:pt x="314" y="286"/>
                  </a:lnTo>
                  <a:lnTo>
                    <a:pt x="330" y="346"/>
                  </a:lnTo>
                  <a:close/>
                  <a:moveTo>
                    <a:pt x="304" y="250"/>
                  </a:moveTo>
                  <a:lnTo>
                    <a:pt x="270" y="232"/>
                  </a:lnTo>
                  <a:lnTo>
                    <a:pt x="294" y="216"/>
                  </a:lnTo>
                  <a:lnTo>
                    <a:pt x="304" y="250"/>
                  </a:lnTo>
                  <a:close/>
                  <a:moveTo>
                    <a:pt x="294" y="136"/>
                  </a:moveTo>
                  <a:lnTo>
                    <a:pt x="290" y="122"/>
                  </a:lnTo>
                  <a:lnTo>
                    <a:pt x="316" y="122"/>
                  </a:lnTo>
                  <a:lnTo>
                    <a:pt x="294" y="136"/>
                  </a:lnTo>
                  <a:close/>
                </a:path>
              </a:pathLst>
            </a:custGeom>
            <a:grp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16" name="Group 115">
            <a:extLst>
              <a:ext uri="{FF2B5EF4-FFF2-40B4-BE49-F238E27FC236}">
                <a16:creationId xmlns:a16="http://schemas.microsoft.com/office/drawing/2014/main" id="{9E5304D1-66AF-4380-8B40-FE2D263093D3}"/>
              </a:ext>
            </a:extLst>
          </p:cNvPr>
          <p:cNvGrpSpPr/>
          <p:nvPr/>
        </p:nvGrpSpPr>
        <p:grpSpPr>
          <a:xfrm>
            <a:off x="2781846" y="4784210"/>
            <a:ext cx="523325" cy="523325"/>
            <a:chOff x="1467520" y="5907019"/>
            <a:chExt cx="612000" cy="612000"/>
          </a:xfrm>
          <a:solidFill>
            <a:srgbClr val="505050"/>
          </a:solidFill>
        </p:grpSpPr>
        <p:sp>
          <p:nvSpPr>
            <p:cNvPr id="117" name="Oval 116">
              <a:extLst>
                <a:ext uri="{FF2B5EF4-FFF2-40B4-BE49-F238E27FC236}">
                  <a16:creationId xmlns:a16="http://schemas.microsoft.com/office/drawing/2014/main" id="{BF85CEE0-038B-4456-A93A-E13D99E3798D}"/>
                </a:ext>
              </a:extLst>
            </p:cNvPr>
            <p:cNvSpPr/>
            <p:nvPr/>
          </p:nvSpPr>
          <p:spPr bwMode="ltGray">
            <a:xfrm>
              <a:off x="1467520"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18" name="Freeform 4831">
              <a:extLst>
                <a:ext uri="{FF2B5EF4-FFF2-40B4-BE49-F238E27FC236}">
                  <a16:creationId xmlns:a16="http://schemas.microsoft.com/office/drawing/2014/main" id="{2956A287-0317-4A67-8461-1C5C395D2026}"/>
                </a:ext>
              </a:extLst>
            </p:cNvPr>
            <p:cNvSpPr>
              <a:spLocks noEditPoints="1"/>
            </p:cNvSpPr>
            <p:nvPr/>
          </p:nvSpPr>
          <p:spPr bwMode="auto">
            <a:xfrm>
              <a:off x="1522671" y="6096691"/>
              <a:ext cx="501699" cy="270719"/>
            </a:xfrm>
            <a:custGeom>
              <a:avLst/>
              <a:gdLst>
                <a:gd name="T0" fmla="*/ 300 w 404"/>
                <a:gd name="T1" fmla="*/ 166 h 218"/>
                <a:gd name="T2" fmla="*/ 288 w 404"/>
                <a:gd name="T3" fmla="*/ 172 h 218"/>
                <a:gd name="T4" fmla="*/ 272 w 404"/>
                <a:gd name="T5" fmla="*/ 184 h 218"/>
                <a:gd name="T6" fmla="*/ 252 w 404"/>
                <a:gd name="T7" fmla="*/ 170 h 218"/>
                <a:gd name="T8" fmla="*/ 244 w 404"/>
                <a:gd name="T9" fmla="*/ 186 h 218"/>
                <a:gd name="T10" fmla="*/ 232 w 404"/>
                <a:gd name="T11" fmla="*/ 188 h 218"/>
                <a:gd name="T12" fmla="*/ 226 w 404"/>
                <a:gd name="T13" fmla="*/ 188 h 218"/>
                <a:gd name="T14" fmla="*/ 216 w 404"/>
                <a:gd name="T15" fmla="*/ 166 h 218"/>
                <a:gd name="T16" fmla="*/ 192 w 404"/>
                <a:gd name="T17" fmla="*/ 154 h 218"/>
                <a:gd name="T18" fmla="*/ 178 w 404"/>
                <a:gd name="T19" fmla="*/ 142 h 218"/>
                <a:gd name="T20" fmla="*/ 160 w 404"/>
                <a:gd name="T21" fmla="*/ 138 h 218"/>
                <a:gd name="T22" fmla="*/ 134 w 404"/>
                <a:gd name="T23" fmla="*/ 120 h 218"/>
                <a:gd name="T24" fmla="*/ 106 w 404"/>
                <a:gd name="T25" fmla="*/ 136 h 218"/>
                <a:gd name="T26" fmla="*/ 74 w 404"/>
                <a:gd name="T27" fmla="*/ 124 h 218"/>
                <a:gd name="T28" fmla="*/ 94 w 404"/>
                <a:gd name="T29" fmla="*/ 42 h 218"/>
                <a:gd name="T30" fmla="*/ 138 w 404"/>
                <a:gd name="T31" fmla="*/ 38 h 218"/>
                <a:gd name="T32" fmla="*/ 134 w 404"/>
                <a:gd name="T33" fmla="*/ 66 h 218"/>
                <a:gd name="T34" fmla="*/ 150 w 404"/>
                <a:gd name="T35" fmla="*/ 88 h 218"/>
                <a:gd name="T36" fmla="*/ 178 w 404"/>
                <a:gd name="T37" fmla="*/ 92 h 218"/>
                <a:gd name="T38" fmla="*/ 288 w 404"/>
                <a:gd name="T39" fmla="*/ 92 h 218"/>
                <a:gd name="T40" fmla="*/ 294 w 404"/>
                <a:gd name="T41" fmla="*/ 100 h 218"/>
                <a:gd name="T42" fmla="*/ 320 w 404"/>
                <a:gd name="T43" fmla="*/ 144 h 218"/>
                <a:gd name="T44" fmla="*/ 134 w 404"/>
                <a:gd name="T45" fmla="*/ 132 h 218"/>
                <a:gd name="T46" fmla="*/ 118 w 404"/>
                <a:gd name="T47" fmla="*/ 142 h 218"/>
                <a:gd name="T48" fmla="*/ 102 w 404"/>
                <a:gd name="T49" fmla="*/ 190 h 218"/>
                <a:gd name="T50" fmla="*/ 118 w 404"/>
                <a:gd name="T51" fmla="*/ 198 h 218"/>
                <a:gd name="T52" fmla="*/ 130 w 404"/>
                <a:gd name="T53" fmla="*/ 204 h 218"/>
                <a:gd name="T54" fmla="*/ 146 w 404"/>
                <a:gd name="T55" fmla="*/ 214 h 218"/>
                <a:gd name="T56" fmla="*/ 162 w 404"/>
                <a:gd name="T57" fmla="*/ 204 h 218"/>
                <a:gd name="T58" fmla="*/ 174 w 404"/>
                <a:gd name="T59" fmla="*/ 216 h 218"/>
                <a:gd name="T60" fmla="*/ 188 w 404"/>
                <a:gd name="T61" fmla="*/ 218 h 218"/>
                <a:gd name="T62" fmla="*/ 208 w 404"/>
                <a:gd name="T63" fmla="*/ 194 h 218"/>
                <a:gd name="T64" fmla="*/ 202 w 404"/>
                <a:gd name="T65" fmla="*/ 168 h 218"/>
                <a:gd name="T66" fmla="*/ 182 w 404"/>
                <a:gd name="T67" fmla="*/ 170 h 218"/>
                <a:gd name="T68" fmla="*/ 172 w 404"/>
                <a:gd name="T69" fmla="*/ 152 h 218"/>
                <a:gd name="T70" fmla="*/ 156 w 404"/>
                <a:gd name="T71" fmla="*/ 150 h 218"/>
                <a:gd name="T72" fmla="*/ 146 w 404"/>
                <a:gd name="T73" fmla="*/ 138 h 218"/>
                <a:gd name="T74" fmla="*/ 378 w 404"/>
                <a:gd name="T75" fmla="*/ 0 h 218"/>
                <a:gd name="T76" fmla="*/ 394 w 404"/>
                <a:gd name="T77" fmla="*/ 160 h 218"/>
                <a:gd name="T78" fmla="*/ 402 w 404"/>
                <a:gd name="T79" fmla="*/ 70 h 218"/>
                <a:gd name="T80" fmla="*/ 26 w 404"/>
                <a:gd name="T81" fmla="*/ 0 h 218"/>
                <a:gd name="T82" fmla="*/ 0 w 404"/>
                <a:gd name="T83" fmla="*/ 96 h 218"/>
                <a:gd name="T84" fmla="*/ 18 w 404"/>
                <a:gd name="T85" fmla="*/ 178 h 218"/>
                <a:gd name="T86" fmla="*/ 96 w 404"/>
                <a:gd name="T87" fmla="*/ 154 h 218"/>
                <a:gd name="T88" fmla="*/ 68 w 404"/>
                <a:gd name="T89" fmla="*/ 142 h 218"/>
                <a:gd name="T90" fmla="*/ 74 w 404"/>
                <a:gd name="T91" fmla="*/ 170 h 218"/>
                <a:gd name="T92" fmla="*/ 88 w 404"/>
                <a:gd name="T93" fmla="*/ 172 h 218"/>
                <a:gd name="T94" fmla="*/ 306 w 404"/>
                <a:gd name="T95" fmla="*/ 34 h 218"/>
                <a:gd name="T96" fmla="*/ 230 w 404"/>
                <a:gd name="T97" fmla="*/ 8 h 218"/>
                <a:gd name="T98" fmla="*/ 192 w 404"/>
                <a:gd name="T99" fmla="*/ 2 h 218"/>
                <a:gd name="T100" fmla="*/ 190 w 404"/>
                <a:gd name="T101" fmla="*/ 0 h 218"/>
                <a:gd name="T102" fmla="*/ 182 w 404"/>
                <a:gd name="T103" fmla="*/ 2 h 218"/>
                <a:gd name="T104" fmla="*/ 148 w 404"/>
                <a:gd name="T105" fmla="*/ 44 h 218"/>
                <a:gd name="T106" fmla="*/ 156 w 404"/>
                <a:gd name="T107" fmla="*/ 78 h 218"/>
                <a:gd name="T108" fmla="*/ 180 w 404"/>
                <a:gd name="T109" fmla="*/ 78 h 218"/>
                <a:gd name="T110" fmla="*/ 292 w 404"/>
                <a:gd name="T111" fmla="*/ 82 h 218"/>
                <a:gd name="T112" fmla="*/ 304 w 404"/>
                <a:gd name="T113" fmla="*/ 94 h 218"/>
                <a:gd name="T114" fmla="*/ 328 w 404"/>
                <a:gd name="T115"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218">
                  <a:moveTo>
                    <a:pt x="310" y="162"/>
                  </a:moveTo>
                  <a:lnTo>
                    <a:pt x="310" y="162"/>
                  </a:lnTo>
                  <a:lnTo>
                    <a:pt x="306" y="164"/>
                  </a:lnTo>
                  <a:lnTo>
                    <a:pt x="300" y="166"/>
                  </a:lnTo>
                  <a:lnTo>
                    <a:pt x="300" y="166"/>
                  </a:lnTo>
                  <a:lnTo>
                    <a:pt x="296" y="164"/>
                  </a:lnTo>
                  <a:lnTo>
                    <a:pt x="290" y="162"/>
                  </a:lnTo>
                  <a:lnTo>
                    <a:pt x="290" y="162"/>
                  </a:lnTo>
                  <a:lnTo>
                    <a:pt x="290" y="168"/>
                  </a:lnTo>
                  <a:lnTo>
                    <a:pt x="288" y="172"/>
                  </a:lnTo>
                  <a:lnTo>
                    <a:pt x="286" y="176"/>
                  </a:lnTo>
                  <a:lnTo>
                    <a:pt x="282" y="180"/>
                  </a:lnTo>
                  <a:lnTo>
                    <a:pt x="282" y="180"/>
                  </a:lnTo>
                  <a:lnTo>
                    <a:pt x="276" y="182"/>
                  </a:lnTo>
                  <a:lnTo>
                    <a:pt x="272" y="184"/>
                  </a:lnTo>
                  <a:lnTo>
                    <a:pt x="272" y="184"/>
                  </a:lnTo>
                  <a:lnTo>
                    <a:pt x="262" y="180"/>
                  </a:lnTo>
                  <a:lnTo>
                    <a:pt x="258" y="178"/>
                  </a:lnTo>
                  <a:lnTo>
                    <a:pt x="256" y="174"/>
                  </a:lnTo>
                  <a:lnTo>
                    <a:pt x="252" y="170"/>
                  </a:lnTo>
                  <a:lnTo>
                    <a:pt x="252" y="170"/>
                  </a:lnTo>
                  <a:lnTo>
                    <a:pt x="250" y="178"/>
                  </a:lnTo>
                  <a:lnTo>
                    <a:pt x="248" y="182"/>
                  </a:lnTo>
                  <a:lnTo>
                    <a:pt x="244" y="186"/>
                  </a:lnTo>
                  <a:lnTo>
                    <a:pt x="244" y="186"/>
                  </a:lnTo>
                  <a:lnTo>
                    <a:pt x="238" y="188"/>
                  </a:lnTo>
                  <a:lnTo>
                    <a:pt x="234" y="188"/>
                  </a:lnTo>
                  <a:lnTo>
                    <a:pt x="234" y="188"/>
                  </a:lnTo>
                  <a:lnTo>
                    <a:pt x="232" y="188"/>
                  </a:lnTo>
                  <a:lnTo>
                    <a:pt x="232" y="188"/>
                  </a:lnTo>
                  <a:lnTo>
                    <a:pt x="230" y="188"/>
                  </a:lnTo>
                  <a:lnTo>
                    <a:pt x="230" y="188"/>
                  </a:lnTo>
                  <a:lnTo>
                    <a:pt x="228" y="188"/>
                  </a:lnTo>
                  <a:lnTo>
                    <a:pt x="228" y="188"/>
                  </a:lnTo>
                  <a:lnTo>
                    <a:pt x="226" y="188"/>
                  </a:lnTo>
                  <a:lnTo>
                    <a:pt x="222" y="188"/>
                  </a:lnTo>
                  <a:lnTo>
                    <a:pt x="222" y="188"/>
                  </a:lnTo>
                  <a:lnTo>
                    <a:pt x="222" y="176"/>
                  </a:lnTo>
                  <a:lnTo>
                    <a:pt x="222" y="176"/>
                  </a:lnTo>
                  <a:lnTo>
                    <a:pt x="216" y="166"/>
                  </a:lnTo>
                  <a:lnTo>
                    <a:pt x="208" y="158"/>
                  </a:lnTo>
                  <a:lnTo>
                    <a:pt x="208" y="158"/>
                  </a:lnTo>
                  <a:lnTo>
                    <a:pt x="200" y="156"/>
                  </a:lnTo>
                  <a:lnTo>
                    <a:pt x="192" y="154"/>
                  </a:lnTo>
                  <a:lnTo>
                    <a:pt x="192" y="154"/>
                  </a:lnTo>
                  <a:lnTo>
                    <a:pt x="190" y="154"/>
                  </a:lnTo>
                  <a:lnTo>
                    <a:pt x="190" y="154"/>
                  </a:lnTo>
                  <a:lnTo>
                    <a:pt x="186" y="146"/>
                  </a:lnTo>
                  <a:lnTo>
                    <a:pt x="178" y="142"/>
                  </a:lnTo>
                  <a:lnTo>
                    <a:pt x="178" y="142"/>
                  </a:lnTo>
                  <a:lnTo>
                    <a:pt x="170" y="138"/>
                  </a:lnTo>
                  <a:lnTo>
                    <a:pt x="162" y="138"/>
                  </a:lnTo>
                  <a:lnTo>
                    <a:pt x="162" y="138"/>
                  </a:lnTo>
                  <a:lnTo>
                    <a:pt x="160" y="138"/>
                  </a:lnTo>
                  <a:lnTo>
                    <a:pt x="160" y="138"/>
                  </a:lnTo>
                  <a:lnTo>
                    <a:pt x="156" y="130"/>
                  </a:lnTo>
                  <a:lnTo>
                    <a:pt x="148" y="124"/>
                  </a:lnTo>
                  <a:lnTo>
                    <a:pt x="148" y="124"/>
                  </a:lnTo>
                  <a:lnTo>
                    <a:pt x="142" y="122"/>
                  </a:lnTo>
                  <a:lnTo>
                    <a:pt x="134" y="120"/>
                  </a:lnTo>
                  <a:lnTo>
                    <a:pt x="134" y="120"/>
                  </a:lnTo>
                  <a:lnTo>
                    <a:pt x="126" y="122"/>
                  </a:lnTo>
                  <a:lnTo>
                    <a:pt x="118" y="124"/>
                  </a:lnTo>
                  <a:lnTo>
                    <a:pt x="112" y="130"/>
                  </a:lnTo>
                  <a:lnTo>
                    <a:pt x="106" y="136"/>
                  </a:lnTo>
                  <a:lnTo>
                    <a:pt x="102" y="144"/>
                  </a:lnTo>
                  <a:lnTo>
                    <a:pt x="80" y="132"/>
                  </a:lnTo>
                  <a:lnTo>
                    <a:pt x="80" y="132"/>
                  </a:lnTo>
                  <a:lnTo>
                    <a:pt x="76" y="128"/>
                  </a:lnTo>
                  <a:lnTo>
                    <a:pt x="74" y="124"/>
                  </a:lnTo>
                  <a:lnTo>
                    <a:pt x="72" y="120"/>
                  </a:lnTo>
                  <a:lnTo>
                    <a:pt x="74" y="114"/>
                  </a:lnTo>
                  <a:lnTo>
                    <a:pt x="92" y="46"/>
                  </a:lnTo>
                  <a:lnTo>
                    <a:pt x="92" y="46"/>
                  </a:lnTo>
                  <a:lnTo>
                    <a:pt x="94" y="42"/>
                  </a:lnTo>
                  <a:lnTo>
                    <a:pt x="98" y="38"/>
                  </a:lnTo>
                  <a:lnTo>
                    <a:pt x="102" y="36"/>
                  </a:lnTo>
                  <a:lnTo>
                    <a:pt x="106" y="36"/>
                  </a:lnTo>
                  <a:lnTo>
                    <a:pt x="140" y="34"/>
                  </a:lnTo>
                  <a:lnTo>
                    <a:pt x="138" y="38"/>
                  </a:lnTo>
                  <a:lnTo>
                    <a:pt x="138" y="38"/>
                  </a:lnTo>
                  <a:lnTo>
                    <a:pt x="134" y="46"/>
                  </a:lnTo>
                  <a:lnTo>
                    <a:pt x="132" y="52"/>
                  </a:lnTo>
                  <a:lnTo>
                    <a:pt x="132" y="60"/>
                  </a:lnTo>
                  <a:lnTo>
                    <a:pt x="134" y="66"/>
                  </a:lnTo>
                  <a:lnTo>
                    <a:pt x="134" y="66"/>
                  </a:lnTo>
                  <a:lnTo>
                    <a:pt x="136" y="72"/>
                  </a:lnTo>
                  <a:lnTo>
                    <a:pt x="140" y="78"/>
                  </a:lnTo>
                  <a:lnTo>
                    <a:pt x="144" y="84"/>
                  </a:lnTo>
                  <a:lnTo>
                    <a:pt x="150" y="88"/>
                  </a:lnTo>
                  <a:lnTo>
                    <a:pt x="150" y="88"/>
                  </a:lnTo>
                  <a:lnTo>
                    <a:pt x="158" y="92"/>
                  </a:lnTo>
                  <a:lnTo>
                    <a:pt x="168" y="92"/>
                  </a:lnTo>
                  <a:lnTo>
                    <a:pt x="168" y="92"/>
                  </a:lnTo>
                  <a:lnTo>
                    <a:pt x="178" y="92"/>
                  </a:lnTo>
                  <a:lnTo>
                    <a:pt x="186" y="88"/>
                  </a:lnTo>
                  <a:lnTo>
                    <a:pt x="194" y="82"/>
                  </a:lnTo>
                  <a:lnTo>
                    <a:pt x="198" y="74"/>
                  </a:lnTo>
                  <a:lnTo>
                    <a:pt x="212" y="52"/>
                  </a:lnTo>
                  <a:lnTo>
                    <a:pt x="288" y="92"/>
                  </a:lnTo>
                  <a:lnTo>
                    <a:pt x="288" y="92"/>
                  </a:lnTo>
                  <a:lnTo>
                    <a:pt x="290" y="94"/>
                  </a:lnTo>
                  <a:lnTo>
                    <a:pt x="294" y="98"/>
                  </a:lnTo>
                  <a:lnTo>
                    <a:pt x="294" y="98"/>
                  </a:lnTo>
                  <a:lnTo>
                    <a:pt x="294" y="100"/>
                  </a:lnTo>
                  <a:lnTo>
                    <a:pt x="294" y="100"/>
                  </a:lnTo>
                  <a:lnTo>
                    <a:pt x="296" y="100"/>
                  </a:lnTo>
                  <a:lnTo>
                    <a:pt x="318" y="136"/>
                  </a:lnTo>
                  <a:lnTo>
                    <a:pt x="318" y="136"/>
                  </a:lnTo>
                  <a:lnTo>
                    <a:pt x="320" y="144"/>
                  </a:lnTo>
                  <a:lnTo>
                    <a:pt x="320" y="150"/>
                  </a:lnTo>
                  <a:lnTo>
                    <a:pt x="316" y="158"/>
                  </a:lnTo>
                  <a:lnTo>
                    <a:pt x="310" y="162"/>
                  </a:lnTo>
                  <a:lnTo>
                    <a:pt x="310" y="162"/>
                  </a:lnTo>
                  <a:close/>
                  <a:moveTo>
                    <a:pt x="134" y="132"/>
                  </a:moveTo>
                  <a:lnTo>
                    <a:pt x="134" y="132"/>
                  </a:lnTo>
                  <a:lnTo>
                    <a:pt x="128" y="132"/>
                  </a:lnTo>
                  <a:lnTo>
                    <a:pt x="124" y="134"/>
                  </a:lnTo>
                  <a:lnTo>
                    <a:pt x="120" y="138"/>
                  </a:lnTo>
                  <a:lnTo>
                    <a:pt x="118" y="142"/>
                  </a:lnTo>
                  <a:lnTo>
                    <a:pt x="102" y="170"/>
                  </a:lnTo>
                  <a:lnTo>
                    <a:pt x="102" y="170"/>
                  </a:lnTo>
                  <a:lnTo>
                    <a:pt x="98" y="176"/>
                  </a:lnTo>
                  <a:lnTo>
                    <a:pt x="100" y="184"/>
                  </a:lnTo>
                  <a:lnTo>
                    <a:pt x="102" y="190"/>
                  </a:lnTo>
                  <a:lnTo>
                    <a:pt x="108" y="194"/>
                  </a:lnTo>
                  <a:lnTo>
                    <a:pt x="108" y="194"/>
                  </a:lnTo>
                  <a:lnTo>
                    <a:pt x="112" y="196"/>
                  </a:lnTo>
                  <a:lnTo>
                    <a:pt x="118" y="198"/>
                  </a:lnTo>
                  <a:lnTo>
                    <a:pt x="118" y="198"/>
                  </a:lnTo>
                  <a:lnTo>
                    <a:pt x="122" y="196"/>
                  </a:lnTo>
                  <a:lnTo>
                    <a:pt x="128" y="194"/>
                  </a:lnTo>
                  <a:lnTo>
                    <a:pt x="128" y="194"/>
                  </a:lnTo>
                  <a:lnTo>
                    <a:pt x="128" y="198"/>
                  </a:lnTo>
                  <a:lnTo>
                    <a:pt x="130" y="204"/>
                  </a:lnTo>
                  <a:lnTo>
                    <a:pt x="132" y="208"/>
                  </a:lnTo>
                  <a:lnTo>
                    <a:pt x="138" y="212"/>
                  </a:lnTo>
                  <a:lnTo>
                    <a:pt x="138" y="212"/>
                  </a:lnTo>
                  <a:lnTo>
                    <a:pt x="142" y="214"/>
                  </a:lnTo>
                  <a:lnTo>
                    <a:pt x="146" y="214"/>
                  </a:lnTo>
                  <a:lnTo>
                    <a:pt x="146" y="214"/>
                  </a:lnTo>
                  <a:lnTo>
                    <a:pt x="152" y="214"/>
                  </a:lnTo>
                  <a:lnTo>
                    <a:pt x="156" y="212"/>
                  </a:lnTo>
                  <a:lnTo>
                    <a:pt x="160" y="208"/>
                  </a:lnTo>
                  <a:lnTo>
                    <a:pt x="162" y="204"/>
                  </a:lnTo>
                  <a:lnTo>
                    <a:pt x="166" y="200"/>
                  </a:lnTo>
                  <a:lnTo>
                    <a:pt x="166" y="200"/>
                  </a:lnTo>
                  <a:lnTo>
                    <a:pt x="168" y="208"/>
                  </a:lnTo>
                  <a:lnTo>
                    <a:pt x="170" y="212"/>
                  </a:lnTo>
                  <a:lnTo>
                    <a:pt x="174" y="216"/>
                  </a:lnTo>
                  <a:lnTo>
                    <a:pt x="174" y="216"/>
                  </a:lnTo>
                  <a:lnTo>
                    <a:pt x="178" y="218"/>
                  </a:lnTo>
                  <a:lnTo>
                    <a:pt x="184" y="218"/>
                  </a:lnTo>
                  <a:lnTo>
                    <a:pt x="184" y="218"/>
                  </a:lnTo>
                  <a:lnTo>
                    <a:pt x="188" y="218"/>
                  </a:lnTo>
                  <a:lnTo>
                    <a:pt x="192" y="216"/>
                  </a:lnTo>
                  <a:lnTo>
                    <a:pt x="196" y="212"/>
                  </a:lnTo>
                  <a:lnTo>
                    <a:pt x="200" y="208"/>
                  </a:lnTo>
                  <a:lnTo>
                    <a:pt x="208" y="194"/>
                  </a:lnTo>
                  <a:lnTo>
                    <a:pt x="208" y="194"/>
                  </a:lnTo>
                  <a:lnTo>
                    <a:pt x="210" y="188"/>
                  </a:lnTo>
                  <a:lnTo>
                    <a:pt x="210" y="180"/>
                  </a:lnTo>
                  <a:lnTo>
                    <a:pt x="206" y="174"/>
                  </a:lnTo>
                  <a:lnTo>
                    <a:pt x="202" y="168"/>
                  </a:lnTo>
                  <a:lnTo>
                    <a:pt x="202" y="168"/>
                  </a:lnTo>
                  <a:lnTo>
                    <a:pt x="196" y="166"/>
                  </a:lnTo>
                  <a:lnTo>
                    <a:pt x="192" y="166"/>
                  </a:lnTo>
                  <a:lnTo>
                    <a:pt x="192" y="166"/>
                  </a:lnTo>
                  <a:lnTo>
                    <a:pt x="186" y="168"/>
                  </a:lnTo>
                  <a:lnTo>
                    <a:pt x="182" y="170"/>
                  </a:lnTo>
                  <a:lnTo>
                    <a:pt x="182" y="170"/>
                  </a:lnTo>
                  <a:lnTo>
                    <a:pt x="180" y="164"/>
                  </a:lnTo>
                  <a:lnTo>
                    <a:pt x="180" y="160"/>
                  </a:lnTo>
                  <a:lnTo>
                    <a:pt x="176" y="156"/>
                  </a:lnTo>
                  <a:lnTo>
                    <a:pt x="172" y="152"/>
                  </a:lnTo>
                  <a:lnTo>
                    <a:pt x="172" y="152"/>
                  </a:lnTo>
                  <a:lnTo>
                    <a:pt x="168" y="150"/>
                  </a:lnTo>
                  <a:lnTo>
                    <a:pt x="162" y="150"/>
                  </a:lnTo>
                  <a:lnTo>
                    <a:pt x="162" y="150"/>
                  </a:lnTo>
                  <a:lnTo>
                    <a:pt x="156" y="150"/>
                  </a:lnTo>
                  <a:lnTo>
                    <a:pt x="152" y="152"/>
                  </a:lnTo>
                  <a:lnTo>
                    <a:pt x="152" y="152"/>
                  </a:lnTo>
                  <a:lnTo>
                    <a:pt x="152" y="148"/>
                  </a:lnTo>
                  <a:lnTo>
                    <a:pt x="150" y="142"/>
                  </a:lnTo>
                  <a:lnTo>
                    <a:pt x="146" y="138"/>
                  </a:lnTo>
                  <a:lnTo>
                    <a:pt x="142" y="134"/>
                  </a:lnTo>
                  <a:lnTo>
                    <a:pt x="142" y="134"/>
                  </a:lnTo>
                  <a:lnTo>
                    <a:pt x="138" y="132"/>
                  </a:lnTo>
                  <a:lnTo>
                    <a:pt x="134" y="132"/>
                  </a:lnTo>
                  <a:close/>
                  <a:moveTo>
                    <a:pt x="378" y="0"/>
                  </a:moveTo>
                  <a:lnTo>
                    <a:pt x="316" y="18"/>
                  </a:lnTo>
                  <a:lnTo>
                    <a:pt x="366" y="184"/>
                  </a:lnTo>
                  <a:lnTo>
                    <a:pt x="386" y="178"/>
                  </a:lnTo>
                  <a:lnTo>
                    <a:pt x="386" y="178"/>
                  </a:lnTo>
                  <a:lnTo>
                    <a:pt x="394" y="160"/>
                  </a:lnTo>
                  <a:lnTo>
                    <a:pt x="398" y="140"/>
                  </a:lnTo>
                  <a:lnTo>
                    <a:pt x="402" y="118"/>
                  </a:lnTo>
                  <a:lnTo>
                    <a:pt x="404" y="96"/>
                  </a:lnTo>
                  <a:lnTo>
                    <a:pt x="404" y="96"/>
                  </a:lnTo>
                  <a:lnTo>
                    <a:pt x="402" y="70"/>
                  </a:lnTo>
                  <a:lnTo>
                    <a:pt x="398" y="46"/>
                  </a:lnTo>
                  <a:lnTo>
                    <a:pt x="390" y="22"/>
                  </a:lnTo>
                  <a:lnTo>
                    <a:pt x="378" y="0"/>
                  </a:lnTo>
                  <a:lnTo>
                    <a:pt x="378" y="0"/>
                  </a:lnTo>
                  <a:close/>
                  <a:moveTo>
                    <a:pt x="26" y="0"/>
                  </a:moveTo>
                  <a:lnTo>
                    <a:pt x="26" y="0"/>
                  </a:lnTo>
                  <a:lnTo>
                    <a:pt x="14" y="22"/>
                  </a:lnTo>
                  <a:lnTo>
                    <a:pt x="6" y="46"/>
                  </a:lnTo>
                  <a:lnTo>
                    <a:pt x="2" y="70"/>
                  </a:lnTo>
                  <a:lnTo>
                    <a:pt x="0" y="96"/>
                  </a:lnTo>
                  <a:lnTo>
                    <a:pt x="0" y="96"/>
                  </a:lnTo>
                  <a:lnTo>
                    <a:pt x="2" y="118"/>
                  </a:lnTo>
                  <a:lnTo>
                    <a:pt x="6" y="140"/>
                  </a:lnTo>
                  <a:lnTo>
                    <a:pt x="10" y="160"/>
                  </a:lnTo>
                  <a:lnTo>
                    <a:pt x="18" y="178"/>
                  </a:lnTo>
                  <a:lnTo>
                    <a:pt x="40" y="184"/>
                  </a:lnTo>
                  <a:lnTo>
                    <a:pt x="88" y="18"/>
                  </a:lnTo>
                  <a:lnTo>
                    <a:pt x="26" y="0"/>
                  </a:lnTo>
                  <a:close/>
                  <a:moveTo>
                    <a:pt x="90" y="164"/>
                  </a:moveTo>
                  <a:lnTo>
                    <a:pt x="96" y="154"/>
                  </a:lnTo>
                  <a:lnTo>
                    <a:pt x="74" y="142"/>
                  </a:lnTo>
                  <a:lnTo>
                    <a:pt x="74" y="142"/>
                  </a:lnTo>
                  <a:lnTo>
                    <a:pt x="70" y="138"/>
                  </a:lnTo>
                  <a:lnTo>
                    <a:pt x="68" y="142"/>
                  </a:lnTo>
                  <a:lnTo>
                    <a:pt x="68" y="142"/>
                  </a:lnTo>
                  <a:lnTo>
                    <a:pt x="64" y="150"/>
                  </a:lnTo>
                  <a:lnTo>
                    <a:pt x="66" y="158"/>
                  </a:lnTo>
                  <a:lnTo>
                    <a:pt x="68" y="164"/>
                  </a:lnTo>
                  <a:lnTo>
                    <a:pt x="74" y="170"/>
                  </a:lnTo>
                  <a:lnTo>
                    <a:pt x="74" y="170"/>
                  </a:lnTo>
                  <a:lnTo>
                    <a:pt x="80" y="172"/>
                  </a:lnTo>
                  <a:lnTo>
                    <a:pt x="84" y="172"/>
                  </a:lnTo>
                  <a:lnTo>
                    <a:pt x="84" y="172"/>
                  </a:lnTo>
                  <a:lnTo>
                    <a:pt x="88" y="172"/>
                  </a:lnTo>
                  <a:lnTo>
                    <a:pt x="88" y="172"/>
                  </a:lnTo>
                  <a:lnTo>
                    <a:pt x="90" y="164"/>
                  </a:lnTo>
                  <a:lnTo>
                    <a:pt x="90" y="164"/>
                  </a:lnTo>
                  <a:close/>
                  <a:moveTo>
                    <a:pt x="328" y="106"/>
                  </a:moveTo>
                  <a:lnTo>
                    <a:pt x="306" y="34"/>
                  </a:lnTo>
                  <a:lnTo>
                    <a:pt x="306" y="34"/>
                  </a:lnTo>
                  <a:lnTo>
                    <a:pt x="304" y="30"/>
                  </a:lnTo>
                  <a:lnTo>
                    <a:pt x="300" y="26"/>
                  </a:lnTo>
                  <a:lnTo>
                    <a:pt x="296" y="24"/>
                  </a:lnTo>
                  <a:lnTo>
                    <a:pt x="292" y="22"/>
                  </a:lnTo>
                  <a:lnTo>
                    <a:pt x="230" y="8"/>
                  </a:lnTo>
                  <a:lnTo>
                    <a:pt x="230" y="8"/>
                  </a:lnTo>
                  <a:lnTo>
                    <a:pt x="230" y="8"/>
                  </a:lnTo>
                  <a:lnTo>
                    <a:pt x="194" y="2"/>
                  </a:lnTo>
                  <a:lnTo>
                    <a:pt x="194" y="2"/>
                  </a:lnTo>
                  <a:lnTo>
                    <a:pt x="192" y="2"/>
                  </a:lnTo>
                  <a:lnTo>
                    <a:pt x="192" y="2"/>
                  </a:lnTo>
                  <a:lnTo>
                    <a:pt x="192" y="2"/>
                  </a:lnTo>
                  <a:lnTo>
                    <a:pt x="192" y="2"/>
                  </a:lnTo>
                  <a:lnTo>
                    <a:pt x="192" y="0"/>
                  </a:lnTo>
                  <a:lnTo>
                    <a:pt x="190" y="0"/>
                  </a:lnTo>
                  <a:lnTo>
                    <a:pt x="190" y="0"/>
                  </a:lnTo>
                  <a:lnTo>
                    <a:pt x="190" y="0"/>
                  </a:lnTo>
                  <a:lnTo>
                    <a:pt x="188" y="0"/>
                  </a:lnTo>
                  <a:lnTo>
                    <a:pt x="188" y="0"/>
                  </a:lnTo>
                  <a:lnTo>
                    <a:pt x="182" y="2"/>
                  </a:lnTo>
                  <a:lnTo>
                    <a:pt x="176" y="4"/>
                  </a:lnTo>
                  <a:lnTo>
                    <a:pt x="170" y="8"/>
                  </a:lnTo>
                  <a:lnTo>
                    <a:pt x="166" y="12"/>
                  </a:lnTo>
                  <a:lnTo>
                    <a:pt x="148" y="44"/>
                  </a:lnTo>
                  <a:lnTo>
                    <a:pt x="148" y="44"/>
                  </a:lnTo>
                  <a:lnTo>
                    <a:pt x="144" y="54"/>
                  </a:lnTo>
                  <a:lnTo>
                    <a:pt x="146" y="62"/>
                  </a:lnTo>
                  <a:lnTo>
                    <a:pt x="150" y="72"/>
                  </a:lnTo>
                  <a:lnTo>
                    <a:pt x="156" y="78"/>
                  </a:lnTo>
                  <a:lnTo>
                    <a:pt x="156" y="78"/>
                  </a:lnTo>
                  <a:lnTo>
                    <a:pt x="162" y="80"/>
                  </a:lnTo>
                  <a:lnTo>
                    <a:pt x="168" y="80"/>
                  </a:lnTo>
                  <a:lnTo>
                    <a:pt x="168" y="80"/>
                  </a:lnTo>
                  <a:lnTo>
                    <a:pt x="174" y="80"/>
                  </a:lnTo>
                  <a:lnTo>
                    <a:pt x="180" y="78"/>
                  </a:lnTo>
                  <a:lnTo>
                    <a:pt x="184" y="74"/>
                  </a:lnTo>
                  <a:lnTo>
                    <a:pt x="188" y="68"/>
                  </a:lnTo>
                  <a:lnTo>
                    <a:pt x="208" y="36"/>
                  </a:lnTo>
                  <a:lnTo>
                    <a:pt x="292" y="82"/>
                  </a:lnTo>
                  <a:lnTo>
                    <a:pt x="292" y="82"/>
                  </a:lnTo>
                  <a:lnTo>
                    <a:pt x="298" y="86"/>
                  </a:lnTo>
                  <a:lnTo>
                    <a:pt x="304" y="90"/>
                  </a:lnTo>
                  <a:lnTo>
                    <a:pt x="304" y="90"/>
                  </a:lnTo>
                  <a:lnTo>
                    <a:pt x="304" y="94"/>
                  </a:lnTo>
                  <a:lnTo>
                    <a:pt x="304" y="94"/>
                  </a:lnTo>
                  <a:lnTo>
                    <a:pt x="306" y="94"/>
                  </a:lnTo>
                  <a:lnTo>
                    <a:pt x="324" y="124"/>
                  </a:lnTo>
                  <a:lnTo>
                    <a:pt x="324" y="124"/>
                  </a:lnTo>
                  <a:lnTo>
                    <a:pt x="326" y="120"/>
                  </a:lnTo>
                  <a:lnTo>
                    <a:pt x="328" y="116"/>
                  </a:lnTo>
                  <a:lnTo>
                    <a:pt x="330" y="110"/>
                  </a:lnTo>
                  <a:lnTo>
                    <a:pt x="328" y="106"/>
                  </a:lnTo>
                  <a:lnTo>
                    <a:pt x="328" y="106"/>
                  </a:lnTo>
                  <a:close/>
                </a:path>
              </a:pathLst>
            </a:custGeom>
            <a:grp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19" name="Group 118">
            <a:extLst>
              <a:ext uri="{FF2B5EF4-FFF2-40B4-BE49-F238E27FC236}">
                <a16:creationId xmlns:a16="http://schemas.microsoft.com/office/drawing/2014/main" id="{33F87280-2A02-4B37-A7A6-99C01A7B9FD8}"/>
              </a:ext>
            </a:extLst>
          </p:cNvPr>
          <p:cNvGrpSpPr/>
          <p:nvPr/>
        </p:nvGrpSpPr>
        <p:grpSpPr>
          <a:xfrm>
            <a:off x="3529819" y="4784210"/>
            <a:ext cx="523325" cy="523325"/>
            <a:chOff x="2342233" y="5907019"/>
            <a:chExt cx="612000" cy="612000"/>
          </a:xfrm>
          <a:solidFill>
            <a:srgbClr val="505050"/>
          </a:solidFill>
        </p:grpSpPr>
        <p:sp>
          <p:nvSpPr>
            <p:cNvPr id="120" name="Oval 119">
              <a:extLst>
                <a:ext uri="{FF2B5EF4-FFF2-40B4-BE49-F238E27FC236}">
                  <a16:creationId xmlns:a16="http://schemas.microsoft.com/office/drawing/2014/main" id="{3A364E10-D299-4358-8CA3-03D77D8BB8F1}"/>
                </a:ext>
              </a:extLst>
            </p:cNvPr>
            <p:cNvSpPr/>
            <p:nvPr/>
          </p:nvSpPr>
          <p:spPr bwMode="ltGray">
            <a:xfrm>
              <a:off x="2342233"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21" name="Freeform 4838">
              <a:extLst>
                <a:ext uri="{FF2B5EF4-FFF2-40B4-BE49-F238E27FC236}">
                  <a16:creationId xmlns:a16="http://schemas.microsoft.com/office/drawing/2014/main" id="{7475B373-3198-4588-BCD6-E0784D2371DB}"/>
                </a:ext>
              </a:extLst>
            </p:cNvPr>
            <p:cNvSpPr>
              <a:spLocks noEditPoints="1"/>
            </p:cNvSpPr>
            <p:nvPr/>
          </p:nvSpPr>
          <p:spPr bwMode="auto">
            <a:xfrm>
              <a:off x="2437122" y="5974991"/>
              <a:ext cx="422222" cy="419738"/>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grp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22" name="Group 121">
            <a:extLst>
              <a:ext uri="{FF2B5EF4-FFF2-40B4-BE49-F238E27FC236}">
                <a16:creationId xmlns:a16="http://schemas.microsoft.com/office/drawing/2014/main" id="{16487602-EFB6-4A7A-8E5D-99E2D298E9BB}"/>
              </a:ext>
            </a:extLst>
          </p:cNvPr>
          <p:cNvGrpSpPr/>
          <p:nvPr/>
        </p:nvGrpSpPr>
        <p:grpSpPr>
          <a:xfrm>
            <a:off x="4277792" y="4784210"/>
            <a:ext cx="523325" cy="523325"/>
            <a:chOff x="3216946" y="5907019"/>
            <a:chExt cx="612000" cy="612000"/>
          </a:xfrm>
          <a:solidFill>
            <a:srgbClr val="505050"/>
          </a:solidFill>
        </p:grpSpPr>
        <p:sp>
          <p:nvSpPr>
            <p:cNvPr id="123" name="Oval 122">
              <a:extLst>
                <a:ext uri="{FF2B5EF4-FFF2-40B4-BE49-F238E27FC236}">
                  <a16:creationId xmlns:a16="http://schemas.microsoft.com/office/drawing/2014/main" id="{B24F4219-7573-41EF-A4E7-B5CD24DA342A}"/>
                </a:ext>
              </a:extLst>
            </p:cNvPr>
            <p:cNvSpPr/>
            <p:nvPr/>
          </p:nvSpPr>
          <p:spPr bwMode="ltGray">
            <a:xfrm>
              <a:off x="3216946"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24" name="Freeform 4839">
              <a:extLst>
                <a:ext uri="{FF2B5EF4-FFF2-40B4-BE49-F238E27FC236}">
                  <a16:creationId xmlns:a16="http://schemas.microsoft.com/office/drawing/2014/main" id="{CFFB33CB-0657-42C5-871C-8A2775CA11B1}"/>
                </a:ext>
              </a:extLst>
            </p:cNvPr>
            <p:cNvSpPr>
              <a:spLocks noEditPoints="1"/>
            </p:cNvSpPr>
            <p:nvPr/>
          </p:nvSpPr>
          <p:spPr bwMode="auto">
            <a:xfrm>
              <a:off x="3361509" y="5987410"/>
              <a:ext cx="322875" cy="437124"/>
            </a:xfrm>
            <a:custGeom>
              <a:avLst/>
              <a:gdLst>
                <a:gd name="T0" fmla="*/ 166 w 260"/>
                <a:gd name="T1" fmla="*/ 342 h 352"/>
                <a:gd name="T2" fmla="*/ 162 w 260"/>
                <a:gd name="T3" fmla="*/ 350 h 352"/>
                <a:gd name="T4" fmla="*/ 154 w 260"/>
                <a:gd name="T5" fmla="*/ 352 h 352"/>
                <a:gd name="T6" fmla="*/ 2 w 260"/>
                <a:gd name="T7" fmla="*/ 302 h 352"/>
                <a:gd name="T8" fmla="*/ 0 w 260"/>
                <a:gd name="T9" fmla="*/ 88 h 352"/>
                <a:gd name="T10" fmla="*/ 4 w 260"/>
                <a:gd name="T11" fmla="*/ 80 h 352"/>
                <a:gd name="T12" fmla="*/ 158 w 260"/>
                <a:gd name="T13" fmla="*/ 124 h 352"/>
                <a:gd name="T14" fmla="*/ 166 w 260"/>
                <a:gd name="T15" fmla="*/ 134 h 352"/>
                <a:gd name="T16" fmla="*/ 62 w 260"/>
                <a:gd name="T17" fmla="*/ 70 h 352"/>
                <a:gd name="T18" fmla="*/ 70 w 260"/>
                <a:gd name="T19" fmla="*/ 46 h 352"/>
                <a:gd name="T20" fmla="*/ 88 w 260"/>
                <a:gd name="T21" fmla="*/ 34 h 352"/>
                <a:gd name="T22" fmla="*/ 106 w 260"/>
                <a:gd name="T23" fmla="*/ 42 h 352"/>
                <a:gd name="T24" fmla="*/ 120 w 260"/>
                <a:gd name="T25" fmla="*/ 80 h 352"/>
                <a:gd name="T26" fmla="*/ 142 w 260"/>
                <a:gd name="T27" fmla="*/ 100 h 352"/>
                <a:gd name="T28" fmla="*/ 140 w 260"/>
                <a:gd name="T29" fmla="*/ 82 h 352"/>
                <a:gd name="T30" fmla="*/ 128 w 260"/>
                <a:gd name="T31" fmla="*/ 40 h 352"/>
                <a:gd name="T32" fmla="*/ 106 w 260"/>
                <a:gd name="T33" fmla="*/ 18 h 352"/>
                <a:gd name="T34" fmla="*/ 88 w 260"/>
                <a:gd name="T35" fmla="*/ 16 h 352"/>
                <a:gd name="T36" fmla="*/ 60 w 260"/>
                <a:gd name="T37" fmla="*/ 28 h 352"/>
                <a:gd name="T38" fmla="*/ 46 w 260"/>
                <a:gd name="T39" fmla="*/ 52 h 352"/>
                <a:gd name="T40" fmla="*/ 60 w 260"/>
                <a:gd name="T41" fmla="*/ 74 h 352"/>
                <a:gd name="T42" fmla="*/ 256 w 260"/>
                <a:gd name="T43" fmla="*/ 110 h 352"/>
                <a:gd name="T44" fmla="*/ 248 w 260"/>
                <a:gd name="T45" fmla="*/ 108 h 352"/>
                <a:gd name="T46" fmla="*/ 182 w 260"/>
                <a:gd name="T47" fmla="*/ 128 h 352"/>
                <a:gd name="T48" fmla="*/ 180 w 260"/>
                <a:gd name="T49" fmla="*/ 342 h 352"/>
                <a:gd name="T50" fmla="*/ 184 w 260"/>
                <a:gd name="T51" fmla="*/ 350 h 352"/>
                <a:gd name="T52" fmla="*/ 194 w 260"/>
                <a:gd name="T53" fmla="*/ 350 h 352"/>
                <a:gd name="T54" fmla="*/ 248 w 260"/>
                <a:gd name="T55" fmla="*/ 336 h 352"/>
                <a:gd name="T56" fmla="*/ 256 w 260"/>
                <a:gd name="T57" fmla="*/ 334 h 352"/>
                <a:gd name="T58" fmla="*/ 260 w 260"/>
                <a:gd name="T59" fmla="*/ 118 h 352"/>
                <a:gd name="T60" fmla="*/ 256 w 260"/>
                <a:gd name="T61" fmla="*/ 110 h 352"/>
                <a:gd name="T62" fmla="*/ 214 w 260"/>
                <a:gd name="T63" fmla="*/ 84 h 352"/>
                <a:gd name="T64" fmla="*/ 214 w 260"/>
                <a:gd name="T65" fmla="*/ 68 h 352"/>
                <a:gd name="T66" fmla="*/ 200 w 260"/>
                <a:gd name="T67" fmla="*/ 26 h 352"/>
                <a:gd name="T68" fmla="*/ 178 w 260"/>
                <a:gd name="T69" fmla="*/ 4 h 352"/>
                <a:gd name="T70" fmla="*/ 162 w 260"/>
                <a:gd name="T71" fmla="*/ 0 h 352"/>
                <a:gd name="T72" fmla="*/ 134 w 260"/>
                <a:gd name="T73" fmla="*/ 12 h 352"/>
                <a:gd name="T74" fmla="*/ 136 w 260"/>
                <a:gd name="T75" fmla="*/ 26 h 352"/>
                <a:gd name="T76" fmla="*/ 144 w 260"/>
                <a:gd name="T77" fmla="*/ 28 h 352"/>
                <a:gd name="T78" fmla="*/ 162 w 260"/>
                <a:gd name="T79" fmla="*/ 20 h 352"/>
                <a:gd name="T80" fmla="*/ 178 w 260"/>
                <a:gd name="T81" fmla="*/ 26 h 352"/>
                <a:gd name="T82" fmla="*/ 194 w 260"/>
                <a:gd name="T83" fmla="*/ 62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0" h="352">
                  <a:moveTo>
                    <a:pt x="166" y="134"/>
                  </a:moveTo>
                  <a:lnTo>
                    <a:pt x="166" y="342"/>
                  </a:lnTo>
                  <a:lnTo>
                    <a:pt x="166" y="342"/>
                  </a:lnTo>
                  <a:lnTo>
                    <a:pt x="164" y="346"/>
                  </a:lnTo>
                  <a:lnTo>
                    <a:pt x="162" y="350"/>
                  </a:lnTo>
                  <a:lnTo>
                    <a:pt x="162" y="350"/>
                  </a:lnTo>
                  <a:lnTo>
                    <a:pt x="156" y="352"/>
                  </a:lnTo>
                  <a:lnTo>
                    <a:pt x="156" y="352"/>
                  </a:lnTo>
                  <a:lnTo>
                    <a:pt x="154" y="352"/>
                  </a:lnTo>
                  <a:lnTo>
                    <a:pt x="8" y="306"/>
                  </a:lnTo>
                  <a:lnTo>
                    <a:pt x="8" y="306"/>
                  </a:lnTo>
                  <a:lnTo>
                    <a:pt x="2" y="302"/>
                  </a:lnTo>
                  <a:lnTo>
                    <a:pt x="0" y="296"/>
                  </a:lnTo>
                  <a:lnTo>
                    <a:pt x="0" y="88"/>
                  </a:lnTo>
                  <a:lnTo>
                    <a:pt x="0" y="88"/>
                  </a:lnTo>
                  <a:lnTo>
                    <a:pt x="2" y="84"/>
                  </a:lnTo>
                  <a:lnTo>
                    <a:pt x="4" y="80"/>
                  </a:lnTo>
                  <a:lnTo>
                    <a:pt x="4" y="80"/>
                  </a:lnTo>
                  <a:lnTo>
                    <a:pt x="8" y="78"/>
                  </a:lnTo>
                  <a:lnTo>
                    <a:pt x="14" y="78"/>
                  </a:lnTo>
                  <a:lnTo>
                    <a:pt x="158" y="124"/>
                  </a:lnTo>
                  <a:lnTo>
                    <a:pt x="158" y="124"/>
                  </a:lnTo>
                  <a:lnTo>
                    <a:pt x="164" y="128"/>
                  </a:lnTo>
                  <a:lnTo>
                    <a:pt x="166" y="134"/>
                  </a:lnTo>
                  <a:lnTo>
                    <a:pt x="166" y="134"/>
                  </a:lnTo>
                  <a:close/>
                  <a:moveTo>
                    <a:pt x="62" y="70"/>
                  </a:moveTo>
                  <a:lnTo>
                    <a:pt x="62" y="70"/>
                  </a:lnTo>
                  <a:lnTo>
                    <a:pt x="64" y="64"/>
                  </a:lnTo>
                  <a:lnTo>
                    <a:pt x="66" y="52"/>
                  </a:lnTo>
                  <a:lnTo>
                    <a:pt x="70" y="46"/>
                  </a:lnTo>
                  <a:lnTo>
                    <a:pt x="74" y="40"/>
                  </a:lnTo>
                  <a:lnTo>
                    <a:pt x="80" y="36"/>
                  </a:lnTo>
                  <a:lnTo>
                    <a:pt x="88" y="34"/>
                  </a:lnTo>
                  <a:lnTo>
                    <a:pt x="88" y="34"/>
                  </a:lnTo>
                  <a:lnTo>
                    <a:pt x="98" y="36"/>
                  </a:lnTo>
                  <a:lnTo>
                    <a:pt x="106" y="42"/>
                  </a:lnTo>
                  <a:lnTo>
                    <a:pt x="112" y="50"/>
                  </a:lnTo>
                  <a:lnTo>
                    <a:pt x="116" y="60"/>
                  </a:lnTo>
                  <a:lnTo>
                    <a:pt x="120" y="80"/>
                  </a:lnTo>
                  <a:lnTo>
                    <a:pt x="122" y="94"/>
                  </a:lnTo>
                  <a:lnTo>
                    <a:pt x="142" y="100"/>
                  </a:lnTo>
                  <a:lnTo>
                    <a:pt x="142" y="100"/>
                  </a:lnTo>
                  <a:lnTo>
                    <a:pt x="142" y="96"/>
                  </a:lnTo>
                  <a:lnTo>
                    <a:pt x="142" y="96"/>
                  </a:lnTo>
                  <a:lnTo>
                    <a:pt x="140" y="82"/>
                  </a:lnTo>
                  <a:lnTo>
                    <a:pt x="138" y="70"/>
                  </a:lnTo>
                  <a:lnTo>
                    <a:pt x="134" y="54"/>
                  </a:lnTo>
                  <a:lnTo>
                    <a:pt x="128" y="40"/>
                  </a:lnTo>
                  <a:lnTo>
                    <a:pt x="118" y="28"/>
                  </a:lnTo>
                  <a:lnTo>
                    <a:pt x="112" y="22"/>
                  </a:lnTo>
                  <a:lnTo>
                    <a:pt x="106" y="18"/>
                  </a:lnTo>
                  <a:lnTo>
                    <a:pt x="98" y="16"/>
                  </a:lnTo>
                  <a:lnTo>
                    <a:pt x="88" y="16"/>
                  </a:lnTo>
                  <a:lnTo>
                    <a:pt x="88" y="16"/>
                  </a:lnTo>
                  <a:lnTo>
                    <a:pt x="78" y="16"/>
                  </a:lnTo>
                  <a:lnTo>
                    <a:pt x="68" y="20"/>
                  </a:lnTo>
                  <a:lnTo>
                    <a:pt x="60" y="28"/>
                  </a:lnTo>
                  <a:lnTo>
                    <a:pt x="54" y="34"/>
                  </a:lnTo>
                  <a:lnTo>
                    <a:pt x="50" y="44"/>
                  </a:lnTo>
                  <a:lnTo>
                    <a:pt x="46" y="52"/>
                  </a:lnTo>
                  <a:lnTo>
                    <a:pt x="44" y="68"/>
                  </a:lnTo>
                  <a:lnTo>
                    <a:pt x="60" y="74"/>
                  </a:lnTo>
                  <a:lnTo>
                    <a:pt x="60" y="74"/>
                  </a:lnTo>
                  <a:lnTo>
                    <a:pt x="62" y="70"/>
                  </a:lnTo>
                  <a:lnTo>
                    <a:pt x="62" y="70"/>
                  </a:lnTo>
                  <a:close/>
                  <a:moveTo>
                    <a:pt x="256" y="110"/>
                  </a:moveTo>
                  <a:lnTo>
                    <a:pt x="256" y="110"/>
                  </a:lnTo>
                  <a:lnTo>
                    <a:pt x="252" y="108"/>
                  </a:lnTo>
                  <a:lnTo>
                    <a:pt x="248" y="108"/>
                  </a:lnTo>
                  <a:lnTo>
                    <a:pt x="186" y="124"/>
                  </a:lnTo>
                  <a:lnTo>
                    <a:pt x="186" y="124"/>
                  </a:lnTo>
                  <a:lnTo>
                    <a:pt x="182" y="128"/>
                  </a:lnTo>
                  <a:lnTo>
                    <a:pt x="180" y="134"/>
                  </a:lnTo>
                  <a:lnTo>
                    <a:pt x="180" y="342"/>
                  </a:lnTo>
                  <a:lnTo>
                    <a:pt x="180" y="342"/>
                  </a:lnTo>
                  <a:lnTo>
                    <a:pt x="180" y="346"/>
                  </a:lnTo>
                  <a:lnTo>
                    <a:pt x="184" y="350"/>
                  </a:lnTo>
                  <a:lnTo>
                    <a:pt x="184" y="350"/>
                  </a:lnTo>
                  <a:lnTo>
                    <a:pt x="188" y="352"/>
                  </a:lnTo>
                  <a:lnTo>
                    <a:pt x="188" y="352"/>
                  </a:lnTo>
                  <a:lnTo>
                    <a:pt x="194" y="350"/>
                  </a:lnTo>
                  <a:lnTo>
                    <a:pt x="226" y="330"/>
                  </a:lnTo>
                  <a:lnTo>
                    <a:pt x="248" y="336"/>
                  </a:lnTo>
                  <a:lnTo>
                    <a:pt x="248" y="336"/>
                  </a:lnTo>
                  <a:lnTo>
                    <a:pt x="252" y="336"/>
                  </a:lnTo>
                  <a:lnTo>
                    <a:pt x="256" y="334"/>
                  </a:lnTo>
                  <a:lnTo>
                    <a:pt x="256" y="334"/>
                  </a:lnTo>
                  <a:lnTo>
                    <a:pt x="258" y="330"/>
                  </a:lnTo>
                  <a:lnTo>
                    <a:pt x="260" y="326"/>
                  </a:lnTo>
                  <a:lnTo>
                    <a:pt x="260" y="118"/>
                  </a:lnTo>
                  <a:lnTo>
                    <a:pt x="260" y="118"/>
                  </a:lnTo>
                  <a:lnTo>
                    <a:pt x="258" y="114"/>
                  </a:lnTo>
                  <a:lnTo>
                    <a:pt x="256" y="110"/>
                  </a:lnTo>
                  <a:lnTo>
                    <a:pt x="256" y="110"/>
                  </a:lnTo>
                  <a:close/>
                  <a:moveTo>
                    <a:pt x="214" y="84"/>
                  </a:moveTo>
                  <a:lnTo>
                    <a:pt x="214" y="84"/>
                  </a:lnTo>
                  <a:lnTo>
                    <a:pt x="216" y="82"/>
                  </a:lnTo>
                  <a:lnTo>
                    <a:pt x="216" y="82"/>
                  </a:lnTo>
                  <a:lnTo>
                    <a:pt x="214" y="68"/>
                  </a:lnTo>
                  <a:lnTo>
                    <a:pt x="212" y="54"/>
                  </a:lnTo>
                  <a:lnTo>
                    <a:pt x="208" y="40"/>
                  </a:lnTo>
                  <a:lnTo>
                    <a:pt x="200" y="26"/>
                  </a:lnTo>
                  <a:lnTo>
                    <a:pt x="192" y="12"/>
                  </a:lnTo>
                  <a:lnTo>
                    <a:pt x="186" y="8"/>
                  </a:lnTo>
                  <a:lnTo>
                    <a:pt x="178" y="4"/>
                  </a:lnTo>
                  <a:lnTo>
                    <a:pt x="170" y="2"/>
                  </a:lnTo>
                  <a:lnTo>
                    <a:pt x="162" y="0"/>
                  </a:lnTo>
                  <a:lnTo>
                    <a:pt x="162" y="0"/>
                  </a:lnTo>
                  <a:lnTo>
                    <a:pt x="150" y="2"/>
                  </a:lnTo>
                  <a:lnTo>
                    <a:pt x="142" y="6"/>
                  </a:lnTo>
                  <a:lnTo>
                    <a:pt x="134" y="12"/>
                  </a:lnTo>
                  <a:lnTo>
                    <a:pt x="128" y="18"/>
                  </a:lnTo>
                  <a:lnTo>
                    <a:pt x="128" y="18"/>
                  </a:lnTo>
                  <a:lnTo>
                    <a:pt x="136" y="26"/>
                  </a:lnTo>
                  <a:lnTo>
                    <a:pt x="142" y="34"/>
                  </a:lnTo>
                  <a:lnTo>
                    <a:pt x="142" y="34"/>
                  </a:lnTo>
                  <a:lnTo>
                    <a:pt x="144" y="28"/>
                  </a:lnTo>
                  <a:lnTo>
                    <a:pt x="150" y="24"/>
                  </a:lnTo>
                  <a:lnTo>
                    <a:pt x="154" y="22"/>
                  </a:lnTo>
                  <a:lnTo>
                    <a:pt x="162" y="20"/>
                  </a:lnTo>
                  <a:lnTo>
                    <a:pt x="162" y="20"/>
                  </a:lnTo>
                  <a:lnTo>
                    <a:pt x="170" y="22"/>
                  </a:lnTo>
                  <a:lnTo>
                    <a:pt x="178" y="26"/>
                  </a:lnTo>
                  <a:lnTo>
                    <a:pt x="184" y="34"/>
                  </a:lnTo>
                  <a:lnTo>
                    <a:pt x="188" y="44"/>
                  </a:lnTo>
                  <a:lnTo>
                    <a:pt x="194" y="62"/>
                  </a:lnTo>
                  <a:lnTo>
                    <a:pt x="196" y="78"/>
                  </a:lnTo>
                  <a:lnTo>
                    <a:pt x="214" y="84"/>
                  </a:lnTo>
                  <a:close/>
                </a:path>
              </a:pathLst>
            </a:custGeom>
            <a:grp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25" name="Group 124">
            <a:extLst>
              <a:ext uri="{FF2B5EF4-FFF2-40B4-BE49-F238E27FC236}">
                <a16:creationId xmlns:a16="http://schemas.microsoft.com/office/drawing/2014/main" id="{C98DC9C1-0ECD-423E-BE03-25A345E26108}"/>
              </a:ext>
            </a:extLst>
          </p:cNvPr>
          <p:cNvGrpSpPr/>
          <p:nvPr/>
        </p:nvGrpSpPr>
        <p:grpSpPr>
          <a:xfrm>
            <a:off x="5025765" y="4784210"/>
            <a:ext cx="523325" cy="523325"/>
            <a:chOff x="4091659" y="5907019"/>
            <a:chExt cx="612000" cy="612000"/>
          </a:xfrm>
          <a:solidFill>
            <a:srgbClr val="505050"/>
          </a:solidFill>
        </p:grpSpPr>
        <p:sp>
          <p:nvSpPr>
            <p:cNvPr id="126" name="Oval 125">
              <a:extLst>
                <a:ext uri="{FF2B5EF4-FFF2-40B4-BE49-F238E27FC236}">
                  <a16:creationId xmlns:a16="http://schemas.microsoft.com/office/drawing/2014/main" id="{3681BC53-2318-496B-ADDC-A86271593836}"/>
                </a:ext>
              </a:extLst>
            </p:cNvPr>
            <p:cNvSpPr/>
            <p:nvPr/>
          </p:nvSpPr>
          <p:spPr bwMode="ltGray">
            <a:xfrm>
              <a:off x="4091659"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27" name="Freeform 4840">
              <a:extLst>
                <a:ext uri="{FF2B5EF4-FFF2-40B4-BE49-F238E27FC236}">
                  <a16:creationId xmlns:a16="http://schemas.microsoft.com/office/drawing/2014/main" id="{AEF613E9-2DB8-4C87-A60C-5FDC0BA995B2}"/>
                </a:ext>
              </a:extLst>
            </p:cNvPr>
            <p:cNvSpPr>
              <a:spLocks noEditPoints="1"/>
            </p:cNvSpPr>
            <p:nvPr/>
          </p:nvSpPr>
          <p:spPr bwMode="auto">
            <a:xfrm>
              <a:off x="4242899" y="5995064"/>
              <a:ext cx="357646" cy="452026"/>
            </a:xfrm>
            <a:custGeom>
              <a:avLst/>
              <a:gdLst>
                <a:gd name="T0" fmla="*/ 120 w 288"/>
                <a:gd name="T1" fmla="*/ 84 h 364"/>
                <a:gd name="T2" fmla="*/ 96 w 288"/>
                <a:gd name="T3" fmla="*/ 74 h 364"/>
                <a:gd name="T4" fmla="*/ 106 w 288"/>
                <a:gd name="T5" fmla="*/ 52 h 364"/>
                <a:gd name="T6" fmla="*/ 130 w 288"/>
                <a:gd name="T7" fmla="*/ 62 h 364"/>
                <a:gd name="T8" fmla="*/ 74 w 288"/>
                <a:gd name="T9" fmla="*/ 52 h 364"/>
                <a:gd name="T10" fmla="*/ 50 w 288"/>
                <a:gd name="T11" fmla="*/ 58 h 364"/>
                <a:gd name="T12" fmla="*/ 54 w 288"/>
                <a:gd name="T13" fmla="*/ 82 h 364"/>
                <a:gd name="T14" fmla="*/ 80 w 288"/>
                <a:gd name="T15" fmla="*/ 78 h 364"/>
                <a:gd name="T16" fmla="*/ 148 w 288"/>
                <a:gd name="T17" fmla="*/ 54 h 364"/>
                <a:gd name="T18" fmla="*/ 148 w 288"/>
                <a:gd name="T19" fmla="*/ 80 h 364"/>
                <a:gd name="T20" fmla="*/ 174 w 288"/>
                <a:gd name="T21" fmla="*/ 80 h 364"/>
                <a:gd name="T22" fmla="*/ 174 w 288"/>
                <a:gd name="T23" fmla="*/ 54 h 364"/>
                <a:gd name="T24" fmla="*/ 128 w 288"/>
                <a:gd name="T25" fmla="*/ 106 h 364"/>
                <a:gd name="T26" fmla="*/ 102 w 288"/>
                <a:gd name="T27" fmla="*/ 100 h 364"/>
                <a:gd name="T28" fmla="*/ 98 w 288"/>
                <a:gd name="T29" fmla="*/ 126 h 364"/>
                <a:gd name="T30" fmla="*/ 122 w 288"/>
                <a:gd name="T31" fmla="*/ 130 h 364"/>
                <a:gd name="T32" fmla="*/ 82 w 288"/>
                <a:gd name="T33" fmla="*/ 110 h 364"/>
                <a:gd name="T34" fmla="*/ 58 w 288"/>
                <a:gd name="T35" fmla="*/ 100 h 364"/>
                <a:gd name="T36" fmla="*/ 48 w 288"/>
                <a:gd name="T37" fmla="*/ 122 h 364"/>
                <a:gd name="T38" fmla="*/ 72 w 288"/>
                <a:gd name="T39" fmla="*/ 132 h 364"/>
                <a:gd name="T40" fmla="*/ 120 w 288"/>
                <a:gd name="T41" fmla="*/ 148 h 364"/>
                <a:gd name="T42" fmla="*/ 96 w 288"/>
                <a:gd name="T43" fmla="*/ 158 h 364"/>
                <a:gd name="T44" fmla="*/ 106 w 288"/>
                <a:gd name="T45" fmla="*/ 180 h 364"/>
                <a:gd name="T46" fmla="*/ 130 w 288"/>
                <a:gd name="T47" fmla="*/ 170 h 364"/>
                <a:gd name="T48" fmla="*/ 120 w 288"/>
                <a:gd name="T49" fmla="*/ 148 h 364"/>
                <a:gd name="T50" fmla="*/ 52 w 288"/>
                <a:gd name="T51" fmla="*/ 150 h 364"/>
                <a:gd name="T52" fmla="*/ 52 w 288"/>
                <a:gd name="T53" fmla="*/ 176 h 364"/>
                <a:gd name="T54" fmla="*/ 78 w 288"/>
                <a:gd name="T55" fmla="*/ 176 h 364"/>
                <a:gd name="T56" fmla="*/ 78 w 288"/>
                <a:gd name="T57" fmla="*/ 150 h 364"/>
                <a:gd name="T58" fmla="*/ 216 w 288"/>
                <a:gd name="T59" fmla="*/ 348 h 364"/>
                <a:gd name="T60" fmla="*/ 40 w 288"/>
                <a:gd name="T61" fmla="*/ 364 h 364"/>
                <a:gd name="T62" fmla="*/ 8 w 288"/>
                <a:gd name="T63" fmla="*/ 346 h 364"/>
                <a:gd name="T64" fmla="*/ 2 w 288"/>
                <a:gd name="T65" fmla="*/ 32 h 364"/>
                <a:gd name="T66" fmla="*/ 32 w 288"/>
                <a:gd name="T67" fmla="*/ 0 h 364"/>
                <a:gd name="T68" fmla="*/ 208 w 288"/>
                <a:gd name="T69" fmla="*/ 6 h 364"/>
                <a:gd name="T70" fmla="*/ 224 w 288"/>
                <a:gd name="T71" fmla="*/ 158 h 364"/>
                <a:gd name="T72" fmla="*/ 206 w 288"/>
                <a:gd name="T73" fmla="*/ 148 h 364"/>
                <a:gd name="T74" fmla="*/ 194 w 288"/>
                <a:gd name="T75" fmla="*/ 36 h 364"/>
                <a:gd name="T76" fmla="*/ 36 w 288"/>
                <a:gd name="T77" fmla="*/ 30 h 364"/>
                <a:gd name="T78" fmla="*/ 32 w 288"/>
                <a:gd name="T79" fmla="*/ 274 h 364"/>
                <a:gd name="T80" fmla="*/ 156 w 288"/>
                <a:gd name="T81" fmla="*/ 324 h 364"/>
                <a:gd name="T82" fmla="*/ 216 w 288"/>
                <a:gd name="T83" fmla="*/ 348 h 364"/>
                <a:gd name="T84" fmla="*/ 120 w 288"/>
                <a:gd name="T85" fmla="*/ 304 h 364"/>
                <a:gd name="T86" fmla="*/ 92 w 288"/>
                <a:gd name="T87" fmla="*/ 324 h 364"/>
                <a:gd name="T88" fmla="*/ 112 w 288"/>
                <a:gd name="T89" fmla="*/ 342 h 364"/>
                <a:gd name="T90" fmla="*/ 288 w 288"/>
                <a:gd name="T91" fmla="*/ 256 h 364"/>
                <a:gd name="T92" fmla="*/ 282 w 288"/>
                <a:gd name="T93" fmla="*/ 188 h 364"/>
                <a:gd name="T94" fmla="*/ 254 w 288"/>
                <a:gd name="T95" fmla="*/ 190 h 364"/>
                <a:gd name="T96" fmla="*/ 242 w 288"/>
                <a:gd name="T97" fmla="*/ 174 h 364"/>
                <a:gd name="T98" fmla="*/ 216 w 288"/>
                <a:gd name="T99" fmla="*/ 186 h 364"/>
                <a:gd name="T100" fmla="*/ 198 w 288"/>
                <a:gd name="T101" fmla="*/ 164 h 364"/>
                <a:gd name="T102" fmla="*/ 180 w 288"/>
                <a:gd name="T103" fmla="*/ 118 h 364"/>
                <a:gd name="T104" fmla="*/ 162 w 288"/>
                <a:gd name="T105" fmla="*/ 100 h 364"/>
                <a:gd name="T106" fmla="*/ 118 w 288"/>
                <a:gd name="T107" fmla="*/ 212 h 364"/>
                <a:gd name="T108" fmla="*/ 92 w 288"/>
                <a:gd name="T109" fmla="*/ 212 h 364"/>
                <a:gd name="T110" fmla="*/ 166 w 288"/>
                <a:gd name="T111" fmla="*/ 312 h 364"/>
                <a:gd name="T112" fmla="*/ 216 w 288"/>
                <a:gd name="T113" fmla="*/ 332 h 364"/>
                <a:gd name="T114" fmla="*/ 276 w 288"/>
                <a:gd name="T115" fmla="*/ 300 h 364"/>
                <a:gd name="T116" fmla="*/ 288 w 288"/>
                <a:gd name="T117" fmla="*/ 256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8" h="364">
                  <a:moveTo>
                    <a:pt x="130" y="74"/>
                  </a:moveTo>
                  <a:lnTo>
                    <a:pt x="130" y="74"/>
                  </a:lnTo>
                  <a:lnTo>
                    <a:pt x="128" y="78"/>
                  </a:lnTo>
                  <a:lnTo>
                    <a:pt x="126" y="80"/>
                  </a:lnTo>
                  <a:lnTo>
                    <a:pt x="122" y="82"/>
                  </a:lnTo>
                  <a:lnTo>
                    <a:pt x="120" y="84"/>
                  </a:lnTo>
                  <a:lnTo>
                    <a:pt x="106" y="84"/>
                  </a:lnTo>
                  <a:lnTo>
                    <a:pt x="106" y="84"/>
                  </a:lnTo>
                  <a:lnTo>
                    <a:pt x="102" y="82"/>
                  </a:lnTo>
                  <a:lnTo>
                    <a:pt x="100" y="80"/>
                  </a:lnTo>
                  <a:lnTo>
                    <a:pt x="98" y="78"/>
                  </a:lnTo>
                  <a:lnTo>
                    <a:pt x="96" y="74"/>
                  </a:lnTo>
                  <a:lnTo>
                    <a:pt x="96" y="62"/>
                  </a:lnTo>
                  <a:lnTo>
                    <a:pt x="96" y="62"/>
                  </a:lnTo>
                  <a:lnTo>
                    <a:pt x="98" y="58"/>
                  </a:lnTo>
                  <a:lnTo>
                    <a:pt x="100" y="54"/>
                  </a:lnTo>
                  <a:lnTo>
                    <a:pt x="102" y="52"/>
                  </a:lnTo>
                  <a:lnTo>
                    <a:pt x="106" y="52"/>
                  </a:lnTo>
                  <a:lnTo>
                    <a:pt x="120" y="52"/>
                  </a:lnTo>
                  <a:lnTo>
                    <a:pt x="120" y="52"/>
                  </a:lnTo>
                  <a:lnTo>
                    <a:pt x="122" y="52"/>
                  </a:lnTo>
                  <a:lnTo>
                    <a:pt x="126" y="54"/>
                  </a:lnTo>
                  <a:lnTo>
                    <a:pt x="128" y="58"/>
                  </a:lnTo>
                  <a:lnTo>
                    <a:pt x="130" y="62"/>
                  </a:lnTo>
                  <a:lnTo>
                    <a:pt x="130" y="74"/>
                  </a:lnTo>
                  <a:close/>
                  <a:moveTo>
                    <a:pt x="82" y="62"/>
                  </a:moveTo>
                  <a:lnTo>
                    <a:pt x="82" y="62"/>
                  </a:lnTo>
                  <a:lnTo>
                    <a:pt x="80" y="58"/>
                  </a:lnTo>
                  <a:lnTo>
                    <a:pt x="78" y="54"/>
                  </a:lnTo>
                  <a:lnTo>
                    <a:pt x="74" y="52"/>
                  </a:lnTo>
                  <a:lnTo>
                    <a:pt x="72" y="52"/>
                  </a:lnTo>
                  <a:lnTo>
                    <a:pt x="58" y="52"/>
                  </a:lnTo>
                  <a:lnTo>
                    <a:pt x="58" y="52"/>
                  </a:lnTo>
                  <a:lnTo>
                    <a:pt x="54" y="52"/>
                  </a:lnTo>
                  <a:lnTo>
                    <a:pt x="52" y="54"/>
                  </a:lnTo>
                  <a:lnTo>
                    <a:pt x="50" y="58"/>
                  </a:lnTo>
                  <a:lnTo>
                    <a:pt x="48" y="62"/>
                  </a:lnTo>
                  <a:lnTo>
                    <a:pt x="48" y="74"/>
                  </a:lnTo>
                  <a:lnTo>
                    <a:pt x="48" y="74"/>
                  </a:lnTo>
                  <a:lnTo>
                    <a:pt x="50" y="78"/>
                  </a:lnTo>
                  <a:lnTo>
                    <a:pt x="52" y="80"/>
                  </a:lnTo>
                  <a:lnTo>
                    <a:pt x="54" y="82"/>
                  </a:lnTo>
                  <a:lnTo>
                    <a:pt x="58" y="84"/>
                  </a:lnTo>
                  <a:lnTo>
                    <a:pt x="72" y="84"/>
                  </a:lnTo>
                  <a:lnTo>
                    <a:pt x="72" y="84"/>
                  </a:lnTo>
                  <a:lnTo>
                    <a:pt x="74" y="82"/>
                  </a:lnTo>
                  <a:lnTo>
                    <a:pt x="78" y="80"/>
                  </a:lnTo>
                  <a:lnTo>
                    <a:pt x="80" y="78"/>
                  </a:lnTo>
                  <a:lnTo>
                    <a:pt x="82" y="74"/>
                  </a:lnTo>
                  <a:lnTo>
                    <a:pt x="82" y="62"/>
                  </a:lnTo>
                  <a:close/>
                  <a:moveTo>
                    <a:pt x="154" y="52"/>
                  </a:moveTo>
                  <a:lnTo>
                    <a:pt x="154" y="52"/>
                  </a:lnTo>
                  <a:lnTo>
                    <a:pt x="150" y="52"/>
                  </a:lnTo>
                  <a:lnTo>
                    <a:pt x="148" y="54"/>
                  </a:lnTo>
                  <a:lnTo>
                    <a:pt x="146" y="58"/>
                  </a:lnTo>
                  <a:lnTo>
                    <a:pt x="144" y="62"/>
                  </a:lnTo>
                  <a:lnTo>
                    <a:pt x="144" y="74"/>
                  </a:lnTo>
                  <a:lnTo>
                    <a:pt x="144" y="74"/>
                  </a:lnTo>
                  <a:lnTo>
                    <a:pt x="146" y="78"/>
                  </a:lnTo>
                  <a:lnTo>
                    <a:pt x="148" y="80"/>
                  </a:lnTo>
                  <a:lnTo>
                    <a:pt x="150" y="82"/>
                  </a:lnTo>
                  <a:lnTo>
                    <a:pt x="154" y="84"/>
                  </a:lnTo>
                  <a:lnTo>
                    <a:pt x="168" y="84"/>
                  </a:lnTo>
                  <a:lnTo>
                    <a:pt x="168" y="84"/>
                  </a:lnTo>
                  <a:lnTo>
                    <a:pt x="170" y="82"/>
                  </a:lnTo>
                  <a:lnTo>
                    <a:pt x="174" y="80"/>
                  </a:lnTo>
                  <a:lnTo>
                    <a:pt x="176" y="78"/>
                  </a:lnTo>
                  <a:lnTo>
                    <a:pt x="178" y="74"/>
                  </a:lnTo>
                  <a:lnTo>
                    <a:pt x="178" y="62"/>
                  </a:lnTo>
                  <a:lnTo>
                    <a:pt x="178" y="62"/>
                  </a:lnTo>
                  <a:lnTo>
                    <a:pt x="176" y="58"/>
                  </a:lnTo>
                  <a:lnTo>
                    <a:pt x="174" y="54"/>
                  </a:lnTo>
                  <a:lnTo>
                    <a:pt x="170" y="52"/>
                  </a:lnTo>
                  <a:lnTo>
                    <a:pt x="168" y="52"/>
                  </a:lnTo>
                  <a:lnTo>
                    <a:pt x="154" y="52"/>
                  </a:lnTo>
                  <a:close/>
                  <a:moveTo>
                    <a:pt x="130" y="110"/>
                  </a:moveTo>
                  <a:lnTo>
                    <a:pt x="130" y="110"/>
                  </a:lnTo>
                  <a:lnTo>
                    <a:pt x="128" y="106"/>
                  </a:lnTo>
                  <a:lnTo>
                    <a:pt x="126" y="102"/>
                  </a:lnTo>
                  <a:lnTo>
                    <a:pt x="122" y="100"/>
                  </a:lnTo>
                  <a:lnTo>
                    <a:pt x="120" y="100"/>
                  </a:lnTo>
                  <a:lnTo>
                    <a:pt x="106" y="100"/>
                  </a:lnTo>
                  <a:lnTo>
                    <a:pt x="106" y="100"/>
                  </a:lnTo>
                  <a:lnTo>
                    <a:pt x="102" y="100"/>
                  </a:lnTo>
                  <a:lnTo>
                    <a:pt x="100" y="102"/>
                  </a:lnTo>
                  <a:lnTo>
                    <a:pt x="98" y="106"/>
                  </a:lnTo>
                  <a:lnTo>
                    <a:pt x="96" y="110"/>
                  </a:lnTo>
                  <a:lnTo>
                    <a:pt x="96" y="122"/>
                  </a:lnTo>
                  <a:lnTo>
                    <a:pt x="96" y="122"/>
                  </a:lnTo>
                  <a:lnTo>
                    <a:pt x="98" y="126"/>
                  </a:lnTo>
                  <a:lnTo>
                    <a:pt x="100" y="128"/>
                  </a:lnTo>
                  <a:lnTo>
                    <a:pt x="102" y="130"/>
                  </a:lnTo>
                  <a:lnTo>
                    <a:pt x="106" y="132"/>
                  </a:lnTo>
                  <a:lnTo>
                    <a:pt x="120" y="132"/>
                  </a:lnTo>
                  <a:lnTo>
                    <a:pt x="120" y="132"/>
                  </a:lnTo>
                  <a:lnTo>
                    <a:pt x="122" y="130"/>
                  </a:lnTo>
                  <a:lnTo>
                    <a:pt x="126" y="128"/>
                  </a:lnTo>
                  <a:lnTo>
                    <a:pt x="128" y="126"/>
                  </a:lnTo>
                  <a:lnTo>
                    <a:pt x="130" y="122"/>
                  </a:lnTo>
                  <a:lnTo>
                    <a:pt x="130" y="110"/>
                  </a:lnTo>
                  <a:close/>
                  <a:moveTo>
                    <a:pt x="82" y="110"/>
                  </a:moveTo>
                  <a:lnTo>
                    <a:pt x="82" y="110"/>
                  </a:lnTo>
                  <a:lnTo>
                    <a:pt x="80" y="106"/>
                  </a:lnTo>
                  <a:lnTo>
                    <a:pt x="78" y="102"/>
                  </a:lnTo>
                  <a:lnTo>
                    <a:pt x="74" y="100"/>
                  </a:lnTo>
                  <a:lnTo>
                    <a:pt x="72" y="100"/>
                  </a:lnTo>
                  <a:lnTo>
                    <a:pt x="58" y="100"/>
                  </a:lnTo>
                  <a:lnTo>
                    <a:pt x="58" y="100"/>
                  </a:lnTo>
                  <a:lnTo>
                    <a:pt x="54" y="100"/>
                  </a:lnTo>
                  <a:lnTo>
                    <a:pt x="52" y="102"/>
                  </a:lnTo>
                  <a:lnTo>
                    <a:pt x="50" y="106"/>
                  </a:lnTo>
                  <a:lnTo>
                    <a:pt x="48" y="110"/>
                  </a:lnTo>
                  <a:lnTo>
                    <a:pt x="48" y="122"/>
                  </a:lnTo>
                  <a:lnTo>
                    <a:pt x="48" y="122"/>
                  </a:lnTo>
                  <a:lnTo>
                    <a:pt x="50" y="126"/>
                  </a:lnTo>
                  <a:lnTo>
                    <a:pt x="52" y="128"/>
                  </a:lnTo>
                  <a:lnTo>
                    <a:pt x="54" y="130"/>
                  </a:lnTo>
                  <a:lnTo>
                    <a:pt x="58" y="132"/>
                  </a:lnTo>
                  <a:lnTo>
                    <a:pt x="72" y="132"/>
                  </a:lnTo>
                  <a:lnTo>
                    <a:pt x="72" y="132"/>
                  </a:lnTo>
                  <a:lnTo>
                    <a:pt x="74" y="130"/>
                  </a:lnTo>
                  <a:lnTo>
                    <a:pt x="78" y="128"/>
                  </a:lnTo>
                  <a:lnTo>
                    <a:pt x="80" y="126"/>
                  </a:lnTo>
                  <a:lnTo>
                    <a:pt x="82" y="122"/>
                  </a:lnTo>
                  <a:lnTo>
                    <a:pt x="82" y="110"/>
                  </a:lnTo>
                  <a:close/>
                  <a:moveTo>
                    <a:pt x="120" y="148"/>
                  </a:moveTo>
                  <a:lnTo>
                    <a:pt x="106" y="148"/>
                  </a:lnTo>
                  <a:lnTo>
                    <a:pt x="106" y="148"/>
                  </a:lnTo>
                  <a:lnTo>
                    <a:pt x="102" y="148"/>
                  </a:lnTo>
                  <a:lnTo>
                    <a:pt x="100" y="150"/>
                  </a:lnTo>
                  <a:lnTo>
                    <a:pt x="98" y="154"/>
                  </a:lnTo>
                  <a:lnTo>
                    <a:pt x="96" y="158"/>
                  </a:lnTo>
                  <a:lnTo>
                    <a:pt x="96" y="170"/>
                  </a:lnTo>
                  <a:lnTo>
                    <a:pt x="96" y="170"/>
                  </a:lnTo>
                  <a:lnTo>
                    <a:pt x="98" y="174"/>
                  </a:lnTo>
                  <a:lnTo>
                    <a:pt x="100" y="176"/>
                  </a:lnTo>
                  <a:lnTo>
                    <a:pt x="102" y="178"/>
                  </a:lnTo>
                  <a:lnTo>
                    <a:pt x="106" y="180"/>
                  </a:lnTo>
                  <a:lnTo>
                    <a:pt x="120" y="180"/>
                  </a:lnTo>
                  <a:lnTo>
                    <a:pt x="120" y="180"/>
                  </a:lnTo>
                  <a:lnTo>
                    <a:pt x="122" y="178"/>
                  </a:lnTo>
                  <a:lnTo>
                    <a:pt x="126" y="176"/>
                  </a:lnTo>
                  <a:lnTo>
                    <a:pt x="128" y="174"/>
                  </a:lnTo>
                  <a:lnTo>
                    <a:pt x="130" y="170"/>
                  </a:lnTo>
                  <a:lnTo>
                    <a:pt x="130" y="158"/>
                  </a:lnTo>
                  <a:lnTo>
                    <a:pt x="130" y="158"/>
                  </a:lnTo>
                  <a:lnTo>
                    <a:pt x="128" y="154"/>
                  </a:lnTo>
                  <a:lnTo>
                    <a:pt x="126" y="150"/>
                  </a:lnTo>
                  <a:lnTo>
                    <a:pt x="122" y="148"/>
                  </a:lnTo>
                  <a:lnTo>
                    <a:pt x="120" y="148"/>
                  </a:lnTo>
                  <a:lnTo>
                    <a:pt x="120" y="148"/>
                  </a:lnTo>
                  <a:close/>
                  <a:moveTo>
                    <a:pt x="72" y="148"/>
                  </a:moveTo>
                  <a:lnTo>
                    <a:pt x="58" y="148"/>
                  </a:lnTo>
                  <a:lnTo>
                    <a:pt x="58" y="148"/>
                  </a:lnTo>
                  <a:lnTo>
                    <a:pt x="54" y="148"/>
                  </a:lnTo>
                  <a:lnTo>
                    <a:pt x="52" y="150"/>
                  </a:lnTo>
                  <a:lnTo>
                    <a:pt x="50" y="154"/>
                  </a:lnTo>
                  <a:lnTo>
                    <a:pt x="48" y="158"/>
                  </a:lnTo>
                  <a:lnTo>
                    <a:pt x="48" y="170"/>
                  </a:lnTo>
                  <a:lnTo>
                    <a:pt x="48" y="170"/>
                  </a:lnTo>
                  <a:lnTo>
                    <a:pt x="50" y="174"/>
                  </a:lnTo>
                  <a:lnTo>
                    <a:pt x="52" y="176"/>
                  </a:lnTo>
                  <a:lnTo>
                    <a:pt x="54" y="178"/>
                  </a:lnTo>
                  <a:lnTo>
                    <a:pt x="58" y="180"/>
                  </a:lnTo>
                  <a:lnTo>
                    <a:pt x="72" y="180"/>
                  </a:lnTo>
                  <a:lnTo>
                    <a:pt x="72" y="180"/>
                  </a:lnTo>
                  <a:lnTo>
                    <a:pt x="74" y="178"/>
                  </a:lnTo>
                  <a:lnTo>
                    <a:pt x="78" y="176"/>
                  </a:lnTo>
                  <a:lnTo>
                    <a:pt x="80" y="174"/>
                  </a:lnTo>
                  <a:lnTo>
                    <a:pt x="82" y="170"/>
                  </a:lnTo>
                  <a:lnTo>
                    <a:pt x="82" y="158"/>
                  </a:lnTo>
                  <a:lnTo>
                    <a:pt x="82" y="158"/>
                  </a:lnTo>
                  <a:lnTo>
                    <a:pt x="80" y="154"/>
                  </a:lnTo>
                  <a:lnTo>
                    <a:pt x="78" y="150"/>
                  </a:lnTo>
                  <a:lnTo>
                    <a:pt x="74" y="148"/>
                  </a:lnTo>
                  <a:lnTo>
                    <a:pt x="72" y="148"/>
                  </a:lnTo>
                  <a:lnTo>
                    <a:pt x="72" y="148"/>
                  </a:lnTo>
                  <a:close/>
                  <a:moveTo>
                    <a:pt x="216" y="348"/>
                  </a:moveTo>
                  <a:lnTo>
                    <a:pt x="216" y="348"/>
                  </a:lnTo>
                  <a:lnTo>
                    <a:pt x="216" y="348"/>
                  </a:lnTo>
                  <a:lnTo>
                    <a:pt x="216" y="348"/>
                  </a:lnTo>
                  <a:lnTo>
                    <a:pt x="210" y="354"/>
                  </a:lnTo>
                  <a:lnTo>
                    <a:pt x="202" y="360"/>
                  </a:lnTo>
                  <a:lnTo>
                    <a:pt x="194" y="362"/>
                  </a:lnTo>
                  <a:lnTo>
                    <a:pt x="184" y="364"/>
                  </a:lnTo>
                  <a:lnTo>
                    <a:pt x="40" y="364"/>
                  </a:lnTo>
                  <a:lnTo>
                    <a:pt x="40" y="364"/>
                  </a:lnTo>
                  <a:lnTo>
                    <a:pt x="32" y="364"/>
                  </a:lnTo>
                  <a:lnTo>
                    <a:pt x="26" y="360"/>
                  </a:lnTo>
                  <a:lnTo>
                    <a:pt x="18" y="358"/>
                  </a:lnTo>
                  <a:lnTo>
                    <a:pt x="12" y="352"/>
                  </a:lnTo>
                  <a:lnTo>
                    <a:pt x="8" y="346"/>
                  </a:lnTo>
                  <a:lnTo>
                    <a:pt x="4" y="340"/>
                  </a:lnTo>
                  <a:lnTo>
                    <a:pt x="2" y="332"/>
                  </a:lnTo>
                  <a:lnTo>
                    <a:pt x="0" y="324"/>
                  </a:lnTo>
                  <a:lnTo>
                    <a:pt x="0" y="40"/>
                  </a:lnTo>
                  <a:lnTo>
                    <a:pt x="0" y="40"/>
                  </a:lnTo>
                  <a:lnTo>
                    <a:pt x="2" y="32"/>
                  </a:lnTo>
                  <a:lnTo>
                    <a:pt x="4" y="24"/>
                  </a:lnTo>
                  <a:lnTo>
                    <a:pt x="8" y="18"/>
                  </a:lnTo>
                  <a:lnTo>
                    <a:pt x="12" y="12"/>
                  </a:lnTo>
                  <a:lnTo>
                    <a:pt x="18" y="6"/>
                  </a:lnTo>
                  <a:lnTo>
                    <a:pt x="26" y="4"/>
                  </a:lnTo>
                  <a:lnTo>
                    <a:pt x="32" y="0"/>
                  </a:lnTo>
                  <a:lnTo>
                    <a:pt x="40" y="0"/>
                  </a:lnTo>
                  <a:lnTo>
                    <a:pt x="184" y="0"/>
                  </a:lnTo>
                  <a:lnTo>
                    <a:pt x="184" y="0"/>
                  </a:lnTo>
                  <a:lnTo>
                    <a:pt x="192" y="0"/>
                  </a:lnTo>
                  <a:lnTo>
                    <a:pt x="200" y="4"/>
                  </a:lnTo>
                  <a:lnTo>
                    <a:pt x="208" y="6"/>
                  </a:lnTo>
                  <a:lnTo>
                    <a:pt x="214" y="12"/>
                  </a:lnTo>
                  <a:lnTo>
                    <a:pt x="218" y="18"/>
                  </a:lnTo>
                  <a:lnTo>
                    <a:pt x="222" y="24"/>
                  </a:lnTo>
                  <a:lnTo>
                    <a:pt x="224" y="32"/>
                  </a:lnTo>
                  <a:lnTo>
                    <a:pt x="224" y="40"/>
                  </a:lnTo>
                  <a:lnTo>
                    <a:pt x="224" y="158"/>
                  </a:lnTo>
                  <a:lnTo>
                    <a:pt x="224" y="158"/>
                  </a:lnTo>
                  <a:lnTo>
                    <a:pt x="224" y="158"/>
                  </a:lnTo>
                  <a:lnTo>
                    <a:pt x="224" y="158"/>
                  </a:lnTo>
                  <a:lnTo>
                    <a:pt x="218" y="154"/>
                  </a:lnTo>
                  <a:lnTo>
                    <a:pt x="212" y="150"/>
                  </a:lnTo>
                  <a:lnTo>
                    <a:pt x="206" y="148"/>
                  </a:lnTo>
                  <a:lnTo>
                    <a:pt x="198" y="148"/>
                  </a:lnTo>
                  <a:lnTo>
                    <a:pt x="198" y="148"/>
                  </a:lnTo>
                  <a:lnTo>
                    <a:pt x="194" y="148"/>
                  </a:lnTo>
                  <a:lnTo>
                    <a:pt x="194" y="40"/>
                  </a:lnTo>
                  <a:lnTo>
                    <a:pt x="194" y="40"/>
                  </a:lnTo>
                  <a:lnTo>
                    <a:pt x="194" y="36"/>
                  </a:lnTo>
                  <a:lnTo>
                    <a:pt x="192" y="32"/>
                  </a:lnTo>
                  <a:lnTo>
                    <a:pt x="188" y="30"/>
                  </a:lnTo>
                  <a:lnTo>
                    <a:pt x="184" y="30"/>
                  </a:lnTo>
                  <a:lnTo>
                    <a:pt x="40" y="30"/>
                  </a:lnTo>
                  <a:lnTo>
                    <a:pt x="40" y="30"/>
                  </a:lnTo>
                  <a:lnTo>
                    <a:pt x="36" y="30"/>
                  </a:lnTo>
                  <a:lnTo>
                    <a:pt x="34" y="32"/>
                  </a:lnTo>
                  <a:lnTo>
                    <a:pt x="32" y="36"/>
                  </a:lnTo>
                  <a:lnTo>
                    <a:pt x="30" y="40"/>
                  </a:lnTo>
                  <a:lnTo>
                    <a:pt x="30" y="270"/>
                  </a:lnTo>
                  <a:lnTo>
                    <a:pt x="30" y="270"/>
                  </a:lnTo>
                  <a:lnTo>
                    <a:pt x="32" y="274"/>
                  </a:lnTo>
                  <a:lnTo>
                    <a:pt x="34" y="276"/>
                  </a:lnTo>
                  <a:lnTo>
                    <a:pt x="36" y="278"/>
                  </a:lnTo>
                  <a:lnTo>
                    <a:pt x="40" y="280"/>
                  </a:lnTo>
                  <a:lnTo>
                    <a:pt x="110" y="280"/>
                  </a:lnTo>
                  <a:lnTo>
                    <a:pt x="156" y="324"/>
                  </a:lnTo>
                  <a:lnTo>
                    <a:pt x="156" y="324"/>
                  </a:lnTo>
                  <a:lnTo>
                    <a:pt x="160" y="328"/>
                  </a:lnTo>
                  <a:lnTo>
                    <a:pt x="160" y="328"/>
                  </a:lnTo>
                  <a:lnTo>
                    <a:pt x="172" y="336"/>
                  </a:lnTo>
                  <a:lnTo>
                    <a:pt x="186" y="342"/>
                  </a:lnTo>
                  <a:lnTo>
                    <a:pt x="200" y="346"/>
                  </a:lnTo>
                  <a:lnTo>
                    <a:pt x="216" y="348"/>
                  </a:lnTo>
                  <a:lnTo>
                    <a:pt x="216" y="348"/>
                  </a:lnTo>
                  <a:close/>
                  <a:moveTo>
                    <a:pt x="132" y="324"/>
                  </a:moveTo>
                  <a:lnTo>
                    <a:pt x="132" y="324"/>
                  </a:lnTo>
                  <a:lnTo>
                    <a:pt x="132" y="316"/>
                  </a:lnTo>
                  <a:lnTo>
                    <a:pt x="126" y="310"/>
                  </a:lnTo>
                  <a:lnTo>
                    <a:pt x="120" y="304"/>
                  </a:lnTo>
                  <a:lnTo>
                    <a:pt x="112" y="304"/>
                  </a:lnTo>
                  <a:lnTo>
                    <a:pt x="112" y="304"/>
                  </a:lnTo>
                  <a:lnTo>
                    <a:pt x="106" y="304"/>
                  </a:lnTo>
                  <a:lnTo>
                    <a:pt x="98" y="310"/>
                  </a:lnTo>
                  <a:lnTo>
                    <a:pt x="94" y="316"/>
                  </a:lnTo>
                  <a:lnTo>
                    <a:pt x="92" y="324"/>
                  </a:lnTo>
                  <a:lnTo>
                    <a:pt x="92" y="324"/>
                  </a:lnTo>
                  <a:lnTo>
                    <a:pt x="94" y="330"/>
                  </a:lnTo>
                  <a:lnTo>
                    <a:pt x="98" y="338"/>
                  </a:lnTo>
                  <a:lnTo>
                    <a:pt x="106" y="342"/>
                  </a:lnTo>
                  <a:lnTo>
                    <a:pt x="112" y="342"/>
                  </a:lnTo>
                  <a:lnTo>
                    <a:pt x="112" y="342"/>
                  </a:lnTo>
                  <a:lnTo>
                    <a:pt x="120" y="342"/>
                  </a:lnTo>
                  <a:lnTo>
                    <a:pt x="126" y="338"/>
                  </a:lnTo>
                  <a:lnTo>
                    <a:pt x="132" y="330"/>
                  </a:lnTo>
                  <a:lnTo>
                    <a:pt x="132" y="324"/>
                  </a:lnTo>
                  <a:lnTo>
                    <a:pt x="132" y="324"/>
                  </a:lnTo>
                  <a:close/>
                  <a:moveTo>
                    <a:pt x="288" y="256"/>
                  </a:moveTo>
                  <a:lnTo>
                    <a:pt x="288" y="256"/>
                  </a:lnTo>
                  <a:lnTo>
                    <a:pt x="288" y="256"/>
                  </a:lnTo>
                  <a:lnTo>
                    <a:pt x="288" y="200"/>
                  </a:lnTo>
                  <a:lnTo>
                    <a:pt x="288" y="200"/>
                  </a:lnTo>
                  <a:lnTo>
                    <a:pt x="286" y="192"/>
                  </a:lnTo>
                  <a:lnTo>
                    <a:pt x="282" y="188"/>
                  </a:lnTo>
                  <a:lnTo>
                    <a:pt x="276" y="184"/>
                  </a:lnTo>
                  <a:lnTo>
                    <a:pt x="270" y="182"/>
                  </a:lnTo>
                  <a:lnTo>
                    <a:pt x="270" y="182"/>
                  </a:lnTo>
                  <a:lnTo>
                    <a:pt x="264" y="182"/>
                  </a:lnTo>
                  <a:lnTo>
                    <a:pt x="258" y="186"/>
                  </a:lnTo>
                  <a:lnTo>
                    <a:pt x="254" y="190"/>
                  </a:lnTo>
                  <a:lnTo>
                    <a:pt x="252" y="196"/>
                  </a:lnTo>
                  <a:lnTo>
                    <a:pt x="252" y="190"/>
                  </a:lnTo>
                  <a:lnTo>
                    <a:pt x="252" y="190"/>
                  </a:lnTo>
                  <a:lnTo>
                    <a:pt x="250" y="184"/>
                  </a:lnTo>
                  <a:lnTo>
                    <a:pt x="246" y="178"/>
                  </a:lnTo>
                  <a:lnTo>
                    <a:pt x="242" y="174"/>
                  </a:lnTo>
                  <a:lnTo>
                    <a:pt x="234" y="172"/>
                  </a:lnTo>
                  <a:lnTo>
                    <a:pt x="234" y="172"/>
                  </a:lnTo>
                  <a:lnTo>
                    <a:pt x="228" y="174"/>
                  </a:lnTo>
                  <a:lnTo>
                    <a:pt x="222" y="176"/>
                  </a:lnTo>
                  <a:lnTo>
                    <a:pt x="218" y="180"/>
                  </a:lnTo>
                  <a:lnTo>
                    <a:pt x="216" y="186"/>
                  </a:lnTo>
                  <a:lnTo>
                    <a:pt x="216" y="182"/>
                  </a:lnTo>
                  <a:lnTo>
                    <a:pt x="216" y="182"/>
                  </a:lnTo>
                  <a:lnTo>
                    <a:pt x="214" y="174"/>
                  </a:lnTo>
                  <a:lnTo>
                    <a:pt x="212" y="168"/>
                  </a:lnTo>
                  <a:lnTo>
                    <a:pt x="206" y="164"/>
                  </a:lnTo>
                  <a:lnTo>
                    <a:pt x="198" y="164"/>
                  </a:lnTo>
                  <a:lnTo>
                    <a:pt x="198" y="164"/>
                  </a:lnTo>
                  <a:lnTo>
                    <a:pt x="192" y="164"/>
                  </a:lnTo>
                  <a:lnTo>
                    <a:pt x="186" y="168"/>
                  </a:lnTo>
                  <a:lnTo>
                    <a:pt x="182" y="172"/>
                  </a:lnTo>
                  <a:lnTo>
                    <a:pt x="180" y="176"/>
                  </a:lnTo>
                  <a:lnTo>
                    <a:pt x="180" y="118"/>
                  </a:lnTo>
                  <a:lnTo>
                    <a:pt x="180" y="118"/>
                  </a:lnTo>
                  <a:lnTo>
                    <a:pt x="180" y="110"/>
                  </a:lnTo>
                  <a:lnTo>
                    <a:pt x="176" y="104"/>
                  </a:lnTo>
                  <a:lnTo>
                    <a:pt x="170" y="100"/>
                  </a:lnTo>
                  <a:lnTo>
                    <a:pt x="162" y="100"/>
                  </a:lnTo>
                  <a:lnTo>
                    <a:pt x="162" y="100"/>
                  </a:lnTo>
                  <a:lnTo>
                    <a:pt x="156" y="100"/>
                  </a:lnTo>
                  <a:lnTo>
                    <a:pt x="150" y="104"/>
                  </a:lnTo>
                  <a:lnTo>
                    <a:pt x="146" y="110"/>
                  </a:lnTo>
                  <a:lnTo>
                    <a:pt x="144" y="118"/>
                  </a:lnTo>
                  <a:lnTo>
                    <a:pt x="144" y="238"/>
                  </a:lnTo>
                  <a:lnTo>
                    <a:pt x="118" y="212"/>
                  </a:lnTo>
                  <a:lnTo>
                    <a:pt x="118" y="212"/>
                  </a:lnTo>
                  <a:lnTo>
                    <a:pt x="112" y="208"/>
                  </a:lnTo>
                  <a:lnTo>
                    <a:pt x="104" y="206"/>
                  </a:lnTo>
                  <a:lnTo>
                    <a:pt x="98" y="208"/>
                  </a:lnTo>
                  <a:lnTo>
                    <a:pt x="92" y="212"/>
                  </a:lnTo>
                  <a:lnTo>
                    <a:pt x="92" y="212"/>
                  </a:lnTo>
                  <a:lnTo>
                    <a:pt x="88" y="218"/>
                  </a:lnTo>
                  <a:lnTo>
                    <a:pt x="86" y="224"/>
                  </a:lnTo>
                  <a:lnTo>
                    <a:pt x="88" y="232"/>
                  </a:lnTo>
                  <a:lnTo>
                    <a:pt x="92" y="238"/>
                  </a:lnTo>
                  <a:lnTo>
                    <a:pt x="166" y="312"/>
                  </a:lnTo>
                  <a:lnTo>
                    <a:pt x="166" y="312"/>
                  </a:lnTo>
                  <a:lnTo>
                    <a:pt x="170" y="314"/>
                  </a:lnTo>
                  <a:lnTo>
                    <a:pt x="170" y="314"/>
                  </a:lnTo>
                  <a:lnTo>
                    <a:pt x="180" y="322"/>
                  </a:lnTo>
                  <a:lnTo>
                    <a:pt x="190" y="328"/>
                  </a:lnTo>
                  <a:lnTo>
                    <a:pt x="204" y="330"/>
                  </a:lnTo>
                  <a:lnTo>
                    <a:pt x="216" y="332"/>
                  </a:lnTo>
                  <a:lnTo>
                    <a:pt x="216" y="332"/>
                  </a:lnTo>
                  <a:lnTo>
                    <a:pt x="230" y="330"/>
                  </a:lnTo>
                  <a:lnTo>
                    <a:pt x="244" y="326"/>
                  </a:lnTo>
                  <a:lnTo>
                    <a:pt x="256" y="320"/>
                  </a:lnTo>
                  <a:lnTo>
                    <a:pt x="268" y="312"/>
                  </a:lnTo>
                  <a:lnTo>
                    <a:pt x="276" y="300"/>
                  </a:lnTo>
                  <a:lnTo>
                    <a:pt x="282" y="288"/>
                  </a:lnTo>
                  <a:lnTo>
                    <a:pt x="286" y="274"/>
                  </a:lnTo>
                  <a:lnTo>
                    <a:pt x="288" y="260"/>
                  </a:lnTo>
                  <a:lnTo>
                    <a:pt x="288" y="260"/>
                  </a:lnTo>
                  <a:lnTo>
                    <a:pt x="288" y="256"/>
                  </a:lnTo>
                  <a:lnTo>
                    <a:pt x="288" y="256"/>
                  </a:lnTo>
                  <a:close/>
                </a:path>
              </a:pathLst>
            </a:custGeom>
            <a:grp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28" name="Group 127">
            <a:extLst>
              <a:ext uri="{FF2B5EF4-FFF2-40B4-BE49-F238E27FC236}">
                <a16:creationId xmlns:a16="http://schemas.microsoft.com/office/drawing/2014/main" id="{4FD1DF2D-FE54-4950-8151-0F959C575D59}"/>
              </a:ext>
            </a:extLst>
          </p:cNvPr>
          <p:cNvGrpSpPr/>
          <p:nvPr/>
        </p:nvGrpSpPr>
        <p:grpSpPr>
          <a:xfrm>
            <a:off x="5773738" y="4784210"/>
            <a:ext cx="523325" cy="523325"/>
            <a:chOff x="4966372" y="5907019"/>
            <a:chExt cx="612000" cy="612000"/>
          </a:xfrm>
          <a:solidFill>
            <a:srgbClr val="505050"/>
          </a:solidFill>
        </p:grpSpPr>
        <p:sp>
          <p:nvSpPr>
            <p:cNvPr id="129" name="Oval 128">
              <a:extLst>
                <a:ext uri="{FF2B5EF4-FFF2-40B4-BE49-F238E27FC236}">
                  <a16:creationId xmlns:a16="http://schemas.microsoft.com/office/drawing/2014/main" id="{1E649C74-4807-4E28-B88B-B5D5E03183E9}"/>
                </a:ext>
              </a:extLst>
            </p:cNvPr>
            <p:cNvSpPr/>
            <p:nvPr/>
          </p:nvSpPr>
          <p:spPr bwMode="ltGray">
            <a:xfrm>
              <a:off x="4966372"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30" name="Freeform 4841">
              <a:extLst>
                <a:ext uri="{FF2B5EF4-FFF2-40B4-BE49-F238E27FC236}">
                  <a16:creationId xmlns:a16="http://schemas.microsoft.com/office/drawing/2014/main" id="{30A633CF-ECC4-4E39-A147-1C8D3BA0F589}"/>
                </a:ext>
              </a:extLst>
            </p:cNvPr>
            <p:cNvSpPr>
              <a:spLocks noEditPoints="1"/>
            </p:cNvSpPr>
            <p:nvPr/>
          </p:nvSpPr>
          <p:spPr bwMode="auto">
            <a:xfrm>
              <a:off x="5125837" y="5979959"/>
              <a:ext cx="293071" cy="469411"/>
            </a:xfrm>
            <a:custGeom>
              <a:avLst/>
              <a:gdLst>
                <a:gd name="T0" fmla="*/ 208 w 236"/>
                <a:gd name="T1" fmla="*/ 258 h 378"/>
                <a:gd name="T2" fmla="*/ 214 w 236"/>
                <a:gd name="T3" fmla="*/ 256 h 378"/>
                <a:gd name="T4" fmla="*/ 224 w 236"/>
                <a:gd name="T5" fmla="*/ 248 h 378"/>
                <a:gd name="T6" fmla="*/ 224 w 236"/>
                <a:gd name="T7" fmla="*/ 16 h 378"/>
                <a:gd name="T8" fmla="*/ 224 w 236"/>
                <a:gd name="T9" fmla="*/ 10 h 378"/>
                <a:gd name="T10" fmla="*/ 214 w 236"/>
                <a:gd name="T11" fmla="*/ 2 h 378"/>
                <a:gd name="T12" fmla="*/ 28 w 236"/>
                <a:gd name="T13" fmla="*/ 0 h 378"/>
                <a:gd name="T14" fmla="*/ 22 w 236"/>
                <a:gd name="T15" fmla="*/ 2 h 378"/>
                <a:gd name="T16" fmla="*/ 14 w 236"/>
                <a:gd name="T17" fmla="*/ 10 h 378"/>
                <a:gd name="T18" fmla="*/ 12 w 236"/>
                <a:gd name="T19" fmla="*/ 242 h 378"/>
                <a:gd name="T20" fmla="*/ 14 w 236"/>
                <a:gd name="T21" fmla="*/ 248 h 378"/>
                <a:gd name="T22" fmla="*/ 22 w 236"/>
                <a:gd name="T23" fmla="*/ 256 h 378"/>
                <a:gd name="T24" fmla="*/ 28 w 236"/>
                <a:gd name="T25" fmla="*/ 258 h 378"/>
                <a:gd name="T26" fmla="*/ 150 w 236"/>
                <a:gd name="T27" fmla="*/ 224 h 378"/>
                <a:gd name="T28" fmla="*/ 200 w 236"/>
                <a:gd name="T29" fmla="*/ 196 h 378"/>
                <a:gd name="T30" fmla="*/ 36 w 236"/>
                <a:gd name="T31" fmla="*/ 28 h 378"/>
                <a:gd name="T32" fmla="*/ 200 w 236"/>
                <a:gd name="T33" fmla="*/ 128 h 378"/>
                <a:gd name="T34" fmla="*/ 194 w 236"/>
                <a:gd name="T35" fmla="*/ 130 h 378"/>
                <a:gd name="T36" fmla="*/ 166 w 236"/>
                <a:gd name="T37" fmla="*/ 144 h 378"/>
                <a:gd name="T38" fmla="*/ 136 w 236"/>
                <a:gd name="T39" fmla="*/ 150 h 378"/>
                <a:gd name="T40" fmla="*/ 118 w 236"/>
                <a:gd name="T41" fmla="*/ 152 h 378"/>
                <a:gd name="T42" fmla="*/ 86 w 236"/>
                <a:gd name="T43" fmla="*/ 148 h 378"/>
                <a:gd name="T44" fmla="*/ 60 w 236"/>
                <a:gd name="T45" fmla="*/ 140 h 378"/>
                <a:gd name="T46" fmla="*/ 36 w 236"/>
                <a:gd name="T47" fmla="*/ 128 h 378"/>
                <a:gd name="T48" fmla="*/ 36 w 236"/>
                <a:gd name="T49" fmla="*/ 196 h 378"/>
                <a:gd name="T50" fmla="*/ 88 w 236"/>
                <a:gd name="T51" fmla="*/ 224 h 378"/>
                <a:gd name="T52" fmla="*/ 36 w 236"/>
                <a:gd name="T53" fmla="*/ 196 h 378"/>
                <a:gd name="T54" fmla="*/ 204 w 236"/>
                <a:gd name="T55" fmla="*/ 274 h 378"/>
                <a:gd name="T56" fmla="*/ 182 w 236"/>
                <a:gd name="T57" fmla="*/ 294 h 378"/>
                <a:gd name="T58" fmla="*/ 64 w 236"/>
                <a:gd name="T59" fmla="*/ 274 h 378"/>
                <a:gd name="T60" fmla="*/ 2 w 236"/>
                <a:gd name="T61" fmla="*/ 360 h 378"/>
                <a:gd name="T62" fmla="*/ 0 w 236"/>
                <a:gd name="T63" fmla="*/ 366 h 378"/>
                <a:gd name="T64" fmla="*/ 4 w 236"/>
                <a:gd name="T65" fmla="*/ 376 h 378"/>
                <a:gd name="T66" fmla="*/ 10 w 236"/>
                <a:gd name="T67" fmla="*/ 378 h 378"/>
                <a:gd name="T68" fmla="*/ 14 w 236"/>
                <a:gd name="T69" fmla="*/ 378 h 378"/>
                <a:gd name="T70" fmla="*/ 22 w 236"/>
                <a:gd name="T71" fmla="*/ 376 h 378"/>
                <a:gd name="T72" fmla="*/ 28 w 236"/>
                <a:gd name="T73" fmla="*/ 370 h 378"/>
                <a:gd name="T74" fmla="*/ 206 w 236"/>
                <a:gd name="T75" fmla="*/ 358 h 378"/>
                <a:gd name="T76" fmla="*/ 210 w 236"/>
                <a:gd name="T77" fmla="*/ 370 h 378"/>
                <a:gd name="T78" fmla="*/ 214 w 236"/>
                <a:gd name="T79" fmla="*/ 376 h 378"/>
                <a:gd name="T80" fmla="*/ 222 w 236"/>
                <a:gd name="T81" fmla="*/ 378 h 378"/>
                <a:gd name="T82" fmla="*/ 228 w 236"/>
                <a:gd name="T83" fmla="*/ 378 h 378"/>
                <a:gd name="T84" fmla="*/ 232 w 236"/>
                <a:gd name="T85" fmla="*/ 376 h 378"/>
                <a:gd name="T86" fmla="*/ 236 w 236"/>
                <a:gd name="T87" fmla="*/ 366 h 378"/>
                <a:gd name="T88" fmla="*/ 236 w 236"/>
                <a:gd name="T89" fmla="*/ 360 h 378"/>
                <a:gd name="T90" fmla="*/ 48 w 236"/>
                <a:gd name="T91" fmla="*/ 314 h 378"/>
                <a:gd name="T92" fmla="*/ 198 w 236"/>
                <a:gd name="T93" fmla="*/ 338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6" h="378">
                  <a:moveTo>
                    <a:pt x="28" y="258"/>
                  </a:moveTo>
                  <a:lnTo>
                    <a:pt x="208" y="258"/>
                  </a:lnTo>
                  <a:lnTo>
                    <a:pt x="208" y="258"/>
                  </a:lnTo>
                  <a:lnTo>
                    <a:pt x="214" y="256"/>
                  </a:lnTo>
                  <a:lnTo>
                    <a:pt x="220" y="254"/>
                  </a:lnTo>
                  <a:lnTo>
                    <a:pt x="224" y="248"/>
                  </a:lnTo>
                  <a:lnTo>
                    <a:pt x="224" y="242"/>
                  </a:lnTo>
                  <a:lnTo>
                    <a:pt x="224" y="16"/>
                  </a:lnTo>
                  <a:lnTo>
                    <a:pt x="224" y="16"/>
                  </a:lnTo>
                  <a:lnTo>
                    <a:pt x="224" y="10"/>
                  </a:lnTo>
                  <a:lnTo>
                    <a:pt x="220" y="6"/>
                  </a:lnTo>
                  <a:lnTo>
                    <a:pt x="214" y="2"/>
                  </a:lnTo>
                  <a:lnTo>
                    <a:pt x="208" y="0"/>
                  </a:lnTo>
                  <a:lnTo>
                    <a:pt x="28" y="0"/>
                  </a:lnTo>
                  <a:lnTo>
                    <a:pt x="28" y="0"/>
                  </a:lnTo>
                  <a:lnTo>
                    <a:pt x="22" y="2"/>
                  </a:lnTo>
                  <a:lnTo>
                    <a:pt x="18" y="6"/>
                  </a:lnTo>
                  <a:lnTo>
                    <a:pt x="14" y="10"/>
                  </a:lnTo>
                  <a:lnTo>
                    <a:pt x="12" y="16"/>
                  </a:lnTo>
                  <a:lnTo>
                    <a:pt x="12" y="242"/>
                  </a:lnTo>
                  <a:lnTo>
                    <a:pt x="12" y="242"/>
                  </a:lnTo>
                  <a:lnTo>
                    <a:pt x="14" y="248"/>
                  </a:lnTo>
                  <a:lnTo>
                    <a:pt x="18" y="254"/>
                  </a:lnTo>
                  <a:lnTo>
                    <a:pt x="22" y="256"/>
                  </a:lnTo>
                  <a:lnTo>
                    <a:pt x="28" y="258"/>
                  </a:lnTo>
                  <a:lnTo>
                    <a:pt x="28" y="258"/>
                  </a:lnTo>
                  <a:close/>
                  <a:moveTo>
                    <a:pt x="200" y="224"/>
                  </a:moveTo>
                  <a:lnTo>
                    <a:pt x="150" y="224"/>
                  </a:lnTo>
                  <a:lnTo>
                    <a:pt x="150" y="196"/>
                  </a:lnTo>
                  <a:lnTo>
                    <a:pt x="200" y="196"/>
                  </a:lnTo>
                  <a:lnTo>
                    <a:pt x="200" y="224"/>
                  </a:lnTo>
                  <a:close/>
                  <a:moveTo>
                    <a:pt x="36" y="28"/>
                  </a:moveTo>
                  <a:lnTo>
                    <a:pt x="200" y="28"/>
                  </a:lnTo>
                  <a:lnTo>
                    <a:pt x="200" y="128"/>
                  </a:lnTo>
                  <a:lnTo>
                    <a:pt x="200" y="128"/>
                  </a:lnTo>
                  <a:lnTo>
                    <a:pt x="194" y="130"/>
                  </a:lnTo>
                  <a:lnTo>
                    <a:pt x="178" y="140"/>
                  </a:lnTo>
                  <a:lnTo>
                    <a:pt x="166" y="144"/>
                  </a:lnTo>
                  <a:lnTo>
                    <a:pt x="152" y="148"/>
                  </a:lnTo>
                  <a:lnTo>
                    <a:pt x="136" y="150"/>
                  </a:lnTo>
                  <a:lnTo>
                    <a:pt x="118" y="152"/>
                  </a:lnTo>
                  <a:lnTo>
                    <a:pt x="118" y="152"/>
                  </a:lnTo>
                  <a:lnTo>
                    <a:pt x="102" y="150"/>
                  </a:lnTo>
                  <a:lnTo>
                    <a:pt x="86" y="148"/>
                  </a:lnTo>
                  <a:lnTo>
                    <a:pt x="72" y="144"/>
                  </a:lnTo>
                  <a:lnTo>
                    <a:pt x="60" y="140"/>
                  </a:lnTo>
                  <a:lnTo>
                    <a:pt x="44" y="130"/>
                  </a:lnTo>
                  <a:lnTo>
                    <a:pt x="36" y="128"/>
                  </a:lnTo>
                  <a:lnTo>
                    <a:pt x="36" y="28"/>
                  </a:lnTo>
                  <a:close/>
                  <a:moveTo>
                    <a:pt x="36" y="196"/>
                  </a:moveTo>
                  <a:lnTo>
                    <a:pt x="88" y="196"/>
                  </a:lnTo>
                  <a:lnTo>
                    <a:pt x="88" y="224"/>
                  </a:lnTo>
                  <a:lnTo>
                    <a:pt x="36" y="224"/>
                  </a:lnTo>
                  <a:lnTo>
                    <a:pt x="36" y="196"/>
                  </a:lnTo>
                  <a:close/>
                  <a:moveTo>
                    <a:pt x="236" y="360"/>
                  </a:moveTo>
                  <a:lnTo>
                    <a:pt x="204" y="274"/>
                  </a:lnTo>
                  <a:lnTo>
                    <a:pt x="174" y="274"/>
                  </a:lnTo>
                  <a:lnTo>
                    <a:pt x="182" y="294"/>
                  </a:lnTo>
                  <a:lnTo>
                    <a:pt x="56" y="294"/>
                  </a:lnTo>
                  <a:lnTo>
                    <a:pt x="64" y="274"/>
                  </a:lnTo>
                  <a:lnTo>
                    <a:pt x="34" y="274"/>
                  </a:lnTo>
                  <a:lnTo>
                    <a:pt x="2" y="360"/>
                  </a:lnTo>
                  <a:lnTo>
                    <a:pt x="2" y="360"/>
                  </a:lnTo>
                  <a:lnTo>
                    <a:pt x="0" y="366"/>
                  </a:lnTo>
                  <a:lnTo>
                    <a:pt x="2" y="370"/>
                  </a:lnTo>
                  <a:lnTo>
                    <a:pt x="4" y="376"/>
                  </a:lnTo>
                  <a:lnTo>
                    <a:pt x="10" y="378"/>
                  </a:lnTo>
                  <a:lnTo>
                    <a:pt x="10" y="378"/>
                  </a:lnTo>
                  <a:lnTo>
                    <a:pt x="14" y="378"/>
                  </a:lnTo>
                  <a:lnTo>
                    <a:pt x="14" y="378"/>
                  </a:lnTo>
                  <a:lnTo>
                    <a:pt x="18" y="378"/>
                  </a:lnTo>
                  <a:lnTo>
                    <a:pt x="22" y="376"/>
                  </a:lnTo>
                  <a:lnTo>
                    <a:pt x="26" y="374"/>
                  </a:lnTo>
                  <a:lnTo>
                    <a:pt x="28" y="370"/>
                  </a:lnTo>
                  <a:lnTo>
                    <a:pt x="32" y="358"/>
                  </a:lnTo>
                  <a:lnTo>
                    <a:pt x="206" y="358"/>
                  </a:lnTo>
                  <a:lnTo>
                    <a:pt x="210" y="370"/>
                  </a:lnTo>
                  <a:lnTo>
                    <a:pt x="210" y="370"/>
                  </a:lnTo>
                  <a:lnTo>
                    <a:pt x="212" y="374"/>
                  </a:lnTo>
                  <a:lnTo>
                    <a:pt x="214" y="376"/>
                  </a:lnTo>
                  <a:lnTo>
                    <a:pt x="218" y="378"/>
                  </a:lnTo>
                  <a:lnTo>
                    <a:pt x="222" y="378"/>
                  </a:lnTo>
                  <a:lnTo>
                    <a:pt x="222" y="378"/>
                  </a:lnTo>
                  <a:lnTo>
                    <a:pt x="228" y="378"/>
                  </a:lnTo>
                  <a:lnTo>
                    <a:pt x="228" y="378"/>
                  </a:lnTo>
                  <a:lnTo>
                    <a:pt x="232" y="376"/>
                  </a:lnTo>
                  <a:lnTo>
                    <a:pt x="236" y="370"/>
                  </a:lnTo>
                  <a:lnTo>
                    <a:pt x="236" y="366"/>
                  </a:lnTo>
                  <a:lnTo>
                    <a:pt x="236" y="360"/>
                  </a:lnTo>
                  <a:lnTo>
                    <a:pt x="236" y="360"/>
                  </a:lnTo>
                  <a:close/>
                  <a:moveTo>
                    <a:pt x="40" y="338"/>
                  </a:moveTo>
                  <a:lnTo>
                    <a:pt x="48" y="314"/>
                  </a:lnTo>
                  <a:lnTo>
                    <a:pt x="190" y="314"/>
                  </a:lnTo>
                  <a:lnTo>
                    <a:pt x="198" y="338"/>
                  </a:lnTo>
                  <a:lnTo>
                    <a:pt x="40" y="338"/>
                  </a:lnTo>
                  <a:close/>
                </a:path>
              </a:pathLst>
            </a:custGeom>
            <a:grp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31" name="Group 130">
            <a:extLst>
              <a:ext uri="{FF2B5EF4-FFF2-40B4-BE49-F238E27FC236}">
                <a16:creationId xmlns:a16="http://schemas.microsoft.com/office/drawing/2014/main" id="{7DF768AD-27BB-47D7-9D59-32A1AFDB2D82}"/>
              </a:ext>
            </a:extLst>
          </p:cNvPr>
          <p:cNvGrpSpPr/>
          <p:nvPr/>
        </p:nvGrpSpPr>
        <p:grpSpPr>
          <a:xfrm>
            <a:off x="2031260" y="4784210"/>
            <a:ext cx="523325" cy="523325"/>
            <a:chOff x="589752" y="5907019"/>
            <a:chExt cx="612000" cy="612000"/>
          </a:xfrm>
          <a:solidFill>
            <a:srgbClr val="505050"/>
          </a:solidFill>
        </p:grpSpPr>
        <p:sp>
          <p:nvSpPr>
            <p:cNvPr id="132" name="Oval 131">
              <a:extLst>
                <a:ext uri="{FF2B5EF4-FFF2-40B4-BE49-F238E27FC236}">
                  <a16:creationId xmlns:a16="http://schemas.microsoft.com/office/drawing/2014/main" id="{C8E6F284-7F14-4784-9684-A7235DB03069}"/>
                </a:ext>
              </a:extLst>
            </p:cNvPr>
            <p:cNvSpPr/>
            <p:nvPr/>
          </p:nvSpPr>
          <p:spPr bwMode="ltGray">
            <a:xfrm>
              <a:off x="589752"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33" name="Freeform 4842">
              <a:extLst>
                <a:ext uri="{FF2B5EF4-FFF2-40B4-BE49-F238E27FC236}">
                  <a16:creationId xmlns:a16="http://schemas.microsoft.com/office/drawing/2014/main" id="{AFBF82C0-014E-45FD-B725-3160ABBE0443}"/>
                </a:ext>
              </a:extLst>
            </p:cNvPr>
            <p:cNvSpPr>
              <a:spLocks noEditPoints="1"/>
            </p:cNvSpPr>
            <p:nvPr/>
          </p:nvSpPr>
          <p:spPr bwMode="auto">
            <a:xfrm>
              <a:off x="704511" y="6027148"/>
              <a:ext cx="382483" cy="362614"/>
            </a:xfrm>
            <a:custGeom>
              <a:avLst/>
              <a:gdLst>
                <a:gd name="T0" fmla="*/ 52 w 308"/>
                <a:gd name="T1" fmla="*/ 4 h 292"/>
                <a:gd name="T2" fmla="*/ 244 w 308"/>
                <a:gd name="T3" fmla="*/ 0 h 292"/>
                <a:gd name="T4" fmla="*/ 308 w 308"/>
                <a:gd name="T5" fmla="*/ 68 h 292"/>
                <a:gd name="T6" fmla="*/ 304 w 308"/>
                <a:gd name="T7" fmla="*/ 266 h 292"/>
                <a:gd name="T8" fmla="*/ 248 w 308"/>
                <a:gd name="T9" fmla="*/ 292 h 292"/>
                <a:gd name="T10" fmla="*/ 16 w 308"/>
                <a:gd name="T11" fmla="*/ 292 h 292"/>
                <a:gd name="T12" fmla="*/ 4 w 308"/>
                <a:gd name="T13" fmla="*/ 266 h 292"/>
                <a:gd name="T14" fmla="*/ 0 w 308"/>
                <a:gd name="T15" fmla="*/ 68 h 292"/>
                <a:gd name="T16" fmla="*/ 16 w 308"/>
                <a:gd name="T17" fmla="*/ 52 h 292"/>
                <a:gd name="T18" fmla="*/ 304 w 308"/>
                <a:gd name="T19" fmla="*/ 56 h 292"/>
                <a:gd name="T20" fmla="*/ 166 w 308"/>
                <a:gd name="T21" fmla="*/ 162 h 292"/>
                <a:gd name="T22" fmla="*/ 154 w 308"/>
                <a:gd name="T23" fmla="*/ 124 h 292"/>
                <a:gd name="T24" fmla="*/ 114 w 308"/>
                <a:gd name="T25" fmla="*/ 98 h 292"/>
                <a:gd name="T26" fmla="*/ 74 w 308"/>
                <a:gd name="T27" fmla="*/ 100 h 292"/>
                <a:gd name="T28" fmla="*/ 40 w 308"/>
                <a:gd name="T29" fmla="*/ 136 h 292"/>
                <a:gd name="T30" fmla="*/ 36 w 308"/>
                <a:gd name="T31" fmla="*/ 174 h 292"/>
                <a:gd name="T32" fmla="*/ 64 w 308"/>
                <a:gd name="T33" fmla="*/ 216 h 292"/>
                <a:gd name="T34" fmla="*/ 100 w 308"/>
                <a:gd name="T35" fmla="*/ 228 h 292"/>
                <a:gd name="T36" fmla="*/ 146 w 308"/>
                <a:gd name="T37" fmla="*/ 208 h 292"/>
                <a:gd name="T38" fmla="*/ 166 w 308"/>
                <a:gd name="T39" fmla="*/ 162 h 292"/>
                <a:gd name="T40" fmla="*/ 268 w 308"/>
                <a:gd name="T41" fmla="*/ 110 h 292"/>
                <a:gd name="T42" fmla="*/ 244 w 308"/>
                <a:gd name="T43" fmla="*/ 96 h 292"/>
                <a:gd name="T44" fmla="*/ 218 w 308"/>
                <a:gd name="T45" fmla="*/ 120 h 292"/>
                <a:gd name="T46" fmla="*/ 226 w 308"/>
                <a:gd name="T47" fmla="*/ 140 h 292"/>
                <a:gd name="T48" fmla="*/ 232 w 308"/>
                <a:gd name="T49" fmla="*/ 222 h 292"/>
                <a:gd name="T50" fmla="*/ 244 w 308"/>
                <a:gd name="T51" fmla="*/ 230 h 292"/>
                <a:gd name="T52" fmla="*/ 256 w 308"/>
                <a:gd name="T53" fmla="*/ 218 h 292"/>
                <a:gd name="T54" fmla="*/ 266 w 308"/>
                <a:gd name="T55" fmla="*/ 134 h 292"/>
                <a:gd name="T56" fmla="*/ 142 w 308"/>
                <a:gd name="T57" fmla="*/ 168 h 292"/>
                <a:gd name="T58" fmla="*/ 140 w 308"/>
                <a:gd name="T59" fmla="*/ 192 h 292"/>
                <a:gd name="T60" fmla="*/ 124 w 308"/>
                <a:gd name="T61" fmla="*/ 186 h 292"/>
                <a:gd name="T62" fmla="*/ 130 w 308"/>
                <a:gd name="T63" fmla="*/ 202 h 292"/>
                <a:gd name="T64" fmla="*/ 108 w 308"/>
                <a:gd name="T65" fmla="*/ 204 h 292"/>
                <a:gd name="T66" fmla="*/ 100 w 308"/>
                <a:gd name="T67" fmla="*/ 196 h 292"/>
                <a:gd name="T68" fmla="*/ 92 w 308"/>
                <a:gd name="T69" fmla="*/ 212 h 292"/>
                <a:gd name="T70" fmla="*/ 76 w 308"/>
                <a:gd name="T71" fmla="*/ 196 h 292"/>
                <a:gd name="T72" fmla="*/ 70 w 308"/>
                <a:gd name="T73" fmla="*/ 184 h 292"/>
                <a:gd name="T74" fmla="*/ 54 w 308"/>
                <a:gd name="T75" fmla="*/ 180 h 292"/>
                <a:gd name="T76" fmla="*/ 64 w 308"/>
                <a:gd name="T77" fmla="*/ 166 h 292"/>
                <a:gd name="T78" fmla="*/ 58 w 308"/>
                <a:gd name="T79" fmla="*/ 154 h 292"/>
                <a:gd name="T80" fmla="*/ 60 w 308"/>
                <a:gd name="T81" fmla="*/ 132 h 292"/>
                <a:gd name="T82" fmla="*/ 70 w 308"/>
                <a:gd name="T83" fmla="*/ 140 h 292"/>
                <a:gd name="T84" fmla="*/ 76 w 308"/>
                <a:gd name="T85" fmla="*/ 126 h 292"/>
                <a:gd name="T86" fmla="*/ 92 w 308"/>
                <a:gd name="T87" fmla="*/ 112 h 292"/>
                <a:gd name="T88" fmla="*/ 100 w 308"/>
                <a:gd name="T89" fmla="*/ 128 h 292"/>
                <a:gd name="T90" fmla="*/ 108 w 308"/>
                <a:gd name="T91" fmla="*/ 112 h 292"/>
                <a:gd name="T92" fmla="*/ 124 w 308"/>
                <a:gd name="T93" fmla="*/ 126 h 292"/>
                <a:gd name="T94" fmla="*/ 124 w 308"/>
                <a:gd name="T95" fmla="*/ 138 h 292"/>
                <a:gd name="T96" fmla="*/ 140 w 308"/>
                <a:gd name="T97" fmla="*/ 130 h 292"/>
                <a:gd name="T98" fmla="*/ 142 w 308"/>
                <a:gd name="T99" fmla="*/ 154 h 292"/>
                <a:gd name="T100" fmla="*/ 134 w 308"/>
                <a:gd name="T101" fmla="*/ 162 h 292"/>
                <a:gd name="T102" fmla="*/ 120 w 308"/>
                <a:gd name="T103" fmla="*/ 162 h 292"/>
                <a:gd name="T104" fmla="*/ 108 w 308"/>
                <a:gd name="T105" fmla="*/ 142 h 292"/>
                <a:gd name="T106" fmla="*/ 86 w 308"/>
                <a:gd name="T107" fmla="*/ 146 h 292"/>
                <a:gd name="T108" fmla="*/ 82 w 308"/>
                <a:gd name="T109" fmla="*/ 170 h 292"/>
                <a:gd name="T110" fmla="*/ 100 w 308"/>
                <a:gd name="T111" fmla="*/ 182 h 292"/>
                <a:gd name="T112" fmla="*/ 120 w 308"/>
                <a:gd name="T113" fmla="*/ 16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8" h="292">
                  <a:moveTo>
                    <a:pt x="290" y="32"/>
                  </a:moveTo>
                  <a:lnTo>
                    <a:pt x="18" y="32"/>
                  </a:lnTo>
                  <a:lnTo>
                    <a:pt x="52" y="4"/>
                  </a:lnTo>
                  <a:lnTo>
                    <a:pt x="52" y="4"/>
                  </a:lnTo>
                  <a:lnTo>
                    <a:pt x="58" y="0"/>
                  </a:lnTo>
                  <a:lnTo>
                    <a:pt x="64" y="0"/>
                  </a:lnTo>
                  <a:lnTo>
                    <a:pt x="244" y="0"/>
                  </a:lnTo>
                  <a:lnTo>
                    <a:pt x="244" y="0"/>
                  </a:lnTo>
                  <a:lnTo>
                    <a:pt x="250" y="0"/>
                  </a:lnTo>
                  <a:lnTo>
                    <a:pt x="256" y="4"/>
                  </a:lnTo>
                  <a:lnTo>
                    <a:pt x="290" y="32"/>
                  </a:lnTo>
                  <a:close/>
                  <a:moveTo>
                    <a:pt x="308" y="68"/>
                  </a:moveTo>
                  <a:lnTo>
                    <a:pt x="308" y="256"/>
                  </a:lnTo>
                  <a:lnTo>
                    <a:pt x="308" y="256"/>
                  </a:lnTo>
                  <a:lnTo>
                    <a:pt x="308" y="262"/>
                  </a:lnTo>
                  <a:lnTo>
                    <a:pt x="304" y="266"/>
                  </a:lnTo>
                  <a:lnTo>
                    <a:pt x="298" y="270"/>
                  </a:lnTo>
                  <a:lnTo>
                    <a:pt x="292" y="272"/>
                  </a:lnTo>
                  <a:lnTo>
                    <a:pt x="292" y="292"/>
                  </a:lnTo>
                  <a:lnTo>
                    <a:pt x="248" y="292"/>
                  </a:lnTo>
                  <a:lnTo>
                    <a:pt x="248" y="272"/>
                  </a:lnTo>
                  <a:lnTo>
                    <a:pt x="60" y="272"/>
                  </a:lnTo>
                  <a:lnTo>
                    <a:pt x="60" y="292"/>
                  </a:lnTo>
                  <a:lnTo>
                    <a:pt x="16" y="292"/>
                  </a:lnTo>
                  <a:lnTo>
                    <a:pt x="16" y="272"/>
                  </a:lnTo>
                  <a:lnTo>
                    <a:pt x="16" y="272"/>
                  </a:lnTo>
                  <a:lnTo>
                    <a:pt x="10" y="270"/>
                  </a:lnTo>
                  <a:lnTo>
                    <a:pt x="4" y="266"/>
                  </a:lnTo>
                  <a:lnTo>
                    <a:pt x="0" y="262"/>
                  </a:lnTo>
                  <a:lnTo>
                    <a:pt x="0" y="256"/>
                  </a:lnTo>
                  <a:lnTo>
                    <a:pt x="0" y="68"/>
                  </a:lnTo>
                  <a:lnTo>
                    <a:pt x="0" y="68"/>
                  </a:lnTo>
                  <a:lnTo>
                    <a:pt x="0" y="62"/>
                  </a:lnTo>
                  <a:lnTo>
                    <a:pt x="4" y="56"/>
                  </a:lnTo>
                  <a:lnTo>
                    <a:pt x="10" y="52"/>
                  </a:lnTo>
                  <a:lnTo>
                    <a:pt x="16" y="52"/>
                  </a:lnTo>
                  <a:lnTo>
                    <a:pt x="292" y="52"/>
                  </a:lnTo>
                  <a:lnTo>
                    <a:pt x="292" y="52"/>
                  </a:lnTo>
                  <a:lnTo>
                    <a:pt x="298" y="52"/>
                  </a:lnTo>
                  <a:lnTo>
                    <a:pt x="304" y="56"/>
                  </a:lnTo>
                  <a:lnTo>
                    <a:pt x="308" y="62"/>
                  </a:lnTo>
                  <a:lnTo>
                    <a:pt x="308" y="68"/>
                  </a:lnTo>
                  <a:lnTo>
                    <a:pt x="308" y="68"/>
                  </a:lnTo>
                  <a:close/>
                  <a:moveTo>
                    <a:pt x="166" y="162"/>
                  </a:moveTo>
                  <a:lnTo>
                    <a:pt x="166" y="162"/>
                  </a:lnTo>
                  <a:lnTo>
                    <a:pt x="164" y="148"/>
                  </a:lnTo>
                  <a:lnTo>
                    <a:pt x="160" y="136"/>
                  </a:lnTo>
                  <a:lnTo>
                    <a:pt x="154" y="124"/>
                  </a:lnTo>
                  <a:lnTo>
                    <a:pt x="146" y="114"/>
                  </a:lnTo>
                  <a:lnTo>
                    <a:pt x="136" y="106"/>
                  </a:lnTo>
                  <a:lnTo>
                    <a:pt x="126" y="100"/>
                  </a:lnTo>
                  <a:lnTo>
                    <a:pt x="114" y="98"/>
                  </a:lnTo>
                  <a:lnTo>
                    <a:pt x="100" y="96"/>
                  </a:lnTo>
                  <a:lnTo>
                    <a:pt x="100" y="96"/>
                  </a:lnTo>
                  <a:lnTo>
                    <a:pt x="86" y="98"/>
                  </a:lnTo>
                  <a:lnTo>
                    <a:pt x="74" y="100"/>
                  </a:lnTo>
                  <a:lnTo>
                    <a:pt x="64" y="106"/>
                  </a:lnTo>
                  <a:lnTo>
                    <a:pt x="54" y="114"/>
                  </a:lnTo>
                  <a:lnTo>
                    <a:pt x="46" y="124"/>
                  </a:lnTo>
                  <a:lnTo>
                    <a:pt x="40" y="136"/>
                  </a:lnTo>
                  <a:lnTo>
                    <a:pt x="36" y="148"/>
                  </a:lnTo>
                  <a:lnTo>
                    <a:pt x="34" y="162"/>
                  </a:lnTo>
                  <a:lnTo>
                    <a:pt x="34" y="162"/>
                  </a:lnTo>
                  <a:lnTo>
                    <a:pt x="36" y="174"/>
                  </a:lnTo>
                  <a:lnTo>
                    <a:pt x="40" y="186"/>
                  </a:lnTo>
                  <a:lnTo>
                    <a:pt x="46" y="198"/>
                  </a:lnTo>
                  <a:lnTo>
                    <a:pt x="54" y="208"/>
                  </a:lnTo>
                  <a:lnTo>
                    <a:pt x="64" y="216"/>
                  </a:lnTo>
                  <a:lnTo>
                    <a:pt x="74" y="222"/>
                  </a:lnTo>
                  <a:lnTo>
                    <a:pt x="86" y="226"/>
                  </a:lnTo>
                  <a:lnTo>
                    <a:pt x="100" y="228"/>
                  </a:lnTo>
                  <a:lnTo>
                    <a:pt x="100" y="228"/>
                  </a:lnTo>
                  <a:lnTo>
                    <a:pt x="114" y="226"/>
                  </a:lnTo>
                  <a:lnTo>
                    <a:pt x="126" y="222"/>
                  </a:lnTo>
                  <a:lnTo>
                    <a:pt x="136" y="216"/>
                  </a:lnTo>
                  <a:lnTo>
                    <a:pt x="146" y="208"/>
                  </a:lnTo>
                  <a:lnTo>
                    <a:pt x="154" y="198"/>
                  </a:lnTo>
                  <a:lnTo>
                    <a:pt x="160" y="186"/>
                  </a:lnTo>
                  <a:lnTo>
                    <a:pt x="164" y="174"/>
                  </a:lnTo>
                  <a:lnTo>
                    <a:pt x="166" y="162"/>
                  </a:lnTo>
                  <a:lnTo>
                    <a:pt x="166" y="162"/>
                  </a:lnTo>
                  <a:close/>
                  <a:moveTo>
                    <a:pt x="270" y="120"/>
                  </a:moveTo>
                  <a:lnTo>
                    <a:pt x="270" y="120"/>
                  </a:lnTo>
                  <a:lnTo>
                    <a:pt x="268" y="110"/>
                  </a:lnTo>
                  <a:lnTo>
                    <a:pt x="262" y="102"/>
                  </a:lnTo>
                  <a:lnTo>
                    <a:pt x="254" y="98"/>
                  </a:lnTo>
                  <a:lnTo>
                    <a:pt x="244" y="96"/>
                  </a:lnTo>
                  <a:lnTo>
                    <a:pt x="244" y="96"/>
                  </a:lnTo>
                  <a:lnTo>
                    <a:pt x="234" y="98"/>
                  </a:lnTo>
                  <a:lnTo>
                    <a:pt x="226" y="102"/>
                  </a:lnTo>
                  <a:lnTo>
                    <a:pt x="220" y="110"/>
                  </a:lnTo>
                  <a:lnTo>
                    <a:pt x="218" y="120"/>
                  </a:lnTo>
                  <a:lnTo>
                    <a:pt x="218" y="120"/>
                  </a:lnTo>
                  <a:lnTo>
                    <a:pt x="220" y="128"/>
                  </a:lnTo>
                  <a:lnTo>
                    <a:pt x="222" y="134"/>
                  </a:lnTo>
                  <a:lnTo>
                    <a:pt x="226" y="140"/>
                  </a:lnTo>
                  <a:lnTo>
                    <a:pt x="232" y="144"/>
                  </a:lnTo>
                  <a:lnTo>
                    <a:pt x="232" y="218"/>
                  </a:lnTo>
                  <a:lnTo>
                    <a:pt x="232" y="218"/>
                  </a:lnTo>
                  <a:lnTo>
                    <a:pt x="232" y="222"/>
                  </a:lnTo>
                  <a:lnTo>
                    <a:pt x="236" y="226"/>
                  </a:lnTo>
                  <a:lnTo>
                    <a:pt x="240" y="228"/>
                  </a:lnTo>
                  <a:lnTo>
                    <a:pt x="244" y="230"/>
                  </a:lnTo>
                  <a:lnTo>
                    <a:pt x="244" y="230"/>
                  </a:lnTo>
                  <a:lnTo>
                    <a:pt x="248" y="228"/>
                  </a:lnTo>
                  <a:lnTo>
                    <a:pt x="252" y="226"/>
                  </a:lnTo>
                  <a:lnTo>
                    <a:pt x="256" y="222"/>
                  </a:lnTo>
                  <a:lnTo>
                    <a:pt x="256" y="218"/>
                  </a:lnTo>
                  <a:lnTo>
                    <a:pt x="256" y="144"/>
                  </a:lnTo>
                  <a:lnTo>
                    <a:pt x="256" y="144"/>
                  </a:lnTo>
                  <a:lnTo>
                    <a:pt x="262" y="140"/>
                  </a:lnTo>
                  <a:lnTo>
                    <a:pt x="266" y="134"/>
                  </a:lnTo>
                  <a:lnTo>
                    <a:pt x="268" y="128"/>
                  </a:lnTo>
                  <a:lnTo>
                    <a:pt x="270" y="120"/>
                  </a:lnTo>
                  <a:lnTo>
                    <a:pt x="270" y="120"/>
                  </a:lnTo>
                  <a:close/>
                  <a:moveTo>
                    <a:pt x="142" y="168"/>
                  </a:moveTo>
                  <a:lnTo>
                    <a:pt x="150" y="168"/>
                  </a:lnTo>
                  <a:lnTo>
                    <a:pt x="150" y="168"/>
                  </a:lnTo>
                  <a:lnTo>
                    <a:pt x="146" y="180"/>
                  </a:lnTo>
                  <a:lnTo>
                    <a:pt x="140" y="192"/>
                  </a:lnTo>
                  <a:lnTo>
                    <a:pt x="134" y="186"/>
                  </a:lnTo>
                  <a:lnTo>
                    <a:pt x="134" y="186"/>
                  </a:lnTo>
                  <a:lnTo>
                    <a:pt x="130" y="184"/>
                  </a:lnTo>
                  <a:lnTo>
                    <a:pt x="124" y="186"/>
                  </a:lnTo>
                  <a:lnTo>
                    <a:pt x="124" y="186"/>
                  </a:lnTo>
                  <a:lnTo>
                    <a:pt x="122" y="190"/>
                  </a:lnTo>
                  <a:lnTo>
                    <a:pt x="124" y="196"/>
                  </a:lnTo>
                  <a:lnTo>
                    <a:pt x="130" y="202"/>
                  </a:lnTo>
                  <a:lnTo>
                    <a:pt x="130" y="202"/>
                  </a:lnTo>
                  <a:lnTo>
                    <a:pt x="120" y="208"/>
                  </a:lnTo>
                  <a:lnTo>
                    <a:pt x="108" y="212"/>
                  </a:lnTo>
                  <a:lnTo>
                    <a:pt x="108" y="204"/>
                  </a:lnTo>
                  <a:lnTo>
                    <a:pt x="108" y="204"/>
                  </a:lnTo>
                  <a:lnTo>
                    <a:pt x="106" y="198"/>
                  </a:lnTo>
                  <a:lnTo>
                    <a:pt x="100" y="196"/>
                  </a:lnTo>
                  <a:lnTo>
                    <a:pt x="100" y="196"/>
                  </a:lnTo>
                  <a:lnTo>
                    <a:pt x="94" y="198"/>
                  </a:lnTo>
                  <a:lnTo>
                    <a:pt x="92" y="204"/>
                  </a:lnTo>
                  <a:lnTo>
                    <a:pt x="92" y="212"/>
                  </a:lnTo>
                  <a:lnTo>
                    <a:pt x="92" y="212"/>
                  </a:lnTo>
                  <a:lnTo>
                    <a:pt x="80" y="208"/>
                  </a:lnTo>
                  <a:lnTo>
                    <a:pt x="70" y="202"/>
                  </a:lnTo>
                  <a:lnTo>
                    <a:pt x="76" y="196"/>
                  </a:lnTo>
                  <a:lnTo>
                    <a:pt x="76" y="196"/>
                  </a:lnTo>
                  <a:lnTo>
                    <a:pt x="78" y="190"/>
                  </a:lnTo>
                  <a:lnTo>
                    <a:pt x="76" y="186"/>
                  </a:lnTo>
                  <a:lnTo>
                    <a:pt x="76" y="186"/>
                  </a:lnTo>
                  <a:lnTo>
                    <a:pt x="70" y="184"/>
                  </a:lnTo>
                  <a:lnTo>
                    <a:pt x="66" y="186"/>
                  </a:lnTo>
                  <a:lnTo>
                    <a:pt x="60" y="192"/>
                  </a:lnTo>
                  <a:lnTo>
                    <a:pt x="60" y="192"/>
                  </a:lnTo>
                  <a:lnTo>
                    <a:pt x="54" y="180"/>
                  </a:lnTo>
                  <a:lnTo>
                    <a:pt x="50" y="168"/>
                  </a:lnTo>
                  <a:lnTo>
                    <a:pt x="58" y="168"/>
                  </a:lnTo>
                  <a:lnTo>
                    <a:pt x="58" y="168"/>
                  </a:lnTo>
                  <a:lnTo>
                    <a:pt x="64" y="166"/>
                  </a:lnTo>
                  <a:lnTo>
                    <a:pt x="66" y="162"/>
                  </a:lnTo>
                  <a:lnTo>
                    <a:pt x="66" y="162"/>
                  </a:lnTo>
                  <a:lnTo>
                    <a:pt x="64" y="156"/>
                  </a:lnTo>
                  <a:lnTo>
                    <a:pt x="58" y="154"/>
                  </a:lnTo>
                  <a:lnTo>
                    <a:pt x="50" y="154"/>
                  </a:lnTo>
                  <a:lnTo>
                    <a:pt x="50" y="154"/>
                  </a:lnTo>
                  <a:lnTo>
                    <a:pt x="54" y="142"/>
                  </a:lnTo>
                  <a:lnTo>
                    <a:pt x="60" y="132"/>
                  </a:lnTo>
                  <a:lnTo>
                    <a:pt x="66" y="138"/>
                  </a:lnTo>
                  <a:lnTo>
                    <a:pt x="66" y="138"/>
                  </a:lnTo>
                  <a:lnTo>
                    <a:pt x="70" y="140"/>
                  </a:lnTo>
                  <a:lnTo>
                    <a:pt x="70" y="140"/>
                  </a:lnTo>
                  <a:lnTo>
                    <a:pt x="76" y="138"/>
                  </a:lnTo>
                  <a:lnTo>
                    <a:pt x="76" y="138"/>
                  </a:lnTo>
                  <a:lnTo>
                    <a:pt x="78" y="132"/>
                  </a:lnTo>
                  <a:lnTo>
                    <a:pt x="76" y="126"/>
                  </a:lnTo>
                  <a:lnTo>
                    <a:pt x="70" y="120"/>
                  </a:lnTo>
                  <a:lnTo>
                    <a:pt x="70" y="120"/>
                  </a:lnTo>
                  <a:lnTo>
                    <a:pt x="80" y="114"/>
                  </a:lnTo>
                  <a:lnTo>
                    <a:pt x="92" y="112"/>
                  </a:lnTo>
                  <a:lnTo>
                    <a:pt x="92" y="120"/>
                  </a:lnTo>
                  <a:lnTo>
                    <a:pt x="92" y="120"/>
                  </a:lnTo>
                  <a:lnTo>
                    <a:pt x="94" y="124"/>
                  </a:lnTo>
                  <a:lnTo>
                    <a:pt x="100" y="128"/>
                  </a:lnTo>
                  <a:lnTo>
                    <a:pt x="100" y="128"/>
                  </a:lnTo>
                  <a:lnTo>
                    <a:pt x="106" y="124"/>
                  </a:lnTo>
                  <a:lnTo>
                    <a:pt x="108" y="120"/>
                  </a:lnTo>
                  <a:lnTo>
                    <a:pt x="108" y="112"/>
                  </a:lnTo>
                  <a:lnTo>
                    <a:pt x="108" y="112"/>
                  </a:lnTo>
                  <a:lnTo>
                    <a:pt x="120" y="114"/>
                  </a:lnTo>
                  <a:lnTo>
                    <a:pt x="130" y="120"/>
                  </a:lnTo>
                  <a:lnTo>
                    <a:pt x="124" y="126"/>
                  </a:lnTo>
                  <a:lnTo>
                    <a:pt x="124" y="126"/>
                  </a:lnTo>
                  <a:lnTo>
                    <a:pt x="122" y="132"/>
                  </a:lnTo>
                  <a:lnTo>
                    <a:pt x="124" y="138"/>
                  </a:lnTo>
                  <a:lnTo>
                    <a:pt x="124" y="138"/>
                  </a:lnTo>
                  <a:lnTo>
                    <a:pt x="130" y="140"/>
                  </a:lnTo>
                  <a:lnTo>
                    <a:pt x="130" y="140"/>
                  </a:lnTo>
                  <a:lnTo>
                    <a:pt x="134" y="138"/>
                  </a:lnTo>
                  <a:lnTo>
                    <a:pt x="140" y="130"/>
                  </a:lnTo>
                  <a:lnTo>
                    <a:pt x="140" y="130"/>
                  </a:lnTo>
                  <a:lnTo>
                    <a:pt x="146" y="142"/>
                  </a:lnTo>
                  <a:lnTo>
                    <a:pt x="150" y="154"/>
                  </a:lnTo>
                  <a:lnTo>
                    <a:pt x="142" y="154"/>
                  </a:lnTo>
                  <a:lnTo>
                    <a:pt x="142" y="154"/>
                  </a:lnTo>
                  <a:lnTo>
                    <a:pt x="136" y="156"/>
                  </a:lnTo>
                  <a:lnTo>
                    <a:pt x="134" y="162"/>
                  </a:lnTo>
                  <a:lnTo>
                    <a:pt x="134" y="162"/>
                  </a:lnTo>
                  <a:lnTo>
                    <a:pt x="136" y="166"/>
                  </a:lnTo>
                  <a:lnTo>
                    <a:pt x="142" y="168"/>
                  </a:lnTo>
                  <a:lnTo>
                    <a:pt x="142" y="168"/>
                  </a:lnTo>
                  <a:close/>
                  <a:moveTo>
                    <a:pt x="120" y="162"/>
                  </a:moveTo>
                  <a:lnTo>
                    <a:pt x="120" y="162"/>
                  </a:lnTo>
                  <a:lnTo>
                    <a:pt x="118" y="154"/>
                  </a:lnTo>
                  <a:lnTo>
                    <a:pt x="114" y="146"/>
                  </a:lnTo>
                  <a:lnTo>
                    <a:pt x="108" y="142"/>
                  </a:lnTo>
                  <a:lnTo>
                    <a:pt x="100" y="140"/>
                  </a:lnTo>
                  <a:lnTo>
                    <a:pt x="100" y="140"/>
                  </a:lnTo>
                  <a:lnTo>
                    <a:pt x="92" y="142"/>
                  </a:lnTo>
                  <a:lnTo>
                    <a:pt x="86" y="146"/>
                  </a:lnTo>
                  <a:lnTo>
                    <a:pt x="82" y="154"/>
                  </a:lnTo>
                  <a:lnTo>
                    <a:pt x="80" y="162"/>
                  </a:lnTo>
                  <a:lnTo>
                    <a:pt x="80" y="162"/>
                  </a:lnTo>
                  <a:lnTo>
                    <a:pt x="82" y="170"/>
                  </a:lnTo>
                  <a:lnTo>
                    <a:pt x="86" y="176"/>
                  </a:lnTo>
                  <a:lnTo>
                    <a:pt x="92" y="180"/>
                  </a:lnTo>
                  <a:lnTo>
                    <a:pt x="100" y="182"/>
                  </a:lnTo>
                  <a:lnTo>
                    <a:pt x="100" y="182"/>
                  </a:lnTo>
                  <a:lnTo>
                    <a:pt x="108" y="180"/>
                  </a:lnTo>
                  <a:lnTo>
                    <a:pt x="114" y="176"/>
                  </a:lnTo>
                  <a:lnTo>
                    <a:pt x="118" y="170"/>
                  </a:lnTo>
                  <a:lnTo>
                    <a:pt x="120" y="162"/>
                  </a:lnTo>
                  <a:lnTo>
                    <a:pt x="120" y="162"/>
                  </a:lnTo>
                  <a:close/>
                </a:path>
              </a:pathLst>
            </a:custGeom>
            <a:grp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34" name="Group 133">
            <a:extLst>
              <a:ext uri="{FF2B5EF4-FFF2-40B4-BE49-F238E27FC236}">
                <a16:creationId xmlns:a16="http://schemas.microsoft.com/office/drawing/2014/main" id="{CB9A1646-3B26-49F6-984C-83847BA804D0}"/>
              </a:ext>
            </a:extLst>
          </p:cNvPr>
          <p:cNvGrpSpPr/>
          <p:nvPr/>
        </p:nvGrpSpPr>
        <p:grpSpPr>
          <a:xfrm>
            <a:off x="8254731" y="1663988"/>
            <a:ext cx="523325" cy="523325"/>
            <a:chOff x="7867755" y="2258092"/>
            <a:chExt cx="612000" cy="612000"/>
          </a:xfrm>
          <a:solidFill>
            <a:srgbClr val="505050"/>
          </a:solidFill>
        </p:grpSpPr>
        <p:sp>
          <p:nvSpPr>
            <p:cNvPr id="135" name="Oval 134">
              <a:extLst>
                <a:ext uri="{FF2B5EF4-FFF2-40B4-BE49-F238E27FC236}">
                  <a16:creationId xmlns:a16="http://schemas.microsoft.com/office/drawing/2014/main" id="{F33C348B-ADEE-42AD-BFD5-C23370D784E5}"/>
                </a:ext>
              </a:extLst>
            </p:cNvPr>
            <p:cNvSpPr/>
            <p:nvPr/>
          </p:nvSpPr>
          <p:spPr bwMode="ltGray">
            <a:xfrm>
              <a:off x="7867755"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36" name="Freeform 4843">
              <a:extLst>
                <a:ext uri="{FF2B5EF4-FFF2-40B4-BE49-F238E27FC236}">
                  <a16:creationId xmlns:a16="http://schemas.microsoft.com/office/drawing/2014/main" id="{03E86B72-A6BB-4EC6-9DD7-3406B2EB58B8}"/>
                </a:ext>
              </a:extLst>
            </p:cNvPr>
            <p:cNvSpPr>
              <a:spLocks noEditPoints="1"/>
            </p:cNvSpPr>
            <p:nvPr/>
          </p:nvSpPr>
          <p:spPr bwMode="auto">
            <a:xfrm>
              <a:off x="7922351" y="2337515"/>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grpFill/>
            <a:ln w="9525">
              <a:noFill/>
              <a:round/>
              <a:headEnd/>
              <a:tailEnd/>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37" name="Group 136">
            <a:extLst>
              <a:ext uri="{FF2B5EF4-FFF2-40B4-BE49-F238E27FC236}">
                <a16:creationId xmlns:a16="http://schemas.microsoft.com/office/drawing/2014/main" id="{0AC13A7F-2E24-4265-A3C7-A1FED76CE173}"/>
              </a:ext>
            </a:extLst>
          </p:cNvPr>
          <p:cNvGrpSpPr/>
          <p:nvPr/>
        </p:nvGrpSpPr>
        <p:grpSpPr>
          <a:xfrm>
            <a:off x="9002704" y="1663988"/>
            <a:ext cx="523325" cy="523325"/>
            <a:chOff x="8742468" y="2258092"/>
            <a:chExt cx="612000" cy="612000"/>
          </a:xfrm>
        </p:grpSpPr>
        <p:sp>
          <p:nvSpPr>
            <p:cNvPr id="138" name="Oval 137">
              <a:extLst>
                <a:ext uri="{FF2B5EF4-FFF2-40B4-BE49-F238E27FC236}">
                  <a16:creationId xmlns:a16="http://schemas.microsoft.com/office/drawing/2014/main" id="{89077FC3-E462-4EF9-AD43-6C2016DCEE7A}"/>
                </a:ext>
              </a:extLst>
            </p:cNvPr>
            <p:cNvSpPr/>
            <p:nvPr/>
          </p:nvSpPr>
          <p:spPr bwMode="ltGray">
            <a:xfrm>
              <a:off x="8742468"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39" name="Freeform 4844">
              <a:extLst>
                <a:ext uri="{FF2B5EF4-FFF2-40B4-BE49-F238E27FC236}">
                  <a16:creationId xmlns:a16="http://schemas.microsoft.com/office/drawing/2014/main" id="{237FEAF8-B8AE-4A87-BC63-672C95DEFF7D}"/>
                </a:ext>
              </a:extLst>
            </p:cNvPr>
            <p:cNvSpPr>
              <a:spLocks noEditPoints="1"/>
            </p:cNvSpPr>
            <p:nvPr/>
          </p:nvSpPr>
          <p:spPr bwMode="auto">
            <a:xfrm>
              <a:off x="8907949" y="2378235"/>
              <a:ext cx="280261" cy="375306"/>
            </a:xfrm>
            <a:custGeom>
              <a:avLst/>
              <a:gdLst>
                <a:gd name="T0" fmla="*/ 172 w 230"/>
                <a:gd name="T1" fmla="*/ 194 h 308"/>
                <a:gd name="T2" fmla="*/ 168 w 230"/>
                <a:gd name="T3" fmla="*/ 216 h 308"/>
                <a:gd name="T4" fmla="*/ 156 w 230"/>
                <a:gd name="T5" fmla="*/ 234 h 308"/>
                <a:gd name="T6" fmla="*/ 138 w 230"/>
                <a:gd name="T7" fmla="*/ 246 h 308"/>
                <a:gd name="T8" fmla="*/ 116 w 230"/>
                <a:gd name="T9" fmla="*/ 250 h 308"/>
                <a:gd name="T10" fmla="*/ 106 w 230"/>
                <a:gd name="T11" fmla="*/ 250 h 308"/>
                <a:gd name="T12" fmla="*/ 90 w 230"/>
                <a:gd name="T13" fmla="*/ 244 h 308"/>
                <a:gd name="T14" fmla="*/ 76 w 230"/>
                <a:gd name="T15" fmla="*/ 234 h 308"/>
                <a:gd name="T16" fmla="*/ 66 w 230"/>
                <a:gd name="T17" fmla="*/ 218 h 308"/>
                <a:gd name="T18" fmla="*/ 116 w 230"/>
                <a:gd name="T19" fmla="*/ 210 h 308"/>
                <a:gd name="T20" fmla="*/ 132 w 230"/>
                <a:gd name="T21" fmla="*/ 194 h 308"/>
                <a:gd name="T22" fmla="*/ 132 w 230"/>
                <a:gd name="T23" fmla="*/ 140 h 308"/>
                <a:gd name="T24" fmla="*/ 148 w 230"/>
                <a:gd name="T25" fmla="*/ 148 h 308"/>
                <a:gd name="T26" fmla="*/ 160 w 230"/>
                <a:gd name="T27" fmla="*/ 160 h 308"/>
                <a:gd name="T28" fmla="*/ 170 w 230"/>
                <a:gd name="T29" fmla="*/ 176 h 308"/>
                <a:gd name="T30" fmla="*/ 172 w 230"/>
                <a:gd name="T31" fmla="*/ 194 h 308"/>
                <a:gd name="T32" fmla="*/ 230 w 230"/>
                <a:gd name="T33" fmla="*/ 82 h 308"/>
                <a:gd name="T34" fmla="*/ 230 w 230"/>
                <a:gd name="T35" fmla="*/ 292 h 308"/>
                <a:gd name="T36" fmla="*/ 226 w 230"/>
                <a:gd name="T37" fmla="*/ 304 h 308"/>
                <a:gd name="T38" fmla="*/ 214 w 230"/>
                <a:gd name="T39" fmla="*/ 308 h 308"/>
                <a:gd name="T40" fmla="*/ 16 w 230"/>
                <a:gd name="T41" fmla="*/ 308 h 308"/>
                <a:gd name="T42" fmla="*/ 6 w 230"/>
                <a:gd name="T43" fmla="*/ 304 h 308"/>
                <a:gd name="T44" fmla="*/ 0 w 230"/>
                <a:gd name="T45" fmla="*/ 292 h 308"/>
                <a:gd name="T46" fmla="*/ 0 w 230"/>
                <a:gd name="T47" fmla="*/ 16 h 308"/>
                <a:gd name="T48" fmla="*/ 6 w 230"/>
                <a:gd name="T49" fmla="*/ 4 h 308"/>
                <a:gd name="T50" fmla="*/ 16 w 230"/>
                <a:gd name="T51" fmla="*/ 0 h 308"/>
                <a:gd name="T52" fmla="*/ 166 w 230"/>
                <a:gd name="T53" fmla="*/ 16 h 308"/>
                <a:gd name="T54" fmla="*/ 230 w 230"/>
                <a:gd name="T55" fmla="*/ 82 h 308"/>
                <a:gd name="T56" fmla="*/ 100 w 230"/>
                <a:gd name="T57" fmla="*/ 178 h 308"/>
                <a:gd name="T58" fmla="*/ 100 w 230"/>
                <a:gd name="T59" fmla="*/ 106 h 308"/>
                <a:gd name="T60" fmla="*/ 72 w 230"/>
                <a:gd name="T61" fmla="*/ 112 h 308"/>
                <a:gd name="T62" fmla="*/ 48 w 230"/>
                <a:gd name="T63" fmla="*/ 128 h 308"/>
                <a:gd name="T64" fmla="*/ 34 w 230"/>
                <a:gd name="T65" fmla="*/ 150 h 308"/>
                <a:gd name="T66" fmla="*/ 28 w 230"/>
                <a:gd name="T67" fmla="*/ 178 h 308"/>
                <a:gd name="T68" fmla="*/ 188 w 230"/>
                <a:gd name="T69" fmla="*/ 194 h 308"/>
                <a:gd name="T70" fmla="*/ 186 w 230"/>
                <a:gd name="T71" fmla="*/ 180 h 308"/>
                <a:gd name="T72" fmla="*/ 176 w 230"/>
                <a:gd name="T73" fmla="*/ 154 h 308"/>
                <a:gd name="T74" fmla="*/ 156 w 230"/>
                <a:gd name="T75" fmla="*/ 134 h 308"/>
                <a:gd name="T76" fmla="*/ 130 w 230"/>
                <a:gd name="T77" fmla="*/ 124 h 308"/>
                <a:gd name="T78" fmla="*/ 116 w 230"/>
                <a:gd name="T79" fmla="*/ 194 h 308"/>
                <a:gd name="T80" fmla="*/ 44 w 230"/>
                <a:gd name="T81" fmla="*/ 194 h 308"/>
                <a:gd name="T82" fmla="*/ 50 w 230"/>
                <a:gd name="T83" fmla="*/ 222 h 308"/>
                <a:gd name="T84" fmla="*/ 64 w 230"/>
                <a:gd name="T85" fmla="*/ 246 h 308"/>
                <a:gd name="T86" fmla="*/ 88 w 230"/>
                <a:gd name="T87" fmla="*/ 262 h 308"/>
                <a:gd name="T88" fmla="*/ 116 w 230"/>
                <a:gd name="T89" fmla="*/ 266 h 308"/>
                <a:gd name="T90" fmla="*/ 130 w 230"/>
                <a:gd name="T91" fmla="*/ 266 h 308"/>
                <a:gd name="T92" fmla="*/ 156 w 230"/>
                <a:gd name="T93" fmla="*/ 254 h 308"/>
                <a:gd name="T94" fmla="*/ 176 w 230"/>
                <a:gd name="T95" fmla="*/ 234 h 308"/>
                <a:gd name="T96" fmla="*/ 186 w 230"/>
                <a:gd name="T97" fmla="*/ 210 h 308"/>
                <a:gd name="T98" fmla="*/ 188 w 230"/>
                <a:gd name="T99" fmla="*/ 194 h 308"/>
                <a:gd name="T100" fmla="*/ 188 w 230"/>
                <a:gd name="T101" fmla="*/ 66 h 308"/>
                <a:gd name="T102" fmla="*/ 166 w 230"/>
                <a:gd name="T103" fmla="*/ 42 h 308"/>
                <a:gd name="T104" fmla="*/ 148 w 230"/>
                <a:gd name="T105"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0" h="308">
                  <a:moveTo>
                    <a:pt x="172" y="194"/>
                  </a:moveTo>
                  <a:lnTo>
                    <a:pt x="172" y="194"/>
                  </a:lnTo>
                  <a:lnTo>
                    <a:pt x="172" y="206"/>
                  </a:lnTo>
                  <a:lnTo>
                    <a:pt x="168" y="216"/>
                  </a:lnTo>
                  <a:lnTo>
                    <a:pt x="162" y="226"/>
                  </a:lnTo>
                  <a:lnTo>
                    <a:pt x="156" y="234"/>
                  </a:lnTo>
                  <a:lnTo>
                    <a:pt x="148" y="242"/>
                  </a:lnTo>
                  <a:lnTo>
                    <a:pt x="138" y="246"/>
                  </a:lnTo>
                  <a:lnTo>
                    <a:pt x="128" y="250"/>
                  </a:lnTo>
                  <a:lnTo>
                    <a:pt x="116" y="250"/>
                  </a:lnTo>
                  <a:lnTo>
                    <a:pt x="116" y="250"/>
                  </a:lnTo>
                  <a:lnTo>
                    <a:pt x="106" y="250"/>
                  </a:lnTo>
                  <a:lnTo>
                    <a:pt x="98" y="248"/>
                  </a:lnTo>
                  <a:lnTo>
                    <a:pt x="90" y="244"/>
                  </a:lnTo>
                  <a:lnTo>
                    <a:pt x="82" y="240"/>
                  </a:lnTo>
                  <a:lnTo>
                    <a:pt x="76" y="234"/>
                  </a:lnTo>
                  <a:lnTo>
                    <a:pt x="70" y="226"/>
                  </a:lnTo>
                  <a:lnTo>
                    <a:pt x="66" y="218"/>
                  </a:lnTo>
                  <a:lnTo>
                    <a:pt x="62" y="210"/>
                  </a:lnTo>
                  <a:lnTo>
                    <a:pt x="116" y="210"/>
                  </a:lnTo>
                  <a:lnTo>
                    <a:pt x="132" y="210"/>
                  </a:lnTo>
                  <a:lnTo>
                    <a:pt x="132" y="194"/>
                  </a:lnTo>
                  <a:lnTo>
                    <a:pt x="132" y="140"/>
                  </a:lnTo>
                  <a:lnTo>
                    <a:pt x="132" y="140"/>
                  </a:lnTo>
                  <a:lnTo>
                    <a:pt x="140" y="144"/>
                  </a:lnTo>
                  <a:lnTo>
                    <a:pt x="148" y="148"/>
                  </a:lnTo>
                  <a:lnTo>
                    <a:pt x="154" y="154"/>
                  </a:lnTo>
                  <a:lnTo>
                    <a:pt x="160" y="160"/>
                  </a:lnTo>
                  <a:lnTo>
                    <a:pt x="166" y="168"/>
                  </a:lnTo>
                  <a:lnTo>
                    <a:pt x="170" y="176"/>
                  </a:lnTo>
                  <a:lnTo>
                    <a:pt x="172" y="186"/>
                  </a:lnTo>
                  <a:lnTo>
                    <a:pt x="172" y="194"/>
                  </a:lnTo>
                  <a:lnTo>
                    <a:pt x="172" y="194"/>
                  </a:lnTo>
                  <a:close/>
                  <a:moveTo>
                    <a:pt x="230" y="82"/>
                  </a:moveTo>
                  <a:lnTo>
                    <a:pt x="230" y="292"/>
                  </a:lnTo>
                  <a:lnTo>
                    <a:pt x="230" y="292"/>
                  </a:lnTo>
                  <a:lnTo>
                    <a:pt x="230" y="298"/>
                  </a:lnTo>
                  <a:lnTo>
                    <a:pt x="226" y="304"/>
                  </a:lnTo>
                  <a:lnTo>
                    <a:pt x="222" y="308"/>
                  </a:lnTo>
                  <a:lnTo>
                    <a:pt x="214" y="308"/>
                  </a:lnTo>
                  <a:lnTo>
                    <a:pt x="16" y="308"/>
                  </a:lnTo>
                  <a:lnTo>
                    <a:pt x="16" y="308"/>
                  </a:lnTo>
                  <a:lnTo>
                    <a:pt x="10" y="308"/>
                  </a:lnTo>
                  <a:lnTo>
                    <a:pt x="6" y="304"/>
                  </a:lnTo>
                  <a:lnTo>
                    <a:pt x="2" y="298"/>
                  </a:lnTo>
                  <a:lnTo>
                    <a:pt x="0" y="292"/>
                  </a:lnTo>
                  <a:lnTo>
                    <a:pt x="0" y="16"/>
                  </a:lnTo>
                  <a:lnTo>
                    <a:pt x="0" y="16"/>
                  </a:lnTo>
                  <a:lnTo>
                    <a:pt x="2" y="10"/>
                  </a:lnTo>
                  <a:lnTo>
                    <a:pt x="6" y="4"/>
                  </a:lnTo>
                  <a:lnTo>
                    <a:pt x="10" y="0"/>
                  </a:lnTo>
                  <a:lnTo>
                    <a:pt x="16" y="0"/>
                  </a:lnTo>
                  <a:lnTo>
                    <a:pt x="150" y="0"/>
                  </a:lnTo>
                  <a:lnTo>
                    <a:pt x="166" y="16"/>
                  </a:lnTo>
                  <a:lnTo>
                    <a:pt x="214" y="66"/>
                  </a:lnTo>
                  <a:lnTo>
                    <a:pt x="230" y="82"/>
                  </a:lnTo>
                  <a:close/>
                  <a:moveTo>
                    <a:pt x="28" y="178"/>
                  </a:moveTo>
                  <a:lnTo>
                    <a:pt x="100" y="178"/>
                  </a:lnTo>
                  <a:lnTo>
                    <a:pt x="100" y="106"/>
                  </a:lnTo>
                  <a:lnTo>
                    <a:pt x="100" y="106"/>
                  </a:lnTo>
                  <a:lnTo>
                    <a:pt x="86" y="108"/>
                  </a:lnTo>
                  <a:lnTo>
                    <a:pt x="72" y="112"/>
                  </a:lnTo>
                  <a:lnTo>
                    <a:pt x="60" y="118"/>
                  </a:lnTo>
                  <a:lnTo>
                    <a:pt x="48" y="128"/>
                  </a:lnTo>
                  <a:lnTo>
                    <a:pt x="40" y="138"/>
                  </a:lnTo>
                  <a:lnTo>
                    <a:pt x="34" y="150"/>
                  </a:lnTo>
                  <a:lnTo>
                    <a:pt x="28" y="164"/>
                  </a:lnTo>
                  <a:lnTo>
                    <a:pt x="28" y="178"/>
                  </a:lnTo>
                  <a:lnTo>
                    <a:pt x="28" y="178"/>
                  </a:lnTo>
                  <a:close/>
                  <a:moveTo>
                    <a:pt x="188" y="194"/>
                  </a:moveTo>
                  <a:lnTo>
                    <a:pt x="188" y="194"/>
                  </a:lnTo>
                  <a:lnTo>
                    <a:pt x="186" y="180"/>
                  </a:lnTo>
                  <a:lnTo>
                    <a:pt x="182" y="166"/>
                  </a:lnTo>
                  <a:lnTo>
                    <a:pt x="176" y="154"/>
                  </a:lnTo>
                  <a:lnTo>
                    <a:pt x="168" y="144"/>
                  </a:lnTo>
                  <a:lnTo>
                    <a:pt x="156" y="134"/>
                  </a:lnTo>
                  <a:lnTo>
                    <a:pt x="144" y="128"/>
                  </a:lnTo>
                  <a:lnTo>
                    <a:pt x="130" y="124"/>
                  </a:lnTo>
                  <a:lnTo>
                    <a:pt x="116" y="122"/>
                  </a:lnTo>
                  <a:lnTo>
                    <a:pt x="116" y="194"/>
                  </a:lnTo>
                  <a:lnTo>
                    <a:pt x="44" y="194"/>
                  </a:lnTo>
                  <a:lnTo>
                    <a:pt x="44" y="194"/>
                  </a:lnTo>
                  <a:lnTo>
                    <a:pt x="46" y="210"/>
                  </a:lnTo>
                  <a:lnTo>
                    <a:pt x="50" y="222"/>
                  </a:lnTo>
                  <a:lnTo>
                    <a:pt x="56" y="234"/>
                  </a:lnTo>
                  <a:lnTo>
                    <a:pt x="64" y="246"/>
                  </a:lnTo>
                  <a:lnTo>
                    <a:pt x="76" y="254"/>
                  </a:lnTo>
                  <a:lnTo>
                    <a:pt x="88" y="262"/>
                  </a:lnTo>
                  <a:lnTo>
                    <a:pt x="102" y="266"/>
                  </a:lnTo>
                  <a:lnTo>
                    <a:pt x="116" y="266"/>
                  </a:lnTo>
                  <a:lnTo>
                    <a:pt x="116" y="266"/>
                  </a:lnTo>
                  <a:lnTo>
                    <a:pt x="130" y="266"/>
                  </a:lnTo>
                  <a:lnTo>
                    <a:pt x="144" y="262"/>
                  </a:lnTo>
                  <a:lnTo>
                    <a:pt x="156" y="254"/>
                  </a:lnTo>
                  <a:lnTo>
                    <a:pt x="168" y="246"/>
                  </a:lnTo>
                  <a:lnTo>
                    <a:pt x="176" y="234"/>
                  </a:lnTo>
                  <a:lnTo>
                    <a:pt x="182" y="222"/>
                  </a:lnTo>
                  <a:lnTo>
                    <a:pt x="186" y="210"/>
                  </a:lnTo>
                  <a:lnTo>
                    <a:pt x="188" y="194"/>
                  </a:lnTo>
                  <a:lnTo>
                    <a:pt x="188" y="194"/>
                  </a:lnTo>
                  <a:close/>
                  <a:moveTo>
                    <a:pt x="206" y="84"/>
                  </a:moveTo>
                  <a:lnTo>
                    <a:pt x="188" y="66"/>
                  </a:lnTo>
                  <a:lnTo>
                    <a:pt x="166" y="66"/>
                  </a:lnTo>
                  <a:lnTo>
                    <a:pt x="166" y="42"/>
                  </a:lnTo>
                  <a:lnTo>
                    <a:pt x="148" y="24"/>
                  </a:lnTo>
                  <a:lnTo>
                    <a:pt x="148" y="84"/>
                  </a:lnTo>
                  <a:lnTo>
                    <a:pt x="206" y="8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40" name="Group 139">
            <a:extLst>
              <a:ext uri="{FF2B5EF4-FFF2-40B4-BE49-F238E27FC236}">
                <a16:creationId xmlns:a16="http://schemas.microsoft.com/office/drawing/2014/main" id="{4974FD9E-84E4-4BE4-987D-957DFE167491}"/>
              </a:ext>
            </a:extLst>
          </p:cNvPr>
          <p:cNvGrpSpPr/>
          <p:nvPr/>
        </p:nvGrpSpPr>
        <p:grpSpPr>
          <a:xfrm>
            <a:off x="9750677" y="1663988"/>
            <a:ext cx="523325" cy="523325"/>
            <a:chOff x="9617181" y="2258092"/>
            <a:chExt cx="612000" cy="612000"/>
          </a:xfrm>
          <a:noFill/>
        </p:grpSpPr>
        <p:sp>
          <p:nvSpPr>
            <p:cNvPr id="141" name="Oval 140">
              <a:extLst>
                <a:ext uri="{FF2B5EF4-FFF2-40B4-BE49-F238E27FC236}">
                  <a16:creationId xmlns:a16="http://schemas.microsoft.com/office/drawing/2014/main" id="{6E22FA68-250E-4F77-9EEC-EC0E596D9C0B}"/>
                </a:ext>
              </a:extLst>
            </p:cNvPr>
            <p:cNvSpPr/>
            <p:nvPr/>
          </p:nvSpPr>
          <p:spPr bwMode="ltGray">
            <a:xfrm>
              <a:off x="9617181" y="2258092"/>
              <a:ext cx="612000" cy="6120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42" name="Freeform 4845">
              <a:extLst>
                <a:ext uri="{FF2B5EF4-FFF2-40B4-BE49-F238E27FC236}">
                  <a16:creationId xmlns:a16="http://schemas.microsoft.com/office/drawing/2014/main" id="{A362CB0B-BCF9-4C0B-A0B1-08B663D7B678}"/>
                </a:ext>
              </a:extLst>
            </p:cNvPr>
            <p:cNvSpPr>
              <a:spLocks noEditPoints="1"/>
            </p:cNvSpPr>
            <p:nvPr/>
          </p:nvSpPr>
          <p:spPr bwMode="auto">
            <a:xfrm>
              <a:off x="9688836" y="2312435"/>
              <a:ext cx="467913" cy="506906"/>
            </a:xfrm>
            <a:custGeom>
              <a:avLst/>
              <a:gdLst>
                <a:gd name="T0" fmla="*/ 86 w 384"/>
                <a:gd name="T1" fmla="*/ 34 h 416"/>
                <a:gd name="T2" fmla="*/ 108 w 384"/>
                <a:gd name="T3" fmla="*/ 36 h 416"/>
                <a:gd name="T4" fmla="*/ 122 w 384"/>
                <a:gd name="T5" fmla="*/ 86 h 416"/>
                <a:gd name="T6" fmla="*/ 102 w 384"/>
                <a:gd name="T7" fmla="*/ 82 h 416"/>
                <a:gd name="T8" fmla="*/ 24 w 384"/>
                <a:gd name="T9" fmla="*/ 106 h 416"/>
                <a:gd name="T10" fmla="*/ 26 w 384"/>
                <a:gd name="T11" fmla="*/ 126 h 416"/>
                <a:gd name="T12" fmla="*/ 68 w 384"/>
                <a:gd name="T13" fmla="*/ 136 h 416"/>
                <a:gd name="T14" fmla="*/ 64 w 384"/>
                <a:gd name="T15" fmla="*/ 120 h 416"/>
                <a:gd name="T16" fmla="*/ 154 w 384"/>
                <a:gd name="T17" fmla="*/ 372 h 416"/>
                <a:gd name="T18" fmla="*/ 164 w 384"/>
                <a:gd name="T19" fmla="*/ 386 h 416"/>
                <a:gd name="T20" fmla="*/ 230 w 384"/>
                <a:gd name="T21" fmla="*/ 376 h 416"/>
                <a:gd name="T22" fmla="*/ 220 w 384"/>
                <a:gd name="T23" fmla="*/ 366 h 416"/>
                <a:gd name="T24" fmla="*/ 164 w 384"/>
                <a:gd name="T25" fmla="*/ 402 h 416"/>
                <a:gd name="T26" fmla="*/ 174 w 384"/>
                <a:gd name="T27" fmla="*/ 416 h 416"/>
                <a:gd name="T28" fmla="*/ 220 w 384"/>
                <a:gd name="T29" fmla="*/ 406 h 416"/>
                <a:gd name="T30" fmla="*/ 210 w 384"/>
                <a:gd name="T31" fmla="*/ 396 h 416"/>
                <a:gd name="T32" fmla="*/ 34 w 384"/>
                <a:gd name="T33" fmla="*/ 294 h 416"/>
                <a:gd name="T34" fmla="*/ 48 w 384"/>
                <a:gd name="T35" fmla="*/ 302 h 416"/>
                <a:gd name="T36" fmla="*/ 66 w 384"/>
                <a:gd name="T37" fmla="*/ 280 h 416"/>
                <a:gd name="T38" fmla="*/ 52 w 384"/>
                <a:gd name="T39" fmla="*/ 276 h 416"/>
                <a:gd name="T40" fmla="*/ 38 w 384"/>
                <a:gd name="T41" fmla="*/ 196 h 416"/>
                <a:gd name="T42" fmla="*/ 0 w 384"/>
                <a:gd name="T43" fmla="*/ 208 h 416"/>
                <a:gd name="T44" fmla="*/ 38 w 384"/>
                <a:gd name="T45" fmla="*/ 220 h 416"/>
                <a:gd name="T46" fmla="*/ 50 w 384"/>
                <a:gd name="T47" fmla="*/ 208 h 416"/>
                <a:gd name="T48" fmla="*/ 206 w 384"/>
                <a:gd name="T49" fmla="*/ 54 h 416"/>
                <a:gd name="T50" fmla="*/ 192 w 384"/>
                <a:gd name="T51" fmla="*/ 0 h 416"/>
                <a:gd name="T52" fmla="*/ 178 w 384"/>
                <a:gd name="T53" fmla="*/ 54 h 416"/>
                <a:gd name="T54" fmla="*/ 192 w 384"/>
                <a:gd name="T55" fmla="*/ 68 h 416"/>
                <a:gd name="T56" fmla="*/ 320 w 384"/>
                <a:gd name="T57" fmla="*/ 278 h 416"/>
                <a:gd name="T58" fmla="*/ 322 w 384"/>
                <a:gd name="T59" fmla="*/ 294 h 416"/>
                <a:gd name="T60" fmla="*/ 348 w 384"/>
                <a:gd name="T61" fmla="*/ 298 h 416"/>
                <a:gd name="T62" fmla="*/ 346 w 384"/>
                <a:gd name="T63" fmla="*/ 284 h 416"/>
                <a:gd name="T64" fmla="*/ 362 w 384"/>
                <a:gd name="T65" fmla="*/ 122 h 416"/>
                <a:gd name="T66" fmla="*/ 356 w 384"/>
                <a:gd name="T67" fmla="*/ 104 h 416"/>
                <a:gd name="T68" fmla="*/ 314 w 384"/>
                <a:gd name="T69" fmla="*/ 128 h 416"/>
                <a:gd name="T70" fmla="*/ 326 w 384"/>
                <a:gd name="T71" fmla="*/ 142 h 416"/>
                <a:gd name="T72" fmla="*/ 336 w 384"/>
                <a:gd name="T73" fmla="*/ 204 h 416"/>
                <a:gd name="T74" fmla="*/ 346 w 384"/>
                <a:gd name="T75" fmla="*/ 220 h 416"/>
                <a:gd name="T76" fmla="*/ 384 w 384"/>
                <a:gd name="T77" fmla="*/ 208 h 416"/>
                <a:gd name="T78" fmla="*/ 372 w 384"/>
                <a:gd name="T79" fmla="*/ 196 h 416"/>
                <a:gd name="T80" fmla="*/ 276 w 384"/>
                <a:gd name="T81" fmla="*/ 36 h 416"/>
                <a:gd name="T82" fmla="*/ 262 w 384"/>
                <a:gd name="T83" fmla="*/ 86 h 416"/>
                <a:gd name="T84" fmla="*/ 300 w 384"/>
                <a:gd name="T85" fmla="*/ 50 h 416"/>
                <a:gd name="T86" fmla="*/ 294 w 384"/>
                <a:gd name="T87" fmla="*/ 32 h 416"/>
                <a:gd name="T88" fmla="*/ 262 w 384"/>
                <a:gd name="T89" fmla="*/ 256 h 416"/>
                <a:gd name="T90" fmla="*/ 236 w 384"/>
                <a:gd name="T91" fmla="*/ 322 h 416"/>
                <a:gd name="T92" fmla="*/ 218 w 384"/>
                <a:gd name="T93" fmla="*/ 354 h 416"/>
                <a:gd name="T94" fmla="*/ 150 w 384"/>
                <a:gd name="T95" fmla="*/ 338 h 416"/>
                <a:gd name="T96" fmla="*/ 132 w 384"/>
                <a:gd name="T97" fmla="*/ 270 h 416"/>
                <a:gd name="T98" fmla="*/ 98 w 384"/>
                <a:gd name="T99" fmla="*/ 196 h 416"/>
                <a:gd name="T100" fmla="*/ 134 w 384"/>
                <a:gd name="T101" fmla="*/ 118 h 416"/>
                <a:gd name="T102" fmla="*/ 234 w 384"/>
                <a:gd name="T103" fmla="*/ 108 h 416"/>
                <a:gd name="T104" fmla="*/ 286 w 384"/>
                <a:gd name="T105" fmla="*/ 196 h 416"/>
                <a:gd name="T106" fmla="*/ 192 w 384"/>
                <a:gd name="T107" fmla="*/ 128 h 416"/>
                <a:gd name="T108" fmla="*/ 146 w 384"/>
                <a:gd name="T109" fmla="*/ 144 h 416"/>
                <a:gd name="T110" fmla="*/ 126 w 384"/>
                <a:gd name="T111" fmla="*/ 198 h 416"/>
                <a:gd name="T112" fmla="*/ 142 w 384"/>
                <a:gd name="T113" fmla="*/ 200 h 416"/>
                <a:gd name="T114" fmla="*/ 154 w 384"/>
                <a:gd name="T115" fmla="*/ 164 h 416"/>
                <a:gd name="T116" fmla="*/ 190 w 384"/>
                <a:gd name="T117" fmla="*/ 148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4" h="416">
                  <a:moveTo>
                    <a:pt x="102" y="82"/>
                  </a:moveTo>
                  <a:lnTo>
                    <a:pt x="84" y="50"/>
                  </a:lnTo>
                  <a:lnTo>
                    <a:pt x="84" y="50"/>
                  </a:lnTo>
                  <a:lnTo>
                    <a:pt x="82" y="44"/>
                  </a:lnTo>
                  <a:lnTo>
                    <a:pt x="84" y="40"/>
                  </a:lnTo>
                  <a:lnTo>
                    <a:pt x="86" y="34"/>
                  </a:lnTo>
                  <a:lnTo>
                    <a:pt x="90" y="32"/>
                  </a:lnTo>
                  <a:lnTo>
                    <a:pt x="90" y="32"/>
                  </a:lnTo>
                  <a:lnTo>
                    <a:pt x="96" y="30"/>
                  </a:lnTo>
                  <a:lnTo>
                    <a:pt x="100" y="30"/>
                  </a:lnTo>
                  <a:lnTo>
                    <a:pt x="106" y="32"/>
                  </a:lnTo>
                  <a:lnTo>
                    <a:pt x="108" y="36"/>
                  </a:lnTo>
                  <a:lnTo>
                    <a:pt x="126" y="68"/>
                  </a:lnTo>
                  <a:lnTo>
                    <a:pt x="126" y="68"/>
                  </a:lnTo>
                  <a:lnTo>
                    <a:pt x="128" y="72"/>
                  </a:lnTo>
                  <a:lnTo>
                    <a:pt x="128" y="78"/>
                  </a:lnTo>
                  <a:lnTo>
                    <a:pt x="126" y="82"/>
                  </a:lnTo>
                  <a:lnTo>
                    <a:pt x="122" y="86"/>
                  </a:lnTo>
                  <a:lnTo>
                    <a:pt x="122" y="86"/>
                  </a:lnTo>
                  <a:lnTo>
                    <a:pt x="114" y="88"/>
                  </a:lnTo>
                  <a:lnTo>
                    <a:pt x="114" y="88"/>
                  </a:lnTo>
                  <a:lnTo>
                    <a:pt x="108" y="86"/>
                  </a:lnTo>
                  <a:lnTo>
                    <a:pt x="102" y="82"/>
                  </a:lnTo>
                  <a:lnTo>
                    <a:pt x="102" y="82"/>
                  </a:lnTo>
                  <a:close/>
                  <a:moveTo>
                    <a:pt x="64" y="120"/>
                  </a:moveTo>
                  <a:lnTo>
                    <a:pt x="38" y="104"/>
                  </a:lnTo>
                  <a:lnTo>
                    <a:pt x="38" y="104"/>
                  </a:lnTo>
                  <a:lnTo>
                    <a:pt x="32" y="104"/>
                  </a:lnTo>
                  <a:lnTo>
                    <a:pt x="28" y="104"/>
                  </a:lnTo>
                  <a:lnTo>
                    <a:pt x="24" y="106"/>
                  </a:lnTo>
                  <a:lnTo>
                    <a:pt x="22" y="110"/>
                  </a:lnTo>
                  <a:lnTo>
                    <a:pt x="22" y="110"/>
                  </a:lnTo>
                  <a:lnTo>
                    <a:pt x="20" y="114"/>
                  </a:lnTo>
                  <a:lnTo>
                    <a:pt x="20" y="118"/>
                  </a:lnTo>
                  <a:lnTo>
                    <a:pt x="22" y="122"/>
                  </a:lnTo>
                  <a:lnTo>
                    <a:pt x="26" y="126"/>
                  </a:lnTo>
                  <a:lnTo>
                    <a:pt x="52" y="142"/>
                  </a:lnTo>
                  <a:lnTo>
                    <a:pt x="52" y="142"/>
                  </a:lnTo>
                  <a:lnTo>
                    <a:pt x="58" y="142"/>
                  </a:lnTo>
                  <a:lnTo>
                    <a:pt x="58" y="142"/>
                  </a:lnTo>
                  <a:lnTo>
                    <a:pt x="64" y="142"/>
                  </a:lnTo>
                  <a:lnTo>
                    <a:pt x="68" y="136"/>
                  </a:lnTo>
                  <a:lnTo>
                    <a:pt x="68" y="136"/>
                  </a:lnTo>
                  <a:lnTo>
                    <a:pt x="70" y="132"/>
                  </a:lnTo>
                  <a:lnTo>
                    <a:pt x="70" y="128"/>
                  </a:lnTo>
                  <a:lnTo>
                    <a:pt x="68" y="124"/>
                  </a:lnTo>
                  <a:lnTo>
                    <a:pt x="64" y="120"/>
                  </a:lnTo>
                  <a:lnTo>
                    <a:pt x="64" y="120"/>
                  </a:lnTo>
                  <a:close/>
                  <a:moveTo>
                    <a:pt x="220" y="366"/>
                  </a:moveTo>
                  <a:lnTo>
                    <a:pt x="164" y="366"/>
                  </a:lnTo>
                  <a:lnTo>
                    <a:pt x="164" y="366"/>
                  </a:lnTo>
                  <a:lnTo>
                    <a:pt x="160" y="366"/>
                  </a:lnTo>
                  <a:lnTo>
                    <a:pt x="156" y="368"/>
                  </a:lnTo>
                  <a:lnTo>
                    <a:pt x="154" y="372"/>
                  </a:lnTo>
                  <a:lnTo>
                    <a:pt x="154" y="376"/>
                  </a:lnTo>
                  <a:lnTo>
                    <a:pt x="154" y="376"/>
                  </a:lnTo>
                  <a:lnTo>
                    <a:pt x="154" y="380"/>
                  </a:lnTo>
                  <a:lnTo>
                    <a:pt x="156" y="382"/>
                  </a:lnTo>
                  <a:lnTo>
                    <a:pt x="160" y="384"/>
                  </a:lnTo>
                  <a:lnTo>
                    <a:pt x="164" y="386"/>
                  </a:lnTo>
                  <a:lnTo>
                    <a:pt x="220" y="386"/>
                  </a:lnTo>
                  <a:lnTo>
                    <a:pt x="220" y="386"/>
                  </a:lnTo>
                  <a:lnTo>
                    <a:pt x="224" y="384"/>
                  </a:lnTo>
                  <a:lnTo>
                    <a:pt x="228" y="382"/>
                  </a:lnTo>
                  <a:lnTo>
                    <a:pt x="230" y="380"/>
                  </a:lnTo>
                  <a:lnTo>
                    <a:pt x="230" y="376"/>
                  </a:lnTo>
                  <a:lnTo>
                    <a:pt x="230" y="376"/>
                  </a:lnTo>
                  <a:lnTo>
                    <a:pt x="230" y="372"/>
                  </a:lnTo>
                  <a:lnTo>
                    <a:pt x="228" y="368"/>
                  </a:lnTo>
                  <a:lnTo>
                    <a:pt x="224" y="366"/>
                  </a:lnTo>
                  <a:lnTo>
                    <a:pt x="220" y="366"/>
                  </a:lnTo>
                  <a:lnTo>
                    <a:pt x="220" y="366"/>
                  </a:lnTo>
                  <a:close/>
                  <a:moveTo>
                    <a:pt x="210" y="396"/>
                  </a:moveTo>
                  <a:lnTo>
                    <a:pt x="174" y="396"/>
                  </a:lnTo>
                  <a:lnTo>
                    <a:pt x="174" y="396"/>
                  </a:lnTo>
                  <a:lnTo>
                    <a:pt x="170" y="396"/>
                  </a:lnTo>
                  <a:lnTo>
                    <a:pt x="166" y="398"/>
                  </a:lnTo>
                  <a:lnTo>
                    <a:pt x="164" y="402"/>
                  </a:lnTo>
                  <a:lnTo>
                    <a:pt x="164" y="406"/>
                  </a:lnTo>
                  <a:lnTo>
                    <a:pt x="164" y="406"/>
                  </a:lnTo>
                  <a:lnTo>
                    <a:pt x="164" y="410"/>
                  </a:lnTo>
                  <a:lnTo>
                    <a:pt x="166" y="414"/>
                  </a:lnTo>
                  <a:lnTo>
                    <a:pt x="170" y="416"/>
                  </a:lnTo>
                  <a:lnTo>
                    <a:pt x="174" y="416"/>
                  </a:lnTo>
                  <a:lnTo>
                    <a:pt x="210" y="416"/>
                  </a:lnTo>
                  <a:lnTo>
                    <a:pt x="210" y="416"/>
                  </a:lnTo>
                  <a:lnTo>
                    <a:pt x="214" y="416"/>
                  </a:lnTo>
                  <a:lnTo>
                    <a:pt x="218" y="414"/>
                  </a:lnTo>
                  <a:lnTo>
                    <a:pt x="220" y="410"/>
                  </a:lnTo>
                  <a:lnTo>
                    <a:pt x="220" y="406"/>
                  </a:lnTo>
                  <a:lnTo>
                    <a:pt x="220" y="406"/>
                  </a:lnTo>
                  <a:lnTo>
                    <a:pt x="220" y="402"/>
                  </a:lnTo>
                  <a:lnTo>
                    <a:pt x="218" y="398"/>
                  </a:lnTo>
                  <a:lnTo>
                    <a:pt x="214" y="396"/>
                  </a:lnTo>
                  <a:lnTo>
                    <a:pt x="210" y="396"/>
                  </a:lnTo>
                  <a:lnTo>
                    <a:pt x="210" y="396"/>
                  </a:lnTo>
                  <a:close/>
                  <a:moveTo>
                    <a:pt x="52" y="276"/>
                  </a:moveTo>
                  <a:lnTo>
                    <a:pt x="38" y="284"/>
                  </a:lnTo>
                  <a:lnTo>
                    <a:pt x="38" y="284"/>
                  </a:lnTo>
                  <a:lnTo>
                    <a:pt x="36" y="288"/>
                  </a:lnTo>
                  <a:lnTo>
                    <a:pt x="34" y="290"/>
                  </a:lnTo>
                  <a:lnTo>
                    <a:pt x="34" y="294"/>
                  </a:lnTo>
                  <a:lnTo>
                    <a:pt x="36" y="298"/>
                  </a:lnTo>
                  <a:lnTo>
                    <a:pt x="36" y="298"/>
                  </a:lnTo>
                  <a:lnTo>
                    <a:pt x="40" y="302"/>
                  </a:lnTo>
                  <a:lnTo>
                    <a:pt x="44" y="304"/>
                  </a:lnTo>
                  <a:lnTo>
                    <a:pt x="44" y="304"/>
                  </a:lnTo>
                  <a:lnTo>
                    <a:pt x="48" y="302"/>
                  </a:lnTo>
                  <a:lnTo>
                    <a:pt x="62" y="294"/>
                  </a:lnTo>
                  <a:lnTo>
                    <a:pt x="62" y="294"/>
                  </a:lnTo>
                  <a:lnTo>
                    <a:pt x="66" y="292"/>
                  </a:lnTo>
                  <a:lnTo>
                    <a:pt x="68" y="288"/>
                  </a:lnTo>
                  <a:lnTo>
                    <a:pt x="68" y="284"/>
                  </a:lnTo>
                  <a:lnTo>
                    <a:pt x="66" y="280"/>
                  </a:lnTo>
                  <a:lnTo>
                    <a:pt x="66" y="280"/>
                  </a:lnTo>
                  <a:lnTo>
                    <a:pt x="64" y="278"/>
                  </a:lnTo>
                  <a:lnTo>
                    <a:pt x="60" y="276"/>
                  </a:lnTo>
                  <a:lnTo>
                    <a:pt x="56" y="276"/>
                  </a:lnTo>
                  <a:lnTo>
                    <a:pt x="52" y="276"/>
                  </a:lnTo>
                  <a:lnTo>
                    <a:pt x="52" y="276"/>
                  </a:lnTo>
                  <a:close/>
                  <a:moveTo>
                    <a:pt x="50" y="208"/>
                  </a:moveTo>
                  <a:lnTo>
                    <a:pt x="50" y="208"/>
                  </a:lnTo>
                  <a:lnTo>
                    <a:pt x="48" y="204"/>
                  </a:lnTo>
                  <a:lnTo>
                    <a:pt x="46" y="200"/>
                  </a:lnTo>
                  <a:lnTo>
                    <a:pt x="42" y="198"/>
                  </a:lnTo>
                  <a:lnTo>
                    <a:pt x="38" y="196"/>
                  </a:lnTo>
                  <a:lnTo>
                    <a:pt x="12" y="196"/>
                  </a:lnTo>
                  <a:lnTo>
                    <a:pt x="12" y="196"/>
                  </a:lnTo>
                  <a:lnTo>
                    <a:pt x="6" y="198"/>
                  </a:lnTo>
                  <a:lnTo>
                    <a:pt x="2" y="200"/>
                  </a:lnTo>
                  <a:lnTo>
                    <a:pt x="0" y="204"/>
                  </a:lnTo>
                  <a:lnTo>
                    <a:pt x="0" y="208"/>
                  </a:lnTo>
                  <a:lnTo>
                    <a:pt x="0" y="208"/>
                  </a:lnTo>
                  <a:lnTo>
                    <a:pt x="0" y="212"/>
                  </a:lnTo>
                  <a:lnTo>
                    <a:pt x="2" y="216"/>
                  </a:lnTo>
                  <a:lnTo>
                    <a:pt x="6" y="220"/>
                  </a:lnTo>
                  <a:lnTo>
                    <a:pt x="12" y="220"/>
                  </a:lnTo>
                  <a:lnTo>
                    <a:pt x="38" y="220"/>
                  </a:lnTo>
                  <a:lnTo>
                    <a:pt x="38" y="220"/>
                  </a:lnTo>
                  <a:lnTo>
                    <a:pt x="42" y="220"/>
                  </a:lnTo>
                  <a:lnTo>
                    <a:pt x="46" y="216"/>
                  </a:lnTo>
                  <a:lnTo>
                    <a:pt x="48" y="212"/>
                  </a:lnTo>
                  <a:lnTo>
                    <a:pt x="50" y="208"/>
                  </a:lnTo>
                  <a:lnTo>
                    <a:pt x="50" y="208"/>
                  </a:lnTo>
                  <a:close/>
                  <a:moveTo>
                    <a:pt x="192" y="68"/>
                  </a:moveTo>
                  <a:lnTo>
                    <a:pt x="192" y="68"/>
                  </a:lnTo>
                  <a:lnTo>
                    <a:pt x="198" y="66"/>
                  </a:lnTo>
                  <a:lnTo>
                    <a:pt x="202" y="64"/>
                  </a:lnTo>
                  <a:lnTo>
                    <a:pt x="204" y="58"/>
                  </a:lnTo>
                  <a:lnTo>
                    <a:pt x="206" y="54"/>
                  </a:lnTo>
                  <a:lnTo>
                    <a:pt x="206" y="14"/>
                  </a:lnTo>
                  <a:lnTo>
                    <a:pt x="206" y="14"/>
                  </a:lnTo>
                  <a:lnTo>
                    <a:pt x="204" y="8"/>
                  </a:lnTo>
                  <a:lnTo>
                    <a:pt x="202" y="4"/>
                  </a:lnTo>
                  <a:lnTo>
                    <a:pt x="198" y="0"/>
                  </a:lnTo>
                  <a:lnTo>
                    <a:pt x="192" y="0"/>
                  </a:lnTo>
                  <a:lnTo>
                    <a:pt x="192" y="0"/>
                  </a:lnTo>
                  <a:lnTo>
                    <a:pt x="186" y="0"/>
                  </a:lnTo>
                  <a:lnTo>
                    <a:pt x="182" y="4"/>
                  </a:lnTo>
                  <a:lnTo>
                    <a:pt x="180" y="8"/>
                  </a:lnTo>
                  <a:lnTo>
                    <a:pt x="178" y="14"/>
                  </a:lnTo>
                  <a:lnTo>
                    <a:pt x="178" y="54"/>
                  </a:lnTo>
                  <a:lnTo>
                    <a:pt x="178" y="54"/>
                  </a:lnTo>
                  <a:lnTo>
                    <a:pt x="180" y="58"/>
                  </a:lnTo>
                  <a:lnTo>
                    <a:pt x="182" y="64"/>
                  </a:lnTo>
                  <a:lnTo>
                    <a:pt x="186" y="66"/>
                  </a:lnTo>
                  <a:lnTo>
                    <a:pt x="192" y="68"/>
                  </a:lnTo>
                  <a:lnTo>
                    <a:pt x="192" y="68"/>
                  </a:lnTo>
                  <a:close/>
                  <a:moveTo>
                    <a:pt x="346" y="284"/>
                  </a:moveTo>
                  <a:lnTo>
                    <a:pt x="332" y="276"/>
                  </a:lnTo>
                  <a:lnTo>
                    <a:pt x="332" y="276"/>
                  </a:lnTo>
                  <a:lnTo>
                    <a:pt x="328" y="276"/>
                  </a:lnTo>
                  <a:lnTo>
                    <a:pt x="324" y="276"/>
                  </a:lnTo>
                  <a:lnTo>
                    <a:pt x="320" y="278"/>
                  </a:lnTo>
                  <a:lnTo>
                    <a:pt x="318" y="280"/>
                  </a:lnTo>
                  <a:lnTo>
                    <a:pt x="318" y="280"/>
                  </a:lnTo>
                  <a:lnTo>
                    <a:pt x="316" y="284"/>
                  </a:lnTo>
                  <a:lnTo>
                    <a:pt x="316" y="288"/>
                  </a:lnTo>
                  <a:lnTo>
                    <a:pt x="318" y="292"/>
                  </a:lnTo>
                  <a:lnTo>
                    <a:pt x="322" y="294"/>
                  </a:lnTo>
                  <a:lnTo>
                    <a:pt x="336" y="302"/>
                  </a:lnTo>
                  <a:lnTo>
                    <a:pt x="336" y="302"/>
                  </a:lnTo>
                  <a:lnTo>
                    <a:pt x="340" y="304"/>
                  </a:lnTo>
                  <a:lnTo>
                    <a:pt x="340" y="304"/>
                  </a:lnTo>
                  <a:lnTo>
                    <a:pt x="344" y="302"/>
                  </a:lnTo>
                  <a:lnTo>
                    <a:pt x="348" y="298"/>
                  </a:lnTo>
                  <a:lnTo>
                    <a:pt x="348" y="298"/>
                  </a:lnTo>
                  <a:lnTo>
                    <a:pt x="350" y="294"/>
                  </a:lnTo>
                  <a:lnTo>
                    <a:pt x="350" y="290"/>
                  </a:lnTo>
                  <a:lnTo>
                    <a:pt x="348" y="288"/>
                  </a:lnTo>
                  <a:lnTo>
                    <a:pt x="346" y="284"/>
                  </a:lnTo>
                  <a:lnTo>
                    <a:pt x="346" y="284"/>
                  </a:lnTo>
                  <a:close/>
                  <a:moveTo>
                    <a:pt x="326" y="142"/>
                  </a:moveTo>
                  <a:lnTo>
                    <a:pt x="326" y="142"/>
                  </a:lnTo>
                  <a:lnTo>
                    <a:pt x="332" y="142"/>
                  </a:lnTo>
                  <a:lnTo>
                    <a:pt x="358" y="126"/>
                  </a:lnTo>
                  <a:lnTo>
                    <a:pt x="358" y="126"/>
                  </a:lnTo>
                  <a:lnTo>
                    <a:pt x="362" y="122"/>
                  </a:lnTo>
                  <a:lnTo>
                    <a:pt x="364" y="118"/>
                  </a:lnTo>
                  <a:lnTo>
                    <a:pt x="364" y="114"/>
                  </a:lnTo>
                  <a:lnTo>
                    <a:pt x="362" y="110"/>
                  </a:lnTo>
                  <a:lnTo>
                    <a:pt x="362" y="110"/>
                  </a:lnTo>
                  <a:lnTo>
                    <a:pt x="360" y="106"/>
                  </a:lnTo>
                  <a:lnTo>
                    <a:pt x="356" y="104"/>
                  </a:lnTo>
                  <a:lnTo>
                    <a:pt x="352" y="104"/>
                  </a:lnTo>
                  <a:lnTo>
                    <a:pt x="346" y="104"/>
                  </a:lnTo>
                  <a:lnTo>
                    <a:pt x="320" y="120"/>
                  </a:lnTo>
                  <a:lnTo>
                    <a:pt x="320" y="120"/>
                  </a:lnTo>
                  <a:lnTo>
                    <a:pt x="316" y="124"/>
                  </a:lnTo>
                  <a:lnTo>
                    <a:pt x="314" y="128"/>
                  </a:lnTo>
                  <a:lnTo>
                    <a:pt x="314" y="132"/>
                  </a:lnTo>
                  <a:lnTo>
                    <a:pt x="316" y="136"/>
                  </a:lnTo>
                  <a:lnTo>
                    <a:pt x="316" y="136"/>
                  </a:lnTo>
                  <a:lnTo>
                    <a:pt x="320" y="142"/>
                  </a:lnTo>
                  <a:lnTo>
                    <a:pt x="326" y="142"/>
                  </a:lnTo>
                  <a:lnTo>
                    <a:pt x="326" y="142"/>
                  </a:lnTo>
                  <a:close/>
                  <a:moveTo>
                    <a:pt x="372" y="196"/>
                  </a:moveTo>
                  <a:lnTo>
                    <a:pt x="346" y="196"/>
                  </a:lnTo>
                  <a:lnTo>
                    <a:pt x="346" y="196"/>
                  </a:lnTo>
                  <a:lnTo>
                    <a:pt x="342" y="198"/>
                  </a:lnTo>
                  <a:lnTo>
                    <a:pt x="338" y="200"/>
                  </a:lnTo>
                  <a:lnTo>
                    <a:pt x="336" y="204"/>
                  </a:lnTo>
                  <a:lnTo>
                    <a:pt x="334" y="208"/>
                  </a:lnTo>
                  <a:lnTo>
                    <a:pt x="334" y="208"/>
                  </a:lnTo>
                  <a:lnTo>
                    <a:pt x="336" y="212"/>
                  </a:lnTo>
                  <a:lnTo>
                    <a:pt x="338" y="216"/>
                  </a:lnTo>
                  <a:lnTo>
                    <a:pt x="342" y="220"/>
                  </a:lnTo>
                  <a:lnTo>
                    <a:pt x="346" y="220"/>
                  </a:lnTo>
                  <a:lnTo>
                    <a:pt x="372" y="220"/>
                  </a:lnTo>
                  <a:lnTo>
                    <a:pt x="372" y="220"/>
                  </a:lnTo>
                  <a:lnTo>
                    <a:pt x="378" y="220"/>
                  </a:lnTo>
                  <a:lnTo>
                    <a:pt x="382" y="216"/>
                  </a:lnTo>
                  <a:lnTo>
                    <a:pt x="384" y="212"/>
                  </a:lnTo>
                  <a:lnTo>
                    <a:pt x="384" y="208"/>
                  </a:lnTo>
                  <a:lnTo>
                    <a:pt x="384" y="208"/>
                  </a:lnTo>
                  <a:lnTo>
                    <a:pt x="384" y="204"/>
                  </a:lnTo>
                  <a:lnTo>
                    <a:pt x="382" y="200"/>
                  </a:lnTo>
                  <a:lnTo>
                    <a:pt x="378" y="198"/>
                  </a:lnTo>
                  <a:lnTo>
                    <a:pt x="372" y="196"/>
                  </a:lnTo>
                  <a:lnTo>
                    <a:pt x="372" y="196"/>
                  </a:lnTo>
                  <a:close/>
                  <a:moveTo>
                    <a:pt x="294" y="32"/>
                  </a:moveTo>
                  <a:lnTo>
                    <a:pt x="294" y="32"/>
                  </a:lnTo>
                  <a:lnTo>
                    <a:pt x="288" y="30"/>
                  </a:lnTo>
                  <a:lnTo>
                    <a:pt x="284" y="30"/>
                  </a:lnTo>
                  <a:lnTo>
                    <a:pt x="278" y="32"/>
                  </a:lnTo>
                  <a:lnTo>
                    <a:pt x="276" y="36"/>
                  </a:lnTo>
                  <a:lnTo>
                    <a:pt x="258" y="68"/>
                  </a:lnTo>
                  <a:lnTo>
                    <a:pt x="258" y="68"/>
                  </a:lnTo>
                  <a:lnTo>
                    <a:pt x="256" y="72"/>
                  </a:lnTo>
                  <a:lnTo>
                    <a:pt x="256" y="78"/>
                  </a:lnTo>
                  <a:lnTo>
                    <a:pt x="258" y="82"/>
                  </a:lnTo>
                  <a:lnTo>
                    <a:pt x="262" y="86"/>
                  </a:lnTo>
                  <a:lnTo>
                    <a:pt x="262" y="86"/>
                  </a:lnTo>
                  <a:lnTo>
                    <a:pt x="270" y="88"/>
                  </a:lnTo>
                  <a:lnTo>
                    <a:pt x="270" y="88"/>
                  </a:lnTo>
                  <a:lnTo>
                    <a:pt x="276" y="86"/>
                  </a:lnTo>
                  <a:lnTo>
                    <a:pt x="282" y="82"/>
                  </a:lnTo>
                  <a:lnTo>
                    <a:pt x="300" y="50"/>
                  </a:lnTo>
                  <a:lnTo>
                    <a:pt x="300" y="50"/>
                  </a:lnTo>
                  <a:lnTo>
                    <a:pt x="302" y="44"/>
                  </a:lnTo>
                  <a:lnTo>
                    <a:pt x="300" y="40"/>
                  </a:lnTo>
                  <a:lnTo>
                    <a:pt x="298" y="34"/>
                  </a:lnTo>
                  <a:lnTo>
                    <a:pt x="294" y="32"/>
                  </a:lnTo>
                  <a:lnTo>
                    <a:pt x="294" y="32"/>
                  </a:lnTo>
                  <a:close/>
                  <a:moveTo>
                    <a:pt x="286" y="196"/>
                  </a:moveTo>
                  <a:lnTo>
                    <a:pt x="286" y="196"/>
                  </a:lnTo>
                  <a:lnTo>
                    <a:pt x="284" y="216"/>
                  </a:lnTo>
                  <a:lnTo>
                    <a:pt x="278" y="232"/>
                  </a:lnTo>
                  <a:lnTo>
                    <a:pt x="272" y="244"/>
                  </a:lnTo>
                  <a:lnTo>
                    <a:pt x="262" y="256"/>
                  </a:lnTo>
                  <a:lnTo>
                    <a:pt x="262" y="256"/>
                  </a:lnTo>
                  <a:lnTo>
                    <a:pt x="252" y="270"/>
                  </a:lnTo>
                  <a:lnTo>
                    <a:pt x="244" y="288"/>
                  </a:lnTo>
                  <a:lnTo>
                    <a:pt x="240" y="298"/>
                  </a:lnTo>
                  <a:lnTo>
                    <a:pt x="238" y="310"/>
                  </a:lnTo>
                  <a:lnTo>
                    <a:pt x="236" y="322"/>
                  </a:lnTo>
                  <a:lnTo>
                    <a:pt x="234" y="338"/>
                  </a:lnTo>
                  <a:lnTo>
                    <a:pt x="234" y="338"/>
                  </a:lnTo>
                  <a:lnTo>
                    <a:pt x="232" y="344"/>
                  </a:lnTo>
                  <a:lnTo>
                    <a:pt x="230" y="350"/>
                  </a:lnTo>
                  <a:lnTo>
                    <a:pt x="224" y="354"/>
                  </a:lnTo>
                  <a:lnTo>
                    <a:pt x="218" y="354"/>
                  </a:lnTo>
                  <a:lnTo>
                    <a:pt x="166" y="354"/>
                  </a:lnTo>
                  <a:lnTo>
                    <a:pt x="166" y="354"/>
                  </a:lnTo>
                  <a:lnTo>
                    <a:pt x="160" y="354"/>
                  </a:lnTo>
                  <a:lnTo>
                    <a:pt x="154" y="350"/>
                  </a:lnTo>
                  <a:lnTo>
                    <a:pt x="152" y="344"/>
                  </a:lnTo>
                  <a:lnTo>
                    <a:pt x="150" y="338"/>
                  </a:lnTo>
                  <a:lnTo>
                    <a:pt x="150" y="338"/>
                  </a:lnTo>
                  <a:lnTo>
                    <a:pt x="148" y="322"/>
                  </a:lnTo>
                  <a:lnTo>
                    <a:pt x="146" y="310"/>
                  </a:lnTo>
                  <a:lnTo>
                    <a:pt x="144" y="298"/>
                  </a:lnTo>
                  <a:lnTo>
                    <a:pt x="140" y="288"/>
                  </a:lnTo>
                  <a:lnTo>
                    <a:pt x="132" y="270"/>
                  </a:lnTo>
                  <a:lnTo>
                    <a:pt x="122" y="256"/>
                  </a:lnTo>
                  <a:lnTo>
                    <a:pt x="122" y="256"/>
                  </a:lnTo>
                  <a:lnTo>
                    <a:pt x="112" y="244"/>
                  </a:lnTo>
                  <a:lnTo>
                    <a:pt x="106" y="232"/>
                  </a:lnTo>
                  <a:lnTo>
                    <a:pt x="100" y="216"/>
                  </a:lnTo>
                  <a:lnTo>
                    <a:pt x="98" y="196"/>
                  </a:lnTo>
                  <a:lnTo>
                    <a:pt x="98" y="196"/>
                  </a:lnTo>
                  <a:lnTo>
                    <a:pt x="100" y="178"/>
                  </a:lnTo>
                  <a:lnTo>
                    <a:pt x="104" y="160"/>
                  </a:lnTo>
                  <a:lnTo>
                    <a:pt x="110" y="144"/>
                  </a:lnTo>
                  <a:lnTo>
                    <a:pt x="120" y="130"/>
                  </a:lnTo>
                  <a:lnTo>
                    <a:pt x="134" y="118"/>
                  </a:lnTo>
                  <a:lnTo>
                    <a:pt x="150" y="108"/>
                  </a:lnTo>
                  <a:lnTo>
                    <a:pt x="170" y="102"/>
                  </a:lnTo>
                  <a:lnTo>
                    <a:pt x="192" y="98"/>
                  </a:lnTo>
                  <a:lnTo>
                    <a:pt x="192" y="98"/>
                  </a:lnTo>
                  <a:lnTo>
                    <a:pt x="214" y="102"/>
                  </a:lnTo>
                  <a:lnTo>
                    <a:pt x="234" y="108"/>
                  </a:lnTo>
                  <a:lnTo>
                    <a:pt x="250" y="118"/>
                  </a:lnTo>
                  <a:lnTo>
                    <a:pt x="264" y="130"/>
                  </a:lnTo>
                  <a:lnTo>
                    <a:pt x="274" y="144"/>
                  </a:lnTo>
                  <a:lnTo>
                    <a:pt x="280" y="160"/>
                  </a:lnTo>
                  <a:lnTo>
                    <a:pt x="284" y="178"/>
                  </a:lnTo>
                  <a:lnTo>
                    <a:pt x="286" y="196"/>
                  </a:lnTo>
                  <a:lnTo>
                    <a:pt x="286" y="196"/>
                  </a:lnTo>
                  <a:close/>
                  <a:moveTo>
                    <a:pt x="200" y="138"/>
                  </a:moveTo>
                  <a:lnTo>
                    <a:pt x="200" y="138"/>
                  </a:lnTo>
                  <a:lnTo>
                    <a:pt x="198" y="134"/>
                  </a:lnTo>
                  <a:lnTo>
                    <a:pt x="196" y="130"/>
                  </a:lnTo>
                  <a:lnTo>
                    <a:pt x="192" y="128"/>
                  </a:lnTo>
                  <a:lnTo>
                    <a:pt x="190" y="128"/>
                  </a:lnTo>
                  <a:lnTo>
                    <a:pt x="190" y="128"/>
                  </a:lnTo>
                  <a:lnTo>
                    <a:pt x="178" y="128"/>
                  </a:lnTo>
                  <a:lnTo>
                    <a:pt x="166" y="132"/>
                  </a:lnTo>
                  <a:lnTo>
                    <a:pt x="156" y="136"/>
                  </a:lnTo>
                  <a:lnTo>
                    <a:pt x="146" y="144"/>
                  </a:lnTo>
                  <a:lnTo>
                    <a:pt x="136" y="154"/>
                  </a:lnTo>
                  <a:lnTo>
                    <a:pt x="130" y="164"/>
                  </a:lnTo>
                  <a:lnTo>
                    <a:pt x="126" y="178"/>
                  </a:lnTo>
                  <a:lnTo>
                    <a:pt x="124" y="194"/>
                  </a:lnTo>
                  <a:lnTo>
                    <a:pt x="124" y="194"/>
                  </a:lnTo>
                  <a:lnTo>
                    <a:pt x="126" y="198"/>
                  </a:lnTo>
                  <a:lnTo>
                    <a:pt x="128" y="200"/>
                  </a:lnTo>
                  <a:lnTo>
                    <a:pt x="130" y="204"/>
                  </a:lnTo>
                  <a:lnTo>
                    <a:pt x="134" y="204"/>
                  </a:lnTo>
                  <a:lnTo>
                    <a:pt x="134" y="204"/>
                  </a:lnTo>
                  <a:lnTo>
                    <a:pt x="138" y="204"/>
                  </a:lnTo>
                  <a:lnTo>
                    <a:pt x="142" y="200"/>
                  </a:lnTo>
                  <a:lnTo>
                    <a:pt x="144" y="198"/>
                  </a:lnTo>
                  <a:lnTo>
                    <a:pt x="144" y="194"/>
                  </a:lnTo>
                  <a:lnTo>
                    <a:pt x="144" y="194"/>
                  </a:lnTo>
                  <a:lnTo>
                    <a:pt x="146" y="182"/>
                  </a:lnTo>
                  <a:lnTo>
                    <a:pt x="148" y="172"/>
                  </a:lnTo>
                  <a:lnTo>
                    <a:pt x="154" y="164"/>
                  </a:lnTo>
                  <a:lnTo>
                    <a:pt x="160" y="158"/>
                  </a:lnTo>
                  <a:lnTo>
                    <a:pt x="166" y="154"/>
                  </a:lnTo>
                  <a:lnTo>
                    <a:pt x="174" y="150"/>
                  </a:lnTo>
                  <a:lnTo>
                    <a:pt x="182" y="148"/>
                  </a:lnTo>
                  <a:lnTo>
                    <a:pt x="190" y="148"/>
                  </a:lnTo>
                  <a:lnTo>
                    <a:pt x="190" y="148"/>
                  </a:lnTo>
                  <a:lnTo>
                    <a:pt x="192" y="148"/>
                  </a:lnTo>
                  <a:lnTo>
                    <a:pt x="196" y="144"/>
                  </a:lnTo>
                  <a:lnTo>
                    <a:pt x="198" y="142"/>
                  </a:lnTo>
                  <a:lnTo>
                    <a:pt x="200" y="138"/>
                  </a:lnTo>
                  <a:lnTo>
                    <a:pt x="200" y="138"/>
                  </a:lnTo>
                  <a:close/>
                </a:path>
              </a:pathLst>
            </a:custGeom>
            <a:grpFill/>
            <a:ln w="9525">
              <a:solidFill>
                <a:srgbClr val="000000"/>
              </a:solidFill>
              <a:round/>
              <a:headEnd/>
              <a:tailEnd/>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43" name="Group 142">
            <a:extLst>
              <a:ext uri="{FF2B5EF4-FFF2-40B4-BE49-F238E27FC236}">
                <a16:creationId xmlns:a16="http://schemas.microsoft.com/office/drawing/2014/main" id="{30646F27-8E5D-4651-99F7-13C07935E5FC}"/>
              </a:ext>
            </a:extLst>
          </p:cNvPr>
          <p:cNvGrpSpPr/>
          <p:nvPr/>
        </p:nvGrpSpPr>
        <p:grpSpPr>
          <a:xfrm>
            <a:off x="8254731" y="2704062"/>
            <a:ext cx="523325" cy="523325"/>
            <a:chOff x="7867755" y="3474401"/>
            <a:chExt cx="612000" cy="612000"/>
          </a:xfrm>
        </p:grpSpPr>
        <p:sp>
          <p:nvSpPr>
            <p:cNvPr id="144" name="Oval 143">
              <a:extLst>
                <a:ext uri="{FF2B5EF4-FFF2-40B4-BE49-F238E27FC236}">
                  <a16:creationId xmlns:a16="http://schemas.microsoft.com/office/drawing/2014/main" id="{295DE6E6-F613-4D07-9B79-074C5F20B281}"/>
                </a:ext>
              </a:extLst>
            </p:cNvPr>
            <p:cNvSpPr/>
            <p:nvPr/>
          </p:nvSpPr>
          <p:spPr bwMode="ltGray">
            <a:xfrm>
              <a:off x="7867755"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45" name="Freeform 4846">
              <a:extLst>
                <a:ext uri="{FF2B5EF4-FFF2-40B4-BE49-F238E27FC236}">
                  <a16:creationId xmlns:a16="http://schemas.microsoft.com/office/drawing/2014/main" id="{C7AC4675-B320-4804-AAF5-EFC2BA55A13A}"/>
                </a:ext>
              </a:extLst>
            </p:cNvPr>
            <p:cNvSpPr>
              <a:spLocks noEditPoints="1"/>
            </p:cNvSpPr>
            <p:nvPr/>
          </p:nvSpPr>
          <p:spPr bwMode="auto">
            <a:xfrm>
              <a:off x="7936974" y="3599197"/>
              <a:ext cx="472787" cy="389928"/>
            </a:xfrm>
            <a:custGeom>
              <a:avLst/>
              <a:gdLst>
                <a:gd name="T0" fmla="*/ 234 w 388"/>
                <a:gd name="T1" fmla="*/ 108 h 320"/>
                <a:gd name="T2" fmla="*/ 206 w 388"/>
                <a:gd name="T3" fmla="*/ 22 h 320"/>
                <a:gd name="T4" fmla="*/ 150 w 388"/>
                <a:gd name="T5" fmla="*/ 24 h 320"/>
                <a:gd name="T6" fmla="*/ 110 w 388"/>
                <a:gd name="T7" fmla="*/ 24 h 320"/>
                <a:gd name="T8" fmla="*/ 24 w 388"/>
                <a:gd name="T9" fmla="*/ 52 h 320"/>
                <a:gd name="T10" fmla="*/ 26 w 388"/>
                <a:gd name="T11" fmla="*/ 108 h 320"/>
                <a:gd name="T12" fmla="*/ 26 w 388"/>
                <a:gd name="T13" fmla="*/ 148 h 320"/>
                <a:gd name="T14" fmla="*/ 52 w 388"/>
                <a:gd name="T15" fmla="*/ 234 h 320"/>
                <a:gd name="T16" fmla="*/ 110 w 388"/>
                <a:gd name="T17" fmla="*/ 232 h 320"/>
                <a:gd name="T18" fmla="*/ 150 w 388"/>
                <a:gd name="T19" fmla="*/ 232 h 320"/>
                <a:gd name="T20" fmla="*/ 236 w 388"/>
                <a:gd name="T21" fmla="*/ 206 h 320"/>
                <a:gd name="T22" fmla="*/ 234 w 388"/>
                <a:gd name="T23" fmla="*/ 148 h 320"/>
                <a:gd name="T24" fmla="*/ 114 w 388"/>
                <a:gd name="T25" fmla="*/ 208 h 320"/>
                <a:gd name="T26" fmla="*/ 62 w 388"/>
                <a:gd name="T27" fmla="*/ 174 h 320"/>
                <a:gd name="T28" fmla="*/ 48 w 388"/>
                <a:gd name="T29" fmla="*/ 128 h 320"/>
                <a:gd name="T30" fmla="*/ 72 w 388"/>
                <a:gd name="T31" fmla="*/ 70 h 320"/>
                <a:gd name="T32" fmla="*/ 130 w 388"/>
                <a:gd name="T33" fmla="*/ 46 h 320"/>
                <a:gd name="T34" fmla="*/ 176 w 388"/>
                <a:gd name="T35" fmla="*/ 60 h 320"/>
                <a:gd name="T36" fmla="*/ 210 w 388"/>
                <a:gd name="T37" fmla="*/ 112 h 320"/>
                <a:gd name="T38" fmla="*/ 206 w 388"/>
                <a:gd name="T39" fmla="*/ 160 h 320"/>
                <a:gd name="T40" fmla="*/ 162 w 388"/>
                <a:gd name="T41" fmla="*/ 204 h 320"/>
                <a:gd name="T42" fmla="*/ 130 w 388"/>
                <a:gd name="T43" fmla="*/ 66 h 320"/>
                <a:gd name="T44" fmla="*/ 94 w 388"/>
                <a:gd name="T45" fmla="*/ 76 h 320"/>
                <a:gd name="T46" fmla="*/ 68 w 388"/>
                <a:gd name="T47" fmla="*/ 116 h 320"/>
                <a:gd name="T48" fmla="*/ 72 w 388"/>
                <a:gd name="T49" fmla="*/ 152 h 320"/>
                <a:gd name="T50" fmla="*/ 106 w 388"/>
                <a:gd name="T51" fmla="*/ 186 h 320"/>
                <a:gd name="T52" fmla="*/ 142 w 388"/>
                <a:gd name="T53" fmla="*/ 190 h 320"/>
                <a:gd name="T54" fmla="*/ 182 w 388"/>
                <a:gd name="T55" fmla="*/ 162 h 320"/>
                <a:gd name="T56" fmla="*/ 192 w 388"/>
                <a:gd name="T57" fmla="*/ 128 h 320"/>
                <a:gd name="T58" fmla="*/ 174 w 388"/>
                <a:gd name="T59" fmla="*/ 84 h 320"/>
                <a:gd name="T60" fmla="*/ 130 w 388"/>
                <a:gd name="T61" fmla="*/ 66 h 320"/>
                <a:gd name="T62" fmla="*/ 120 w 388"/>
                <a:gd name="T63" fmla="*/ 152 h 320"/>
                <a:gd name="T64" fmla="*/ 102 w 388"/>
                <a:gd name="T65" fmla="*/ 128 h 320"/>
                <a:gd name="T66" fmla="*/ 130 w 388"/>
                <a:gd name="T67" fmla="*/ 102 h 320"/>
                <a:gd name="T68" fmla="*/ 154 w 388"/>
                <a:gd name="T69" fmla="*/ 118 h 320"/>
                <a:gd name="T70" fmla="*/ 148 w 388"/>
                <a:gd name="T71" fmla="*/ 148 h 320"/>
                <a:gd name="T72" fmla="*/ 370 w 388"/>
                <a:gd name="T73" fmla="*/ 248 h 320"/>
                <a:gd name="T74" fmla="*/ 364 w 388"/>
                <a:gd name="T75" fmla="*/ 214 h 320"/>
                <a:gd name="T76" fmla="*/ 320 w 388"/>
                <a:gd name="T77" fmla="*/ 162 h 320"/>
                <a:gd name="T78" fmla="*/ 286 w 388"/>
                <a:gd name="T79" fmla="*/ 186 h 320"/>
                <a:gd name="T80" fmla="*/ 260 w 388"/>
                <a:gd name="T81" fmla="*/ 208 h 320"/>
                <a:gd name="T82" fmla="*/ 236 w 388"/>
                <a:gd name="T83" fmla="*/ 272 h 320"/>
                <a:gd name="T84" fmla="*/ 274 w 388"/>
                <a:gd name="T85" fmla="*/ 290 h 320"/>
                <a:gd name="T86" fmla="*/ 306 w 388"/>
                <a:gd name="T87" fmla="*/ 302 h 320"/>
                <a:gd name="T88" fmla="*/ 372 w 388"/>
                <a:gd name="T89" fmla="*/ 290 h 320"/>
                <a:gd name="T90" fmla="*/ 370 w 388"/>
                <a:gd name="T91" fmla="*/ 248 h 320"/>
                <a:gd name="T92" fmla="*/ 310 w 388"/>
                <a:gd name="T93" fmla="*/ 266 h 320"/>
                <a:gd name="T94" fmla="*/ 288 w 388"/>
                <a:gd name="T95" fmla="*/ 252 h 320"/>
                <a:gd name="T96" fmla="*/ 300 w 388"/>
                <a:gd name="T97" fmla="*/ 220 h 320"/>
                <a:gd name="T98" fmla="*/ 326 w 388"/>
                <a:gd name="T99" fmla="*/ 224 h 320"/>
                <a:gd name="T100" fmla="*/ 332 w 388"/>
                <a:gd name="T101" fmla="*/ 250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20">
                  <a:moveTo>
                    <a:pt x="258" y="148"/>
                  </a:moveTo>
                  <a:lnTo>
                    <a:pt x="258" y="108"/>
                  </a:lnTo>
                  <a:lnTo>
                    <a:pt x="234" y="108"/>
                  </a:lnTo>
                  <a:lnTo>
                    <a:pt x="234" y="108"/>
                  </a:lnTo>
                  <a:lnTo>
                    <a:pt x="226" y="88"/>
                  </a:lnTo>
                  <a:lnTo>
                    <a:pt x="216" y="70"/>
                  </a:lnTo>
                  <a:lnTo>
                    <a:pt x="236" y="52"/>
                  </a:lnTo>
                  <a:lnTo>
                    <a:pt x="206" y="22"/>
                  </a:lnTo>
                  <a:lnTo>
                    <a:pt x="188" y="40"/>
                  </a:lnTo>
                  <a:lnTo>
                    <a:pt x="188" y="40"/>
                  </a:lnTo>
                  <a:lnTo>
                    <a:pt x="170" y="30"/>
                  </a:lnTo>
                  <a:lnTo>
                    <a:pt x="150" y="24"/>
                  </a:lnTo>
                  <a:lnTo>
                    <a:pt x="150" y="0"/>
                  </a:lnTo>
                  <a:lnTo>
                    <a:pt x="110" y="0"/>
                  </a:lnTo>
                  <a:lnTo>
                    <a:pt x="110" y="24"/>
                  </a:lnTo>
                  <a:lnTo>
                    <a:pt x="110" y="24"/>
                  </a:lnTo>
                  <a:lnTo>
                    <a:pt x="90" y="30"/>
                  </a:lnTo>
                  <a:lnTo>
                    <a:pt x="70" y="40"/>
                  </a:lnTo>
                  <a:lnTo>
                    <a:pt x="52" y="22"/>
                  </a:lnTo>
                  <a:lnTo>
                    <a:pt x="24" y="52"/>
                  </a:lnTo>
                  <a:lnTo>
                    <a:pt x="42" y="70"/>
                  </a:lnTo>
                  <a:lnTo>
                    <a:pt x="42" y="70"/>
                  </a:lnTo>
                  <a:lnTo>
                    <a:pt x="32" y="88"/>
                  </a:lnTo>
                  <a:lnTo>
                    <a:pt x="26" y="108"/>
                  </a:lnTo>
                  <a:lnTo>
                    <a:pt x="0" y="108"/>
                  </a:lnTo>
                  <a:lnTo>
                    <a:pt x="0" y="148"/>
                  </a:lnTo>
                  <a:lnTo>
                    <a:pt x="26" y="148"/>
                  </a:lnTo>
                  <a:lnTo>
                    <a:pt x="26" y="148"/>
                  </a:lnTo>
                  <a:lnTo>
                    <a:pt x="32" y="168"/>
                  </a:lnTo>
                  <a:lnTo>
                    <a:pt x="42" y="188"/>
                  </a:lnTo>
                  <a:lnTo>
                    <a:pt x="24" y="206"/>
                  </a:lnTo>
                  <a:lnTo>
                    <a:pt x="52" y="234"/>
                  </a:lnTo>
                  <a:lnTo>
                    <a:pt x="70" y="216"/>
                  </a:lnTo>
                  <a:lnTo>
                    <a:pt x="70" y="216"/>
                  </a:lnTo>
                  <a:lnTo>
                    <a:pt x="90" y="226"/>
                  </a:lnTo>
                  <a:lnTo>
                    <a:pt x="110" y="232"/>
                  </a:lnTo>
                  <a:lnTo>
                    <a:pt x="110" y="258"/>
                  </a:lnTo>
                  <a:lnTo>
                    <a:pt x="150" y="258"/>
                  </a:lnTo>
                  <a:lnTo>
                    <a:pt x="150" y="232"/>
                  </a:lnTo>
                  <a:lnTo>
                    <a:pt x="150" y="232"/>
                  </a:lnTo>
                  <a:lnTo>
                    <a:pt x="170" y="226"/>
                  </a:lnTo>
                  <a:lnTo>
                    <a:pt x="188" y="216"/>
                  </a:lnTo>
                  <a:lnTo>
                    <a:pt x="206" y="234"/>
                  </a:lnTo>
                  <a:lnTo>
                    <a:pt x="236" y="206"/>
                  </a:lnTo>
                  <a:lnTo>
                    <a:pt x="216" y="188"/>
                  </a:lnTo>
                  <a:lnTo>
                    <a:pt x="216" y="188"/>
                  </a:lnTo>
                  <a:lnTo>
                    <a:pt x="226" y="168"/>
                  </a:lnTo>
                  <a:lnTo>
                    <a:pt x="234" y="148"/>
                  </a:lnTo>
                  <a:lnTo>
                    <a:pt x="258" y="148"/>
                  </a:lnTo>
                  <a:close/>
                  <a:moveTo>
                    <a:pt x="130" y="210"/>
                  </a:moveTo>
                  <a:lnTo>
                    <a:pt x="130" y="210"/>
                  </a:lnTo>
                  <a:lnTo>
                    <a:pt x="114" y="208"/>
                  </a:lnTo>
                  <a:lnTo>
                    <a:pt x="98" y="204"/>
                  </a:lnTo>
                  <a:lnTo>
                    <a:pt x="84" y="196"/>
                  </a:lnTo>
                  <a:lnTo>
                    <a:pt x="72" y="186"/>
                  </a:lnTo>
                  <a:lnTo>
                    <a:pt x="62" y="174"/>
                  </a:lnTo>
                  <a:lnTo>
                    <a:pt x="54" y="160"/>
                  </a:lnTo>
                  <a:lnTo>
                    <a:pt x="50" y="144"/>
                  </a:lnTo>
                  <a:lnTo>
                    <a:pt x="48" y="128"/>
                  </a:lnTo>
                  <a:lnTo>
                    <a:pt x="48" y="128"/>
                  </a:lnTo>
                  <a:lnTo>
                    <a:pt x="50" y="112"/>
                  </a:lnTo>
                  <a:lnTo>
                    <a:pt x="54" y="96"/>
                  </a:lnTo>
                  <a:lnTo>
                    <a:pt x="62" y="82"/>
                  </a:lnTo>
                  <a:lnTo>
                    <a:pt x="72" y="70"/>
                  </a:lnTo>
                  <a:lnTo>
                    <a:pt x="84" y="60"/>
                  </a:lnTo>
                  <a:lnTo>
                    <a:pt x="98" y="52"/>
                  </a:lnTo>
                  <a:lnTo>
                    <a:pt x="114" y="48"/>
                  </a:lnTo>
                  <a:lnTo>
                    <a:pt x="130" y="46"/>
                  </a:lnTo>
                  <a:lnTo>
                    <a:pt x="130" y="46"/>
                  </a:lnTo>
                  <a:lnTo>
                    <a:pt x="146" y="48"/>
                  </a:lnTo>
                  <a:lnTo>
                    <a:pt x="162" y="52"/>
                  </a:lnTo>
                  <a:lnTo>
                    <a:pt x="176" y="60"/>
                  </a:lnTo>
                  <a:lnTo>
                    <a:pt x="188" y="70"/>
                  </a:lnTo>
                  <a:lnTo>
                    <a:pt x="198" y="82"/>
                  </a:lnTo>
                  <a:lnTo>
                    <a:pt x="206" y="96"/>
                  </a:lnTo>
                  <a:lnTo>
                    <a:pt x="210" y="112"/>
                  </a:lnTo>
                  <a:lnTo>
                    <a:pt x="212" y="128"/>
                  </a:lnTo>
                  <a:lnTo>
                    <a:pt x="212" y="128"/>
                  </a:lnTo>
                  <a:lnTo>
                    <a:pt x="210" y="144"/>
                  </a:lnTo>
                  <a:lnTo>
                    <a:pt x="206" y="160"/>
                  </a:lnTo>
                  <a:lnTo>
                    <a:pt x="198" y="174"/>
                  </a:lnTo>
                  <a:lnTo>
                    <a:pt x="188" y="186"/>
                  </a:lnTo>
                  <a:lnTo>
                    <a:pt x="176" y="196"/>
                  </a:lnTo>
                  <a:lnTo>
                    <a:pt x="162" y="204"/>
                  </a:lnTo>
                  <a:lnTo>
                    <a:pt x="146" y="208"/>
                  </a:lnTo>
                  <a:lnTo>
                    <a:pt x="130" y="210"/>
                  </a:lnTo>
                  <a:lnTo>
                    <a:pt x="130" y="210"/>
                  </a:lnTo>
                  <a:close/>
                  <a:moveTo>
                    <a:pt x="130" y="66"/>
                  </a:moveTo>
                  <a:lnTo>
                    <a:pt x="130" y="66"/>
                  </a:lnTo>
                  <a:lnTo>
                    <a:pt x="118" y="68"/>
                  </a:lnTo>
                  <a:lnTo>
                    <a:pt x="106" y="70"/>
                  </a:lnTo>
                  <a:lnTo>
                    <a:pt x="94" y="76"/>
                  </a:lnTo>
                  <a:lnTo>
                    <a:pt x="86" y="84"/>
                  </a:lnTo>
                  <a:lnTo>
                    <a:pt x="78" y="94"/>
                  </a:lnTo>
                  <a:lnTo>
                    <a:pt x="72" y="104"/>
                  </a:lnTo>
                  <a:lnTo>
                    <a:pt x="68" y="116"/>
                  </a:lnTo>
                  <a:lnTo>
                    <a:pt x="68" y="128"/>
                  </a:lnTo>
                  <a:lnTo>
                    <a:pt x="68" y="128"/>
                  </a:lnTo>
                  <a:lnTo>
                    <a:pt x="68" y="140"/>
                  </a:lnTo>
                  <a:lnTo>
                    <a:pt x="72" y="152"/>
                  </a:lnTo>
                  <a:lnTo>
                    <a:pt x="78" y="162"/>
                  </a:lnTo>
                  <a:lnTo>
                    <a:pt x="86" y="172"/>
                  </a:lnTo>
                  <a:lnTo>
                    <a:pt x="94" y="180"/>
                  </a:lnTo>
                  <a:lnTo>
                    <a:pt x="106" y="186"/>
                  </a:lnTo>
                  <a:lnTo>
                    <a:pt x="118" y="190"/>
                  </a:lnTo>
                  <a:lnTo>
                    <a:pt x="130" y="190"/>
                  </a:lnTo>
                  <a:lnTo>
                    <a:pt x="130" y="190"/>
                  </a:lnTo>
                  <a:lnTo>
                    <a:pt x="142" y="190"/>
                  </a:lnTo>
                  <a:lnTo>
                    <a:pt x="154" y="186"/>
                  </a:lnTo>
                  <a:lnTo>
                    <a:pt x="164" y="180"/>
                  </a:lnTo>
                  <a:lnTo>
                    <a:pt x="174" y="172"/>
                  </a:lnTo>
                  <a:lnTo>
                    <a:pt x="182" y="162"/>
                  </a:lnTo>
                  <a:lnTo>
                    <a:pt x="188" y="152"/>
                  </a:lnTo>
                  <a:lnTo>
                    <a:pt x="190" y="140"/>
                  </a:lnTo>
                  <a:lnTo>
                    <a:pt x="192" y="128"/>
                  </a:lnTo>
                  <a:lnTo>
                    <a:pt x="192" y="128"/>
                  </a:lnTo>
                  <a:lnTo>
                    <a:pt x="190" y="116"/>
                  </a:lnTo>
                  <a:lnTo>
                    <a:pt x="188" y="104"/>
                  </a:lnTo>
                  <a:lnTo>
                    <a:pt x="182" y="94"/>
                  </a:lnTo>
                  <a:lnTo>
                    <a:pt x="174" y="84"/>
                  </a:lnTo>
                  <a:lnTo>
                    <a:pt x="164" y="76"/>
                  </a:lnTo>
                  <a:lnTo>
                    <a:pt x="154" y="70"/>
                  </a:lnTo>
                  <a:lnTo>
                    <a:pt x="142" y="68"/>
                  </a:lnTo>
                  <a:lnTo>
                    <a:pt x="130" y="66"/>
                  </a:lnTo>
                  <a:lnTo>
                    <a:pt x="130" y="66"/>
                  </a:lnTo>
                  <a:close/>
                  <a:moveTo>
                    <a:pt x="130" y="156"/>
                  </a:moveTo>
                  <a:lnTo>
                    <a:pt x="130" y="156"/>
                  </a:lnTo>
                  <a:lnTo>
                    <a:pt x="120" y="152"/>
                  </a:lnTo>
                  <a:lnTo>
                    <a:pt x="110" y="148"/>
                  </a:lnTo>
                  <a:lnTo>
                    <a:pt x="104" y="138"/>
                  </a:lnTo>
                  <a:lnTo>
                    <a:pt x="102" y="128"/>
                  </a:lnTo>
                  <a:lnTo>
                    <a:pt x="102" y="128"/>
                  </a:lnTo>
                  <a:lnTo>
                    <a:pt x="104" y="118"/>
                  </a:lnTo>
                  <a:lnTo>
                    <a:pt x="110" y="110"/>
                  </a:lnTo>
                  <a:lnTo>
                    <a:pt x="120" y="104"/>
                  </a:lnTo>
                  <a:lnTo>
                    <a:pt x="130" y="102"/>
                  </a:lnTo>
                  <a:lnTo>
                    <a:pt x="130" y="102"/>
                  </a:lnTo>
                  <a:lnTo>
                    <a:pt x="140" y="104"/>
                  </a:lnTo>
                  <a:lnTo>
                    <a:pt x="148" y="110"/>
                  </a:lnTo>
                  <a:lnTo>
                    <a:pt x="154" y="118"/>
                  </a:lnTo>
                  <a:lnTo>
                    <a:pt x="156" y="128"/>
                  </a:lnTo>
                  <a:lnTo>
                    <a:pt x="156" y="128"/>
                  </a:lnTo>
                  <a:lnTo>
                    <a:pt x="154" y="138"/>
                  </a:lnTo>
                  <a:lnTo>
                    <a:pt x="148" y="148"/>
                  </a:lnTo>
                  <a:lnTo>
                    <a:pt x="140" y="152"/>
                  </a:lnTo>
                  <a:lnTo>
                    <a:pt x="130" y="156"/>
                  </a:lnTo>
                  <a:lnTo>
                    <a:pt x="130" y="156"/>
                  </a:lnTo>
                  <a:close/>
                  <a:moveTo>
                    <a:pt x="370" y="248"/>
                  </a:moveTo>
                  <a:lnTo>
                    <a:pt x="388" y="244"/>
                  </a:lnTo>
                  <a:lnTo>
                    <a:pt x="382" y="212"/>
                  </a:lnTo>
                  <a:lnTo>
                    <a:pt x="364" y="214"/>
                  </a:lnTo>
                  <a:lnTo>
                    <a:pt x="364" y="214"/>
                  </a:lnTo>
                  <a:lnTo>
                    <a:pt x="356" y="202"/>
                  </a:lnTo>
                  <a:lnTo>
                    <a:pt x="346" y="192"/>
                  </a:lnTo>
                  <a:lnTo>
                    <a:pt x="352" y="174"/>
                  </a:lnTo>
                  <a:lnTo>
                    <a:pt x="320" y="162"/>
                  </a:lnTo>
                  <a:lnTo>
                    <a:pt x="314" y="180"/>
                  </a:lnTo>
                  <a:lnTo>
                    <a:pt x="314" y="180"/>
                  </a:lnTo>
                  <a:lnTo>
                    <a:pt x="300" y="182"/>
                  </a:lnTo>
                  <a:lnTo>
                    <a:pt x="286" y="186"/>
                  </a:lnTo>
                  <a:lnTo>
                    <a:pt x="272" y="172"/>
                  </a:lnTo>
                  <a:lnTo>
                    <a:pt x="246" y="194"/>
                  </a:lnTo>
                  <a:lnTo>
                    <a:pt x="260" y="208"/>
                  </a:lnTo>
                  <a:lnTo>
                    <a:pt x="260" y="208"/>
                  </a:lnTo>
                  <a:lnTo>
                    <a:pt x="252" y="220"/>
                  </a:lnTo>
                  <a:lnTo>
                    <a:pt x="250" y="234"/>
                  </a:lnTo>
                  <a:lnTo>
                    <a:pt x="230" y="238"/>
                  </a:lnTo>
                  <a:lnTo>
                    <a:pt x="236" y="272"/>
                  </a:lnTo>
                  <a:lnTo>
                    <a:pt x="256" y="268"/>
                  </a:lnTo>
                  <a:lnTo>
                    <a:pt x="256" y="268"/>
                  </a:lnTo>
                  <a:lnTo>
                    <a:pt x="264" y="280"/>
                  </a:lnTo>
                  <a:lnTo>
                    <a:pt x="274" y="290"/>
                  </a:lnTo>
                  <a:lnTo>
                    <a:pt x="268" y="308"/>
                  </a:lnTo>
                  <a:lnTo>
                    <a:pt x="300" y="320"/>
                  </a:lnTo>
                  <a:lnTo>
                    <a:pt x="306" y="302"/>
                  </a:lnTo>
                  <a:lnTo>
                    <a:pt x="306" y="302"/>
                  </a:lnTo>
                  <a:lnTo>
                    <a:pt x="320" y="302"/>
                  </a:lnTo>
                  <a:lnTo>
                    <a:pt x="334" y="298"/>
                  </a:lnTo>
                  <a:lnTo>
                    <a:pt x="346" y="312"/>
                  </a:lnTo>
                  <a:lnTo>
                    <a:pt x="372" y="290"/>
                  </a:lnTo>
                  <a:lnTo>
                    <a:pt x="360" y="276"/>
                  </a:lnTo>
                  <a:lnTo>
                    <a:pt x="360" y="276"/>
                  </a:lnTo>
                  <a:lnTo>
                    <a:pt x="366" y="262"/>
                  </a:lnTo>
                  <a:lnTo>
                    <a:pt x="370" y="248"/>
                  </a:lnTo>
                  <a:lnTo>
                    <a:pt x="370" y="248"/>
                  </a:lnTo>
                  <a:close/>
                  <a:moveTo>
                    <a:pt x="320" y="264"/>
                  </a:moveTo>
                  <a:lnTo>
                    <a:pt x="320" y="264"/>
                  </a:lnTo>
                  <a:lnTo>
                    <a:pt x="310" y="266"/>
                  </a:lnTo>
                  <a:lnTo>
                    <a:pt x="302" y="264"/>
                  </a:lnTo>
                  <a:lnTo>
                    <a:pt x="294" y="260"/>
                  </a:lnTo>
                  <a:lnTo>
                    <a:pt x="288" y="252"/>
                  </a:lnTo>
                  <a:lnTo>
                    <a:pt x="288" y="252"/>
                  </a:lnTo>
                  <a:lnTo>
                    <a:pt x="286" y="242"/>
                  </a:lnTo>
                  <a:lnTo>
                    <a:pt x="288" y="234"/>
                  </a:lnTo>
                  <a:lnTo>
                    <a:pt x="292" y="226"/>
                  </a:lnTo>
                  <a:lnTo>
                    <a:pt x="300" y="220"/>
                  </a:lnTo>
                  <a:lnTo>
                    <a:pt x="300" y="220"/>
                  </a:lnTo>
                  <a:lnTo>
                    <a:pt x="308" y="218"/>
                  </a:lnTo>
                  <a:lnTo>
                    <a:pt x="318" y="220"/>
                  </a:lnTo>
                  <a:lnTo>
                    <a:pt x="326" y="224"/>
                  </a:lnTo>
                  <a:lnTo>
                    <a:pt x="332" y="232"/>
                  </a:lnTo>
                  <a:lnTo>
                    <a:pt x="332" y="232"/>
                  </a:lnTo>
                  <a:lnTo>
                    <a:pt x="334" y="240"/>
                  </a:lnTo>
                  <a:lnTo>
                    <a:pt x="332" y="250"/>
                  </a:lnTo>
                  <a:lnTo>
                    <a:pt x="328" y="258"/>
                  </a:lnTo>
                  <a:lnTo>
                    <a:pt x="320" y="264"/>
                  </a:lnTo>
                  <a:lnTo>
                    <a:pt x="320" y="264"/>
                  </a:lnTo>
                  <a:close/>
                </a:path>
              </a:pathLst>
            </a:custGeom>
            <a:solidFill>
              <a:schemeClr val="tx1">
                <a:lumMod val="75000"/>
              </a:schemeClr>
            </a:solidFill>
            <a:ln w="9525">
              <a:noFill/>
              <a:round/>
              <a:headEnd/>
              <a:tailEnd/>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46" name="Group 145">
            <a:extLst>
              <a:ext uri="{FF2B5EF4-FFF2-40B4-BE49-F238E27FC236}">
                <a16:creationId xmlns:a16="http://schemas.microsoft.com/office/drawing/2014/main" id="{CAEB3F34-05FD-47EE-9F49-0BF9F2FE91D9}"/>
              </a:ext>
            </a:extLst>
          </p:cNvPr>
          <p:cNvGrpSpPr/>
          <p:nvPr/>
        </p:nvGrpSpPr>
        <p:grpSpPr>
          <a:xfrm>
            <a:off x="9002704" y="2704062"/>
            <a:ext cx="523325" cy="523325"/>
            <a:chOff x="8742468" y="3474401"/>
            <a:chExt cx="612000" cy="612000"/>
          </a:xfrm>
        </p:grpSpPr>
        <p:sp>
          <p:nvSpPr>
            <p:cNvPr id="147" name="Oval 146">
              <a:extLst>
                <a:ext uri="{FF2B5EF4-FFF2-40B4-BE49-F238E27FC236}">
                  <a16:creationId xmlns:a16="http://schemas.microsoft.com/office/drawing/2014/main" id="{B257613E-959C-49B0-9147-C1A28A6DA841}"/>
                </a:ext>
              </a:extLst>
            </p:cNvPr>
            <p:cNvSpPr/>
            <p:nvPr/>
          </p:nvSpPr>
          <p:spPr bwMode="ltGray">
            <a:xfrm>
              <a:off x="8742468"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48" name="Freeform 4847">
              <a:extLst>
                <a:ext uri="{FF2B5EF4-FFF2-40B4-BE49-F238E27FC236}">
                  <a16:creationId xmlns:a16="http://schemas.microsoft.com/office/drawing/2014/main" id="{4911DD28-C0EE-4BA6-9FDD-DEFEAF27A941}"/>
                </a:ext>
              </a:extLst>
            </p:cNvPr>
            <p:cNvSpPr>
              <a:spLocks noEditPoints="1"/>
            </p:cNvSpPr>
            <p:nvPr/>
          </p:nvSpPr>
          <p:spPr bwMode="auto">
            <a:xfrm>
              <a:off x="8894545" y="3569952"/>
              <a:ext cx="307068" cy="424047"/>
            </a:xfrm>
            <a:custGeom>
              <a:avLst/>
              <a:gdLst>
                <a:gd name="T0" fmla="*/ 252 w 252"/>
                <a:gd name="T1" fmla="*/ 332 h 348"/>
                <a:gd name="T2" fmla="*/ 242 w 252"/>
                <a:gd name="T3" fmla="*/ 346 h 348"/>
                <a:gd name="T4" fmla="*/ 16 w 252"/>
                <a:gd name="T5" fmla="*/ 348 h 348"/>
                <a:gd name="T6" fmla="*/ 2 w 252"/>
                <a:gd name="T7" fmla="*/ 338 h 348"/>
                <a:gd name="T8" fmla="*/ 0 w 252"/>
                <a:gd name="T9" fmla="*/ 32 h 348"/>
                <a:gd name="T10" fmla="*/ 10 w 252"/>
                <a:gd name="T11" fmla="*/ 16 h 348"/>
                <a:gd name="T12" fmla="*/ 90 w 252"/>
                <a:gd name="T13" fmla="*/ 16 h 348"/>
                <a:gd name="T14" fmla="*/ 86 w 252"/>
                <a:gd name="T15" fmla="*/ 30 h 348"/>
                <a:gd name="T16" fmla="*/ 16 w 252"/>
                <a:gd name="T17" fmla="*/ 332 h 348"/>
                <a:gd name="T18" fmla="*/ 168 w 252"/>
                <a:gd name="T19" fmla="*/ 34 h 348"/>
                <a:gd name="T20" fmla="*/ 164 w 252"/>
                <a:gd name="T21" fmla="*/ 26 h 348"/>
                <a:gd name="T22" fmla="*/ 236 w 252"/>
                <a:gd name="T23" fmla="*/ 16 h 348"/>
                <a:gd name="T24" fmla="*/ 248 w 252"/>
                <a:gd name="T25" fmla="*/ 20 h 348"/>
                <a:gd name="T26" fmla="*/ 252 w 252"/>
                <a:gd name="T27" fmla="*/ 32 h 348"/>
                <a:gd name="T28" fmla="*/ 36 w 252"/>
                <a:gd name="T29" fmla="*/ 312 h 348"/>
                <a:gd name="T30" fmla="*/ 36 w 252"/>
                <a:gd name="T31" fmla="*/ 94 h 348"/>
                <a:gd name="T32" fmla="*/ 216 w 252"/>
                <a:gd name="T33" fmla="*/ 94 h 348"/>
                <a:gd name="T34" fmla="*/ 132 w 252"/>
                <a:gd name="T35" fmla="*/ 186 h 348"/>
                <a:gd name="T36" fmla="*/ 122 w 252"/>
                <a:gd name="T37" fmla="*/ 184 h 348"/>
                <a:gd name="T38" fmla="*/ 74 w 252"/>
                <a:gd name="T39" fmla="*/ 206 h 348"/>
                <a:gd name="T40" fmla="*/ 68 w 252"/>
                <a:gd name="T41" fmla="*/ 204 h 348"/>
                <a:gd name="T42" fmla="*/ 60 w 252"/>
                <a:gd name="T43" fmla="*/ 206 h 348"/>
                <a:gd name="T44" fmla="*/ 58 w 252"/>
                <a:gd name="T45" fmla="*/ 218 h 348"/>
                <a:gd name="T46" fmla="*/ 78 w 252"/>
                <a:gd name="T47" fmla="*/ 238 h 348"/>
                <a:gd name="T48" fmla="*/ 86 w 252"/>
                <a:gd name="T49" fmla="*/ 242 h 348"/>
                <a:gd name="T50" fmla="*/ 132 w 252"/>
                <a:gd name="T51" fmla="*/ 200 h 348"/>
                <a:gd name="T52" fmla="*/ 134 w 252"/>
                <a:gd name="T53" fmla="*/ 192 h 348"/>
                <a:gd name="T54" fmla="*/ 132 w 252"/>
                <a:gd name="T55" fmla="*/ 186 h 348"/>
                <a:gd name="T56" fmla="*/ 128 w 252"/>
                <a:gd name="T57" fmla="*/ 122 h 348"/>
                <a:gd name="T58" fmla="*/ 118 w 252"/>
                <a:gd name="T59" fmla="*/ 124 h 348"/>
                <a:gd name="T60" fmla="*/ 74 w 252"/>
                <a:gd name="T61" fmla="*/ 144 h 348"/>
                <a:gd name="T62" fmla="*/ 64 w 252"/>
                <a:gd name="T63" fmla="*/ 142 h 348"/>
                <a:gd name="T64" fmla="*/ 58 w 252"/>
                <a:gd name="T65" fmla="*/ 148 h 348"/>
                <a:gd name="T66" fmla="*/ 60 w 252"/>
                <a:gd name="T67" fmla="*/ 158 h 348"/>
                <a:gd name="T68" fmla="*/ 82 w 252"/>
                <a:gd name="T69" fmla="*/ 180 h 348"/>
                <a:gd name="T70" fmla="*/ 90 w 252"/>
                <a:gd name="T71" fmla="*/ 180 h 348"/>
                <a:gd name="T72" fmla="*/ 132 w 252"/>
                <a:gd name="T73" fmla="*/ 138 h 348"/>
                <a:gd name="T74" fmla="*/ 134 w 252"/>
                <a:gd name="T75" fmla="*/ 126 h 348"/>
                <a:gd name="T76" fmla="*/ 36 w 252"/>
                <a:gd name="T77" fmla="*/ 64 h 348"/>
                <a:gd name="T78" fmla="*/ 40 w 252"/>
                <a:gd name="T79" fmla="*/ 54 h 348"/>
                <a:gd name="T80" fmla="*/ 78 w 252"/>
                <a:gd name="T81" fmla="*/ 48 h 348"/>
                <a:gd name="T82" fmla="*/ 94 w 252"/>
                <a:gd name="T83" fmla="*/ 42 h 348"/>
                <a:gd name="T84" fmla="*/ 100 w 252"/>
                <a:gd name="T85" fmla="*/ 26 h 348"/>
                <a:gd name="T86" fmla="*/ 116 w 252"/>
                <a:gd name="T87" fmla="*/ 2 h 348"/>
                <a:gd name="T88" fmla="*/ 136 w 252"/>
                <a:gd name="T89" fmla="*/ 2 h 348"/>
                <a:gd name="T90" fmla="*/ 152 w 252"/>
                <a:gd name="T91" fmla="*/ 26 h 348"/>
                <a:gd name="T92" fmla="*/ 158 w 252"/>
                <a:gd name="T93" fmla="*/ 42 h 348"/>
                <a:gd name="T94" fmla="*/ 200 w 252"/>
                <a:gd name="T95" fmla="*/ 48 h 348"/>
                <a:gd name="T96" fmla="*/ 212 w 252"/>
                <a:gd name="T97" fmla="*/ 54 h 348"/>
                <a:gd name="T98" fmla="*/ 216 w 252"/>
                <a:gd name="T99" fmla="*/ 78 h 348"/>
                <a:gd name="T100" fmla="*/ 36 w 252"/>
                <a:gd name="T101" fmla="*/ 82 h 348"/>
                <a:gd name="T102" fmla="*/ 36 w 252"/>
                <a:gd name="T103" fmla="*/ 64 h 348"/>
                <a:gd name="T104" fmla="*/ 116 w 252"/>
                <a:gd name="T105" fmla="*/ 30 h 348"/>
                <a:gd name="T106" fmla="*/ 126 w 252"/>
                <a:gd name="T107" fmla="*/ 38 h 348"/>
                <a:gd name="T108" fmla="*/ 134 w 252"/>
                <a:gd name="T109" fmla="*/ 34 h 348"/>
                <a:gd name="T110" fmla="*/ 136 w 252"/>
                <a:gd name="T111" fmla="*/ 26 h 348"/>
                <a:gd name="T112" fmla="*/ 130 w 252"/>
                <a:gd name="T113" fmla="*/ 16 h 348"/>
                <a:gd name="T114" fmla="*/ 122 w 252"/>
                <a:gd name="T115" fmla="*/ 16 h 348"/>
                <a:gd name="T116" fmla="*/ 116 w 252"/>
                <a:gd name="T117" fmla="*/ 2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2" h="348">
                  <a:moveTo>
                    <a:pt x="252" y="32"/>
                  </a:moveTo>
                  <a:lnTo>
                    <a:pt x="252" y="332"/>
                  </a:lnTo>
                  <a:lnTo>
                    <a:pt x="252" y="332"/>
                  </a:lnTo>
                  <a:lnTo>
                    <a:pt x="250" y="338"/>
                  </a:lnTo>
                  <a:lnTo>
                    <a:pt x="248" y="344"/>
                  </a:lnTo>
                  <a:lnTo>
                    <a:pt x="242" y="346"/>
                  </a:lnTo>
                  <a:lnTo>
                    <a:pt x="236" y="348"/>
                  </a:lnTo>
                  <a:lnTo>
                    <a:pt x="16" y="348"/>
                  </a:lnTo>
                  <a:lnTo>
                    <a:pt x="16" y="348"/>
                  </a:lnTo>
                  <a:lnTo>
                    <a:pt x="10" y="346"/>
                  </a:lnTo>
                  <a:lnTo>
                    <a:pt x="4" y="344"/>
                  </a:lnTo>
                  <a:lnTo>
                    <a:pt x="2" y="338"/>
                  </a:lnTo>
                  <a:lnTo>
                    <a:pt x="0" y="332"/>
                  </a:lnTo>
                  <a:lnTo>
                    <a:pt x="0" y="32"/>
                  </a:lnTo>
                  <a:lnTo>
                    <a:pt x="0" y="32"/>
                  </a:lnTo>
                  <a:lnTo>
                    <a:pt x="2" y="26"/>
                  </a:lnTo>
                  <a:lnTo>
                    <a:pt x="4" y="20"/>
                  </a:lnTo>
                  <a:lnTo>
                    <a:pt x="10" y="16"/>
                  </a:lnTo>
                  <a:lnTo>
                    <a:pt x="16" y="16"/>
                  </a:lnTo>
                  <a:lnTo>
                    <a:pt x="90" y="16"/>
                  </a:lnTo>
                  <a:lnTo>
                    <a:pt x="90" y="16"/>
                  </a:lnTo>
                  <a:lnTo>
                    <a:pt x="88" y="26"/>
                  </a:lnTo>
                  <a:lnTo>
                    <a:pt x="88" y="26"/>
                  </a:lnTo>
                  <a:lnTo>
                    <a:pt x="86" y="30"/>
                  </a:lnTo>
                  <a:lnTo>
                    <a:pt x="84" y="34"/>
                  </a:lnTo>
                  <a:lnTo>
                    <a:pt x="16" y="34"/>
                  </a:lnTo>
                  <a:lnTo>
                    <a:pt x="16" y="332"/>
                  </a:lnTo>
                  <a:lnTo>
                    <a:pt x="236" y="332"/>
                  </a:lnTo>
                  <a:lnTo>
                    <a:pt x="236" y="34"/>
                  </a:lnTo>
                  <a:lnTo>
                    <a:pt x="168" y="34"/>
                  </a:lnTo>
                  <a:lnTo>
                    <a:pt x="168" y="34"/>
                  </a:lnTo>
                  <a:lnTo>
                    <a:pt x="166" y="30"/>
                  </a:lnTo>
                  <a:lnTo>
                    <a:pt x="164" y="26"/>
                  </a:lnTo>
                  <a:lnTo>
                    <a:pt x="164" y="26"/>
                  </a:lnTo>
                  <a:lnTo>
                    <a:pt x="162" y="16"/>
                  </a:lnTo>
                  <a:lnTo>
                    <a:pt x="236" y="16"/>
                  </a:lnTo>
                  <a:lnTo>
                    <a:pt x="236" y="16"/>
                  </a:lnTo>
                  <a:lnTo>
                    <a:pt x="242" y="16"/>
                  </a:lnTo>
                  <a:lnTo>
                    <a:pt x="248" y="20"/>
                  </a:lnTo>
                  <a:lnTo>
                    <a:pt x="250" y="26"/>
                  </a:lnTo>
                  <a:lnTo>
                    <a:pt x="252" y="32"/>
                  </a:lnTo>
                  <a:lnTo>
                    <a:pt x="252" y="32"/>
                  </a:lnTo>
                  <a:close/>
                  <a:moveTo>
                    <a:pt x="216" y="94"/>
                  </a:moveTo>
                  <a:lnTo>
                    <a:pt x="216" y="312"/>
                  </a:lnTo>
                  <a:lnTo>
                    <a:pt x="36" y="312"/>
                  </a:lnTo>
                  <a:lnTo>
                    <a:pt x="36" y="94"/>
                  </a:lnTo>
                  <a:lnTo>
                    <a:pt x="36" y="94"/>
                  </a:lnTo>
                  <a:lnTo>
                    <a:pt x="36" y="94"/>
                  </a:lnTo>
                  <a:lnTo>
                    <a:pt x="216" y="94"/>
                  </a:lnTo>
                  <a:lnTo>
                    <a:pt x="216" y="94"/>
                  </a:lnTo>
                  <a:lnTo>
                    <a:pt x="216" y="94"/>
                  </a:lnTo>
                  <a:lnTo>
                    <a:pt x="216" y="94"/>
                  </a:lnTo>
                  <a:close/>
                  <a:moveTo>
                    <a:pt x="132" y="186"/>
                  </a:moveTo>
                  <a:lnTo>
                    <a:pt x="132" y="186"/>
                  </a:lnTo>
                  <a:lnTo>
                    <a:pt x="128" y="184"/>
                  </a:lnTo>
                  <a:lnTo>
                    <a:pt x="124" y="182"/>
                  </a:lnTo>
                  <a:lnTo>
                    <a:pt x="122" y="184"/>
                  </a:lnTo>
                  <a:lnTo>
                    <a:pt x="118" y="186"/>
                  </a:lnTo>
                  <a:lnTo>
                    <a:pt x="86" y="218"/>
                  </a:lnTo>
                  <a:lnTo>
                    <a:pt x="74" y="206"/>
                  </a:lnTo>
                  <a:lnTo>
                    <a:pt x="74" y="206"/>
                  </a:lnTo>
                  <a:lnTo>
                    <a:pt x="70" y="204"/>
                  </a:lnTo>
                  <a:lnTo>
                    <a:pt x="68" y="204"/>
                  </a:lnTo>
                  <a:lnTo>
                    <a:pt x="64" y="204"/>
                  </a:lnTo>
                  <a:lnTo>
                    <a:pt x="60" y="206"/>
                  </a:lnTo>
                  <a:lnTo>
                    <a:pt x="60" y="206"/>
                  </a:lnTo>
                  <a:lnTo>
                    <a:pt x="58" y="210"/>
                  </a:lnTo>
                  <a:lnTo>
                    <a:pt x="58" y="214"/>
                  </a:lnTo>
                  <a:lnTo>
                    <a:pt x="58" y="218"/>
                  </a:lnTo>
                  <a:lnTo>
                    <a:pt x="60" y="220"/>
                  </a:lnTo>
                  <a:lnTo>
                    <a:pt x="78" y="238"/>
                  </a:lnTo>
                  <a:lnTo>
                    <a:pt x="78" y="238"/>
                  </a:lnTo>
                  <a:lnTo>
                    <a:pt x="82" y="242"/>
                  </a:lnTo>
                  <a:lnTo>
                    <a:pt x="86" y="242"/>
                  </a:lnTo>
                  <a:lnTo>
                    <a:pt x="86" y="242"/>
                  </a:lnTo>
                  <a:lnTo>
                    <a:pt x="90" y="242"/>
                  </a:lnTo>
                  <a:lnTo>
                    <a:pt x="92" y="238"/>
                  </a:lnTo>
                  <a:lnTo>
                    <a:pt x="132" y="200"/>
                  </a:lnTo>
                  <a:lnTo>
                    <a:pt x="132" y="200"/>
                  </a:lnTo>
                  <a:lnTo>
                    <a:pt x="134" y="196"/>
                  </a:lnTo>
                  <a:lnTo>
                    <a:pt x="134" y="192"/>
                  </a:lnTo>
                  <a:lnTo>
                    <a:pt x="134" y="188"/>
                  </a:lnTo>
                  <a:lnTo>
                    <a:pt x="132" y="186"/>
                  </a:lnTo>
                  <a:lnTo>
                    <a:pt x="132" y="186"/>
                  </a:lnTo>
                  <a:close/>
                  <a:moveTo>
                    <a:pt x="132" y="124"/>
                  </a:moveTo>
                  <a:lnTo>
                    <a:pt x="132" y="124"/>
                  </a:lnTo>
                  <a:lnTo>
                    <a:pt x="128" y="122"/>
                  </a:lnTo>
                  <a:lnTo>
                    <a:pt x="124" y="120"/>
                  </a:lnTo>
                  <a:lnTo>
                    <a:pt x="122" y="122"/>
                  </a:lnTo>
                  <a:lnTo>
                    <a:pt x="118" y="124"/>
                  </a:lnTo>
                  <a:lnTo>
                    <a:pt x="86" y="156"/>
                  </a:lnTo>
                  <a:lnTo>
                    <a:pt x="74" y="144"/>
                  </a:lnTo>
                  <a:lnTo>
                    <a:pt x="74" y="144"/>
                  </a:lnTo>
                  <a:lnTo>
                    <a:pt x="70" y="142"/>
                  </a:lnTo>
                  <a:lnTo>
                    <a:pt x="68" y="142"/>
                  </a:lnTo>
                  <a:lnTo>
                    <a:pt x="64" y="142"/>
                  </a:lnTo>
                  <a:lnTo>
                    <a:pt x="60" y="144"/>
                  </a:lnTo>
                  <a:lnTo>
                    <a:pt x="60" y="144"/>
                  </a:lnTo>
                  <a:lnTo>
                    <a:pt x="58" y="148"/>
                  </a:lnTo>
                  <a:lnTo>
                    <a:pt x="58" y="152"/>
                  </a:lnTo>
                  <a:lnTo>
                    <a:pt x="58" y="156"/>
                  </a:lnTo>
                  <a:lnTo>
                    <a:pt x="60" y="158"/>
                  </a:lnTo>
                  <a:lnTo>
                    <a:pt x="78" y="178"/>
                  </a:lnTo>
                  <a:lnTo>
                    <a:pt x="78" y="178"/>
                  </a:lnTo>
                  <a:lnTo>
                    <a:pt x="82" y="180"/>
                  </a:lnTo>
                  <a:lnTo>
                    <a:pt x="86" y="180"/>
                  </a:lnTo>
                  <a:lnTo>
                    <a:pt x="86" y="180"/>
                  </a:lnTo>
                  <a:lnTo>
                    <a:pt x="90" y="180"/>
                  </a:lnTo>
                  <a:lnTo>
                    <a:pt x="92" y="178"/>
                  </a:lnTo>
                  <a:lnTo>
                    <a:pt x="132" y="138"/>
                  </a:lnTo>
                  <a:lnTo>
                    <a:pt x="132" y="138"/>
                  </a:lnTo>
                  <a:lnTo>
                    <a:pt x="134" y="134"/>
                  </a:lnTo>
                  <a:lnTo>
                    <a:pt x="134" y="130"/>
                  </a:lnTo>
                  <a:lnTo>
                    <a:pt x="134" y="126"/>
                  </a:lnTo>
                  <a:lnTo>
                    <a:pt x="132" y="124"/>
                  </a:lnTo>
                  <a:lnTo>
                    <a:pt x="132" y="124"/>
                  </a:lnTo>
                  <a:close/>
                  <a:moveTo>
                    <a:pt x="36" y="64"/>
                  </a:moveTo>
                  <a:lnTo>
                    <a:pt x="36" y="64"/>
                  </a:lnTo>
                  <a:lnTo>
                    <a:pt x="36" y="58"/>
                  </a:lnTo>
                  <a:lnTo>
                    <a:pt x="40" y="54"/>
                  </a:lnTo>
                  <a:lnTo>
                    <a:pt x="46" y="50"/>
                  </a:lnTo>
                  <a:lnTo>
                    <a:pt x="52" y="48"/>
                  </a:lnTo>
                  <a:lnTo>
                    <a:pt x="78" y="48"/>
                  </a:lnTo>
                  <a:lnTo>
                    <a:pt x="78" y="48"/>
                  </a:lnTo>
                  <a:lnTo>
                    <a:pt x="86" y="46"/>
                  </a:lnTo>
                  <a:lnTo>
                    <a:pt x="94" y="42"/>
                  </a:lnTo>
                  <a:lnTo>
                    <a:pt x="98" y="36"/>
                  </a:lnTo>
                  <a:lnTo>
                    <a:pt x="100" y="26"/>
                  </a:lnTo>
                  <a:lnTo>
                    <a:pt x="100" y="26"/>
                  </a:lnTo>
                  <a:lnTo>
                    <a:pt x="102" y="16"/>
                  </a:lnTo>
                  <a:lnTo>
                    <a:pt x="108" y="8"/>
                  </a:lnTo>
                  <a:lnTo>
                    <a:pt x="116" y="2"/>
                  </a:lnTo>
                  <a:lnTo>
                    <a:pt x="126" y="0"/>
                  </a:lnTo>
                  <a:lnTo>
                    <a:pt x="126" y="0"/>
                  </a:lnTo>
                  <a:lnTo>
                    <a:pt x="136" y="2"/>
                  </a:lnTo>
                  <a:lnTo>
                    <a:pt x="144" y="8"/>
                  </a:lnTo>
                  <a:lnTo>
                    <a:pt x="150" y="16"/>
                  </a:lnTo>
                  <a:lnTo>
                    <a:pt x="152" y="26"/>
                  </a:lnTo>
                  <a:lnTo>
                    <a:pt x="152" y="26"/>
                  </a:lnTo>
                  <a:lnTo>
                    <a:pt x="154" y="36"/>
                  </a:lnTo>
                  <a:lnTo>
                    <a:pt x="158" y="42"/>
                  </a:lnTo>
                  <a:lnTo>
                    <a:pt x="166" y="46"/>
                  </a:lnTo>
                  <a:lnTo>
                    <a:pt x="174" y="48"/>
                  </a:lnTo>
                  <a:lnTo>
                    <a:pt x="200" y="48"/>
                  </a:lnTo>
                  <a:lnTo>
                    <a:pt x="200" y="48"/>
                  </a:lnTo>
                  <a:lnTo>
                    <a:pt x="206" y="50"/>
                  </a:lnTo>
                  <a:lnTo>
                    <a:pt x="212" y="54"/>
                  </a:lnTo>
                  <a:lnTo>
                    <a:pt x="216" y="58"/>
                  </a:lnTo>
                  <a:lnTo>
                    <a:pt x="216" y="64"/>
                  </a:lnTo>
                  <a:lnTo>
                    <a:pt x="216" y="78"/>
                  </a:lnTo>
                  <a:lnTo>
                    <a:pt x="216" y="78"/>
                  </a:lnTo>
                  <a:lnTo>
                    <a:pt x="216" y="82"/>
                  </a:lnTo>
                  <a:lnTo>
                    <a:pt x="36" y="82"/>
                  </a:lnTo>
                  <a:lnTo>
                    <a:pt x="36" y="82"/>
                  </a:lnTo>
                  <a:lnTo>
                    <a:pt x="36" y="78"/>
                  </a:lnTo>
                  <a:lnTo>
                    <a:pt x="36" y="64"/>
                  </a:lnTo>
                  <a:close/>
                  <a:moveTo>
                    <a:pt x="116" y="26"/>
                  </a:moveTo>
                  <a:lnTo>
                    <a:pt x="116" y="26"/>
                  </a:lnTo>
                  <a:lnTo>
                    <a:pt x="116" y="30"/>
                  </a:lnTo>
                  <a:lnTo>
                    <a:pt x="118" y="34"/>
                  </a:lnTo>
                  <a:lnTo>
                    <a:pt x="122" y="36"/>
                  </a:lnTo>
                  <a:lnTo>
                    <a:pt x="126" y="38"/>
                  </a:lnTo>
                  <a:lnTo>
                    <a:pt x="126" y="38"/>
                  </a:lnTo>
                  <a:lnTo>
                    <a:pt x="130" y="36"/>
                  </a:lnTo>
                  <a:lnTo>
                    <a:pt x="134" y="34"/>
                  </a:lnTo>
                  <a:lnTo>
                    <a:pt x="136" y="30"/>
                  </a:lnTo>
                  <a:lnTo>
                    <a:pt x="136" y="26"/>
                  </a:lnTo>
                  <a:lnTo>
                    <a:pt x="136" y="26"/>
                  </a:lnTo>
                  <a:lnTo>
                    <a:pt x="136" y="22"/>
                  </a:lnTo>
                  <a:lnTo>
                    <a:pt x="134" y="20"/>
                  </a:lnTo>
                  <a:lnTo>
                    <a:pt x="130" y="16"/>
                  </a:lnTo>
                  <a:lnTo>
                    <a:pt x="126" y="16"/>
                  </a:lnTo>
                  <a:lnTo>
                    <a:pt x="126" y="16"/>
                  </a:lnTo>
                  <a:lnTo>
                    <a:pt x="122" y="16"/>
                  </a:lnTo>
                  <a:lnTo>
                    <a:pt x="118" y="20"/>
                  </a:lnTo>
                  <a:lnTo>
                    <a:pt x="116" y="22"/>
                  </a:lnTo>
                  <a:lnTo>
                    <a:pt x="116" y="26"/>
                  </a:lnTo>
                  <a:lnTo>
                    <a:pt x="116" y="26"/>
                  </a:lnTo>
                  <a:close/>
                </a:path>
              </a:pathLst>
            </a:custGeom>
            <a:solidFill>
              <a:srgbClr val="505050"/>
            </a:solidFill>
            <a:ln w="9525">
              <a:noFill/>
              <a:round/>
              <a:headEnd/>
              <a:tailEnd/>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49" name="Group 148">
            <a:extLst>
              <a:ext uri="{FF2B5EF4-FFF2-40B4-BE49-F238E27FC236}">
                <a16:creationId xmlns:a16="http://schemas.microsoft.com/office/drawing/2014/main" id="{57B8A8C8-5843-4382-A3CC-803C8673974A}"/>
              </a:ext>
            </a:extLst>
          </p:cNvPr>
          <p:cNvGrpSpPr/>
          <p:nvPr/>
        </p:nvGrpSpPr>
        <p:grpSpPr>
          <a:xfrm>
            <a:off x="9750677" y="2704062"/>
            <a:ext cx="523325" cy="523325"/>
            <a:chOff x="9617181" y="3474401"/>
            <a:chExt cx="612000" cy="612000"/>
          </a:xfrm>
        </p:grpSpPr>
        <p:sp>
          <p:nvSpPr>
            <p:cNvPr id="150" name="Oval 149">
              <a:extLst>
                <a:ext uri="{FF2B5EF4-FFF2-40B4-BE49-F238E27FC236}">
                  <a16:creationId xmlns:a16="http://schemas.microsoft.com/office/drawing/2014/main" id="{BA82F60A-6371-40AD-A7C3-DD0F79E39329}"/>
                </a:ext>
              </a:extLst>
            </p:cNvPr>
            <p:cNvSpPr/>
            <p:nvPr/>
          </p:nvSpPr>
          <p:spPr bwMode="ltGray">
            <a:xfrm>
              <a:off x="9617181"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51" name="Freeform 4848">
              <a:extLst>
                <a:ext uri="{FF2B5EF4-FFF2-40B4-BE49-F238E27FC236}">
                  <a16:creationId xmlns:a16="http://schemas.microsoft.com/office/drawing/2014/main" id="{1FF787FC-BA17-4C47-8DB8-73C128CD184D}"/>
                </a:ext>
              </a:extLst>
            </p:cNvPr>
            <p:cNvSpPr>
              <a:spLocks noEditPoints="1"/>
            </p:cNvSpPr>
            <p:nvPr/>
          </p:nvSpPr>
          <p:spPr bwMode="auto">
            <a:xfrm>
              <a:off x="9707113" y="3558784"/>
              <a:ext cx="431358" cy="382617"/>
            </a:xfrm>
            <a:custGeom>
              <a:avLst/>
              <a:gdLst>
                <a:gd name="T0" fmla="*/ 198 w 354"/>
                <a:gd name="T1" fmla="*/ 12 h 314"/>
                <a:gd name="T2" fmla="*/ 194 w 354"/>
                <a:gd name="T3" fmla="*/ 8 h 314"/>
                <a:gd name="T4" fmla="*/ 184 w 354"/>
                <a:gd name="T5" fmla="*/ 0 h 314"/>
                <a:gd name="T6" fmla="*/ 178 w 354"/>
                <a:gd name="T7" fmla="*/ 0 h 314"/>
                <a:gd name="T8" fmla="*/ 166 w 354"/>
                <a:gd name="T9" fmla="*/ 4 h 314"/>
                <a:gd name="T10" fmla="*/ 158 w 354"/>
                <a:gd name="T11" fmla="*/ 12 h 314"/>
                <a:gd name="T12" fmla="*/ 4 w 354"/>
                <a:gd name="T13" fmla="*/ 278 h 314"/>
                <a:gd name="T14" fmla="*/ 0 w 354"/>
                <a:gd name="T15" fmla="*/ 290 h 314"/>
                <a:gd name="T16" fmla="*/ 4 w 354"/>
                <a:gd name="T17" fmla="*/ 302 h 314"/>
                <a:gd name="T18" fmla="*/ 8 w 354"/>
                <a:gd name="T19" fmla="*/ 306 h 314"/>
                <a:gd name="T20" fmla="*/ 18 w 354"/>
                <a:gd name="T21" fmla="*/ 312 h 314"/>
                <a:gd name="T22" fmla="*/ 330 w 354"/>
                <a:gd name="T23" fmla="*/ 314 h 314"/>
                <a:gd name="T24" fmla="*/ 338 w 354"/>
                <a:gd name="T25" fmla="*/ 312 h 314"/>
                <a:gd name="T26" fmla="*/ 348 w 354"/>
                <a:gd name="T27" fmla="*/ 306 h 314"/>
                <a:gd name="T28" fmla="*/ 352 w 354"/>
                <a:gd name="T29" fmla="*/ 302 h 314"/>
                <a:gd name="T30" fmla="*/ 354 w 354"/>
                <a:gd name="T31" fmla="*/ 290 h 314"/>
                <a:gd name="T32" fmla="*/ 352 w 354"/>
                <a:gd name="T33" fmla="*/ 278 h 314"/>
                <a:gd name="T34" fmla="*/ 42 w 354"/>
                <a:gd name="T35" fmla="*/ 280 h 314"/>
                <a:gd name="T36" fmla="*/ 314 w 354"/>
                <a:gd name="T37" fmla="*/ 280 h 314"/>
                <a:gd name="T38" fmla="*/ 160 w 354"/>
                <a:gd name="T39" fmla="*/ 142 h 314"/>
                <a:gd name="T40" fmla="*/ 158 w 354"/>
                <a:gd name="T41" fmla="*/ 132 h 314"/>
                <a:gd name="T42" fmla="*/ 160 w 354"/>
                <a:gd name="T43" fmla="*/ 126 h 314"/>
                <a:gd name="T44" fmla="*/ 164 w 354"/>
                <a:gd name="T45" fmla="*/ 122 h 314"/>
                <a:gd name="T46" fmla="*/ 178 w 354"/>
                <a:gd name="T47" fmla="*/ 118 h 314"/>
                <a:gd name="T48" fmla="*/ 186 w 354"/>
                <a:gd name="T49" fmla="*/ 118 h 314"/>
                <a:gd name="T50" fmla="*/ 192 w 354"/>
                <a:gd name="T51" fmla="*/ 122 h 314"/>
                <a:gd name="T52" fmla="*/ 198 w 354"/>
                <a:gd name="T53" fmla="*/ 132 h 314"/>
                <a:gd name="T54" fmla="*/ 196 w 354"/>
                <a:gd name="T55" fmla="*/ 142 h 314"/>
                <a:gd name="T56" fmla="*/ 172 w 354"/>
                <a:gd name="T57" fmla="*/ 206 h 314"/>
                <a:gd name="T58" fmla="*/ 178 w 354"/>
                <a:gd name="T59" fmla="*/ 218 h 314"/>
                <a:gd name="T60" fmla="*/ 186 w 354"/>
                <a:gd name="T61" fmla="*/ 220 h 314"/>
                <a:gd name="T62" fmla="*/ 190 w 354"/>
                <a:gd name="T63" fmla="*/ 224 h 314"/>
                <a:gd name="T64" fmla="*/ 194 w 354"/>
                <a:gd name="T65" fmla="*/ 230 h 314"/>
                <a:gd name="T66" fmla="*/ 196 w 354"/>
                <a:gd name="T67" fmla="*/ 238 h 314"/>
                <a:gd name="T68" fmla="*/ 194 w 354"/>
                <a:gd name="T69" fmla="*/ 244 h 314"/>
                <a:gd name="T70" fmla="*/ 190 w 354"/>
                <a:gd name="T71" fmla="*/ 250 h 314"/>
                <a:gd name="T72" fmla="*/ 186 w 354"/>
                <a:gd name="T73" fmla="*/ 254 h 314"/>
                <a:gd name="T74" fmla="*/ 178 w 354"/>
                <a:gd name="T75" fmla="*/ 256 h 314"/>
                <a:gd name="T76" fmla="*/ 170 w 354"/>
                <a:gd name="T77" fmla="*/ 254 h 314"/>
                <a:gd name="T78" fmla="*/ 166 w 354"/>
                <a:gd name="T79" fmla="*/ 250 h 314"/>
                <a:gd name="T80" fmla="*/ 162 w 354"/>
                <a:gd name="T81" fmla="*/ 244 h 314"/>
                <a:gd name="T82" fmla="*/ 160 w 354"/>
                <a:gd name="T83" fmla="*/ 238 h 314"/>
                <a:gd name="T84" fmla="*/ 162 w 354"/>
                <a:gd name="T85" fmla="*/ 230 h 314"/>
                <a:gd name="T86" fmla="*/ 166 w 354"/>
                <a:gd name="T87" fmla="*/ 224 h 314"/>
                <a:gd name="T88" fmla="*/ 178 w 354"/>
                <a:gd name="T89" fmla="*/ 21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4" h="314">
                  <a:moveTo>
                    <a:pt x="352" y="278"/>
                  </a:moveTo>
                  <a:lnTo>
                    <a:pt x="198" y="12"/>
                  </a:lnTo>
                  <a:lnTo>
                    <a:pt x="198" y="12"/>
                  </a:lnTo>
                  <a:lnTo>
                    <a:pt x="194" y="8"/>
                  </a:lnTo>
                  <a:lnTo>
                    <a:pt x="190" y="4"/>
                  </a:lnTo>
                  <a:lnTo>
                    <a:pt x="184" y="0"/>
                  </a:lnTo>
                  <a:lnTo>
                    <a:pt x="178" y="0"/>
                  </a:lnTo>
                  <a:lnTo>
                    <a:pt x="178" y="0"/>
                  </a:lnTo>
                  <a:lnTo>
                    <a:pt x="172" y="0"/>
                  </a:lnTo>
                  <a:lnTo>
                    <a:pt x="166" y="4"/>
                  </a:lnTo>
                  <a:lnTo>
                    <a:pt x="162" y="8"/>
                  </a:lnTo>
                  <a:lnTo>
                    <a:pt x="158" y="12"/>
                  </a:lnTo>
                  <a:lnTo>
                    <a:pt x="4" y="278"/>
                  </a:lnTo>
                  <a:lnTo>
                    <a:pt x="4" y="278"/>
                  </a:lnTo>
                  <a:lnTo>
                    <a:pt x="2" y="282"/>
                  </a:lnTo>
                  <a:lnTo>
                    <a:pt x="0" y="290"/>
                  </a:lnTo>
                  <a:lnTo>
                    <a:pt x="2" y="296"/>
                  </a:lnTo>
                  <a:lnTo>
                    <a:pt x="4" y="302"/>
                  </a:lnTo>
                  <a:lnTo>
                    <a:pt x="4" y="302"/>
                  </a:lnTo>
                  <a:lnTo>
                    <a:pt x="8" y="306"/>
                  </a:lnTo>
                  <a:lnTo>
                    <a:pt x="12" y="310"/>
                  </a:lnTo>
                  <a:lnTo>
                    <a:pt x="18" y="312"/>
                  </a:lnTo>
                  <a:lnTo>
                    <a:pt x="26" y="314"/>
                  </a:lnTo>
                  <a:lnTo>
                    <a:pt x="330" y="314"/>
                  </a:lnTo>
                  <a:lnTo>
                    <a:pt x="330" y="314"/>
                  </a:lnTo>
                  <a:lnTo>
                    <a:pt x="338" y="312"/>
                  </a:lnTo>
                  <a:lnTo>
                    <a:pt x="342" y="310"/>
                  </a:lnTo>
                  <a:lnTo>
                    <a:pt x="348" y="306"/>
                  </a:lnTo>
                  <a:lnTo>
                    <a:pt x="352" y="302"/>
                  </a:lnTo>
                  <a:lnTo>
                    <a:pt x="352" y="302"/>
                  </a:lnTo>
                  <a:lnTo>
                    <a:pt x="354" y="296"/>
                  </a:lnTo>
                  <a:lnTo>
                    <a:pt x="354" y="290"/>
                  </a:lnTo>
                  <a:lnTo>
                    <a:pt x="354" y="282"/>
                  </a:lnTo>
                  <a:lnTo>
                    <a:pt x="352" y="278"/>
                  </a:lnTo>
                  <a:lnTo>
                    <a:pt x="352" y="278"/>
                  </a:lnTo>
                  <a:close/>
                  <a:moveTo>
                    <a:pt x="42" y="280"/>
                  </a:moveTo>
                  <a:lnTo>
                    <a:pt x="178" y="44"/>
                  </a:lnTo>
                  <a:lnTo>
                    <a:pt x="314" y="280"/>
                  </a:lnTo>
                  <a:lnTo>
                    <a:pt x="42" y="280"/>
                  </a:lnTo>
                  <a:close/>
                  <a:moveTo>
                    <a:pt x="160" y="142"/>
                  </a:moveTo>
                  <a:lnTo>
                    <a:pt x="160" y="142"/>
                  </a:lnTo>
                  <a:lnTo>
                    <a:pt x="158" y="132"/>
                  </a:lnTo>
                  <a:lnTo>
                    <a:pt x="158" y="132"/>
                  </a:lnTo>
                  <a:lnTo>
                    <a:pt x="160" y="126"/>
                  </a:lnTo>
                  <a:lnTo>
                    <a:pt x="164" y="122"/>
                  </a:lnTo>
                  <a:lnTo>
                    <a:pt x="164" y="122"/>
                  </a:lnTo>
                  <a:lnTo>
                    <a:pt x="170" y="118"/>
                  </a:lnTo>
                  <a:lnTo>
                    <a:pt x="178" y="118"/>
                  </a:lnTo>
                  <a:lnTo>
                    <a:pt x="178" y="118"/>
                  </a:lnTo>
                  <a:lnTo>
                    <a:pt x="186" y="118"/>
                  </a:lnTo>
                  <a:lnTo>
                    <a:pt x="192" y="122"/>
                  </a:lnTo>
                  <a:lnTo>
                    <a:pt x="192" y="122"/>
                  </a:lnTo>
                  <a:lnTo>
                    <a:pt x="196" y="126"/>
                  </a:lnTo>
                  <a:lnTo>
                    <a:pt x="198" y="132"/>
                  </a:lnTo>
                  <a:lnTo>
                    <a:pt x="198" y="132"/>
                  </a:lnTo>
                  <a:lnTo>
                    <a:pt x="196" y="142"/>
                  </a:lnTo>
                  <a:lnTo>
                    <a:pt x="184" y="206"/>
                  </a:lnTo>
                  <a:lnTo>
                    <a:pt x="172" y="206"/>
                  </a:lnTo>
                  <a:lnTo>
                    <a:pt x="160" y="142"/>
                  </a:lnTo>
                  <a:close/>
                  <a:moveTo>
                    <a:pt x="178" y="218"/>
                  </a:moveTo>
                  <a:lnTo>
                    <a:pt x="178" y="218"/>
                  </a:lnTo>
                  <a:lnTo>
                    <a:pt x="186" y="220"/>
                  </a:lnTo>
                  <a:lnTo>
                    <a:pt x="186" y="220"/>
                  </a:lnTo>
                  <a:lnTo>
                    <a:pt x="190" y="224"/>
                  </a:lnTo>
                  <a:lnTo>
                    <a:pt x="190" y="224"/>
                  </a:lnTo>
                  <a:lnTo>
                    <a:pt x="194" y="230"/>
                  </a:lnTo>
                  <a:lnTo>
                    <a:pt x="194" y="230"/>
                  </a:lnTo>
                  <a:lnTo>
                    <a:pt x="196" y="238"/>
                  </a:lnTo>
                  <a:lnTo>
                    <a:pt x="196" y="238"/>
                  </a:lnTo>
                  <a:lnTo>
                    <a:pt x="194" y="244"/>
                  </a:lnTo>
                  <a:lnTo>
                    <a:pt x="194" y="244"/>
                  </a:lnTo>
                  <a:lnTo>
                    <a:pt x="190" y="250"/>
                  </a:lnTo>
                  <a:lnTo>
                    <a:pt x="190" y="250"/>
                  </a:lnTo>
                  <a:lnTo>
                    <a:pt x="186" y="254"/>
                  </a:lnTo>
                  <a:lnTo>
                    <a:pt x="186" y="254"/>
                  </a:lnTo>
                  <a:lnTo>
                    <a:pt x="178" y="256"/>
                  </a:lnTo>
                  <a:lnTo>
                    <a:pt x="178" y="256"/>
                  </a:lnTo>
                  <a:lnTo>
                    <a:pt x="170" y="254"/>
                  </a:lnTo>
                  <a:lnTo>
                    <a:pt x="170" y="254"/>
                  </a:lnTo>
                  <a:lnTo>
                    <a:pt x="166" y="250"/>
                  </a:lnTo>
                  <a:lnTo>
                    <a:pt x="166" y="250"/>
                  </a:lnTo>
                  <a:lnTo>
                    <a:pt x="162" y="244"/>
                  </a:lnTo>
                  <a:lnTo>
                    <a:pt x="162" y="244"/>
                  </a:lnTo>
                  <a:lnTo>
                    <a:pt x="160" y="238"/>
                  </a:lnTo>
                  <a:lnTo>
                    <a:pt x="160" y="238"/>
                  </a:lnTo>
                  <a:lnTo>
                    <a:pt x="162" y="230"/>
                  </a:lnTo>
                  <a:lnTo>
                    <a:pt x="166" y="224"/>
                  </a:lnTo>
                  <a:lnTo>
                    <a:pt x="166" y="224"/>
                  </a:lnTo>
                  <a:lnTo>
                    <a:pt x="170" y="220"/>
                  </a:lnTo>
                  <a:lnTo>
                    <a:pt x="178" y="218"/>
                  </a:lnTo>
                  <a:lnTo>
                    <a:pt x="178" y="218"/>
                  </a:lnTo>
                  <a:close/>
                </a:path>
              </a:pathLst>
            </a:custGeom>
            <a:solidFill>
              <a:srgbClr val="505050"/>
            </a:solidFill>
            <a:ln w="9525">
              <a:solidFill>
                <a:srgbClr val="505050"/>
              </a:solidFill>
              <a:round/>
              <a:headEnd/>
              <a:tailEnd/>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52" name="Group 151">
            <a:extLst>
              <a:ext uri="{FF2B5EF4-FFF2-40B4-BE49-F238E27FC236}">
                <a16:creationId xmlns:a16="http://schemas.microsoft.com/office/drawing/2014/main" id="{2415214B-4FDB-485E-85D1-5B179086F96E}"/>
              </a:ext>
            </a:extLst>
          </p:cNvPr>
          <p:cNvGrpSpPr/>
          <p:nvPr/>
        </p:nvGrpSpPr>
        <p:grpSpPr>
          <a:xfrm>
            <a:off x="8254731" y="3744136"/>
            <a:ext cx="523325" cy="523325"/>
            <a:chOff x="7867755" y="4690710"/>
            <a:chExt cx="612000" cy="612000"/>
          </a:xfrm>
        </p:grpSpPr>
        <p:sp>
          <p:nvSpPr>
            <p:cNvPr id="153" name="Oval 152">
              <a:extLst>
                <a:ext uri="{FF2B5EF4-FFF2-40B4-BE49-F238E27FC236}">
                  <a16:creationId xmlns:a16="http://schemas.microsoft.com/office/drawing/2014/main" id="{DBECE05D-802A-41BC-9B0E-C18A51C47FBA}"/>
                </a:ext>
              </a:extLst>
            </p:cNvPr>
            <p:cNvSpPr/>
            <p:nvPr/>
          </p:nvSpPr>
          <p:spPr bwMode="ltGray">
            <a:xfrm>
              <a:off x="7867755"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54" name="Freeform 4849">
              <a:extLst>
                <a:ext uri="{FF2B5EF4-FFF2-40B4-BE49-F238E27FC236}">
                  <a16:creationId xmlns:a16="http://schemas.microsoft.com/office/drawing/2014/main" id="{71C99C75-0AC1-4973-A4F3-5B5C552E5DAE}"/>
                </a:ext>
              </a:extLst>
            </p:cNvPr>
            <p:cNvSpPr>
              <a:spLocks noEditPoints="1"/>
            </p:cNvSpPr>
            <p:nvPr/>
          </p:nvSpPr>
          <p:spPr bwMode="auto">
            <a:xfrm>
              <a:off x="7975966" y="4844837"/>
              <a:ext cx="394802" cy="319253"/>
            </a:xfrm>
            <a:custGeom>
              <a:avLst/>
              <a:gdLst>
                <a:gd name="T0" fmla="*/ 0 w 324"/>
                <a:gd name="T1" fmla="*/ 136 h 262"/>
                <a:gd name="T2" fmla="*/ 0 w 324"/>
                <a:gd name="T3" fmla="*/ 132 h 262"/>
                <a:gd name="T4" fmla="*/ 6 w 324"/>
                <a:gd name="T5" fmla="*/ 126 h 262"/>
                <a:gd name="T6" fmla="*/ 46 w 324"/>
                <a:gd name="T7" fmla="*/ 126 h 262"/>
                <a:gd name="T8" fmla="*/ 50 w 324"/>
                <a:gd name="T9" fmla="*/ 126 h 262"/>
                <a:gd name="T10" fmla="*/ 56 w 324"/>
                <a:gd name="T11" fmla="*/ 132 h 262"/>
                <a:gd name="T12" fmla="*/ 56 w 324"/>
                <a:gd name="T13" fmla="*/ 212 h 262"/>
                <a:gd name="T14" fmla="*/ 56 w 324"/>
                <a:gd name="T15" fmla="*/ 216 h 262"/>
                <a:gd name="T16" fmla="*/ 50 w 324"/>
                <a:gd name="T17" fmla="*/ 220 h 262"/>
                <a:gd name="T18" fmla="*/ 10 w 324"/>
                <a:gd name="T19" fmla="*/ 222 h 262"/>
                <a:gd name="T20" fmla="*/ 6 w 324"/>
                <a:gd name="T21" fmla="*/ 220 h 262"/>
                <a:gd name="T22" fmla="*/ 0 w 324"/>
                <a:gd name="T23" fmla="*/ 216 h 262"/>
                <a:gd name="T24" fmla="*/ 0 w 324"/>
                <a:gd name="T25" fmla="*/ 212 h 262"/>
                <a:gd name="T26" fmla="*/ 136 w 324"/>
                <a:gd name="T27" fmla="*/ 222 h 262"/>
                <a:gd name="T28" fmla="*/ 140 w 324"/>
                <a:gd name="T29" fmla="*/ 220 h 262"/>
                <a:gd name="T30" fmla="*/ 144 w 324"/>
                <a:gd name="T31" fmla="*/ 216 h 262"/>
                <a:gd name="T32" fmla="*/ 146 w 324"/>
                <a:gd name="T33" fmla="*/ 58 h 262"/>
                <a:gd name="T34" fmla="*/ 144 w 324"/>
                <a:gd name="T35" fmla="*/ 54 h 262"/>
                <a:gd name="T36" fmla="*/ 140 w 324"/>
                <a:gd name="T37" fmla="*/ 50 h 262"/>
                <a:gd name="T38" fmla="*/ 100 w 324"/>
                <a:gd name="T39" fmla="*/ 48 h 262"/>
                <a:gd name="T40" fmla="*/ 96 w 324"/>
                <a:gd name="T41" fmla="*/ 50 h 262"/>
                <a:gd name="T42" fmla="*/ 90 w 324"/>
                <a:gd name="T43" fmla="*/ 54 h 262"/>
                <a:gd name="T44" fmla="*/ 90 w 324"/>
                <a:gd name="T45" fmla="*/ 212 h 262"/>
                <a:gd name="T46" fmla="*/ 90 w 324"/>
                <a:gd name="T47" fmla="*/ 216 h 262"/>
                <a:gd name="T48" fmla="*/ 96 w 324"/>
                <a:gd name="T49" fmla="*/ 220 h 262"/>
                <a:gd name="T50" fmla="*/ 100 w 324"/>
                <a:gd name="T51" fmla="*/ 222 h 262"/>
                <a:gd name="T52" fmla="*/ 224 w 324"/>
                <a:gd name="T53" fmla="*/ 222 h 262"/>
                <a:gd name="T54" fmla="*/ 228 w 324"/>
                <a:gd name="T55" fmla="*/ 220 h 262"/>
                <a:gd name="T56" fmla="*/ 234 w 324"/>
                <a:gd name="T57" fmla="*/ 216 h 262"/>
                <a:gd name="T58" fmla="*/ 234 w 324"/>
                <a:gd name="T59" fmla="*/ 86 h 262"/>
                <a:gd name="T60" fmla="*/ 234 w 324"/>
                <a:gd name="T61" fmla="*/ 82 h 262"/>
                <a:gd name="T62" fmla="*/ 228 w 324"/>
                <a:gd name="T63" fmla="*/ 76 h 262"/>
                <a:gd name="T64" fmla="*/ 188 w 324"/>
                <a:gd name="T65" fmla="*/ 76 h 262"/>
                <a:gd name="T66" fmla="*/ 184 w 324"/>
                <a:gd name="T67" fmla="*/ 76 h 262"/>
                <a:gd name="T68" fmla="*/ 180 w 324"/>
                <a:gd name="T69" fmla="*/ 82 h 262"/>
                <a:gd name="T70" fmla="*/ 178 w 324"/>
                <a:gd name="T71" fmla="*/ 212 h 262"/>
                <a:gd name="T72" fmla="*/ 180 w 324"/>
                <a:gd name="T73" fmla="*/ 216 h 262"/>
                <a:gd name="T74" fmla="*/ 184 w 324"/>
                <a:gd name="T75" fmla="*/ 220 h 262"/>
                <a:gd name="T76" fmla="*/ 188 w 324"/>
                <a:gd name="T77" fmla="*/ 222 h 262"/>
                <a:gd name="T78" fmla="*/ 278 w 324"/>
                <a:gd name="T79" fmla="*/ 0 h 262"/>
                <a:gd name="T80" fmla="*/ 274 w 324"/>
                <a:gd name="T81" fmla="*/ 0 h 262"/>
                <a:gd name="T82" fmla="*/ 268 w 324"/>
                <a:gd name="T83" fmla="*/ 6 h 262"/>
                <a:gd name="T84" fmla="*/ 268 w 324"/>
                <a:gd name="T85" fmla="*/ 212 h 262"/>
                <a:gd name="T86" fmla="*/ 268 w 324"/>
                <a:gd name="T87" fmla="*/ 216 h 262"/>
                <a:gd name="T88" fmla="*/ 274 w 324"/>
                <a:gd name="T89" fmla="*/ 220 h 262"/>
                <a:gd name="T90" fmla="*/ 314 w 324"/>
                <a:gd name="T91" fmla="*/ 222 h 262"/>
                <a:gd name="T92" fmla="*/ 318 w 324"/>
                <a:gd name="T93" fmla="*/ 220 h 262"/>
                <a:gd name="T94" fmla="*/ 324 w 324"/>
                <a:gd name="T95" fmla="*/ 216 h 262"/>
                <a:gd name="T96" fmla="*/ 324 w 324"/>
                <a:gd name="T97" fmla="*/ 10 h 262"/>
                <a:gd name="T98" fmla="*/ 324 w 324"/>
                <a:gd name="T99" fmla="*/ 6 h 262"/>
                <a:gd name="T100" fmla="*/ 318 w 324"/>
                <a:gd name="T101" fmla="*/ 0 h 262"/>
                <a:gd name="T102" fmla="*/ 314 w 324"/>
                <a:gd name="T103" fmla="*/ 0 h 262"/>
                <a:gd name="T104" fmla="*/ 0 w 324"/>
                <a:gd name="T105" fmla="*/ 242 h 262"/>
                <a:gd name="T106" fmla="*/ 324 w 324"/>
                <a:gd name="T107" fmla="*/ 26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4" h="262">
                  <a:moveTo>
                    <a:pt x="0" y="212"/>
                  </a:moveTo>
                  <a:lnTo>
                    <a:pt x="0" y="136"/>
                  </a:lnTo>
                  <a:lnTo>
                    <a:pt x="0" y="136"/>
                  </a:lnTo>
                  <a:lnTo>
                    <a:pt x="0" y="132"/>
                  </a:lnTo>
                  <a:lnTo>
                    <a:pt x="2" y="128"/>
                  </a:lnTo>
                  <a:lnTo>
                    <a:pt x="6" y="126"/>
                  </a:lnTo>
                  <a:lnTo>
                    <a:pt x="10" y="126"/>
                  </a:lnTo>
                  <a:lnTo>
                    <a:pt x="46" y="126"/>
                  </a:lnTo>
                  <a:lnTo>
                    <a:pt x="46" y="126"/>
                  </a:lnTo>
                  <a:lnTo>
                    <a:pt x="50" y="126"/>
                  </a:lnTo>
                  <a:lnTo>
                    <a:pt x="54" y="128"/>
                  </a:lnTo>
                  <a:lnTo>
                    <a:pt x="56" y="132"/>
                  </a:lnTo>
                  <a:lnTo>
                    <a:pt x="56" y="136"/>
                  </a:lnTo>
                  <a:lnTo>
                    <a:pt x="56" y="212"/>
                  </a:lnTo>
                  <a:lnTo>
                    <a:pt x="56" y="212"/>
                  </a:lnTo>
                  <a:lnTo>
                    <a:pt x="56" y="216"/>
                  </a:lnTo>
                  <a:lnTo>
                    <a:pt x="54" y="218"/>
                  </a:lnTo>
                  <a:lnTo>
                    <a:pt x="50" y="220"/>
                  </a:lnTo>
                  <a:lnTo>
                    <a:pt x="46" y="222"/>
                  </a:lnTo>
                  <a:lnTo>
                    <a:pt x="10" y="222"/>
                  </a:lnTo>
                  <a:lnTo>
                    <a:pt x="10" y="222"/>
                  </a:lnTo>
                  <a:lnTo>
                    <a:pt x="6" y="220"/>
                  </a:lnTo>
                  <a:lnTo>
                    <a:pt x="2" y="218"/>
                  </a:lnTo>
                  <a:lnTo>
                    <a:pt x="0" y="216"/>
                  </a:lnTo>
                  <a:lnTo>
                    <a:pt x="0" y="212"/>
                  </a:lnTo>
                  <a:lnTo>
                    <a:pt x="0" y="212"/>
                  </a:lnTo>
                  <a:close/>
                  <a:moveTo>
                    <a:pt x="100" y="222"/>
                  </a:moveTo>
                  <a:lnTo>
                    <a:pt x="136" y="222"/>
                  </a:lnTo>
                  <a:lnTo>
                    <a:pt x="136" y="222"/>
                  </a:lnTo>
                  <a:lnTo>
                    <a:pt x="140" y="220"/>
                  </a:lnTo>
                  <a:lnTo>
                    <a:pt x="142" y="218"/>
                  </a:lnTo>
                  <a:lnTo>
                    <a:pt x="144" y="216"/>
                  </a:lnTo>
                  <a:lnTo>
                    <a:pt x="146" y="212"/>
                  </a:lnTo>
                  <a:lnTo>
                    <a:pt x="146" y="58"/>
                  </a:lnTo>
                  <a:lnTo>
                    <a:pt x="146" y="58"/>
                  </a:lnTo>
                  <a:lnTo>
                    <a:pt x="144" y="54"/>
                  </a:lnTo>
                  <a:lnTo>
                    <a:pt x="142" y="52"/>
                  </a:lnTo>
                  <a:lnTo>
                    <a:pt x="140" y="50"/>
                  </a:lnTo>
                  <a:lnTo>
                    <a:pt x="136" y="48"/>
                  </a:lnTo>
                  <a:lnTo>
                    <a:pt x="100" y="48"/>
                  </a:lnTo>
                  <a:lnTo>
                    <a:pt x="100" y="48"/>
                  </a:lnTo>
                  <a:lnTo>
                    <a:pt x="96" y="50"/>
                  </a:lnTo>
                  <a:lnTo>
                    <a:pt x="92" y="52"/>
                  </a:lnTo>
                  <a:lnTo>
                    <a:pt x="90" y="54"/>
                  </a:lnTo>
                  <a:lnTo>
                    <a:pt x="90" y="58"/>
                  </a:lnTo>
                  <a:lnTo>
                    <a:pt x="90" y="212"/>
                  </a:lnTo>
                  <a:lnTo>
                    <a:pt x="90" y="212"/>
                  </a:lnTo>
                  <a:lnTo>
                    <a:pt x="90" y="216"/>
                  </a:lnTo>
                  <a:lnTo>
                    <a:pt x="92" y="218"/>
                  </a:lnTo>
                  <a:lnTo>
                    <a:pt x="96" y="220"/>
                  </a:lnTo>
                  <a:lnTo>
                    <a:pt x="100" y="222"/>
                  </a:lnTo>
                  <a:lnTo>
                    <a:pt x="100" y="222"/>
                  </a:lnTo>
                  <a:close/>
                  <a:moveTo>
                    <a:pt x="188" y="222"/>
                  </a:moveTo>
                  <a:lnTo>
                    <a:pt x="224" y="222"/>
                  </a:lnTo>
                  <a:lnTo>
                    <a:pt x="224" y="222"/>
                  </a:lnTo>
                  <a:lnTo>
                    <a:pt x="228" y="220"/>
                  </a:lnTo>
                  <a:lnTo>
                    <a:pt x="232" y="218"/>
                  </a:lnTo>
                  <a:lnTo>
                    <a:pt x="234" y="216"/>
                  </a:lnTo>
                  <a:lnTo>
                    <a:pt x="234" y="212"/>
                  </a:lnTo>
                  <a:lnTo>
                    <a:pt x="234" y="86"/>
                  </a:lnTo>
                  <a:lnTo>
                    <a:pt x="234" y="86"/>
                  </a:lnTo>
                  <a:lnTo>
                    <a:pt x="234" y="82"/>
                  </a:lnTo>
                  <a:lnTo>
                    <a:pt x="232" y="78"/>
                  </a:lnTo>
                  <a:lnTo>
                    <a:pt x="228" y="76"/>
                  </a:lnTo>
                  <a:lnTo>
                    <a:pt x="224" y="76"/>
                  </a:lnTo>
                  <a:lnTo>
                    <a:pt x="188" y="76"/>
                  </a:lnTo>
                  <a:lnTo>
                    <a:pt x="188" y="76"/>
                  </a:lnTo>
                  <a:lnTo>
                    <a:pt x="184" y="76"/>
                  </a:lnTo>
                  <a:lnTo>
                    <a:pt x="182" y="78"/>
                  </a:lnTo>
                  <a:lnTo>
                    <a:pt x="180" y="82"/>
                  </a:lnTo>
                  <a:lnTo>
                    <a:pt x="178" y="86"/>
                  </a:lnTo>
                  <a:lnTo>
                    <a:pt x="178" y="212"/>
                  </a:lnTo>
                  <a:lnTo>
                    <a:pt x="178" y="212"/>
                  </a:lnTo>
                  <a:lnTo>
                    <a:pt x="180" y="216"/>
                  </a:lnTo>
                  <a:lnTo>
                    <a:pt x="182" y="218"/>
                  </a:lnTo>
                  <a:lnTo>
                    <a:pt x="184" y="220"/>
                  </a:lnTo>
                  <a:lnTo>
                    <a:pt x="188" y="222"/>
                  </a:lnTo>
                  <a:lnTo>
                    <a:pt x="188" y="222"/>
                  </a:lnTo>
                  <a:close/>
                  <a:moveTo>
                    <a:pt x="314" y="0"/>
                  </a:moveTo>
                  <a:lnTo>
                    <a:pt x="278" y="0"/>
                  </a:lnTo>
                  <a:lnTo>
                    <a:pt x="278" y="0"/>
                  </a:lnTo>
                  <a:lnTo>
                    <a:pt x="274" y="0"/>
                  </a:lnTo>
                  <a:lnTo>
                    <a:pt x="270" y="2"/>
                  </a:lnTo>
                  <a:lnTo>
                    <a:pt x="268" y="6"/>
                  </a:lnTo>
                  <a:lnTo>
                    <a:pt x="268" y="10"/>
                  </a:lnTo>
                  <a:lnTo>
                    <a:pt x="268" y="212"/>
                  </a:lnTo>
                  <a:lnTo>
                    <a:pt x="268" y="212"/>
                  </a:lnTo>
                  <a:lnTo>
                    <a:pt x="268" y="216"/>
                  </a:lnTo>
                  <a:lnTo>
                    <a:pt x="270" y="218"/>
                  </a:lnTo>
                  <a:lnTo>
                    <a:pt x="274" y="220"/>
                  </a:lnTo>
                  <a:lnTo>
                    <a:pt x="278" y="222"/>
                  </a:lnTo>
                  <a:lnTo>
                    <a:pt x="314" y="222"/>
                  </a:lnTo>
                  <a:lnTo>
                    <a:pt x="314" y="222"/>
                  </a:lnTo>
                  <a:lnTo>
                    <a:pt x="318" y="220"/>
                  </a:lnTo>
                  <a:lnTo>
                    <a:pt x="322" y="218"/>
                  </a:lnTo>
                  <a:lnTo>
                    <a:pt x="324" y="216"/>
                  </a:lnTo>
                  <a:lnTo>
                    <a:pt x="324" y="212"/>
                  </a:lnTo>
                  <a:lnTo>
                    <a:pt x="324" y="10"/>
                  </a:lnTo>
                  <a:lnTo>
                    <a:pt x="324" y="10"/>
                  </a:lnTo>
                  <a:lnTo>
                    <a:pt x="324" y="6"/>
                  </a:lnTo>
                  <a:lnTo>
                    <a:pt x="322" y="2"/>
                  </a:lnTo>
                  <a:lnTo>
                    <a:pt x="318" y="0"/>
                  </a:lnTo>
                  <a:lnTo>
                    <a:pt x="314" y="0"/>
                  </a:lnTo>
                  <a:lnTo>
                    <a:pt x="314" y="0"/>
                  </a:lnTo>
                  <a:close/>
                  <a:moveTo>
                    <a:pt x="324" y="242"/>
                  </a:moveTo>
                  <a:lnTo>
                    <a:pt x="0" y="242"/>
                  </a:lnTo>
                  <a:lnTo>
                    <a:pt x="0" y="262"/>
                  </a:lnTo>
                  <a:lnTo>
                    <a:pt x="324" y="262"/>
                  </a:lnTo>
                  <a:lnTo>
                    <a:pt x="324" y="24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55" name="Group 154">
            <a:extLst>
              <a:ext uri="{FF2B5EF4-FFF2-40B4-BE49-F238E27FC236}">
                <a16:creationId xmlns:a16="http://schemas.microsoft.com/office/drawing/2014/main" id="{FB07AAF3-B40A-43B7-960A-97A6759A7D2C}"/>
              </a:ext>
            </a:extLst>
          </p:cNvPr>
          <p:cNvGrpSpPr/>
          <p:nvPr/>
        </p:nvGrpSpPr>
        <p:grpSpPr>
          <a:xfrm>
            <a:off x="9002704" y="3744136"/>
            <a:ext cx="523325" cy="523325"/>
            <a:chOff x="8742468" y="4690710"/>
            <a:chExt cx="612000" cy="612000"/>
          </a:xfrm>
        </p:grpSpPr>
        <p:sp>
          <p:nvSpPr>
            <p:cNvPr id="156" name="Oval 155">
              <a:extLst>
                <a:ext uri="{FF2B5EF4-FFF2-40B4-BE49-F238E27FC236}">
                  <a16:creationId xmlns:a16="http://schemas.microsoft.com/office/drawing/2014/main" id="{1973A5EB-E23E-465E-8532-C640F6AB89CC}"/>
                </a:ext>
              </a:extLst>
            </p:cNvPr>
            <p:cNvSpPr/>
            <p:nvPr/>
          </p:nvSpPr>
          <p:spPr bwMode="ltGray">
            <a:xfrm>
              <a:off x="8742468"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57" name="Freeform 4850">
              <a:extLst>
                <a:ext uri="{FF2B5EF4-FFF2-40B4-BE49-F238E27FC236}">
                  <a16:creationId xmlns:a16="http://schemas.microsoft.com/office/drawing/2014/main" id="{617DA825-4BC4-4FAA-B35E-8F7840A91C75}"/>
                </a:ext>
              </a:extLst>
            </p:cNvPr>
            <p:cNvSpPr>
              <a:spLocks noEditPoints="1"/>
            </p:cNvSpPr>
            <p:nvPr/>
          </p:nvSpPr>
          <p:spPr bwMode="auto">
            <a:xfrm>
              <a:off x="8803156" y="4770708"/>
              <a:ext cx="489847" cy="497158"/>
            </a:xfrm>
            <a:custGeom>
              <a:avLst/>
              <a:gdLst>
                <a:gd name="T0" fmla="*/ 228 w 402"/>
                <a:gd name="T1" fmla="*/ 272 h 408"/>
                <a:gd name="T2" fmla="*/ 234 w 402"/>
                <a:gd name="T3" fmla="*/ 270 h 408"/>
                <a:gd name="T4" fmla="*/ 238 w 402"/>
                <a:gd name="T5" fmla="*/ 264 h 408"/>
                <a:gd name="T6" fmla="*/ 238 w 402"/>
                <a:gd name="T7" fmla="*/ 258 h 408"/>
                <a:gd name="T8" fmla="*/ 238 w 402"/>
                <a:gd name="T9" fmla="*/ 14 h 408"/>
                <a:gd name="T10" fmla="*/ 238 w 402"/>
                <a:gd name="T11" fmla="*/ 10 h 408"/>
                <a:gd name="T12" fmla="*/ 236 w 402"/>
                <a:gd name="T13" fmla="*/ 2 h 408"/>
                <a:gd name="T14" fmla="*/ 234 w 402"/>
                <a:gd name="T15" fmla="*/ 0 h 408"/>
                <a:gd name="T16" fmla="*/ 226 w 402"/>
                <a:gd name="T17" fmla="*/ 0 h 408"/>
                <a:gd name="T18" fmla="*/ 220 w 402"/>
                <a:gd name="T19" fmla="*/ 4 h 408"/>
                <a:gd name="T20" fmla="*/ 10 w 402"/>
                <a:gd name="T21" fmla="*/ 126 h 408"/>
                <a:gd name="T22" fmla="*/ 6 w 402"/>
                <a:gd name="T23" fmla="*/ 126 h 408"/>
                <a:gd name="T24" fmla="*/ 0 w 402"/>
                <a:gd name="T25" fmla="*/ 132 h 408"/>
                <a:gd name="T26" fmla="*/ 0 w 402"/>
                <a:gd name="T27" fmla="*/ 136 h 408"/>
                <a:gd name="T28" fmla="*/ 2 w 402"/>
                <a:gd name="T29" fmla="*/ 142 h 408"/>
                <a:gd name="T30" fmla="*/ 10 w 402"/>
                <a:gd name="T31" fmla="*/ 146 h 408"/>
                <a:gd name="T32" fmla="*/ 220 w 402"/>
                <a:gd name="T33" fmla="*/ 268 h 408"/>
                <a:gd name="T34" fmla="*/ 224 w 402"/>
                <a:gd name="T35" fmla="*/ 270 h 408"/>
                <a:gd name="T36" fmla="*/ 228 w 402"/>
                <a:gd name="T37" fmla="*/ 272 h 408"/>
                <a:gd name="T38" fmla="*/ 166 w 402"/>
                <a:gd name="T39" fmla="*/ 146 h 408"/>
                <a:gd name="T40" fmla="*/ 156 w 402"/>
                <a:gd name="T41" fmla="*/ 150 h 408"/>
                <a:gd name="T42" fmla="*/ 144 w 402"/>
                <a:gd name="T43" fmla="*/ 146 h 408"/>
                <a:gd name="T44" fmla="*/ 142 w 402"/>
                <a:gd name="T45" fmla="*/ 142 h 408"/>
                <a:gd name="T46" fmla="*/ 142 w 402"/>
                <a:gd name="T47" fmla="*/ 130 h 408"/>
                <a:gd name="T48" fmla="*/ 144 w 402"/>
                <a:gd name="T49" fmla="*/ 124 h 408"/>
                <a:gd name="T50" fmla="*/ 156 w 402"/>
                <a:gd name="T51" fmla="*/ 120 h 408"/>
                <a:gd name="T52" fmla="*/ 166 w 402"/>
                <a:gd name="T53" fmla="*/ 124 h 408"/>
                <a:gd name="T54" fmla="*/ 170 w 402"/>
                <a:gd name="T55" fmla="*/ 130 h 408"/>
                <a:gd name="T56" fmla="*/ 170 w 402"/>
                <a:gd name="T57" fmla="*/ 142 h 408"/>
                <a:gd name="T58" fmla="*/ 166 w 402"/>
                <a:gd name="T59" fmla="*/ 146 h 408"/>
                <a:gd name="T60" fmla="*/ 144 w 402"/>
                <a:gd name="T61" fmla="*/ 184 h 408"/>
                <a:gd name="T62" fmla="*/ 180 w 402"/>
                <a:gd name="T63" fmla="*/ 408 h 408"/>
                <a:gd name="T64" fmla="*/ 156 w 402"/>
                <a:gd name="T65" fmla="*/ 404 h 408"/>
                <a:gd name="T66" fmla="*/ 132 w 402"/>
                <a:gd name="T67" fmla="*/ 398 h 408"/>
                <a:gd name="T68" fmla="*/ 392 w 402"/>
                <a:gd name="T69" fmla="*/ 196 h 408"/>
                <a:gd name="T70" fmla="*/ 402 w 402"/>
                <a:gd name="T71" fmla="*/ 188 h 408"/>
                <a:gd name="T72" fmla="*/ 402 w 402"/>
                <a:gd name="T73" fmla="*/ 184 h 408"/>
                <a:gd name="T74" fmla="*/ 398 w 402"/>
                <a:gd name="T75" fmla="*/ 178 h 408"/>
                <a:gd name="T76" fmla="*/ 314 w 402"/>
                <a:gd name="T77" fmla="*/ 144 h 408"/>
                <a:gd name="T78" fmla="*/ 282 w 402"/>
                <a:gd name="T79" fmla="*/ 62 h 408"/>
                <a:gd name="T80" fmla="*/ 278 w 402"/>
                <a:gd name="T81" fmla="*/ 58 h 408"/>
                <a:gd name="T82" fmla="*/ 270 w 402"/>
                <a:gd name="T83" fmla="*/ 56 h 408"/>
                <a:gd name="T84" fmla="*/ 266 w 402"/>
                <a:gd name="T85" fmla="*/ 58 h 408"/>
                <a:gd name="T86" fmla="*/ 262 w 402"/>
                <a:gd name="T87" fmla="*/ 64 h 408"/>
                <a:gd name="T88" fmla="*/ 278 w 402"/>
                <a:gd name="T89" fmla="*/ 154 h 408"/>
                <a:gd name="T90" fmla="*/ 244 w 402"/>
                <a:gd name="T91" fmla="*/ 230 h 408"/>
                <a:gd name="T92" fmla="*/ 390 w 402"/>
                <a:gd name="T93" fmla="*/ 196 h 408"/>
                <a:gd name="T94" fmla="*/ 392 w 402"/>
                <a:gd name="T95" fmla="*/ 196 h 408"/>
                <a:gd name="T96" fmla="*/ 306 w 402"/>
                <a:gd name="T97" fmla="*/ 168 h 408"/>
                <a:gd name="T98" fmla="*/ 302 w 402"/>
                <a:gd name="T99" fmla="*/ 172 h 408"/>
                <a:gd name="T100" fmla="*/ 294 w 402"/>
                <a:gd name="T101" fmla="*/ 172 h 408"/>
                <a:gd name="T102" fmla="*/ 290 w 402"/>
                <a:gd name="T103" fmla="*/ 168 h 408"/>
                <a:gd name="T104" fmla="*/ 286 w 402"/>
                <a:gd name="T105" fmla="*/ 160 h 408"/>
                <a:gd name="T106" fmla="*/ 290 w 402"/>
                <a:gd name="T107" fmla="*/ 152 h 408"/>
                <a:gd name="T108" fmla="*/ 294 w 402"/>
                <a:gd name="T109" fmla="*/ 150 h 408"/>
                <a:gd name="T110" fmla="*/ 302 w 402"/>
                <a:gd name="T111" fmla="*/ 150 h 408"/>
                <a:gd name="T112" fmla="*/ 306 w 402"/>
                <a:gd name="T113" fmla="*/ 152 h 408"/>
                <a:gd name="T114" fmla="*/ 310 w 402"/>
                <a:gd name="T115" fmla="*/ 160 h 408"/>
                <a:gd name="T116" fmla="*/ 306 w 402"/>
                <a:gd name="T117" fmla="*/ 168 h 408"/>
                <a:gd name="T118" fmla="*/ 286 w 402"/>
                <a:gd name="T119" fmla="*/ 208 h 408"/>
                <a:gd name="T120" fmla="*/ 310 w 402"/>
                <a:gd name="T121" fmla="*/ 192 h 408"/>
                <a:gd name="T122" fmla="*/ 318 w 402"/>
                <a:gd name="T123" fmla="*/ 366 h 408"/>
                <a:gd name="T124" fmla="*/ 276 w 402"/>
                <a:gd name="T125" fmla="*/ 39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08">
                  <a:moveTo>
                    <a:pt x="228" y="272"/>
                  </a:moveTo>
                  <a:lnTo>
                    <a:pt x="228" y="272"/>
                  </a:lnTo>
                  <a:lnTo>
                    <a:pt x="234" y="270"/>
                  </a:lnTo>
                  <a:lnTo>
                    <a:pt x="234" y="270"/>
                  </a:lnTo>
                  <a:lnTo>
                    <a:pt x="236" y="268"/>
                  </a:lnTo>
                  <a:lnTo>
                    <a:pt x="238" y="264"/>
                  </a:lnTo>
                  <a:lnTo>
                    <a:pt x="238" y="260"/>
                  </a:lnTo>
                  <a:lnTo>
                    <a:pt x="238" y="258"/>
                  </a:lnTo>
                  <a:lnTo>
                    <a:pt x="182" y="136"/>
                  </a:lnTo>
                  <a:lnTo>
                    <a:pt x="238" y="14"/>
                  </a:lnTo>
                  <a:lnTo>
                    <a:pt x="238" y="14"/>
                  </a:lnTo>
                  <a:lnTo>
                    <a:pt x="238" y="10"/>
                  </a:lnTo>
                  <a:lnTo>
                    <a:pt x="238" y="6"/>
                  </a:lnTo>
                  <a:lnTo>
                    <a:pt x="236" y="2"/>
                  </a:lnTo>
                  <a:lnTo>
                    <a:pt x="234" y="0"/>
                  </a:lnTo>
                  <a:lnTo>
                    <a:pt x="234" y="0"/>
                  </a:lnTo>
                  <a:lnTo>
                    <a:pt x="230" y="0"/>
                  </a:lnTo>
                  <a:lnTo>
                    <a:pt x="226" y="0"/>
                  </a:lnTo>
                  <a:lnTo>
                    <a:pt x="222" y="0"/>
                  </a:lnTo>
                  <a:lnTo>
                    <a:pt x="220" y="4"/>
                  </a:lnTo>
                  <a:lnTo>
                    <a:pt x="142" y="112"/>
                  </a:lnTo>
                  <a:lnTo>
                    <a:pt x="10" y="126"/>
                  </a:lnTo>
                  <a:lnTo>
                    <a:pt x="10" y="126"/>
                  </a:lnTo>
                  <a:lnTo>
                    <a:pt x="6" y="126"/>
                  </a:lnTo>
                  <a:lnTo>
                    <a:pt x="2" y="128"/>
                  </a:lnTo>
                  <a:lnTo>
                    <a:pt x="0" y="132"/>
                  </a:lnTo>
                  <a:lnTo>
                    <a:pt x="0" y="136"/>
                  </a:lnTo>
                  <a:lnTo>
                    <a:pt x="0" y="136"/>
                  </a:lnTo>
                  <a:lnTo>
                    <a:pt x="0" y="140"/>
                  </a:lnTo>
                  <a:lnTo>
                    <a:pt x="2" y="142"/>
                  </a:lnTo>
                  <a:lnTo>
                    <a:pt x="6" y="144"/>
                  </a:lnTo>
                  <a:lnTo>
                    <a:pt x="10" y="146"/>
                  </a:lnTo>
                  <a:lnTo>
                    <a:pt x="142" y="158"/>
                  </a:lnTo>
                  <a:lnTo>
                    <a:pt x="220" y="268"/>
                  </a:lnTo>
                  <a:lnTo>
                    <a:pt x="220" y="268"/>
                  </a:lnTo>
                  <a:lnTo>
                    <a:pt x="224" y="270"/>
                  </a:lnTo>
                  <a:lnTo>
                    <a:pt x="228" y="272"/>
                  </a:lnTo>
                  <a:lnTo>
                    <a:pt x="228" y="272"/>
                  </a:lnTo>
                  <a:close/>
                  <a:moveTo>
                    <a:pt x="166" y="146"/>
                  </a:moveTo>
                  <a:lnTo>
                    <a:pt x="166" y="146"/>
                  </a:lnTo>
                  <a:lnTo>
                    <a:pt x="162" y="150"/>
                  </a:lnTo>
                  <a:lnTo>
                    <a:pt x="156" y="150"/>
                  </a:lnTo>
                  <a:lnTo>
                    <a:pt x="150" y="150"/>
                  </a:lnTo>
                  <a:lnTo>
                    <a:pt x="144" y="146"/>
                  </a:lnTo>
                  <a:lnTo>
                    <a:pt x="144" y="146"/>
                  </a:lnTo>
                  <a:lnTo>
                    <a:pt x="142" y="142"/>
                  </a:lnTo>
                  <a:lnTo>
                    <a:pt x="140" y="136"/>
                  </a:lnTo>
                  <a:lnTo>
                    <a:pt x="142" y="130"/>
                  </a:lnTo>
                  <a:lnTo>
                    <a:pt x="144" y="124"/>
                  </a:lnTo>
                  <a:lnTo>
                    <a:pt x="144" y="124"/>
                  </a:lnTo>
                  <a:lnTo>
                    <a:pt x="150" y="122"/>
                  </a:lnTo>
                  <a:lnTo>
                    <a:pt x="156" y="120"/>
                  </a:lnTo>
                  <a:lnTo>
                    <a:pt x="162" y="122"/>
                  </a:lnTo>
                  <a:lnTo>
                    <a:pt x="166" y="124"/>
                  </a:lnTo>
                  <a:lnTo>
                    <a:pt x="166" y="124"/>
                  </a:lnTo>
                  <a:lnTo>
                    <a:pt x="170" y="130"/>
                  </a:lnTo>
                  <a:lnTo>
                    <a:pt x="172" y="136"/>
                  </a:lnTo>
                  <a:lnTo>
                    <a:pt x="170" y="142"/>
                  </a:lnTo>
                  <a:lnTo>
                    <a:pt x="166" y="146"/>
                  </a:lnTo>
                  <a:lnTo>
                    <a:pt x="166" y="146"/>
                  </a:lnTo>
                  <a:close/>
                  <a:moveTo>
                    <a:pt x="132" y="398"/>
                  </a:moveTo>
                  <a:lnTo>
                    <a:pt x="144" y="184"/>
                  </a:lnTo>
                  <a:lnTo>
                    <a:pt x="170" y="222"/>
                  </a:lnTo>
                  <a:lnTo>
                    <a:pt x="180" y="408"/>
                  </a:lnTo>
                  <a:lnTo>
                    <a:pt x="180" y="408"/>
                  </a:lnTo>
                  <a:lnTo>
                    <a:pt x="156" y="404"/>
                  </a:lnTo>
                  <a:lnTo>
                    <a:pt x="132" y="398"/>
                  </a:lnTo>
                  <a:lnTo>
                    <a:pt x="132" y="398"/>
                  </a:lnTo>
                  <a:close/>
                  <a:moveTo>
                    <a:pt x="392" y="196"/>
                  </a:moveTo>
                  <a:lnTo>
                    <a:pt x="392" y="196"/>
                  </a:lnTo>
                  <a:lnTo>
                    <a:pt x="398" y="194"/>
                  </a:lnTo>
                  <a:lnTo>
                    <a:pt x="402" y="188"/>
                  </a:lnTo>
                  <a:lnTo>
                    <a:pt x="402" y="188"/>
                  </a:lnTo>
                  <a:lnTo>
                    <a:pt x="402" y="184"/>
                  </a:lnTo>
                  <a:lnTo>
                    <a:pt x="400" y="180"/>
                  </a:lnTo>
                  <a:lnTo>
                    <a:pt x="398" y="178"/>
                  </a:lnTo>
                  <a:lnTo>
                    <a:pt x="396" y="176"/>
                  </a:lnTo>
                  <a:lnTo>
                    <a:pt x="314" y="144"/>
                  </a:lnTo>
                  <a:lnTo>
                    <a:pt x="282" y="62"/>
                  </a:lnTo>
                  <a:lnTo>
                    <a:pt x="282" y="62"/>
                  </a:lnTo>
                  <a:lnTo>
                    <a:pt x="280" y="60"/>
                  </a:lnTo>
                  <a:lnTo>
                    <a:pt x="278" y="58"/>
                  </a:lnTo>
                  <a:lnTo>
                    <a:pt x="274" y="56"/>
                  </a:lnTo>
                  <a:lnTo>
                    <a:pt x="270" y="56"/>
                  </a:lnTo>
                  <a:lnTo>
                    <a:pt x="270" y="56"/>
                  </a:lnTo>
                  <a:lnTo>
                    <a:pt x="266" y="58"/>
                  </a:lnTo>
                  <a:lnTo>
                    <a:pt x="264" y="60"/>
                  </a:lnTo>
                  <a:lnTo>
                    <a:pt x="262" y="64"/>
                  </a:lnTo>
                  <a:lnTo>
                    <a:pt x="262" y="68"/>
                  </a:lnTo>
                  <a:lnTo>
                    <a:pt x="278" y="154"/>
                  </a:lnTo>
                  <a:lnTo>
                    <a:pt x="234" y="208"/>
                  </a:lnTo>
                  <a:lnTo>
                    <a:pt x="244" y="230"/>
                  </a:lnTo>
                  <a:lnTo>
                    <a:pt x="304" y="180"/>
                  </a:lnTo>
                  <a:lnTo>
                    <a:pt x="390" y="196"/>
                  </a:lnTo>
                  <a:lnTo>
                    <a:pt x="390" y="196"/>
                  </a:lnTo>
                  <a:lnTo>
                    <a:pt x="392" y="196"/>
                  </a:lnTo>
                  <a:lnTo>
                    <a:pt x="392" y="196"/>
                  </a:lnTo>
                  <a:close/>
                  <a:moveTo>
                    <a:pt x="306" y="168"/>
                  </a:moveTo>
                  <a:lnTo>
                    <a:pt x="306" y="168"/>
                  </a:lnTo>
                  <a:lnTo>
                    <a:pt x="302" y="172"/>
                  </a:lnTo>
                  <a:lnTo>
                    <a:pt x="298" y="172"/>
                  </a:lnTo>
                  <a:lnTo>
                    <a:pt x="294" y="172"/>
                  </a:lnTo>
                  <a:lnTo>
                    <a:pt x="290" y="168"/>
                  </a:lnTo>
                  <a:lnTo>
                    <a:pt x="290" y="168"/>
                  </a:lnTo>
                  <a:lnTo>
                    <a:pt x="288" y="164"/>
                  </a:lnTo>
                  <a:lnTo>
                    <a:pt x="286" y="160"/>
                  </a:lnTo>
                  <a:lnTo>
                    <a:pt x="288" y="156"/>
                  </a:lnTo>
                  <a:lnTo>
                    <a:pt x="290" y="152"/>
                  </a:lnTo>
                  <a:lnTo>
                    <a:pt x="290" y="152"/>
                  </a:lnTo>
                  <a:lnTo>
                    <a:pt x="294" y="150"/>
                  </a:lnTo>
                  <a:lnTo>
                    <a:pt x="298" y="148"/>
                  </a:lnTo>
                  <a:lnTo>
                    <a:pt x="302" y="150"/>
                  </a:lnTo>
                  <a:lnTo>
                    <a:pt x="306" y="152"/>
                  </a:lnTo>
                  <a:lnTo>
                    <a:pt x="306" y="152"/>
                  </a:lnTo>
                  <a:lnTo>
                    <a:pt x="310" y="156"/>
                  </a:lnTo>
                  <a:lnTo>
                    <a:pt x="310" y="160"/>
                  </a:lnTo>
                  <a:lnTo>
                    <a:pt x="310" y="164"/>
                  </a:lnTo>
                  <a:lnTo>
                    <a:pt x="306" y="168"/>
                  </a:lnTo>
                  <a:lnTo>
                    <a:pt x="306" y="168"/>
                  </a:lnTo>
                  <a:close/>
                  <a:moveTo>
                    <a:pt x="286" y="208"/>
                  </a:moveTo>
                  <a:lnTo>
                    <a:pt x="306" y="192"/>
                  </a:lnTo>
                  <a:lnTo>
                    <a:pt x="310" y="192"/>
                  </a:lnTo>
                  <a:lnTo>
                    <a:pt x="318" y="366"/>
                  </a:lnTo>
                  <a:lnTo>
                    <a:pt x="318" y="366"/>
                  </a:lnTo>
                  <a:lnTo>
                    <a:pt x="298" y="380"/>
                  </a:lnTo>
                  <a:lnTo>
                    <a:pt x="276" y="390"/>
                  </a:lnTo>
                  <a:lnTo>
                    <a:pt x="286" y="20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58" name="Group 157">
            <a:extLst>
              <a:ext uri="{FF2B5EF4-FFF2-40B4-BE49-F238E27FC236}">
                <a16:creationId xmlns:a16="http://schemas.microsoft.com/office/drawing/2014/main" id="{7D025BCB-BCC6-4D6C-9973-31DEFB32B82F}"/>
              </a:ext>
            </a:extLst>
          </p:cNvPr>
          <p:cNvGrpSpPr/>
          <p:nvPr/>
        </p:nvGrpSpPr>
        <p:grpSpPr>
          <a:xfrm>
            <a:off x="9750677" y="3797236"/>
            <a:ext cx="523325" cy="523325"/>
            <a:chOff x="9617181" y="4690710"/>
            <a:chExt cx="612000" cy="612000"/>
          </a:xfrm>
        </p:grpSpPr>
        <p:sp>
          <p:nvSpPr>
            <p:cNvPr id="159" name="Oval 158">
              <a:extLst>
                <a:ext uri="{FF2B5EF4-FFF2-40B4-BE49-F238E27FC236}">
                  <a16:creationId xmlns:a16="http://schemas.microsoft.com/office/drawing/2014/main" id="{D8F6BBC5-14E2-4062-BA59-0E5FF7122693}"/>
                </a:ext>
              </a:extLst>
            </p:cNvPr>
            <p:cNvSpPr/>
            <p:nvPr/>
          </p:nvSpPr>
          <p:spPr bwMode="ltGray">
            <a:xfrm>
              <a:off x="9617181"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60" name="Freeform 4851">
              <a:extLst>
                <a:ext uri="{FF2B5EF4-FFF2-40B4-BE49-F238E27FC236}">
                  <a16:creationId xmlns:a16="http://schemas.microsoft.com/office/drawing/2014/main" id="{7AF789BC-6904-4500-942F-CAA9E05C8572}"/>
                </a:ext>
              </a:extLst>
            </p:cNvPr>
            <p:cNvSpPr>
              <a:spLocks noEditPoints="1"/>
            </p:cNvSpPr>
            <p:nvPr/>
          </p:nvSpPr>
          <p:spPr bwMode="auto">
            <a:xfrm>
              <a:off x="9703458" y="4818431"/>
              <a:ext cx="438669" cy="463039"/>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grpSp>
        <p:nvGrpSpPr>
          <p:cNvPr id="161" name="Group 160">
            <a:extLst>
              <a:ext uri="{FF2B5EF4-FFF2-40B4-BE49-F238E27FC236}">
                <a16:creationId xmlns:a16="http://schemas.microsoft.com/office/drawing/2014/main" id="{1FE7A3DA-8CBA-46D8-AD2E-36C6BF0290D7}"/>
              </a:ext>
            </a:extLst>
          </p:cNvPr>
          <p:cNvGrpSpPr/>
          <p:nvPr/>
        </p:nvGrpSpPr>
        <p:grpSpPr>
          <a:xfrm>
            <a:off x="8254731" y="4784210"/>
            <a:ext cx="523325" cy="523325"/>
            <a:chOff x="7867755" y="5907019"/>
            <a:chExt cx="612000" cy="612000"/>
          </a:xfrm>
        </p:grpSpPr>
        <p:sp>
          <p:nvSpPr>
            <p:cNvPr id="162" name="Oval 161">
              <a:extLst>
                <a:ext uri="{FF2B5EF4-FFF2-40B4-BE49-F238E27FC236}">
                  <a16:creationId xmlns:a16="http://schemas.microsoft.com/office/drawing/2014/main" id="{1E77FA96-CEDA-48C9-A304-EEB615A3D8EB}"/>
                </a:ext>
              </a:extLst>
            </p:cNvPr>
            <p:cNvSpPr/>
            <p:nvPr/>
          </p:nvSpPr>
          <p:spPr bwMode="ltGray">
            <a:xfrm>
              <a:off x="7867755"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39" err="1">
                <a:solidFill>
                  <a:srgbClr val="000000"/>
                </a:solidFill>
                <a:latin typeface="Segoe UI Light" panose="020B0502040204020203" pitchFamily="34" charset="0"/>
                <a:cs typeface="Segoe UI Light" panose="020B0502040204020203" pitchFamily="34" charset="0"/>
              </a:endParaRPr>
            </a:p>
          </p:txBody>
        </p:sp>
        <p:sp>
          <p:nvSpPr>
            <p:cNvPr id="163" name="Freeform 4858">
              <a:extLst>
                <a:ext uri="{FF2B5EF4-FFF2-40B4-BE49-F238E27FC236}">
                  <a16:creationId xmlns:a16="http://schemas.microsoft.com/office/drawing/2014/main" id="{EFB15EEC-0766-4531-AECE-0A72C7020D5A}"/>
                </a:ext>
              </a:extLst>
            </p:cNvPr>
            <p:cNvSpPr>
              <a:spLocks noEditPoints="1"/>
            </p:cNvSpPr>
            <p:nvPr/>
          </p:nvSpPr>
          <p:spPr bwMode="auto">
            <a:xfrm>
              <a:off x="7983277" y="6036118"/>
              <a:ext cx="380180" cy="360683"/>
            </a:xfrm>
            <a:custGeom>
              <a:avLst/>
              <a:gdLst>
                <a:gd name="T0" fmla="*/ 78 w 312"/>
                <a:gd name="T1" fmla="*/ 292 h 296"/>
                <a:gd name="T2" fmla="*/ 42 w 312"/>
                <a:gd name="T3" fmla="*/ 296 h 296"/>
                <a:gd name="T4" fmla="*/ 34 w 312"/>
                <a:gd name="T5" fmla="*/ 290 h 296"/>
                <a:gd name="T6" fmla="*/ 34 w 312"/>
                <a:gd name="T7" fmla="*/ 280 h 296"/>
                <a:gd name="T8" fmla="*/ 238 w 312"/>
                <a:gd name="T9" fmla="*/ 2 h 296"/>
                <a:gd name="T10" fmla="*/ 270 w 312"/>
                <a:gd name="T11" fmla="*/ 0 h 296"/>
                <a:gd name="T12" fmla="*/ 278 w 312"/>
                <a:gd name="T13" fmla="*/ 6 h 296"/>
                <a:gd name="T14" fmla="*/ 278 w 312"/>
                <a:gd name="T15" fmla="*/ 16 h 296"/>
                <a:gd name="T16" fmla="*/ 54 w 312"/>
                <a:gd name="T17" fmla="*/ 136 h 296"/>
                <a:gd name="T18" fmla="*/ 20 w 312"/>
                <a:gd name="T19" fmla="*/ 118 h 296"/>
                <a:gd name="T20" fmla="*/ 2 w 312"/>
                <a:gd name="T21" fmla="*/ 82 h 296"/>
                <a:gd name="T22" fmla="*/ 2 w 312"/>
                <a:gd name="T23" fmla="*/ 56 h 296"/>
                <a:gd name="T24" fmla="*/ 20 w 312"/>
                <a:gd name="T25" fmla="*/ 20 h 296"/>
                <a:gd name="T26" fmla="*/ 54 w 312"/>
                <a:gd name="T27" fmla="*/ 2 h 296"/>
                <a:gd name="T28" fmla="*/ 82 w 312"/>
                <a:gd name="T29" fmla="*/ 2 h 296"/>
                <a:gd name="T30" fmla="*/ 116 w 312"/>
                <a:gd name="T31" fmla="*/ 20 h 296"/>
                <a:gd name="T32" fmla="*/ 136 w 312"/>
                <a:gd name="T33" fmla="*/ 56 h 296"/>
                <a:gd name="T34" fmla="*/ 136 w 312"/>
                <a:gd name="T35" fmla="*/ 82 h 296"/>
                <a:gd name="T36" fmla="*/ 116 w 312"/>
                <a:gd name="T37" fmla="*/ 118 h 296"/>
                <a:gd name="T38" fmla="*/ 82 w 312"/>
                <a:gd name="T39" fmla="*/ 136 h 296"/>
                <a:gd name="T40" fmla="*/ 68 w 312"/>
                <a:gd name="T41" fmla="*/ 100 h 296"/>
                <a:gd name="T42" fmla="*/ 80 w 312"/>
                <a:gd name="T43" fmla="*/ 98 h 296"/>
                <a:gd name="T44" fmla="*/ 100 w 312"/>
                <a:gd name="T45" fmla="*/ 76 h 296"/>
                <a:gd name="T46" fmla="*/ 100 w 312"/>
                <a:gd name="T47" fmla="*/ 62 h 296"/>
                <a:gd name="T48" fmla="*/ 80 w 312"/>
                <a:gd name="T49" fmla="*/ 40 h 296"/>
                <a:gd name="T50" fmla="*/ 68 w 312"/>
                <a:gd name="T51" fmla="*/ 38 h 296"/>
                <a:gd name="T52" fmla="*/ 46 w 312"/>
                <a:gd name="T53" fmla="*/ 46 h 296"/>
                <a:gd name="T54" fmla="*/ 36 w 312"/>
                <a:gd name="T55" fmla="*/ 70 h 296"/>
                <a:gd name="T56" fmla="*/ 40 w 312"/>
                <a:gd name="T57" fmla="*/ 82 h 296"/>
                <a:gd name="T58" fmla="*/ 62 w 312"/>
                <a:gd name="T59" fmla="*/ 100 h 296"/>
                <a:gd name="T60" fmla="*/ 312 w 312"/>
                <a:gd name="T61" fmla="*/ 226 h 296"/>
                <a:gd name="T62" fmla="*/ 306 w 312"/>
                <a:gd name="T63" fmla="*/ 254 h 296"/>
                <a:gd name="T64" fmla="*/ 280 w 312"/>
                <a:gd name="T65" fmla="*/ 284 h 296"/>
                <a:gd name="T66" fmla="*/ 242 w 312"/>
                <a:gd name="T67" fmla="*/ 296 h 296"/>
                <a:gd name="T68" fmla="*/ 216 w 312"/>
                <a:gd name="T69" fmla="*/ 290 h 296"/>
                <a:gd name="T70" fmla="*/ 186 w 312"/>
                <a:gd name="T71" fmla="*/ 266 h 296"/>
                <a:gd name="T72" fmla="*/ 174 w 312"/>
                <a:gd name="T73" fmla="*/ 226 h 296"/>
                <a:gd name="T74" fmla="*/ 180 w 312"/>
                <a:gd name="T75" fmla="*/ 200 h 296"/>
                <a:gd name="T76" fmla="*/ 204 w 312"/>
                <a:gd name="T77" fmla="*/ 170 h 296"/>
                <a:gd name="T78" fmla="*/ 242 w 312"/>
                <a:gd name="T79" fmla="*/ 158 h 296"/>
                <a:gd name="T80" fmla="*/ 270 w 312"/>
                <a:gd name="T81" fmla="*/ 164 h 296"/>
                <a:gd name="T82" fmla="*/ 300 w 312"/>
                <a:gd name="T83" fmla="*/ 188 h 296"/>
                <a:gd name="T84" fmla="*/ 312 w 312"/>
                <a:gd name="T85" fmla="*/ 226 h 296"/>
                <a:gd name="T86" fmla="*/ 274 w 312"/>
                <a:gd name="T87" fmla="*/ 226 h 296"/>
                <a:gd name="T88" fmla="*/ 264 w 312"/>
                <a:gd name="T89" fmla="*/ 204 h 296"/>
                <a:gd name="T90" fmla="*/ 242 w 312"/>
                <a:gd name="T91" fmla="*/ 196 h 296"/>
                <a:gd name="T92" fmla="*/ 230 w 312"/>
                <a:gd name="T93" fmla="*/ 198 h 296"/>
                <a:gd name="T94" fmla="*/ 212 w 312"/>
                <a:gd name="T95" fmla="*/ 220 h 296"/>
                <a:gd name="T96" fmla="*/ 212 w 312"/>
                <a:gd name="T97" fmla="*/ 234 h 296"/>
                <a:gd name="T98" fmla="*/ 230 w 312"/>
                <a:gd name="T99" fmla="*/ 256 h 296"/>
                <a:gd name="T100" fmla="*/ 242 w 312"/>
                <a:gd name="T101" fmla="*/ 258 h 296"/>
                <a:gd name="T102" fmla="*/ 264 w 312"/>
                <a:gd name="T103" fmla="*/ 250 h 296"/>
                <a:gd name="T104" fmla="*/ 274 w 312"/>
                <a:gd name="T105" fmla="*/ 226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12" h="296">
                  <a:moveTo>
                    <a:pt x="278" y="16"/>
                  </a:moveTo>
                  <a:lnTo>
                    <a:pt x="78" y="292"/>
                  </a:lnTo>
                  <a:lnTo>
                    <a:pt x="78" y="292"/>
                  </a:lnTo>
                  <a:lnTo>
                    <a:pt x="74" y="294"/>
                  </a:lnTo>
                  <a:lnTo>
                    <a:pt x="70" y="296"/>
                  </a:lnTo>
                  <a:lnTo>
                    <a:pt x="42" y="296"/>
                  </a:lnTo>
                  <a:lnTo>
                    <a:pt x="42" y="296"/>
                  </a:lnTo>
                  <a:lnTo>
                    <a:pt x="38" y="294"/>
                  </a:lnTo>
                  <a:lnTo>
                    <a:pt x="34" y="290"/>
                  </a:lnTo>
                  <a:lnTo>
                    <a:pt x="34" y="290"/>
                  </a:lnTo>
                  <a:lnTo>
                    <a:pt x="32" y="284"/>
                  </a:lnTo>
                  <a:lnTo>
                    <a:pt x="34" y="280"/>
                  </a:lnTo>
                  <a:lnTo>
                    <a:pt x="234" y="4"/>
                  </a:lnTo>
                  <a:lnTo>
                    <a:pt x="234" y="4"/>
                  </a:lnTo>
                  <a:lnTo>
                    <a:pt x="238" y="2"/>
                  </a:lnTo>
                  <a:lnTo>
                    <a:pt x="242" y="0"/>
                  </a:lnTo>
                  <a:lnTo>
                    <a:pt x="270" y="0"/>
                  </a:lnTo>
                  <a:lnTo>
                    <a:pt x="270" y="0"/>
                  </a:lnTo>
                  <a:lnTo>
                    <a:pt x="274" y="2"/>
                  </a:lnTo>
                  <a:lnTo>
                    <a:pt x="278" y="6"/>
                  </a:lnTo>
                  <a:lnTo>
                    <a:pt x="278" y="6"/>
                  </a:lnTo>
                  <a:lnTo>
                    <a:pt x="280" y="12"/>
                  </a:lnTo>
                  <a:lnTo>
                    <a:pt x="278" y="16"/>
                  </a:lnTo>
                  <a:lnTo>
                    <a:pt x="278" y="16"/>
                  </a:lnTo>
                  <a:close/>
                  <a:moveTo>
                    <a:pt x="68" y="138"/>
                  </a:moveTo>
                  <a:lnTo>
                    <a:pt x="68" y="138"/>
                  </a:lnTo>
                  <a:lnTo>
                    <a:pt x="54" y="136"/>
                  </a:lnTo>
                  <a:lnTo>
                    <a:pt x="42" y="132"/>
                  </a:lnTo>
                  <a:lnTo>
                    <a:pt x="30" y="126"/>
                  </a:lnTo>
                  <a:lnTo>
                    <a:pt x="20" y="118"/>
                  </a:lnTo>
                  <a:lnTo>
                    <a:pt x="12" y="108"/>
                  </a:lnTo>
                  <a:lnTo>
                    <a:pt x="6" y="96"/>
                  </a:lnTo>
                  <a:lnTo>
                    <a:pt x="2" y="82"/>
                  </a:lnTo>
                  <a:lnTo>
                    <a:pt x="0" y="70"/>
                  </a:lnTo>
                  <a:lnTo>
                    <a:pt x="0" y="70"/>
                  </a:lnTo>
                  <a:lnTo>
                    <a:pt x="2" y="56"/>
                  </a:lnTo>
                  <a:lnTo>
                    <a:pt x="6" y="42"/>
                  </a:lnTo>
                  <a:lnTo>
                    <a:pt x="12" y="30"/>
                  </a:lnTo>
                  <a:lnTo>
                    <a:pt x="20" y="20"/>
                  </a:lnTo>
                  <a:lnTo>
                    <a:pt x="30" y="12"/>
                  </a:lnTo>
                  <a:lnTo>
                    <a:pt x="42" y="6"/>
                  </a:lnTo>
                  <a:lnTo>
                    <a:pt x="54" y="2"/>
                  </a:lnTo>
                  <a:lnTo>
                    <a:pt x="68" y="0"/>
                  </a:lnTo>
                  <a:lnTo>
                    <a:pt x="68" y="0"/>
                  </a:lnTo>
                  <a:lnTo>
                    <a:pt x="82" y="2"/>
                  </a:lnTo>
                  <a:lnTo>
                    <a:pt x="94" y="6"/>
                  </a:lnTo>
                  <a:lnTo>
                    <a:pt x="106" y="12"/>
                  </a:lnTo>
                  <a:lnTo>
                    <a:pt x="116" y="20"/>
                  </a:lnTo>
                  <a:lnTo>
                    <a:pt x="126" y="30"/>
                  </a:lnTo>
                  <a:lnTo>
                    <a:pt x="132" y="42"/>
                  </a:lnTo>
                  <a:lnTo>
                    <a:pt x="136" y="56"/>
                  </a:lnTo>
                  <a:lnTo>
                    <a:pt x="136" y="70"/>
                  </a:lnTo>
                  <a:lnTo>
                    <a:pt x="136" y="70"/>
                  </a:lnTo>
                  <a:lnTo>
                    <a:pt x="136" y="82"/>
                  </a:lnTo>
                  <a:lnTo>
                    <a:pt x="132" y="96"/>
                  </a:lnTo>
                  <a:lnTo>
                    <a:pt x="126" y="108"/>
                  </a:lnTo>
                  <a:lnTo>
                    <a:pt x="116" y="118"/>
                  </a:lnTo>
                  <a:lnTo>
                    <a:pt x="106" y="126"/>
                  </a:lnTo>
                  <a:lnTo>
                    <a:pt x="94" y="132"/>
                  </a:lnTo>
                  <a:lnTo>
                    <a:pt x="82" y="136"/>
                  </a:lnTo>
                  <a:lnTo>
                    <a:pt x="68" y="138"/>
                  </a:lnTo>
                  <a:lnTo>
                    <a:pt x="68" y="138"/>
                  </a:lnTo>
                  <a:close/>
                  <a:moveTo>
                    <a:pt x="68" y="100"/>
                  </a:moveTo>
                  <a:lnTo>
                    <a:pt x="68" y="100"/>
                  </a:lnTo>
                  <a:lnTo>
                    <a:pt x="74" y="100"/>
                  </a:lnTo>
                  <a:lnTo>
                    <a:pt x="80" y="98"/>
                  </a:lnTo>
                  <a:lnTo>
                    <a:pt x="90" y="92"/>
                  </a:lnTo>
                  <a:lnTo>
                    <a:pt x="98" y="82"/>
                  </a:lnTo>
                  <a:lnTo>
                    <a:pt x="100" y="76"/>
                  </a:lnTo>
                  <a:lnTo>
                    <a:pt x="100" y="70"/>
                  </a:lnTo>
                  <a:lnTo>
                    <a:pt x="100" y="70"/>
                  </a:lnTo>
                  <a:lnTo>
                    <a:pt x="100" y="62"/>
                  </a:lnTo>
                  <a:lnTo>
                    <a:pt x="98" y="56"/>
                  </a:lnTo>
                  <a:lnTo>
                    <a:pt x="90" y="46"/>
                  </a:lnTo>
                  <a:lnTo>
                    <a:pt x="80" y="40"/>
                  </a:lnTo>
                  <a:lnTo>
                    <a:pt x="74" y="38"/>
                  </a:lnTo>
                  <a:lnTo>
                    <a:pt x="68" y="38"/>
                  </a:lnTo>
                  <a:lnTo>
                    <a:pt x="68" y="38"/>
                  </a:lnTo>
                  <a:lnTo>
                    <a:pt x="62" y="38"/>
                  </a:lnTo>
                  <a:lnTo>
                    <a:pt x="56" y="40"/>
                  </a:lnTo>
                  <a:lnTo>
                    <a:pt x="46" y="46"/>
                  </a:lnTo>
                  <a:lnTo>
                    <a:pt x="40" y="56"/>
                  </a:lnTo>
                  <a:lnTo>
                    <a:pt x="38" y="62"/>
                  </a:lnTo>
                  <a:lnTo>
                    <a:pt x="36" y="70"/>
                  </a:lnTo>
                  <a:lnTo>
                    <a:pt x="36" y="70"/>
                  </a:lnTo>
                  <a:lnTo>
                    <a:pt x="38" y="76"/>
                  </a:lnTo>
                  <a:lnTo>
                    <a:pt x="40" y="82"/>
                  </a:lnTo>
                  <a:lnTo>
                    <a:pt x="46" y="92"/>
                  </a:lnTo>
                  <a:lnTo>
                    <a:pt x="56" y="98"/>
                  </a:lnTo>
                  <a:lnTo>
                    <a:pt x="62" y="100"/>
                  </a:lnTo>
                  <a:lnTo>
                    <a:pt x="68" y="100"/>
                  </a:lnTo>
                  <a:lnTo>
                    <a:pt x="68" y="100"/>
                  </a:lnTo>
                  <a:close/>
                  <a:moveTo>
                    <a:pt x="312" y="226"/>
                  </a:moveTo>
                  <a:lnTo>
                    <a:pt x="312" y="226"/>
                  </a:lnTo>
                  <a:lnTo>
                    <a:pt x="310" y="240"/>
                  </a:lnTo>
                  <a:lnTo>
                    <a:pt x="306" y="254"/>
                  </a:lnTo>
                  <a:lnTo>
                    <a:pt x="300" y="266"/>
                  </a:lnTo>
                  <a:lnTo>
                    <a:pt x="290" y="276"/>
                  </a:lnTo>
                  <a:lnTo>
                    <a:pt x="280" y="284"/>
                  </a:lnTo>
                  <a:lnTo>
                    <a:pt x="270" y="290"/>
                  </a:lnTo>
                  <a:lnTo>
                    <a:pt x="256" y="294"/>
                  </a:lnTo>
                  <a:lnTo>
                    <a:pt x="242" y="296"/>
                  </a:lnTo>
                  <a:lnTo>
                    <a:pt x="242" y="296"/>
                  </a:lnTo>
                  <a:lnTo>
                    <a:pt x="228" y="294"/>
                  </a:lnTo>
                  <a:lnTo>
                    <a:pt x="216" y="290"/>
                  </a:lnTo>
                  <a:lnTo>
                    <a:pt x="204" y="284"/>
                  </a:lnTo>
                  <a:lnTo>
                    <a:pt x="194" y="276"/>
                  </a:lnTo>
                  <a:lnTo>
                    <a:pt x="186" y="266"/>
                  </a:lnTo>
                  <a:lnTo>
                    <a:pt x="180" y="254"/>
                  </a:lnTo>
                  <a:lnTo>
                    <a:pt x="176" y="240"/>
                  </a:lnTo>
                  <a:lnTo>
                    <a:pt x="174" y="226"/>
                  </a:lnTo>
                  <a:lnTo>
                    <a:pt x="174" y="226"/>
                  </a:lnTo>
                  <a:lnTo>
                    <a:pt x="176" y="214"/>
                  </a:lnTo>
                  <a:lnTo>
                    <a:pt x="180" y="200"/>
                  </a:lnTo>
                  <a:lnTo>
                    <a:pt x="186" y="188"/>
                  </a:lnTo>
                  <a:lnTo>
                    <a:pt x="194" y="178"/>
                  </a:lnTo>
                  <a:lnTo>
                    <a:pt x="204" y="170"/>
                  </a:lnTo>
                  <a:lnTo>
                    <a:pt x="216" y="164"/>
                  </a:lnTo>
                  <a:lnTo>
                    <a:pt x="228" y="160"/>
                  </a:lnTo>
                  <a:lnTo>
                    <a:pt x="242" y="158"/>
                  </a:lnTo>
                  <a:lnTo>
                    <a:pt x="242" y="158"/>
                  </a:lnTo>
                  <a:lnTo>
                    <a:pt x="256" y="160"/>
                  </a:lnTo>
                  <a:lnTo>
                    <a:pt x="270" y="164"/>
                  </a:lnTo>
                  <a:lnTo>
                    <a:pt x="280" y="170"/>
                  </a:lnTo>
                  <a:lnTo>
                    <a:pt x="290" y="178"/>
                  </a:lnTo>
                  <a:lnTo>
                    <a:pt x="300" y="188"/>
                  </a:lnTo>
                  <a:lnTo>
                    <a:pt x="306" y="200"/>
                  </a:lnTo>
                  <a:lnTo>
                    <a:pt x="310" y="214"/>
                  </a:lnTo>
                  <a:lnTo>
                    <a:pt x="312" y="226"/>
                  </a:lnTo>
                  <a:lnTo>
                    <a:pt x="312" y="226"/>
                  </a:lnTo>
                  <a:close/>
                  <a:moveTo>
                    <a:pt x="274" y="226"/>
                  </a:moveTo>
                  <a:lnTo>
                    <a:pt x="274" y="226"/>
                  </a:lnTo>
                  <a:lnTo>
                    <a:pt x="274" y="220"/>
                  </a:lnTo>
                  <a:lnTo>
                    <a:pt x="272" y="214"/>
                  </a:lnTo>
                  <a:lnTo>
                    <a:pt x="264" y="204"/>
                  </a:lnTo>
                  <a:lnTo>
                    <a:pt x="254" y="198"/>
                  </a:lnTo>
                  <a:lnTo>
                    <a:pt x="248" y="196"/>
                  </a:lnTo>
                  <a:lnTo>
                    <a:pt x="242" y="196"/>
                  </a:lnTo>
                  <a:lnTo>
                    <a:pt x="242" y="196"/>
                  </a:lnTo>
                  <a:lnTo>
                    <a:pt x="236" y="196"/>
                  </a:lnTo>
                  <a:lnTo>
                    <a:pt x="230" y="198"/>
                  </a:lnTo>
                  <a:lnTo>
                    <a:pt x="220" y="204"/>
                  </a:lnTo>
                  <a:lnTo>
                    <a:pt x="214" y="214"/>
                  </a:lnTo>
                  <a:lnTo>
                    <a:pt x="212" y="220"/>
                  </a:lnTo>
                  <a:lnTo>
                    <a:pt x="212" y="226"/>
                  </a:lnTo>
                  <a:lnTo>
                    <a:pt x="212" y="226"/>
                  </a:lnTo>
                  <a:lnTo>
                    <a:pt x="212" y="234"/>
                  </a:lnTo>
                  <a:lnTo>
                    <a:pt x="214" y="240"/>
                  </a:lnTo>
                  <a:lnTo>
                    <a:pt x="220" y="250"/>
                  </a:lnTo>
                  <a:lnTo>
                    <a:pt x="230" y="256"/>
                  </a:lnTo>
                  <a:lnTo>
                    <a:pt x="236" y="258"/>
                  </a:lnTo>
                  <a:lnTo>
                    <a:pt x="242" y="258"/>
                  </a:lnTo>
                  <a:lnTo>
                    <a:pt x="242" y="258"/>
                  </a:lnTo>
                  <a:lnTo>
                    <a:pt x="248" y="258"/>
                  </a:lnTo>
                  <a:lnTo>
                    <a:pt x="254" y="256"/>
                  </a:lnTo>
                  <a:lnTo>
                    <a:pt x="264" y="250"/>
                  </a:lnTo>
                  <a:lnTo>
                    <a:pt x="272" y="240"/>
                  </a:lnTo>
                  <a:lnTo>
                    <a:pt x="274" y="234"/>
                  </a:lnTo>
                  <a:lnTo>
                    <a:pt x="274" y="226"/>
                  </a:lnTo>
                  <a:lnTo>
                    <a:pt x="274" y="22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grpSp>
      <p:cxnSp>
        <p:nvCxnSpPr>
          <p:cNvPr id="164" name="Straight Connector 163">
            <a:extLst>
              <a:ext uri="{FF2B5EF4-FFF2-40B4-BE49-F238E27FC236}">
                <a16:creationId xmlns:a16="http://schemas.microsoft.com/office/drawing/2014/main" id="{5BBDBB83-5639-4D2C-B0F7-61784AA31630}"/>
              </a:ext>
            </a:extLst>
          </p:cNvPr>
          <p:cNvCxnSpPr/>
          <p:nvPr/>
        </p:nvCxnSpPr>
        <p:spPr>
          <a:xfrm>
            <a:off x="8026879" y="1641237"/>
            <a:ext cx="0" cy="4114800"/>
          </a:xfrm>
          <a:prstGeom prst="line">
            <a:avLst/>
          </a:prstGeom>
          <a:ln>
            <a:solidFill>
              <a:srgbClr val="0072C6"/>
            </a:solidFill>
          </a:ln>
        </p:spPr>
        <p:style>
          <a:lnRef idx="1">
            <a:schemeClr val="accent1"/>
          </a:lnRef>
          <a:fillRef idx="0">
            <a:schemeClr val="accent1"/>
          </a:fillRef>
          <a:effectRef idx="0">
            <a:schemeClr val="accent1"/>
          </a:effectRef>
          <a:fontRef idx="minor">
            <a:schemeClr val="tx1"/>
          </a:fontRef>
        </p:style>
      </p:cxnSp>
      <p:sp>
        <p:nvSpPr>
          <p:cNvPr id="165" name="Title 1">
            <a:extLst>
              <a:ext uri="{FF2B5EF4-FFF2-40B4-BE49-F238E27FC236}">
                <a16:creationId xmlns:a16="http://schemas.microsoft.com/office/drawing/2014/main" id="{AB4F074C-CAB0-4EA9-9FDA-63498756538A}"/>
              </a:ext>
            </a:extLst>
          </p:cNvPr>
          <p:cNvSpPr txBox="1">
            <a:spLocks/>
          </p:cNvSpPr>
          <p:nvPr/>
        </p:nvSpPr>
        <p:spPr>
          <a:xfrm>
            <a:off x="2094034" y="1388419"/>
            <a:ext cx="6867857" cy="439051"/>
          </a:xfrm>
          <a:prstGeom prst="rect">
            <a:avLst/>
          </a:prstGeom>
        </p:spPr>
        <p:txBody>
          <a:bodyPr vert="horz" lIns="91440" tIns="45720" rIns="91440" bIns="45720" rtlCol="0" anchor="t">
            <a:normAutofit/>
          </a:bodyPr>
          <a:lstStyle>
            <a:lvl1pPr algn="l" defTabSz="457200" rtl="0" eaLnBrk="1" latinLnBrk="0" hangingPunct="1">
              <a:spcBef>
                <a:spcPct val="0"/>
              </a:spcBef>
              <a:buNone/>
              <a:defRPr sz="2000" b="1" i="0" kern="1200">
                <a:solidFill>
                  <a:srgbClr val="505050"/>
                </a:solidFill>
                <a:latin typeface="Segoe UI" panose="020B0502040204020203" pitchFamily="34" charset="0"/>
                <a:ea typeface="+mj-ea"/>
                <a:cs typeface="Segoe UI" panose="020B0502040204020203" pitchFamily="34" charset="0"/>
              </a:defRPr>
            </a:lvl1pPr>
          </a:lstStyle>
          <a:p>
            <a:r>
              <a:rPr lang="en-GB" sz="1600">
                <a:solidFill>
                  <a:srgbClr val="000000"/>
                </a:solidFill>
                <a:latin typeface="Segoe UI Light" panose="020B0502040204020203" pitchFamily="34" charset="0"/>
                <a:cs typeface="Segoe UI Light" panose="020B0502040204020203" pitchFamily="34" charset="0"/>
              </a:rPr>
              <a:t>Industry sectors</a:t>
            </a:r>
          </a:p>
        </p:txBody>
      </p:sp>
      <p:sp>
        <p:nvSpPr>
          <p:cNvPr id="166" name="Title 1">
            <a:extLst>
              <a:ext uri="{FF2B5EF4-FFF2-40B4-BE49-F238E27FC236}">
                <a16:creationId xmlns:a16="http://schemas.microsoft.com/office/drawing/2014/main" id="{07ADA581-DA8D-4F38-88C1-43EA6BBB394A}"/>
              </a:ext>
            </a:extLst>
          </p:cNvPr>
          <p:cNvSpPr txBox="1">
            <a:spLocks/>
          </p:cNvSpPr>
          <p:nvPr/>
        </p:nvSpPr>
        <p:spPr>
          <a:xfrm>
            <a:off x="8254731" y="1382609"/>
            <a:ext cx="881059" cy="348776"/>
          </a:xfrm>
          <a:prstGeom prst="rect">
            <a:avLst/>
          </a:prstGeom>
        </p:spPr>
        <p:txBody>
          <a:bodyPr vert="horz" lIns="0" tIns="0" rIns="0" bIns="0" rtlCol="0" anchor="t" anchorCtr="0">
            <a:noAutofit/>
          </a:bodyPr>
          <a:lstStyle>
            <a:lvl1pPr algn="l" defTabSz="1018705" rtl="0" eaLnBrk="1" latinLnBrk="0" hangingPunct="1">
              <a:lnSpc>
                <a:spcPct val="100000"/>
              </a:lnSpc>
              <a:spcBef>
                <a:spcPct val="0"/>
              </a:spcBef>
              <a:buNone/>
              <a:defRPr sz="2000" b="1" i="1" kern="1200">
                <a:solidFill>
                  <a:schemeClr val="tx1"/>
                </a:solidFill>
                <a:latin typeface="+mj-lt"/>
                <a:ea typeface="+mj-ea"/>
                <a:cs typeface="+mj-cs"/>
              </a:defRPr>
            </a:lvl1pPr>
          </a:lstStyle>
          <a:p>
            <a:r>
              <a:rPr lang="en-GB" sz="1600" i="0">
                <a:solidFill>
                  <a:srgbClr val="000000"/>
                </a:solidFill>
                <a:latin typeface="Segoe UI Light" panose="020B0502040204020203" pitchFamily="34" charset="0"/>
                <a:cs typeface="Segoe UI Light" panose="020B0502040204020203" pitchFamily="34" charset="0"/>
              </a:rPr>
              <a:t>Issues</a:t>
            </a:r>
          </a:p>
        </p:txBody>
      </p:sp>
      <p:sp>
        <p:nvSpPr>
          <p:cNvPr id="171" name="TextBox 170">
            <a:extLst>
              <a:ext uri="{FF2B5EF4-FFF2-40B4-BE49-F238E27FC236}">
                <a16:creationId xmlns:a16="http://schemas.microsoft.com/office/drawing/2014/main" id="{39021EF3-478E-42C9-8FED-80F99549262D}"/>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Icons - Industry</a:t>
            </a:r>
          </a:p>
        </p:txBody>
      </p:sp>
    </p:spTree>
    <p:extLst>
      <p:ext uri="{BB962C8B-B14F-4D97-AF65-F5344CB8AC3E}">
        <p14:creationId xmlns:p14="http://schemas.microsoft.com/office/powerpoint/2010/main" val="41184660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931D0C8-3BCC-4894-854B-E1DFBE8F8731}"/>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Model Simulation: REMI TranSight</a:t>
            </a:r>
          </a:p>
        </p:txBody>
      </p:sp>
      <p:sp>
        <p:nvSpPr>
          <p:cNvPr id="2" name="Rectangle 1"/>
          <p:cNvSpPr/>
          <p:nvPr/>
        </p:nvSpPr>
        <p:spPr>
          <a:xfrm>
            <a:off x="440536" y="2601833"/>
            <a:ext cx="4888846" cy="3477875"/>
          </a:xfrm>
          <a:prstGeom prst="rect">
            <a:avLst/>
          </a:prstGeom>
        </p:spPr>
        <p:txBody>
          <a:bodyPr wrap="square">
            <a:spAutoFit/>
          </a:bodyPr>
          <a:lstStyle/>
          <a:p>
            <a:r>
              <a:rPr lang="en-US" sz="2000"/>
              <a:t>TranSight is the premier software solution for comprehensive evaluations of the total economic effects of transportation </a:t>
            </a:r>
          </a:p>
          <a:p>
            <a:r>
              <a:rPr lang="en-US" sz="2000"/>
              <a:t>policy. </a:t>
            </a:r>
          </a:p>
          <a:p>
            <a:endParaRPr lang="en-US" sz="2000"/>
          </a:p>
          <a:p>
            <a:r>
              <a:rPr lang="en-US" sz="2000"/>
              <a:t>Grounded in over 20 years of modeling experience, decision-makers depend on TranSight to forecast the short- and long-term impacts of transportation investments on jobs, population, income, and other economic variables</a:t>
            </a:r>
          </a:p>
        </p:txBody>
      </p:sp>
      <p:sp>
        <p:nvSpPr>
          <p:cNvPr id="4" name="AutoShape 2"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4" y="-144463"/>
            <a:ext cx="2844511" cy="284452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06443" y="1297463"/>
            <a:ext cx="3271164" cy="1166884"/>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66162" y="2361548"/>
            <a:ext cx="5958054" cy="2561494"/>
          </a:xfrm>
          <a:prstGeom prst="rect">
            <a:avLst/>
          </a:prstGeom>
        </p:spPr>
      </p:pic>
    </p:spTree>
    <p:extLst>
      <p:ext uri="{BB962C8B-B14F-4D97-AF65-F5344CB8AC3E}">
        <p14:creationId xmlns:p14="http://schemas.microsoft.com/office/powerpoint/2010/main" val="37883481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Shape 185"/>
        <p:cNvGrpSpPr/>
        <p:nvPr/>
      </p:nvGrpSpPr>
      <p:grpSpPr>
        <a:xfrm>
          <a:off x="0" y="0"/>
          <a:ext cx="0" cy="0"/>
          <a:chOff x="0" y="0"/>
          <a:chExt cx="0" cy="0"/>
        </a:xfrm>
      </p:grpSpPr>
      <p:sp>
        <p:nvSpPr>
          <p:cNvPr id="31" name="Rounded Rectangle 30">
            <a:extLst>
              <a:ext uri="{FF2B5EF4-FFF2-40B4-BE49-F238E27FC236}">
                <a16:creationId xmlns:a16="http://schemas.microsoft.com/office/drawing/2014/main" id="{FAC1BA8D-3D9A-4847-AE91-8CCBDC1CB3EB}"/>
              </a:ext>
            </a:extLst>
          </p:cNvPr>
          <p:cNvSpPr/>
          <p:nvPr/>
        </p:nvSpPr>
        <p:spPr>
          <a:xfrm>
            <a:off x="6178341" y="1395799"/>
            <a:ext cx="5523700" cy="2202523"/>
          </a:xfrm>
          <a:prstGeom prst="roundRect">
            <a:avLst/>
          </a:prstGeom>
          <a:noFill/>
          <a:ln w="28575">
            <a:solidFill>
              <a:srgbClr val="A805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2" name="Rounded Rectangle 1">
            <a:extLst>
              <a:ext uri="{FF2B5EF4-FFF2-40B4-BE49-F238E27FC236}">
                <a16:creationId xmlns:a16="http://schemas.microsoft.com/office/drawing/2014/main" id="{EDB05DF2-2B1B-6C4F-A18E-E26258EDD979}"/>
              </a:ext>
            </a:extLst>
          </p:cNvPr>
          <p:cNvSpPr/>
          <p:nvPr/>
        </p:nvSpPr>
        <p:spPr>
          <a:xfrm>
            <a:off x="489959" y="1395800"/>
            <a:ext cx="5370471" cy="2202522"/>
          </a:xfrm>
          <a:prstGeom prst="roundRect">
            <a:avLst/>
          </a:prstGeom>
          <a:noFill/>
          <a:ln w="28575">
            <a:solidFill>
              <a:srgbClr val="A805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32" name="Rounded Rectangle 31">
            <a:extLst>
              <a:ext uri="{FF2B5EF4-FFF2-40B4-BE49-F238E27FC236}">
                <a16:creationId xmlns:a16="http://schemas.microsoft.com/office/drawing/2014/main" id="{8627BB8B-4D78-554D-AD0E-7646F64F5578}"/>
              </a:ext>
            </a:extLst>
          </p:cNvPr>
          <p:cNvSpPr/>
          <p:nvPr/>
        </p:nvSpPr>
        <p:spPr>
          <a:xfrm>
            <a:off x="489959" y="3892038"/>
            <a:ext cx="5370471" cy="2319647"/>
          </a:xfrm>
          <a:prstGeom prst="roundRect">
            <a:avLst/>
          </a:prstGeom>
          <a:noFill/>
          <a:ln w="28575">
            <a:solidFill>
              <a:srgbClr val="A805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33" name="Rounded Rectangle 32">
            <a:extLst>
              <a:ext uri="{FF2B5EF4-FFF2-40B4-BE49-F238E27FC236}">
                <a16:creationId xmlns:a16="http://schemas.microsoft.com/office/drawing/2014/main" id="{07E425C5-81C7-194F-846C-7F83CEE9AA2F}"/>
              </a:ext>
            </a:extLst>
          </p:cNvPr>
          <p:cNvSpPr/>
          <p:nvPr/>
        </p:nvSpPr>
        <p:spPr>
          <a:xfrm>
            <a:off x="6178341" y="3932848"/>
            <a:ext cx="5523700" cy="2278837"/>
          </a:xfrm>
          <a:prstGeom prst="roundRect">
            <a:avLst/>
          </a:prstGeom>
          <a:noFill/>
          <a:ln w="28575">
            <a:solidFill>
              <a:srgbClr val="A805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3" name="Rectangle 2">
            <a:extLst>
              <a:ext uri="{FF2B5EF4-FFF2-40B4-BE49-F238E27FC236}">
                <a16:creationId xmlns:a16="http://schemas.microsoft.com/office/drawing/2014/main" id="{2638EF42-C234-4E82-9FAD-CDB08B8002FE}"/>
              </a:ext>
            </a:extLst>
          </p:cNvPr>
          <p:cNvSpPr/>
          <p:nvPr/>
        </p:nvSpPr>
        <p:spPr>
          <a:xfrm>
            <a:off x="7783788" y="3854121"/>
            <a:ext cx="2373752" cy="1272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14" name="TextBox 13">
            <a:extLst>
              <a:ext uri="{FF2B5EF4-FFF2-40B4-BE49-F238E27FC236}">
                <a16:creationId xmlns:a16="http://schemas.microsoft.com/office/drawing/2014/main" id="{255680B3-CE07-3440-B14C-3CB5BCD48CCA}"/>
              </a:ext>
            </a:extLst>
          </p:cNvPr>
          <p:cNvSpPr txBox="1"/>
          <p:nvPr/>
        </p:nvSpPr>
        <p:spPr>
          <a:xfrm flipH="1">
            <a:off x="6597136" y="1798747"/>
            <a:ext cx="4827360" cy="1277273"/>
          </a:xfrm>
          <a:prstGeom prst="rect">
            <a:avLst/>
          </a:prstGeom>
          <a:noFill/>
        </p:spPr>
        <p:txBody>
          <a:bodyPr wrap="square" rtlCol="0">
            <a:spAutoFit/>
          </a:bodyPr>
          <a:lstStyle/>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16" name="TextBox 15">
            <a:extLst>
              <a:ext uri="{FF2B5EF4-FFF2-40B4-BE49-F238E27FC236}">
                <a16:creationId xmlns:a16="http://schemas.microsoft.com/office/drawing/2014/main" id="{C145DEA4-1BB2-1043-8B94-A66E809753BD}"/>
              </a:ext>
            </a:extLst>
          </p:cNvPr>
          <p:cNvSpPr txBox="1"/>
          <p:nvPr/>
        </p:nvSpPr>
        <p:spPr>
          <a:xfrm flipH="1">
            <a:off x="767504" y="1798747"/>
            <a:ext cx="4985812" cy="1277273"/>
          </a:xfrm>
          <a:prstGeom prst="rect">
            <a:avLst/>
          </a:prstGeom>
          <a:noFill/>
        </p:spPr>
        <p:txBody>
          <a:bodyPr wrap="square" rtlCol="0">
            <a:spAutoFit/>
          </a:bodyPr>
          <a:lstStyle/>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17" name="TextBox 16">
            <a:extLst>
              <a:ext uri="{FF2B5EF4-FFF2-40B4-BE49-F238E27FC236}">
                <a16:creationId xmlns:a16="http://schemas.microsoft.com/office/drawing/2014/main" id="{E8D7AF9B-681E-2041-AD7C-9CD0CBFFB7C7}"/>
              </a:ext>
            </a:extLst>
          </p:cNvPr>
          <p:cNvSpPr txBox="1"/>
          <p:nvPr/>
        </p:nvSpPr>
        <p:spPr>
          <a:xfrm flipH="1">
            <a:off x="767504" y="4244123"/>
            <a:ext cx="4875649" cy="1277273"/>
          </a:xfrm>
          <a:prstGeom prst="rect">
            <a:avLst/>
          </a:prstGeom>
          <a:noFill/>
        </p:spPr>
        <p:txBody>
          <a:bodyPr wrap="square" rtlCol="0">
            <a:spAutoFit/>
          </a:bodyPr>
          <a:lstStyle/>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18" name="TextBox 17">
            <a:extLst>
              <a:ext uri="{FF2B5EF4-FFF2-40B4-BE49-F238E27FC236}">
                <a16:creationId xmlns:a16="http://schemas.microsoft.com/office/drawing/2014/main" id="{11F6754F-4B22-EC41-8241-7CE1A95E6BD6}"/>
              </a:ext>
            </a:extLst>
          </p:cNvPr>
          <p:cNvSpPr txBox="1"/>
          <p:nvPr/>
        </p:nvSpPr>
        <p:spPr>
          <a:xfrm flipH="1">
            <a:off x="6597136" y="4180360"/>
            <a:ext cx="4767147" cy="1985159"/>
          </a:xfrm>
          <a:prstGeom prst="rect">
            <a:avLst/>
          </a:prstGeom>
          <a:noFill/>
        </p:spPr>
        <p:txBody>
          <a:bodyPr wrap="square" rtlCol="0">
            <a:spAutoFit/>
          </a:bodyPr>
          <a:lstStyle/>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a:p>
            <a:pPr marL="285750" indent="-285750">
              <a:spcAft>
                <a:spcPts val="600"/>
              </a:spcAft>
              <a:buFont typeface="Arial" panose="020B0604020202020204" pitchFamily="34" charset="0"/>
              <a:buChar char="•"/>
            </a:pPr>
            <a:endParaRPr lang="en-US">
              <a:solidFill>
                <a:srgbClr val="000000"/>
              </a:solidFill>
              <a:latin typeface="Segoe UI Semilight" panose="020B0402040204020203" pitchFamily="34" charset="0"/>
              <a:cs typeface="Segoe UI Semilight" panose="020B0402040204020203" pitchFamily="34" charset="0"/>
            </a:endParaRPr>
          </a:p>
          <a:p>
            <a:pPr marL="285750" indent="-285750">
              <a:spcAft>
                <a:spcPts val="600"/>
              </a:spcAft>
              <a:buFont typeface="Arial" panose="020B0604020202020204" pitchFamily="34" charset="0"/>
              <a:buChar char="•"/>
            </a:pPr>
            <a:endParaRPr lang="en-US">
              <a:solidFill>
                <a:srgbClr val="000000"/>
              </a:solidFill>
              <a:latin typeface="Segoe UI Semilight" panose="020B0402040204020203" pitchFamily="34" charset="0"/>
              <a:cs typeface="Segoe UI Semilight" panose="020B0402040204020203" pitchFamily="34" charset="0"/>
            </a:endParaRPr>
          </a:p>
        </p:txBody>
      </p:sp>
      <p:sp>
        <p:nvSpPr>
          <p:cNvPr id="19" name="Rectangle 18">
            <a:extLst>
              <a:ext uri="{FF2B5EF4-FFF2-40B4-BE49-F238E27FC236}">
                <a16:creationId xmlns:a16="http://schemas.microsoft.com/office/drawing/2014/main" id="{399DA44A-E800-4A39-9AE8-DFEDDD7CD174}"/>
              </a:ext>
            </a:extLst>
          </p:cNvPr>
          <p:cNvSpPr/>
          <p:nvPr/>
        </p:nvSpPr>
        <p:spPr>
          <a:xfrm>
            <a:off x="1909398" y="3849759"/>
            <a:ext cx="2481697" cy="95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21" name="Rectangle 20">
            <a:extLst>
              <a:ext uri="{FF2B5EF4-FFF2-40B4-BE49-F238E27FC236}">
                <a16:creationId xmlns:a16="http://schemas.microsoft.com/office/drawing/2014/main" id="{18335FFB-951C-454A-830B-AE2C31BC6C56}"/>
              </a:ext>
            </a:extLst>
          </p:cNvPr>
          <p:cNvSpPr/>
          <p:nvPr/>
        </p:nvSpPr>
        <p:spPr>
          <a:xfrm>
            <a:off x="7699343" y="1340664"/>
            <a:ext cx="2481697" cy="95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34" name="TextBox 33">
            <a:extLst>
              <a:ext uri="{FF2B5EF4-FFF2-40B4-BE49-F238E27FC236}">
                <a16:creationId xmlns:a16="http://schemas.microsoft.com/office/drawing/2014/main" id="{4AD6873C-E40A-FD4D-925C-087D48FD725F}"/>
              </a:ext>
            </a:extLst>
          </p:cNvPr>
          <p:cNvSpPr txBox="1"/>
          <p:nvPr/>
        </p:nvSpPr>
        <p:spPr>
          <a:xfrm>
            <a:off x="7812274" y="1194704"/>
            <a:ext cx="2316779" cy="400110"/>
          </a:xfrm>
          <a:prstGeom prst="rect">
            <a:avLst/>
          </a:prstGeom>
          <a:noFill/>
        </p:spPr>
        <p:txBody>
          <a:bodyPr wrap="square" rtlCol="0">
            <a:spAutoFit/>
          </a:bodyPr>
          <a:lstStyle/>
          <a:p>
            <a:pPr lvl="0" algn="ctr">
              <a:defRPr/>
            </a:pPr>
            <a:r>
              <a:rPr lang="en-US" sz="2000" b="1">
                <a:solidFill>
                  <a:srgbClr val="000000"/>
                </a:solidFill>
                <a:latin typeface="Segoe UI Semilight" panose="020B0402040204020203" pitchFamily="34" charset="0"/>
                <a:cs typeface="Segoe UI Semilight" panose="020B0402040204020203" pitchFamily="34" charset="0"/>
              </a:rPr>
              <a:t>Header</a:t>
            </a:r>
          </a:p>
        </p:txBody>
      </p:sp>
      <p:sp>
        <p:nvSpPr>
          <p:cNvPr id="22" name="Rectangle 21">
            <a:extLst>
              <a:ext uri="{FF2B5EF4-FFF2-40B4-BE49-F238E27FC236}">
                <a16:creationId xmlns:a16="http://schemas.microsoft.com/office/drawing/2014/main" id="{BCDCCE1B-4014-4C7A-B4F0-B92D7719337C}"/>
              </a:ext>
            </a:extLst>
          </p:cNvPr>
          <p:cNvSpPr/>
          <p:nvPr/>
        </p:nvSpPr>
        <p:spPr>
          <a:xfrm>
            <a:off x="7762680" y="3897655"/>
            <a:ext cx="2481697" cy="95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36" name="TextBox 35">
            <a:extLst>
              <a:ext uri="{FF2B5EF4-FFF2-40B4-BE49-F238E27FC236}">
                <a16:creationId xmlns:a16="http://schemas.microsoft.com/office/drawing/2014/main" id="{BADB7A6F-8B3C-614C-A5CE-7D7233A1AAA9}"/>
              </a:ext>
            </a:extLst>
          </p:cNvPr>
          <p:cNvSpPr txBox="1"/>
          <p:nvPr/>
        </p:nvSpPr>
        <p:spPr>
          <a:xfrm>
            <a:off x="8167430" y="3725115"/>
            <a:ext cx="1672199" cy="400110"/>
          </a:xfrm>
          <a:prstGeom prst="rect">
            <a:avLst/>
          </a:prstGeom>
          <a:noFill/>
        </p:spPr>
        <p:txBody>
          <a:bodyPr wrap="square" rtlCol="0">
            <a:spAutoFit/>
          </a:bodyPr>
          <a:lstStyle/>
          <a:p>
            <a:pPr algn="ctr"/>
            <a:r>
              <a:rPr lang="en-US" sz="2000" b="1">
                <a:solidFill>
                  <a:srgbClr val="000000"/>
                </a:solidFill>
                <a:latin typeface="Segoe UI Semilight" panose="020B0402040204020203" pitchFamily="34" charset="0"/>
                <a:cs typeface="Segoe UI Semilight" panose="020B0402040204020203" pitchFamily="34" charset="0"/>
              </a:rPr>
              <a:t>Header</a:t>
            </a:r>
          </a:p>
        </p:txBody>
      </p:sp>
      <p:sp>
        <p:nvSpPr>
          <p:cNvPr id="23" name="Rectangle 22">
            <a:extLst>
              <a:ext uri="{FF2B5EF4-FFF2-40B4-BE49-F238E27FC236}">
                <a16:creationId xmlns:a16="http://schemas.microsoft.com/office/drawing/2014/main" id="{3E4B5007-9F33-4328-9699-3E5153A4734F}"/>
              </a:ext>
            </a:extLst>
          </p:cNvPr>
          <p:cNvSpPr/>
          <p:nvPr/>
        </p:nvSpPr>
        <p:spPr>
          <a:xfrm>
            <a:off x="1934346" y="3875232"/>
            <a:ext cx="2481697" cy="95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35" name="TextBox 34">
            <a:extLst>
              <a:ext uri="{FF2B5EF4-FFF2-40B4-BE49-F238E27FC236}">
                <a16:creationId xmlns:a16="http://schemas.microsoft.com/office/drawing/2014/main" id="{BEE2F092-68FE-F34A-90DE-743482EA1962}"/>
              </a:ext>
            </a:extLst>
          </p:cNvPr>
          <p:cNvSpPr txBox="1"/>
          <p:nvPr/>
        </p:nvSpPr>
        <p:spPr>
          <a:xfrm>
            <a:off x="1999150" y="3692182"/>
            <a:ext cx="2316779" cy="400110"/>
          </a:xfrm>
          <a:prstGeom prst="rect">
            <a:avLst/>
          </a:prstGeom>
          <a:noFill/>
        </p:spPr>
        <p:txBody>
          <a:bodyPr wrap="square" rtlCol="0">
            <a:spAutoFit/>
          </a:bodyPr>
          <a:lstStyle/>
          <a:p>
            <a:pPr lvl="0" algn="ctr">
              <a:defRPr/>
            </a:pPr>
            <a:r>
              <a:rPr lang="en-US" sz="2000" b="1">
                <a:solidFill>
                  <a:srgbClr val="000000"/>
                </a:solidFill>
                <a:latin typeface="Segoe UI Semilight" panose="020B0402040204020203" pitchFamily="34" charset="0"/>
                <a:cs typeface="Segoe UI Semilight" panose="020B0402040204020203" pitchFamily="34" charset="0"/>
              </a:rPr>
              <a:t>Header</a:t>
            </a:r>
          </a:p>
        </p:txBody>
      </p:sp>
      <p:sp>
        <p:nvSpPr>
          <p:cNvPr id="24" name="Rectangle 23">
            <a:extLst>
              <a:ext uri="{FF2B5EF4-FFF2-40B4-BE49-F238E27FC236}">
                <a16:creationId xmlns:a16="http://schemas.microsoft.com/office/drawing/2014/main" id="{6ED5C1C0-88E2-4BDE-849A-7F546F8EBC67}"/>
              </a:ext>
            </a:extLst>
          </p:cNvPr>
          <p:cNvSpPr/>
          <p:nvPr/>
        </p:nvSpPr>
        <p:spPr>
          <a:xfrm>
            <a:off x="1934346" y="1351226"/>
            <a:ext cx="2481697" cy="957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latin typeface="Segoe UI Semilight" panose="020B0402040204020203" pitchFamily="34" charset="0"/>
              <a:cs typeface="Segoe UI Semilight" panose="020B0402040204020203" pitchFamily="34" charset="0"/>
            </a:endParaRPr>
          </a:p>
        </p:txBody>
      </p:sp>
      <p:sp>
        <p:nvSpPr>
          <p:cNvPr id="5" name="TextBox 4">
            <a:extLst>
              <a:ext uri="{FF2B5EF4-FFF2-40B4-BE49-F238E27FC236}">
                <a16:creationId xmlns:a16="http://schemas.microsoft.com/office/drawing/2014/main" id="{3345687C-B03A-8744-958F-947CB4E69000}"/>
              </a:ext>
            </a:extLst>
          </p:cNvPr>
          <p:cNvSpPr txBox="1"/>
          <p:nvPr/>
        </p:nvSpPr>
        <p:spPr>
          <a:xfrm>
            <a:off x="1959830" y="1194704"/>
            <a:ext cx="2430727" cy="400110"/>
          </a:xfrm>
          <a:prstGeom prst="rect">
            <a:avLst/>
          </a:prstGeom>
          <a:noFill/>
        </p:spPr>
        <p:txBody>
          <a:bodyPr wrap="square" lIns="91440" tIns="45720" rIns="91440" bIns="45720" rtlCol="0" anchor="t">
            <a:spAutoFit/>
          </a:bodyPr>
          <a:lstStyle/>
          <a:p>
            <a:pPr lvl="0" algn="ctr">
              <a:defRPr/>
            </a:pPr>
            <a:r>
              <a:rPr lang="en-US" sz="2000" b="1">
                <a:solidFill>
                  <a:srgbClr val="000000"/>
                </a:solidFill>
                <a:latin typeface="Segoe UI Semilight"/>
                <a:cs typeface="Segoe UI Semilight"/>
              </a:rPr>
              <a:t>SEI</a:t>
            </a:r>
            <a:endParaRPr lang="en-US" sz="2000" b="1">
              <a:solidFill>
                <a:srgbClr val="000000"/>
              </a:solidFill>
              <a:latin typeface="Segoe UI Semilight" panose="020B0402040204020203" pitchFamily="34" charset="0"/>
              <a:cs typeface="Segoe UI Semilight" panose="020B0402040204020203" pitchFamily="34" charset="0"/>
            </a:endParaRPr>
          </a:p>
        </p:txBody>
      </p:sp>
      <p:sp>
        <p:nvSpPr>
          <p:cNvPr id="27" name="TextBox 26">
            <a:extLst>
              <a:ext uri="{FF2B5EF4-FFF2-40B4-BE49-F238E27FC236}">
                <a16:creationId xmlns:a16="http://schemas.microsoft.com/office/drawing/2014/main" id="{51D1004C-CAC2-464E-8616-1F7485256FCE}"/>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ea typeface="Quattrocento Sans"/>
                <a:cs typeface="Segoe UI Semibold" panose="020B0702040204020203" pitchFamily="34" charset="0"/>
                <a:sym typeface="Quattrocento Sans"/>
              </a:rPr>
              <a:t>Conclusions and Notable Results</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14615745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EFF330E-F507-4A41-B120-DD8ACA5D063D}"/>
              </a:ext>
            </a:extLst>
          </p:cNvPr>
          <p:cNvPicPr>
            <a:picLocks noChangeAspect="1"/>
          </p:cNvPicPr>
          <p:nvPr/>
        </p:nvPicPr>
        <p:blipFill>
          <a:blip r:embed="rId2"/>
          <a:stretch>
            <a:fillRect/>
          </a:stretch>
        </p:blipFill>
        <p:spPr>
          <a:xfrm>
            <a:off x="1061300" y="1557942"/>
            <a:ext cx="6053733" cy="4450554"/>
          </a:xfrm>
          <a:prstGeom prst="rect">
            <a:avLst/>
          </a:prstGeom>
          <a:noFill/>
          <a:ln w="9525">
            <a:noFill/>
          </a:ln>
        </p:spPr>
      </p:pic>
      <p:grpSp>
        <p:nvGrpSpPr>
          <p:cNvPr id="17" name="Group 16">
            <a:extLst>
              <a:ext uri="{FF2B5EF4-FFF2-40B4-BE49-F238E27FC236}">
                <a16:creationId xmlns:a16="http://schemas.microsoft.com/office/drawing/2014/main" id="{9C96287F-9939-4612-BAE2-B88EB1468521}"/>
              </a:ext>
            </a:extLst>
          </p:cNvPr>
          <p:cNvGrpSpPr/>
          <p:nvPr/>
        </p:nvGrpSpPr>
        <p:grpSpPr>
          <a:xfrm>
            <a:off x="7965440" y="4098007"/>
            <a:ext cx="802640" cy="802640"/>
            <a:chOff x="7965440" y="4098007"/>
            <a:chExt cx="802640" cy="802640"/>
          </a:xfrm>
        </p:grpSpPr>
        <p:sp>
          <p:nvSpPr>
            <p:cNvPr id="8" name="Oval 7">
              <a:extLst>
                <a:ext uri="{FF2B5EF4-FFF2-40B4-BE49-F238E27FC236}">
                  <a16:creationId xmlns:a16="http://schemas.microsoft.com/office/drawing/2014/main" id="{F3CC574A-9781-42D8-8BC5-FD0B675E39B5}"/>
                </a:ext>
              </a:extLst>
            </p:cNvPr>
            <p:cNvSpPr/>
            <p:nvPr/>
          </p:nvSpPr>
          <p:spPr>
            <a:xfrm>
              <a:off x="7965440" y="4098007"/>
              <a:ext cx="802640" cy="802640"/>
            </a:xfrm>
            <a:prstGeom prst="ellipse">
              <a:avLst/>
            </a:prstGeom>
            <a:solidFill>
              <a:srgbClr val="4466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Graphic 9" descr="Male">
              <a:extLst>
                <a:ext uri="{FF2B5EF4-FFF2-40B4-BE49-F238E27FC236}">
                  <a16:creationId xmlns:a16="http://schemas.microsoft.com/office/drawing/2014/main" id="{7611AE45-D9E8-4721-BB78-DF5ECAA56219}"/>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028305" y="4143727"/>
              <a:ext cx="711200" cy="711200"/>
            </a:xfrm>
            <a:prstGeom prst="rect">
              <a:avLst/>
            </a:prstGeom>
          </p:spPr>
        </p:pic>
      </p:grpSp>
      <p:grpSp>
        <p:nvGrpSpPr>
          <p:cNvPr id="16" name="Group 15">
            <a:extLst>
              <a:ext uri="{FF2B5EF4-FFF2-40B4-BE49-F238E27FC236}">
                <a16:creationId xmlns:a16="http://schemas.microsoft.com/office/drawing/2014/main" id="{E4E5C00A-2A38-4B6C-83C7-F357F158EF09}"/>
              </a:ext>
            </a:extLst>
          </p:cNvPr>
          <p:cNvGrpSpPr/>
          <p:nvPr/>
        </p:nvGrpSpPr>
        <p:grpSpPr>
          <a:xfrm>
            <a:off x="7965440" y="2218816"/>
            <a:ext cx="802640" cy="802640"/>
            <a:chOff x="7965440" y="2218816"/>
            <a:chExt cx="802640" cy="802640"/>
          </a:xfrm>
        </p:grpSpPr>
        <p:sp>
          <p:nvSpPr>
            <p:cNvPr id="7" name="Oval 6">
              <a:extLst>
                <a:ext uri="{FF2B5EF4-FFF2-40B4-BE49-F238E27FC236}">
                  <a16:creationId xmlns:a16="http://schemas.microsoft.com/office/drawing/2014/main" id="{3C60A305-54A2-47EA-882D-2DC0339E8085}"/>
                </a:ext>
              </a:extLst>
            </p:cNvPr>
            <p:cNvSpPr/>
            <p:nvPr/>
          </p:nvSpPr>
          <p:spPr>
            <a:xfrm>
              <a:off x="7965440" y="2218816"/>
              <a:ext cx="802640" cy="802640"/>
            </a:xfrm>
            <a:prstGeom prst="ellipse">
              <a:avLst/>
            </a:prstGeom>
            <a:solidFill>
              <a:srgbClr val="F39C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11" descr="Female">
              <a:extLst>
                <a:ext uri="{FF2B5EF4-FFF2-40B4-BE49-F238E27FC236}">
                  <a16:creationId xmlns:a16="http://schemas.microsoft.com/office/drawing/2014/main" id="{DEC44825-7362-4DD3-941A-8934D0284948}"/>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88300" y="2264536"/>
              <a:ext cx="756920" cy="756920"/>
            </a:xfrm>
            <a:prstGeom prst="rect">
              <a:avLst/>
            </a:prstGeom>
          </p:spPr>
        </p:pic>
      </p:grpSp>
      <p:sp>
        <p:nvSpPr>
          <p:cNvPr id="13" name="TextBox 12">
            <a:extLst>
              <a:ext uri="{FF2B5EF4-FFF2-40B4-BE49-F238E27FC236}">
                <a16:creationId xmlns:a16="http://schemas.microsoft.com/office/drawing/2014/main" id="{4AF0FA81-C31B-4027-9CBB-AB4131D30B65}"/>
              </a:ext>
            </a:extLst>
          </p:cNvPr>
          <p:cNvSpPr txBox="1"/>
          <p:nvPr/>
        </p:nvSpPr>
        <p:spPr>
          <a:xfrm>
            <a:off x="8983980" y="2218816"/>
            <a:ext cx="2677078" cy="646331"/>
          </a:xfrm>
          <a:prstGeom prst="rect">
            <a:avLst/>
          </a:prstGeom>
          <a:noFill/>
        </p:spPr>
        <p:txBody>
          <a:bodyPr wrap="square" rtlCol="0">
            <a:spAutoFit/>
          </a:bodyPr>
          <a:lstStyle/>
          <a:p>
            <a:r>
              <a:rPr lang="en-US">
                <a:solidFill>
                  <a:srgbClr val="000000"/>
                </a:solidFill>
                <a:latin typeface="Segoe UI Semilight" panose="020B0402040204020203" pitchFamily="34" charset="0"/>
                <a:cs typeface="Segoe UI Semilight" panose="020B0402040204020203" pitchFamily="34" charset="0"/>
              </a:rPr>
              <a:t>The female population is roughly constant</a:t>
            </a:r>
          </a:p>
        </p:txBody>
      </p:sp>
      <p:sp>
        <p:nvSpPr>
          <p:cNvPr id="14" name="TextBox 13">
            <a:extLst>
              <a:ext uri="{FF2B5EF4-FFF2-40B4-BE49-F238E27FC236}">
                <a16:creationId xmlns:a16="http://schemas.microsoft.com/office/drawing/2014/main" id="{42D9B33B-1389-4C1D-B735-092ACD7DB429}"/>
              </a:ext>
            </a:extLst>
          </p:cNvPr>
          <p:cNvSpPr txBox="1"/>
          <p:nvPr/>
        </p:nvSpPr>
        <p:spPr>
          <a:xfrm>
            <a:off x="8983980" y="4143727"/>
            <a:ext cx="2677078" cy="646331"/>
          </a:xfrm>
          <a:prstGeom prst="rect">
            <a:avLst/>
          </a:prstGeom>
          <a:noFill/>
        </p:spPr>
        <p:txBody>
          <a:bodyPr wrap="square" rtlCol="0">
            <a:spAutoFit/>
          </a:bodyPr>
          <a:lstStyle/>
          <a:p>
            <a:r>
              <a:rPr lang="en-US">
                <a:solidFill>
                  <a:srgbClr val="000000"/>
                </a:solidFill>
                <a:latin typeface="Segoe UI Semilight" panose="020B0402040204020203" pitchFamily="34" charset="0"/>
                <a:cs typeface="Segoe UI Semilight" panose="020B0402040204020203" pitchFamily="34" charset="0"/>
              </a:rPr>
              <a:t>The male population is roughly constant</a:t>
            </a:r>
          </a:p>
        </p:txBody>
      </p:sp>
      <p:sp>
        <p:nvSpPr>
          <p:cNvPr id="15" name="Google Shape;988;p20">
            <a:extLst>
              <a:ext uri="{FF2B5EF4-FFF2-40B4-BE49-F238E27FC236}">
                <a16:creationId xmlns:a16="http://schemas.microsoft.com/office/drawing/2014/main" id="{BFCC5AD4-0EF4-498D-B2C0-AF91433B982C}"/>
              </a:ext>
            </a:extLst>
          </p:cNvPr>
          <p:cNvSpPr/>
          <p:nvPr/>
        </p:nvSpPr>
        <p:spPr>
          <a:xfrm>
            <a:off x="3957692" y="6186622"/>
            <a:ext cx="6685993" cy="535394"/>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800" b="1" i="0" u="none" strike="noStrike" kern="0" cap="none" spc="0" normalizeH="0" baseline="0" noProof="0">
                <a:ln>
                  <a:noFill/>
                </a:ln>
                <a:solidFill>
                  <a:srgbClr val="FFFFFF"/>
                </a:solidFill>
                <a:effectLst/>
                <a:uLnTx/>
                <a:uFillTx/>
                <a:latin typeface="Segoe UI Semilight" panose="020B0402040204020203" pitchFamily="34" charset="0"/>
                <a:ea typeface="Quattrocento Sans"/>
                <a:cs typeface="Segoe UI Semilight" panose="020B0402040204020203" pitchFamily="34" charset="0"/>
                <a:sym typeface="Quattrocento Sans"/>
              </a:rPr>
              <a:t>The population is near stationary</a:t>
            </a:r>
            <a:endParaRPr kumimoji="0" sz="1400" b="0" i="0" u="none" strike="noStrike" kern="0" cap="none" spc="0" normalizeH="0" baseline="0" noProof="0">
              <a:ln>
                <a:noFill/>
              </a:ln>
              <a:solidFill>
                <a:srgbClr val="000000"/>
              </a:solidFill>
              <a:effectLst/>
              <a:uLnTx/>
              <a:uFillTx/>
              <a:latin typeface="Segoe UI Semilight" panose="020B0402040204020203" pitchFamily="34" charset="0"/>
              <a:cs typeface="Segoe UI Semilight" panose="020B0402040204020203" pitchFamily="34" charset="0"/>
              <a:sym typeface="Arial"/>
            </a:endParaRPr>
          </a:p>
        </p:txBody>
      </p:sp>
      <p:sp>
        <p:nvSpPr>
          <p:cNvPr id="18" name="TextBox 17">
            <a:extLst>
              <a:ext uri="{FF2B5EF4-FFF2-40B4-BE49-F238E27FC236}">
                <a16:creationId xmlns:a16="http://schemas.microsoft.com/office/drawing/2014/main" id="{097C7C5D-745F-437D-BB32-2EA713E58B87}"/>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Population Pyramid - 2060</a:t>
            </a:r>
          </a:p>
        </p:txBody>
      </p:sp>
    </p:spTree>
    <p:extLst>
      <p:ext uri="{BB962C8B-B14F-4D97-AF65-F5344CB8AC3E}">
        <p14:creationId xmlns:p14="http://schemas.microsoft.com/office/powerpoint/2010/main" val="1487282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36E724F-3E46-4340-8ED2-CDBAC2C41CB1}"/>
              </a:ext>
            </a:extLst>
          </p:cNvPr>
          <p:cNvSpPr/>
          <p:nvPr/>
        </p:nvSpPr>
        <p:spPr>
          <a:xfrm>
            <a:off x="1285575" y="1499735"/>
            <a:ext cx="5282421" cy="46079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a:solidFill>
                  <a:schemeClr val="bg1"/>
                </a:solidFill>
                <a:latin typeface="Segoe UI Light" panose="020B0502040204020203" pitchFamily="34" charset="0"/>
                <a:cs typeface="Segoe UI Light" panose="020B0502040204020203" pitchFamily="34" charset="0"/>
              </a:rPr>
              <a:t>Introduction </a:t>
            </a:r>
          </a:p>
        </p:txBody>
      </p:sp>
      <p:sp>
        <p:nvSpPr>
          <p:cNvPr id="6" name="Rectangle 5">
            <a:extLst>
              <a:ext uri="{FF2B5EF4-FFF2-40B4-BE49-F238E27FC236}">
                <a16:creationId xmlns:a16="http://schemas.microsoft.com/office/drawing/2014/main" id="{F0C30E94-B83B-409B-919A-E1FD59AAAEB0}"/>
              </a:ext>
            </a:extLst>
          </p:cNvPr>
          <p:cNvSpPr/>
          <p:nvPr/>
        </p:nvSpPr>
        <p:spPr>
          <a:xfrm>
            <a:off x="1285575" y="2847087"/>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dirty="0">
                <a:solidFill>
                  <a:srgbClr val="000000"/>
                </a:solidFill>
                <a:latin typeface="Segoe UI Light"/>
                <a:cs typeface="Segoe UI Light"/>
              </a:rPr>
              <a:t>Proterra</a:t>
            </a:r>
            <a:endParaRPr lang="en-US" dirty="0"/>
          </a:p>
        </p:txBody>
      </p:sp>
      <p:sp>
        <p:nvSpPr>
          <p:cNvPr id="7" name="Rectangle 6">
            <a:extLst>
              <a:ext uri="{FF2B5EF4-FFF2-40B4-BE49-F238E27FC236}">
                <a16:creationId xmlns:a16="http://schemas.microsoft.com/office/drawing/2014/main" id="{E608611A-508E-4925-B8D8-09DA03F0FEA8}"/>
              </a:ext>
            </a:extLst>
          </p:cNvPr>
          <p:cNvSpPr/>
          <p:nvPr/>
        </p:nvSpPr>
        <p:spPr>
          <a:xfrm>
            <a:off x="1285575" y="2173411"/>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a:solidFill>
                  <a:srgbClr val="000000"/>
                </a:solidFill>
                <a:latin typeface="Segoe UI Light"/>
                <a:cs typeface="Segoe UI Light"/>
              </a:rPr>
              <a:t>Topic Overview</a:t>
            </a:r>
            <a:endParaRPr lang="en-US">
              <a:solidFill>
                <a:srgbClr val="000000"/>
              </a:solidFill>
              <a:latin typeface="Segoe UI Light" panose="020B0502040204020203" pitchFamily="34" charset="0"/>
              <a:cs typeface="Segoe UI Light" panose="020B0502040204020203" pitchFamily="34" charset="0"/>
            </a:endParaRPr>
          </a:p>
        </p:txBody>
      </p:sp>
      <p:sp>
        <p:nvSpPr>
          <p:cNvPr id="8" name="Rectangle 7">
            <a:extLst>
              <a:ext uri="{FF2B5EF4-FFF2-40B4-BE49-F238E27FC236}">
                <a16:creationId xmlns:a16="http://schemas.microsoft.com/office/drawing/2014/main" id="{03D508A7-A3F8-431B-9F99-A3A0A3FF9D34}"/>
              </a:ext>
            </a:extLst>
          </p:cNvPr>
          <p:cNvSpPr/>
          <p:nvPr/>
        </p:nvSpPr>
        <p:spPr>
          <a:xfrm>
            <a:off x="1285575" y="3517106"/>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Live Model Demo &amp; Notable Results</a:t>
            </a:r>
          </a:p>
        </p:txBody>
      </p:sp>
      <p:sp>
        <p:nvSpPr>
          <p:cNvPr id="13" name="Rectangle 12">
            <a:extLst>
              <a:ext uri="{FF2B5EF4-FFF2-40B4-BE49-F238E27FC236}">
                <a16:creationId xmlns:a16="http://schemas.microsoft.com/office/drawing/2014/main" id="{6BD2AC04-F5B6-44BD-87BD-E83BC7E98FC0}"/>
              </a:ext>
            </a:extLst>
          </p:cNvPr>
          <p:cNvSpPr/>
          <p:nvPr/>
        </p:nvSpPr>
        <p:spPr>
          <a:xfrm>
            <a:off x="1285574" y="4190782"/>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Conclusion</a:t>
            </a:r>
          </a:p>
        </p:txBody>
      </p:sp>
      <p:sp>
        <p:nvSpPr>
          <p:cNvPr id="16" name="Rectangle 15">
            <a:extLst>
              <a:ext uri="{FF2B5EF4-FFF2-40B4-BE49-F238E27FC236}">
                <a16:creationId xmlns:a16="http://schemas.microsoft.com/office/drawing/2014/main" id="{BC2F12E4-CF37-42C4-B84B-3406B585ECFF}"/>
              </a:ext>
            </a:extLst>
          </p:cNvPr>
          <p:cNvSpPr/>
          <p:nvPr/>
        </p:nvSpPr>
        <p:spPr>
          <a:xfrm>
            <a:off x="1285573" y="4855050"/>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Q&amp;A</a:t>
            </a:r>
          </a:p>
        </p:txBody>
      </p:sp>
      <p:sp>
        <p:nvSpPr>
          <p:cNvPr id="17" name="TextBox 16">
            <a:extLst>
              <a:ext uri="{FF2B5EF4-FFF2-40B4-BE49-F238E27FC236}">
                <a16:creationId xmlns:a16="http://schemas.microsoft.com/office/drawing/2014/main" id="{E959A014-F099-4170-85CA-97F591191C90}"/>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genda</a:t>
            </a:r>
          </a:p>
        </p:txBody>
      </p:sp>
    </p:spTree>
    <p:extLst>
      <p:ext uri="{BB962C8B-B14F-4D97-AF65-F5344CB8AC3E}">
        <p14:creationId xmlns:p14="http://schemas.microsoft.com/office/powerpoint/2010/main" val="36910474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931D0C8-3BCC-4894-854B-E1DFBE8F8731}"/>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Model Simulation: REMI E3</a:t>
            </a:r>
            <a:r>
              <a:rPr lang="en-US" sz="2800" baseline="300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t>
            </a:r>
          </a:p>
        </p:txBody>
      </p:sp>
      <p:sp>
        <p:nvSpPr>
          <p:cNvPr id="2" name="Rectangle 1"/>
          <p:cNvSpPr/>
          <p:nvPr/>
        </p:nvSpPr>
        <p:spPr>
          <a:xfrm>
            <a:off x="440535" y="2601833"/>
            <a:ext cx="5535391" cy="3170099"/>
          </a:xfrm>
          <a:prstGeom prst="rect">
            <a:avLst/>
          </a:prstGeom>
        </p:spPr>
        <p:txBody>
          <a:bodyPr wrap="square">
            <a:spAutoFit/>
          </a:bodyPr>
          <a:lstStyle/>
          <a:p>
            <a:r>
              <a:rPr lang="en-US" sz="2000"/>
              <a:t>E3</a:t>
            </a:r>
            <a:r>
              <a:rPr lang="en-US" sz="2000" baseline="30000"/>
              <a:t>+</a:t>
            </a:r>
            <a:r>
              <a:rPr lang="en-US" sz="2000"/>
              <a:t> is the premier software solution for analyzing the macroeconomic and demographic impacts of any initiatives related to the energy and environmental sectors.</a:t>
            </a:r>
          </a:p>
          <a:p>
            <a:endParaRPr lang="en-US" sz="2000"/>
          </a:p>
          <a:p>
            <a:r>
              <a:rPr lang="en-US" sz="2000"/>
              <a:t>Decision-makers depend on E3</a:t>
            </a:r>
            <a:r>
              <a:rPr lang="en-US" sz="2000" baseline="30000"/>
              <a:t>+</a:t>
            </a:r>
            <a:r>
              <a:rPr lang="en-US" sz="2000"/>
              <a:t> to provide comprehensive evaluations of the total economic impact of altering electric rates, introducing new power sources, investing in the production of energy, and other policy changes.</a:t>
            </a:r>
          </a:p>
        </p:txBody>
      </p:sp>
      <p:sp>
        <p:nvSpPr>
          <p:cNvPr id="4" name="AutoShape 2"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4" y="-144463"/>
            <a:ext cx="2844511" cy="284452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6" name="Picture 5"/>
          <p:cNvPicPr>
            <a:picLocks noChangeAspect="1"/>
          </p:cNvPicPr>
          <p:nvPr/>
        </p:nvPicPr>
        <p:blipFill rotWithShape="1">
          <a:blip r:embed="rId2" cstate="hqprint">
            <a:extLst>
              <a:ext uri="{28A0092B-C50C-407E-A947-70E740481C1C}">
                <a14:useLocalDpi xmlns:a14="http://schemas.microsoft.com/office/drawing/2010/main" val="0"/>
              </a:ext>
            </a:extLst>
          </a:blip>
          <a:srcRect r="39945"/>
          <a:stretch/>
        </p:blipFill>
        <p:spPr>
          <a:xfrm>
            <a:off x="794327" y="1115395"/>
            <a:ext cx="2558473" cy="1381689"/>
          </a:xfrm>
          <a:prstGeom prst="rect">
            <a:avLst/>
          </a:prstGeom>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30729" y="1711406"/>
            <a:ext cx="5657088" cy="4340352"/>
          </a:xfrm>
          <a:prstGeom prst="rect">
            <a:avLst/>
          </a:prstGeom>
        </p:spPr>
      </p:pic>
    </p:spTree>
    <p:extLst>
      <p:ext uri="{BB962C8B-B14F-4D97-AF65-F5344CB8AC3E}">
        <p14:creationId xmlns:p14="http://schemas.microsoft.com/office/powerpoint/2010/main" val="18073289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46C461C2-AE29-45BA-8301-2FB489BE4857}"/>
              </a:ext>
            </a:extLst>
          </p:cNvPr>
          <p:cNvGraphicFramePr>
            <a:graphicFrameLocks/>
          </p:cNvGraphicFramePr>
          <p:nvPr>
            <p:extLst>
              <p:ext uri="{D42A27DB-BD31-4B8C-83A1-F6EECF244321}">
                <p14:modId xmlns:p14="http://schemas.microsoft.com/office/powerpoint/2010/main" val="1358531782"/>
              </p:ext>
            </p:extLst>
          </p:nvPr>
        </p:nvGraphicFramePr>
        <p:xfrm>
          <a:off x="4691435" y="1705015"/>
          <a:ext cx="6890966" cy="4075132"/>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D48919A6-45D1-450E-BF05-C6BB3FF69270}"/>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cs typeface="Segoe UI Semibold" panose="020B0702040204020203" pitchFamily="34" charset="0"/>
                <a:sym typeface="Quattrocento Sans"/>
              </a:rPr>
              <a:t>Employment by Industry – 2019-2023</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
        <p:nvSpPr>
          <p:cNvPr id="11" name="Rectangle 10">
            <a:extLst>
              <a:ext uri="{FF2B5EF4-FFF2-40B4-BE49-F238E27FC236}">
                <a16:creationId xmlns:a16="http://schemas.microsoft.com/office/drawing/2014/main" id="{69D3D8AF-2763-4F21-8356-A2CAD3897FBF}"/>
              </a:ext>
            </a:extLst>
          </p:cNvPr>
          <p:cNvSpPr/>
          <p:nvPr/>
        </p:nvSpPr>
        <p:spPr>
          <a:xfrm>
            <a:off x="457200" y="1432560"/>
            <a:ext cx="81342" cy="664679"/>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2" name="Rectangle 11">
            <a:extLst>
              <a:ext uri="{FF2B5EF4-FFF2-40B4-BE49-F238E27FC236}">
                <a16:creationId xmlns:a16="http://schemas.microsoft.com/office/drawing/2014/main" id="{463C87BB-3654-4CD8-8C28-D00559096BAC}"/>
              </a:ext>
            </a:extLst>
          </p:cNvPr>
          <p:cNvSpPr/>
          <p:nvPr/>
        </p:nvSpPr>
        <p:spPr>
          <a:xfrm>
            <a:off x="609599" y="1432559"/>
            <a:ext cx="3933218" cy="54642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600"/>
              </a:spcAft>
              <a:buFont typeface="Arial" panose="020B0604020202020204" pitchFamily="34" charset="0"/>
              <a:buChar char="•"/>
            </a:pPr>
            <a:r>
              <a:rPr lang="en-US" sz="1600">
                <a:solidFill>
                  <a:srgbClr val="000000"/>
                </a:solidFill>
                <a:latin typeface="Segoe UI Semilight" panose="020B0402040204020203" pitchFamily="34" charset="0"/>
                <a:cs typeface="Segoe UI Semilight" panose="020B0402040204020203" pitchFamily="34" charset="0"/>
              </a:rPr>
              <a:t>Manufacturing increased the least</a:t>
            </a:r>
          </a:p>
        </p:txBody>
      </p:sp>
      <p:sp>
        <p:nvSpPr>
          <p:cNvPr id="19" name="Rectangle 18">
            <a:extLst>
              <a:ext uri="{FF2B5EF4-FFF2-40B4-BE49-F238E27FC236}">
                <a16:creationId xmlns:a16="http://schemas.microsoft.com/office/drawing/2014/main" id="{E8AAB7E5-E11B-4AB8-B9A3-932C5D4B2C38}"/>
              </a:ext>
            </a:extLst>
          </p:cNvPr>
          <p:cNvSpPr/>
          <p:nvPr/>
        </p:nvSpPr>
        <p:spPr>
          <a:xfrm>
            <a:off x="457200" y="2510901"/>
            <a:ext cx="81342" cy="664679"/>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0" name="Rectangle 19">
            <a:extLst>
              <a:ext uri="{FF2B5EF4-FFF2-40B4-BE49-F238E27FC236}">
                <a16:creationId xmlns:a16="http://schemas.microsoft.com/office/drawing/2014/main" id="{C3E6EE6B-FEFD-47BC-AC02-74E9FCAD3F81}"/>
              </a:ext>
            </a:extLst>
          </p:cNvPr>
          <p:cNvSpPr/>
          <p:nvPr/>
        </p:nvSpPr>
        <p:spPr>
          <a:xfrm>
            <a:off x="609599" y="2558099"/>
            <a:ext cx="3933218" cy="68705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600"/>
              </a:spcAft>
              <a:buFont typeface="Arial" panose="020B0604020202020204" pitchFamily="34" charset="0"/>
              <a:buChar char="•"/>
            </a:pPr>
            <a:r>
              <a:rPr lang="en-US" sz="1600">
                <a:solidFill>
                  <a:srgbClr val="000000"/>
                </a:solidFill>
                <a:latin typeface="Segoe UI Semilight" panose="020B0402040204020203" pitchFamily="34" charset="0"/>
                <a:cs typeface="Segoe UI Semilight" panose="020B0402040204020203" pitchFamily="34" charset="0"/>
              </a:rPr>
              <a:t>Real estate stayed roughly constant</a:t>
            </a:r>
          </a:p>
        </p:txBody>
      </p:sp>
      <p:sp>
        <p:nvSpPr>
          <p:cNvPr id="21" name="Rectangle 20">
            <a:extLst>
              <a:ext uri="{FF2B5EF4-FFF2-40B4-BE49-F238E27FC236}">
                <a16:creationId xmlns:a16="http://schemas.microsoft.com/office/drawing/2014/main" id="{0DEE6B82-2E35-40A3-BD8B-85D2BF18DC1F}"/>
              </a:ext>
            </a:extLst>
          </p:cNvPr>
          <p:cNvSpPr/>
          <p:nvPr/>
        </p:nvSpPr>
        <p:spPr>
          <a:xfrm>
            <a:off x="457200" y="4667583"/>
            <a:ext cx="81342" cy="66467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2" name="Rectangle 21">
            <a:extLst>
              <a:ext uri="{FF2B5EF4-FFF2-40B4-BE49-F238E27FC236}">
                <a16:creationId xmlns:a16="http://schemas.microsoft.com/office/drawing/2014/main" id="{4422F5FB-7660-4677-8705-B826EBED2723}"/>
              </a:ext>
            </a:extLst>
          </p:cNvPr>
          <p:cNvSpPr/>
          <p:nvPr/>
        </p:nvSpPr>
        <p:spPr>
          <a:xfrm>
            <a:off x="609599" y="4667583"/>
            <a:ext cx="3933218" cy="4640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600"/>
              </a:spcAft>
              <a:buFont typeface="Arial" panose="020B0604020202020204" pitchFamily="34" charset="0"/>
              <a:buChar char="•"/>
            </a:pPr>
            <a:r>
              <a:rPr lang="en-US" sz="1600">
                <a:solidFill>
                  <a:srgbClr val="000000"/>
                </a:solidFill>
                <a:latin typeface="Segoe UI Semilight" panose="020B0402040204020203" pitchFamily="34" charset="0"/>
                <a:cs typeface="Segoe UI Semilight" panose="020B0402040204020203" pitchFamily="34" charset="0"/>
              </a:rPr>
              <a:t>State and local government is the largest employer</a:t>
            </a:r>
          </a:p>
        </p:txBody>
      </p:sp>
      <p:sp>
        <p:nvSpPr>
          <p:cNvPr id="23" name="Rectangle 22">
            <a:extLst>
              <a:ext uri="{FF2B5EF4-FFF2-40B4-BE49-F238E27FC236}">
                <a16:creationId xmlns:a16="http://schemas.microsoft.com/office/drawing/2014/main" id="{C911128E-8B68-438C-88C9-D1B803FF1A88}"/>
              </a:ext>
            </a:extLst>
          </p:cNvPr>
          <p:cNvSpPr/>
          <p:nvPr/>
        </p:nvSpPr>
        <p:spPr>
          <a:xfrm>
            <a:off x="452058" y="3589242"/>
            <a:ext cx="81342" cy="664679"/>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24" name="Rectangle 23">
            <a:extLst>
              <a:ext uri="{FF2B5EF4-FFF2-40B4-BE49-F238E27FC236}">
                <a16:creationId xmlns:a16="http://schemas.microsoft.com/office/drawing/2014/main" id="{2EC9D5F2-29B6-499D-A7C9-71BEBE81B690}"/>
              </a:ext>
            </a:extLst>
          </p:cNvPr>
          <p:cNvSpPr/>
          <p:nvPr/>
        </p:nvSpPr>
        <p:spPr>
          <a:xfrm>
            <a:off x="645808" y="3612842"/>
            <a:ext cx="3933218" cy="47562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600"/>
              </a:spcAft>
              <a:buFont typeface="Arial" panose="020B0604020202020204" pitchFamily="34" charset="0"/>
              <a:buChar char="•"/>
            </a:pPr>
            <a:r>
              <a:rPr lang="en-US" sz="1600">
                <a:solidFill>
                  <a:srgbClr val="000000"/>
                </a:solidFill>
                <a:latin typeface="Segoe UI Semilight" panose="020B0402040204020203" pitchFamily="34" charset="0"/>
                <a:cs typeface="Segoe UI Semilight" panose="020B0402040204020203" pitchFamily="34" charset="0"/>
              </a:rPr>
              <a:t>Information is the smallest industry</a:t>
            </a:r>
          </a:p>
        </p:txBody>
      </p:sp>
      <p:sp>
        <p:nvSpPr>
          <p:cNvPr id="25" name="Oval 24">
            <a:extLst>
              <a:ext uri="{FF2B5EF4-FFF2-40B4-BE49-F238E27FC236}">
                <a16:creationId xmlns:a16="http://schemas.microsoft.com/office/drawing/2014/main" id="{3A337FE7-4F8B-4089-B9E7-F02E2E5D43A2}"/>
              </a:ext>
            </a:extLst>
          </p:cNvPr>
          <p:cNvSpPr/>
          <p:nvPr/>
        </p:nvSpPr>
        <p:spPr>
          <a:xfrm>
            <a:off x="10287000" y="2428209"/>
            <a:ext cx="1095375" cy="1162975"/>
          </a:xfrm>
          <a:prstGeom prst="ellipse">
            <a:avLst/>
          </a:prstGeom>
          <a:no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031968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42BDDD7-59D9-4392-9B0B-41252DE79449}"/>
              </a:ext>
            </a:extLst>
          </p:cNvPr>
          <p:cNvSpPr/>
          <p:nvPr/>
        </p:nvSpPr>
        <p:spPr>
          <a:xfrm>
            <a:off x="2796030" y="1122060"/>
            <a:ext cx="2286000" cy="3657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tx1"/>
                </a:solidFill>
                <a:latin typeface="Segoe UI Semilight" panose="020B0402040204020203" pitchFamily="34" charset="0"/>
                <a:cs typeface="Segoe UI Semilight" panose="020B0402040204020203" pitchFamily="34" charset="0"/>
              </a:rPr>
              <a:t>Objective</a:t>
            </a:r>
            <a:endParaRPr lang="en-US" sz="2400" b="1">
              <a:latin typeface="Segoe UI Semilight" panose="020B0402040204020203" pitchFamily="34" charset="0"/>
              <a:cs typeface="Segoe UI Semilight" panose="020B0402040204020203" pitchFamily="34" charset="0"/>
            </a:endParaRPr>
          </a:p>
        </p:txBody>
      </p:sp>
      <p:sp>
        <p:nvSpPr>
          <p:cNvPr id="3" name="Rectangle 2">
            <a:extLst>
              <a:ext uri="{FF2B5EF4-FFF2-40B4-BE49-F238E27FC236}">
                <a16:creationId xmlns:a16="http://schemas.microsoft.com/office/drawing/2014/main" id="{B44CEBD2-99A9-4E0B-A95C-2F6231D698AA}"/>
              </a:ext>
            </a:extLst>
          </p:cNvPr>
          <p:cNvSpPr/>
          <p:nvPr/>
        </p:nvSpPr>
        <p:spPr>
          <a:xfrm>
            <a:off x="8180379" y="1122060"/>
            <a:ext cx="2286000" cy="3657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tx1"/>
                </a:solidFill>
                <a:latin typeface="Segoe UI Semilight" panose="020B0402040204020203" pitchFamily="34" charset="0"/>
                <a:cs typeface="Segoe UI Semilight" panose="020B0402040204020203" pitchFamily="34" charset="0"/>
              </a:rPr>
              <a:t>Impact</a:t>
            </a:r>
            <a:endParaRPr lang="en-US" sz="2400" b="1">
              <a:latin typeface="Segoe UI Semilight" panose="020B0402040204020203" pitchFamily="34" charset="0"/>
              <a:cs typeface="Segoe UI Semilight" panose="020B0402040204020203" pitchFamily="34" charset="0"/>
            </a:endParaRPr>
          </a:p>
        </p:txBody>
      </p:sp>
      <p:sp>
        <p:nvSpPr>
          <p:cNvPr id="4" name="Rectangle 3">
            <a:extLst>
              <a:ext uri="{FF2B5EF4-FFF2-40B4-BE49-F238E27FC236}">
                <a16:creationId xmlns:a16="http://schemas.microsoft.com/office/drawing/2014/main" id="{AC4F887D-D265-4C15-A214-10A4DF5D80FE}"/>
              </a:ext>
            </a:extLst>
          </p:cNvPr>
          <p:cNvSpPr/>
          <p:nvPr/>
        </p:nvSpPr>
        <p:spPr>
          <a:xfrm>
            <a:off x="5493849" y="1122060"/>
            <a:ext cx="2286000" cy="3657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b="1">
                <a:solidFill>
                  <a:schemeClr val="tx1"/>
                </a:solidFill>
                <a:latin typeface="Segoe UI Semilight" panose="020B0402040204020203" pitchFamily="34" charset="0"/>
                <a:cs typeface="Segoe UI Semilight" panose="020B0402040204020203" pitchFamily="34" charset="0"/>
              </a:rPr>
              <a:t>Strategy</a:t>
            </a:r>
            <a:endParaRPr lang="en-US" sz="2400" b="1">
              <a:latin typeface="Segoe UI Semilight" panose="020B0402040204020203" pitchFamily="34" charset="0"/>
              <a:cs typeface="Segoe UI Semilight" panose="020B0402040204020203" pitchFamily="34" charset="0"/>
            </a:endParaRPr>
          </a:p>
        </p:txBody>
      </p:sp>
      <p:grpSp>
        <p:nvGrpSpPr>
          <p:cNvPr id="19" name="Group 18">
            <a:extLst>
              <a:ext uri="{FF2B5EF4-FFF2-40B4-BE49-F238E27FC236}">
                <a16:creationId xmlns:a16="http://schemas.microsoft.com/office/drawing/2014/main" id="{F7982268-30F3-441A-9055-C92B43ECD53D}"/>
              </a:ext>
            </a:extLst>
          </p:cNvPr>
          <p:cNvGrpSpPr/>
          <p:nvPr/>
        </p:nvGrpSpPr>
        <p:grpSpPr>
          <a:xfrm>
            <a:off x="925684" y="1640376"/>
            <a:ext cx="9862653" cy="1348009"/>
            <a:chOff x="925684" y="1911587"/>
            <a:chExt cx="9862653" cy="1348009"/>
          </a:xfrm>
        </p:grpSpPr>
        <p:sp>
          <p:nvSpPr>
            <p:cNvPr id="5" name="Oval 4">
              <a:extLst>
                <a:ext uri="{FF2B5EF4-FFF2-40B4-BE49-F238E27FC236}">
                  <a16:creationId xmlns:a16="http://schemas.microsoft.com/office/drawing/2014/main" id="{911267B7-DC53-4563-9F37-67CCC59EC07A}"/>
                </a:ext>
              </a:extLst>
            </p:cNvPr>
            <p:cNvSpPr/>
            <p:nvPr/>
          </p:nvSpPr>
          <p:spPr>
            <a:xfrm>
              <a:off x="925684" y="1911587"/>
              <a:ext cx="1348009" cy="1348009"/>
            </a:xfrm>
            <a:prstGeom prst="ellipse">
              <a:avLst/>
            </a:prstGeom>
            <a:solidFill>
              <a:srgbClr val="A8053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Aft>
                  <a:spcPts val="600"/>
                </a:spcAft>
              </a:pPr>
              <a:r>
                <a:rPr lang="en-US" b="1">
                  <a:solidFill>
                    <a:schemeClr val="bg1"/>
                  </a:solidFill>
                  <a:latin typeface="Segoe UI Semilight" panose="020B0402040204020203" pitchFamily="34" charset="0"/>
                  <a:cs typeface="Segoe UI Semilight" panose="020B0402040204020203" pitchFamily="34" charset="0"/>
                </a:rPr>
                <a:t>Option 1</a:t>
              </a:r>
            </a:p>
          </p:txBody>
        </p:sp>
        <p:sp>
          <p:nvSpPr>
            <p:cNvPr id="8" name="Arrow: Pentagon 7">
              <a:extLst>
                <a:ext uri="{FF2B5EF4-FFF2-40B4-BE49-F238E27FC236}">
                  <a16:creationId xmlns:a16="http://schemas.microsoft.com/office/drawing/2014/main" id="{9E2C71E0-D800-49FF-B9E1-0AB678141AAC}"/>
                </a:ext>
              </a:extLst>
            </p:cNvPr>
            <p:cNvSpPr/>
            <p:nvPr/>
          </p:nvSpPr>
          <p:spPr>
            <a:xfrm>
              <a:off x="2485361" y="1911589"/>
              <a:ext cx="2907338" cy="1345990"/>
            </a:xfrm>
            <a:prstGeom prst="homePlate">
              <a:avLst>
                <a:gd name="adj" fmla="val 24479"/>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600" b="1">
                  <a:solidFill>
                    <a:srgbClr val="000000"/>
                  </a:solidFill>
                  <a:latin typeface="Segoe UI Semilight" panose="020B0402040204020203" pitchFamily="34" charset="0"/>
                  <a:cs typeface="Segoe UI Semilight" panose="020B0402040204020203" pitchFamily="34" charset="0"/>
                </a:rPr>
                <a:t>Header</a:t>
              </a:r>
            </a:p>
            <a:p>
              <a:pPr>
                <a:spcAft>
                  <a:spcPts val="600"/>
                </a:spcAft>
              </a:pPr>
              <a:r>
                <a:rPr lang="en-US" sz="1600">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9" name="Arrow: Chevron 8">
              <a:extLst>
                <a:ext uri="{FF2B5EF4-FFF2-40B4-BE49-F238E27FC236}">
                  <a16:creationId xmlns:a16="http://schemas.microsoft.com/office/drawing/2014/main" id="{872D3D3C-6406-4F3E-AD86-D84DB69F4C57}"/>
                </a:ext>
              </a:extLst>
            </p:cNvPr>
            <p:cNvSpPr/>
            <p:nvPr/>
          </p:nvSpPr>
          <p:spPr>
            <a:xfrm>
              <a:off x="5183180" y="1911588"/>
              <a:ext cx="2907338" cy="1342306"/>
            </a:xfrm>
            <a:prstGeom prst="chevron">
              <a:avLst>
                <a:gd name="adj" fmla="val 26377"/>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600" b="1">
                  <a:solidFill>
                    <a:srgbClr val="000000"/>
                  </a:solidFill>
                  <a:latin typeface="Segoe UI Semilight" panose="020B0402040204020203" pitchFamily="34" charset="0"/>
                  <a:cs typeface="Segoe UI Semilight" panose="020B0402040204020203" pitchFamily="34" charset="0"/>
                </a:rPr>
                <a:t>Header</a:t>
              </a:r>
            </a:p>
            <a:p>
              <a:pPr>
                <a:spcAft>
                  <a:spcPts val="600"/>
                </a:spcAft>
              </a:pPr>
              <a:r>
                <a:rPr lang="en-US" sz="1600">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10" name="Arrow: Chevron 9">
              <a:extLst>
                <a:ext uri="{FF2B5EF4-FFF2-40B4-BE49-F238E27FC236}">
                  <a16:creationId xmlns:a16="http://schemas.microsoft.com/office/drawing/2014/main" id="{4EC20495-9FC5-41C1-8414-42C19F8BEB20}"/>
                </a:ext>
              </a:extLst>
            </p:cNvPr>
            <p:cNvSpPr/>
            <p:nvPr/>
          </p:nvSpPr>
          <p:spPr>
            <a:xfrm>
              <a:off x="7880999" y="1911588"/>
              <a:ext cx="2907338" cy="1342306"/>
            </a:xfrm>
            <a:prstGeom prst="chevron">
              <a:avLst>
                <a:gd name="adj" fmla="val 26377"/>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600" b="1">
                  <a:solidFill>
                    <a:srgbClr val="000000"/>
                  </a:solidFill>
                  <a:latin typeface="Segoe UI Semilight" panose="020B0402040204020203" pitchFamily="34" charset="0"/>
                  <a:cs typeface="Segoe UI Semilight" panose="020B0402040204020203" pitchFamily="34" charset="0"/>
                </a:rPr>
                <a:t>Header</a:t>
              </a:r>
            </a:p>
            <a:p>
              <a:pPr>
                <a:spcAft>
                  <a:spcPts val="600"/>
                </a:spcAft>
              </a:pPr>
              <a:r>
                <a:rPr lang="en-US" sz="1600">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grpSp>
      <p:grpSp>
        <p:nvGrpSpPr>
          <p:cNvPr id="20" name="Group 19">
            <a:extLst>
              <a:ext uri="{FF2B5EF4-FFF2-40B4-BE49-F238E27FC236}">
                <a16:creationId xmlns:a16="http://schemas.microsoft.com/office/drawing/2014/main" id="{BF9D9B1F-9F93-4EBB-AAB4-F13C7D02BDB0}"/>
              </a:ext>
            </a:extLst>
          </p:cNvPr>
          <p:cNvGrpSpPr/>
          <p:nvPr/>
        </p:nvGrpSpPr>
        <p:grpSpPr>
          <a:xfrm>
            <a:off x="925684" y="3240614"/>
            <a:ext cx="9851364" cy="1348009"/>
            <a:chOff x="925684" y="1911587"/>
            <a:chExt cx="9851364" cy="1348009"/>
          </a:xfrm>
        </p:grpSpPr>
        <p:sp>
          <p:nvSpPr>
            <p:cNvPr id="21" name="Oval 20">
              <a:extLst>
                <a:ext uri="{FF2B5EF4-FFF2-40B4-BE49-F238E27FC236}">
                  <a16:creationId xmlns:a16="http://schemas.microsoft.com/office/drawing/2014/main" id="{AEC0F817-2CAA-4EEA-AF60-1882F3DAADE5}"/>
                </a:ext>
              </a:extLst>
            </p:cNvPr>
            <p:cNvSpPr/>
            <p:nvPr/>
          </p:nvSpPr>
          <p:spPr>
            <a:xfrm>
              <a:off x="925684" y="1911587"/>
              <a:ext cx="1348009" cy="1348009"/>
            </a:xfrm>
            <a:prstGeom prst="ellipse">
              <a:avLst/>
            </a:prstGeom>
            <a:solidFill>
              <a:srgbClr val="A8053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Aft>
                  <a:spcPts val="600"/>
                </a:spcAft>
              </a:pPr>
              <a:r>
                <a:rPr lang="en-US" b="1">
                  <a:solidFill>
                    <a:schemeClr val="bg1"/>
                  </a:solidFill>
                  <a:latin typeface="Segoe UI Semilight" panose="020B0402040204020203" pitchFamily="34" charset="0"/>
                  <a:cs typeface="Segoe UI Semilight" panose="020B0402040204020203" pitchFamily="34" charset="0"/>
                </a:rPr>
                <a:t>Option 2</a:t>
              </a:r>
            </a:p>
          </p:txBody>
        </p:sp>
        <p:sp>
          <p:nvSpPr>
            <p:cNvPr id="22" name="Arrow: Pentagon 21">
              <a:extLst>
                <a:ext uri="{FF2B5EF4-FFF2-40B4-BE49-F238E27FC236}">
                  <a16:creationId xmlns:a16="http://schemas.microsoft.com/office/drawing/2014/main" id="{084B62D6-E70D-4A0A-80EA-A0AB1EEE737E}"/>
                </a:ext>
              </a:extLst>
            </p:cNvPr>
            <p:cNvSpPr/>
            <p:nvPr/>
          </p:nvSpPr>
          <p:spPr>
            <a:xfrm>
              <a:off x="2485361" y="1913606"/>
              <a:ext cx="2907338" cy="1345990"/>
            </a:xfrm>
            <a:prstGeom prst="homePlate">
              <a:avLst>
                <a:gd name="adj" fmla="val 24479"/>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600" b="1">
                  <a:solidFill>
                    <a:srgbClr val="000000"/>
                  </a:solidFill>
                  <a:latin typeface="Segoe UI Semilight" panose="020B0402040204020203" pitchFamily="34" charset="0"/>
                  <a:cs typeface="Segoe UI Semilight" panose="020B0402040204020203" pitchFamily="34" charset="0"/>
                </a:rPr>
                <a:t>Header</a:t>
              </a:r>
            </a:p>
            <a:p>
              <a:pPr>
                <a:spcAft>
                  <a:spcPts val="600"/>
                </a:spcAft>
              </a:pPr>
              <a:r>
                <a:rPr lang="en-US" sz="1600">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23" name="Arrow: Chevron 22">
              <a:extLst>
                <a:ext uri="{FF2B5EF4-FFF2-40B4-BE49-F238E27FC236}">
                  <a16:creationId xmlns:a16="http://schemas.microsoft.com/office/drawing/2014/main" id="{8771FB07-73E1-4158-BDF8-925F9FA929CE}"/>
                </a:ext>
              </a:extLst>
            </p:cNvPr>
            <p:cNvSpPr/>
            <p:nvPr/>
          </p:nvSpPr>
          <p:spPr>
            <a:xfrm>
              <a:off x="5183180" y="1913605"/>
              <a:ext cx="2907338" cy="1342306"/>
            </a:xfrm>
            <a:prstGeom prst="chevron">
              <a:avLst>
                <a:gd name="adj" fmla="val 26377"/>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600" b="1">
                  <a:solidFill>
                    <a:srgbClr val="000000"/>
                  </a:solidFill>
                  <a:latin typeface="Segoe UI Semilight" panose="020B0402040204020203" pitchFamily="34" charset="0"/>
                  <a:cs typeface="Segoe UI Semilight" panose="020B0402040204020203" pitchFamily="34" charset="0"/>
                </a:rPr>
                <a:t>Header</a:t>
              </a:r>
            </a:p>
            <a:p>
              <a:pPr>
                <a:spcAft>
                  <a:spcPts val="600"/>
                </a:spcAft>
              </a:pPr>
              <a:r>
                <a:rPr lang="en-US" sz="1600">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24" name="Arrow: Chevron 23">
              <a:extLst>
                <a:ext uri="{FF2B5EF4-FFF2-40B4-BE49-F238E27FC236}">
                  <a16:creationId xmlns:a16="http://schemas.microsoft.com/office/drawing/2014/main" id="{1DE64AF8-2730-4722-9851-E51F5F8D2D15}"/>
                </a:ext>
              </a:extLst>
            </p:cNvPr>
            <p:cNvSpPr/>
            <p:nvPr/>
          </p:nvSpPr>
          <p:spPr>
            <a:xfrm>
              <a:off x="7869710" y="1913605"/>
              <a:ext cx="2907338" cy="1342306"/>
            </a:xfrm>
            <a:prstGeom prst="chevron">
              <a:avLst>
                <a:gd name="adj" fmla="val 26377"/>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600" b="1">
                  <a:solidFill>
                    <a:srgbClr val="000000"/>
                  </a:solidFill>
                  <a:latin typeface="Segoe UI Semilight" panose="020B0402040204020203" pitchFamily="34" charset="0"/>
                  <a:cs typeface="Segoe UI Semilight" panose="020B0402040204020203" pitchFamily="34" charset="0"/>
                </a:rPr>
                <a:t>Header</a:t>
              </a:r>
            </a:p>
            <a:p>
              <a:pPr>
                <a:spcAft>
                  <a:spcPts val="600"/>
                </a:spcAft>
              </a:pPr>
              <a:r>
                <a:rPr lang="en-US" sz="1600">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grpSp>
      <p:grpSp>
        <p:nvGrpSpPr>
          <p:cNvPr id="25" name="Group 24">
            <a:extLst>
              <a:ext uri="{FF2B5EF4-FFF2-40B4-BE49-F238E27FC236}">
                <a16:creationId xmlns:a16="http://schemas.microsoft.com/office/drawing/2014/main" id="{4A44C3BE-6AE0-4524-B5B3-718019DDD845}"/>
              </a:ext>
            </a:extLst>
          </p:cNvPr>
          <p:cNvGrpSpPr/>
          <p:nvPr/>
        </p:nvGrpSpPr>
        <p:grpSpPr>
          <a:xfrm>
            <a:off x="925684" y="4850239"/>
            <a:ext cx="9862653" cy="1348009"/>
            <a:chOff x="925684" y="1911587"/>
            <a:chExt cx="9862653" cy="1348009"/>
          </a:xfrm>
        </p:grpSpPr>
        <p:sp>
          <p:nvSpPr>
            <p:cNvPr id="26" name="Oval 25">
              <a:extLst>
                <a:ext uri="{FF2B5EF4-FFF2-40B4-BE49-F238E27FC236}">
                  <a16:creationId xmlns:a16="http://schemas.microsoft.com/office/drawing/2014/main" id="{B5455E2A-AD5F-4227-AFF0-1DF5365F2A00}"/>
                </a:ext>
              </a:extLst>
            </p:cNvPr>
            <p:cNvSpPr/>
            <p:nvPr/>
          </p:nvSpPr>
          <p:spPr>
            <a:xfrm>
              <a:off x="925684" y="1911587"/>
              <a:ext cx="1348009" cy="1348009"/>
            </a:xfrm>
            <a:prstGeom prst="ellipse">
              <a:avLst/>
            </a:prstGeom>
            <a:solidFill>
              <a:srgbClr val="A8053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spcAft>
                  <a:spcPts val="600"/>
                </a:spcAft>
              </a:pPr>
              <a:r>
                <a:rPr lang="en-US" b="1">
                  <a:solidFill>
                    <a:schemeClr val="bg1"/>
                  </a:solidFill>
                  <a:latin typeface="Segoe UI Semilight" panose="020B0402040204020203" pitchFamily="34" charset="0"/>
                  <a:cs typeface="Segoe UI Semilight" panose="020B0402040204020203" pitchFamily="34" charset="0"/>
                </a:rPr>
                <a:t>Option 3</a:t>
              </a:r>
            </a:p>
          </p:txBody>
        </p:sp>
        <p:sp>
          <p:nvSpPr>
            <p:cNvPr id="27" name="Arrow: Pentagon 26">
              <a:extLst>
                <a:ext uri="{FF2B5EF4-FFF2-40B4-BE49-F238E27FC236}">
                  <a16:creationId xmlns:a16="http://schemas.microsoft.com/office/drawing/2014/main" id="{F83938CC-4615-41D7-8FA3-E38951196DBC}"/>
                </a:ext>
              </a:extLst>
            </p:cNvPr>
            <p:cNvSpPr/>
            <p:nvPr/>
          </p:nvSpPr>
          <p:spPr>
            <a:xfrm>
              <a:off x="2485361" y="1911589"/>
              <a:ext cx="2907338" cy="1345990"/>
            </a:xfrm>
            <a:prstGeom prst="homePlate">
              <a:avLst>
                <a:gd name="adj" fmla="val 24479"/>
              </a:avLst>
            </a:prstGeom>
            <a:solidFill>
              <a:srgbClr val="EAEAE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600" b="1">
                  <a:solidFill>
                    <a:srgbClr val="000000"/>
                  </a:solidFill>
                  <a:latin typeface="Segoe UI Semilight" panose="020B0402040204020203" pitchFamily="34" charset="0"/>
                  <a:cs typeface="Segoe UI Semilight" panose="020B0402040204020203" pitchFamily="34" charset="0"/>
                </a:rPr>
                <a:t>Header</a:t>
              </a:r>
            </a:p>
            <a:p>
              <a:pPr>
                <a:spcAft>
                  <a:spcPts val="600"/>
                </a:spcAft>
              </a:pPr>
              <a:r>
                <a:rPr lang="en-US" sz="1600">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28" name="Arrow: Chevron 27">
              <a:extLst>
                <a:ext uri="{FF2B5EF4-FFF2-40B4-BE49-F238E27FC236}">
                  <a16:creationId xmlns:a16="http://schemas.microsoft.com/office/drawing/2014/main" id="{2EEF5F0F-715C-4BF3-94A2-07E3C135E804}"/>
                </a:ext>
              </a:extLst>
            </p:cNvPr>
            <p:cNvSpPr/>
            <p:nvPr/>
          </p:nvSpPr>
          <p:spPr>
            <a:xfrm>
              <a:off x="5183180" y="1911588"/>
              <a:ext cx="2907338" cy="1342306"/>
            </a:xfrm>
            <a:prstGeom prst="chevron">
              <a:avLst>
                <a:gd name="adj" fmla="val 26377"/>
              </a:avLst>
            </a:prstGeom>
            <a:solidFill>
              <a:srgbClr val="EAEAE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600" b="1">
                  <a:solidFill>
                    <a:srgbClr val="000000"/>
                  </a:solidFill>
                  <a:latin typeface="Segoe UI Semilight" panose="020B0402040204020203" pitchFamily="34" charset="0"/>
                  <a:cs typeface="Segoe UI Semilight" panose="020B0402040204020203" pitchFamily="34" charset="0"/>
                </a:rPr>
                <a:t>Header</a:t>
              </a:r>
            </a:p>
            <a:p>
              <a:pPr>
                <a:spcAft>
                  <a:spcPts val="600"/>
                </a:spcAft>
              </a:pPr>
              <a:r>
                <a:rPr lang="en-US" sz="1600">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29" name="Arrow: Chevron 28">
              <a:extLst>
                <a:ext uri="{FF2B5EF4-FFF2-40B4-BE49-F238E27FC236}">
                  <a16:creationId xmlns:a16="http://schemas.microsoft.com/office/drawing/2014/main" id="{7EEFCCE4-D021-46B0-89AA-12DA83318FBE}"/>
                </a:ext>
              </a:extLst>
            </p:cNvPr>
            <p:cNvSpPr/>
            <p:nvPr/>
          </p:nvSpPr>
          <p:spPr>
            <a:xfrm>
              <a:off x="7880999" y="1911588"/>
              <a:ext cx="2907338" cy="1342306"/>
            </a:xfrm>
            <a:prstGeom prst="chevron">
              <a:avLst>
                <a:gd name="adj" fmla="val 26377"/>
              </a:avLst>
            </a:prstGeom>
            <a:solidFill>
              <a:srgbClr val="EAEAEA"/>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pPr>
              <a:r>
                <a:rPr lang="en-US" sz="1600" b="1">
                  <a:solidFill>
                    <a:srgbClr val="000000"/>
                  </a:solidFill>
                  <a:latin typeface="Segoe UI Semilight" panose="020B0402040204020203" pitchFamily="34" charset="0"/>
                  <a:cs typeface="Segoe UI Semilight" panose="020B0402040204020203" pitchFamily="34" charset="0"/>
                </a:rPr>
                <a:t>Header</a:t>
              </a:r>
            </a:p>
            <a:p>
              <a:pPr>
                <a:spcAft>
                  <a:spcPts val="600"/>
                </a:spcAft>
              </a:pPr>
              <a:r>
                <a:rPr lang="en-US" sz="1600">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grpSp>
      <p:sp>
        <p:nvSpPr>
          <p:cNvPr id="30" name="TextBox 29">
            <a:extLst>
              <a:ext uri="{FF2B5EF4-FFF2-40B4-BE49-F238E27FC236}">
                <a16:creationId xmlns:a16="http://schemas.microsoft.com/office/drawing/2014/main" id="{002193EC-A0E3-471E-B409-F85BA334B089}"/>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ea typeface="Quattrocento Sans"/>
                <a:cs typeface="Segoe UI Semibold" panose="020B0702040204020203" pitchFamily="34" charset="0"/>
                <a:sym typeface="Quattrocento Sans"/>
              </a:rPr>
              <a:t>This graphic is for a plan with multiple options</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18219814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931D0C8-3BCC-4894-854B-E1DFBE8F8731}"/>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Model Simulation: REMI Tax-PI</a:t>
            </a:r>
          </a:p>
        </p:txBody>
      </p:sp>
      <p:sp>
        <p:nvSpPr>
          <p:cNvPr id="2" name="Rectangle 1"/>
          <p:cNvSpPr/>
          <p:nvPr/>
        </p:nvSpPr>
        <p:spPr>
          <a:xfrm>
            <a:off x="365124" y="3165251"/>
            <a:ext cx="4888846" cy="2246769"/>
          </a:xfrm>
          <a:prstGeom prst="rect">
            <a:avLst/>
          </a:prstGeom>
        </p:spPr>
        <p:txBody>
          <a:bodyPr wrap="square">
            <a:spAutoFit/>
          </a:bodyPr>
          <a:lstStyle/>
          <a:p>
            <a:r>
              <a:rPr lang="en-US" sz="2000"/>
              <a:t>REMI Tax-PI is the only commercially available dynamic macroeconomic and fiscal impact analysis tool. </a:t>
            </a:r>
          </a:p>
          <a:p>
            <a:endParaRPr lang="en-US" sz="2000"/>
          </a:p>
          <a:p>
            <a:r>
              <a:rPr lang="en-US" sz="2000"/>
              <a:t>Tax-PI allows users to understand the deep linkages and relationship between a budget and its economic foundation</a:t>
            </a:r>
          </a:p>
        </p:txBody>
      </p:sp>
      <p:pic>
        <p:nvPicPr>
          <p:cNvPr id="3" name="Picture 2"/>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1492735" y="1750869"/>
            <a:ext cx="2385016" cy="1085487"/>
          </a:xfrm>
          <a:prstGeom prst="rect">
            <a:avLst/>
          </a:prstGeom>
        </p:spPr>
      </p:pic>
      <p:sp>
        <p:nvSpPr>
          <p:cNvPr id="4" name="AutoShape 2"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4" y="-144463"/>
            <a:ext cx="2844511" cy="284452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5" name="AutoShape 4"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68072" y="1850621"/>
            <a:ext cx="6343304" cy="4226906"/>
          </a:xfrm>
          <a:prstGeom prst="rect">
            <a:avLst/>
          </a:prstGeom>
        </p:spPr>
      </p:pic>
    </p:spTree>
    <p:extLst>
      <p:ext uri="{BB962C8B-B14F-4D97-AF65-F5344CB8AC3E}">
        <p14:creationId xmlns:p14="http://schemas.microsoft.com/office/powerpoint/2010/main" val="4610390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B931D0C8-3BCC-4894-854B-E1DFBE8F8731}"/>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Model Simulation: REMI IQ</a:t>
            </a:r>
            <a:r>
              <a:rPr lang="en-US" sz="2800" baseline="300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t>
            </a:r>
          </a:p>
        </p:txBody>
      </p:sp>
      <p:sp>
        <p:nvSpPr>
          <p:cNvPr id="2" name="Rectangle 1"/>
          <p:cNvSpPr/>
          <p:nvPr/>
        </p:nvSpPr>
        <p:spPr>
          <a:xfrm>
            <a:off x="440535" y="2601833"/>
            <a:ext cx="5535391" cy="2031325"/>
          </a:xfrm>
          <a:prstGeom prst="rect">
            <a:avLst/>
          </a:prstGeom>
        </p:spPr>
        <p:txBody>
          <a:bodyPr wrap="square">
            <a:spAutoFit/>
          </a:bodyPr>
          <a:lstStyle/>
          <a:p>
            <a:r>
              <a:rPr lang="en-US"/>
              <a:t>IQ+ is the premier, dynamic software solution for quarterly economic policy analysis and projection.</a:t>
            </a:r>
          </a:p>
          <a:p>
            <a:endParaRPr lang="en-US"/>
          </a:p>
          <a:p>
            <a:r>
              <a:rPr lang="en-US"/>
              <a:t>To better inform and guide policy decisions, every model is custom-made and fully equipped with the complete inter-industry relationships found within your local, state, and regional economies.</a:t>
            </a:r>
            <a:endParaRPr lang="en-US" sz="2000"/>
          </a:p>
        </p:txBody>
      </p:sp>
      <p:sp>
        <p:nvSpPr>
          <p:cNvPr id="4" name="AutoShape 2"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4" y="-144463"/>
            <a:ext cx="2844511" cy="284452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baseline="30000"/>
          </a:p>
        </p:txBody>
      </p:sp>
      <p:sp>
        <p:nvSpPr>
          <p:cNvPr id="5" name="AutoShape 4" descr="data:image/jpg;base64,%20/9j/4AAQSkZJRgABAQEAYABgAAD/2wBDAAUDBAQEAwUEBAQFBQUGBwwIBwcHBw8LCwkMEQ8SEhEPERETFhwXExQaFRERGCEYGh0dHx8fExciJCIeJBweHx7/2wBDAQUFBQcGBw4ICA4eFBEUHh4eHh4eHh4eHh4eHh4eHh4eHh4eHh4eHh4eHh4eHh4eHh4eHh4eHh4eHh4eHh4eHh7/wAARCAHAAq8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7K2j0o2j0paKAE2j0o2j0paKAGkLzxVH+0rTJXcxIOMhCavP0rFsP9R/wNv5mok7FRSZcGpWo6M//AH7P+FL/AGpbf33/AO/Z/wAKhHSip5i+VE39p2399/8Av2f8KP7Ttv77/wDfs/4VDRRzByom/tO2/vP/AN+z/hR/adt/ef8A79n/AAqGijmDkRN/aVr/AHn/AO/Z/wAKT+0rX+8//fs/4VFRRzByol/tK1/vP/37P+FH9pWv95/+/Z/wqKijmDlRL/aVr/ef/v2f8KP7Stf7z/8Afs/4VFRRzByol/tK1/vP/wB+z/hR/aVr/ef/AL9n/CoqKOYOVEv9pWv95/8Av2f8KP7Stf7z/wDfs/4VFRRzByol/tK1/vP/AN+z/hR/aVr/AHn/AO/Z/wAKioo5g5US/wBpWv8Aef8A79n/AAo/tK1/vP8A9+z/AIVFRRzByol/tK1/vP8A9+z/AIUf2jaf3n/79n/CoqKOYOVEv9o2n95/+/Z/wo/tG0/vP/37P+FRUU+YOVEn9o2n95/+/Z/wpf7RtP7z/wDfs/4VFRRzByol/tG1/vP/AN+z/hR/aNr/AHn/AO/Z/wAKiopcwcqJf7Stf7z/APfs/wCFH9pWv95/+/Z/wqKg/KMk4A6mjmDkRL/aVr/ef/v2f8KP7Stf7z/9+z/hWOniDRXERXU7Y+czJF84+dhnOB36VOmp6e2mnUlvYfsQUsZi2EAHXJo5mHKjR/tK1/vP/wB+z/hR/aNr/ef/AL9n/CsbRfEGi60ZRpWp2900WN4RuRnpxVye9s4LiG3muYo5pyVjRnGXI64o5g5UXf7Stf7z/wDfs/4Uf2la/wB5/wDv2f8ACoFdWG4MDg+tQTX1pBdw2ct1Ck82fLQty+OuKOZhyovf2la/3n/79n/Cj+0rX+8//fs/4VBuGSpYBj0BNG5cH5lOOvPSjmDlRP8A2la/3n/79n/Cj+0rX+8//fs/4VlnWNLWC8uDfQ+XYki6fPERAyc1X0PxJoWtu6aVqttdugDMsbcqPXHpRzMOVG5/aVr/AHn/AO/Z/wAKP7Stf7z/APfs/wCFQF0AyXXH14NG9cH50AB6k0cwcqJ/7Stf7z/9+z/hR/aVr/ef/v2f8Kh3KOroD2GetVrm/s7e4gtp7hI5pyViQnlyBkj8qOYOVF/+0bX+8/8A37P+FH9o2v8Aef8A79n/AAqIdKKOYOVEn9o2n95/+/Z/wo/tG0/vP/37P+FR0U+YOVEv9o2v95/+/Z/wo/tK1/vP/wB+z/hUVFLmDlRL/aVr/ef/AL9n/Cj+0rX+8/8A37P+FRUUcwcqJf7Stf7z/wDfs/4Uf2la/wB5/wDv2f8ACoqKOYOVEv8AaVr/AHn/AO/Z/wAKP7Stf7z/APfs/wCFRUUcwcqJf7Stf7z/APfs/wCFH9pWv95/+/Z/wqKijmDlRN/adt/ef/v2f8KP7Ttv7z/9+z/hUNFHMHKib+07b+8//fs/4Uf2nbf3n/79n/CoaKOYOVE39pWv95/+/Z/wo/tK1/vP/wB+z/hUNFHMHKiX+0rX+8//AH7P+FL/AGla/wB5/wDv2f8ACoaKOYOREv8AaVr/AHn/AO/Z/wAKX+07b++//fs/4VDRRzByom/tS2/vv/37P+FH9p2399/+/Z/wqGijmDlRN/adt/ef/v2f8KP7Ttf7z/8Afs/4VDRRzByol/tK1/vP/wB+z/hR/aVp/ef/AL9t/hUVBo5hcqJ4L63mlESM249MqRn86uDB7VkJ/wAhO2/3WrYXpVxd0Q1YNo9KNo9KWiqEJtHpUZqWozQBJRRRQAUUUUANfpWNYf8AHuf99v51sv0rGsP+Pc/77fzqJmkOpMOlFAoqBxCiiigoKKKM0gCigYzTXmhVsM4U+hqWMdijFR/aIP8AnstHnwf89loAkxRio/Ph/wCey/lR58H/AD2WkBJijFR+fB/z2Wjz4f8Ansv5UASYoxUf2iD/AJ7LR9og/wCey0wJMUYqP7RB/wA9lo8+H/nsv5UgJMUYqPz4P+ey0efB/wA9lpgSYoxUfnw/89l/Kjz4P+ey/lQBJigVH9pg/wCeo/KnI8b5KEH1xSJY6ijNFUgQUUUVQMKg1GN5tPuIYzh5InVT6EgipjkDJ6Uz7RB/z2Wpe4jzHRfBd3Lp3hS7ms4be90SeQ3O8fPIuGGBjrnNWrDwfqWpfC290K5cWVxd3Uk8aSDIjBkJVWx2r0T7RD/z2Wj7RD/z2WhOwWueW6l4E8T6xcXGqyvpuk3kdpHb28NlIwSUq4bLnA4OOOKztR+HXie61F/EF5JaTXiXUk8duk7narRbQFOOoIzjivY/Ph/57L+VHnw/89l/Knzj5TxrRPAPjKXRIJhcpp0yQR5ga5dvPkV92X/u8cd609O+H2vDxfp3iTVJbKae3vZZniEzkIjjACkjqD9K9S+0Q9PNFH2mH/nsv5Ucwcp5n4t8FeLNU8XnVbPUoIbYTIyYlZW8sKQykY7n3qinw18S29nFHa6uiObLy7sGd/30gkDDnsCMivWvtEP/AD2X8qDPD/z2X8qOcOU880fwPqkHg7xRpM32S3m1hnMKRSM6xZXaASRmsuT4eeKb+NJ5LrTdIubXTRZW7WTNmU9y5wOOPevVzPDx++Wj7RD3lWjmDlPJ7b4a+IJbWCG71P8Adr5zGEXDlUZlwhBwOh5o/wCFdeKreAxWepW7wyRwC4jlnc+Y6/eIOO9esfaIO0q0faYf+ei0c4cp47YfC/xUttN9u1pZrgQBLRvPfETh924/hxWpofgPxFbeLbDVNQuba6FrdSTSXJmcvIrKQF2HgYzXp32iDvKtH2m3/wCeq/lScrglYkwMnHTNFR/aIOvnLTwwIBByDSW5QtFFFWIKKKKljCjFMaaJDtdwppPtFv8A89l/KpAkxRio/tEH/PZfyo8+H/nsv5UwJMUYqPz4f+ey/lR58P8Az2X8qAJMUYqPz4f+ey/lR58P/PZfyoAkxRio/Ph/57L+VHnw/wDPZfypASYoxUf2iD/nstH2iD/nstMCTFGKj8+H/nsv5UefD/z2X8qAJMUVH9ogH/LZfyo+0Qf89RQtwJKKakkcmdjhsdadVgFFFFABRRRQAUGig0ESI4/+Qlbf7rVsL0rHj/5CVt/utWwvStI7Ez3FoooqiAqOpKjoAkpryRp991X6mnGsq+hjn1m2WVA6+U5wRx2oA0ftEP8Az1T/AL6o8+H/AJ6p+dV106y72sZ/4DS/2dY/8+kX/fNAEpnhwf3qfnWPYSxCA5kT77d/etJtPscf8ekX/fNZFhZWpg/494/vt296iZcOpbEkP/PVP++qXzIv+eif99VELKzx/wAe8f5UfY7X/n3jqBol3xf89E/76o3xf89E/wC+qi+x2v8Az7x0fY7X/n3joGS74v8Anon/AH1Rvh/56J+dRfY7X/n3jo+x2n/PvH+VSwJPMh/56p/31RYSQNeTFpI+g6kVGbK0x/x7x/lRp1jZm8mzbR9B2oXQT2L5utP8/wAjzoPM/u5GasCOM9FX8qotoul/aftf2KLzh/FjmrqyoD5YZcjsD0reyI1Gz+TFG0jqoVQSxx2FYEfi3Qvs7XEu+G3ChhK6fKwzjj8TW9cKZonQMVypGcdPpXHy+CPP8zzryNVKbdscIUOcghnHQkYosguzobzWNGs4ZJZ7y3QRx+Y4yM7cZz+VTW+o6XcGJYriBmmUPGoIywNcteeB3ur43E2oKwIf5TFx8y7cY6cVPY+DVt9WivmuvMKushUAjlQBgdse1FkF2dLNeabDOIJbiCOVhkIxAJqJdT0donkS8tSqEBjuGBXP+IfCEurat9sOoeWodXVNmcYGMfTmnzeD4gts1tLHHJAqBQ0Q2sVz1HvmiyC7NRNc0uTSZNUjbdbpL5WQOrbttXri6sLUqt1NDCWOF3kDNYCeHTD4Xk0V9QRZZZjKsoQKA2/dgL6Ul/4c1DUHMt3qMDymJoGxBwEJzlRnhqLILs32vtLWZoTc24kVdzLkZA9agXVtMku4LaCWKZptwUpgjgc5rDHhGSKCWCDUfLiky29og0gOMfe9KXQPCZ0nVFv5L7zNrM23bgZK7TyaLLsF2dYsSf3B+VL5Sf3V/KlRhjinZzRZBdkJa3BxuiH5VliSL7XP+8jHzDoRWi1jauxZreMknqRWV9htBdz/AOjx/eHas6lrFJlnzIsf6xP++qN8X/PRP++qi+x2v/PvH+VH2O1/590/KoRRL5kX/PRP++qPMh/56p/31UQs7Q/8u6flR9js/wDn3j/KqAdPLEYmHmpnBx8wq1YvarYxFni4jGSSKoT2Vn5Ln7PHwD2q1Z6bZyWEStbRkNGAfl9qcPiJnsWreazuBmCSGUf7JBqYRJ2Vfyqppul2Gn5+x2scIP8AdHNXxWlkTqR+Sv8AdH5UeSv91fyqTmjmlZBdkflJ/dX8qTZFn7q/lSyuyKWAyRnj1rim8SammmprTfZWtWufJNsoJkA3bc5/vd8U7LsF2dr5af3V/Kjyk/ur+VclqfjLydPtZrGzM8tw4AjZwCBu25NKPG8KqZJ9Onii3vGj7lO51BJGAeOlFkF2dZ5af3V/Kjyk/ur+VcxeeKpF1fTLKysvOW6lCzNvA8sFNw/GupU8+9FkF2N8lf7o/KjyV/uj8qk5o5pWQXZGY4x1Vfyqu1zYJKImmgDnouRmrTe/Ss2XR9LmuluJLKEzA8MRzTsg1JL+S1+yS4eL7p7iq0EkXkp+8T7o/iqa+sLMWkv+jR/d6gVUhs7Tyl/0dOg7VlJLmKjsWN8X/PRP++qN8X/PRP8Avqovslp/z7p+VH2O1/5946CiXfF/z0T/AL6oMkf/AD0T/vqovsdr/wA+8dH2O1/5946TAksng+2y7pEI2L1IrRX7Oxwvlt9MGsqzsrRr2Vfs0eNi9q0obWCFy0UKIcYyBVU0rESvcl8pP7g/KjyV/uj8qkGaRt1XZCuyMxxjqFH4UeXH6L+VY3inVLqzextbVo45Lyby/NkGVjHr9az5fEU+nubOUw6jc5ZgYSEwqjndnjPsKdkF2dT5cfov5Uvlx/3V/KuRtvG0d0POh0y4a23iPfkAliuQMVLpvjS1u5Ejkt2hdiwILD5cDPNFkF2dT5af3V/Kk8uP0X8q5JfGkkxVrXSZZ42dYwwdR8zDI/Dimp43VvMZdMl2wIGmJkX5fmwcDPPSiyC7OvKRDqq/lR5cf91fyrh7PxvMyedeWflKS4REIO7DADJ7daunxi/2r7GulyNdIGMqeYuFCjOc5waLINTrPKTP3V/KjyV/ur+VR2Fz9qtYrhVKiRAwB6jNWOaLILsj8pO6r+VIY4/+eY/KpGzxQaLILsyWAF7OAMAGn01/+P24+tOXpWPU0WwUUUUxoKKKKCgoNFBoIkRx/wDIStv91q2F6Vjx/wDIStv91q2F6VpHYme4tFFFUQFR1JUdAEhrOn/5Ddv/ANcn/pWiazp/+Q3b/wDXJ/6UAaC9KWkXpS0ANfpWNYf8e5/32/nWy/Ssaw/49z/vt/OokaQ6kw6UUDpRUFRCiiigoKKKKCWgp2mf8fk/0FNptpNHBdy+Y23IGM0l8SYmaU4cxts+9tOPrXmgg1q1itVt9KuZdVjnZp5X3BWyThg2cbenFejfbrX/AJ6j8qRry1Y581fyrXmRnZnEw3vixVa4iju7gQxrJPFJEFLPnlE9sUs8/jKO+hTcdrIrKFgLBic7lY9scV2gvLYZ/fDr6UfbLbP+uH5U+ZBY42GPxfJHbvLeXEZNpJNIoiXiXd8ifTFLHH4tmjWeS+uYCzyboliXgBflx6c12X2y1/57CkN5bZH74D8DRzILHBSXXjr7QwAZGWP5FEGQw2dc9M5qzeWviUzWHnXl88aTQySGNBu5HzA47A12gu7Uf8thj6UfbLb/AJ7D9aOZBY4zxra3suq+dDBdTDydkaiMvGzZ6Aryje5qjpuq+KbhpRaR3LXMc7R+Q6AwogXu/c5969AN3a4OJR+tIl1aITtkQZOeBRzILHGaY/jC68uOa4niRpR5jiDayDbyBnqM1T1s+K5rP7NOb9pN0PlCGEbZAHG4uex4r0EXlsB/rh+Ro+2WveYfrRzILHF2a+LFM8iNNEIRH5MJQbXJY7s556Yp3hjWtTuvFKWVxdTSfuna4iKDYjA4AU12Qu7XGPOGPpUUUmnROzx+UjN1KrgmjmQWL46Vkn/j9uP94VdF9a4/1q1QR1e5uHXlSQQazqO9hpEtVtSd47CZ0YqQvBHarNVNYP8AxLJv92pRoxqWkxRSb6fJAJ6daU2kv/P9P+lWk/1afQVX1OSWOBPJcI0kgXdjOAaYnsRzWk3lN/pk54PHHNWrSxnewQLqNwm6MY6ccVVmtroK/wDpzHAPHliprRpFtolbVCCqDI8sU09RT1RZ0XT7qyQi41Ga79N4AxWluAOO/wBaqLeW4XDTgnHXFY93cFvFdlIl2oh8lwyc89K05kRY6UciiqovrX/nqPypft1r/wA9RRzILE5U5NZg0DS1vfta2UYl3bs84z646Zq59utf+eoo+3Wv/PUUcyCxRXw7pCl2FjEC/Xr65/DnmoNN8L6TZlyLZZGdmJLkn73XFav261/56ik+3Wv/AD0FHMgsVIPD+lQ7fLso1KuHBycggYFaijFV/t1r/wA9RR9utf8AnqKOZBYs0VW+3Wv/AD1FH261/wCeoo5kFiwwzWPc6DbzXy3ZubpXU5wspA/KtD7da/8APUUhvrXP+tFLmQWZRvtPVbWX/Sro4TvJVWKwTyl/0m56D/lpWhfXdu1tKqyAsV4FRQ/6pPoKzluVHYoTw/Z7i3aOec7pMMGfIxitGqmoj97af9df6VboLQUUUUmVcdp//H/L/uLWkKybSaOK+kaRtoKDBq79ttf+eq1VN2WplPcssyqMsQB70da57xdc+bpiLa3Sxv5yZPPTNa8d7bKoBmUnAzWnMibDr+xtb6HyrqFJkzkBh0PrVT+wdKMCQtYwlFO4DHQ9+etW/t1r/wA9RR9utf8AnqKOZBYiXSrFY/LFpCqZB2heMgYBquPD2kbCv2CAhjk5HJPSrv261/56ij7da/8APUUcyCxFBpdjAipDaQxqpBAUdMcCqP8AwjOlf2lJfG1RndVG09Bg56Vp/brX/nqKPt1r/wA9B+VHMgsVzoumkv8A6DAd+d3y9c0tto9hbgCK0iXAIyBzz1qf7da/89RR9utf+eoo5kFiaGNYkCIoVQMADtT6rfbrX/nqKPt1r/z1FHMgsWG7UGqxvrU/8tR+VBvrX/nqKOZBZlJ/+P24+tOXpUaustzPInK561IKx6mi2CiiimNIKKKKCgoNFBoIkRx/8hK2/wB1q2F6Vjx/8hK2/wB1q2F6VpHYme4tFFFUQFRmpKjNAEhrOn/5Ddv/ANcn/pWiazp/+Q3b/wDXJ/6UAaC9KWkXpS0ANfpWNYf8e5/32/nWy/Ssaw/49z/vt/OokaQ6kw6UUDpRUFRCiiigoKKKKAFo+oB/CkpCwX7zKD9aVyWtRcD0FGKbvX+8v50b1/vL+dF0LlY7FGKTev8AeH50m9f7y/nRdBysdijFN3r/AHl/Ol3r/eH50XQcrFxRik3r/eH50b1/vD86LoOVi8ego49BSb1/vD86N6/3h+dF0HKxcUYpN6/3h+dG9f7w/Oi6DlYuKOPQUm9f7w/Ok3L/AHl/Oi6DlY7j+6KKbuX+8v5ilDA9DmpbC1hap6z/AMgyb/dq5VPWf+QZN/u00BaT/Vp9B/Kqurf6q3/67LVpP9Wn0H8qq6t/qrf/AK7LVAXG+8aMD0H5UH75podf7y/nSuA7HsKz51H9u2vA/wBU/b6Vf3r/AHl/Os+5dRrlr8y/6p+/0ouDRo4oxTd6/wB5fzpd6/3h+dF0LlYuKMUm9f7w/Ojev94fnRdD5WLijFJvX+8Pzo3r/eH50XQcrFxRim71/vL+dG9f7y/nRdBysdijFN3r/eX86N6/3l/Oi6DlY7FGPYflTdy/3l/MUu5f7y/nRcLCntwKKTev95fzpRyKE7gVdQ/1tp/12/pVqquof620/wCu39KtUxoKKKDSG0GKMew/Kk3AdcD6mk3r/eX86XMibMo66B9kTgf61e3vWhgVn66yizT5h/rV7+9Xg6/3l/OmKw7FGKbvX+8v50b1/vL+dF0FmOxRim71/vL+dG9f7y/nRdD5WOxRim71/vL+dG9f7y/nRdBysdijFN3r/eX86N6/3l/Oi6DlY7FGKbvX+8v50b1/vL+dF0HKx2KTHNJuX+8v5iguoz8y/nRcFFjuwFFIrBjgEH6UtA1oFFFFMdwooooC4UGig0EyI4/+Qlbf7rVsL0rHj/5CVt/utWwvStI7Ez3FoooqiAplPphoAeazp/8AkN2//XJ/6Voms6f/AJDdv/1yf+lAGgvSlpF6UtADX6VjWH/Huf8Afb+dbL9KxrD/AI9z/vt/OokaQ6kw6UUDpRUFRCiiigoKKKKBXAjNMs4Y5bubegbAHWpKXTP+Pub6CkviFJ6Fj7Dbf88Vo+xW/wDzxSrVLiteVdjK7Kn2K3/54pR9it/+eKVbxRijlXYLsqfYrf8A54pR9it/+eKVm3XiXT7TULizunMTREKDgncSM8YqaPxBpTxeat9EUyBnOOSMijlXYLsufYrf/nilH2K3/wCeKVm/8JToojMhvo9u4KPUn2HpUCeMdGa7uLczyKYCqkmM4YsMgD1o5V2C7Nn7Fb/88Uo+xW//ADxSs2HxTok0bumoREIm85yMjOOPXmk/4SrRdyD7chLDOACcDOOfTmjlXYLs0/sVv/zxSj7Fb/8APFKreH9ZtNahnktd+IZWibcuOR6e1amKOVdguyp9it/+eKUfYrb/AJ4pVvFFHKuwXZV+w2v/ADxSs5UVLq4RF2gMMVtHrWQf+P25/wB4VnUVhxbH1T1n/kGTf7tXKp6z/wAgyb/dpIstJ/q0+g/lVXVv9VB/12WrSf6tPoP5VV1b/V2//XZaALU4/dyf7tT2VpbvZxM0SklQTUM/+qf6Gr2nf8eUH/XMU4r3iZaDVsrb/nitULmyi/tq1YW4MYjfccdDxitjrRtrVRRF2VRZW+P9SlH2K3/54pVvFGKXKuw7sqfYrf8A54pR9it/+eKUzWb5dN024vpFLLCm4gd6yNM8U289uLi98q1ibG1vNDDkZ5x0o5V2C7Nr7Fb/APPFKPsVv/zxSs//AISbSPtP2f7agkBXIIOBuGVye2aRvE2jqX3XsahOpPQ8449aOVdguzR+xW//ADxSj7Fb/wDPFKxLTxnos/m5uGj8uYxYdCCxHp6iugglEoDLypGQfUGjlXYLsi+xW/8AzxSj7Fbf88Uq3iijlXYLsqfYrb/nglL9itf+eK/lVqkPWhRQm2UL21t0tZCsSgheoqCP/Vr9BV3Uf+POX/dqlF/qk+grJq0jSOxX1D/W2n/Xb+lWqq6h/rbT/rt/SrVMpMKKKKTGmJaxRzXsnmKGAQYBq59itv8AnitVbD/j+l/3Fqv4k15dHa1TyhK9y5Rd0gRRgZ5Jp043RnNu4/XbGNrNBFbqzeavGO2avCytv+eKVjWPi3S7m2jllmWBnkKBGOehxnjtnvT7/wAVaXapKEmEskTAFF75IHH51ryoi7Nb7Fbf88Vo+xW//PFKzdV12S01SLT7exkupHgM52sBhQcVXtvGGkyx+ZJN5IOAqtyxY9sClyrsO7Nr7Fb/APPFKPsVv/zxSqH/AAkmk/aWtftieYDtOcgAkZwT2OKY3ijRljeQ3yKqMAcg/Nnpj1o5V2C7NL7Fb/8APFKPsVv/AM8UrPuPEukw7Fe6XfIm5Bg88cc1Rg8Z6ZNpkN5GzbpNv7thgjJxmjlXYLs3vsVv/wA8Uo+xW/8AzxSq+na1p+oXD29ndJNInLKPT+tZ9l4u0mf5Xn8qTzGQowPGG25P40cq7Bdmx9it/wDnilH2K2/54pWf/wAJNpAMoa8T931IBwfoe9Ml8VaLHGrtfJ82eCDkAdcjtRyrsF2af2K1/wCeCUhtLUH/AFK1mt4p0byPON8m0NtPBz+XpiqXiSPxZfSWk/hfVdOgtWwZfPh3lh7GqhSUna9g5maaLHHdTqgwAeAKkrm/svi/7XOf7X03Of8An1P+NO+y+MP+gvpn/gIf8aXsVf4kUpHQ0Vz32Xxh/wBBfTP/AAFP+NH2Xxj/ANBjTf8AwFP+NP2K/mQXOhornvsvjH/oMab/AOAp/wAaPsvjH/oMab/4Cn/Gn7BfzILnQ0Vz32Xxj/0GNM/8BT/jR9l8Y/8AQY0z/wABT/jR7BfzILm7H/yErb/datcdK4dbXxh/aEA/tfTc4PP2U/41pLa+M8f8hjTf/AY/41apJL4kE9zp8460gYHpXNfZfGQ/5jGm/wDgMf8AGodC1DXF8Vz6Pqs9rOqWqzK8MZU5JxT9lo2nsQdbSbaRTzTqyADWdP8A8hu3/wCuT/0rRNZ0/wDyG7f/AK5P/SgDQXpS0i9KWgBr9KxrD/j3P++3862W6VjWH+oP++38zUTLiyYdKKB0oqCohRRRQWFFFFBLFpdM/wCPub6D+tNosHRbybcwHA6mkviQnsao6UVF50X/AD0X86POj/56L+dbXRnZktFRedH/AM9F/Ojzo/8Anov50XQWZjz6BZy6z/aTM/neYH254zt2/wAqqt4Q0tp4pG8zasDQlM8ODnBPuMmuhMsX99PzpfOj/vp+dF0FmckvgmwSz+zJcSAfKASqkgAYA6VatfCdjbzQyLNOwjKMAxB3MvQ/rXR+bF/fT86PNi/vp+dF0FmczfeDtLu0iWTePKiMce3jHzBs/mKfZ+E9PtxL88jNIm1mwB3zXR+bF/fT86PNi/vp+dF0FmUtC0yLS0mjhkdkkkMmGx8pPpWlUXnR/wB9fzo86P8A56L+dF0FmS01vypnnR/89F/Oo7idRE5V0LbTgbu9F0FmQPb3zOSuoFRngeUDisr7Pffa5/8AiYfxD/lmtWfC9zcyaUjag8fm7m6N2zThg3Vww5G4VE7MqKIPs17/ANBD/wAhimy2VzNCYpb/ACjdR5Y/Kr1FQXYQDagA5AAFVNW/1dv/ANdlq52qnq3+rt/+uy0CZbn/ANW/0NXtO/48oP8ArmKoz/6t/oat2EsYsocyKDsHenF6ky1RaFLUXnRf89F/Ojzo/wDnov51rdE2ZLRUXnR/89F/Ojzo/wDnov50XQWZV1qyj1HT57GVmVZl2kjqBWC/hC3msBp91dzXFtkHZtVc4HGSBXUedH/fT86PNi/vp+dF0FmcfD4P3ahetd38slrcGL90AMsEXHzH/Cp4/B2nMYvNnuJVgG2FWxhBuzj36DrXUebF/fT86XzYv76fnRdBZnMah4Qs7ozL9plRZZGkwAPlJGDjvXQ6dbi2t4oA7OI0CAt1IA71N5sX99PzoEsX99PzougsyWiovOj/AOei/nR50f8Az0X86LoLMkY470lZ+tzuulXDWrqZgh2/N0NLotw76XbtdOnnGMb8N3ougsyfUf8Ajzl/3apRf6pPoKtX8kbWkuHX7vrWQ8ly1zHbQMgAiDksM1jJq5UdEP1L/W2n/XYfyq5g1k3y33nWu6WA/vePlNXduof89YP++TQmO5ZwaMGq22//AOesH/fJoK6h/wA9YP8Avk0myky1Zf8AH9L/ALi0mqaTaalc2st0gf7M5dEIypJGOapQi/8AtM4W4t1cxjBKnrVvSv7QjUjUry2lPbyxitKbSREtWY0vgjTDP5qPJH8zHaAMYJzgenNRnwPYtcGY3dyPmPy8cDcDjPfkV1wmh/56Jn60vmxf30/Or5kTZmLqmi/btSivor64tZY4TATHjlSc1nS+CdMNu0UUk0YbGTwTwDzz35rq/Ni/vp+dHmxf30/Oi6CzOMs/BcPmXMV3ezS2ss6yLCP4sKACT1zxViTwbaSL+8vJ3KxiKMsqnZGDnHT1711Xmxf3k/Ol82L++n50cyCzOPPgexZI83l22wLjJBPHp7c1JH4JsfJhhnurqZIUEcWcDC5z2HPpXWebF/fT86PNi/vp+dF0FmYPh7w1Z6JctLbM5yu1QQPlXOce9NtPCmnWouNrSN5/3tx/293H410Hmxf30/OjzYv76fnRdBZnMt4SszCYGurkQIxeFBgeWxOcj159adB4TsFmlmlkmlmmVhI74+YtjJx+FdJ5sX99Pzo82Hu6fnRdBZnM6l4O0y8nNxukSXAAI6KNu3p06VvadbR2tnHbR8pGoVfpT7iQGMiGWMP2LHjNZdm2sq8n2m8sSufkCjtRdAkyc/8AH5cfWnCqP+nm7nPn2557KalC3/8Az1g/75NYO19i0yzg+9Jhqr7dQ/56wf8AfJo26h/z1g/75NOyHzMsYb1ow3rVfbqH/PWD/vk0bdQ/56wf98mlZBzFjDetBB71X26h/wA9YP8Avk0hW/8A+esH/fJoshNk0f8AyErf/datdQMVzwXUP7Qtts0HRv4TWmF1LA/fQD/gBrWC0FPcvMBiuUi/5KhN/wBg1f8A0Kt/TZ5pllE+0vHIUJXpWBF/yVCb/sHL/wChV1YdfH6MzZ1gFAOKUU01ghjjWdP/AMhu3/64v/StE1j37zprVv5MKyHyX6tj0oA116UtUFm1Ln/Qov8Av7/9al87Uv8Anzi/7+//AFqALh6H6Vi2BHkdR99v5mrrTal/z5Rf9/v/AK1VPssuSf7Mh5Of9f8A/WqZK5UWluSjGOtFRfZJv+gbF/3/AD/hR9km/wCgZF/4EH/Cp5WU5oloqL7JN/0DIv8AwIP+FH2Sb/oGRf8AgQf8KOVi5kS0VF9km/6BkX/gQf8ACj7JN/0DIv8AwIP+FHKw5kS9+uKa0cbNuKqaZ9kl/wCgZF/4EH/Cj7JL/wBAyL/wIP8AhS5GHMh3lQ941/Kjyof+ea/lTfsk3/QMi/8AAg/4UfZJv+gZF/4EH/Cj2bHzId5UP/PNfyo8qH/nmv5U37JN/wBAyL/wIP8AhR9km/6BkX/gQf8ACj2Ycw7yof8Anmv5UeVD/wA81/Km/ZJv+gZF/wCBB/wo+yTf9AyL/wACD/hR7MOYd5UP/PNfyo8qH/nmv5U37JN/0DIv/Ag/4UfZJv8AoGRf+BB/wo9mHMO8qH/nmv5UeVD/AM81/Km/ZJv+gZF/4EH/AAo+yTf9AyL/AMCD/hR7MOYd5cP/ADzX8qPKh/55r+VMa0mx/wAg2P8A8CD/AIVJptvbXVt5jWwjIZlIDE9Dij2Yc4nlQ/8APNfypGih2nEa9D2q3/Z1p/zz/U0jabaFSPLHPuaPZhzoytHhh/s+PMa5BPb3q8iooO0KuarWun3EEIi+wxPgnnzSM81L9jn/AOgbF/3/AD/hRyMXMiXNFRfZJ/8AoGxf9/z/AIUfZJv+gbD/AN/z/hRysOZEp6VT1f8A1MH/AF1WpzaTY/5BsX/gQf8ACqr2n2xpbZbWOGeBlflywOeafKwckXzz6Y75pghhA/1a4+lM/s+6LZMFp+bf40v9n3P/ADxtPzalyMFJDvKh/wCea/lR5UP/ADzX8qb/AGfc/wDPG0/Nv8aP7Puf+eNp+bUezHzod5UP/PNfyo8qH/nmv5U3+z7n/njafm1H9n3P/PG0/Nv8aPZhzod5UP8AzzX8qPKh/wCea/lTf7Puf+eNp+bf40f2fc/88bT82o9mHOh3lQ/881/Kjyof+ea/lTf7Puf+eNp+bUf2fc/88bT82o9mHOh3lQ/881/Kjyof+ea/lTP7Puf+eNp+bUv9n3P/ADxtPzaj2Yc6HeVD/wA81/Kjyou0a/lTP7Puf+eNp+bUv9n3P/PG0/NqPZhzobdW8cltKgjTcUIA9Tiqlszx20cbac25FCnGOoq5/Z9z/wA8LM/i3+NH9n3H/PC0/Nv8aPZhzorGRs4/s9/0qAXUg1XcLOQYixgEetXXt3hmhWa2gKO+3KE5p39n2n9slRFx5PqfWn7OwrooX91M01r/AKJKP3ucZFW/tVx/z4y/mKsX+kxyiNoFRHjbPzZINN/s24/6df8Avlv8aOVgmiH7Vcf8+Mv5ij7Vcf8APjN+Yqb+zbj/AKdf++W/xo/sy59LX/vlv8alwY9O5XaV2OW09yfwo8xv+ga/6VY/s24/u2v/AHy3+NB0649LX/vlv8afs+4rruVxIc86c36UvmH/AKBzfpU39nXHpa/98t/jTbS1U3z2txFEcIGBTIpcg+Yj8z/qHN+lJ5v/AFD2/StQadZ/88v1NL/Z1n/zy/U0/ZhzGV5v/UPb9KPN/wCoe36Vq/2dZ/8APL9TR/Z1n/zy/U0ezDmMrzf+oe36Ueb/ANQ9v0rV/s6z/wCeX6mj+zrP/nl+ppezDnRleb/1D2/Sjzf+oe36Vq/2dZ/88v1NH9nWf/PL9TT9mHMZXm/9Q9v0o83/AKh7fpWr/Z1n/wA8v1NH9nWf/PL9TR7MOYyjL/1Dm/Sk83/qHN+lav8AZ1n/AM8v1NH9nWn/ADy/U0KAuZGYtxIv3dPkH0IpftU//PjL+YrS/s60/wCeX6mj+zrT/nl+pp8gXRm/ap/+fKX8xR9qn/58pfzFaX9nWn/PL9TR/Z1p/wA8v1NHKF0Zv2qf/nyl/MUfap/+fKX8xWl/Z1p/zy/U0f2dZ/8APL9TRysOZGd9qn/585B+IqW0nW4tknUFQ3Y9Qauf2fZjnyv1NUtDsLVtNj3R9z3PrRysLodGf+Jlbf7rVrjoKrQ2NtFIJEjAYdDVkcACrirIUndlDSfv3X/XdqxE/wCSnyf9g4f+hVt6T9+6/wCu7ViR/wDJT5f+wcP/AEKunD/b9GZs6telFC9KK5yhTWdP/wAhu3/65P8A0rRNZ0//ACG7f/rk/wDSgDQXpS0i9KWgBrVi25mliLtcyA7iMDp1rafpWNYf8e5/32/nUyZcEP2S/wDP1JSbJv8An6lqQdKKzuylqR7Jv+fqWjbL/wA/UtSUUXY2R+XNj/j6lxRsm/5+paxvF/iH+wLaz2W/2ie7uUtoYy2ASe/5ZNctJ8TZLW+ubW/0cQvbPH5uJt2Edtufr9PWmri1PQtk3/P1LRtl/wCfqWuJ+IPj6Twzr1tpkVnBMJrZ7gtNKV4XHyr6nmpdP+I+gT21s9ytzaySqhmDRErA7/dV26Anj86VpdwOx2zcf6VLQFm/5+pa46L4neFXhMzT3McZVmR3gKiQK2Dt9eakvviBpVvrkGlwK8xL7bhipHljZvBHrxRqI63bN/z9S/nRtm/5+5a4O6+LGgebBFYwXd5LJdpbyp5eDGX6Grdt8RtDNqkl15yuS+8RRlhGgfaGf0GaTbQWR2W2X/n7lpNs3/P1LXLaZ8QPDeoayul2s1w0zXDWyyNCRG0ijJUN0PFSa5488O6NrB0rULiaOcHGfLO3OM4z64FC5mFkdLtm/wCfqWl2Tf8AP1LXHW3xL8KzW3nrcXKgxpJGrwkNIrttXaO+TWp4I8SL4mtr64S1e3W2u2gCuMMcdyO1DbHZG5tm/wCfqWjbN/z9S1JRT1G4ojCTZ/4+pap6Osv2V/8ASZR++f0/vVoiqOjf8er/APXZ/wD0I0JsSRa2zf8AP1L+lRXDTRKrrcyE7wMGrFV7/wD1S/76/wA6HJgtUba/dFLQv3aWtTITPFZF6Gk1IoZHVQmcA4rW7VlXX/IVf/rkP51MnZFR3G+Qv/PWX/vs1StYV/tS7XzJcAJ0c56Vo1Stf+Qref7qfyqE2XqWfIXHE0uP980n2cf89pf++zUo6Cii7GiL7OP+esv/AH2aPs4/57S/99mpaKLsdiLyF/57S/8AfZpfs4/56y/99mpO9ed3/wASLm3tbm+t9CM9lBcyQiUzY37DjCjqWJ6CjUnU9A+zjGfNlx/vmgwL/wA9pf8Avs1y2keNPt3hvV9UksXguNLZhLbsfQZGfqKtf8JZZW/hGx8Q6hFJDDdxKwRFLEFhnFK7C7N/7OP+e0v/AH2aTyF/57S/99muBt/ivoc2rPDHFcPp62yT/ao4ywXLFTuHYAjrWpefEbwtatK0t1L5EZYfaFiJidlGSqnoT7U9QuzqvIX/AJ7S/wDfZo8hf+e0v/fZrFg8W6TN4bPiH/SUscAhnhKswPTA96xf+Fp+EjGGSW7kO12ZEtySgT7xOOlK7C7O0FuCeJZf++zS/Zx/z1l/77Ncbe/EbR0vrK102OW9NzdRW7yKhEaFxkfN0zjtXbZ5x6U7saIvs4/57S/99mjyF/57S/8AfZqWg0XY2Z2pQjzbX95LjzR/GaBD/wATgjfL/qf759am1L79r/11pf8AmMn/AK4/1ouyGSi3XH+tl/77NHkrz+9l6f3zUtIep+lF2OyJ9HLNZIWYtyeTV45qjon/AB4R/U/zq/WqRm9xpqC+ytlMQSDsPI+lWG6VBf8A/HlN/wBc2/lQ9hJamTbQh4UZpZckZPzGq6Q/8Tdxvlx5I/jNXLT/AI94/wDdFRL/AMhh/wDriKy5matIm8gf89pf++zR5C/89pf++zUnrRRdjUUR+Qv/AD2l/wC+zQLdef30vH+2akrL8U6xHoPh+81aRN4t03BM/ePQD86SbFZGh9nH/PWX/vs0fZxz+9m4/wBs15y/xOnSW5jfR1h8pWZfNkIMm0AsF4weK0PHnxBTw54c0nW4LCS8i1B0G0HGxGGSfwqrMNTtvs6/89Zf++zR5C/89Zf++zXnem/FbTLzxTqenfZX+wWNukou0+bzS3UAd8VfHxQ8MTbI7N7u6uJEkZIkgJI2fez6YNFmKyO18hc486X/AL7NJ5C/89pf++zXEaH8UvD1/wCHRq88jR7GEcqoN2JSeIx6mptI+Imlav4ssdD0+2uJlu7Z5xcFMKm0gEEfjRZjOxMC/wDPaX/vs0v2df8AntL/AN9muC1j4jyaf4pn0eTS1jiik8sSzS7DLxncp6H0qXw58TtF1LSRdXcVzZz+QZ/KMZIZN23KnvzRZhdnb+Qv/PaX/vs0eQP+esv/AH2a41fih4TZYGW4uGMxcBVgJKbPvZ9MU9PiZ4SeymuxdTlIiuR5JywboR7UWYXZ2H2cf89Zf++zSeQP+e0v/fZqHRtRtdW02LULNmaCQZUkYNW6m7GiL7OP+e0v/fZpfIH/AD2l/wC+zUlFO7HYiMC4P72X/vs1U0SFf7Oj/eSjk/xn1NaB6Gqeif8AINj+p/mad2TJEyqYr62xLIQzEEFia2R2rHk/4/rT/fP8q2B0FXHYiSsyhpP37r/ru1Yif8lRf304f+hVt6V9+6/67tWKv/JTj/2Dv/Zq6sN9v0ZDOqXpQaF6UprnGBrOn/5Ddv8A9cn/AKVoms6f/kN2/wD1yf8ApQBoL0paRelLQA1+lY1h/wAe5/32/nWy/SsWw/1B/wB9v5ms5s0h1Jx0opcGjBqLjT0EoPSlwaMGgDD8XeHYPEVraxTSmF7a5WdHAz06j8RkfjWJd/DTQJB+5aeJ3dPNd3MhaNTu2DP3Rmu3waMUfMDCisfD2s6wuvQrDd3Voj2ofO5VGfmXHrxWXrnhrwjca0lxfMqXN86lYvN2pNIg4Yr0JA/lWPpPhrxnpelazpFtHpZhvZ55orkzMHUucjIFczF8L/F4vYbm5uLO7igmMiWz3LLjKAHDDkc8016gdlo3wy8OWenC01B5dQcpIitJJgKHbcdg6D8KsL8O/CMXnSNFPIW3NLI9yST8m05P04rmm+Hvi3yLeNtWhuHWBY45mndTZsGySo/i445rpPAXg+70Hw7qFrqN0t1qN60u+ZnZ1ZWJ2jB6DnmncDP0Dwr8ObyeaHS7j7RcLJFIzLcHeCn3CD6CtaX4feE2VU8iSMBWVwtwR5iltxVvUZrhoPhn4sjRltby0sUiC7I0mZxKyvuGDjKKfSq+peDPG83i6Oa5jjniu2uZmRLpxDBuUbAT1yD0p7gelWngvwzZzxSQ2pR4Lw30YEvCykYJx9KoXXgvwb4kuptabfdGWTe7JOdm8DbnHbHNcRp3gfxk3iC7jnuWzC9rsv5Lhh9xRv2KOuelTW3grxFZ+I9K0uCa5WxkLS6rJGx8oqH3IFP945Oalq3UDu5fh74YkjgRrNx5FslvCyykFERty4PYgjrWt4b0DT/D9tNb6csoWeUzSGSQuzOepJNaqrtAAGABilwaQCUUuDRg0DuAqjo3/Hq//XZ//QqvdKpaN/x6v/12f/0I0CLlV7//AFS/76/zqzg1Wvv9Uv8Avr/OluxRejNxfuilpE+6KWugzG9qyrr/AJCr/wDXIfzrV7VlXX/IVf8A65D+dRPYuG46qVr/AMhW8/3U/lV2qVr/AMhW8/3U/lWa2KLo6CigdBRTKQUUUentzQJsyNQ8TaBp2oLYX2qW0N0xGI2fnnpn0rmk+GmgS3b3F1cXEgW4e5tljmKCHecngdee9QXvhLX7fXdam06LSLu21edJmlvF3PbY6gDHI9K5rxX4F8cPPqGpW19EwEU21IJmDSgphVC9iDRcR32naDpGi6RqFrfXpnj1SdvOkkbBcsMBc+wqhZeBPB9zpUMNvdXlzZo4MI+2MyKV4wtczo/gHxLNYW5uLmKzhcwM9r57PyqkO5J6E5HFVP8AhWPiyHRrXS7C8sreO38wpIk7htxk3Bvyp6AdGvgf4d2tldX6ySRWdtmK7cXJCYVslXHfk1Np3hr4c+IzcHT5Eu4eWa3imPloWGN4TsSO9Mi8Fauvw+17QpLi3e91GRpEck7cnH3vxFZFx8PPFF8Zr43en6Tdixjs4o7MnEiqwLF29TjFO4HoOp6BpOo+HI9CuVb7AioqKkmDhfu4P4Vj2Pw78IWbTyQ2z5mjeORjOTkP976Vyh+GviWbTRDNqx3LBMIU+0NiGRvu4PfFLdfDvxUiXFvZanA1pOIWaOSZs71Qh2z7mpA66D4f+Fre6t54opU8iVJo4lnIQyKMBtvQnFdNNf2kV5DaS3MazzkiKMty5HWvJrT4Z+Kv7PYXusLJeR20MdtIJ3xGyvkn8uK0vDfgXxBZ+M7DWNSnt7hbWeaSS585meUOMAbegxQB6fQaUj6k96CDSC5T1L79r/11pf8AmMn/AK4/1pNT4ktR/wBNaM/8Tk/9cf60AW6T1+lOwab69elIfUn0T/jwj+p/nV+qGif8eCfU/wA6v1utjJ7iN0qC/wD+PKb/AK5t/Kp26VBf/wDHlN/1zb+VD2AzbT/j3j/3RUS/8hh/+uIqW0/494/90VEv/IYf/riKxRqy160UetFMaCs7xNpEGvaFd6VcMUS4TbvAyVPY/nWjRSCxxF98N9IurRg1xcG8aMqJncsqFhhmVDwCRW1deFNHvNN03T723M0OnACAE47Y5/Ct2imScZF8MfB8NstvDp8kSBBGNkpBxu3dfrVnRfAHhrR7prqytJFmeOWNnaQnIk5auqooKscanwz8Ix2rWsOnNFE204SQj5lOQ3+971o6b4N0LT9QstQtbeSO5so2jicSHlWOWDevSuhooE0cpqfgDw5qWoSXt1bzOZJRM8fmnyy46Nt9aZcfDnwrcW9rA9nKq2sBgh2zEFELbsfnzXXdqKBI5TTPh74X0+48+CycviQEvIWz5g+bP1psHw78NQ2UtrHbzLHLjOJjlQOig9hXW0UFWKGgaPY6FpkWm6dGUgiyV3Nk5PvV+iikFgooopjA9DVPRP8AkGx/U/zNXD0NU9E/5Bsf1P8AM0EyJ5P+P60/3z/KtgdBWPJ/x/Wn++f5VsDoK0jsRPcoaV9+6/67tWIDj4nn307/ANmrb0r711/13NYZ/wCSof8AcNP/AKFXXhvt+jM2dYOlLQKK5kMDWdP/AMhy3/65P/StE1nT/wDIct/+uT/0oAuySxxAb3Vc9MnFNF1bf894v++xVHVEWS/sVdQwLNkH6VFKbZbt7aLTxKYwNxAHGaaA0Xurf/nvH/30KxLe6hjtHImjyGb+Iepq38mM/wBkY/KsdNv9nyAaaerenrWVQuGxqNOqR+ZLdWiLxkl6mgWWdd0Utu69ipzWfqXlnTcNoLXA+X5RjmtPQ1RbTCaebIf886I000JsPs91/wBMqPs91/0yq6ZAGCllBPQE9aTzkLbRIu7uM0/YxFdlP7Pdf9MqPs936xCtAHnmkZsAc4J6ZpexQXZQ+z3n/TL9aPs13jGYv1q8kgYZB49qdketP2SC7M/7Pd+sX5mke3ulQtiI4B9a0h1plwP3Tf7ppOCSC7Mnzj9k8zblgvTtUyQXTIGUxgHmqz5+wdT92ti3/wBQnb5RURXNuXLQoi2u85/dfrSi3u/+mX61pVAtxC0jRrMhcdVDcitPZIi7Kn2e6/6ZUfZ7r/plWhnijNL2KC7M/wCz3X/TKj7Pdf8ATKrqybhncCOmR60CQFwu4ZIzjPNP2MQuykbe77eV+tUdFhuWtZMGL/XSev8AeNbvXrSRRpGMRqFBOePWj2UUF2Z8kF2qFv3XAziqlw5ktY2IAJZeB9a27hf3bDP8JrDl/wCPKH6r/OoaSloVHY6BfuilpE6UtbEDe1ZV1/yFX/65D+davasq6/5Cr/8AXIfzqJ7Fw3HVStf+Qref7qfyq7VK1/5Ct5/up/Ks1sUXR0FFA6CimUgooooCwEUCiilYLARuoOe38qUEYNZlmk1wryNdSLh2AA6AZosSaI/3aZF587SBFTapxznNQfZJMf8AH7N+dP021kZph9smHzdqlbhLYtG3u8/8ssfU0fZ7v/pl+tXII2iTaZXk92607epbaHXP1rb2aM7so/Z7z/pl+tH2e7x1i/WtDPrQTjqf1o9kguzP+z3X/TL6c0fZ7r/plWh+NFL2KC7Oe1gPBLZ+dLAhaYBc9zTxb3X9tc+USYev41oanp8F/JbvMMmCQOvHU1N5I+2faN2Ds2bcUeyQXZX+zXeOsX61CDKs7wyBchc8VcmW/wDMPlywBO25STWVOuoG+kzNBnYM/IaiUFEuG5p6J/x4J9TV7NYujLqH2FNs0HU9VNXNmp/89oP++TW0diJbl49Kgv8A/jym/wCubfyqHTZ55XuI59haJ9uVGARipr//AI8pv+ubfyoewIzbT/j3j/3RUS/8hh/+uIqW0/494/8AdFRL/wAhh/8AriKxRqy160UetFMaCiiigYUUUUCsFFFFAwooooAKKKKBWCiiigYUUUUAFFFFAAehqnon/INj+p/mauHoap6J/wAg2P6n+ZoJkTyf8f1p/vn+VbA6CseT/j+tP98/yrYHQVpHYie5Q0r713/13asP/mpwP/UOP/oVbmlfeu/+u7ViEf8AFzk/7Bx/9Crrwv2/RmbOrHSlpF6UA81zIYprOn/5Ddv/ANcn/pWiazp/+Q3b/wDXJ/6UAF//AMhKx+rfypLQf8Ti9/3U/lS33/ISsfq38qLP/kM3v+6n8qaAvEfKawYh/wAS+T6t/wChGt7+E1hRf8g+X6t/6EayqFw2Nu3H7hP90VJjio7f/UJ/uipaqGxLOO8cWOpzarpuoabFJI9iryhVbAc8fKfrXPJp3ibT57zUI1dZ55PPcs2VT5Og+leo4HpTXjVgQQCD2NUI850S817U7vZZXl4bKO5G+WQDcR5ecZ9N3FV5ofFt9JsnbUUgWeKb5SARhjuAPcYxXpkUEcY2xxqi+ijFP2L6UAeekeLI2KhbpDktbiIDaW3c+Z+FbHhy315LyGfUbmdw5k86M42Lz8uK6vaPSjaPSgBueOMdKpTtqWx/3dvtwcEsav8AemXH+qb/AHTUy2Gc4WvzYD93b/dPc1aWTxB9ojWOCzNsUGSWOaG/48P+A1sWwHkJx/CKzplzJEzsG7Gcc4rzyz8Mat5t1fLKsE0d3LNAgHzP12hj/dr0SkKitjM8yu73xTbJb75dSEMs8aTfKDJuOdwT/Zq/b3XiyESLLBczrKhW3wBuX5uN/ocV3bRKxBZQcHIz2p4VfSgDzIx+LLXZBbx3cYEu75SGDqXO7PpgUWNj4psgywm8ZQZBK7kFwplz8h/3elembFz0pdo9KAOCji8WTqw+1XkUKRSNCTje7A/KH/Wu2sRKLaLz+Zdg3/XHNNu5fJuLeML/AK1iCfTAqwtADbj/AFbf7prCl/48Yvqv863bj/Vt/umsKX/jxi/3l/nWUviLjsdAnSlpE6UtakDe1ZV1/wAhV/8ArkP51q9qyrr/AJCr/wDXIfzqJ7Fw3HVStf8AkK3n+6n8qu1Stf8AkK3n+6n8qzWxRdHQUUDoKKZSCiiigYUUUUAKKpaP/wAe8n/XRv51dHeqWj/8e8n/AF0b+dIguGpNJ+9Pn+9UZqTSfvXH+9Ux+JBL4S65GMZ5x0rzGxGqWpvpoopP7QDuYS0Lk8njknB4rt7n7Z/wlNp5br9lML7h3zWxsHoK6TI4TUrzxVp0T3Bu3uEjdhjyBjZsJ3H8aoJqHia8htZrdbi6Vdk25o/L+fBJX3XpXpDwxuhR1DKRgg9MUqRqiBEUKoGAB2oA4BNb8Q21tNfTGR4LdEkkEkQUs5OGRfXtUySeLpJWkN0Yh50Q2+SCNjjLEe4zXbTW8UyhZI0ZQc4I708JxQBwH9qeMFuoYTDhQcBzH/rPmOc49sVHqb+LptMLNdToXBdvLiG6PEgGB/wGvRNvHSk8sUAMtB/o0TMSzbBknqeKz5/+QjN/uCtUcDFZU/8AyEJ/+ua1nULp7ljRf+PBPqavN0qjon/HhH+NXm6VcdiZbmdpY/0u/wD+uw/lVq//AOPKb/rm38qraX/x96h/12H/AKDVm/8A+PKb/rm38qHsCM20/wCPeP8A3RUS/wDIYf8A64ipbT/j3j/3RUS/8hh/+uIrFGrLXrRR60UxoKKKKBhRRRQAUUUUAFFFFABRRRQAUUUUAFFFFABRRRQAHoap6J/yDY/qf5mrh6Gqeif8g2P6n+ZoJkTyf8f1p/vn+VbA6CseT/j+tP8AfP8AKtgdBWkdiJ7lHSfvXf8A13asQ/8AJTk/7Bx/9Cra0r713/13asR/+SnR/wDYOP8A6EK68N9v0ZmzrBTKcvSm1zDHms6f/kN2/wD1yf8ApWiazp/+Q3b/APXJ/wClABff8hKx+rfyos/+Qze/7qfyovv+QlY/Vv5UWf8AyGb3/dT+VAF5vu1hQDdZSLuCjc2Se3NbrfdrBj/5B8v1b/0Ks6mxcHZFhL6ZUCho8Aehp39oXH9+L8jWhbqvkR/KPujtVDXNUtNKiikuVkbzZPLjWKPcxOM9B9KSiw5kJ/aFx/fi/I0h1C4x9+L8jS6frGl3tussdzGuXKYkwrBh2IPelvNZ0m2uEt5byDznyUjDAscdaOVhzLsNGoXH9+L8jS/2hcf34vyNStf2SxFvOjLBPM2ZG7H0qSK8sZTsS4gZ8ZKbxkfhRysOZdiqdQuP78X5Ggahcf34vyNLc61pELwo17blp2KxgMDuIGSKnhvrGTYBPErOu4KWAJH0o5WHMuxB/aE/9+L8jTHvp2UqXiwR6GtC2uLW4LLBNDMV+9sYHFPmVfJb5R909qXI7CurmUFBstpkH3fvdsU+O+mVAoeLAGOhqM8af/wGtaBV8lPlH3R2qYptpFPQz/7QuP78X5Gj+0Lj+/F+RrU2r/s/lRtX+6Pyq+Vi5l2Mv+0Lj+/F+Ro/tC4/vxfka1Nq/wB0flRtX+6Pyo5WHMuxl/2hcf34vyNH9oXH9+L8jWptX0H5UhVfQUcrDmXY5+/vp2vLP5ouHbsfSrv9oT/3ovyNRa1JdR6rpiw26vG0jB29OK2FVf7o6+lHKxcyMmW+mZSpeMZGOhqCYYs4huDfMvI+tbVwq+S/yjoe1Ysn/HjF/vL/ADqXFqSKT0OgTpS0idKWtzMb2rKuv+Qo3/XIfzrV7Vl3P/IUb/rkP51E9iobjDNGp2s3I6gCqVrNH/ad2Q3GE7e1ammBd1wSAfnpr3Wl29+6PdQJPJgMrOAfbis4xuim7Mh+0Rf3j+VHnxf3j+VaZ8tU3NtCjkk9hSQyQSMyxsjFQM47Z6U+Ri5jN8+L+8fyo8+L+8fyrVZU9B+VRpLbtK8auhePG9c8rnpmjkYuYzvPi/vH8qPPi/vH8qt21/p1zM0NvdQSSL1VWBNWwEI6D8qfIHMZK3EWfvH8qp6RPGIZPmP+sbt71tySQea0PmRh+mMjOay/D8M1jbOmoXCF5bhvL3YHGeAKOR9w5iZJEc/K2cDJGKjSeS2klWOSMhjnkHIqxMANRbAx8g/nTtLCl7jKg/PWfLdl9DNlvZv7Ytm3R5ET9jV7+0J/70X5GppIWbV7eYINixuD9TV7av8AdH5VpyPuQpIy/wC0Lj+/F+Ro/tC4/vxfka0ZjHHG0jgBVGScVFBcWs1stxHIhiYZDHgUcrHzLsUv7Qn/AL8X5Gl/tC4/vxfkatJeWbXTWqzRGZQG25HQ9Km3Q5Ybo8r15HFHKw5l2M/+0Lj+/F+Ro/tCf+/F+RrTUIygrtI7EUuxf7o/KmosOZdjL/tCf+/F+RqGJ2lmllZ1YlQMAVtbF/uj8qyp8DUJgBxsWoqQehUXqWNE/wCPBPqavt0qjon/AB4J9TV5ulbR2M5bmfpf/H3qH/XYfyFWdQ/48Z/+ubfyqtpX/H3qH/XYfyFWdQ/48Z/+ubfyoYIy4WVLWNmYKMCqwmjGrv8APn9yOcVYXH2e3/3lq+tsf7SafaNhQL0rCMbtms3Ypi4i/vH8qPPi/vH8q1tq/wB0flVSfUNNgufs813BHKQDsZgDVezZnzFTz4v7x/Kjz4v7x/KtZBGyhhtIPQ8Uu1fQflRyMOYyPPi/vH8qPPi/vH8q1tqf7NQma2V/LaSMNkDaSM89KfIw5jP8+L+8fyo+0Rf3j+Va4Eef4fypdi/3R+VHIHMY5uIv7x/EU92VVVmbA9fWrmqKospflHT0qhN92H/fFRa1y1qrimeL+8cfSk+0Rf3j+VawVf7o/Ko3eFZhCWUSEZC55Iq/ZkuRm+fF/eP5UefF/eP5VploVcRkpub7o7mn7Y/b8qORi5jJ8+L+8fyo8+L+8fyrX2p6L+VQyzW8Z2ySRqfTIzS5GHMZ3nxf3j+VHnxf3j+Va21MdFo/d5xhafIw5jK86IqfnP5VS0eeIabH8/c9vc1upJDMpMTI4U7Tt9fSqc9rHa6W8adBzn6mk4DTuQtze2h6jef5VsjoKxm/4/bT/e/pWyOgq4bCnuUNK+9d/wDXdqxG/wCSnRf9g5v/AEIVuaV1u/8Aru1Yb/8AJT4f+wc3/oQrrw/2/RkM6telIaVelIa5xjjWdP8A8hu3/wCuT/0rRNZ0/wDyG7f/AK5P/SgAvv8AkJWP1b+VNt5I49YvQ8iqSqdTjtTr7/kJWP1b+VRR28M2tXZljV8BMZHtQBfa4t9v+uj/AO+hWDHND9gk/ep1b+If3q2TY2eCfs8efpWJHa2psJMwJwzdves6r0LhsbC3tnDBEZbmJQQAMuOTVHxDpEWvJY/6QRFbz+afLP3vlIxkdOtWH0fTbq2iSezjdVAI471et4Y7eJYoUEaDoB0q4u6RLOP1vwU9zIg0+4jtoVUfIyknfuzuz1JNEngn91Ay3EXnoZS8jR5J3+ldoGU5AYEjrWV4wS5k8NX8doGM7REJjrmmI5+28I3EdvLa/boWjcMTKyfvASMYz/dqlYeENTaK4Wa4ht8XUkkTqhMjAgAZPpVYR+IdCuHSOJ9ssMQTyNzIpzyTnvRBqHiwudQ/ftI1oFELRkIGDkE/XGKALtp4Fuo7iO4kvbeR45Nw/dnjKFT/ADzUq+CblR5a36mNnSQyMhMilRjCn+7xW/4QudRudOaTUMFxIVQ7cEqOmRW3QBg+HdBTSJUdZAdtuImwMbiD1Nac15aeU489MgHvVo/pUFxbweW58lM7TztqZbD6mI13bGw+WdM7T36VfsNY02Zxax3iNMoAKDrVNoIhY/6mP7p/hFalpZ2yIksdvGshUZYIMms6Zcyt4k1CXTbFLiFVYmVEO70Y4qnr/iW00aWKKaFpC67jsYfKM4rV1KwtdRtGtLyESwsQSp9R0rOfwrocigSWKvgY+YknFbGZkWPjSFbczalayxIZZUikQghtp6Y7VbTxbC99Dp/2C4F5LJs8rIO0YyGJ9MVfj8NaJBvdbGIAg5DDI561LZaLpdrLHNbWiB0JZH6kZGOv0oAxdY1zVIfEx0202JAkKyOxgMh5J7g8dKe3jKzji86W0uPKKkxOMfvSDg4HaukFpCt1JcrGPNkUKzY5IH/66oDw7pAkkcWUeX65HTnJxQBmnxdbCGa5msLiOC3JDyNj5Wx0x171peG9bh1mOVo4ZYmjI3B++RkEU6Xw/pUszSyWcbO+d3HBJ74qzpem2enRNHZwiJWOTjvQBZm/1bfQ1hy/8eMX+8v863J8eW3+6aw5f+PGL/eX+dZS+IqOx0CdKWkTpS1qSN7Vl3P/ACFm/wCuQ/nWp2rLuf8AkKt/1yH86mWxUNyXTRkz/wC/XLXuh6n5Gp2K2MVw17MXjvC4BjBPcHnIrqdLYKZ8kD56vnBFKn8InueZW+heIL60ubVvtC5lkRppLggSJtwFC9ue9W7PwxrAMcLySQWypgotwc52YHP1r0ELg1U1Z5IdPnmjYI6RsVYjIBxViOJu/D/iGOFYbWSWWORYxLm5IbeB8xB+tW/DOi6xFZ6pHqMgjnuoURH8zcchSMk1iS+JNctYQkd2s1wxhZi+Hj2mQBiCORwehrYufGU9vvlazjlTc8YjQnzFK92H900AEOna5HpUdpDpNpBPBbmM3HmcucY+XHTPvWVDpPiSG7t7W4guZoGeRwq3WMDaMAn61d1LxZqNpqVgBHHcxSK4l+zZZF4BDMfQV3loRJbRyHa25Q2V6HPpQB56PDPiBrqC8umNzNFKrJiYrgbCOfXBxUmkaD4iGpW8t4pESTJKQ0+4AgENivQwOPrRtFAGbN/yEn/3F/nUmk/fuP8Afpk//ISf/cX+dP0r71x/v1gviNX8BoEgDNJvWhuneuC1S01698T6iLKSaOOPyxFKZ2VU4ySFHDVuZHbXy+faSwpgM6FQT05FcjLo3iCTw/BpEi2ISFlG8Ox8wA9CO1V/7f1+O2ha4EUPmLIQ3kkglTgLj1PWql94i164WE7GtZlnUfZRGcsoGc59KAC08F6tFv3y2rO8SxpNvbfFhs5Hr6VYm8H6tJC8BvYkOG3XCs2+bJ/iHbFTv4q1CQRpDDsXZH50zRMRExzu+tU7vVdeOpFo7hpIZI4PKVYSoyXwT+VAHfWESW1nFbxrtSNQoFWAa881DWvEF5aN5Ns1u8LmFjtPMgBJI9R0qzoeuawbiw024ZJp7iNZBKUIwgHzg++aAO7rIn/5CE/+4tam5VQliAPesqc/8TKb/rmtZ1C6e5Z0T/jwj/GrzdKpaL/x4p9T/OrrdKuOxMtzP0v/AI+9Q/67D+Qqzf8A/HlP/wBcz/Kq2l/8feof9dh/IVZ1D/jxn/65n+VALcy0/wBRb/7y1tdjWKn+ot/95a2Sf1rKnuVMRm4Ncdrek6hJrepyw6ZFdRXtskccrygeWwznjr37VnXfiLWLXW9bs2YyCWXydNwnEb7RnP8AOmWHjW+tbLT0uo0uJTEguGOVYsQef0rYgk/sDxMkXkR3DGVelz53ymPbjYF9c96sHw3rEJ862vJklHllS85YAgfPxUEXi7VE1W3FxZFbe6hRwQDsiyeCT6npUV74z1eWBvsdpDB+8X5pCfkG7B3CgBF8P+J/scqy3VwZGI3bZwBIwJ59h0oXw14g+2NeLtjuJUi3v5xIUqCCMflWr4zv9Qtri1W2uxCnktJIqMFZiO4J4I9qpab4m1OR5LplE1iiQ7vMUq+WHJAFAG34Vsr61LC6hkQlBuZ59+9h1IHYV0w4OK8/tfG15cTGGKxid2kTy8MR8rZ6/lWl4X8UXGqalJBPZrAgDHdnlSpwc0AdLqn/AB5S/Ss+b7sP++Kvak2bGQ5yMVRm+7D/AL4rGe5pHY1s4P41y3i/SdR1DUIbiyk8tREI2YPtP3gT+ma6d2UEbmAycAHua86u/EetW1zrdmWZ3kmePTWCcR7VGc/TrWy2IZYvvC+qrqK3FnJLlPOSF2uD+7DY2nB696k03QNfWWIXN1OIl3sUM2Tu24HTtmqun+N7yBLCG4iS4Z4gsrnKsX2bs/jip4PFuqLrEcd5aFYbiFJF28pGTzgn1NAhZdB16CzSO3kklaSFBOGuD94E5I/SqNv4X8RForl3YXXkLEztPnG18g46Hip5vGWr3IjNrZwwKZk3O+eFLYIPvWl401LULS8jW1vPKiWEyMiMA7e/PBHtmgCg2g+I5CsfmSRdrl/tOfO+Ycgfw8ZpdZ0PxCEFvYNI0ayO0Z+0kMvI2g5/Gn6b4n1TzLi6dUmsVMYUspVxlMnj60ll42vLqZLaKyiklkkUIQSAFIJz9eKAOi8GWN7Y2Ey36qs8k7SEBs4B961NW/48ZfpWB4T8SXGsX7QS2XkptLKc8rg4wa39V/48ZfpUz+FjW5Qb/j9tPr/StlegrGb/AI/bT6n+VbK9BSp/CiplDSfvXf8A13asST/kp9v/ANg5/wD0IVt6T967/wCu7ViS/wDJTrb/ALBz/wDoQrrw/wBr0ZnLodWvSihelFc4xTWdP/yG7f8A65P/AErRNZ0//Ibt/wDrk/8ASgAvv+QlY/Vv5UWn/IYvf91P5UX3/ISsfq38qLP/AJDF7/up/KgC8elYEf8Ax4SfVv8A0I1vnpWDaTRpGyMSG3tkY9zWdRXLpmlDe26xIDIcgAdDT2vrX++f++TVATQ4+8Pypwmt+7D8qm7Q+Uo+H5mh1LU2uLnzI3mDINp+XjpW39vtcf6z9KxLGaL7Zec/8tB29qu+dD/eH5GjmkHKi99utf7/AOlJ9ttf7/6GqXnQ/wB4fkaPNh/vD8jRzSDlLq31qP8Alp+lO+32v/PT9KoebD/eH5GjzYf7w/I0c0g5S/8A2ha/89P0pk19bNEwDk8Hsap+bD/eH5GlE0GeW4+lK8mhctmR9dP6dvSr8F9bLCimTBCjPFUzcQ5xvwPpQJof7w/I0o3Q5al/7fa/89P0o+32v/PT9KoebD/eH5GjzYf7w/I1XNIOUm1O+tjp1wBJ/wAs27e1Osb22W0hBk/5Zr29qoajLD9gn+b/AJZnsafazW4tYhu5KL1HtRzSDlNP7fa/89P0o+32v/PT9KoebD/eH5GjzYf7w/I0c0g5S/8Ab7X/AJ6fpR9vtf8Anp+lUPNh/vD8jR5sP94fkaXNIHEty31uyOA56HsazH4sIf8AeX+dTtNB3YflUN1NHJGqIcnevAFGrkFrI6BelLSL0ozW5mIelZd1/wAhR/8ArkP51qNWTfb01EyeW7KYwAVGamWxUNzL1zzf7NuEinMLmZDu9s1vRXtusa7pMtgZOKx9XlH2Bswy/fX+D3q55nA/cS/98Vmm0U4ov/b7X++fyNNe+tWGC2R7rVLzB/zxl/74o8z/AKYzf98Uc0g5USp/ZUe4LDCA33sR9f0pd+miRnEce5hgny+T9ah8z/pjN/3xR5n/AExm/wC+KOaQcqJlfTUTakUSjkYEfGKnjvbRUChsADoFql5n/TGb/vijzP8ApjN/3xRzMOVF/wC32v8Az0P5Gj7fa/3z+Rqh5n/TGb/vijzP+mM3/fFHMw5UOaRZr+R48ldoGcU6xnigkmEhK5bI4pnnHbgQzD/gFIZcn/Uzf98UrO9x2VrF839r/fP5U37baZyH57/L1ql5g/54y/8AfFHmf9MZv++KfMxWRcN5Z92GPTbxQbyzJ3bufXbVPzB/zxl/74o8z/pjN/3xRzSDlRc+12fI3DB6/LSfbLXd97/x3pVTzP8ApjN/3xR5g/54y/8AfFHNIOVFz7Za/wB/H/AagDaetyblVXzSNpbbzj0qLzP+mM3/AHxR5n/TCb/vimpSCyK/iifz9Emjtrny5ODuI96fbMHkLZLYiUE471Dq8n/Eum/cydB1T3qwk3yACCX7v92lJtjjZF/Rf+PFPqf51dbpVLR1ZbJFZSpHY1dJ4rWOxEtzP0v/AI+9Q/67D+QqxqH/AB5Tj/pmf5VW0v8A4/L/AP67D+VWb7LWsqqCSUIA/ChiW5k522kDHOAVNaX261JH7w/kaz7eRlhRGhm4UAjZThJj/lhL/wB8VlG6NGrlpp7EuGwmc5yU5zUbHS2bLQxE+pjqLzf+mEv/AHxR5v8A0wm/74o5pC5UWfO08rtIQj0KcY9KZu0zLfuosN97931+tQ+b/wBMJv8Avijzf+mE3/fFHNILInnk064ULMkcgHTcmacs9gF2hUAxyNnpVbzf+mE3/fFHm/8ATCb/AL4o5pBZEqHS0cPHDCrdiI8Gs/XxbPpF0LaRIJnAzIsfJ5q35v8A0wl/74qrqkv/ABLpv3EvT+5RzSDlLP2iP+yEg87zJPLVc46mkmbbHEfRgTSRS/uk/cyZwP4Kf53rDMf+AVLUmUkip4lcXMmnmG6MQjuAx+XrWn51jncQhPJ+537msrVJcta4gl/1w/gq75v/AEwl/wC+KtydtCOXUlY6Uzhzbwlh0PlDNPE9gT8yp2/g9OlV/N/6YTf98Ueb/wBMJv8AvilzSHyomD6aC2I4sNyR5fWieTT5gPOSOTB43R5xUPm/9MJv++KPN/6YTf8AfFHNIOVFjztP242pg9vLpkbaXGwaOGJGHQiPBqLzf+mE3/fFHm/9MJv++KOaQcqLEU1hE5eNY0Y9SqYJpNQu7eS0dEclj0GDUHm/9MJv++KRpMj/AFE3/fFDk2rAooD/AMflp/vH+VbK9BWKm6S+t9sUgCsSSwx2rZXoK0hsKZS0n713/wBd2rDuP+SoWv8A2DZP/QhW5pP3rv8A67tWHcf8lQtP+wdJ/wChCumh9r0Zmzq16UppF6UtYDA1nT/8hu3/AOuT/wBK0TWdP/yG7f8A65P/AEoAL7/kJWP1b+VFn/yGb3/dT+VF9/yErH6t/Kiz/wCQze/7qfyoAvjoai3Q8jdGPxFSH7prDs4Y3iLOoY725P1NTJ2KjG5sbov70f5il3Q+sf5isv7PD/zzWj7PB/zzWpUiuXzJdOaP7bfbmj/1gxyPSr2+HP3o/wAxXPafbwm9vSY14kGPyp15H/psFvCETejMxIz0xRzIOU6AtD/ej/MUmYf70f5isH7DN/z2j/74pfsM3/PSL/vinzIVjdzD/ej/ADFGYf70f5isL7DN/wA9Iv8Avij7DN/z0i/74pcyCxu5h/vR/mKXMPrH+YrB+wzf89Iv++KPsM3/AD0i/wC+KOYLG7mL+9H+YozD6x/mKwvsM3/PSL/vij7DN/z0i/74o5hWN3MP96P8xRmH+9H+YrC+wzf89Iv++KPsM3/PSL/vijmHY1dTaL+zrj5o/wDVt3HpTrIw/ZIfmjzsXqR6Vg39nMtlOfMi4Q/wU61sZzbREzRnKA/6v2o5kHKdFuh/vR/mKMw/3o/zFYX2Gb/nrH/3xR9hm/56Rf8AfFHMgsbuYf70f5ijMP8Aej/MVhfYZv8AnpF/3xR9hm/56Rf98UcwWN3MX96P8xRmL1j/ADFYX2Gb/npF/wB8Un2Gf/npF/3xT5hcp0Hmp/z0Qf8AAqPNT++n/fVcxJb3CXkVv5kREgJ+50xU/wBhm/56Rf8AfFHMHJ5m/wCYn99P++hSmSP/AJ6J/wB9Cuf+wzf89Iv+/dH2Gb/npF/3xRzhy+Zoa80cmluvmqMsvIbnrTls4zj/AE6X/v5WHq1lMLNmMseNw42e9WDaSKAXngUHGCygde1HOHL5mr9jj/5/pv8Av7R9jj/5/pv+/tZX2Vt+w3FuGzgDaMk0k1v5Khprq2iBOAXAA/Wnz+QrGt9jj/5/pv8Av7R9jj/5/pv+/tZgsZv+ekWPXZxSiwm/56Q/98UufyCxpfY4/wDn+m/7+0fY4/8An+m/7+1mfYZsZ3x9f+edKLCfH34v+/dPn8h2NL7HH/z/AE3/AH9o+xx/8/03/f2sz7DN/wA9Iv8Av3SmxmH/AC0iH/AKOfyCxpfZI/8An+m/7+0fZI/+f6b/AL+1lizkLFRNAWHVQvNOGnzZ/wBZF/37o5/IOXzNL7HH/wA/03/f2j7HH/z/AE3/AH9rMeykRC7TQhQMklOKZBb+cC0N1bSAHkoAcflS5/IOVmt9jj/5/pv+/tH2OP8A5/pv+/tZaWcjEgTQkjggJyD6U77DN/z0i/790c/kHKaX2OP/AJ/pv+/tH2OP/n+m/wC/tZv2Gb/npF/37pPsM3/PSL/v3Rz+QcrNP7HH/wA/03/f2j7HH/z/AE3/AH9rNFjNj/WR+mPL70i2cjOyCaDcvUbeRR7QXKaMlhDIpSS8kZM9DJ1q6rRgAb1wBj7wrnkt/MkaNLq2Z1+8FAJH4VJ9hm/56Rf98UnLyHym/wCYn/PRP++hSGWPH+sT/vqsD7DNnHmxZ9NlL9in/wCesX/fFPmDl8zQ0qSP7Zf5Zf8AXDv7VeLxn+NP++qw7PT0haVpNsjSNuJxjHFWPs8H/PNaTkNQNQSIB99P++qXzI/76f8AfQrK+zQ/881o+zQ/881pqY+Q1fMj/wCei/8AfQo8yP8A56L/AN9Csr7ND/zzWj7ND/zzWjnDkNXzI/8Anov/AH0KPMj/AOei/wDfQrK+zQ/881o+zQ/881o5w5DV8yP/AJ6L/wB9CjzI/wC+v/fQrK+zQ/8APNaPs0P/ADzWjnDkNXzI/wC+n/fQqpq8kZ02f51+7/eFVfs0P/PNararbQjTpvkH3aXMHKbUEieUnzr90d6k81P76f8AfVZEVvCYY/3Y6CnfZ4f+ea03MOUm1eRC1r86/wCvH8VXhJHz86/99Cud1WCHNriMD98KvfZ4f+ea0lIOU1fMj/56L/30KPMj/wCei/8AfQrK+zQ/881o+zQ/881p84chq+ZH/wA9F/76FHmR/wDPRf8AvoVlfZof+ea0fZof+ea0c4chq+ZH/wA9F/76FHmR/wDPRf8AvoVlfZof+ea0fZof+ea0c4chq+ZH/fX/AL6FBkj/AL6f99VlfZof+ea0fZ4cj92tJzDlsavmIWwHXPsaeO1YsEaJqMG1QuQc4raHQVcXdESVmUdJ+9d/9d2rCuf+SoWn/YOk/wDQhW7pP3rv/ru1YV1/yVCz/wCwdL/6EK6KH2vRks6xelLSL0oU5rAYprOn/wCQ3b/9cn/pWiazp/8AkN2//XJ/6UAF9/yErH6t/Kiz/wCQze/7qfyovv8AkJWP1b+VFn/yGb3/AHU/lQBeP3ax7D/j3P8Avt/Otg/drGsP9Qf99v5ms6jLh1Jx0paQdKM4qE7lJaFLTh/pd9/10H8qSY/8Tm1/65P/AEpbDi7vfeQfypJ/+Q1a4HHkv/SmIvUUuDRQNCUUtFA9BKKWigNBKKWigNBKKWigNCvqP/IPuP8Armf5U+0/49IP+uY/lTNS/wCQfcf9cz/KnWn/AB6w/wC4v8qBEtFLSc+mKQ9Aooo70w0Cg9aBk0YP+RSBop3HGrW3+61XBVK5/wCQvbf7rVdHSmIKKWkPSgehT1n/AJB7f76/zrkviYupNqXhprMZhF227Odgk2N5ZbHbNdbrOf7Pbj+Nf51a2hguVBAxwRQSzwuz0Txtputs2qLvnutZt5Y5o5WbcMfP9FxXWeO9HvpvGj6hfaJca5pcll5Ntbwy7fImzySPf1r0oqCQSoJHTjpSgYHGadwseU3UPj23ubaCxhuLdUjgFrHHKHhQZHmCQnk4GRVSWx+JblnGo3ymSO5bYpXarBv3QHHQivYMf/qxQFwT1568daAseKaDqHxGvdVukVr03cF3GjK4UWyp5fzA9/vdKmtovirNHtmupot1wiz4Ayo3/MyH0xXsgRQ24KASckhev1pcHvz+FArHj19H8TbcxrFLeTrBcyBeVzKmRtLEe2abrMXxJ1TWLq2jS7t7CeOaN1Ei4A2fJtP+9XseOntQOP8AGldDaPGdJ03x1p9qhihvlj8m2juG3KbgquQ+wnjOanNv8TrgSSNc3cSx2Uj24BXLyiQbA/vtzmvX++7qfej09ugo5kFji9UutS8QeANbsEsZ4tSS1NvhuPMk2clT6ZNchbeBfFejWNhfaXqj2t3MIILmG1TAROru2Sctz1r2IDrxyfalx7UrjseT3On+NNP1C6jt21B9Na9kZpbdl89xt+Q5PGM9aEX4nP4jXdK8VsAuzgFWTbzu7bs16xt/zigDBzzmqEea+BtU8WaW86+JrS9u0lnSOGXjO45ydvYDil+JEnjv/hIox4ainW2QRkFWGx8t82fwr0krnqM/hS4Pv0xSQHjyw/FKCyhmhurmW5niuBOjldsZDfu9vvitzwDp2uL/AMJNLdfbopLuNVtZLtgWLbCM8dOa9Fwf8ijH8vSncLHj3hvR9csbe2js/DM0Gv21vKJ9RnuDskkOcED+LPv0pLhfiU2nzfZ3vo0/dk+btMpkwd4XHRDxXsJB9MH6UvOMdqAseMPpnj46s+rZ1CG4n0lIiFlDrHKG+bI9cV6B8N315vD5HiKKRLsTMFMjZZk7H2rpsH1NLj60gEopaKCkxKKOaWgdxKKKKQXCiijmmFwopaKAuFVtW/5B03+7/WrNVdWz/Z03H8P9aCSeH/Ux/Qfyp1NiB8mP/dFPwaAKGq9bX/rsKvVR1bg2v/XYVeHSgEFFLRQVcSilooC4lFLRzSYXEoNHNBpkyGR/8hK2/wB1q1h0FZEf/IStv91q1x0FaR2IluUdJ+9d/wDXdqw7zj4n2Pvp0v8A6EK3NJ+9d/8AXdqw73/kp9h/2Dpf/Qlroofa9GQzq0+7UYODUifdFRViMmNZ0/8AyG7f/rk/9K0TWdP/AMhu3/65P/SgAv8A/kJWP+838qLP/kMXv+6n8qNTiuWuLWa3jWQxkkgtjtVK1nv/AO1bsrZruITI8wY6U0Jm52/CsXT/APUH/fb+Zq59o1Db/wAeK/8Af0Vk2M14sOBZqfnb/lr7msqiNIGh2os7eOeSZpC3DYGDVUT3uP8AjyX/AL+U/TZ77M22yU/P/wA9KzS1Q76C6dZQNeX3L8SD+I+lVryOzi8SWVqzuJHhfAyeelbNhCVEkzx+XJKdzjOaJbGCS+hvHTMsYKqfY1vyRIuxo0+HHV/++qZNZ2sUZeSQoo6lnwBWgKwfHVpc33hi6trRGeZ8bQuM9fejkiHMy5b29lcKWhm8wDqUkzipPsEPrJ/30a4m10vWZNkNr9tsYljkLkBYy0mPk6ds1Ffw+IrO9sbZ59Rnt5pQX8txvJ8vkZ7DdRyRHzM7gWduXZFkYso5XfzTvsEPXdJ/31XCxWHihLgXEy3BjkCLN5cgErKM4APrnGanx4o86309rqXzLmFmc55hCk459TwKOSIczO0NhD6yf99Gj7BD/ek/76rjl0rxLFGZlvr2SZYomRWkBUybjuz7YxUMVn4wkE6zXFyrOwDlWAGN38B7cUckQ5mdqbKAHBZwfTdUn9nwer/99GuU0vSdVh8V2t3dS3k1vHFLEGMuQAWyu4d67dfu0uSIczMXW7e3ttJupn80hYz0NO0q2t7nT7edfMAeNSOfatSaFZoWhkXKMMEe1EMSwxpHGAEUYA9qfKg5mVvsEH/TT/vqqVrn94Mk7XIGfStpvu1jW3DTf9dDWc9GOOpLUU43SwR5IDSc4NS1FJ/x9W/+/UsouDT4f9v/AL6pf7Ph9X/76NW+KQ+1aqKsRzM52+W0i8RWdm3m73ViME4rX+wQ/wDTT/vo1kJrVjdaos0djcSxxOYRdKvyA5wR69a0P7d0kCQnUIcR/e56dqOSIczLH9nwer/99Gg6fDjq/wD30aqjxBo7btuowfKpY/N0A4NO/tzShb/aGv4fKztznvRyIOZkOtWMK2BwX++v8R9auDT4eP8AWf8AfRqpc6po90fsjahDuJBwG/GpF13Sfs3ni/iMKnaXz3o5IhzMs/2fB6v/AN9Gj+z4PV/++jWfD4o0ea8a1huRJIjqrHoBuGQc/SrA17STE0ov4QikKST3o5EHMyx/Z8Hq/wD30aP7Pg9X/wC+jVPVPEFlY6N/am43FvuVVMZ+8WbaOvvUFh4o024Sbz5GtHhcJIsvUEjI5FHIg5maf9nwer/99Gj+z4PV/wDvo1Rg8S6PNJcpHfRn7OV8wnoNwyMetalpcRXUKzQyLIjDIZTkGjkQczIf7Ph/2/8Avs1UvIEgng8tm+YkEE5rX7Vnap/r7f8A3jWc4pIE2MoPSlbGe9JUWLE0+0jmtkkkZyxz0b3qx/Z8Hq//AH1S6T/x5J+P86t5FaQgrXJcmVP7Ph9X/wC+jR/Z8Hq//fRq4MUuKvkQuZlFrCAd3/76NN+w2+/bvcn03VYvhIYWEJxJtO3PTOOK4LSVnhs43i0/UH1oFzKzMQhbnk9ivtRyRDmZ24sYPWT/AL6o+wQesn/fVcXBeeKbiaKCGW5WJ2QyTPCFKHB3KB6VBqGo+KdPsreWa6mbzwociAEod+OB6kU+VBzM7v7DB6yf99UhsbcDO58f79cS+peJl3gtdi3Xf5EogBeVhjAYdh1qKbUfFb3E0M0MrrIn3UjwsZ479+9HJEOZndfYYP7z4/3qcLCD+8//AH0a89hfxbY2rQR3FzJm6lZpJI9xA/gUe1eiaW0z2UD3OPOKDfgY5o5IhzMT+z4PV/8Avo0f2fB6v/30au4oxS5EHMyl/Z8Pq/8A30aZPYQrC7KzghSfvVfNRXJxBJ/umjlSC7My2/1CdScc5qSmWx/0dOO1P59KytoXYjEYmvURi23aTwcVbGnwf3n/AO+jUFv/AMhBP9w1obgD94D6mnBRZLbTK/8AZ8Hq/wD30aP7Pg9X/wC+jVtSCM1leINYTSI4HeJ5jPMIkRSBkn61pyIXMyz/AGfD/ef/AL6NQX2mRy2ckaF9zDjLGqmm+K9Ju4zvnFtKrFWjkPIx1qw3iLSPsxm+3RlASOOufpRyIOZliPTogigl+AP4qd/Z8Pq//fRqppfiDTL+yN3DcqEGNwY4K5PGfrUV54q0W1h81rwOvmrH8oJ5JwKfLEOZk99pUcxg2FvlkDH5j0qwLCH/AKaf99GqcHiLSpI0Z7qKNnJCqT74/CrFlrGnXk5t7W8jllXOVU+nX8qXIg5mS/2fD6uP+BGl/s+H1f8A76NZo8RRyXLpb2dzNAknlPOoG0NU7eINJHmf6fCPL+9k4H/16ORBzMt/2fB6v/30aP7Pg9X/AO+jWafFmhrei1a9UMYfO3YO3bnHWtWyvLe8iWa1kEsbdGHSjkQczGf2fB6v/wB9Gg6fB6v/AN9GrnakPSjlQczMqSNYb7y0LbdmcE5p5ou/+Ql/2z/rQelZD6EUf/IStv8AdatcdBWRH/yE7b/datcdBWsHoE9yjpP3rv8A67tWFe/8lQ0/306X/wBCFbuk/eu/+u7Vh3v/ACVDTv8AsGzf+hLXRR+16MzZ1afdFRVKvSoqxGTGs6f/AJDdv/1yf+laJrOn/wCQ3b/9cn/pQBf/AIao2n/IZvf91P5Ve/hqjaf8hm9/3U/lQDLp+7WPYf8AHv8A8Db+dbB+7WPp/wDx7n/fb+dRMuBMOlSaR1n/AN+o161JpH3rj/frP7SBl+nCm06t7kBVLWLhrTTLm6jj8xoo2cL6kDNXaa4BXHH40XA4GTxLqOn2un6hPeQagl3GzPbxqAY8Lu6j06c1N/wmj+bb250+Jri4EZiInBQB84yexrpX0TSzHPGtnEgnUq5C4OD1qv8A8I1o5gt4fscYSBwy8dSOmaNAMQeNlZJfLsc/ZgTPukHZsfJ/eqP/AIS6/kvraWDS40sneZWeR8OwRSeB2rrP7J00hFNjARH9z5BxUhsLJgoa1iO0kj5ehPU0XA5qfxcrTQW9laCeeZI2VfMwF354J/CqE3i7U21K3gtrOPbIypKkj4Ckg9D65Fdjb6Vptu/mQ2cKNnOQvNEmn2THJtYs53Z28gjoaNAM7QdeXVriSOKAoYl/f5P+rfONn1reX7lUdJ02105Jlt0+aaQyyE/xMe9aA6UXAKZOrNEyo+xuzAZxT6KLgZ5tbzaf9Pc/8AFZUFvcl5v9OfiQ/wAIrozWPbfem/66Gsqm6Lh1IPs9z/z/AD/98imPb3Pnwf6a5+cfwCr9Ryf8fEH+/UMtDf7P1NtRE/8AbEnlAD91sGDWuF45JPY04Uo6VuYnLw+HJrdZLWHVJorB5mmMQUBgWOSA3YZNVU8ExEwedes6W4CwgIBwGzz612XHtRge1O4HHa94Oju7MfY3EcyNKy/KACZCCc/TFRy+CUuJBdXF8zXXAOEATG3bjbXbcUcZ7UXA5S18H2dvAY1lJPmiXcVHZduPpVD/AIQQCB4l1WZEJzsCjbjaR0/Gu549qOPai4HEjwLb+UsTXshQbCdqgElV21at/CES3UNzcXRleLYFHlgDC9Mjufeut4o49qLgc7eeGre58PjRpHPk+eJTx1w+/GKztQ8D2s0tw1rdvaxTnc0Sr8oO3Ga7Pik49qLgcSPAkH2UQ/bXyhjZCFA5RdvPrxXT+H9Pj0vTIrKNtyxg84xnJzWhxRxRcCC6jkkQCKYxH1AzWTqVvciaDN8/JP8AAK0Zrlk1GG2CgrIjMT6Yx/jUOpf662/3j/KsqmsSkUvs9z/z/P8A98CkNtc4/wCP5/8AvgVbP3qD0qehZFpltdNZJtvnHX+EetLp1hqFvO8lxqslwpbIQoAAKt6T/wAeSfU/zq4a0g/dRm9zB1vVbyHWbXSbBYRPNG0pkmztCr2A7nmqj+KltVeG6h86eBd9w1uwKoucZ5/lW1qulWWpeWbqEM0Zyjg4I/GqsnhzR3SNDZJhBtGD1Gc8+tXoIyG8aQSMTFpt7JH+8KuMYIT7x68ClXxpp+0zNBPHZqwRpyBgMRkcda3V0jT40MaWyBGDKQOmG61Qs/CekW08shtxLvk3hW5VcDAGPpQBQi8a2U2z7PZ3MkjuqxKMfOG6HNOXxbp09xDBLZyqHw2ZcAKefXr0rYtdB0m1ZTFaKpUhl68EU2bw7o80qySWSMVPGelGgGBJ42ja5itbXT5ZpGnRG+cYCtnDfp0qxB4ytTCzyW8rLFj7RIoG2PJwOO9acPhjRIWzHYqGyCDk9ulSf8I5o5ZW+xplRj2OOmfWi6AraF4hh1W6EMdpPAJEZ43fGHVTg/rXP23jO+/tPZNFH5P25rbasbDCj+LeeCa7S10+0tSjQQKnlqUTHYHk1DJo2myW/wBne1QxmQy4/wBonOaNAOeuPHKttW0sJZGFxHFJlwAEfOGB79K09A8VWWsXjQW8U6gIXR2HDqDgn25qaDwxosW7ZZrhiCeT1HSrenaPp1hO81rbrG7DnHTHtRoBoA5Aqhe2MbLJI0s3KngOQKvNwKp21wbixmZl2lWdMfQ4qW9BmVBYR+Qn7ybp/wA9DUWNKUkHVEHqDc//AF6vD/kHt/1zb+RrkfAGg6Pd+E7S4udOgmlfcWdlyScmnRpw5HKbG3qb0J0r7cp/tSP7h/5eh/jRexeH5buAza2iyDhEF4BuP50yHwzoJ1BV/sm1A2H+CrE/gvwvNcQXEmi2jSwNuibZypq6borZscrm/aqscCrGxZQOCTnNUNd0e21cWouhlbecTbccMR2P51pRqqxqqgAAcAU5fu1F0Qc5feE9Nurl5lXyA1sbcIigBRnOapnwapuRfDUZBeDgSeWu3bt2429OldgcYPTNZuv3zadpj3Cxl2UgAAeppgc9D4IihhaBNRmEUoTzxtH7zbnH061aTwmPsYtjfuY4yvk/u1+QKc/jXSW0glhjkxjcoOCKl49qAOPj8EwRwvFFfyiOb/X5UEv827g9q0dI8O2um/ZTDIx+z+ZjIGW3nPJrT1WZ4I4jHj5pAp+hq2nTmi4HNr4bkieaKDUpobKaYyvAoGQSckBuuKqy+C4ZEEb3jukassKlFO0E5OfX8a6/A9qOPai4HHReCoY48fbpHLRGNt6AgjORW34a0caNYG1Fw84Ll9zds9h7Vr8e1FFwDtTT0p1NPSlcDNu/+Ql/2z/rQelF3/yEv+2f9aD0rHqzToiKP/kJ2/8AutWuOgrIj/5Cdt/utWuOgrSC0FPco6T967/67tWHe/8AJUdN/wCwbN/6Etbmk/eu/wDru1YV/wD8lQ0z/sHTf+hLXRR+16MzZ1i9KiqVelRVkMmNZ0//ACG7f/rk/wDStE1nT/8AIbt/+uT/ANKAL/8ADVG0/wCQze/7qfyq9/DVG0/5DN7/ALqfypoC6fu/nWPp/wDx7n/fb+dbB+7+dY9h/wAe5/32/nWczSBMKjMSZLAupPJwxFSDpRWbY0M8lf78n/fZo8tf78n/AH2afR+VK7FYZ5a/35P++zR5a/35P++zT/yo/Ki7HyjPLX+/J/32aPLX+/J/32af+VH5UXYcozy1/vyf99mjy1/vyf8AfZp/5UflRdhyjPLX+/J/32aPLX+/J/32af8AlR+VF2HKM8tf78n/AH2aPLX+/J/32af+VH5UXYcozy1/vyf99mjy1/vyf99mn/lRSuw5SMwrj78n/fZpYo1j4XPPJz60+gU73BbhTJY1kxuzwcjFPoNNjsRiID+OTP8Avml8tf78n/fZp9H5UrsXKM8tf78n/fZo8tf78n/fZp/5UflRdhyjPLX+/J/32aPLX+/J/wB9mn/lR+VF2HKM8tf78n/fZo8tf78n/fZp/wCVH5UXYcozy1/vyf8AfZo8tf78n/fZp/5UflRdhyjPLX+/J/32aPLX+/J/32af+VH5UXYcozy1/vyf99mjy1/vyf8AfZp/5UflRdhymdcxr/bFr+8k/wBXJ/EfarqQLkNlmIPG5iajurWOeRJC7oyAgFTjg/8A6qjFl/09XH/fdGncC9tppBqr9i/6erj/AL7oNlx/x9XH/fdMCZbdVyFLqB2DEUvlerSf99mq/wBh/wCni4P/AAOomjkt76BVnldXzlWbNLTowa1Lvlr/AH5P++zR5a/35P8Avs06l/Ki7DlGeWv9+T/vo0eWv9+T/vs0/wDKj8qLsOUZ5a/35P8Avs0eWv8Afk/77NP/ACo/Ki7DlGeWv9+T/vs0eWv9+T/vs0/8qPyouw5Rnlr/AH5P++zR5a/35P8Avo0/8qPyouw5Rnlr/fk/77NHlr/fk/77NP8Ayo/Ki7DlIzGv9+T/AL7NUtIhVrSQb5Mec/8AGfWtBunQVTWwVS22aZAzFsBuMmi7BRZakXZbSqv3RG2PyrA+GeP+EJ07/dP8zWpcWP7iX/Srj/Vtxv8Aauf+G1ju8E6cftE4+Q/x+5rpj/BfqiWveOskiV3WTkMOhBpoh/25P++zUAsf+nq4/wC+6UWI/wCfq4/77rn0S0KJ/KH9+T/vs0eWv9+T/vs1W0st5cqszPtkKgk81cqdQ5RhjGPvy/8AfRqnqsY/s+T95J2/iPrV+qmrf8eEn4fzFULlJY4gUX95J0/vGn+Uo/5aSf8AfZp0f+rX6ClpXY+UztXjHlw4eT/XL/EauiIDq8v/AH2ar6rjZD/12WrrUXYcpH5a/wB+T/vs0eWv9+T/AL7NPo/Ki7DlGeWv9+T/AL7NHlr/AH5P++zT/wAqPyouw5Rnlr/fk/77NHlDu0n/AH2afRSuxWsRpGqSeYMlvc5p560tBqkNkcf/ACErb/datcdBWRH/AMhK2/3WrXHQVrHYme5R0n713/13asLUP+So6X/2Dpv/AEJa3dJ+9d/9d2rB1H/kqWlf9g2f/wBCWt6X2vRmbOtXpUVSp92oqyGTGs6f/kN2/wD1yf8ApWiazp/+Q3b/APXJ/wClAF/+GqFof+Jze/7qfyq/2rJX7V/bF59nEZGE+99KANU/drGsCPs//A2/nVwnUsfdg/M1lWJv/I4WDG9vX1qJ7mkNmaA6VHbxSXDy/vigVsDAqINqH92D9aLFtS8u58tbctuOOT1rO12HQufYnx/x8N+VL9gk/wCfhvyqPRm1hh/xMlt1PYRnmtSr9mieZmf/AGfL/wA/DflR/Z8v/Pw35Vok4GarveWyzPC0qh0Te49F9aPZoOZlb+z5f+fhvyo/s+X/AJ+G/KrcVzBKivHIGVgCpHcetP8ANT1o9mg5mUf7Pl/5+G/Kj+z5f+fhvyq2t1AzsgkG5cbh6U/zU9aPZoOZlH+z5f8An4b8qP7Pl/5+G/KnXms6ZZziC6vIoZCu4KxwcetWTdW48v8AeqfM+5g53fSj2aDmZU/s+X/n4b8qP7Pl/wCfhvyq6ZowM54pwYEd6PZoOZlD+z5f+fhvyo/s+X/n4b8q0aD0o9mg5mZ32CUc/aG/Kq1uzHcrNuKsVzitgsMVjW5+ab/roamUeWxUXcmqOctviRWxvfBPtUmaik/4+IP9+kyr3LAsJT/y8N+VL/Z8v/Pw35VfDDFKGBGav2aM+Zmf/Z8v/Pw35Uf2fL/z8N+VXnljjUs7BVAySeABVSz1fTbx2S1u45WXkhT2o9mg5mM/s+X/AJ+G/Kj+z5f+fhvyq950eM7hR5sfPzA4o9mg5mUf7Pl/5+G/Kj+z5f8An4b8qv8AmLjOaTzExncKPZoOZlH+z5f+fhvyo/s+X/n4b8qvCVao22t6VcXJtob6F5cldoPOR1o9mg5mH9ny/wDPw35Uf2fL/wA/DflVtbqBpGjEg3LjcPTNP8xMdaPZoOZlH+z5f+fhvyo/s+X/AJ+G/Kr4kU9DTgcij2aDmZnfYJP+fhvyqC4jeCWJTMWVjgjFaxPNZ+qf6+3/AN4/yqZxUUNMZQelFKelJ7FDLO3lmgEvnspOegqG8tGGoWg+0H+LnFX9KP8AoKevP86oaob7+3dO8hVNv8xkbHSqhBcpLk7lsWEh6XDflS/2fL/z8N+VX0606n7NC5mZ39ny/wDPw35Uf2fJ/wA/DflWjSd6PZoOZmd9hk/5+G/Kk+xP/wA/LflSeJLmWz0S9u4T+8iiZk4zg4riLXxdqliy/wBowzTJJbI6CRApZmOOMdhR7NBzM7j7C/8Az8N+VL9hk/5+G/KuUl8deXHEzWIV84lUycqN23I9RXSeFb6fUdJW5nIZzI68egNHs0HMyx/Z8v8Az8N+VH9ny/8APw35Vo0UezQczM7+z5f+fhvyo/s+X/n4b8q0aKPZoOZmd/Z8n/Pw35U2WykjjZvPY4BOMVpmorr/AFD/AO6aHBBzMyclrJ2bGfKbp9DWH8M/+RF0z/rmf5mtz/mHP/1yb+VYXwz/AORE0o+sX9TVx/gv1Q2/eN/a0t0kIYoNucgVYFi4P/Hw35VHb/8AIST/AHDWiQxBxj8ayhFPoEnZmLpNm7rcYuG/1zdqu/2fL/z8N+VVfDX2zy7r7WgU/aG2YHUVo3uoWVkoa6uEhBO0bu59q05ULmZB/Z8n/Pw35VV1ezdbCRjcN27e4rUt7y2uIllhmSSNujA8Gm3AjniaJ2GD70ciDmZWjsZGjX/SG6elL/Z8v/Pw35VbWRVx8wwOMU7zo8Z3fX2o5UHMznPEoFjFbGaeQ+ZOqjC961VspHGftDflS38mn3Dx29w8ZYSAqrHnd1GKuLIigndx3o5UHMyn/Z8v/Pw35Uf2fL/z8N+VLaa1pV1cG3t76F5QSNobk464q0l1AzsiyAspw3saTgg5mVP7Pl/5+G/Kj+z5f+fhvyq/5i+tHmJnG7NL2aDmZQ/s+X/n4b8qT7BIOftDflWl2prfdo9mg5mZJR4bvyWkLjZuyRTzS3f/ACEv+2f9aD0qCuiIo/8AkJ23+61a46CsiP8A5Cdv/utWuOgrSD0FPco6T967/wCu7Vhaj/yVHSv+wbP/AOhLW7pP3rv/AK7tWDqP/JT9K/7B0/8A6EtdFL7XozNnWr0qKpV6VFWQyas++t7o30Nzb+WdispDe9aFBGaAKG7U/wDnnb/mapWjah/al3+7g3AJn5jjpW2RgVn2n/IYvf8AdT+VAC7tSx9y3x35NZVk1/5BxHbkb2/iPqa6I/drGsB/o+P9tv5monuXAYH1An/V2/8A30aLBtS8u58tLfcGPc9asr1qTS+s/H/LSs+qBkejvrDD/iZRWyf9cySa1c0g2g0u4VtcgGPFchrnhq51LXr+8F1LBHLZCCPypNpZhnr+ddeSKbgUwPP08M63GkUKzLvRY1S4ExHlKq4K7e+affaL4iurJYZDsEMSoNk/MhDElj+YrvCo7UECgEcFa+GNYmubRtQnUwL/AK1I5WG4bSP51nzafrdvqtrayfabiQXERWdXbEcY6r6HIr0qQDjFc74e8SHVPFetaGbOWMaYUHnMPlk3DPFNQk02ugNkWseGZNW8QzXc9w8Vo9ssDLHjL4JJByOnPas+48K6ojf6JdGMJK3lkyn5YtuAK7tQuKCBSA4G58OaxLYxRwgwIj/vIluSTJ8uM5PTmuy0W3mtdKt7e4laSSNAGdjkk/Wre0Zp3FAai5obkGjcKCRikBSe3vixK3gAJ4HljisiGC8LzH7Yv+sP/LOujJ44rHt/vzf9dDUVOhpDqQ+Re/8AP4v/AH7FRyQXnnwZvB9//nmKv1HKcT2/+/Wb2GJqFjrE3l/ZtUWLDfN+6HIrStI5Y4VWeXzXHVsYzUoPFKDxW6ZkZviSwk1HRbqzhl8qSSMqje/ofaucu9M1y7sRDHZ2diyRKhaN/mkweVBHQEV2pwTSYFMNTgYfC+qSTu9xIYrba/k24uGPlscY574pk/hvxEby5lguAPNiK73mJwcDGPTkV6CAO9HH50AcNc6DrOp3qy3z+VCEZRHHOeuzAPHvzVW98K60irHaXkhgAj3xGY5kYLg8npzzXoRC1yPxA1vVNFvNBi0uzW4W+1FbefJxtQqxJ/Srpwc5KKE3Ym8JaLfWN3PcajcyTtsVYt0mdoxyPSsy28FzJpcnmXUjXqtK1uqnCxlyecjk8V3MYUrj9KeAM5rNXtqM4Kbwzqkd6zqxubUrHmBp2BdgmCS3XrzQPDmv/wBpGZrp1Q/cKz/cXbjZz1+td4VB7UuBTA5rwNpmp6ZDcx6gcqxHl5fc3vk1069Kz5NSt49Xj04/62SMuDV9G+UUAR3Mczr+5mEZz1K5rI1GC+EsGbxSdx/5Zj0rbJFZ+qf6+3/3j/Ks6j90qJRMN8P+Xxf+/YoMN9j/AI/F/wC/dWzQelR0LItLgvjZpi8UDn/lmPWl02y1aC4Z7zU1nj3fKgiAxVvSD/oUf1P86tZrSD90h7mbqmsxWFzBarby3NzMCyxRDnaOp+lCeINPWGN7qT7K7nHly8MOe9Qa5pXn3kGqQXptLm3VkDhcqVbqCPyrOn8Jrchnk1GWR5o/LnZlB3DOePSrJNaTxLoqStE1/CHUkEZ7jrTxr+ktcCBL6BpPQN+NZdv4RsIovL3FhtlUMQMjePWsyz8EM0c1teXhNoZg6qijcdqgA7qNAOhuNd0V7eRpL2Bo92xwTkHPbHeomvvD9xLDC0tpI7JiMYB+X0/Ss/T/AAXaWssUhuGfynUqCo6DOAfzpsvgu3N2k0V9LDt6bFGc89/xo0AkutT8IxtDHILN2MghRQmdpJ4H0rSstZ0iNYoUmhg3klI8+9Ylr4IihuftH9oO7hkIzGP4ScfzNSnwTbbXjS+kWKYKJRtGTgkjB7daNAOisNZ06+maGzuUmkUEkKewODWRD4ysZLzyDbTohuTbLKcYLg88dcVY0PQbXTJYGhc5hiaPoBuyc5NUpPBmn+UTHIyXBuWuPPAG7Jzx+tGgF+68V6Lbqha8Rt86wALydxzj+VXrPVrG7uHt7e4jklj+8qnkVzFr4HjhLFr+R2Z43yUHBTOP51o+G/C9vot4Z4ZzJ8hRAV5AJzyaNAOkzmo7r/UP/ummW9xHNv2fwNtP1p1wf3D/AO6aT2AyTxprn/pk38jWH8NePAmkj/pj/U1tv/yC5P8Ark38jWL8Nh/xQulf9cf6mnH+C/VFtanRW3/IRT/cNaYrLt/+Qin+4a0wRWdPYU1qKOO1c74i0++k1iy1K1iiult1ZWt5DgHP8Q963bi5SBVZ84Zgo+tSYBFaEnDX2h63dOJTFbxhkYJFDIUEDk8Nx940kPhO9dhJdXEkk2Zd7CZgGyBt4+tdzgZpSF9KA1PNdN0LxBJcXClniuEmXZdtM3ACjOF6Gp5fDOvSW8irIYgUUSKlwf3rA8tz0+lehFVoKrQGp53/AMIrrEz2lxemF5baRHUCVuMKRnr7g/hWt4Q0TVNPuZpL24kffHtIMm4O397HauuCqBilAAPfFAanB2/gqaPSn33cj3yiTyBkBYyx6jAz0ok8M6pDdfKxubTjdAZypJ2gZz14OfzrvOM0YGaA1OAn8N69JfPIbuTYVwhSfGwbcbfz71t+B9O1HTbaeHUCMFwYwZN7Yxzk10e0dqUBRQGo7PFIelLuGKaWGKA6Gdd/8hL/ALZ/1oPSkujnU8f9M6U1h3NOiIo/+Qnb/wC61a46CsiP/kJ2/wDutWuOgrSnsKe5R0n713/13asLUf8Akp+k/wDYPn/9CWt3SfvXf/XdqwtS4+Juk/8AXhP/ADWuij9r0ZmzrE6VFUqfdqKshk1FFFACN0qhaf8AIZvf91P5VfasuK4ih1i88yRUJCY3HrxQBpH7tY1gf3Gf9pv5mtL7baYx9oj/AO+qzUjt0BCakirknHHc1E1cuDS3JwCKYkciMzRzsu45IpMRf9BRf0o2xf8AQUX8hWfKym4j/wDSf+fhv0pc3P8Az8N+QqPEP/QTX8hRiH/oJr+Qp8rJ0JM3P/Pw35CjNz/z8N+QqPEP/QTX8hRiH/oJr+Qo5WF0SZuf+fhvyFJ/pP8Az8t+QpmIf+gmv5CjEP8A0E1/IUcrC6HH7Tx/pDflXL+HPP8A+E08Sf6Q+d8XYf3a6UrD/wBBNf0rmfDnlf8ACZeIv+JiB80XPH92umimqc/QTaOqH2kcfaG/IUubn/n4b8hUQEX/AEE1/SlxD/0E1/IVzcrKuiTNz/z8N+Qozc/8/DfkKjxD/wBBNfyFGIf+gmv5CjlYrokzc/8APw35CjNz/wA/DfkKjxD/ANBNfyFGIf8AoJr+Qo5WF0PP2n/n5b8hTYo/LB+YsWOSTSYh/wCgon5Ck2w/9BNPyFHKxqyJaZLGZCpDlSpyCKbth/6CafkKAsP/AEFE/IUuVhdEg+04/wCPlvyFLm5/5+G/IVHiH/oKJ+QoxD/0E1/IU+Vi0JM3P/Pw35CjNz/z8N+QqPEP/QTX8hRiH/oJr+Qo5WF0SZuf+fhvyFGbn/n4b8hUeIf+gmv5CjEP/QTX8hRysLoeftOP+PhvyFcp4+Nx9u8Nk3Dn/ibL2/2HrqCIcf8AITX8hXKePBF9t8N/8TJW/wCJsvp/zzet8NF+0QpWsdaDc54uW/IUubr/AJ+W/IVGBDn/AJCa/pS4h/6Ca/kK51FjuiTNz/z8N+QpCbn/AJ+W/IVGRF21NT+VQM0mT/paYzx8y1XKw0Kt5th1qK4mlIcREB9vQ56Vb/tGP/n+cfh/9am7nJybuP8AFlpOf+fqL8xT9mw0H/2gn/P+/wD3z/8AWppvLdnVpLtn2nI+U0nzf8/UX5ikwx/5e4R+Ip+ykGhL/aFp/wA9f/HTR/aFp/z1/wDHTUbLL2vIPzFMPnf8/MH/AH0KPZSK07kkd5DGu2O8ZV/3TTv7QT/n/f8A75p6pAVGdRQHv0pdlv8A9BJPyFTysWhQ1e/RtOmX7cxyBxt96sx6gmwf6c44/uUzVooG0+VUvldjj5QBzzWhHp8jICbk9B/CKXKxaFQ6gn/P+/8A3zR/aCf8/wC//fNXf7Nb/n4b/vkUf2a3/Pw3/fIpcrHaJSOoL/0EH/75/wDrUf2gn/P+/wD3z/8AWq7/AGa3/Pw3/fIo/s1v+fhv++RRZhaJS/tBP+f5/wDvn/61L/aKf8/z/wDfP/1quf2a3/Pw3/fIo/s1v+fhv++RRysLRKX9oJ/z/v8A98//AFqP7QT/AJ/n/wC+f/rVd/s1v+fhv++RR/Zrf8/Df98iizC0Sl/aCf8AP+//AHzR/aMf/P8Av/3zV3+zW/5+G/75FB01h/y8H/vkUcrFoY+m36KJ8XxGZT/DVptQjZSrXzEH/ZNR6fBHG9wst8qN5p4IFWjHb99ST8hT5WGhUur2zXTp1ExIEL/wn+6ax/h3f2q+CdLUyY/cj+E+tbWpx2/9nXONRQ/un7D0rJ+Hiwf8IXphOoIp8kcYFdEY2oP1RL3Ng3lsZBIlwVYDGQppRqC/8/7f981MEt/+gkn5LR5Vv/0Ek/IVz8rLbRR1C7MyQpHdu7eapxtrTzdY/wCPlvyFRCOAdNSQfgtOxD/0E1/IUcrC6JM3P/Pw35CjNz/z8N+QqPEP/QTX8hRiH/oJr+Qo5WK6JM3P/Pw35CjNz/z8N+QqPEP/AEE1/IUYh/6Ca/kKOVhdEmbn/n4b8hRm5/5+G/IVHiH/AKCa/kKMQ/8AQTX8hRysLokzc/8APw35CjNz/wA/DfkKjxD/ANBNfyFGIf8AoJr+Qo5WF0SZuf8An4b8hRm5/wCfhvyFR4h/6Ca/kKMQ/wDQTX8hRysLokzc/wDPw35Ck/0n/n5b8hTMQ/8AQTX8hRiH/oKJ+Qo5WGgqRP5vmPIXbGOakINRYh/6CifkKTEP/QUX8hRyseg6P/kJ2/8AutWsOgrJgW1S5WZtQVyoIAOKvfbrPj/SY/zrSKsiZPUh0n713/13asLVP+SmaT/14T/zWtvRnVxdMpyDM3NYmqf8lM0f3sZx+oreju/RkM6xOlRVKvSoqyGTUUUUABFQvbQO+541Y+pFTUnegCtLb20aOwgQgDONtUopYpEVlsE2kZGcVpXf/HvJ/uGsmy/494f9wVEpNFxSaJfMT/oHx/mKPMT/AJ8E/MUtRxtNKziKIMFOCd1RzsaSsSb0/wCfCP8AMUnmJj/jwT8xS+Xdf88P/Hqay3Q6wgf8Cpc76j5U+ookTP8Ax4J+YpS6f8+CfmKz11axa6Nql9Ym4BwYxcpuz6YznNX8XJ/5YD/vqqn7SCu0TeN9w8xP+fBPzFAkT/nwT8xRtuf+eA/76qITM07W6+UZlGWjEgLAepFJTl0Q2kSmROP9BQfiK5fw26/8Jn4j/wBBThouMj+5W1c6nBb6hBp80kMd3cKzQws/zOF6kCqej6Vf2uv6tqTxIYrxozGA/ICjHNb05OMZJq11oKybVjZEi/8APgn5ilEif9A9PzFIq3JBxAP++qQtMFYmJcKMt844H9KwU5PYb5R+9P8Anwj/ADFJ5if8+CfmKZBJJPEJoVikjI4dHBU1DdX0dteW9pcNFHcXBIhjZ8GTHXFNSk3otQ90s+Yn/Pgn5ijzE/58E/MUvl3X/PuP++qPLu/+fcf99Uc0hWQnmJ/z4R/mKPMT/nwj/MUpjusf6gf99UyGQybty7SrFSM0udhZDvMT/nwj/MUeYn/PhH+YpaZPJ5a5C7iSABRzsLId5if9A9PzFHmJ/wA+CfmKUR3Z/wCXcf8AfVHl3X/PuP8AvqjnYWQnmJ/z4J+Yo8xP+fBPzFL5d1/zwH/fdHl3X/PAf990c7H7onmJ/wA+CfmKPMT/AJ8E/MUvl3X/ADwH/fdHl3X/ADwH/fVHOw90QyJ/z4J+YrlPHzx/bvDX+hIP+Jsvp/zzeurMd1/z7j/vqsXxNpN9qVzpLQxoDZ3q3D7m/h2kf1rbD1PfVyZWsbXmR9rBPzFHmJ/z4J+Yo23ROPIH/fVL5d3/AM+4/wC+qxUmxrlE3of+XCP8xRuj/wCgfH+YpfLvP+fcf99UeXef88B/31RzSH7obo/+gfH+Yo3R/wDQPj/MUeXef88B/wB9UeXef88B/wB9UrsPdDdH/wA+Ef5im70/58I/zFO8u6/54D/vqo5mmiK+bDgMwHBo52HLEfvT/nwj/MUGRf8AnwT8xS4pGwATT5wsg3R5z9gj/MUeYn/PhH+YpkPnSKrpBkHvuqXy7n/ngP8AvqjndhWGl0/58E/MVKLyX/n3/wDHxTPLuf8AngP++qQx3XaAf99Uc0g0Jftkv/Puf++xR9sl/wCfc/8AfYqLy7r/AJ4D/vujy7r/AJ4D/vujnkHukv2yX/n3/wDHxTG1Flba0Sg+hkApojuv+eA/76rnbvwn9u8QXeo6hD58UsSpHH5pXYR16eta02pN87sJ26HSf2j/ALMf/fwUv9o8fcT/AL+CueHg3SMf8gs/9/2/xo/4Q7R/+gUf/Ahv8atOl/M/u/4IrHQ/2j/sJ/38FH9pD+5H/wB/RXPjwbpBP/IKP/f9v8aP+EM0j/oFn/v+3+NHNS7v7v8AghY6D+0h/cj/AO/ooOoj+4n/AH9Fc/8A8IZpH/QLP/f9v8aP+EM0j/oFn/v+3+NHNS7v7v8AggbZubdmLNbwEnqS6003Ft/z6wf99rWN/wAIZpH/AECz/wB/2/xpsng3R0QsdKOByf37f40XpfzP7v8AgjRo6rdW40y6ItYM+S+PnX0NZ3w9dB4L0v8A0FD+4HcUieEfDzqG+wnDLyDK3+NbNlbQWVmlraxLFDENqKOwolUgqbjG9x8pN5if8+Ef5ijzE/58I/zFM3SNOYo4wzBQTk1J5d3/AM+4/wC+q5+ZhZCeYn/Pgn5ijzE/58E/MUvl3X/PuP8Avqjy7r/ngP8AvujnY/dE8xP+fBPzFHmJ/wA+CfmKXy7r/ngP++6PLuv+eA/77o52HuieYn/Pgn5ijzE/58E/MUvl3X/PAf8AfdHl3X/PAf8AfVHOw90TzE/58E/MUeYn/Pgn5il8u6/59x/33R5d1/zwH/fdHOw90TzE/wCfBPzFHmJ/z4J+YpfLuv8An3H/AH3R5d1/zwH/AH3RzsPdE8xP+fBPzFHmJ/z4J+YpfLuv+fcf990eXdf88B/33RzsPdE8xP8AnwT8xR5i/wDPhH+YpfLuv+fcf99UeXdf8+4/76o52J2E3r/z4J+YoMif8+CfmKYjP5rRyR7GUDPOakNHOxqNx1s0Es5hezjRtuexq59jtcf6iP8A75qjYc6of+uX9a1a0i7oiSsxiRpGNqKFHtXL6qP+Lk6P/wBeU/8AMV1TVymrcfEfRj/06TD9RW9Dd+j/ACJZ1a9KiqVelRVkMmooooAKO9FHekwIrv8A495P9w1k2X/HtD/uCtS9XdbSA5+4ay7L/j2h/wBwVE9y47MmHWpdJAzN0+/UQ61JpXWb/fqE/eQ38JfaopO/FSmo2wQckCtdm2R0Pk2/0u+ZdU1aa1tIdLXxGRcajEG+1wASjv8A3e30rrPiR428ZReN5dI0W/isbK1topLaWWRUFyzDqSR830Fe8tpenG3ltzZ25hmJaVCg2ufU+tR3Wi6TdCL7Tp1rN5WBHviB2Y9K9551TlNSqUr2vp62OR4d9GeRePPFniXTLjQbi61tLS1NrHJdQ2uPNklJGcAjlevA5q34h8RalpviDxbqmmQ+fPbaHDPboY/mLEHk/wCFerXOlabdTxS3FhbzPD/q3eMEr9PSpWsrUzPMYIvMkXa7bRll9D7VyfX6KSap+vnqmUqM/wCY+codTu7nx/4S1Q+IX165XTbudVVAPLk2AmPj+VX/AISeLfHWteJrJ9Q1SB7W73G5tWkUvEOcYTGVI9691tNF0e1kWS2020iZCSpjiAIz1p9rpOlW9695b6faxXD/AH5EjAY/jXXUzfDTpumqSelr/f8A5/gQsPNO/MeH3fiLxlY6OPFQ8RSyxRa6LH7G0S7GjaQLyeuRmpPDH2+1+L/jiG88S3hCQl4LOTG2YFCcgei+1e3PpemvbG3aytzEX8zYUGN2c5x60SabpxvDePZwG4K7DKUG8r6Z9KweaUuRwjTs3+V1bp5P7ynQle9zwnWfFeqaf8O/C9rp97NY3d9FK3mJtRMqTwWIwD7VP4H8Rap4on+H+p6x815591HI23G7aAAa9sm0jS5reK3ksLWSKI5jRo1IT6CpINL0+LyjFZW6eUS0e2MDYT1x6U3mVD2XIqfva6+t/wDMfsZ813IvDtT8CmjFOrx0dAjAYrGt/vTf9dDWy3SseH783/XQ1E+hpDqSVFc9I/8AroKlqO46R/8AXQVEtgNdRxTsCkTpS1utjMMCmNjGafVe63eU+wgNtOCfWna4noP8wUhbivCNJ1rXLLxnbnxDruoRme88mKS3dJbOYZOE29VPv7V0178R7qHxwvh429pJZXLS28Nzbz7pI5UQsdwxxXb/AGXV5rR10vfyMfbx6nqSsGpTg9q8Asfi1qHh3wF4cFxA+qanqCzyNLITjaj4xkA811Ou/E3VIdJ0LU9O0VVttQj8y4mu3KLbgdVOBnPvTllOIi0raNtL5DjXiz1NiA2cc0u/isS/g/4SLw2IodQnsluo1Zbi0fDL3yprzX4LJqKabrXiDVPEmpX32K7ubVIrqf8AdBUPDH0PvWNLCOdKVS/wtK3qVKpaSXc9mDZPSnV5L4c+Jer6m+uWklhp4u9OgW7jeKctDLC3vjriuw+HXiSfxTpEmqtAkFs7lYF3ZkwOu4djntSrYKtRTc1t+o41Iy2OrpQBSLTqwsWN71Q1j7kX/XQVoDrWdq/3Yf8AroKiew1uMpsg+RvpTqbJ/q2+lYG5Z07iwjHtXCXfjDxJquuajZeENPsrmLSZhFdNcuQZHxkquOn1rvLD/jwjx/drjNX8CTS6te3+h6/eaKb9g16kCAiUgY3DPQ47iu7COkn734nLUvfQt6z4603Qbez/ALcjmhvp4vMe2hUyNGvdjjsPWkuPiN4ej1iy0uJ57m4vrdbiAQRlgYycZrP8RfD6PVpbW5t9XvLK8hszZyXGA7zQnqrZ7n1qfQvh/p+ieJLPVrG4kWOy0v7BHAVyMZJ3Z9cmuq2B5E7u9n9/T5GLdXoO0D4oeF9Y1GOxt5rhHlmeGN5IiqNIvVQ3TNWbT4ieGrrXv7HhunMpdokkKERu69UDdCRiuI+Gnwxv7eG3n8R3U6Cz1Ka8t7IEFAzMcNkc9D0rdsfhXp9trcNz/aFzJp9tdPeW1iyjZHM+ctnqeSTW1SjgIycU3ovlcSdayNfRfiNoesWl/dWEV/LDZFhI4tzglSQQvqeKw9V+NHhy0ttMmtrO/vBfXRtSiRfPE4GSGHr7Vfsfh9HYeB7nwxbaxdQia4knF3GNrqWfdj86x4PhHbQ26LHrlx9rTUl1FZ/LBPm4w2R0waVJYHVy7+fYcnVudC/xM8LJ4hh0Jrx1u5CqEFflR26Kx7HnpUnj/wAVXPh3UPD1tbwRSx6nqAtpWfOUXbnI965+6+DuizeNG8Sm4YNJMLiWExg7pBj5ge3Sup8ZeFYfEdxo80t08H9mXf2hVRc7/lIwfas6ywUZw9k7q2vqP97ZpmXonxT8K6pqFvZ281yj3MzwQvJEVR5FJBUH14Nauk+O9C1PVLuwtZpC1srM8xQiIhfvYbocVzmn/Cq1tdO0SzGoysuk6jJfqdg/eF93yn/vqr2g/D+DSri8jTVLqTS50lVLFgAsfmEl+ep61U44GzcW/wCn/kL97fUtad8TPDF890kNxKpt4HuAXQqJY06snqKz4PjF4NmtRcfarlEKJJ80JGEY4Dn/AGfeqmnfCezt9xn1e7uVispLKxVlAFtG4wQPWq03wbsZNNlsjq04WTSI9L3CMZCo27f9aprAJvV+Q71TpNc+JXhXSNXg0y7vj58qqxKjKoG+6WPbNdZLJvs5HBypTII7ivMde+Dei6r4it9We5ZGCRJcIYwwl8sYB56GvTGjWGxMSDCJHtA9gK5sXHCqEfYNt/auXTc7++VLf/j3T/dqQYzUdqcwp/u1IO9eXrodUtx1kB/aMn+4K0e9Z1h/yEH/AOuYrSFbUzOW4YFMZtvWpKp6rgaddEMQRC+CO3ymrSu7Ek4dc8c0u6vnTwF4y8Xrp3h7QdJuLV5Luyu7mSW8DOcxyccj2reT4qa5e6HoE1umn6fPfxSyz3F3nyQY2wUGO7V6Esrq301/p/5GUa8ep7aCaWvH/HnxF1vSNSFvYLYQpb6cl7I1xki7J/5Zxe9Y/iX4reKbHVbuSzsrVLO10+1u3gnU+ZmVsFQaiGW1pJPTXzE68Nj3ikZhXh+ofFjxFp3h3XprjSobjUNOvY7ZDACUAkAIYg+gNdj8G/Fmq+MPD9xc6tZfZ5oJvLDgYWUY6gZNKrltenSdZ2snbcI1oylyo7vzFU43D86eG4rw3XPCen/8L20/SxdamLS5sZLyWIXj4MoYYPXp14rW8WfEPUtF8eWWj2VxZXVkLuKzubbYRNHu/j3d6t5fz2VGXM2r6q36sXtrXcj14EUtebaD4t1e88ezeHZZbYW9uzN9oCcTr2jX/aXvXo6HiuOtRnRkoy6mylzK4/HFIegpc01/uVFh9DLm/wCQjL/uilNY2tX2uW+tTR2OjR3cW1fna42fpiq/9qeKP+hZg/8AAz/7GksO3qmvvNE0dDY/8hQ/9cv61qVxFpqnigai2PDUOfL/AOfz3/3a0P7V8Wf9CzB/4GD/AOJrSNCS7feiZtXOmJrlNZP/ABcbRf8Ar1m/mKlOreLP+hZg/wDAwf8AxNUraDxBqHjGy1LUNLhsre2gkQ4n3li2Mdq1pQcG2+z6kM7QVHTo+1NrnWwyaiiimAUd6KO9JgRXf/HvJ/uGsmz/AOPaH/cFa13/AMe8n+4aybP/AI9of9wVE9y1sTVJpHW4/wB+o6jt5JrdpNsYcM2eTUXtJBa8TVfoa8h/aIvXt5/DNu02qLa3F4yzx6eSJZAF4AA5NeofbJ/+fcf99Vlarp9tql7Y3l5YLJNYSGS3bf8AdYjGa68HiqeHxCqTV1r+RlOm5xsjy3Q9e8beGPCkt1cW088d1rCW+lRai375YHIA3n1610uq+MPFMfiG08JWltpi6y1kbyeaViIQucbV7k12Gt2NtrEcCX9isqwTLPH8+Nrqcg1m+J/C+j+JHjl1XSlknjG1ZUkKPj0yOce1dccfhpO9Sn3/AOAZOhUSSRyFj8Ttb1Kx0T7Fp9lHd315PZyiWT92rxZ+ZT3BIrOvvjNqVjoN2s+lRTaxbar/AGZiEFonfaDuA6ng9K6bxB8P9P1F9EtrezhtdO02R3a3Qkb9wxkEdDWlF4J8NRaD/Ya6FF9kMnnH5zvL/wB/d13e9dP13LY2fs767fP1JlRrX3OY074keJpvAOp61eaELa9s7hIo1kQxrMGOMgHkdaqfEXxF8RNMvPCCw3OmWsmpX3lyRjJQ5XIVj6fTvXc23hTRbfQX0VNNzaSMHdWmLEsDkcnmrPifQdN8R2Vvaatpqzx20iyQkOVZGHQgjpWNPMcHTqqfs1bXp5f5lSo1eTc5HxJ8SNQ8N6rrGk6paW4uo7aKXSgpOLpn+Uj8G/Sus8R6PJ4h8HpHqdxc2dysIlkNpMUw+3OAfTNY3irwbHr3ivw7q88MIg0Usyxnl3bjHPoMV2Ms0kkTRNbqVZSrDd2rGviMOo05UlaW8vy/4JcaU+Z82x4h8M73/hG/hfN42u9Zu7m9lnktV+23DSRHEpVQF9eB0rS8P/FjX9S8OeIrmXT7aLUNDaOSQSKUWWJskgA8g4Fd8PCeg/8ACLt4bOjRNpjOZPJL9HLZJz2Oeap2ngLwzaxzxw6OAk7RtMDKT5pTO3cT1xmuuWZYGo5ynDVu69L7fcZ+wqq3KyT4R+Mrjxxp1zrQt1trDzvLto2/1oxwd47c13ua5bRdJsdGvru703T0t2vHDzqr/KxA6gdAa2Rez5/49h/33XlYitRlUcqatHsdEISS97c0SeKxrb703/XU1YN9Pj/j2H/fVV7dXG9nABdi2B2rnk07WNIdSWobron++KmqO4RnUbACQQamWw7GsnSnVnC9nA/49x/31S/bp/8An3H/AH1WnOkRys0KjkXIKkZFU/t0/wDz7j/vqk+3T/8APsP++qOdByvsY1v4H8M2+rtq0OkQLd7twbnAb1x0zSDwR4ZXVX1ZdIgW9dzI0q5B3Hgn8Qa2vtk//PAf99UfbJv+fcf991r9dm3dTZPsl2MOfwJ4Xm0m20uTSITa2zFoE5+Qk5OD15NT6x4P0DVrK2sr/TY5be1I8mPJAGPp1FapvZsf8e4/76pBeT/8+4/76pfXav8AO9AVJdie3git7eOCGJY4o1CqoHAA6Cs6w8PaTYWN1p9rZRx2t1I8k8fUOz/eJ+tW/tk4/wCWA/76pDd3H/PuP++qz9q9UpPX+kPkv0MKy8BeF7GKWG00mKJJVCyBSfmUHIB/GtrR9HsdLedrG2EHntucKeCcdakF5cD/AJdx/wB9Uv2y4/59x/31Ws8VUqL35CVJLZF4U6s77bcf8+4/76pRe3GP+Pcf991jzx7lcrNAVnav92L/AK6Cl+3Tf8+4/wC+qgupJrnYrRBArBs7s0TkuUFFj6bJ/q2+hp1I/KEDuKyLLWl/8eMX+7VodayrWe4hhSMQhto67ql+2T5/49x/31WsZJIlxdzRxRgVn/bp/wDn3H/fVH26f/n3H/fVPnQuVmhgUhxms/7dP/z7D/vqj7bcf8+4H/AqPaIOVhrenR6pp0+nyyyxRzrsZ4m2uB7EdDXj3wb0hYNd8Uapcazqlx/Y+oS20K3F0zRhAv8AEO/1r2D7XcZ/49x/31VGys7OyN2bXTIYjduZLjb/AMtGPUn1roo4tU6c4d7fmRKk5STR5/4c+JGq6prep6UH0qXZYm9s7qFj5e0Nja+e/FdV8MvFN34qtLi+uIYreJH8tIf+WikdS3se1S23hnQbcSrD4fs41lDK+0Y3A8kGtLT7a2sJpJ7TTYoJJQBIUONwAwK6MTi8JOLVOFtv6+ZEadS+purTsCs77ZP/AM8B/wB9Uv26f/n3H/fVebGaSN3FmhijFZ/26f8A59x/31R9un/59x/31Ve0QuVmhUV5/wAesn+6aqfbZ/8An3H/AH1TZbqeSNk+zgbgRndSc00HKyK3/wBQn+7Tz0psSlYkVuSBzTx1rNLYp7hY/wDIRf8A65itPNZCtJDdNKqBwVA61N9tn/59x/31VwaVybGjUMi7wVbDKRgg9xVX7dP/AM+4/wC+qT7bP/z7r/31Ve0iHKytaeH9HtZYnt9MtomiRo4ysYG1W5YD0Bobw5obWUVm2k2jW8Tb4ojECqtnOQO3NWfts/8AzwX/AL6o+3XH/PuP++qv6x5i9mRX+i6XfGGS9022naAgxGSMHZj0pLnQdJupJZLnTLaZplVJGaMEuq8qD9Kl+3XH/PuP++qX7dcf8+6/99UvrHmHsxg0TSgtyp062xdY88eWMSYGBn14qxpmn2Om2wtrC1itoQchI1CgVEL2fvbg/wDAqDez/wDPuP8Avqk691ZsFAfNp9nJqaag1rE12iFEmK/MqnqM+lVZ9B0i4vTez6bayXRxmVowWOOnNTi9m/591/76o+3T/wDPuv8A31TjXa+Fg4XGQ6NpsbxyJYwI8bl0IUAhj1I+taQ6VQ+2z/8APuv/AH1R9uuP+fcf99UnVT3BQfQ0ccUh6VQ+3T/8+4/76pPts/8Az7j/AL6pKoh2aIpv+QjL/uinVGDJJcvMyhdwHGakNR3NVsLY/wDIUP8A1y/rWpWVYf8AIUP/AFy/rWrWlPYynuFFFFWSFRNUtRGgCWiiigAo70Ud6AIrv/j3k/3DWTZ/8e0P+4K1rv8A495P9w1k2f8Ax7Q/7orOe5a2JqTBxS0VA47AaKKKTHZhRRRSCzCiiigLMKKKKAswooooCzCiiigLMKBRRQFmFFFFCGkFKOtJRVMbCg0UVJNmFFFFAWYUUUUBZhRRRQFmZviTXNO8PaW2pao8qWykAmKIuRn2HNYPhD4l+DvFLSf2NqbyJGCWllhaNODyNzcZ9q62dPMt5IyqsXUgAjvivnbUfht47t/hhpnh+00u0ln/ALSuJboLKNyo+dhB6Gmo3E20fQxvLQhSLqHDLuU7xgr6/Ssvxb4n0XwtoTa3rd4LewVlXzQpbJPTAHWvnm8+E3xLvfA3hvRkRYNQ0tZWubpr4/v03EiDjsR37V1njL4X+MtX+GEujjW7m7nnkt2jsJ2QLZBTlgjgc496rl8xXZ3dr8WPAtxZXt0NXaJbEI1ws0DI6hjhTtIyQTW14p8ZaB4Z0e01bVrx4bS7dY4GWMuXZhkAAc815p4w+DP/ABRmtrpFzdap4i1KOCIz3sw4RHDbR2A4rb+LfgnWPFXhPwtpOnv5MthqFvLdSI4Vo0QYYr7inZBZnWeFvHHhnxNFdyaTqQY2ZAuEmUxNFnpuDYxU+t+LdB0ZbA6hqEarqM3kWzJ84kfGcAj2ry/xl8H5rLSUm8MzXWq30upRXWqrdXG176FAf3e4cAc9K5xPhX42uLm0vI7KKys1177dDppuN/2OHYRgH3J6CiyDmPe9L8QaPqWmpqFveRrbOzIjynZkg4IGa0DcWu1j9oiwn3jvGF+tfOY+Gvjizs9JbUNHj12GC2uYX083mwRyPIWSXI68H8MUzXNE12f4oaX4N0+WWG01O2gm16KJnZLUw8gK5/vcD3osguz3zW/EejaNfabZ6jdeRLqU3k2uR8sj+me1MTxXoDeILzQ/7RjW+s0WS5VjhUDdMk8Vh/GDwfN4q8DNYaXiPVbKRLrTZCcbZYyCoz2Bxg/WvINc+FvxCn8MxXElja3mu6tdyz6u6zYaL5QsYQnjaOaA1Pou71KwtYDNPewom3eDvHI9R61V0vxFpGo6bFqNvfRi3lYqjSnZuIOOAa8I8JfCPxZJc+Gl8VR/aLfTNGmt5AbsnM+f3ZOOtY/ir4V/E688HaZoFvYwM0NrOrTC5+eOVnJXk8Yxjkc1PL5hzH0RD4t0CTxHdeHxqUSajbIkksTnbhW+7gng5p1j4o0S91bUtMt9QT7Vpm37YrfKI9wyMk8c189a18KvHVxqeoXsuhQ31zd6PbWcF19t2vbTp1k96sa98JviLJFrcltcRSvcy2TvtnAa8SJAHU+nI/Gny+Ycx9HNqFjHbLcSXtssL/dkMo2n6GplZXUMrBlIyCDkEV8v6x8JPHkngywjhhvJLhLueb7IbpT5KuAFXb0I4/Cvevhdp+t6T4C0jTvECwJqNvbrHKImLAH6mpcbDTbOoooopDswooooCzCiiigLMBRRRQFmFFFFUgsFFFFAWCiiipCzCiiigLMKKKKAswooooCzCiiigLMKKKKAswooopoLMQDnpSmig0xpBYf8hU/9cv61q1k2P/IUP/XL+ta1ax2InuFFFFUQFRmpKjNAElFN8xfWjevrQK6HUnekEi+tG5euaChl1/x7yf7p/lWVZc2kWP7orWfa4IPIIxVdbS3VQqqQB2BqJRuNPQr4oxVn7LD/ALX5mj7LD/tfmaj2Y1IrYoxVn7LD/tfmaX7LD/tfmafsx8xVxRirItoCcc5+po+zwYzz+Zo9mHMVsUYqz9mgz/F+ZoFtAfX8zS9mHMVsUYq19lh/2vzNH2WH/a/M0/ZhzFXFGKs/ZYf9r8zR9mh/2vzNHsw5itijFWfs0P8AtfmaPs0P+1+Zo9mHMVsUYqz9mh/2vzNH2aH/AGvzNHsw5itijFWfs0P+1+Zo+yw/7X5mj2YcxWxRirP2WH/a/M0fZYf9r8zR7MOYrYoxVn7LD/tfmaPssP8AtfmaPZhzFbFGKs/ZYf8Aa/M0fZYf9r8zR7MOYrYoxVn7LD/tfmaPssP+1+Zo9mHMVsUYqz9lh/2vzNH2WH/a/M0ezDmKpUkYo2nNWvs0Hfd+Zo+z2/8AtfmaPZi5irg/Wk2mrf2e3/2vzNH2e3/2vzNP2Yc5VC+3FG09uKtfZ7f/AGvzNL9mg/2vzNL2YuYqAGjac1b+zQf7X5mj7NB/tfmafsx8xU2nmmiGMSNII1DsMFgoz+dXPs0H+1+Zo+zQf7X5mj2YrlbB7cUmDmrf2aD/AGvzNH2aD/a/M0vZhzFQqeaNpz7Vb+zQf7X5mj7NB/tfmafsx8xUCkUFTj0NW/s0H+1+Zo+zQf7X5mj2YcxUKntxRj16/Srf2aD/AGvzNIbWD/a/M0vZhzFWlxVn7LB/tfmaPssP+1+Zo9mPmK2KMVZ+yw/7X5mj7LD/ALX5mj2YcxWxRirP2WH/AGvzNH2WH/a/M0ezDmK2KMVZ+yw/7X5mj7ND/tfmaPZhzFbFGKs/Zof9r8zR9mh/2vzNHsw5itijFWfs0P8AtfmaPs0P+1+ZpezDmK2KMVZ+zQ/7X5mj7LD/ALX5mn7MOYrYoxVn7LD/ALX5mj7LD/tfmaPZhzFbFGKs/ZYf9r8zR9lh/wBr8zR7MOYrYoxVn7LD/tfmaPssP+1+Zo9mHMVsUYqz9lh/2vzNH2WH/a/M0ezDmK2KMVZ+yw/7X5mj7LD/ALX5mj2YcxWxRirP2WH/AGvzNH2WH/a/M0ezDmK2KCKs/ZYf9r8zS/ZYf9r8zR7MOYp2a/8AEzbP/PP+taw6VWit4YpDIgIbGM1PuFXFWRDd2OopNwo3CqELUWeak3Co+9AH/9k="/>
          <p:cNvSpPr>
            <a:spLocks noChangeAspect="1" noChangeArrowheads="1"/>
          </p:cNvSpPr>
          <p:nvPr/>
        </p:nvSpPr>
        <p:spPr bwMode="auto">
          <a:xfrm>
            <a:off x="21272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3040" y="956156"/>
            <a:ext cx="2334195" cy="1618375"/>
          </a:xfrm>
          <a:prstGeom prst="rect">
            <a:avLst/>
          </a:prstGeom>
        </p:spPr>
      </p:pic>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86242" y="1350742"/>
            <a:ext cx="4864309" cy="4925368"/>
          </a:xfrm>
          <a:prstGeom prst="rect">
            <a:avLst/>
          </a:prstGeom>
        </p:spPr>
      </p:pic>
    </p:spTree>
    <p:extLst>
      <p:ext uri="{BB962C8B-B14F-4D97-AF65-F5344CB8AC3E}">
        <p14:creationId xmlns:p14="http://schemas.microsoft.com/office/powerpoint/2010/main" val="3613708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Google Shape;529;ga90b81d70d_0_0">
            <a:extLst>
              <a:ext uri="{FF2B5EF4-FFF2-40B4-BE49-F238E27FC236}">
                <a16:creationId xmlns:a16="http://schemas.microsoft.com/office/drawing/2014/main" id="{EC2B8DFB-B291-41D2-BD0B-2C7F1A267334}"/>
              </a:ext>
            </a:extLst>
          </p:cNvPr>
          <p:cNvSpPr/>
          <p:nvPr/>
        </p:nvSpPr>
        <p:spPr>
          <a:xfrm rot="-5400000">
            <a:off x="4295043" y="3791563"/>
            <a:ext cx="3880200" cy="126600"/>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Quattrocento Sans"/>
              <a:ea typeface="Quattrocento Sans"/>
              <a:cs typeface="Quattrocento Sans"/>
              <a:sym typeface="Quattrocento Sans"/>
            </a:endParaRPr>
          </a:p>
        </p:txBody>
      </p:sp>
      <p:sp>
        <p:nvSpPr>
          <p:cNvPr id="5" name="Google Shape;530;ga90b81d70d_0_0">
            <a:extLst>
              <a:ext uri="{FF2B5EF4-FFF2-40B4-BE49-F238E27FC236}">
                <a16:creationId xmlns:a16="http://schemas.microsoft.com/office/drawing/2014/main" id="{053FADAE-B100-43A3-909F-19DBCD8D6DF2}"/>
              </a:ext>
            </a:extLst>
          </p:cNvPr>
          <p:cNvSpPr/>
          <p:nvPr/>
        </p:nvSpPr>
        <p:spPr>
          <a:xfrm rot="-5400000">
            <a:off x="8800893" y="3784513"/>
            <a:ext cx="3902700" cy="138600"/>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Quattrocento Sans"/>
              <a:ea typeface="Quattrocento Sans"/>
              <a:cs typeface="Quattrocento Sans"/>
              <a:sym typeface="Quattrocento Sans"/>
            </a:endParaRPr>
          </a:p>
        </p:txBody>
      </p:sp>
      <p:sp>
        <p:nvSpPr>
          <p:cNvPr id="6" name="Google Shape;531;ga90b81d70d_0_0">
            <a:extLst>
              <a:ext uri="{FF2B5EF4-FFF2-40B4-BE49-F238E27FC236}">
                <a16:creationId xmlns:a16="http://schemas.microsoft.com/office/drawing/2014/main" id="{E539FE80-07DA-4ECE-A9FE-3D747243FCA9}"/>
              </a:ext>
            </a:extLst>
          </p:cNvPr>
          <p:cNvSpPr/>
          <p:nvPr/>
        </p:nvSpPr>
        <p:spPr>
          <a:xfrm rot="-5400000">
            <a:off x="4019411" y="3788563"/>
            <a:ext cx="3892500" cy="120300"/>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Quattrocento Sans"/>
              <a:ea typeface="Quattrocento Sans"/>
              <a:cs typeface="Quattrocento Sans"/>
              <a:sym typeface="Quattrocento Sans"/>
            </a:endParaRPr>
          </a:p>
        </p:txBody>
      </p:sp>
      <p:sp>
        <p:nvSpPr>
          <p:cNvPr id="7" name="Google Shape;532;ga90b81d70d_0_0">
            <a:extLst>
              <a:ext uri="{FF2B5EF4-FFF2-40B4-BE49-F238E27FC236}">
                <a16:creationId xmlns:a16="http://schemas.microsoft.com/office/drawing/2014/main" id="{C73BAEE8-B3B3-4417-9C70-A61223047EE1}"/>
              </a:ext>
            </a:extLst>
          </p:cNvPr>
          <p:cNvSpPr/>
          <p:nvPr/>
        </p:nvSpPr>
        <p:spPr>
          <a:xfrm rot="-5400000">
            <a:off x="-539151" y="3799997"/>
            <a:ext cx="3897600" cy="102600"/>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Quattrocento Sans"/>
              <a:ea typeface="Quattrocento Sans"/>
              <a:cs typeface="Quattrocento Sans"/>
              <a:sym typeface="Quattrocento Sans"/>
            </a:endParaRPr>
          </a:p>
        </p:txBody>
      </p:sp>
      <p:sp>
        <p:nvSpPr>
          <p:cNvPr id="8" name="Google Shape;533;ga90b81d70d_0_0">
            <a:extLst>
              <a:ext uri="{FF2B5EF4-FFF2-40B4-BE49-F238E27FC236}">
                <a16:creationId xmlns:a16="http://schemas.microsoft.com/office/drawing/2014/main" id="{BE61E7D6-17B8-49E7-9AB9-4C4DA91BCBEA}"/>
              </a:ext>
            </a:extLst>
          </p:cNvPr>
          <p:cNvSpPr/>
          <p:nvPr/>
        </p:nvSpPr>
        <p:spPr>
          <a:xfrm>
            <a:off x="6171843" y="1902593"/>
            <a:ext cx="4649700" cy="405300"/>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lt1"/>
              </a:solidFill>
              <a:latin typeface="Quattrocento Sans"/>
              <a:ea typeface="Quattrocento Sans"/>
              <a:cs typeface="Quattrocento Sans"/>
              <a:sym typeface="Quattrocento Sans"/>
            </a:endParaRPr>
          </a:p>
        </p:txBody>
      </p:sp>
      <p:sp>
        <p:nvSpPr>
          <p:cNvPr id="9" name="Google Shape;534;ga90b81d70d_0_0">
            <a:extLst>
              <a:ext uri="{FF2B5EF4-FFF2-40B4-BE49-F238E27FC236}">
                <a16:creationId xmlns:a16="http://schemas.microsoft.com/office/drawing/2014/main" id="{61081428-B10F-4C65-9819-DEA6BBC230C8}"/>
              </a:ext>
            </a:extLst>
          </p:cNvPr>
          <p:cNvSpPr/>
          <p:nvPr/>
        </p:nvSpPr>
        <p:spPr>
          <a:xfrm>
            <a:off x="1358349" y="1890399"/>
            <a:ext cx="4671300" cy="405300"/>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rgbClr val="ABCFCC"/>
              </a:solidFill>
              <a:latin typeface="Quattrocento Sans"/>
              <a:ea typeface="Quattrocento Sans"/>
              <a:cs typeface="Quattrocento Sans"/>
              <a:sym typeface="Quattrocento Sans"/>
            </a:endParaRPr>
          </a:p>
        </p:txBody>
      </p:sp>
      <p:sp>
        <p:nvSpPr>
          <p:cNvPr id="10" name="Google Shape;539;ga90b81d70d_0_0">
            <a:extLst>
              <a:ext uri="{FF2B5EF4-FFF2-40B4-BE49-F238E27FC236}">
                <a16:creationId xmlns:a16="http://schemas.microsoft.com/office/drawing/2014/main" id="{7FE5A42F-FF8D-4F8E-96C2-5C9B5799F9AD}"/>
              </a:ext>
            </a:extLst>
          </p:cNvPr>
          <p:cNvSpPr txBox="1"/>
          <p:nvPr/>
        </p:nvSpPr>
        <p:spPr>
          <a:xfrm>
            <a:off x="3030713" y="1913640"/>
            <a:ext cx="1345500" cy="3693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800" b="1">
                <a:solidFill>
                  <a:schemeClr val="lt1"/>
                </a:solidFill>
                <a:latin typeface="Segoe UI Semibold" panose="020B0702040204020203" pitchFamily="34" charset="0"/>
                <a:ea typeface="Quattrocento Sans"/>
                <a:cs typeface="Segoe UI Semibold" panose="020B0702040204020203" pitchFamily="34" charset="0"/>
                <a:sym typeface="Quattrocento Sans"/>
              </a:rPr>
              <a:t>Content</a:t>
            </a:r>
            <a:endParaRPr>
              <a:latin typeface="Segoe UI Semibold" panose="020B0702040204020203" pitchFamily="34" charset="0"/>
              <a:cs typeface="Segoe UI Semibold" panose="020B0702040204020203" pitchFamily="34" charset="0"/>
            </a:endParaRPr>
          </a:p>
        </p:txBody>
      </p:sp>
      <p:sp>
        <p:nvSpPr>
          <p:cNvPr id="11" name="Google Shape;540;ga90b81d70d_0_0">
            <a:extLst>
              <a:ext uri="{FF2B5EF4-FFF2-40B4-BE49-F238E27FC236}">
                <a16:creationId xmlns:a16="http://schemas.microsoft.com/office/drawing/2014/main" id="{5DAF25FB-BCF9-4BED-95ED-E4A1E09BABC9}"/>
              </a:ext>
            </a:extLst>
          </p:cNvPr>
          <p:cNvSpPr txBox="1"/>
          <p:nvPr/>
        </p:nvSpPr>
        <p:spPr>
          <a:xfrm>
            <a:off x="7840422" y="1914697"/>
            <a:ext cx="1345500" cy="369300"/>
          </a:xfrm>
          <a:prstGeom prst="rect">
            <a:avLst/>
          </a:prstGeom>
          <a:noFill/>
          <a:ln>
            <a:noFill/>
          </a:ln>
        </p:spPr>
        <p:txBody>
          <a:bodyPr spcFirstLastPara="1" wrap="square" lIns="91425" tIns="45700" rIns="91425" bIns="45700" anchor="t" anchorCtr="0">
            <a:noAutofit/>
          </a:bodyPr>
          <a:lstStyle/>
          <a:p>
            <a:pPr marL="0" marR="0" lvl="0" indent="0" algn="ctr" rtl="0">
              <a:spcBef>
                <a:spcPts val="0"/>
              </a:spcBef>
              <a:spcAft>
                <a:spcPts val="0"/>
              </a:spcAft>
              <a:buNone/>
            </a:pPr>
            <a:r>
              <a:rPr lang="en-US" sz="1800" b="1">
                <a:solidFill>
                  <a:schemeClr val="lt1"/>
                </a:solidFill>
                <a:latin typeface="Segoe UI Semibold" panose="020B0702040204020203" pitchFamily="34" charset="0"/>
                <a:ea typeface="Quattrocento Sans"/>
                <a:cs typeface="Segoe UI Semibold" panose="020B0702040204020203" pitchFamily="34" charset="0"/>
                <a:sym typeface="Quattrocento Sans"/>
              </a:rPr>
              <a:t>Formatting</a:t>
            </a:r>
            <a:endParaRPr>
              <a:latin typeface="Segoe UI Semibold" panose="020B0702040204020203" pitchFamily="34" charset="0"/>
              <a:cs typeface="Segoe UI Semibold" panose="020B0702040204020203" pitchFamily="34" charset="0"/>
            </a:endParaRPr>
          </a:p>
        </p:txBody>
      </p:sp>
      <p:sp>
        <p:nvSpPr>
          <p:cNvPr id="12" name="Google Shape;541;ga90b81d70d_0_0">
            <a:extLst>
              <a:ext uri="{FF2B5EF4-FFF2-40B4-BE49-F238E27FC236}">
                <a16:creationId xmlns:a16="http://schemas.microsoft.com/office/drawing/2014/main" id="{9805AA5D-E1ED-4B26-97FA-778A03103E2C}"/>
              </a:ext>
            </a:extLst>
          </p:cNvPr>
          <p:cNvSpPr txBox="1"/>
          <p:nvPr/>
        </p:nvSpPr>
        <p:spPr>
          <a:xfrm>
            <a:off x="1845740" y="2399427"/>
            <a:ext cx="3803220" cy="2544000"/>
          </a:xfrm>
          <a:prstGeom prst="rect">
            <a:avLst/>
          </a:prstGeom>
          <a:noFill/>
          <a:ln>
            <a:noFill/>
          </a:ln>
        </p:spPr>
        <p:txBody>
          <a:bodyPr spcFirstLastPara="1" wrap="square" lIns="0" tIns="0" rIns="0" bIns="0" anchor="t" anchorCtr="0">
            <a:noAutofit/>
          </a:bodyPr>
          <a:lstStyle/>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Logical flow</a:t>
            </a:r>
          </a:p>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Spelling</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Grammar</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Dates</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Sample text replaced</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Titles</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Agenda</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Icons</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Hide unused slides</a:t>
            </a:r>
          </a:p>
          <a:p>
            <a:pPr marL="285750" lvl="0" indent="-285750">
              <a:spcAft>
                <a:spcPts val="600"/>
              </a:spcAft>
              <a:buFont typeface="Arial" panose="020B0604020202020204" pitchFamily="34" charset="0"/>
              <a:buChar char="•"/>
              <a:defRPr/>
            </a:pPr>
            <a:endPar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endParaRPr>
          </a:p>
        </p:txBody>
      </p:sp>
      <p:sp>
        <p:nvSpPr>
          <p:cNvPr id="13" name="Google Shape;542;ga90b81d70d_0_0">
            <a:extLst>
              <a:ext uri="{FF2B5EF4-FFF2-40B4-BE49-F238E27FC236}">
                <a16:creationId xmlns:a16="http://schemas.microsoft.com/office/drawing/2014/main" id="{E58CDB61-A376-4BAD-926E-0C9F7AF81AC6}"/>
              </a:ext>
            </a:extLst>
          </p:cNvPr>
          <p:cNvSpPr txBox="1"/>
          <p:nvPr/>
        </p:nvSpPr>
        <p:spPr>
          <a:xfrm>
            <a:off x="6642835" y="2399427"/>
            <a:ext cx="3703425" cy="2544000"/>
          </a:xfrm>
          <a:prstGeom prst="rect">
            <a:avLst/>
          </a:prstGeom>
          <a:noFill/>
          <a:ln>
            <a:noFill/>
          </a:ln>
        </p:spPr>
        <p:txBody>
          <a:bodyPr spcFirstLastPara="1" wrap="square" lIns="0" tIns="0" rIns="0" bIns="0" anchor="t" anchorCtr="0">
            <a:noAutofit/>
          </a:bodyPr>
          <a:lstStyle/>
          <a:p>
            <a:pPr marL="285750" lvl="0" indent="-285750">
              <a:spcAft>
                <a:spcPts val="6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Capitalization</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Sizing</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Fonts</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Spacing</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Colors</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Alignment</a:t>
            </a:r>
          </a:p>
          <a:p>
            <a:pPr marL="285750" lvl="0" indent="-285750">
              <a:spcAft>
                <a:spcPts val="600"/>
              </a:spcAft>
              <a:buFont typeface="Arial" panose="020B0604020202020204" pitchFamily="34" charset="0"/>
              <a:buChar char="•"/>
              <a:defRPr/>
            </a:pPr>
            <a:r>
              <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rPr>
              <a:t>Is your slide template the best option to present your info? (check hidden slides for more templates)</a:t>
            </a:r>
          </a:p>
          <a:p>
            <a:pPr marL="285750" lvl="0" indent="-285750">
              <a:spcAft>
                <a:spcPts val="600"/>
              </a:spcAft>
              <a:buFont typeface="Arial" panose="020B0604020202020204" pitchFamily="34" charset="0"/>
              <a:buChar char="•"/>
              <a:defRPr/>
            </a:pPr>
            <a:endParaRPr lang="en-US" kern="0">
              <a:solidFill>
                <a:srgbClr val="000000"/>
              </a:solidFill>
              <a:latin typeface="Segoe UI Semilight" panose="020B0402040204020203" pitchFamily="34" charset="0"/>
              <a:ea typeface="Quattrocento Sans"/>
              <a:cs typeface="Segoe UI Semilight" panose="020B0402040204020203" pitchFamily="34" charset="0"/>
              <a:sym typeface="Quattrocento Sans"/>
            </a:endParaRPr>
          </a:p>
        </p:txBody>
      </p:sp>
      <p:sp>
        <p:nvSpPr>
          <p:cNvPr id="14" name="Google Shape;543;ga90b81d70d_0_0">
            <a:extLst>
              <a:ext uri="{FF2B5EF4-FFF2-40B4-BE49-F238E27FC236}">
                <a16:creationId xmlns:a16="http://schemas.microsoft.com/office/drawing/2014/main" id="{542E6E0A-77E3-4B99-8356-DD61D511B89B}"/>
              </a:ext>
            </a:extLst>
          </p:cNvPr>
          <p:cNvSpPr/>
          <p:nvPr/>
        </p:nvSpPr>
        <p:spPr>
          <a:xfrm>
            <a:off x="1362132" y="1286828"/>
            <a:ext cx="9473400" cy="467100"/>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sz="1800" b="1">
                <a:solidFill>
                  <a:schemeClr val="lt1"/>
                </a:solidFill>
                <a:latin typeface="Segoe UI Semibold" panose="020B0702040204020203" pitchFamily="34" charset="0"/>
                <a:ea typeface="Quattrocento Sans"/>
                <a:cs typeface="Segoe UI Semibold" panose="020B0702040204020203" pitchFamily="34" charset="0"/>
                <a:sym typeface="Quattrocento Sans"/>
              </a:rPr>
              <a:t>Checklist</a:t>
            </a:r>
            <a:endParaRPr>
              <a:latin typeface="Segoe UI Semibold" panose="020B0702040204020203" pitchFamily="34" charset="0"/>
              <a:cs typeface="Segoe UI Semibold" panose="020B0702040204020203" pitchFamily="34" charset="0"/>
            </a:endParaRPr>
          </a:p>
        </p:txBody>
      </p:sp>
      <p:sp>
        <p:nvSpPr>
          <p:cNvPr id="17" name="Google Shape;543;ga90b81d70d_0_0">
            <a:extLst>
              <a:ext uri="{FF2B5EF4-FFF2-40B4-BE49-F238E27FC236}">
                <a16:creationId xmlns:a16="http://schemas.microsoft.com/office/drawing/2014/main" id="{3E11C882-C769-45EF-B500-D8905EF21869}"/>
              </a:ext>
            </a:extLst>
          </p:cNvPr>
          <p:cNvSpPr/>
          <p:nvPr/>
        </p:nvSpPr>
        <p:spPr>
          <a:xfrm>
            <a:off x="1356468" y="5679084"/>
            <a:ext cx="9473400" cy="467100"/>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r>
              <a:rPr lang="en-US" b="1">
                <a:solidFill>
                  <a:schemeClr val="lt1"/>
                </a:solidFill>
                <a:latin typeface="Segoe UI Semibold" panose="020B0702040204020203" pitchFamily="34" charset="0"/>
                <a:cs typeface="Segoe UI Semibold" panose="020B0702040204020203" pitchFamily="34" charset="0"/>
                <a:sym typeface="Quattrocento Sans"/>
              </a:rPr>
              <a:t>Poorly-made slides indicate a low-quality organization</a:t>
            </a:r>
            <a:endParaRPr>
              <a:latin typeface="Segoe UI Semibold" panose="020B0702040204020203" pitchFamily="34" charset="0"/>
              <a:cs typeface="Segoe UI Semibold" panose="020B0702040204020203" pitchFamily="34" charset="0"/>
            </a:endParaRPr>
          </a:p>
        </p:txBody>
      </p:sp>
      <p:sp>
        <p:nvSpPr>
          <p:cNvPr id="19" name="TextBox 18">
            <a:extLst>
              <a:ext uri="{FF2B5EF4-FFF2-40B4-BE49-F238E27FC236}">
                <a16:creationId xmlns:a16="http://schemas.microsoft.com/office/drawing/2014/main" id="{1AB8332C-8DCC-4ED2-9DC7-55AC71C6F566}"/>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cs typeface="Segoe UI Semibold" panose="020B0702040204020203" pitchFamily="34" charset="0"/>
                <a:sym typeface="Quattrocento Sans"/>
              </a:rPr>
              <a:t>Things to remember</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16634785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411BA5CE-937F-4C91-BE55-727759D35AE8}"/>
              </a:ext>
            </a:extLst>
          </p:cNvPr>
          <p:cNvGrpSpPr/>
          <p:nvPr/>
        </p:nvGrpSpPr>
        <p:grpSpPr>
          <a:xfrm>
            <a:off x="2227083" y="1429304"/>
            <a:ext cx="6526300" cy="4874680"/>
            <a:chOff x="332111" y="2009205"/>
            <a:chExt cx="4100189" cy="3062548"/>
          </a:xfrm>
        </p:grpSpPr>
        <p:grpSp>
          <p:nvGrpSpPr>
            <p:cNvPr id="3" name="Group 2">
              <a:extLst>
                <a:ext uri="{FF2B5EF4-FFF2-40B4-BE49-F238E27FC236}">
                  <a16:creationId xmlns:a16="http://schemas.microsoft.com/office/drawing/2014/main" id="{88AEC96C-E675-4BE6-AB3B-1E3D64E86056}"/>
                </a:ext>
              </a:extLst>
            </p:cNvPr>
            <p:cNvGrpSpPr>
              <a:grpSpLocks/>
            </p:cNvGrpSpPr>
            <p:nvPr/>
          </p:nvGrpSpPr>
          <p:grpSpPr bwMode="auto">
            <a:xfrm>
              <a:off x="747713" y="2009205"/>
              <a:ext cx="3684587" cy="2820988"/>
              <a:chOff x="470" y="1382"/>
              <a:chExt cx="2515" cy="1777"/>
            </a:xfrm>
          </p:grpSpPr>
          <p:sp>
            <p:nvSpPr>
              <p:cNvPr id="10" name="Rectangle 9">
                <a:extLst>
                  <a:ext uri="{FF2B5EF4-FFF2-40B4-BE49-F238E27FC236}">
                    <a16:creationId xmlns:a16="http://schemas.microsoft.com/office/drawing/2014/main" id="{7FB3BACE-C22B-44CD-A639-A96C8116286F}"/>
                  </a:ext>
                </a:extLst>
              </p:cNvPr>
              <p:cNvSpPr>
                <a:spLocks noChangeArrowheads="1"/>
              </p:cNvSpPr>
              <p:nvPr/>
            </p:nvSpPr>
            <p:spPr bwMode="auto">
              <a:xfrm>
                <a:off x="1727" y="2271"/>
                <a:ext cx="1258" cy="888"/>
              </a:xfrm>
              <a:prstGeom prst="rect">
                <a:avLst/>
              </a:prstGeom>
              <a:solidFill>
                <a:srgbClr val="A80532"/>
              </a:solidFill>
              <a:ln w="9525">
                <a:solidFill>
                  <a:schemeClr val="bg1"/>
                </a:solidFill>
                <a:miter lim="800000"/>
                <a:headEnd/>
                <a:tailEnd/>
              </a:ln>
            </p:spPr>
            <p:txBody>
              <a:bodyPr anchor="ctr" anchorCtr="1"/>
              <a:lstStyle/>
              <a:p>
                <a:r>
                  <a:rPr lang="en-GB" altLang="ja-JP" b="1">
                    <a:solidFill>
                      <a:schemeClr val="bg1"/>
                    </a:solidFill>
                    <a:latin typeface="Segoe UI Semilight" panose="020B0402040204020203" pitchFamily="34" charset="0"/>
                    <a:ea typeface="ＭＳ Ｐゴシック" charset="-128"/>
                    <a:cs typeface="Segoe UI Semilight" panose="020B0402040204020203" pitchFamily="34" charset="0"/>
                  </a:rPr>
                  <a:t>Title:</a:t>
                </a:r>
              </a:p>
              <a:p>
                <a:r>
                  <a:rPr lang="en-GB" altLang="ja-JP" b="1">
                    <a:solidFill>
                      <a:schemeClr val="bg1"/>
                    </a:solidFill>
                    <a:latin typeface="Segoe UI Semilight" panose="020B0402040204020203" pitchFamily="34" charset="0"/>
                    <a:ea typeface="ＭＳ Ｐゴシック" charset="-128"/>
                    <a:cs typeface="Segoe UI Semilight" panose="020B0402040204020203" pitchFamily="34" charset="0"/>
                  </a:rPr>
                  <a:t>Text </a:t>
                </a:r>
              </a:p>
            </p:txBody>
          </p:sp>
          <p:sp>
            <p:nvSpPr>
              <p:cNvPr id="11" name="Rectangle 10">
                <a:extLst>
                  <a:ext uri="{FF2B5EF4-FFF2-40B4-BE49-F238E27FC236}">
                    <a16:creationId xmlns:a16="http://schemas.microsoft.com/office/drawing/2014/main" id="{2B60A6C8-AAB0-432B-827C-44D31E9F6947}"/>
                  </a:ext>
                </a:extLst>
              </p:cNvPr>
              <p:cNvSpPr>
                <a:spLocks noChangeArrowheads="1"/>
              </p:cNvSpPr>
              <p:nvPr/>
            </p:nvSpPr>
            <p:spPr bwMode="auto">
              <a:xfrm>
                <a:off x="470" y="2271"/>
                <a:ext cx="1257" cy="888"/>
              </a:xfrm>
              <a:prstGeom prst="rect">
                <a:avLst/>
              </a:prstGeom>
              <a:solidFill>
                <a:srgbClr val="A80532"/>
              </a:solidFill>
              <a:ln w="9525" algn="ctr">
                <a:solidFill>
                  <a:schemeClr val="bg1"/>
                </a:solidFill>
                <a:miter lim="800000"/>
                <a:headEnd/>
                <a:tailEnd/>
              </a:ln>
            </p:spPr>
            <p:txBody>
              <a:bodyPr anchor="ctr" anchorCtr="1"/>
              <a:lstStyle/>
              <a:p>
                <a:r>
                  <a:rPr lang="en-GB" altLang="ja-JP" b="1">
                    <a:solidFill>
                      <a:schemeClr val="bg1"/>
                    </a:solidFill>
                    <a:latin typeface="Segoe UI Semilight" panose="020B0402040204020203" pitchFamily="34" charset="0"/>
                    <a:ea typeface="ＭＳ Ｐゴシック" charset="-128"/>
                    <a:cs typeface="Segoe UI Semilight" panose="020B0402040204020203" pitchFamily="34" charset="0"/>
                  </a:rPr>
                  <a:t>Title:</a:t>
                </a:r>
              </a:p>
              <a:p>
                <a:r>
                  <a:rPr lang="en-GB" altLang="ja-JP" b="1">
                    <a:solidFill>
                      <a:schemeClr val="bg1"/>
                    </a:solidFill>
                    <a:latin typeface="Segoe UI Semilight" panose="020B0402040204020203" pitchFamily="34" charset="0"/>
                    <a:ea typeface="ＭＳ Ｐゴシック" charset="-128"/>
                    <a:cs typeface="Segoe UI Semilight" panose="020B0402040204020203" pitchFamily="34" charset="0"/>
                  </a:rPr>
                  <a:t>Text </a:t>
                </a:r>
              </a:p>
            </p:txBody>
          </p:sp>
          <p:sp>
            <p:nvSpPr>
              <p:cNvPr id="12" name="Rectangle 11">
                <a:extLst>
                  <a:ext uri="{FF2B5EF4-FFF2-40B4-BE49-F238E27FC236}">
                    <a16:creationId xmlns:a16="http://schemas.microsoft.com/office/drawing/2014/main" id="{64714E9F-3DA7-46D3-8466-AF159E1F049B}"/>
                  </a:ext>
                </a:extLst>
              </p:cNvPr>
              <p:cNvSpPr>
                <a:spLocks noChangeArrowheads="1"/>
              </p:cNvSpPr>
              <p:nvPr/>
            </p:nvSpPr>
            <p:spPr bwMode="auto">
              <a:xfrm>
                <a:off x="470" y="1382"/>
                <a:ext cx="1257" cy="888"/>
              </a:xfrm>
              <a:prstGeom prst="rect">
                <a:avLst/>
              </a:prstGeom>
              <a:solidFill>
                <a:srgbClr val="A80532"/>
              </a:solidFill>
              <a:ln w="9525" algn="ctr">
                <a:solidFill>
                  <a:srgbClr val="FFFFFF"/>
                </a:solidFill>
                <a:miter lim="800000"/>
                <a:headEnd/>
                <a:tailEnd/>
              </a:ln>
            </p:spPr>
            <p:txBody>
              <a:bodyPr anchor="ctr" anchorCtr="1"/>
              <a:lstStyle/>
              <a:p>
                <a:pPr algn="ctr"/>
                <a:r>
                  <a:rPr lang="en-GB" altLang="ja-JP" b="1">
                    <a:solidFill>
                      <a:schemeClr val="bg1"/>
                    </a:solidFill>
                    <a:latin typeface="Segoe UI Semilight" panose="020B0402040204020203" pitchFamily="34" charset="0"/>
                    <a:ea typeface="ＭＳ Ｐゴシック" charset="-128"/>
                    <a:cs typeface="Segoe UI Semilight" panose="020B0402040204020203" pitchFamily="34" charset="0"/>
                  </a:rPr>
                  <a:t>Title:</a:t>
                </a:r>
              </a:p>
              <a:p>
                <a:pPr algn="ctr"/>
                <a:r>
                  <a:rPr lang="en-GB" altLang="ja-JP" b="1">
                    <a:solidFill>
                      <a:schemeClr val="bg1"/>
                    </a:solidFill>
                    <a:latin typeface="Segoe UI Semilight" panose="020B0402040204020203" pitchFamily="34" charset="0"/>
                    <a:ea typeface="ＭＳ Ｐゴシック" charset="-128"/>
                    <a:cs typeface="Segoe UI Semilight" panose="020B0402040204020203" pitchFamily="34" charset="0"/>
                  </a:rPr>
                  <a:t>Text </a:t>
                </a:r>
              </a:p>
            </p:txBody>
          </p:sp>
          <p:sp>
            <p:nvSpPr>
              <p:cNvPr id="13" name="Rectangle 12">
                <a:extLst>
                  <a:ext uri="{FF2B5EF4-FFF2-40B4-BE49-F238E27FC236}">
                    <a16:creationId xmlns:a16="http://schemas.microsoft.com/office/drawing/2014/main" id="{2113F556-0F85-4D5F-B3D1-9E3C920823E8}"/>
                  </a:ext>
                </a:extLst>
              </p:cNvPr>
              <p:cNvSpPr>
                <a:spLocks noChangeArrowheads="1"/>
              </p:cNvSpPr>
              <p:nvPr/>
            </p:nvSpPr>
            <p:spPr bwMode="auto">
              <a:xfrm>
                <a:off x="1727" y="1382"/>
                <a:ext cx="1258" cy="888"/>
              </a:xfrm>
              <a:prstGeom prst="rect">
                <a:avLst/>
              </a:prstGeom>
              <a:solidFill>
                <a:srgbClr val="A80532"/>
              </a:solidFill>
              <a:ln w="9525" algn="ctr">
                <a:solidFill>
                  <a:srgbClr val="FFFFFF"/>
                </a:solidFill>
                <a:miter lim="800000"/>
                <a:headEnd/>
                <a:tailEnd/>
              </a:ln>
            </p:spPr>
            <p:txBody>
              <a:bodyPr anchor="ctr" anchorCtr="1"/>
              <a:lstStyle/>
              <a:p>
                <a:r>
                  <a:rPr lang="en-GB" altLang="ja-JP" b="1">
                    <a:solidFill>
                      <a:schemeClr val="bg1"/>
                    </a:solidFill>
                    <a:latin typeface="Segoe UI Semilight" panose="020B0402040204020203" pitchFamily="34" charset="0"/>
                    <a:ea typeface="ＭＳ Ｐゴシック" charset="-128"/>
                    <a:cs typeface="Segoe UI Semilight" panose="020B0402040204020203" pitchFamily="34" charset="0"/>
                  </a:rPr>
                  <a:t>Title:</a:t>
                </a:r>
              </a:p>
              <a:p>
                <a:r>
                  <a:rPr lang="en-GB" altLang="ja-JP" b="1">
                    <a:solidFill>
                      <a:schemeClr val="bg1"/>
                    </a:solidFill>
                    <a:latin typeface="Segoe UI Semilight" panose="020B0402040204020203" pitchFamily="34" charset="0"/>
                    <a:ea typeface="ＭＳ Ｐゴシック" charset="-128"/>
                    <a:cs typeface="Segoe UI Semilight" panose="020B0402040204020203" pitchFamily="34" charset="0"/>
                  </a:rPr>
                  <a:t>Text </a:t>
                </a:r>
              </a:p>
            </p:txBody>
          </p:sp>
        </p:grpSp>
        <p:sp>
          <p:nvSpPr>
            <p:cNvPr id="4" name="Text Box 8">
              <a:extLst>
                <a:ext uri="{FF2B5EF4-FFF2-40B4-BE49-F238E27FC236}">
                  <a16:creationId xmlns:a16="http://schemas.microsoft.com/office/drawing/2014/main" id="{531ED00E-9416-4D40-B59C-BEF141D7DE7B}"/>
                </a:ext>
              </a:extLst>
            </p:cNvPr>
            <p:cNvSpPr txBox="1">
              <a:spLocks noChangeAspect="1" noChangeArrowheads="1"/>
            </p:cNvSpPr>
            <p:nvPr/>
          </p:nvSpPr>
          <p:spPr bwMode="auto">
            <a:xfrm rot="16200000">
              <a:off x="88900" y="3305269"/>
              <a:ext cx="931863" cy="232035"/>
            </a:xfrm>
            <a:prstGeom prst="rect">
              <a:avLst/>
            </a:prstGeom>
            <a:noFill/>
            <a:ln w="9525">
              <a:noFill/>
              <a:miter lim="800000"/>
              <a:headEnd/>
              <a:tailEnd/>
            </a:ln>
          </p:spPr>
          <p:txBody>
            <a:bodyPr>
              <a:spAutoFit/>
            </a:bodyPr>
            <a:lstStyle/>
            <a:p>
              <a:pPr algn="ctr"/>
              <a:r>
                <a:rPr lang="en-GB" b="1">
                  <a:solidFill>
                    <a:srgbClr val="000000"/>
                  </a:solidFill>
                  <a:latin typeface="Segoe UI Light" panose="020B0502040204020203" pitchFamily="34" charset="0"/>
                  <a:ea typeface="ＭＳ Ｐゴシック" charset="-128"/>
                  <a:cs typeface="Segoe UI Light" panose="020B0502040204020203" pitchFamily="34" charset="0"/>
                </a:rPr>
                <a:t>Vertical axis</a:t>
              </a:r>
            </a:p>
          </p:txBody>
        </p:sp>
        <p:sp>
          <p:nvSpPr>
            <p:cNvPr id="5" name="Text Box 9">
              <a:extLst>
                <a:ext uri="{FF2B5EF4-FFF2-40B4-BE49-F238E27FC236}">
                  <a16:creationId xmlns:a16="http://schemas.microsoft.com/office/drawing/2014/main" id="{0E51FCCC-C7B6-4809-B2E1-A59A992FC25F}"/>
                </a:ext>
              </a:extLst>
            </p:cNvPr>
            <p:cNvSpPr txBox="1">
              <a:spLocks noChangeAspect="1" noChangeArrowheads="1"/>
            </p:cNvSpPr>
            <p:nvPr/>
          </p:nvSpPr>
          <p:spPr bwMode="auto">
            <a:xfrm>
              <a:off x="332111" y="2009205"/>
              <a:ext cx="412104" cy="232035"/>
            </a:xfrm>
            <a:prstGeom prst="rect">
              <a:avLst/>
            </a:prstGeom>
            <a:noFill/>
            <a:ln w="9525">
              <a:noFill/>
              <a:miter lim="800000"/>
              <a:headEnd/>
              <a:tailEnd/>
            </a:ln>
          </p:spPr>
          <p:txBody>
            <a:bodyPr wrap="none">
              <a:spAutoFit/>
            </a:bodyPr>
            <a:lstStyle/>
            <a:p>
              <a:pPr algn="ctr"/>
              <a:r>
                <a:rPr lang="en-GB">
                  <a:solidFill>
                    <a:srgbClr val="000000"/>
                  </a:solidFill>
                  <a:latin typeface="Segoe UI Semilight" panose="020B0402040204020203" pitchFamily="34" charset="0"/>
                  <a:ea typeface="ＭＳ Ｐゴシック" charset="-128"/>
                  <a:cs typeface="Segoe UI Semilight" panose="020B0402040204020203" pitchFamily="34" charset="0"/>
                </a:rPr>
                <a:t>High</a:t>
              </a:r>
            </a:p>
          </p:txBody>
        </p:sp>
        <p:sp>
          <p:nvSpPr>
            <p:cNvPr id="6" name="Text Box 10">
              <a:extLst>
                <a:ext uri="{FF2B5EF4-FFF2-40B4-BE49-F238E27FC236}">
                  <a16:creationId xmlns:a16="http://schemas.microsoft.com/office/drawing/2014/main" id="{1C693827-CED1-42ED-9931-BDCD159AB4C0}"/>
                </a:ext>
              </a:extLst>
            </p:cNvPr>
            <p:cNvSpPr txBox="1">
              <a:spLocks noChangeAspect="1" noChangeArrowheads="1"/>
            </p:cNvSpPr>
            <p:nvPr/>
          </p:nvSpPr>
          <p:spPr bwMode="auto">
            <a:xfrm>
              <a:off x="813542" y="4839718"/>
              <a:ext cx="449367" cy="232035"/>
            </a:xfrm>
            <a:prstGeom prst="rect">
              <a:avLst/>
            </a:prstGeom>
            <a:noFill/>
            <a:ln w="9525">
              <a:noFill/>
              <a:miter lim="800000"/>
              <a:headEnd/>
              <a:tailEnd/>
            </a:ln>
          </p:spPr>
          <p:txBody>
            <a:bodyPr wrap="none">
              <a:spAutoFit/>
            </a:bodyPr>
            <a:lstStyle/>
            <a:p>
              <a:pPr algn="ctr"/>
              <a:r>
                <a:rPr lang="en-GB">
                  <a:solidFill>
                    <a:srgbClr val="000000"/>
                  </a:solidFill>
                  <a:latin typeface="Segoe UI Semilight" panose="020B0402040204020203" pitchFamily="34" charset="0"/>
                  <a:ea typeface="ＭＳ Ｐゴシック" charset="-128"/>
                  <a:cs typeface="Segoe UI Semilight" panose="020B0402040204020203" pitchFamily="34" charset="0"/>
                </a:rPr>
                <a:t>Small</a:t>
              </a:r>
            </a:p>
          </p:txBody>
        </p:sp>
        <p:sp>
          <p:nvSpPr>
            <p:cNvPr id="7" name="Text Box 11">
              <a:extLst>
                <a:ext uri="{FF2B5EF4-FFF2-40B4-BE49-F238E27FC236}">
                  <a16:creationId xmlns:a16="http://schemas.microsoft.com/office/drawing/2014/main" id="{58DC2520-E457-448D-9E6A-C8DD7AADF190}"/>
                </a:ext>
              </a:extLst>
            </p:cNvPr>
            <p:cNvSpPr txBox="1">
              <a:spLocks noChangeAspect="1" noChangeArrowheads="1"/>
            </p:cNvSpPr>
            <p:nvPr/>
          </p:nvSpPr>
          <p:spPr bwMode="auto">
            <a:xfrm>
              <a:off x="2071688" y="4839718"/>
              <a:ext cx="1042987" cy="232035"/>
            </a:xfrm>
            <a:prstGeom prst="rect">
              <a:avLst/>
            </a:prstGeom>
            <a:noFill/>
            <a:ln w="9525">
              <a:noFill/>
              <a:miter lim="800000"/>
              <a:headEnd/>
              <a:tailEnd/>
            </a:ln>
          </p:spPr>
          <p:txBody>
            <a:bodyPr>
              <a:spAutoFit/>
            </a:bodyPr>
            <a:lstStyle/>
            <a:p>
              <a:pPr algn="ctr"/>
              <a:r>
                <a:rPr lang="en-GB" b="1">
                  <a:solidFill>
                    <a:srgbClr val="000000"/>
                  </a:solidFill>
                  <a:latin typeface="Segoe UI Semilight" panose="020B0402040204020203" pitchFamily="34" charset="0"/>
                  <a:ea typeface="ＭＳ Ｐゴシック" charset="-128"/>
                  <a:cs typeface="Segoe UI Semilight" panose="020B0402040204020203" pitchFamily="34" charset="0"/>
                </a:rPr>
                <a:t>Horizontal axis</a:t>
              </a:r>
            </a:p>
          </p:txBody>
        </p:sp>
        <p:sp>
          <p:nvSpPr>
            <p:cNvPr id="8" name="Text Box 12">
              <a:extLst>
                <a:ext uri="{FF2B5EF4-FFF2-40B4-BE49-F238E27FC236}">
                  <a16:creationId xmlns:a16="http://schemas.microsoft.com/office/drawing/2014/main" id="{457468AD-A3DB-4919-AF97-9A60F46120AC}"/>
                </a:ext>
              </a:extLst>
            </p:cNvPr>
            <p:cNvSpPr txBox="1">
              <a:spLocks noChangeAspect="1" noChangeArrowheads="1"/>
            </p:cNvSpPr>
            <p:nvPr/>
          </p:nvSpPr>
          <p:spPr bwMode="auto">
            <a:xfrm>
              <a:off x="385513" y="4525393"/>
              <a:ext cx="368799" cy="232035"/>
            </a:xfrm>
            <a:prstGeom prst="rect">
              <a:avLst/>
            </a:prstGeom>
            <a:noFill/>
            <a:ln w="9525">
              <a:noFill/>
              <a:miter lim="800000"/>
              <a:headEnd/>
              <a:tailEnd/>
            </a:ln>
          </p:spPr>
          <p:txBody>
            <a:bodyPr wrap="none">
              <a:spAutoFit/>
            </a:bodyPr>
            <a:lstStyle/>
            <a:p>
              <a:pPr algn="ctr"/>
              <a:r>
                <a:rPr lang="en-GB">
                  <a:solidFill>
                    <a:srgbClr val="000000"/>
                  </a:solidFill>
                  <a:latin typeface="Segoe UI Semilight" panose="020B0402040204020203" pitchFamily="34" charset="0"/>
                  <a:ea typeface="ＭＳ Ｐゴシック" charset="-128"/>
                  <a:cs typeface="Segoe UI Semilight" panose="020B0402040204020203" pitchFamily="34" charset="0"/>
                </a:rPr>
                <a:t>Low</a:t>
              </a:r>
            </a:p>
          </p:txBody>
        </p:sp>
        <p:sp>
          <p:nvSpPr>
            <p:cNvPr id="9" name="Text Box 13">
              <a:extLst>
                <a:ext uri="{FF2B5EF4-FFF2-40B4-BE49-F238E27FC236}">
                  <a16:creationId xmlns:a16="http://schemas.microsoft.com/office/drawing/2014/main" id="{8E76515F-AB66-4A08-BF79-C067F958121B}"/>
                </a:ext>
              </a:extLst>
            </p:cNvPr>
            <p:cNvSpPr txBox="1">
              <a:spLocks noChangeAspect="1" noChangeArrowheads="1"/>
            </p:cNvSpPr>
            <p:nvPr/>
          </p:nvSpPr>
          <p:spPr bwMode="auto">
            <a:xfrm>
              <a:off x="3908620" y="4839718"/>
              <a:ext cx="461573" cy="232035"/>
            </a:xfrm>
            <a:prstGeom prst="rect">
              <a:avLst/>
            </a:prstGeom>
            <a:noFill/>
            <a:ln w="9525">
              <a:noFill/>
              <a:miter lim="800000"/>
              <a:headEnd/>
              <a:tailEnd/>
            </a:ln>
          </p:spPr>
          <p:txBody>
            <a:bodyPr wrap="none">
              <a:spAutoFit/>
            </a:bodyPr>
            <a:lstStyle/>
            <a:p>
              <a:pPr algn="ctr"/>
              <a:r>
                <a:rPr lang="en-GB">
                  <a:solidFill>
                    <a:srgbClr val="000000"/>
                  </a:solidFill>
                  <a:latin typeface="Segoe UI Semilight" panose="020B0402040204020203" pitchFamily="34" charset="0"/>
                  <a:ea typeface="ＭＳ Ｐゴシック" charset="-128"/>
                  <a:cs typeface="Segoe UI Semilight" panose="020B0402040204020203" pitchFamily="34" charset="0"/>
                </a:rPr>
                <a:t>Large</a:t>
              </a:r>
            </a:p>
          </p:txBody>
        </p:sp>
      </p:grpSp>
      <p:sp>
        <p:nvSpPr>
          <p:cNvPr id="14" name="TextBox 13">
            <a:extLst>
              <a:ext uri="{FF2B5EF4-FFF2-40B4-BE49-F238E27FC236}">
                <a16:creationId xmlns:a16="http://schemas.microsoft.com/office/drawing/2014/main" id="{CE78E8E5-6492-46A6-855B-6E0E26AFF58B}"/>
              </a:ext>
            </a:extLst>
          </p:cNvPr>
          <p:cNvSpPr txBox="1"/>
          <p:nvPr/>
        </p:nvSpPr>
        <p:spPr>
          <a:xfrm>
            <a:off x="440536" y="296637"/>
            <a:ext cx="7972926"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This graphic is for a 2x2 Matrix</a:t>
            </a:r>
          </a:p>
        </p:txBody>
      </p:sp>
      <p:sp>
        <p:nvSpPr>
          <p:cNvPr id="16" name="TextBox 15">
            <a:extLst>
              <a:ext uri="{FF2B5EF4-FFF2-40B4-BE49-F238E27FC236}">
                <a16:creationId xmlns:a16="http://schemas.microsoft.com/office/drawing/2014/main" id="{37703DE4-E843-4254-807A-5DF71F2B7AB6}"/>
              </a:ext>
            </a:extLst>
          </p:cNvPr>
          <p:cNvSpPr txBox="1"/>
          <p:nvPr/>
        </p:nvSpPr>
        <p:spPr>
          <a:xfrm>
            <a:off x="9282236" y="2201333"/>
            <a:ext cx="2402373" cy="1477328"/>
          </a:xfrm>
          <a:prstGeom prst="rect">
            <a:avLst/>
          </a:prstGeom>
          <a:noFill/>
        </p:spPr>
        <p:txBody>
          <a:bodyPr wrap="square" rtlCol="0">
            <a:spAutoFit/>
          </a:bodyPr>
          <a:lstStyle/>
          <a:p>
            <a:r>
              <a:rPr lang="en-US">
                <a:solidFill>
                  <a:srgbClr val="000000"/>
                </a:solidFill>
                <a:latin typeface="Segoe UI Semilight" panose="020B0402040204020203" pitchFamily="34" charset="0"/>
                <a:cs typeface="Segoe UI Semilight" panose="020B0402040204020203" pitchFamily="34" charset="0"/>
              </a:rPr>
              <a:t>Optionally, you can  move the graphic left and put a few bullet points here expanding on the matrix</a:t>
            </a:r>
          </a:p>
        </p:txBody>
      </p:sp>
    </p:spTree>
    <p:extLst>
      <p:ext uri="{BB962C8B-B14F-4D97-AF65-F5344CB8AC3E}">
        <p14:creationId xmlns:p14="http://schemas.microsoft.com/office/powerpoint/2010/main" val="37553759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0" name="Cloud5">
            <a:extLst>
              <a:ext uri="{FF2B5EF4-FFF2-40B4-BE49-F238E27FC236}">
                <a16:creationId xmlns:a16="http://schemas.microsoft.com/office/drawing/2014/main" id="{1020F8DC-C5BC-4F8D-9AA6-DF480B64B2FA}"/>
              </a:ext>
            </a:extLst>
          </p:cNvPr>
          <p:cNvSpPr>
            <a:spLocks noChangeAspect="1" noChangeArrowheads="1"/>
          </p:cNvSpPr>
          <p:nvPr>
            <p:custDataLst>
              <p:tags r:id="rId1"/>
            </p:custDataLst>
          </p:nvPr>
        </p:nvSpPr>
        <p:spPr bwMode="auto">
          <a:xfrm>
            <a:off x="2480085" y="3092856"/>
            <a:ext cx="1743845" cy="1165831"/>
          </a:xfrm>
          <a:custGeom>
            <a:avLst/>
            <a:gdLst>
              <a:gd name="T0" fmla="*/ 629 w 785"/>
              <a:gd name="T1" fmla="*/ 199 h 524"/>
              <a:gd name="T2" fmla="*/ 392 w 785"/>
              <a:gd name="T3" fmla="*/ 0 h 524"/>
              <a:gd name="T4" fmla="*/ 174 w 785"/>
              <a:gd name="T5" fmla="*/ 130 h 524"/>
              <a:gd name="T6" fmla="*/ 0 w 785"/>
              <a:gd name="T7" fmla="*/ 330 h 524"/>
              <a:gd name="T8" fmla="*/ 193 w 785"/>
              <a:gd name="T9" fmla="*/ 523 h 524"/>
              <a:gd name="T10" fmla="*/ 616 w 785"/>
              <a:gd name="T11" fmla="*/ 523 h 524"/>
              <a:gd name="T12" fmla="*/ 784 w 785"/>
              <a:gd name="T13" fmla="*/ 361 h 524"/>
              <a:gd name="T14" fmla="*/ 629 w 785"/>
              <a:gd name="T15" fmla="*/ 199 h 524"/>
              <a:gd name="T16" fmla="*/ 616 w 785"/>
              <a:gd name="T17" fmla="*/ 454 h 524"/>
              <a:gd name="T18" fmla="*/ 193 w 785"/>
              <a:gd name="T19" fmla="*/ 454 h 524"/>
              <a:gd name="T20" fmla="*/ 62 w 785"/>
              <a:gd name="T21" fmla="*/ 330 h 524"/>
              <a:gd name="T22" fmla="*/ 193 w 785"/>
              <a:gd name="T23" fmla="*/ 199 h 524"/>
              <a:gd name="T24" fmla="*/ 218 w 785"/>
              <a:gd name="T25" fmla="*/ 199 h 524"/>
              <a:gd name="T26" fmla="*/ 392 w 785"/>
              <a:gd name="T27" fmla="*/ 68 h 524"/>
              <a:gd name="T28" fmla="*/ 573 w 785"/>
              <a:gd name="T29" fmla="*/ 243 h 524"/>
              <a:gd name="T30" fmla="*/ 573 w 785"/>
              <a:gd name="T31" fmla="*/ 261 h 524"/>
              <a:gd name="T32" fmla="*/ 616 w 785"/>
              <a:gd name="T33" fmla="*/ 261 h 524"/>
              <a:gd name="T34" fmla="*/ 716 w 785"/>
              <a:gd name="T35" fmla="*/ 361 h 524"/>
              <a:gd name="T36" fmla="*/ 616 w 785"/>
              <a:gd name="T37" fmla="*/ 45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85" h="524">
                <a:moveTo>
                  <a:pt x="629" y="199"/>
                </a:moveTo>
                <a:cubicBezTo>
                  <a:pt x="610" y="87"/>
                  <a:pt x="510" y="0"/>
                  <a:pt x="392" y="0"/>
                </a:cubicBezTo>
                <a:cubicBezTo>
                  <a:pt x="299" y="0"/>
                  <a:pt x="218" y="56"/>
                  <a:pt x="174" y="130"/>
                </a:cubicBezTo>
                <a:cubicBezTo>
                  <a:pt x="75" y="143"/>
                  <a:pt x="0" y="224"/>
                  <a:pt x="0" y="330"/>
                </a:cubicBezTo>
                <a:cubicBezTo>
                  <a:pt x="0" y="436"/>
                  <a:pt x="87" y="523"/>
                  <a:pt x="193" y="523"/>
                </a:cubicBezTo>
                <a:lnTo>
                  <a:pt x="616" y="523"/>
                </a:lnTo>
                <a:cubicBezTo>
                  <a:pt x="710" y="523"/>
                  <a:pt x="784" y="448"/>
                  <a:pt x="784" y="361"/>
                </a:cubicBezTo>
                <a:cubicBezTo>
                  <a:pt x="784" y="274"/>
                  <a:pt x="716" y="205"/>
                  <a:pt x="629" y="199"/>
                </a:cubicBezTo>
                <a:close/>
                <a:moveTo>
                  <a:pt x="616" y="454"/>
                </a:moveTo>
                <a:lnTo>
                  <a:pt x="193" y="454"/>
                </a:lnTo>
                <a:cubicBezTo>
                  <a:pt x="124" y="454"/>
                  <a:pt x="62" y="401"/>
                  <a:pt x="62" y="330"/>
                </a:cubicBezTo>
                <a:cubicBezTo>
                  <a:pt x="62" y="258"/>
                  <a:pt x="124" y="199"/>
                  <a:pt x="193" y="199"/>
                </a:cubicBezTo>
                <a:lnTo>
                  <a:pt x="218" y="199"/>
                </a:lnTo>
                <a:cubicBezTo>
                  <a:pt x="243" y="124"/>
                  <a:pt x="311" y="68"/>
                  <a:pt x="392" y="68"/>
                </a:cubicBezTo>
                <a:cubicBezTo>
                  <a:pt x="485" y="68"/>
                  <a:pt x="573" y="149"/>
                  <a:pt x="573" y="243"/>
                </a:cubicBezTo>
                <a:lnTo>
                  <a:pt x="573" y="261"/>
                </a:lnTo>
                <a:lnTo>
                  <a:pt x="616" y="261"/>
                </a:lnTo>
                <a:cubicBezTo>
                  <a:pt x="672" y="261"/>
                  <a:pt x="716" y="305"/>
                  <a:pt x="716" y="361"/>
                </a:cubicBezTo>
                <a:cubicBezTo>
                  <a:pt x="716" y="417"/>
                  <a:pt x="672" y="454"/>
                  <a:pt x="616" y="454"/>
                </a:cubicBezTo>
                <a:close/>
              </a:path>
            </a:pathLst>
          </a:custGeom>
          <a:solidFill>
            <a:srgbClr val="0072C6"/>
          </a:solidFill>
          <a:ln>
            <a:noFill/>
          </a:ln>
          <a:effectLst/>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nvGrpSpPr>
          <p:cNvPr id="31" name="Strategy2">
            <a:extLst>
              <a:ext uri="{FF2B5EF4-FFF2-40B4-BE49-F238E27FC236}">
                <a16:creationId xmlns:a16="http://schemas.microsoft.com/office/drawing/2014/main" id="{E41D7BD5-7377-40D1-989C-171DEA8D346C}"/>
              </a:ext>
            </a:extLst>
          </p:cNvPr>
          <p:cNvGrpSpPr>
            <a:grpSpLocks noChangeAspect="1"/>
          </p:cNvGrpSpPr>
          <p:nvPr/>
        </p:nvGrpSpPr>
        <p:grpSpPr>
          <a:xfrm>
            <a:off x="5969489" y="1030035"/>
            <a:ext cx="1254480" cy="1250668"/>
            <a:chOff x="2467214" y="198175"/>
            <a:chExt cx="544580" cy="575483"/>
          </a:xfrm>
          <a:solidFill>
            <a:srgbClr val="ED7D31"/>
          </a:solidFill>
        </p:grpSpPr>
        <p:sp>
          <p:nvSpPr>
            <p:cNvPr id="32" name="Block Arc 31">
              <a:extLst>
                <a:ext uri="{FF2B5EF4-FFF2-40B4-BE49-F238E27FC236}">
                  <a16:creationId xmlns:a16="http://schemas.microsoft.com/office/drawing/2014/main" id="{BF0E5EBF-7CA6-429E-97DE-806332852FBF}"/>
                </a:ext>
              </a:extLst>
            </p:cNvPr>
            <p:cNvSpPr>
              <a:spLocks noChangeAspect="1"/>
            </p:cNvSpPr>
            <p:nvPr/>
          </p:nvSpPr>
          <p:spPr>
            <a:xfrm rot="7729432" flipH="1">
              <a:off x="2467214" y="198175"/>
              <a:ext cx="352541" cy="352541"/>
            </a:xfrm>
            <a:prstGeom prst="blockArc">
              <a:avLst>
                <a:gd name="adj1" fmla="val 12393439"/>
                <a:gd name="adj2" fmla="val 17143738"/>
                <a:gd name="adj3" fmla="val 7393"/>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a typeface="+mn-ea"/>
                <a:cs typeface="+mn-cs"/>
              </a:endParaRPr>
            </a:p>
          </p:txBody>
        </p:sp>
        <p:sp>
          <p:nvSpPr>
            <p:cNvPr id="33" name="Trends4">
              <a:extLst>
                <a:ext uri="{FF2B5EF4-FFF2-40B4-BE49-F238E27FC236}">
                  <a16:creationId xmlns:a16="http://schemas.microsoft.com/office/drawing/2014/main" id="{E0CA8260-64D8-4EE2-BE26-87CCA0A6682B}"/>
                </a:ext>
              </a:extLst>
            </p:cNvPr>
            <p:cNvSpPr>
              <a:spLocks noEditPoints="1"/>
            </p:cNvSpPr>
            <p:nvPr>
              <p:custDataLst>
                <p:tags r:id="rId7"/>
              </p:custDataLst>
            </p:nvPr>
          </p:nvSpPr>
          <p:spPr bwMode="auto">
            <a:xfrm>
              <a:off x="2514674" y="283274"/>
              <a:ext cx="497120" cy="489037"/>
            </a:xfrm>
            <a:custGeom>
              <a:avLst/>
              <a:gdLst>
                <a:gd name="T0" fmla="*/ 860 w 873"/>
                <a:gd name="T1" fmla="*/ 0 h 856"/>
                <a:gd name="T2" fmla="*/ 13 w 873"/>
                <a:gd name="T3" fmla="*/ 0 h 856"/>
                <a:gd name="T4" fmla="*/ 0 w 873"/>
                <a:gd name="T5" fmla="*/ 13 h 856"/>
                <a:gd name="T6" fmla="*/ 0 w 873"/>
                <a:gd name="T7" fmla="*/ 109 h 856"/>
                <a:gd name="T8" fmla="*/ 13 w 873"/>
                <a:gd name="T9" fmla="*/ 121 h 856"/>
                <a:gd name="T10" fmla="*/ 38 w 873"/>
                <a:gd name="T11" fmla="*/ 121 h 856"/>
                <a:gd name="T12" fmla="*/ 38 w 873"/>
                <a:gd name="T13" fmla="*/ 585 h 856"/>
                <a:gd name="T14" fmla="*/ 50 w 873"/>
                <a:gd name="T15" fmla="*/ 598 h 856"/>
                <a:gd name="T16" fmla="*/ 402 w 873"/>
                <a:gd name="T17" fmla="*/ 598 h 856"/>
                <a:gd name="T18" fmla="*/ 323 w 873"/>
                <a:gd name="T19" fmla="*/ 840 h 856"/>
                <a:gd name="T20" fmla="*/ 330 w 873"/>
                <a:gd name="T21" fmla="*/ 856 h 856"/>
                <a:gd name="T22" fmla="*/ 334 w 873"/>
                <a:gd name="T23" fmla="*/ 856 h 856"/>
                <a:gd name="T24" fmla="*/ 347 w 873"/>
                <a:gd name="T25" fmla="*/ 847 h 856"/>
                <a:gd name="T26" fmla="*/ 430 w 873"/>
                <a:gd name="T27" fmla="*/ 587 h 856"/>
                <a:gd name="T28" fmla="*/ 429 w 873"/>
                <a:gd name="T29" fmla="*/ 576 h 856"/>
                <a:gd name="T30" fmla="*/ 419 w 873"/>
                <a:gd name="T31" fmla="*/ 571 h 856"/>
                <a:gd name="T32" fmla="*/ 63 w 873"/>
                <a:gd name="T33" fmla="*/ 571 h 856"/>
                <a:gd name="T34" fmla="*/ 63 w 873"/>
                <a:gd name="T35" fmla="*/ 121 h 856"/>
                <a:gd name="T36" fmla="*/ 812 w 873"/>
                <a:gd name="T37" fmla="*/ 121 h 856"/>
                <a:gd name="T38" fmla="*/ 812 w 873"/>
                <a:gd name="T39" fmla="*/ 573 h 856"/>
                <a:gd name="T40" fmla="*/ 495 w 873"/>
                <a:gd name="T41" fmla="*/ 573 h 856"/>
                <a:gd name="T42" fmla="*/ 483 w 873"/>
                <a:gd name="T43" fmla="*/ 585 h 856"/>
                <a:gd name="T44" fmla="*/ 495 w 873"/>
                <a:gd name="T45" fmla="*/ 598 h 856"/>
                <a:gd name="T46" fmla="*/ 823 w 873"/>
                <a:gd name="T47" fmla="*/ 598 h 856"/>
                <a:gd name="T48" fmla="*/ 835 w 873"/>
                <a:gd name="T49" fmla="*/ 585 h 856"/>
                <a:gd name="T50" fmla="*/ 835 w 873"/>
                <a:gd name="T51" fmla="*/ 121 h 856"/>
                <a:gd name="T52" fmla="*/ 860 w 873"/>
                <a:gd name="T53" fmla="*/ 121 h 856"/>
                <a:gd name="T54" fmla="*/ 873 w 873"/>
                <a:gd name="T55" fmla="*/ 109 h 856"/>
                <a:gd name="T56" fmla="*/ 873 w 873"/>
                <a:gd name="T57" fmla="*/ 13 h 856"/>
                <a:gd name="T58" fmla="*/ 860 w 873"/>
                <a:gd name="T59" fmla="*/ 0 h 856"/>
                <a:gd name="T60" fmla="*/ 848 w 873"/>
                <a:gd name="T61" fmla="*/ 96 h 856"/>
                <a:gd name="T62" fmla="*/ 823 w 873"/>
                <a:gd name="T63" fmla="*/ 96 h 856"/>
                <a:gd name="T64" fmla="*/ 50 w 873"/>
                <a:gd name="T65" fmla="*/ 96 h 856"/>
                <a:gd name="T66" fmla="*/ 25 w 873"/>
                <a:gd name="T67" fmla="*/ 96 h 856"/>
                <a:gd name="T68" fmla="*/ 25 w 873"/>
                <a:gd name="T69" fmla="*/ 25 h 856"/>
                <a:gd name="T70" fmla="*/ 848 w 873"/>
                <a:gd name="T71" fmla="*/ 25 h 856"/>
                <a:gd name="T72" fmla="*/ 848 w 873"/>
                <a:gd name="T73" fmla="*/ 9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73" h="856">
                  <a:moveTo>
                    <a:pt x="860" y="0"/>
                  </a:moveTo>
                  <a:lnTo>
                    <a:pt x="13" y="0"/>
                  </a:lnTo>
                  <a:cubicBezTo>
                    <a:pt x="5" y="0"/>
                    <a:pt x="0" y="5"/>
                    <a:pt x="0" y="13"/>
                  </a:cubicBezTo>
                  <a:lnTo>
                    <a:pt x="0" y="109"/>
                  </a:lnTo>
                  <a:cubicBezTo>
                    <a:pt x="0" y="116"/>
                    <a:pt x="5" y="121"/>
                    <a:pt x="13" y="121"/>
                  </a:cubicBezTo>
                  <a:lnTo>
                    <a:pt x="38" y="121"/>
                  </a:lnTo>
                  <a:lnTo>
                    <a:pt x="38" y="585"/>
                  </a:lnTo>
                  <a:cubicBezTo>
                    <a:pt x="38" y="593"/>
                    <a:pt x="43" y="598"/>
                    <a:pt x="50" y="598"/>
                  </a:cubicBezTo>
                  <a:lnTo>
                    <a:pt x="402" y="598"/>
                  </a:lnTo>
                  <a:lnTo>
                    <a:pt x="323" y="840"/>
                  </a:lnTo>
                  <a:cubicBezTo>
                    <a:pt x="320" y="846"/>
                    <a:pt x="324" y="854"/>
                    <a:pt x="330" y="856"/>
                  </a:cubicBezTo>
                  <a:lnTo>
                    <a:pt x="334" y="856"/>
                  </a:lnTo>
                  <a:cubicBezTo>
                    <a:pt x="339" y="856"/>
                    <a:pt x="344" y="853"/>
                    <a:pt x="347" y="847"/>
                  </a:cubicBezTo>
                  <a:lnTo>
                    <a:pt x="430" y="587"/>
                  </a:lnTo>
                  <a:cubicBezTo>
                    <a:pt x="432" y="584"/>
                    <a:pt x="430" y="580"/>
                    <a:pt x="429" y="576"/>
                  </a:cubicBezTo>
                  <a:cubicBezTo>
                    <a:pt x="427" y="573"/>
                    <a:pt x="423" y="571"/>
                    <a:pt x="419" y="571"/>
                  </a:cubicBezTo>
                  <a:lnTo>
                    <a:pt x="63" y="571"/>
                  </a:lnTo>
                  <a:lnTo>
                    <a:pt x="63" y="121"/>
                  </a:lnTo>
                  <a:lnTo>
                    <a:pt x="812" y="121"/>
                  </a:lnTo>
                  <a:lnTo>
                    <a:pt x="812" y="573"/>
                  </a:lnTo>
                  <a:lnTo>
                    <a:pt x="495" y="573"/>
                  </a:lnTo>
                  <a:cubicBezTo>
                    <a:pt x="488" y="573"/>
                    <a:pt x="483" y="578"/>
                    <a:pt x="483" y="585"/>
                  </a:cubicBezTo>
                  <a:cubicBezTo>
                    <a:pt x="483" y="593"/>
                    <a:pt x="488" y="598"/>
                    <a:pt x="495" y="598"/>
                  </a:cubicBezTo>
                  <a:lnTo>
                    <a:pt x="823" y="598"/>
                  </a:lnTo>
                  <a:cubicBezTo>
                    <a:pt x="830" y="598"/>
                    <a:pt x="835" y="593"/>
                    <a:pt x="835" y="585"/>
                  </a:cubicBezTo>
                  <a:lnTo>
                    <a:pt x="835" y="121"/>
                  </a:lnTo>
                  <a:lnTo>
                    <a:pt x="860" y="121"/>
                  </a:lnTo>
                  <a:cubicBezTo>
                    <a:pt x="868" y="121"/>
                    <a:pt x="873" y="116"/>
                    <a:pt x="873" y="109"/>
                  </a:cubicBezTo>
                  <a:lnTo>
                    <a:pt x="873" y="13"/>
                  </a:lnTo>
                  <a:cubicBezTo>
                    <a:pt x="873" y="5"/>
                    <a:pt x="867" y="0"/>
                    <a:pt x="860" y="0"/>
                  </a:cubicBezTo>
                  <a:close/>
                  <a:moveTo>
                    <a:pt x="848" y="96"/>
                  </a:moveTo>
                  <a:lnTo>
                    <a:pt x="823" y="96"/>
                  </a:lnTo>
                  <a:lnTo>
                    <a:pt x="50" y="96"/>
                  </a:lnTo>
                  <a:lnTo>
                    <a:pt x="25" y="96"/>
                  </a:lnTo>
                  <a:lnTo>
                    <a:pt x="25" y="25"/>
                  </a:lnTo>
                  <a:lnTo>
                    <a:pt x="848" y="25"/>
                  </a:lnTo>
                  <a:lnTo>
                    <a:pt x="848" y="9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34" name="Trends4">
              <a:extLst>
                <a:ext uri="{FF2B5EF4-FFF2-40B4-BE49-F238E27FC236}">
                  <a16:creationId xmlns:a16="http://schemas.microsoft.com/office/drawing/2014/main" id="{CAB3FCBC-19DE-4B33-893B-27BA6781F97F}"/>
                </a:ext>
              </a:extLst>
            </p:cNvPr>
            <p:cNvSpPr>
              <a:spLocks/>
            </p:cNvSpPr>
            <p:nvPr>
              <p:custDataLst>
                <p:tags r:id="rId8"/>
              </p:custDataLst>
            </p:nvPr>
          </p:nvSpPr>
          <p:spPr bwMode="auto">
            <a:xfrm>
              <a:off x="2774685" y="644326"/>
              <a:ext cx="55236" cy="129332"/>
            </a:xfrm>
            <a:custGeom>
              <a:avLst/>
              <a:gdLst>
                <a:gd name="T0" fmla="*/ 27 w 97"/>
                <a:gd name="T1" fmla="*/ 10 h 225"/>
                <a:gd name="T2" fmla="*/ 10 w 97"/>
                <a:gd name="T3" fmla="*/ 2 h 225"/>
                <a:gd name="T4" fmla="*/ 3 w 97"/>
                <a:gd name="T5" fmla="*/ 18 h 225"/>
                <a:gd name="T6" fmla="*/ 72 w 97"/>
                <a:gd name="T7" fmla="*/ 216 h 225"/>
                <a:gd name="T8" fmla="*/ 83 w 97"/>
                <a:gd name="T9" fmla="*/ 225 h 225"/>
                <a:gd name="T10" fmla="*/ 87 w 97"/>
                <a:gd name="T11" fmla="*/ 223 h 225"/>
                <a:gd name="T12" fmla="*/ 94 w 97"/>
                <a:gd name="T13" fmla="*/ 207 h 225"/>
                <a:gd name="T14" fmla="*/ 27 w 97"/>
                <a:gd name="T15" fmla="*/ 10 h 2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225">
                  <a:moveTo>
                    <a:pt x="27" y="10"/>
                  </a:moveTo>
                  <a:cubicBezTo>
                    <a:pt x="24" y="3"/>
                    <a:pt x="17" y="0"/>
                    <a:pt x="10" y="2"/>
                  </a:cubicBezTo>
                  <a:cubicBezTo>
                    <a:pt x="4" y="5"/>
                    <a:pt x="0" y="12"/>
                    <a:pt x="3" y="18"/>
                  </a:cubicBezTo>
                  <a:lnTo>
                    <a:pt x="72" y="216"/>
                  </a:lnTo>
                  <a:cubicBezTo>
                    <a:pt x="73" y="221"/>
                    <a:pt x="78" y="225"/>
                    <a:pt x="83" y="225"/>
                  </a:cubicBezTo>
                  <a:cubicBezTo>
                    <a:pt x="84" y="225"/>
                    <a:pt x="85" y="225"/>
                    <a:pt x="87" y="223"/>
                  </a:cubicBezTo>
                  <a:cubicBezTo>
                    <a:pt x="93" y="221"/>
                    <a:pt x="97" y="213"/>
                    <a:pt x="94" y="207"/>
                  </a:cubicBezTo>
                  <a:lnTo>
                    <a:pt x="27" y="1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35" name="Trends4">
              <a:extLst>
                <a:ext uri="{FF2B5EF4-FFF2-40B4-BE49-F238E27FC236}">
                  <a16:creationId xmlns:a16="http://schemas.microsoft.com/office/drawing/2014/main" id="{D0E56A7B-9B0C-4050-AC78-1D89D710E487}"/>
                </a:ext>
              </a:extLst>
            </p:cNvPr>
            <p:cNvSpPr>
              <a:spLocks/>
            </p:cNvSpPr>
            <p:nvPr>
              <p:custDataLst>
                <p:tags r:id="rId9"/>
              </p:custDataLst>
            </p:nvPr>
          </p:nvSpPr>
          <p:spPr bwMode="auto">
            <a:xfrm>
              <a:off x="2730227" y="230733"/>
              <a:ext cx="67360" cy="41763"/>
            </a:xfrm>
            <a:custGeom>
              <a:avLst/>
              <a:gdLst>
                <a:gd name="T0" fmla="*/ 12 w 120"/>
                <a:gd name="T1" fmla="*/ 72 h 72"/>
                <a:gd name="T2" fmla="*/ 25 w 120"/>
                <a:gd name="T3" fmla="*/ 60 h 72"/>
                <a:gd name="T4" fmla="*/ 60 w 120"/>
                <a:gd name="T5" fmla="*/ 25 h 72"/>
                <a:gd name="T6" fmla="*/ 95 w 120"/>
                <a:gd name="T7" fmla="*/ 60 h 72"/>
                <a:gd name="T8" fmla="*/ 107 w 120"/>
                <a:gd name="T9" fmla="*/ 72 h 72"/>
                <a:gd name="T10" fmla="*/ 120 w 120"/>
                <a:gd name="T11" fmla="*/ 60 h 72"/>
                <a:gd name="T12" fmla="*/ 60 w 120"/>
                <a:gd name="T13" fmla="*/ 0 h 72"/>
                <a:gd name="T14" fmla="*/ 0 w 120"/>
                <a:gd name="T15" fmla="*/ 60 h 72"/>
                <a:gd name="T16" fmla="*/ 12 w 120"/>
                <a:gd name="T17"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0" h="72">
                  <a:moveTo>
                    <a:pt x="12" y="72"/>
                  </a:moveTo>
                  <a:cubicBezTo>
                    <a:pt x="20" y="72"/>
                    <a:pt x="25" y="67"/>
                    <a:pt x="25" y="60"/>
                  </a:cubicBezTo>
                  <a:cubicBezTo>
                    <a:pt x="25" y="41"/>
                    <a:pt x="41" y="25"/>
                    <a:pt x="60" y="25"/>
                  </a:cubicBezTo>
                  <a:cubicBezTo>
                    <a:pt x="78" y="25"/>
                    <a:pt x="95" y="41"/>
                    <a:pt x="95" y="60"/>
                  </a:cubicBezTo>
                  <a:cubicBezTo>
                    <a:pt x="95" y="67"/>
                    <a:pt x="100" y="72"/>
                    <a:pt x="107" y="72"/>
                  </a:cubicBezTo>
                  <a:cubicBezTo>
                    <a:pt x="115" y="72"/>
                    <a:pt x="120" y="67"/>
                    <a:pt x="120" y="60"/>
                  </a:cubicBezTo>
                  <a:cubicBezTo>
                    <a:pt x="120" y="27"/>
                    <a:pt x="92" y="0"/>
                    <a:pt x="60" y="0"/>
                  </a:cubicBezTo>
                  <a:cubicBezTo>
                    <a:pt x="27" y="0"/>
                    <a:pt x="0" y="27"/>
                    <a:pt x="0" y="60"/>
                  </a:cubicBezTo>
                  <a:cubicBezTo>
                    <a:pt x="0" y="67"/>
                    <a:pt x="5" y="72"/>
                    <a:pt x="12" y="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36" name="Trends4">
              <a:extLst>
                <a:ext uri="{FF2B5EF4-FFF2-40B4-BE49-F238E27FC236}">
                  <a16:creationId xmlns:a16="http://schemas.microsoft.com/office/drawing/2014/main" id="{615777C3-8A9F-4767-B44C-24EEAA5D251C}"/>
                </a:ext>
              </a:extLst>
            </p:cNvPr>
            <p:cNvSpPr>
              <a:spLocks/>
            </p:cNvSpPr>
            <p:nvPr/>
          </p:nvSpPr>
          <p:spPr bwMode="auto">
            <a:xfrm>
              <a:off x="2610119" y="399541"/>
              <a:ext cx="66937" cy="60707"/>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37" name="Trends4">
              <a:extLst>
                <a:ext uri="{FF2B5EF4-FFF2-40B4-BE49-F238E27FC236}">
                  <a16:creationId xmlns:a16="http://schemas.microsoft.com/office/drawing/2014/main" id="{670DB40C-344B-4AF1-9240-137F9B9C872B}"/>
                </a:ext>
              </a:extLst>
            </p:cNvPr>
            <p:cNvSpPr>
              <a:spLocks/>
            </p:cNvSpPr>
            <p:nvPr/>
          </p:nvSpPr>
          <p:spPr bwMode="auto">
            <a:xfrm rot="5400000">
              <a:off x="2610119" y="399541"/>
              <a:ext cx="66939" cy="60707"/>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38" name="Donut 16">
              <a:extLst>
                <a:ext uri="{FF2B5EF4-FFF2-40B4-BE49-F238E27FC236}">
                  <a16:creationId xmlns:a16="http://schemas.microsoft.com/office/drawing/2014/main" id="{E38F88C7-D188-4E2A-BE27-234D5E93C938}"/>
                </a:ext>
              </a:extLst>
            </p:cNvPr>
            <p:cNvSpPr>
              <a:spLocks noChangeAspect="1"/>
            </p:cNvSpPr>
            <p:nvPr/>
          </p:nvSpPr>
          <p:spPr>
            <a:xfrm>
              <a:off x="2836073" y="486735"/>
              <a:ext cx="92836" cy="92835"/>
            </a:xfrm>
            <a:prstGeom prst="donut">
              <a:avLst>
                <a:gd name="adj" fmla="val 10418"/>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a typeface="+mn-ea"/>
                <a:cs typeface="+mn-cs"/>
              </a:endParaRPr>
            </a:p>
          </p:txBody>
        </p:sp>
        <p:sp>
          <p:nvSpPr>
            <p:cNvPr id="39" name="Isosceles Triangle 38">
              <a:extLst>
                <a:ext uri="{FF2B5EF4-FFF2-40B4-BE49-F238E27FC236}">
                  <a16:creationId xmlns:a16="http://schemas.microsoft.com/office/drawing/2014/main" id="{50640B11-09AB-43E3-BE35-422949754FB1}"/>
                </a:ext>
              </a:extLst>
            </p:cNvPr>
            <p:cNvSpPr>
              <a:spLocks noChangeAspect="1"/>
            </p:cNvSpPr>
            <p:nvPr/>
          </p:nvSpPr>
          <p:spPr>
            <a:xfrm>
              <a:off x="2752818" y="375826"/>
              <a:ext cx="80908" cy="69748"/>
            </a:xfrm>
            <a:prstGeom prst="triangle">
              <a:avLst/>
            </a:prstGeom>
            <a:grpFill/>
            <a:ln w="254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imes New Roman"/>
                <a:ea typeface="+mn-ea"/>
                <a:cs typeface="+mn-cs"/>
              </a:endParaRPr>
            </a:p>
          </p:txBody>
        </p:sp>
      </p:grpSp>
      <p:grpSp>
        <p:nvGrpSpPr>
          <p:cNvPr id="40" name="Megaphone2">
            <a:extLst>
              <a:ext uri="{FF2B5EF4-FFF2-40B4-BE49-F238E27FC236}">
                <a16:creationId xmlns:a16="http://schemas.microsoft.com/office/drawing/2014/main" id="{3C646C79-8E55-4009-8765-93D826CD7A6F}"/>
              </a:ext>
            </a:extLst>
          </p:cNvPr>
          <p:cNvGrpSpPr>
            <a:grpSpLocks noChangeAspect="1"/>
          </p:cNvGrpSpPr>
          <p:nvPr>
            <p:custDataLst>
              <p:tags r:id="rId2"/>
            </p:custDataLst>
          </p:nvPr>
        </p:nvGrpSpPr>
        <p:grpSpPr bwMode="auto">
          <a:xfrm>
            <a:off x="6098799" y="5183346"/>
            <a:ext cx="1027595" cy="1061548"/>
            <a:chOff x="27" y="8"/>
            <a:chExt cx="454" cy="469"/>
          </a:xfrm>
          <a:solidFill>
            <a:srgbClr val="DC3C00"/>
          </a:solidFill>
        </p:grpSpPr>
        <p:sp>
          <p:nvSpPr>
            <p:cNvPr id="41" name="Megaphone2">
              <a:extLst>
                <a:ext uri="{FF2B5EF4-FFF2-40B4-BE49-F238E27FC236}">
                  <a16:creationId xmlns:a16="http://schemas.microsoft.com/office/drawing/2014/main" id="{EBA28A13-CAD8-47CB-8CD4-095720025761}"/>
                </a:ext>
              </a:extLst>
            </p:cNvPr>
            <p:cNvSpPr>
              <a:spLocks/>
            </p:cNvSpPr>
            <p:nvPr>
              <p:custDataLst>
                <p:tags r:id="rId4"/>
              </p:custDataLst>
            </p:nvPr>
          </p:nvSpPr>
          <p:spPr bwMode="auto">
            <a:xfrm>
              <a:off x="105" y="202"/>
              <a:ext cx="1" cy="0"/>
            </a:xfrm>
            <a:custGeom>
              <a:avLst/>
              <a:gdLst>
                <a:gd name="T0" fmla="*/ 3 w 3"/>
                <a:gd name="T1" fmla="*/ 0 h 1"/>
                <a:gd name="T2" fmla="*/ 1 w 3"/>
                <a:gd name="T3" fmla="*/ 0 h 1"/>
                <a:gd name="T4" fmla="*/ 0 w 3"/>
                <a:gd name="T5" fmla="*/ 1 h 1"/>
                <a:gd name="T6" fmla="*/ 3 w 3"/>
                <a:gd name="T7" fmla="*/ 0 h 1"/>
                <a:gd name="T8" fmla="*/ 3 w 3"/>
                <a:gd name="T9" fmla="*/ 0 h 1"/>
              </a:gdLst>
              <a:ahLst/>
              <a:cxnLst>
                <a:cxn ang="0">
                  <a:pos x="T0" y="T1"/>
                </a:cxn>
                <a:cxn ang="0">
                  <a:pos x="T2" y="T3"/>
                </a:cxn>
                <a:cxn ang="0">
                  <a:pos x="T4" y="T5"/>
                </a:cxn>
                <a:cxn ang="0">
                  <a:pos x="T6" y="T7"/>
                </a:cxn>
                <a:cxn ang="0">
                  <a:pos x="T8" y="T9"/>
                </a:cxn>
              </a:cxnLst>
              <a:rect l="0" t="0" r="r" b="b"/>
              <a:pathLst>
                <a:path w="3" h="1">
                  <a:moveTo>
                    <a:pt x="3" y="0"/>
                  </a:moveTo>
                  <a:lnTo>
                    <a:pt x="1" y="0"/>
                  </a:lnTo>
                  <a:cubicBezTo>
                    <a:pt x="1" y="0"/>
                    <a:pt x="1" y="0"/>
                    <a:pt x="0" y="1"/>
                  </a:cubicBezTo>
                  <a:cubicBezTo>
                    <a:pt x="1" y="1"/>
                    <a:pt x="2" y="0"/>
                    <a:pt x="3" y="0"/>
                  </a:cubicBezTo>
                  <a:cubicBezTo>
                    <a:pt x="3" y="0"/>
                    <a:pt x="3" y="0"/>
                    <a:pt x="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505050"/>
                </a:solidFill>
                <a:effectLst/>
                <a:uLnTx/>
                <a:uFillTx/>
                <a:latin typeface="Times New Roman"/>
              </a:endParaRPr>
            </a:p>
          </p:txBody>
        </p:sp>
        <p:sp>
          <p:nvSpPr>
            <p:cNvPr id="42" name="Megaphone2">
              <a:extLst>
                <a:ext uri="{FF2B5EF4-FFF2-40B4-BE49-F238E27FC236}">
                  <a16:creationId xmlns:a16="http://schemas.microsoft.com/office/drawing/2014/main" id="{9FA3353D-013D-4D32-AD80-CD872B7F4440}"/>
                </a:ext>
              </a:extLst>
            </p:cNvPr>
            <p:cNvSpPr>
              <a:spLocks noEditPoints="1"/>
            </p:cNvSpPr>
            <p:nvPr>
              <p:custDataLst>
                <p:tags r:id="rId5"/>
              </p:custDataLst>
            </p:nvPr>
          </p:nvSpPr>
          <p:spPr bwMode="auto">
            <a:xfrm>
              <a:off x="34" y="8"/>
              <a:ext cx="447" cy="469"/>
            </a:xfrm>
            <a:custGeom>
              <a:avLst/>
              <a:gdLst>
                <a:gd name="T0" fmla="*/ 1139 w 1192"/>
                <a:gd name="T1" fmla="*/ 461 h 1248"/>
                <a:gd name="T2" fmla="*/ 881 w 1192"/>
                <a:gd name="T3" fmla="*/ 18 h 1248"/>
                <a:gd name="T4" fmla="*/ 801 w 1192"/>
                <a:gd name="T5" fmla="*/ 146 h 1248"/>
                <a:gd name="T6" fmla="*/ 219 w 1192"/>
                <a:gd name="T7" fmla="*/ 507 h 1248"/>
                <a:gd name="T8" fmla="*/ 193 w 1192"/>
                <a:gd name="T9" fmla="*/ 516 h 1248"/>
                <a:gd name="T10" fmla="*/ 203 w 1192"/>
                <a:gd name="T11" fmla="*/ 864 h 1248"/>
                <a:gd name="T12" fmla="*/ 203 w 1192"/>
                <a:gd name="T13" fmla="*/ 864 h 1248"/>
                <a:gd name="T14" fmla="*/ 208 w 1192"/>
                <a:gd name="T15" fmla="*/ 865 h 1248"/>
                <a:gd name="T16" fmla="*/ 305 w 1192"/>
                <a:gd name="T17" fmla="*/ 901 h 1248"/>
                <a:gd name="T18" fmla="*/ 370 w 1192"/>
                <a:gd name="T19" fmla="*/ 1118 h 1248"/>
                <a:gd name="T20" fmla="*/ 559 w 1192"/>
                <a:gd name="T21" fmla="*/ 1225 h 1248"/>
                <a:gd name="T22" fmla="*/ 554 w 1192"/>
                <a:gd name="T23" fmla="*/ 1178 h 1248"/>
                <a:gd name="T24" fmla="*/ 561 w 1192"/>
                <a:gd name="T25" fmla="*/ 1156 h 1248"/>
                <a:gd name="T26" fmla="*/ 533 w 1192"/>
                <a:gd name="T27" fmla="*/ 1089 h 1248"/>
                <a:gd name="T28" fmla="*/ 524 w 1192"/>
                <a:gd name="T29" fmla="*/ 1026 h 1248"/>
                <a:gd name="T30" fmla="*/ 484 w 1192"/>
                <a:gd name="T31" fmla="*/ 973 h 1248"/>
                <a:gd name="T32" fmla="*/ 485 w 1192"/>
                <a:gd name="T33" fmla="*/ 925 h 1248"/>
                <a:gd name="T34" fmla="*/ 480 w 1192"/>
                <a:gd name="T35" fmla="*/ 835 h 1248"/>
                <a:gd name="T36" fmla="*/ 1004 w 1192"/>
                <a:gd name="T37" fmla="*/ 945 h 1248"/>
                <a:gd name="T38" fmla="*/ 1023 w 1192"/>
                <a:gd name="T39" fmla="*/ 958 h 1248"/>
                <a:gd name="T40" fmla="*/ 1024 w 1192"/>
                <a:gd name="T41" fmla="*/ 959 h 1248"/>
                <a:gd name="T42" fmla="*/ 1037 w 1192"/>
                <a:gd name="T43" fmla="*/ 965 h 1248"/>
                <a:gd name="T44" fmla="*/ 1074 w 1192"/>
                <a:gd name="T45" fmla="*/ 969 h 1248"/>
                <a:gd name="T46" fmla="*/ 1139 w 1192"/>
                <a:gd name="T47" fmla="*/ 461 h 1248"/>
                <a:gd name="T48" fmla="*/ 866 w 1192"/>
                <a:gd name="T49" fmla="*/ 856 h 1248"/>
                <a:gd name="T50" fmla="*/ 751 w 1192"/>
                <a:gd name="T51" fmla="*/ 832 h 1248"/>
                <a:gd name="T52" fmla="*/ 512 w 1192"/>
                <a:gd name="T53" fmla="*/ 819 h 1248"/>
                <a:gd name="T54" fmla="*/ 433 w 1192"/>
                <a:gd name="T55" fmla="*/ 783 h 1248"/>
                <a:gd name="T56" fmla="*/ 378 w 1192"/>
                <a:gd name="T57" fmla="*/ 726 h 1248"/>
                <a:gd name="T58" fmla="*/ 370 w 1192"/>
                <a:gd name="T59" fmla="*/ 538 h 1248"/>
                <a:gd name="T60" fmla="*/ 430 w 1192"/>
                <a:gd name="T61" fmla="*/ 457 h 1248"/>
                <a:gd name="T62" fmla="*/ 550 w 1192"/>
                <a:gd name="T63" fmla="*/ 389 h 1248"/>
                <a:gd name="T64" fmla="*/ 737 w 1192"/>
                <a:gd name="T65" fmla="*/ 253 h 1248"/>
                <a:gd name="T66" fmla="*/ 809 w 1192"/>
                <a:gd name="T67" fmla="*/ 160 h 1248"/>
                <a:gd name="T68" fmla="*/ 808 w 1192"/>
                <a:gd name="T69" fmla="*/ 174 h 1248"/>
                <a:gd name="T70" fmla="*/ 808 w 1192"/>
                <a:gd name="T71" fmla="*/ 171 h 1248"/>
                <a:gd name="T72" fmla="*/ 801 w 1192"/>
                <a:gd name="T73" fmla="*/ 231 h 1248"/>
                <a:gd name="T74" fmla="*/ 929 w 1192"/>
                <a:gd name="T75" fmla="*/ 833 h 1248"/>
                <a:gd name="T76" fmla="*/ 956 w 1192"/>
                <a:gd name="T77" fmla="*/ 883 h 1248"/>
                <a:gd name="T78" fmla="*/ 954 w 1192"/>
                <a:gd name="T79" fmla="*/ 880 h 1248"/>
                <a:gd name="T80" fmla="*/ 962 w 1192"/>
                <a:gd name="T81" fmla="*/ 895 h 1248"/>
                <a:gd name="T82" fmla="*/ 866 w 1192"/>
                <a:gd name="T83" fmla="*/ 856 h 1248"/>
                <a:gd name="T84" fmla="*/ 988 w 1192"/>
                <a:gd name="T85" fmla="*/ 800 h 1248"/>
                <a:gd name="T86" fmla="*/ 978 w 1192"/>
                <a:gd name="T87" fmla="*/ 799 h 1248"/>
                <a:gd name="T88" fmla="*/ 978 w 1192"/>
                <a:gd name="T89" fmla="*/ 799 h 1248"/>
                <a:gd name="T90" fmla="*/ 847 w 1192"/>
                <a:gd name="T91" fmla="*/ 542 h 1248"/>
                <a:gd name="T92" fmla="*/ 851 w 1192"/>
                <a:gd name="T93" fmla="*/ 255 h 1248"/>
                <a:gd name="T94" fmla="*/ 861 w 1192"/>
                <a:gd name="T95" fmla="*/ 256 h 1248"/>
                <a:gd name="T96" fmla="*/ 861 w 1192"/>
                <a:gd name="T97" fmla="*/ 256 h 1248"/>
                <a:gd name="T98" fmla="*/ 992 w 1192"/>
                <a:gd name="T99" fmla="*/ 512 h 1248"/>
                <a:gd name="T100" fmla="*/ 988 w 1192"/>
                <a:gd name="T101" fmla="*/ 800 h 1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192" h="1248">
                  <a:moveTo>
                    <a:pt x="1139" y="461"/>
                  </a:moveTo>
                  <a:cubicBezTo>
                    <a:pt x="1086" y="198"/>
                    <a:pt x="971" y="0"/>
                    <a:pt x="881" y="18"/>
                  </a:cubicBezTo>
                  <a:cubicBezTo>
                    <a:pt x="843" y="25"/>
                    <a:pt x="815" y="73"/>
                    <a:pt x="801" y="146"/>
                  </a:cubicBezTo>
                  <a:cubicBezTo>
                    <a:pt x="754" y="199"/>
                    <a:pt x="564" y="396"/>
                    <a:pt x="219" y="507"/>
                  </a:cubicBezTo>
                  <a:cubicBezTo>
                    <a:pt x="211" y="510"/>
                    <a:pt x="202" y="513"/>
                    <a:pt x="193" y="516"/>
                  </a:cubicBezTo>
                  <a:cubicBezTo>
                    <a:pt x="0" y="700"/>
                    <a:pt x="203" y="864"/>
                    <a:pt x="203" y="864"/>
                  </a:cubicBezTo>
                  <a:lnTo>
                    <a:pt x="203" y="864"/>
                  </a:lnTo>
                  <a:cubicBezTo>
                    <a:pt x="205" y="864"/>
                    <a:pt x="206" y="864"/>
                    <a:pt x="208" y="865"/>
                  </a:cubicBezTo>
                  <a:cubicBezTo>
                    <a:pt x="236" y="867"/>
                    <a:pt x="291" y="871"/>
                    <a:pt x="305" y="901"/>
                  </a:cubicBezTo>
                  <a:cubicBezTo>
                    <a:pt x="305" y="901"/>
                    <a:pt x="362" y="976"/>
                    <a:pt x="370" y="1118"/>
                  </a:cubicBezTo>
                  <a:cubicBezTo>
                    <a:pt x="370" y="1118"/>
                    <a:pt x="390" y="1248"/>
                    <a:pt x="559" y="1225"/>
                  </a:cubicBezTo>
                  <a:cubicBezTo>
                    <a:pt x="559" y="1225"/>
                    <a:pt x="583" y="1193"/>
                    <a:pt x="554" y="1178"/>
                  </a:cubicBezTo>
                  <a:cubicBezTo>
                    <a:pt x="554" y="1178"/>
                    <a:pt x="545" y="1151"/>
                    <a:pt x="561" y="1156"/>
                  </a:cubicBezTo>
                  <a:cubicBezTo>
                    <a:pt x="561" y="1156"/>
                    <a:pt x="578" y="1103"/>
                    <a:pt x="533" y="1089"/>
                  </a:cubicBezTo>
                  <a:lnTo>
                    <a:pt x="524" y="1026"/>
                  </a:lnTo>
                  <a:cubicBezTo>
                    <a:pt x="524" y="1026"/>
                    <a:pt x="497" y="1004"/>
                    <a:pt x="484" y="973"/>
                  </a:cubicBezTo>
                  <a:lnTo>
                    <a:pt x="485" y="925"/>
                  </a:lnTo>
                  <a:cubicBezTo>
                    <a:pt x="485" y="925"/>
                    <a:pt x="424" y="888"/>
                    <a:pt x="480" y="835"/>
                  </a:cubicBezTo>
                  <a:cubicBezTo>
                    <a:pt x="480" y="835"/>
                    <a:pt x="826" y="828"/>
                    <a:pt x="1004" y="945"/>
                  </a:cubicBezTo>
                  <a:cubicBezTo>
                    <a:pt x="1010" y="950"/>
                    <a:pt x="1016" y="955"/>
                    <a:pt x="1023" y="958"/>
                  </a:cubicBezTo>
                  <a:cubicBezTo>
                    <a:pt x="1023" y="958"/>
                    <a:pt x="1023" y="959"/>
                    <a:pt x="1024" y="959"/>
                  </a:cubicBezTo>
                  <a:cubicBezTo>
                    <a:pt x="1028" y="962"/>
                    <a:pt x="1032" y="964"/>
                    <a:pt x="1037" y="965"/>
                  </a:cubicBezTo>
                  <a:cubicBezTo>
                    <a:pt x="1050" y="970"/>
                    <a:pt x="1062" y="972"/>
                    <a:pt x="1074" y="969"/>
                  </a:cubicBezTo>
                  <a:cubicBezTo>
                    <a:pt x="1163" y="951"/>
                    <a:pt x="1192" y="724"/>
                    <a:pt x="1139" y="461"/>
                  </a:cubicBezTo>
                  <a:close/>
                  <a:moveTo>
                    <a:pt x="866" y="856"/>
                  </a:moveTo>
                  <a:cubicBezTo>
                    <a:pt x="828" y="845"/>
                    <a:pt x="790" y="838"/>
                    <a:pt x="751" y="832"/>
                  </a:cubicBezTo>
                  <a:cubicBezTo>
                    <a:pt x="673" y="821"/>
                    <a:pt x="592" y="817"/>
                    <a:pt x="512" y="819"/>
                  </a:cubicBezTo>
                  <a:cubicBezTo>
                    <a:pt x="490" y="819"/>
                    <a:pt x="452" y="795"/>
                    <a:pt x="433" y="783"/>
                  </a:cubicBezTo>
                  <a:cubicBezTo>
                    <a:pt x="411" y="768"/>
                    <a:pt x="392" y="749"/>
                    <a:pt x="378" y="726"/>
                  </a:cubicBezTo>
                  <a:cubicBezTo>
                    <a:pt x="342" y="668"/>
                    <a:pt x="340" y="599"/>
                    <a:pt x="370" y="538"/>
                  </a:cubicBezTo>
                  <a:cubicBezTo>
                    <a:pt x="385" y="507"/>
                    <a:pt x="402" y="477"/>
                    <a:pt x="430" y="457"/>
                  </a:cubicBezTo>
                  <a:cubicBezTo>
                    <a:pt x="468" y="431"/>
                    <a:pt x="511" y="413"/>
                    <a:pt x="550" y="389"/>
                  </a:cubicBezTo>
                  <a:cubicBezTo>
                    <a:pt x="615" y="347"/>
                    <a:pt x="677" y="302"/>
                    <a:pt x="737" y="253"/>
                  </a:cubicBezTo>
                  <a:cubicBezTo>
                    <a:pt x="749" y="243"/>
                    <a:pt x="807" y="177"/>
                    <a:pt x="809" y="160"/>
                  </a:cubicBezTo>
                  <a:cubicBezTo>
                    <a:pt x="809" y="165"/>
                    <a:pt x="808" y="169"/>
                    <a:pt x="808" y="174"/>
                  </a:cubicBezTo>
                  <a:cubicBezTo>
                    <a:pt x="808" y="173"/>
                    <a:pt x="808" y="172"/>
                    <a:pt x="808" y="171"/>
                  </a:cubicBezTo>
                  <a:cubicBezTo>
                    <a:pt x="805" y="191"/>
                    <a:pt x="803" y="211"/>
                    <a:pt x="801" y="231"/>
                  </a:cubicBezTo>
                  <a:cubicBezTo>
                    <a:pt x="781" y="485"/>
                    <a:pt x="877" y="724"/>
                    <a:pt x="929" y="833"/>
                  </a:cubicBezTo>
                  <a:cubicBezTo>
                    <a:pt x="945" y="865"/>
                    <a:pt x="956" y="883"/>
                    <a:pt x="956" y="883"/>
                  </a:cubicBezTo>
                  <a:cubicBezTo>
                    <a:pt x="955" y="882"/>
                    <a:pt x="954" y="881"/>
                    <a:pt x="954" y="880"/>
                  </a:cubicBezTo>
                  <a:cubicBezTo>
                    <a:pt x="959" y="890"/>
                    <a:pt x="962" y="895"/>
                    <a:pt x="962" y="895"/>
                  </a:cubicBezTo>
                  <a:cubicBezTo>
                    <a:pt x="948" y="874"/>
                    <a:pt x="888" y="862"/>
                    <a:pt x="866" y="856"/>
                  </a:cubicBezTo>
                  <a:close/>
                  <a:moveTo>
                    <a:pt x="988" y="800"/>
                  </a:moveTo>
                  <a:cubicBezTo>
                    <a:pt x="985" y="800"/>
                    <a:pt x="982" y="800"/>
                    <a:pt x="978" y="799"/>
                  </a:cubicBezTo>
                  <a:cubicBezTo>
                    <a:pt x="978" y="799"/>
                    <a:pt x="978" y="799"/>
                    <a:pt x="978" y="799"/>
                  </a:cubicBezTo>
                  <a:cubicBezTo>
                    <a:pt x="941" y="807"/>
                    <a:pt x="883" y="693"/>
                    <a:pt x="847" y="542"/>
                  </a:cubicBezTo>
                  <a:cubicBezTo>
                    <a:pt x="812" y="392"/>
                    <a:pt x="814" y="263"/>
                    <a:pt x="851" y="255"/>
                  </a:cubicBezTo>
                  <a:cubicBezTo>
                    <a:pt x="854" y="254"/>
                    <a:pt x="857" y="255"/>
                    <a:pt x="861" y="256"/>
                  </a:cubicBezTo>
                  <a:cubicBezTo>
                    <a:pt x="861" y="256"/>
                    <a:pt x="861" y="256"/>
                    <a:pt x="861" y="256"/>
                  </a:cubicBezTo>
                  <a:cubicBezTo>
                    <a:pt x="898" y="247"/>
                    <a:pt x="956" y="362"/>
                    <a:pt x="992" y="512"/>
                  </a:cubicBezTo>
                  <a:cubicBezTo>
                    <a:pt x="1027" y="662"/>
                    <a:pt x="1025" y="791"/>
                    <a:pt x="988" y="8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505050"/>
                </a:solidFill>
                <a:effectLst/>
                <a:uLnTx/>
                <a:uFillTx/>
                <a:latin typeface="Times New Roman"/>
              </a:endParaRPr>
            </a:p>
          </p:txBody>
        </p:sp>
        <p:sp>
          <p:nvSpPr>
            <p:cNvPr id="43" name="Megaphone2">
              <a:extLst>
                <a:ext uri="{FF2B5EF4-FFF2-40B4-BE49-F238E27FC236}">
                  <a16:creationId xmlns:a16="http://schemas.microsoft.com/office/drawing/2014/main" id="{099E407C-58ED-42F3-9B2E-4100DA80EA15}"/>
                </a:ext>
              </a:extLst>
            </p:cNvPr>
            <p:cNvSpPr>
              <a:spLocks/>
            </p:cNvSpPr>
            <p:nvPr>
              <p:custDataLst>
                <p:tags r:id="rId6"/>
              </p:custDataLst>
            </p:nvPr>
          </p:nvSpPr>
          <p:spPr bwMode="auto">
            <a:xfrm>
              <a:off x="27" y="199"/>
              <a:ext cx="84" cy="141"/>
            </a:xfrm>
            <a:custGeom>
              <a:avLst/>
              <a:gdLst>
                <a:gd name="T0" fmla="*/ 210 w 225"/>
                <a:gd name="T1" fmla="*/ 356 h 376"/>
                <a:gd name="T2" fmla="*/ 82 w 225"/>
                <a:gd name="T3" fmla="*/ 182 h 376"/>
                <a:gd name="T4" fmla="*/ 202 w 225"/>
                <a:gd name="T5" fmla="*/ 9 h 376"/>
                <a:gd name="T6" fmla="*/ 154 w 225"/>
                <a:gd name="T7" fmla="*/ 0 h 376"/>
                <a:gd name="T8" fmla="*/ 0 w 225"/>
                <a:gd name="T9" fmla="*/ 188 h 376"/>
                <a:gd name="T10" fmla="*/ 154 w 225"/>
                <a:gd name="T11" fmla="*/ 376 h 376"/>
                <a:gd name="T12" fmla="*/ 225 w 225"/>
                <a:gd name="T13" fmla="*/ 354 h 376"/>
                <a:gd name="T14" fmla="*/ 210 w 225"/>
                <a:gd name="T15" fmla="*/ 356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5" h="376">
                  <a:moveTo>
                    <a:pt x="210" y="356"/>
                  </a:moveTo>
                  <a:cubicBezTo>
                    <a:pt x="139" y="356"/>
                    <a:pt x="82" y="278"/>
                    <a:pt x="82" y="182"/>
                  </a:cubicBezTo>
                  <a:cubicBezTo>
                    <a:pt x="82" y="90"/>
                    <a:pt x="135" y="15"/>
                    <a:pt x="202" y="9"/>
                  </a:cubicBezTo>
                  <a:cubicBezTo>
                    <a:pt x="187" y="3"/>
                    <a:pt x="170" y="0"/>
                    <a:pt x="154" y="0"/>
                  </a:cubicBezTo>
                  <a:cubicBezTo>
                    <a:pt x="69" y="0"/>
                    <a:pt x="0" y="84"/>
                    <a:pt x="0" y="188"/>
                  </a:cubicBezTo>
                  <a:cubicBezTo>
                    <a:pt x="0" y="292"/>
                    <a:pt x="69" y="376"/>
                    <a:pt x="154" y="376"/>
                  </a:cubicBezTo>
                  <a:cubicBezTo>
                    <a:pt x="179" y="376"/>
                    <a:pt x="204" y="368"/>
                    <a:pt x="225" y="354"/>
                  </a:cubicBezTo>
                  <a:cubicBezTo>
                    <a:pt x="220" y="355"/>
                    <a:pt x="215" y="356"/>
                    <a:pt x="210" y="35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505050"/>
                </a:solidFill>
                <a:effectLst/>
                <a:uLnTx/>
                <a:uFillTx/>
                <a:latin typeface="Times New Roman"/>
              </a:endParaRPr>
            </a:p>
          </p:txBody>
        </p:sp>
      </p:grpSp>
      <p:sp>
        <p:nvSpPr>
          <p:cNvPr id="44" name="Shield">
            <a:extLst>
              <a:ext uri="{FF2B5EF4-FFF2-40B4-BE49-F238E27FC236}">
                <a16:creationId xmlns:a16="http://schemas.microsoft.com/office/drawing/2014/main" id="{7153C181-ADE1-4B55-BCB4-DF0EAA1214E9}"/>
              </a:ext>
            </a:extLst>
          </p:cNvPr>
          <p:cNvSpPr>
            <a:spLocks noChangeAspect="1" noEditPoints="1"/>
          </p:cNvSpPr>
          <p:nvPr>
            <p:custDataLst>
              <p:tags r:id="rId3"/>
            </p:custDataLst>
          </p:nvPr>
        </p:nvSpPr>
        <p:spPr bwMode="auto">
          <a:xfrm>
            <a:off x="6146962" y="3233117"/>
            <a:ext cx="925887" cy="1061548"/>
          </a:xfrm>
          <a:custGeom>
            <a:avLst/>
            <a:gdLst>
              <a:gd name="T0" fmla="*/ 275 w 350"/>
              <a:gd name="T1" fmla="*/ 50 h 400"/>
              <a:gd name="T2" fmla="*/ 175 w 350"/>
              <a:gd name="T3" fmla="*/ 0 h 400"/>
              <a:gd name="T4" fmla="*/ 75 w 350"/>
              <a:gd name="T5" fmla="*/ 50 h 400"/>
              <a:gd name="T6" fmla="*/ 0 w 350"/>
              <a:gd name="T7" fmla="*/ 13 h 400"/>
              <a:gd name="T8" fmla="*/ 0 w 350"/>
              <a:gd name="T9" fmla="*/ 250 h 400"/>
              <a:gd name="T10" fmla="*/ 175 w 350"/>
              <a:gd name="T11" fmla="*/ 400 h 400"/>
              <a:gd name="T12" fmla="*/ 350 w 350"/>
              <a:gd name="T13" fmla="*/ 250 h 400"/>
              <a:gd name="T14" fmla="*/ 350 w 350"/>
              <a:gd name="T15" fmla="*/ 13 h 400"/>
              <a:gd name="T16" fmla="*/ 275 w 350"/>
              <a:gd name="T17" fmla="*/ 50 h 400"/>
              <a:gd name="T18" fmla="*/ 251 w 350"/>
              <a:gd name="T19" fmla="*/ 300 h 400"/>
              <a:gd name="T20" fmla="*/ 176 w 350"/>
              <a:gd name="T21" fmla="*/ 335 h 400"/>
              <a:gd name="T22" fmla="*/ 175 w 350"/>
              <a:gd name="T23" fmla="*/ 334 h 400"/>
              <a:gd name="T24" fmla="*/ 175 w 350"/>
              <a:gd name="T25" fmla="*/ 200 h 400"/>
              <a:gd name="T26" fmla="*/ 50 w 350"/>
              <a:gd name="T27" fmla="*/ 200 h 400"/>
              <a:gd name="T28" fmla="*/ 50 w 350"/>
              <a:gd name="T29" fmla="*/ 98 h 400"/>
              <a:gd name="T30" fmla="*/ 75 w 350"/>
              <a:gd name="T31" fmla="*/ 100 h 400"/>
              <a:gd name="T32" fmla="*/ 175 w 350"/>
              <a:gd name="T33" fmla="*/ 65 h 400"/>
              <a:gd name="T34" fmla="*/ 175 w 350"/>
              <a:gd name="T35" fmla="*/ 200 h 400"/>
              <a:gd name="T36" fmla="*/ 300 w 350"/>
              <a:gd name="T37" fmla="*/ 200 h 400"/>
              <a:gd name="T38" fmla="*/ 300 w 350"/>
              <a:gd name="T39" fmla="*/ 250 h 400"/>
              <a:gd name="T40" fmla="*/ 251 w 350"/>
              <a:gd name="T41" fmla="*/ 30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0" h="400">
                <a:moveTo>
                  <a:pt x="275" y="50"/>
                </a:moveTo>
                <a:cubicBezTo>
                  <a:pt x="224" y="50"/>
                  <a:pt x="175" y="0"/>
                  <a:pt x="175" y="0"/>
                </a:cubicBezTo>
                <a:cubicBezTo>
                  <a:pt x="175" y="0"/>
                  <a:pt x="126" y="50"/>
                  <a:pt x="75" y="50"/>
                </a:cubicBezTo>
                <a:cubicBezTo>
                  <a:pt x="26" y="50"/>
                  <a:pt x="0" y="13"/>
                  <a:pt x="0" y="13"/>
                </a:cubicBezTo>
                <a:lnTo>
                  <a:pt x="0" y="250"/>
                </a:lnTo>
                <a:cubicBezTo>
                  <a:pt x="0" y="364"/>
                  <a:pt x="100" y="325"/>
                  <a:pt x="175" y="400"/>
                </a:cubicBezTo>
                <a:cubicBezTo>
                  <a:pt x="250" y="325"/>
                  <a:pt x="350" y="364"/>
                  <a:pt x="350" y="250"/>
                </a:cubicBezTo>
                <a:lnTo>
                  <a:pt x="350" y="13"/>
                </a:lnTo>
                <a:cubicBezTo>
                  <a:pt x="350" y="13"/>
                  <a:pt x="324" y="50"/>
                  <a:pt x="275" y="50"/>
                </a:cubicBezTo>
                <a:close/>
                <a:moveTo>
                  <a:pt x="251" y="300"/>
                </a:moveTo>
                <a:cubicBezTo>
                  <a:pt x="229" y="308"/>
                  <a:pt x="203" y="318"/>
                  <a:pt x="176" y="335"/>
                </a:cubicBezTo>
                <a:lnTo>
                  <a:pt x="175" y="334"/>
                </a:lnTo>
                <a:lnTo>
                  <a:pt x="175" y="200"/>
                </a:lnTo>
                <a:lnTo>
                  <a:pt x="50" y="200"/>
                </a:lnTo>
                <a:lnTo>
                  <a:pt x="50" y="98"/>
                </a:lnTo>
                <a:cubicBezTo>
                  <a:pt x="58" y="99"/>
                  <a:pt x="66" y="100"/>
                  <a:pt x="75" y="100"/>
                </a:cubicBezTo>
                <a:cubicBezTo>
                  <a:pt x="114" y="100"/>
                  <a:pt x="150" y="81"/>
                  <a:pt x="175" y="65"/>
                </a:cubicBezTo>
                <a:lnTo>
                  <a:pt x="175" y="200"/>
                </a:lnTo>
                <a:lnTo>
                  <a:pt x="300" y="200"/>
                </a:lnTo>
                <a:lnTo>
                  <a:pt x="300" y="250"/>
                </a:lnTo>
                <a:cubicBezTo>
                  <a:pt x="300" y="284"/>
                  <a:pt x="295" y="285"/>
                  <a:pt x="251" y="300"/>
                </a:cubicBezTo>
                <a:close/>
              </a:path>
            </a:pathLst>
          </a:custGeom>
          <a:solidFill>
            <a:srgbClr val="008272"/>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505050"/>
              </a:solidFill>
              <a:effectLst/>
              <a:uLnTx/>
              <a:uFillTx/>
              <a:latin typeface="Times New Roman"/>
            </a:endParaRPr>
          </a:p>
        </p:txBody>
      </p:sp>
      <p:sp>
        <p:nvSpPr>
          <p:cNvPr id="45" name="Rectangle 44">
            <a:extLst>
              <a:ext uri="{FF2B5EF4-FFF2-40B4-BE49-F238E27FC236}">
                <a16:creationId xmlns:a16="http://schemas.microsoft.com/office/drawing/2014/main" id="{63BC0241-E3EE-4343-A162-A4F68D6FCFF7}"/>
              </a:ext>
            </a:extLst>
          </p:cNvPr>
          <p:cNvSpPr/>
          <p:nvPr/>
        </p:nvSpPr>
        <p:spPr>
          <a:xfrm>
            <a:off x="7438822" y="5108295"/>
            <a:ext cx="2614242" cy="1262189"/>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Customization</a:t>
            </a:r>
          </a:p>
          <a:p>
            <a:pPr marL="0" marR="0" lvl="0" indent="0" defTabSz="4572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Leverages deep learning capabilities to segment customers</a:t>
            </a:r>
          </a:p>
        </p:txBody>
      </p:sp>
      <p:sp>
        <p:nvSpPr>
          <p:cNvPr id="46" name="Rectangle 45">
            <a:extLst>
              <a:ext uri="{FF2B5EF4-FFF2-40B4-BE49-F238E27FC236}">
                <a16:creationId xmlns:a16="http://schemas.microsoft.com/office/drawing/2014/main" id="{0D09E35F-E2D7-440F-B57D-B454692182ED}"/>
              </a:ext>
            </a:extLst>
          </p:cNvPr>
          <p:cNvSpPr/>
          <p:nvPr/>
        </p:nvSpPr>
        <p:spPr>
          <a:xfrm>
            <a:off x="7438822" y="3265693"/>
            <a:ext cx="2218284" cy="830283"/>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Data Security</a:t>
            </a:r>
          </a:p>
          <a:p>
            <a:pPr marL="0" marR="0" lvl="0" indent="0" defTabSz="4572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Offers state-of-the-art security measures to protect the data</a:t>
            </a:r>
          </a:p>
        </p:txBody>
      </p:sp>
      <p:sp>
        <p:nvSpPr>
          <p:cNvPr id="47" name="Rectangle 46">
            <a:extLst>
              <a:ext uri="{FF2B5EF4-FFF2-40B4-BE49-F238E27FC236}">
                <a16:creationId xmlns:a16="http://schemas.microsoft.com/office/drawing/2014/main" id="{AA1002B4-8FAD-40F7-97C6-B9AD8F17F95C}"/>
              </a:ext>
            </a:extLst>
          </p:cNvPr>
          <p:cNvSpPr/>
          <p:nvPr/>
        </p:nvSpPr>
        <p:spPr>
          <a:xfrm>
            <a:off x="7465247" y="1100792"/>
            <a:ext cx="2218284" cy="830283"/>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Big Data Analytics</a:t>
            </a:r>
          </a:p>
          <a:p>
            <a:pPr marL="0" marR="0" lvl="0" indent="0" defTabSz="4572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Provides computing power to analyze a large set of data </a:t>
            </a:r>
          </a:p>
        </p:txBody>
      </p:sp>
      <p:cxnSp>
        <p:nvCxnSpPr>
          <p:cNvPr id="48" name="Straight Connector 47">
            <a:extLst>
              <a:ext uri="{FF2B5EF4-FFF2-40B4-BE49-F238E27FC236}">
                <a16:creationId xmlns:a16="http://schemas.microsoft.com/office/drawing/2014/main" id="{958D094C-F88B-4344-9F87-2FACF1F0D1D4}"/>
              </a:ext>
            </a:extLst>
          </p:cNvPr>
          <p:cNvCxnSpPr>
            <a:cxnSpLocks/>
          </p:cNvCxnSpPr>
          <p:nvPr/>
        </p:nvCxnSpPr>
        <p:spPr>
          <a:xfrm>
            <a:off x="4302749" y="3673349"/>
            <a:ext cx="1337857" cy="14973"/>
          </a:xfrm>
          <a:prstGeom prst="line">
            <a:avLst/>
          </a:prstGeom>
          <a:noFill/>
          <a:ln w="38100" cap="flat" cmpd="sng" algn="ctr">
            <a:solidFill>
              <a:srgbClr val="000000"/>
            </a:solidFill>
            <a:prstDash val="solid"/>
          </a:ln>
          <a:effectLst/>
        </p:spPr>
      </p:cxnSp>
      <p:sp>
        <p:nvSpPr>
          <p:cNvPr id="58" name="Oval 57">
            <a:extLst>
              <a:ext uri="{FF2B5EF4-FFF2-40B4-BE49-F238E27FC236}">
                <a16:creationId xmlns:a16="http://schemas.microsoft.com/office/drawing/2014/main" id="{38DCEF95-9153-4112-85A6-EE249E97A951}"/>
              </a:ext>
            </a:extLst>
          </p:cNvPr>
          <p:cNvSpPr/>
          <p:nvPr/>
        </p:nvSpPr>
        <p:spPr>
          <a:xfrm flipV="1">
            <a:off x="5629994" y="3601747"/>
            <a:ext cx="183517" cy="158178"/>
          </a:xfrm>
          <a:prstGeom prst="ellipse">
            <a:avLst/>
          </a:prstGeom>
          <a:solidFill>
            <a:srgbClr val="00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imes New Roman"/>
              <a:ea typeface="+mn-ea"/>
              <a:cs typeface="+mn-cs"/>
            </a:endParaRPr>
          </a:p>
        </p:txBody>
      </p:sp>
      <p:grpSp>
        <p:nvGrpSpPr>
          <p:cNvPr id="54" name="Group 53">
            <a:extLst>
              <a:ext uri="{FF2B5EF4-FFF2-40B4-BE49-F238E27FC236}">
                <a16:creationId xmlns:a16="http://schemas.microsoft.com/office/drawing/2014/main" id="{C5C3A803-5820-48E8-9655-5AF68E1E02C4}"/>
              </a:ext>
            </a:extLst>
          </p:cNvPr>
          <p:cNvGrpSpPr/>
          <p:nvPr/>
        </p:nvGrpSpPr>
        <p:grpSpPr>
          <a:xfrm flipV="1">
            <a:off x="3617431" y="4435777"/>
            <a:ext cx="2058327" cy="1365354"/>
            <a:chOff x="4446404" y="2482991"/>
            <a:chExt cx="1153859" cy="887993"/>
          </a:xfrm>
        </p:grpSpPr>
        <p:cxnSp>
          <p:nvCxnSpPr>
            <p:cNvPr id="55" name="Straight Connector 54">
              <a:extLst>
                <a:ext uri="{FF2B5EF4-FFF2-40B4-BE49-F238E27FC236}">
                  <a16:creationId xmlns:a16="http://schemas.microsoft.com/office/drawing/2014/main" id="{5383DDA0-E081-4E21-BDC9-96CD4BB8EBA3}"/>
                </a:ext>
              </a:extLst>
            </p:cNvPr>
            <p:cNvCxnSpPr>
              <a:cxnSpLocks/>
            </p:cNvCxnSpPr>
            <p:nvPr/>
          </p:nvCxnSpPr>
          <p:spPr>
            <a:xfrm flipV="1">
              <a:off x="4810876" y="2486937"/>
              <a:ext cx="789387" cy="0"/>
            </a:xfrm>
            <a:prstGeom prst="line">
              <a:avLst/>
            </a:prstGeom>
            <a:noFill/>
            <a:ln w="38100" cap="flat" cmpd="sng" algn="ctr">
              <a:solidFill>
                <a:srgbClr val="000000"/>
              </a:solidFill>
              <a:prstDash val="solid"/>
            </a:ln>
            <a:effectLst/>
          </p:spPr>
        </p:cxnSp>
        <p:cxnSp>
          <p:nvCxnSpPr>
            <p:cNvPr id="57" name="Straight Connector 56">
              <a:extLst>
                <a:ext uri="{FF2B5EF4-FFF2-40B4-BE49-F238E27FC236}">
                  <a16:creationId xmlns:a16="http://schemas.microsoft.com/office/drawing/2014/main" id="{7C1827F3-5D6A-499A-978B-F4DBB976CB17}"/>
                </a:ext>
              </a:extLst>
            </p:cNvPr>
            <p:cNvCxnSpPr>
              <a:cxnSpLocks/>
            </p:cNvCxnSpPr>
            <p:nvPr/>
          </p:nvCxnSpPr>
          <p:spPr>
            <a:xfrm flipV="1">
              <a:off x="4446404" y="2482991"/>
              <a:ext cx="376092" cy="887993"/>
            </a:xfrm>
            <a:prstGeom prst="line">
              <a:avLst/>
            </a:prstGeom>
            <a:noFill/>
            <a:ln w="38100" cap="flat" cmpd="sng" algn="ctr">
              <a:solidFill>
                <a:srgbClr val="000000"/>
              </a:solidFill>
              <a:prstDash val="solid"/>
            </a:ln>
            <a:effectLst/>
          </p:spPr>
        </p:cxnSp>
      </p:grpSp>
      <p:sp>
        <p:nvSpPr>
          <p:cNvPr id="62" name="Oval 61">
            <a:extLst>
              <a:ext uri="{FF2B5EF4-FFF2-40B4-BE49-F238E27FC236}">
                <a16:creationId xmlns:a16="http://schemas.microsoft.com/office/drawing/2014/main" id="{C4E411FE-D080-4484-8333-90317D09ABFA}"/>
              </a:ext>
            </a:extLst>
          </p:cNvPr>
          <p:cNvSpPr/>
          <p:nvPr/>
        </p:nvSpPr>
        <p:spPr>
          <a:xfrm flipV="1">
            <a:off x="5629994" y="5706303"/>
            <a:ext cx="183517" cy="158178"/>
          </a:xfrm>
          <a:prstGeom prst="ellipse">
            <a:avLst/>
          </a:prstGeom>
          <a:solidFill>
            <a:srgbClr val="00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imes New Roman"/>
              <a:ea typeface="+mn-ea"/>
              <a:cs typeface="+mn-cs"/>
            </a:endParaRPr>
          </a:p>
        </p:txBody>
      </p:sp>
      <p:grpSp>
        <p:nvGrpSpPr>
          <p:cNvPr id="65" name="Group 64">
            <a:extLst>
              <a:ext uri="{FF2B5EF4-FFF2-40B4-BE49-F238E27FC236}">
                <a16:creationId xmlns:a16="http://schemas.microsoft.com/office/drawing/2014/main" id="{F9DA23BA-49F8-4D03-9DEA-C2536CA3FC64}"/>
              </a:ext>
            </a:extLst>
          </p:cNvPr>
          <p:cNvGrpSpPr/>
          <p:nvPr/>
        </p:nvGrpSpPr>
        <p:grpSpPr>
          <a:xfrm>
            <a:off x="3617431" y="1560572"/>
            <a:ext cx="2058327" cy="1365354"/>
            <a:chOff x="4446404" y="2482991"/>
            <a:chExt cx="1153859" cy="887993"/>
          </a:xfrm>
        </p:grpSpPr>
        <p:cxnSp>
          <p:nvCxnSpPr>
            <p:cNvPr id="66" name="Straight Connector 65">
              <a:extLst>
                <a:ext uri="{FF2B5EF4-FFF2-40B4-BE49-F238E27FC236}">
                  <a16:creationId xmlns:a16="http://schemas.microsoft.com/office/drawing/2014/main" id="{549B0D05-A391-42AE-AF4D-C5AE86177E4E}"/>
                </a:ext>
              </a:extLst>
            </p:cNvPr>
            <p:cNvCxnSpPr>
              <a:cxnSpLocks/>
            </p:cNvCxnSpPr>
            <p:nvPr/>
          </p:nvCxnSpPr>
          <p:spPr>
            <a:xfrm flipV="1">
              <a:off x="4810876" y="2486937"/>
              <a:ext cx="789387" cy="0"/>
            </a:xfrm>
            <a:prstGeom prst="line">
              <a:avLst/>
            </a:prstGeom>
            <a:noFill/>
            <a:ln w="38100" cap="flat" cmpd="sng" algn="ctr">
              <a:solidFill>
                <a:srgbClr val="000000"/>
              </a:solidFill>
              <a:prstDash val="solid"/>
            </a:ln>
            <a:effectLst/>
          </p:spPr>
        </p:cxnSp>
        <p:cxnSp>
          <p:nvCxnSpPr>
            <p:cNvPr id="67" name="Straight Connector 66">
              <a:extLst>
                <a:ext uri="{FF2B5EF4-FFF2-40B4-BE49-F238E27FC236}">
                  <a16:creationId xmlns:a16="http://schemas.microsoft.com/office/drawing/2014/main" id="{DD4C78FB-E1C2-48C7-A7A4-F62A8D35AE48}"/>
                </a:ext>
              </a:extLst>
            </p:cNvPr>
            <p:cNvCxnSpPr>
              <a:cxnSpLocks/>
            </p:cNvCxnSpPr>
            <p:nvPr/>
          </p:nvCxnSpPr>
          <p:spPr>
            <a:xfrm flipV="1">
              <a:off x="4446404" y="2482991"/>
              <a:ext cx="376092" cy="887993"/>
            </a:xfrm>
            <a:prstGeom prst="line">
              <a:avLst/>
            </a:prstGeom>
            <a:noFill/>
            <a:ln w="38100" cap="flat" cmpd="sng" algn="ctr">
              <a:solidFill>
                <a:srgbClr val="000000"/>
              </a:solidFill>
              <a:prstDash val="solid"/>
            </a:ln>
            <a:effectLst/>
          </p:spPr>
        </p:cxnSp>
      </p:grpSp>
      <p:sp>
        <p:nvSpPr>
          <p:cNvPr id="68" name="Oval 67">
            <a:extLst>
              <a:ext uri="{FF2B5EF4-FFF2-40B4-BE49-F238E27FC236}">
                <a16:creationId xmlns:a16="http://schemas.microsoft.com/office/drawing/2014/main" id="{1D5BCD2B-0C69-4A01-905A-78AFED0CD0CE}"/>
              </a:ext>
            </a:extLst>
          </p:cNvPr>
          <p:cNvSpPr/>
          <p:nvPr/>
        </p:nvSpPr>
        <p:spPr>
          <a:xfrm>
            <a:off x="5629994" y="1497191"/>
            <a:ext cx="183517" cy="158178"/>
          </a:xfrm>
          <a:prstGeom prst="ellipse">
            <a:avLst/>
          </a:prstGeom>
          <a:solidFill>
            <a:srgbClr val="00000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Times New Roman"/>
              <a:ea typeface="+mn-ea"/>
              <a:cs typeface="+mn-cs"/>
            </a:endParaRPr>
          </a:p>
        </p:txBody>
      </p:sp>
      <p:sp>
        <p:nvSpPr>
          <p:cNvPr id="69" name="TextBox 68">
            <a:extLst>
              <a:ext uri="{FF2B5EF4-FFF2-40B4-BE49-F238E27FC236}">
                <a16:creationId xmlns:a16="http://schemas.microsoft.com/office/drawing/2014/main" id="{1A2171F5-5125-4ABC-9C46-E8D5C6576AAA}"/>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cs typeface="Segoe UI Semibold" panose="020B0702040204020203" pitchFamily="34" charset="0"/>
                <a:sym typeface="Quattrocento Sans"/>
              </a:rPr>
              <a:t>Sample use of icons</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
        <p:nvSpPr>
          <p:cNvPr id="71" name="Rectangle 70">
            <a:extLst>
              <a:ext uri="{FF2B5EF4-FFF2-40B4-BE49-F238E27FC236}">
                <a16:creationId xmlns:a16="http://schemas.microsoft.com/office/drawing/2014/main" id="{332588B0-23FF-4132-9D2B-2F53A4A53B22}"/>
              </a:ext>
            </a:extLst>
          </p:cNvPr>
          <p:cNvSpPr/>
          <p:nvPr/>
        </p:nvSpPr>
        <p:spPr>
          <a:xfrm>
            <a:off x="409427" y="3361500"/>
            <a:ext cx="2218284" cy="830283"/>
          </a:xfrm>
          <a:prstGeom prst="rect">
            <a:avLst/>
          </a:prstGeom>
          <a:noFill/>
          <a:ln w="9525" cap="flat" cmpd="sng" algn="ctr">
            <a:noFill/>
            <a:prstDash val="soli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Cloud Computing</a:t>
            </a:r>
          </a:p>
          <a:p>
            <a:pPr marL="0" marR="0" lvl="0" indent="0" defTabSz="4572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a:ln>
                  <a:noFill/>
                </a:ln>
                <a:solidFill>
                  <a:srgbClr val="000000"/>
                </a:solidFill>
                <a:effectLst/>
                <a:uLnTx/>
                <a:uFillTx/>
                <a:latin typeface="Segoe UI Light" panose="020B0502040204020203" pitchFamily="34" charset="0"/>
                <a:ea typeface="+mn-ea"/>
                <a:cs typeface="Segoe UI Light" panose="020B0502040204020203" pitchFamily="34" charset="0"/>
              </a:rPr>
              <a:t>The power of the cloud</a:t>
            </a:r>
          </a:p>
        </p:txBody>
      </p:sp>
    </p:spTree>
    <p:extLst>
      <p:ext uri="{BB962C8B-B14F-4D97-AF65-F5344CB8AC3E}">
        <p14:creationId xmlns:p14="http://schemas.microsoft.com/office/powerpoint/2010/main" val="230329307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47" name="Group 46">
            <a:extLst>
              <a:ext uri="{FF2B5EF4-FFF2-40B4-BE49-F238E27FC236}">
                <a16:creationId xmlns:a16="http://schemas.microsoft.com/office/drawing/2014/main" id="{4C4589FA-8550-4B04-905A-018E3749A796}"/>
              </a:ext>
            </a:extLst>
          </p:cNvPr>
          <p:cNvGrpSpPr>
            <a:grpSpLocks noChangeAspect="1"/>
          </p:cNvGrpSpPr>
          <p:nvPr/>
        </p:nvGrpSpPr>
        <p:grpSpPr>
          <a:xfrm>
            <a:off x="7592016" y="1762943"/>
            <a:ext cx="3054271" cy="3041817"/>
            <a:chOff x="2007345" y="1977508"/>
            <a:chExt cx="2666233" cy="2655361"/>
          </a:xfrm>
        </p:grpSpPr>
        <p:sp>
          <p:nvSpPr>
            <p:cNvPr id="48" name="Oval 47">
              <a:extLst>
                <a:ext uri="{FF2B5EF4-FFF2-40B4-BE49-F238E27FC236}">
                  <a16:creationId xmlns:a16="http://schemas.microsoft.com/office/drawing/2014/main" id="{35CF70AB-496E-4871-A54C-729EECB66CEA}"/>
                </a:ext>
              </a:extLst>
            </p:cNvPr>
            <p:cNvSpPr/>
            <p:nvPr/>
          </p:nvSpPr>
          <p:spPr>
            <a:xfrm>
              <a:off x="2007345" y="1981332"/>
              <a:ext cx="2666233" cy="2651537"/>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37" b="0" i="0" u="none" strike="noStrike" kern="1200" cap="none" spc="0" normalizeH="0" baseline="0" noProof="0">
                <a:ln>
                  <a:noFill/>
                </a:ln>
                <a:solidFill>
                  <a:srgbClr val="525252">
                    <a:lumMod val="50000"/>
                  </a:srgbClr>
                </a:solidFill>
                <a:effectLst/>
                <a:uLnTx/>
                <a:uFillTx/>
                <a:latin typeface="Garamond" panose="02020404030301010803" pitchFamily="18" charset="0"/>
                <a:ea typeface="+mn-ea"/>
                <a:cs typeface="+mn-cs"/>
              </a:endParaRPr>
            </a:p>
          </p:txBody>
        </p:sp>
        <p:sp>
          <p:nvSpPr>
            <p:cNvPr id="49" name="Arc 48">
              <a:extLst>
                <a:ext uri="{FF2B5EF4-FFF2-40B4-BE49-F238E27FC236}">
                  <a16:creationId xmlns:a16="http://schemas.microsoft.com/office/drawing/2014/main" id="{098D0C10-E1E1-46AA-8983-9D72301D1FE2}"/>
                </a:ext>
              </a:extLst>
            </p:cNvPr>
            <p:cNvSpPr>
              <a:spLocks noChangeAspect="1"/>
            </p:cNvSpPr>
            <p:nvPr/>
          </p:nvSpPr>
          <p:spPr>
            <a:xfrm>
              <a:off x="2010572" y="1977508"/>
              <a:ext cx="2659883" cy="2654309"/>
            </a:xfrm>
            <a:prstGeom prst="arc">
              <a:avLst>
                <a:gd name="adj1" fmla="val 10731409"/>
                <a:gd name="adj2" fmla="val 318272"/>
              </a:avLst>
            </a:prstGeom>
            <a:ln w="69850" cap="rnd">
              <a:solidFill>
                <a:srgbClr val="A8053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37" b="0" i="0" u="none" strike="noStrike" kern="1200" cap="none" spc="0" normalizeH="0" baseline="0" noProof="0">
                <a:ln>
                  <a:noFill/>
                </a:ln>
                <a:solidFill>
                  <a:srgbClr val="525252">
                    <a:lumMod val="50000"/>
                  </a:srgbClr>
                </a:solidFill>
                <a:effectLst/>
                <a:uLnTx/>
                <a:uFillTx/>
                <a:latin typeface="Garamond" panose="02020404030301010803" pitchFamily="18" charset="0"/>
                <a:ea typeface="+mn-ea"/>
                <a:cs typeface="+mn-cs"/>
              </a:endParaRPr>
            </a:p>
          </p:txBody>
        </p:sp>
      </p:grpSp>
      <p:sp>
        <p:nvSpPr>
          <p:cNvPr id="218" name="Rectangle 217">
            <a:extLst>
              <a:ext uri="{FF2B5EF4-FFF2-40B4-BE49-F238E27FC236}">
                <a16:creationId xmlns:a16="http://schemas.microsoft.com/office/drawing/2014/main" id="{E42588D8-65B3-DA4A-8CA0-4BEA6D22E011}"/>
              </a:ext>
            </a:extLst>
          </p:cNvPr>
          <p:cNvSpPr/>
          <p:nvPr/>
        </p:nvSpPr>
        <p:spPr>
          <a:xfrm>
            <a:off x="1491007" y="5036580"/>
            <a:ext cx="3050694" cy="646331"/>
          </a:xfrm>
          <a:prstGeom prst="rect">
            <a:avLst/>
          </a:prstGeom>
        </p:spPr>
        <p:txBody>
          <a:bodyPr wrap="square">
            <a:spAutoFit/>
          </a:bodyPr>
          <a:lstStyle/>
          <a:p>
            <a:pPr lvl="0" algn="ctr" fontAlgn="base">
              <a:defRPr/>
            </a:pPr>
            <a:r>
              <a:rPr lang="en-US">
                <a:latin typeface="Segoe UI Semilight" panose="020B0402040204020203" pitchFamily="34" charset="0"/>
                <a:cs typeface="Segoe UI Semilight" panose="020B0402040204020203" pitchFamily="34" charset="0"/>
              </a:rPr>
              <a:t>Text example here. Replace with your own text</a:t>
            </a:r>
          </a:p>
        </p:txBody>
      </p:sp>
      <p:sp>
        <p:nvSpPr>
          <p:cNvPr id="220" name="Rectangle 219">
            <a:extLst>
              <a:ext uri="{FF2B5EF4-FFF2-40B4-BE49-F238E27FC236}">
                <a16:creationId xmlns:a16="http://schemas.microsoft.com/office/drawing/2014/main" id="{FC2F3C42-BE32-0646-9EE1-BDDD34F27AF8}"/>
              </a:ext>
            </a:extLst>
          </p:cNvPr>
          <p:cNvSpPr/>
          <p:nvPr/>
        </p:nvSpPr>
        <p:spPr>
          <a:xfrm>
            <a:off x="4545322" y="5036580"/>
            <a:ext cx="3050314" cy="646331"/>
          </a:xfrm>
          <a:prstGeom prst="rect">
            <a:avLst/>
          </a:prstGeom>
        </p:spPr>
        <p:txBody>
          <a:bodyPr wrap="square">
            <a:spAutoFit/>
          </a:bodyPr>
          <a:lstStyle/>
          <a:p>
            <a:pPr lvl="0" algn="ctr">
              <a:defRPr/>
            </a:pPr>
            <a:r>
              <a:rPr lang="en-US">
                <a:latin typeface="Segoe UI Semilight" panose="020B0402040204020203" pitchFamily="34" charset="0"/>
                <a:cs typeface="Segoe UI Semilight" panose="020B0402040204020203" pitchFamily="34" charset="0"/>
              </a:rPr>
              <a:t>Text example here. Replace with your own text</a:t>
            </a:r>
          </a:p>
        </p:txBody>
      </p:sp>
      <p:sp>
        <p:nvSpPr>
          <p:cNvPr id="222" name="Rectangle 221">
            <a:extLst>
              <a:ext uri="{FF2B5EF4-FFF2-40B4-BE49-F238E27FC236}">
                <a16:creationId xmlns:a16="http://schemas.microsoft.com/office/drawing/2014/main" id="{FC87D0A4-A87F-DB41-9E93-7C4113E63634}"/>
              </a:ext>
            </a:extLst>
          </p:cNvPr>
          <p:cNvSpPr/>
          <p:nvPr/>
        </p:nvSpPr>
        <p:spPr>
          <a:xfrm>
            <a:off x="7599257" y="5036580"/>
            <a:ext cx="3043453" cy="646331"/>
          </a:xfrm>
          <a:prstGeom prst="rect">
            <a:avLst/>
          </a:prstGeom>
        </p:spPr>
        <p:txBody>
          <a:bodyPr wrap="square">
            <a:spAutoFit/>
          </a:bodyPr>
          <a:lstStyle/>
          <a:p>
            <a:pPr lvl="0" algn="ctr">
              <a:defRPr/>
            </a:pPr>
            <a:r>
              <a:rPr lang="en-US">
                <a:latin typeface="Segoe UI Semilight" panose="020B0402040204020203" pitchFamily="34" charset="0"/>
                <a:cs typeface="Segoe UI Semilight" panose="020B0402040204020203" pitchFamily="34" charset="0"/>
              </a:rPr>
              <a:t>Text example here. Replace with your own text</a:t>
            </a:r>
          </a:p>
        </p:txBody>
      </p:sp>
      <p:sp>
        <p:nvSpPr>
          <p:cNvPr id="226" name="Rectangle 225">
            <a:extLst>
              <a:ext uri="{FF2B5EF4-FFF2-40B4-BE49-F238E27FC236}">
                <a16:creationId xmlns:a16="http://schemas.microsoft.com/office/drawing/2014/main" id="{4D229FD3-38FD-1D46-B93E-5A27A008C1B3}"/>
              </a:ext>
            </a:extLst>
          </p:cNvPr>
          <p:cNvSpPr/>
          <p:nvPr/>
        </p:nvSpPr>
        <p:spPr>
          <a:xfrm>
            <a:off x="1843380" y="3816870"/>
            <a:ext cx="236076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a:ln>
                  <a:noFill/>
                </a:ln>
                <a:solidFill>
                  <a:srgbClr val="525252">
                    <a:lumMod val="50000"/>
                  </a:srgbClr>
                </a:solidFill>
                <a:effectLst/>
                <a:uLnTx/>
                <a:uFillTx/>
                <a:latin typeface="+mj-lt"/>
                <a:cs typeface="Segoe UI Semilight" panose="020B0402040204020203" pitchFamily="34" charset="0"/>
              </a:rPr>
              <a:t>Header</a:t>
            </a:r>
          </a:p>
        </p:txBody>
      </p:sp>
      <p:sp>
        <p:nvSpPr>
          <p:cNvPr id="217" name="Oval 15">
            <a:extLst>
              <a:ext uri="{FF2B5EF4-FFF2-40B4-BE49-F238E27FC236}">
                <a16:creationId xmlns:a16="http://schemas.microsoft.com/office/drawing/2014/main" id="{B1A2AEDF-0B5D-DB47-9234-685A919E402C}"/>
              </a:ext>
            </a:extLst>
          </p:cNvPr>
          <p:cNvSpPr>
            <a:spLocks noChangeAspect="1" noChangeArrowheads="1"/>
          </p:cNvSpPr>
          <p:nvPr/>
        </p:nvSpPr>
        <p:spPr bwMode="auto">
          <a:xfrm>
            <a:off x="2424585" y="2411984"/>
            <a:ext cx="1192749" cy="1228479"/>
          </a:xfrm>
          <a:prstGeom prst="ellipse">
            <a:avLst/>
          </a:prstGeom>
          <a:solidFill>
            <a:srgbClr val="4059AD"/>
          </a:solidFill>
          <a:ln>
            <a:noFill/>
          </a:ln>
        </p:spPr>
        <p:txBody>
          <a:bodyPr vert="horz" wrap="square" lIns="34286" tIns="17143" rIns="34286" bIns="1714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7" b="0" i="0" u="none" strike="noStrike" kern="1200" cap="none" spc="0" normalizeH="0" baseline="0" noProof="0">
              <a:ln>
                <a:noFill/>
              </a:ln>
              <a:solidFill>
                <a:srgbClr val="525252">
                  <a:lumMod val="50000"/>
                </a:srgbClr>
              </a:solidFill>
              <a:effectLst/>
              <a:uLnTx/>
              <a:uFillTx/>
              <a:latin typeface="Garamond" panose="02020404030301010803" pitchFamily="18" charset="0"/>
              <a:ea typeface="+mn-ea"/>
              <a:cs typeface="+mn-cs"/>
            </a:endParaRPr>
          </a:p>
        </p:txBody>
      </p:sp>
      <p:sp>
        <p:nvSpPr>
          <p:cNvPr id="227" name="Rectangle 226">
            <a:extLst>
              <a:ext uri="{FF2B5EF4-FFF2-40B4-BE49-F238E27FC236}">
                <a16:creationId xmlns:a16="http://schemas.microsoft.com/office/drawing/2014/main" id="{94303986-EB6A-4A43-BA7E-F8D3814D78B9}"/>
              </a:ext>
            </a:extLst>
          </p:cNvPr>
          <p:cNvSpPr/>
          <p:nvPr/>
        </p:nvSpPr>
        <p:spPr>
          <a:xfrm>
            <a:off x="4886150" y="3816870"/>
            <a:ext cx="2440092" cy="369332"/>
          </a:xfrm>
          <a:prstGeom prst="rect">
            <a:avLst/>
          </a:prstGeom>
        </p:spPr>
        <p:txBody>
          <a:bodyPr wrap="square">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i="0" u="none" strike="noStrike" kern="1200" cap="none" spc="0" normalizeH="0" baseline="0" noProof="0">
                <a:ln>
                  <a:noFill/>
                </a:ln>
                <a:solidFill>
                  <a:srgbClr val="525252">
                    <a:lumMod val="50000"/>
                  </a:srgbClr>
                </a:solidFill>
                <a:effectLst/>
                <a:uLnTx/>
                <a:uFillTx/>
                <a:latin typeface="+mj-lt"/>
                <a:cs typeface="Segoe UI Semilight" panose="020B0402040204020203" pitchFamily="34" charset="0"/>
              </a:rPr>
              <a:t>Header</a:t>
            </a:r>
          </a:p>
        </p:txBody>
      </p:sp>
      <p:grpSp>
        <p:nvGrpSpPr>
          <p:cNvPr id="43" name="Group 42">
            <a:extLst>
              <a:ext uri="{FF2B5EF4-FFF2-40B4-BE49-F238E27FC236}">
                <a16:creationId xmlns:a16="http://schemas.microsoft.com/office/drawing/2014/main" id="{D06D97B2-327A-40DB-B79E-53A7CEBC6AF9}"/>
              </a:ext>
            </a:extLst>
          </p:cNvPr>
          <p:cNvGrpSpPr>
            <a:grpSpLocks noChangeAspect="1"/>
          </p:cNvGrpSpPr>
          <p:nvPr/>
        </p:nvGrpSpPr>
        <p:grpSpPr>
          <a:xfrm rot="10800000">
            <a:off x="4543403" y="1835285"/>
            <a:ext cx="3054271" cy="3041817"/>
            <a:chOff x="2007345" y="1977508"/>
            <a:chExt cx="2666233" cy="2655361"/>
          </a:xfrm>
        </p:grpSpPr>
        <p:sp>
          <p:nvSpPr>
            <p:cNvPr id="44" name="Oval 43">
              <a:extLst>
                <a:ext uri="{FF2B5EF4-FFF2-40B4-BE49-F238E27FC236}">
                  <a16:creationId xmlns:a16="http://schemas.microsoft.com/office/drawing/2014/main" id="{F96237CC-B45B-4418-8F97-B87C75AB6A7B}"/>
                </a:ext>
              </a:extLst>
            </p:cNvPr>
            <p:cNvSpPr/>
            <p:nvPr/>
          </p:nvSpPr>
          <p:spPr>
            <a:xfrm>
              <a:off x="2007345" y="1981332"/>
              <a:ext cx="2666233" cy="2651537"/>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37" b="0" i="0" u="none" strike="noStrike" kern="1200" cap="none" spc="0" normalizeH="0" baseline="0" noProof="0">
                <a:ln>
                  <a:noFill/>
                </a:ln>
                <a:solidFill>
                  <a:srgbClr val="525252">
                    <a:lumMod val="50000"/>
                  </a:srgbClr>
                </a:solidFill>
                <a:effectLst/>
                <a:uLnTx/>
                <a:uFillTx/>
                <a:latin typeface="Garamond" panose="02020404030301010803" pitchFamily="18" charset="0"/>
                <a:ea typeface="+mn-ea"/>
                <a:cs typeface="+mn-cs"/>
              </a:endParaRPr>
            </a:p>
          </p:txBody>
        </p:sp>
        <p:sp>
          <p:nvSpPr>
            <p:cNvPr id="45" name="Arc 44">
              <a:extLst>
                <a:ext uri="{FF2B5EF4-FFF2-40B4-BE49-F238E27FC236}">
                  <a16:creationId xmlns:a16="http://schemas.microsoft.com/office/drawing/2014/main" id="{AB733093-53A3-42BC-A62B-1EF25634B90F}"/>
                </a:ext>
              </a:extLst>
            </p:cNvPr>
            <p:cNvSpPr>
              <a:spLocks noChangeAspect="1"/>
            </p:cNvSpPr>
            <p:nvPr/>
          </p:nvSpPr>
          <p:spPr>
            <a:xfrm>
              <a:off x="2010572" y="1977508"/>
              <a:ext cx="2659883" cy="2654309"/>
            </a:xfrm>
            <a:prstGeom prst="arc">
              <a:avLst>
                <a:gd name="adj1" fmla="val 10753873"/>
                <a:gd name="adj2" fmla="val 0"/>
              </a:avLst>
            </a:prstGeom>
            <a:ln w="69850" cap="rnd">
              <a:solidFill>
                <a:srgbClr val="A4A5A6"/>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37" b="0" i="0" u="none" strike="noStrike" kern="1200" cap="none" spc="0" normalizeH="0" baseline="0" noProof="0">
                <a:ln>
                  <a:noFill/>
                </a:ln>
                <a:solidFill>
                  <a:srgbClr val="525252">
                    <a:lumMod val="50000"/>
                  </a:srgbClr>
                </a:solidFill>
                <a:effectLst/>
                <a:uLnTx/>
                <a:uFillTx/>
                <a:latin typeface="Garamond" panose="02020404030301010803" pitchFamily="18" charset="0"/>
                <a:ea typeface="+mn-ea"/>
                <a:cs typeface="+mn-cs"/>
              </a:endParaRPr>
            </a:p>
          </p:txBody>
        </p:sp>
      </p:grpSp>
      <p:sp>
        <p:nvSpPr>
          <p:cNvPr id="46" name="Oval 15">
            <a:extLst>
              <a:ext uri="{FF2B5EF4-FFF2-40B4-BE49-F238E27FC236}">
                <a16:creationId xmlns:a16="http://schemas.microsoft.com/office/drawing/2014/main" id="{17C96F5A-68B1-433B-A010-B28CB26F7500}"/>
              </a:ext>
            </a:extLst>
          </p:cNvPr>
          <p:cNvSpPr>
            <a:spLocks noChangeAspect="1" noChangeArrowheads="1"/>
          </p:cNvSpPr>
          <p:nvPr/>
        </p:nvSpPr>
        <p:spPr bwMode="auto">
          <a:xfrm>
            <a:off x="5511190" y="2411983"/>
            <a:ext cx="1192749" cy="1228479"/>
          </a:xfrm>
          <a:prstGeom prst="ellipse">
            <a:avLst/>
          </a:prstGeom>
          <a:solidFill>
            <a:srgbClr val="A4A5A6"/>
          </a:solidFill>
          <a:ln>
            <a:noFill/>
          </a:ln>
        </p:spPr>
        <p:txBody>
          <a:bodyPr vert="horz" wrap="square" lIns="34286" tIns="17143" rIns="34286" bIns="1714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7" b="0" i="0" u="none" strike="noStrike" kern="1200" cap="none" spc="0" normalizeH="0" baseline="0" noProof="0">
              <a:ln>
                <a:noFill/>
              </a:ln>
              <a:solidFill>
                <a:srgbClr val="525252">
                  <a:lumMod val="50000"/>
                </a:srgbClr>
              </a:solidFill>
              <a:effectLst/>
              <a:uLnTx/>
              <a:uFillTx/>
              <a:latin typeface="Garamond" panose="02020404030301010803" pitchFamily="18" charset="0"/>
              <a:ea typeface="+mn-ea"/>
              <a:cs typeface="+mn-cs"/>
            </a:endParaRPr>
          </a:p>
        </p:txBody>
      </p:sp>
      <p:sp>
        <p:nvSpPr>
          <p:cNvPr id="50" name="Rectangle 49">
            <a:extLst>
              <a:ext uri="{FF2B5EF4-FFF2-40B4-BE49-F238E27FC236}">
                <a16:creationId xmlns:a16="http://schemas.microsoft.com/office/drawing/2014/main" id="{A8984046-61B8-44DA-B0F9-239F09753CC4}"/>
              </a:ext>
            </a:extLst>
          </p:cNvPr>
          <p:cNvSpPr/>
          <p:nvPr/>
        </p:nvSpPr>
        <p:spPr>
          <a:xfrm>
            <a:off x="7929439" y="3816870"/>
            <a:ext cx="2360762"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a:ln>
                  <a:noFill/>
                </a:ln>
                <a:solidFill>
                  <a:srgbClr val="525252">
                    <a:lumMod val="50000"/>
                  </a:srgbClr>
                </a:solidFill>
                <a:effectLst/>
                <a:uLnTx/>
                <a:uFillTx/>
                <a:latin typeface="+mj-lt"/>
                <a:cs typeface="Segoe UI Semilight" panose="020B0402040204020203" pitchFamily="34" charset="0"/>
              </a:rPr>
              <a:t>Header</a:t>
            </a:r>
          </a:p>
        </p:txBody>
      </p:sp>
      <p:sp>
        <p:nvSpPr>
          <p:cNvPr id="51" name="Oval 15">
            <a:extLst>
              <a:ext uri="{FF2B5EF4-FFF2-40B4-BE49-F238E27FC236}">
                <a16:creationId xmlns:a16="http://schemas.microsoft.com/office/drawing/2014/main" id="{60455CEF-2E9F-42B6-BA50-0A9F1A7C57CE}"/>
              </a:ext>
            </a:extLst>
          </p:cNvPr>
          <p:cNvSpPr>
            <a:spLocks noChangeAspect="1" noChangeArrowheads="1"/>
          </p:cNvSpPr>
          <p:nvPr/>
        </p:nvSpPr>
        <p:spPr bwMode="auto">
          <a:xfrm>
            <a:off x="8516263" y="2324733"/>
            <a:ext cx="1192749" cy="1228479"/>
          </a:xfrm>
          <a:prstGeom prst="ellipse">
            <a:avLst/>
          </a:prstGeom>
          <a:solidFill>
            <a:srgbClr val="A80532"/>
          </a:solidFill>
          <a:ln>
            <a:noFill/>
          </a:ln>
        </p:spPr>
        <p:txBody>
          <a:bodyPr vert="horz" wrap="square" lIns="34286" tIns="17143" rIns="34286" bIns="17143"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37" b="0" i="0" u="none" strike="noStrike" kern="1200" cap="none" spc="0" normalizeH="0" baseline="0" noProof="0">
              <a:ln>
                <a:noFill/>
              </a:ln>
              <a:solidFill>
                <a:srgbClr val="525252">
                  <a:lumMod val="50000"/>
                </a:srgbClr>
              </a:solidFill>
              <a:effectLst/>
              <a:uLnTx/>
              <a:uFillTx/>
              <a:latin typeface="Garamond" panose="02020404030301010803" pitchFamily="18" charset="0"/>
              <a:ea typeface="+mn-ea"/>
              <a:cs typeface="+mn-cs"/>
            </a:endParaRPr>
          </a:p>
        </p:txBody>
      </p:sp>
      <p:grpSp>
        <p:nvGrpSpPr>
          <p:cNvPr id="3" name="Group 2">
            <a:extLst>
              <a:ext uri="{FF2B5EF4-FFF2-40B4-BE49-F238E27FC236}">
                <a16:creationId xmlns:a16="http://schemas.microsoft.com/office/drawing/2014/main" id="{34B36604-DB8B-423A-ABF1-10DDF6DCDAAE}"/>
              </a:ext>
            </a:extLst>
          </p:cNvPr>
          <p:cNvGrpSpPr>
            <a:grpSpLocks noChangeAspect="1"/>
          </p:cNvGrpSpPr>
          <p:nvPr/>
        </p:nvGrpSpPr>
        <p:grpSpPr>
          <a:xfrm>
            <a:off x="1491007" y="1850194"/>
            <a:ext cx="3054271" cy="3041817"/>
            <a:chOff x="2007345" y="1977508"/>
            <a:chExt cx="2666233" cy="2655361"/>
          </a:xfrm>
        </p:grpSpPr>
        <p:sp>
          <p:nvSpPr>
            <p:cNvPr id="206" name="Oval 205">
              <a:extLst>
                <a:ext uri="{FF2B5EF4-FFF2-40B4-BE49-F238E27FC236}">
                  <a16:creationId xmlns:a16="http://schemas.microsoft.com/office/drawing/2014/main" id="{0C4706D4-A5A0-4149-8C11-EE00A80C969D}"/>
                </a:ext>
              </a:extLst>
            </p:cNvPr>
            <p:cNvSpPr/>
            <p:nvPr/>
          </p:nvSpPr>
          <p:spPr>
            <a:xfrm>
              <a:off x="2007345" y="1981332"/>
              <a:ext cx="2666233" cy="2651537"/>
            </a:xfrm>
            <a:prstGeom prst="ellipse">
              <a:avLst/>
            </a:prstGeom>
            <a:noFill/>
            <a:ln w="69850">
              <a:solidFill>
                <a:srgbClr val="B2B2B2">
                  <a:alpha val="30000"/>
                </a:srgb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37" b="0" i="0" u="none" strike="noStrike" kern="1200" cap="none" spc="0" normalizeH="0" baseline="0" noProof="0">
                <a:ln>
                  <a:noFill/>
                </a:ln>
                <a:solidFill>
                  <a:srgbClr val="525252">
                    <a:lumMod val="50000"/>
                  </a:srgbClr>
                </a:solidFill>
                <a:effectLst/>
                <a:uLnTx/>
                <a:uFillTx/>
                <a:latin typeface="Garamond" panose="02020404030301010803" pitchFamily="18" charset="0"/>
                <a:ea typeface="+mn-ea"/>
                <a:cs typeface="+mn-cs"/>
              </a:endParaRPr>
            </a:p>
          </p:txBody>
        </p:sp>
        <p:sp>
          <p:nvSpPr>
            <p:cNvPr id="207" name="Arc 206">
              <a:extLst>
                <a:ext uri="{FF2B5EF4-FFF2-40B4-BE49-F238E27FC236}">
                  <a16:creationId xmlns:a16="http://schemas.microsoft.com/office/drawing/2014/main" id="{C9BFDE3C-EC8B-FF48-95B5-EA77C27728B1}"/>
                </a:ext>
              </a:extLst>
            </p:cNvPr>
            <p:cNvSpPr>
              <a:spLocks noChangeAspect="1"/>
            </p:cNvSpPr>
            <p:nvPr/>
          </p:nvSpPr>
          <p:spPr>
            <a:xfrm>
              <a:off x="2010572" y="1977508"/>
              <a:ext cx="2659883" cy="2654309"/>
            </a:xfrm>
            <a:prstGeom prst="arc">
              <a:avLst>
                <a:gd name="adj1" fmla="val 10731409"/>
                <a:gd name="adj2" fmla="val 21494113"/>
              </a:avLst>
            </a:prstGeom>
            <a:ln w="69850" cap="rnd">
              <a:solidFill>
                <a:srgbClr val="4059AD"/>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37" b="0" i="0" u="none" strike="noStrike" kern="1200" cap="none" spc="0" normalizeH="0" baseline="0" noProof="0">
                <a:ln>
                  <a:noFill/>
                </a:ln>
                <a:solidFill>
                  <a:srgbClr val="525252">
                    <a:lumMod val="50000"/>
                  </a:srgbClr>
                </a:solidFill>
                <a:effectLst/>
                <a:uLnTx/>
                <a:uFillTx/>
                <a:latin typeface="Garamond" panose="02020404030301010803" pitchFamily="18" charset="0"/>
                <a:ea typeface="+mn-ea"/>
                <a:cs typeface="+mn-cs"/>
              </a:endParaRPr>
            </a:p>
          </p:txBody>
        </p:sp>
      </p:grpSp>
      <p:pic>
        <p:nvPicPr>
          <p:cNvPr id="4" name="Picture 3">
            <a:extLst>
              <a:ext uri="{FF2B5EF4-FFF2-40B4-BE49-F238E27FC236}">
                <a16:creationId xmlns:a16="http://schemas.microsoft.com/office/drawing/2014/main" id="{CAAC1254-0411-4548-A52E-4F83483FCADC}"/>
              </a:ext>
            </a:extLst>
          </p:cNvPr>
          <p:cNvPicPr>
            <a:picLocks noChangeAspect="1"/>
          </p:cNvPicPr>
          <p:nvPr/>
        </p:nvPicPr>
        <p:blipFill>
          <a:blip r:embed="rId3">
            <a:alphaModFix/>
          </a:blip>
          <a:stretch>
            <a:fillRect/>
          </a:stretch>
        </p:blipFill>
        <p:spPr>
          <a:xfrm>
            <a:off x="2615048" y="2616808"/>
            <a:ext cx="818828" cy="818828"/>
          </a:xfrm>
          <a:prstGeom prst="rect">
            <a:avLst/>
          </a:prstGeom>
          <a:effectLst>
            <a:glow>
              <a:schemeClr val="accent1"/>
            </a:glow>
          </a:effectLst>
        </p:spPr>
      </p:pic>
      <p:pic>
        <p:nvPicPr>
          <p:cNvPr id="6" name="Picture 5" descr="Electric car with solid fill">
            <a:extLst>
              <a:ext uri="{FF2B5EF4-FFF2-40B4-BE49-F238E27FC236}">
                <a16:creationId xmlns:a16="http://schemas.microsoft.com/office/drawing/2014/main" id="{6FF3101B-C813-BF4D-8185-479172AEC798}"/>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662613" y="2582639"/>
            <a:ext cx="887166" cy="887166"/>
          </a:xfrm>
          <a:prstGeom prst="rect">
            <a:avLst/>
          </a:prstGeom>
        </p:spPr>
      </p:pic>
      <p:pic>
        <p:nvPicPr>
          <p:cNvPr id="8" name="Picture 7" descr="Renewable Energy with solid fill">
            <a:extLst>
              <a:ext uri="{FF2B5EF4-FFF2-40B4-BE49-F238E27FC236}">
                <a16:creationId xmlns:a16="http://schemas.microsoft.com/office/drawing/2014/main" id="{10D18F2D-DE09-1F48-A3BB-43856CC8C752}"/>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8649281" y="2478433"/>
            <a:ext cx="921078" cy="921078"/>
          </a:xfrm>
          <a:prstGeom prst="rect">
            <a:avLst/>
          </a:prstGeom>
        </p:spPr>
      </p:pic>
      <p:sp>
        <p:nvSpPr>
          <p:cNvPr id="25" name="TextBox 24">
            <a:extLst>
              <a:ext uri="{FF2B5EF4-FFF2-40B4-BE49-F238E27FC236}">
                <a16:creationId xmlns:a16="http://schemas.microsoft.com/office/drawing/2014/main" id="{B0D0F345-FAD7-4453-9EFE-30C07ABAE1DE}"/>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cs typeface="Segoe UI Semibold" panose="020B0702040204020203" pitchFamily="34" charset="0"/>
                <a:sym typeface="Quattrocento Sans"/>
              </a:rPr>
              <a:t>3 factors with brief descriptions</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38898506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FFF3695-D2A9-4627-9AE1-B943AC109AE5}"/>
              </a:ext>
            </a:extLst>
          </p:cNvPr>
          <p:cNvSpPr/>
          <p:nvPr/>
        </p:nvSpPr>
        <p:spPr>
          <a:xfrm>
            <a:off x="987126" y="1290307"/>
            <a:ext cx="9975149" cy="572570"/>
          </a:xfrm>
          <a:prstGeom prst="rect">
            <a:avLst/>
          </a:prstGeom>
          <a:solidFill>
            <a:srgbClr val="A8053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Segoe UI Semibold" panose="020B0702040204020203" pitchFamily="34" charset="0"/>
                <a:cs typeface="Segoe UI Semibold" panose="020B0702040204020203" pitchFamily="34" charset="0"/>
              </a:rPr>
              <a:t>Title</a:t>
            </a:r>
          </a:p>
        </p:txBody>
      </p:sp>
      <p:sp>
        <p:nvSpPr>
          <p:cNvPr id="6" name="Oval 5">
            <a:extLst>
              <a:ext uri="{FF2B5EF4-FFF2-40B4-BE49-F238E27FC236}">
                <a16:creationId xmlns:a16="http://schemas.microsoft.com/office/drawing/2014/main" id="{14CA24D9-DA02-49D9-89F6-6176E3FC98A5}"/>
              </a:ext>
            </a:extLst>
          </p:cNvPr>
          <p:cNvSpPr>
            <a:spLocks noChangeAspect="1"/>
          </p:cNvSpPr>
          <p:nvPr/>
        </p:nvSpPr>
        <p:spPr>
          <a:xfrm>
            <a:off x="1118377" y="2586285"/>
            <a:ext cx="974375" cy="974375"/>
          </a:xfrm>
          <a:prstGeom prst="ellipse">
            <a:avLst/>
          </a:prstGeom>
          <a:solidFill>
            <a:schemeClr val="bg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8" name="Oval 7">
            <a:extLst>
              <a:ext uri="{FF2B5EF4-FFF2-40B4-BE49-F238E27FC236}">
                <a16:creationId xmlns:a16="http://schemas.microsoft.com/office/drawing/2014/main" id="{AE6E3E50-B764-4F28-8C3D-88C2963F8CBE}"/>
              </a:ext>
            </a:extLst>
          </p:cNvPr>
          <p:cNvSpPr>
            <a:spLocks noChangeAspect="1"/>
          </p:cNvSpPr>
          <p:nvPr/>
        </p:nvSpPr>
        <p:spPr>
          <a:xfrm>
            <a:off x="1118377" y="3873785"/>
            <a:ext cx="974375" cy="974375"/>
          </a:xfrm>
          <a:prstGeom prst="ellipse">
            <a:avLst/>
          </a:prstGeom>
          <a:solidFill>
            <a:schemeClr val="bg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10" name="Oval 9">
            <a:extLst>
              <a:ext uri="{FF2B5EF4-FFF2-40B4-BE49-F238E27FC236}">
                <a16:creationId xmlns:a16="http://schemas.microsoft.com/office/drawing/2014/main" id="{5B794968-4FC8-4DDF-8002-0C9198DF5004}"/>
              </a:ext>
            </a:extLst>
          </p:cNvPr>
          <p:cNvSpPr>
            <a:spLocks noChangeAspect="1"/>
          </p:cNvSpPr>
          <p:nvPr/>
        </p:nvSpPr>
        <p:spPr>
          <a:xfrm>
            <a:off x="1118377" y="5209821"/>
            <a:ext cx="974375" cy="974375"/>
          </a:xfrm>
          <a:prstGeom prst="ellipse">
            <a:avLst/>
          </a:prstGeom>
          <a:solidFill>
            <a:schemeClr val="bg2">
              <a:lumMod val="60000"/>
              <a:lumOff val="4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12" name="Oval 11">
            <a:extLst>
              <a:ext uri="{FF2B5EF4-FFF2-40B4-BE49-F238E27FC236}">
                <a16:creationId xmlns:a16="http://schemas.microsoft.com/office/drawing/2014/main" id="{605A9200-8EE8-4C12-AF9C-788F8CE69235}"/>
              </a:ext>
            </a:extLst>
          </p:cNvPr>
          <p:cNvSpPr>
            <a:spLocks noChangeAspect="1"/>
          </p:cNvSpPr>
          <p:nvPr/>
        </p:nvSpPr>
        <p:spPr>
          <a:xfrm>
            <a:off x="6498935" y="2637085"/>
            <a:ext cx="974375" cy="974375"/>
          </a:xfrm>
          <a:prstGeom prst="ellipse">
            <a:avLst/>
          </a:prstGeom>
          <a:solidFill>
            <a:schemeClr val="tx2">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14" name="Oval 13">
            <a:extLst>
              <a:ext uri="{FF2B5EF4-FFF2-40B4-BE49-F238E27FC236}">
                <a16:creationId xmlns:a16="http://schemas.microsoft.com/office/drawing/2014/main" id="{E3911CB2-707D-418D-A25B-F44779CA6020}"/>
              </a:ext>
            </a:extLst>
          </p:cNvPr>
          <p:cNvSpPr>
            <a:spLocks noChangeAspect="1"/>
          </p:cNvSpPr>
          <p:nvPr/>
        </p:nvSpPr>
        <p:spPr>
          <a:xfrm>
            <a:off x="6498935" y="3924585"/>
            <a:ext cx="974375" cy="974375"/>
          </a:xfrm>
          <a:prstGeom prst="ellipse">
            <a:avLst/>
          </a:prstGeom>
          <a:solidFill>
            <a:schemeClr val="tx2">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16" name="Oval 15">
            <a:extLst>
              <a:ext uri="{FF2B5EF4-FFF2-40B4-BE49-F238E27FC236}">
                <a16:creationId xmlns:a16="http://schemas.microsoft.com/office/drawing/2014/main" id="{178B979A-EFB4-4402-A562-A71CA15EF15F}"/>
              </a:ext>
            </a:extLst>
          </p:cNvPr>
          <p:cNvSpPr>
            <a:spLocks noChangeAspect="1"/>
          </p:cNvSpPr>
          <p:nvPr/>
        </p:nvSpPr>
        <p:spPr>
          <a:xfrm>
            <a:off x="6498935" y="5209821"/>
            <a:ext cx="974375" cy="974375"/>
          </a:xfrm>
          <a:prstGeom prst="ellipse">
            <a:avLst/>
          </a:prstGeom>
          <a:solidFill>
            <a:schemeClr val="tx2">
              <a:lumMod val="5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Garamond" panose="02020404030301010803" pitchFamily="18" charset="0"/>
              <a:ea typeface="+mn-ea"/>
              <a:cs typeface="+mn-cs"/>
            </a:endParaRPr>
          </a:p>
        </p:txBody>
      </p:sp>
      <p:sp>
        <p:nvSpPr>
          <p:cNvPr id="18" name="TextBox 17">
            <a:extLst>
              <a:ext uri="{FF2B5EF4-FFF2-40B4-BE49-F238E27FC236}">
                <a16:creationId xmlns:a16="http://schemas.microsoft.com/office/drawing/2014/main" id="{E32CC58C-CFE5-489C-BA82-62D718C12CCC}"/>
              </a:ext>
            </a:extLst>
          </p:cNvPr>
          <p:cNvSpPr txBox="1"/>
          <p:nvPr/>
        </p:nvSpPr>
        <p:spPr>
          <a:xfrm>
            <a:off x="2250759" y="2759007"/>
            <a:ext cx="3416840" cy="553998"/>
          </a:xfrm>
          <a:prstGeom prst="rect">
            <a:avLst/>
          </a:prstGeom>
          <a:noFill/>
        </p:spPr>
        <p:txBody>
          <a:bodyPr wrap="square" lIns="0" tIns="0" rIns="0" bIns="0" rtlCol="0">
            <a:spAutoFit/>
          </a:bodyPr>
          <a:lstStyle/>
          <a:p>
            <a:pPr marL="285750" lvl="0" indent="-285750">
              <a:spcAft>
                <a:spcPts val="600"/>
              </a:spcAft>
              <a:buFont typeface="Arial" panose="020B0604020202020204" pitchFamily="34" charset="0"/>
              <a:buChar char="•"/>
              <a:defRPr/>
            </a:pPr>
            <a:r>
              <a:rPr lang="en-US">
                <a:latin typeface="Segoe UI Semilight" panose="020B0402040204020203" pitchFamily="34" charset="0"/>
                <a:cs typeface="Segoe UI Semilight" panose="020B0402040204020203" pitchFamily="34" charset="0"/>
              </a:rPr>
              <a:t>Text example here. Replace with your own text</a:t>
            </a:r>
          </a:p>
        </p:txBody>
      </p:sp>
      <p:sp>
        <p:nvSpPr>
          <p:cNvPr id="19" name="TextBox 18">
            <a:extLst>
              <a:ext uri="{FF2B5EF4-FFF2-40B4-BE49-F238E27FC236}">
                <a16:creationId xmlns:a16="http://schemas.microsoft.com/office/drawing/2014/main" id="{D4BD68EF-79FA-4B9E-B2B1-66AFBDCBB38D}"/>
              </a:ext>
            </a:extLst>
          </p:cNvPr>
          <p:cNvSpPr txBox="1"/>
          <p:nvPr/>
        </p:nvSpPr>
        <p:spPr>
          <a:xfrm>
            <a:off x="2250759" y="4070270"/>
            <a:ext cx="3416840" cy="553998"/>
          </a:xfrm>
          <a:prstGeom prst="rect">
            <a:avLst/>
          </a:prstGeom>
          <a:noFill/>
        </p:spPr>
        <p:txBody>
          <a:bodyPr wrap="square" lIns="0" tIns="0" rIns="0" bIns="0" rtlCol="0">
            <a:spAutoFit/>
          </a:bodyPr>
          <a:lstStyle/>
          <a:p>
            <a:pPr marL="285750" lvl="0" indent="-285750">
              <a:spcAft>
                <a:spcPts val="600"/>
              </a:spcAft>
              <a:buFont typeface="Arial" panose="020B0604020202020204" pitchFamily="34" charset="0"/>
              <a:buChar char="•"/>
              <a:defRPr/>
            </a:pPr>
            <a:r>
              <a:rPr lang="en-US">
                <a:latin typeface="Segoe UI Semilight" panose="020B0402040204020203" pitchFamily="34" charset="0"/>
                <a:cs typeface="Segoe UI Semilight" panose="020B0402040204020203" pitchFamily="34" charset="0"/>
              </a:rPr>
              <a:t>Text example here. Replace with your own text</a:t>
            </a:r>
          </a:p>
        </p:txBody>
      </p:sp>
      <p:sp>
        <p:nvSpPr>
          <p:cNvPr id="20" name="TextBox 19">
            <a:extLst>
              <a:ext uri="{FF2B5EF4-FFF2-40B4-BE49-F238E27FC236}">
                <a16:creationId xmlns:a16="http://schemas.microsoft.com/office/drawing/2014/main" id="{B2CEBA1E-80D5-43B2-859A-E9600542D2FF}"/>
              </a:ext>
            </a:extLst>
          </p:cNvPr>
          <p:cNvSpPr txBox="1"/>
          <p:nvPr/>
        </p:nvSpPr>
        <p:spPr>
          <a:xfrm>
            <a:off x="2250759" y="5381533"/>
            <a:ext cx="3416840" cy="553998"/>
          </a:xfrm>
          <a:prstGeom prst="rect">
            <a:avLst/>
          </a:prstGeom>
          <a:noFill/>
        </p:spPr>
        <p:txBody>
          <a:bodyPr wrap="square" lIns="0" tIns="0" rIns="0" bIns="0" rtlCol="0" anchor="t">
            <a:spAutoFit/>
          </a:bodyPr>
          <a:lstStyle/>
          <a:p>
            <a:pPr marL="285750" lvl="0" indent="-285750">
              <a:spcAft>
                <a:spcPts val="600"/>
              </a:spcAft>
              <a:buFont typeface="Arial" panose="020B0604020202020204" pitchFamily="34" charset="0"/>
              <a:buChar char="•"/>
              <a:defRPr/>
            </a:pPr>
            <a:r>
              <a:rPr lang="en-US">
                <a:latin typeface="Segoe UI Semilight" panose="020B0402040204020203" pitchFamily="34" charset="0"/>
                <a:cs typeface="Segoe UI Semilight" panose="020B0402040204020203" pitchFamily="34" charset="0"/>
              </a:rPr>
              <a:t>Text example here. Replace with your own text</a:t>
            </a:r>
          </a:p>
        </p:txBody>
      </p:sp>
      <p:sp>
        <p:nvSpPr>
          <p:cNvPr id="21" name="TextBox 20">
            <a:extLst>
              <a:ext uri="{FF2B5EF4-FFF2-40B4-BE49-F238E27FC236}">
                <a16:creationId xmlns:a16="http://schemas.microsoft.com/office/drawing/2014/main" id="{722BCA64-2AD7-48CF-8959-916FCFD9385F}"/>
              </a:ext>
            </a:extLst>
          </p:cNvPr>
          <p:cNvSpPr txBox="1"/>
          <p:nvPr/>
        </p:nvSpPr>
        <p:spPr>
          <a:xfrm>
            <a:off x="7740661" y="2788081"/>
            <a:ext cx="3416840" cy="553998"/>
          </a:xfrm>
          <a:prstGeom prst="rect">
            <a:avLst/>
          </a:prstGeom>
          <a:noFill/>
        </p:spPr>
        <p:txBody>
          <a:bodyPr wrap="square" lIns="0" tIns="0" rIns="0" bIns="0" rtlCol="0">
            <a:spAutoFit/>
          </a:bodyPr>
          <a:lstStyle/>
          <a:p>
            <a:pPr marL="285750" lvl="0" indent="-285750">
              <a:spcAft>
                <a:spcPts val="600"/>
              </a:spcAft>
              <a:buFont typeface="Arial" panose="020B0604020202020204" pitchFamily="34" charset="0"/>
              <a:buChar char="•"/>
              <a:defRPr/>
            </a:pPr>
            <a:r>
              <a:rPr lang="en-US">
                <a:latin typeface="Segoe UI Semilight" panose="020B0402040204020203" pitchFamily="34" charset="0"/>
                <a:cs typeface="Segoe UI Semilight" panose="020B0402040204020203" pitchFamily="34" charset="0"/>
              </a:rPr>
              <a:t>Text example here. Replace with your own text</a:t>
            </a:r>
          </a:p>
        </p:txBody>
      </p:sp>
      <p:sp>
        <p:nvSpPr>
          <p:cNvPr id="22" name="TextBox 21">
            <a:extLst>
              <a:ext uri="{FF2B5EF4-FFF2-40B4-BE49-F238E27FC236}">
                <a16:creationId xmlns:a16="http://schemas.microsoft.com/office/drawing/2014/main" id="{58125F9A-A7EC-46D1-9355-DBEA9ACAE330}"/>
              </a:ext>
            </a:extLst>
          </p:cNvPr>
          <p:cNvSpPr txBox="1"/>
          <p:nvPr/>
        </p:nvSpPr>
        <p:spPr>
          <a:xfrm>
            <a:off x="7740661" y="4067752"/>
            <a:ext cx="3416840" cy="553998"/>
          </a:xfrm>
          <a:prstGeom prst="rect">
            <a:avLst/>
          </a:prstGeom>
          <a:noFill/>
        </p:spPr>
        <p:txBody>
          <a:bodyPr wrap="square" lIns="0" tIns="0" rIns="0" bIns="0" rtlCol="0">
            <a:spAutoFit/>
          </a:bodyPr>
          <a:lstStyle/>
          <a:p>
            <a:pPr marL="285750" lvl="0" indent="-285750">
              <a:spcAft>
                <a:spcPts val="600"/>
              </a:spcAft>
              <a:buFont typeface="Arial" panose="020B0604020202020204" pitchFamily="34" charset="0"/>
              <a:buChar char="•"/>
              <a:defRPr/>
            </a:pPr>
            <a:r>
              <a:rPr lang="en-US">
                <a:latin typeface="Segoe UI Semilight" panose="020B0402040204020203" pitchFamily="34" charset="0"/>
                <a:cs typeface="Segoe UI Semilight" panose="020B0402040204020203" pitchFamily="34" charset="0"/>
              </a:rPr>
              <a:t>Text example here. Replace with your own text</a:t>
            </a:r>
          </a:p>
        </p:txBody>
      </p:sp>
      <p:sp>
        <p:nvSpPr>
          <p:cNvPr id="23" name="TextBox 22">
            <a:extLst>
              <a:ext uri="{FF2B5EF4-FFF2-40B4-BE49-F238E27FC236}">
                <a16:creationId xmlns:a16="http://schemas.microsoft.com/office/drawing/2014/main" id="{B5D0DD11-13EA-458C-BDF9-5769B40BF905}"/>
              </a:ext>
            </a:extLst>
          </p:cNvPr>
          <p:cNvSpPr txBox="1"/>
          <p:nvPr/>
        </p:nvSpPr>
        <p:spPr>
          <a:xfrm>
            <a:off x="7740661" y="5397032"/>
            <a:ext cx="3416840" cy="553998"/>
          </a:xfrm>
          <a:prstGeom prst="rect">
            <a:avLst/>
          </a:prstGeom>
          <a:noFill/>
        </p:spPr>
        <p:txBody>
          <a:bodyPr wrap="square" lIns="0" tIns="0" rIns="0" bIns="0" rtlCol="0">
            <a:spAutoFit/>
          </a:bodyPr>
          <a:lstStyle/>
          <a:p>
            <a:pPr marL="285750" lvl="0" indent="-285750">
              <a:spcAft>
                <a:spcPts val="600"/>
              </a:spcAft>
              <a:buFont typeface="Arial" panose="020B0604020202020204" pitchFamily="34" charset="0"/>
              <a:buChar char="•"/>
              <a:defRPr/>
            </a:pPr>
            <a:r>
              <a:rPr lang="en-US">
                <a:latin typeface="Segoe UI Semilight" panose="020B0402040204020203" pitchFamily="34" charset="0"/>
                <a:cs typeface="Segoe UI Semilight" panose="020B0402040204020203" pitchFamily="34" charset="0"/>
              </a:rPr>
              <a:t>Text example here. Replace with your own text</a:t>
            </a:r>
          </a:p>
        </p:txBody>
      </p:sp>
      <p:sp>
        <p:nvSpPr>
          <p:cNvPr id="24" name="TextBox 23">
            <a:extLst>
              <a:ext uri="{FF2B5EF4-FFF2-40B4-BE49-F238E27FC236}">
                <a16:creationId xmlns:a16="http://schemas.microsoft.com/office/drawing/2014/main" id="{8D6CD59C-71C3-4999-A82F-D7BA3C753315}"/>
              </a:ext>
            </a:extLst>
          </p:cNvPr>
          <p:cNvSpPr txBox="1"/>
          <p:nvPr/>
        </p:nvSpPr>
        <p:spPr>
          <a:xfrm>
            <a:off x="2250758" y="1981795"/>
            <a:ext cx="166462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i="0" u="none" strike="noStrike" kern="1200" cap="none" spc="0" normalizeH="0" baseline="0" noProof="0">
                <a:ln>
                  <a:noFill/>
                </a:ln>
                <a:solidFill>
                  <a:srgbClr val="575757">
                    <a:lumMod val="50000"/>
                  </a:srgbClr>
                </a:solidFill>
                <a:effectLst/>
                <a:uLnTx/>
                <a:uFillTx/>
                <a:latin typeface="+mj-lt"/>
                <a:cs typeface="Segoe UI Semilight" panose="020B0402040204020203" pitchFamily="34" charset="0"/>
              </a:rPr>
              <a:t>Header</a:t>
            </a:r>
          </a:p>
        </p:txBody>
      </p:sp>
      <p:sp>
        <p:nvSpPr>
          <p:cNvPr id="25" name="TextBox 24">
            <a:extLst>
              <a:ext uri="{FF2B5EF4-FFF2-40B4-BE49-F238E27FC236}">
                <a16:creationId xmlns:a16="http://schemas.microsoft.com/office/drawing/2014/main" id="{3C678FA2-40F5-4773-822A-439C3BDD1CEF}"/>
              </a:ext>
            </a:extLst>
          </p:cNvPr>
          <p:cNvSpPr txBox="1"/>
          <p:nvPr/>
        </p:nvSpPr>
        <p:spPr>
          <a:xfrm>
            <a:off x="7740661" y="1981795"/>
            <a:ext cx="251210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i="0" u="none" strike="noStrike" kern="1200" cap="none" spc="0" normalizeH="0" baseline="0" noProof="0">
                <a:ln>
                  <a:noFill/>
                </a:ln>
                <a:solidFill>
                  <a:srgbClr val="575757">
                    <a:lumMod val="50000"/>
                  </a:srgbClr>
                </a:solidFill>
                <a:effectLst/>
                <a:uLnTx/>
                <a:uFillTx/>
                <a:latin typeface="+mj-lt"/>
                <a:cs typeface="Segoe UI Semilight" panose="020B0402040204020203" pitchFamily="34" charset="0"/>
              </a:rPr>
              <a:t>Header</a:t>
            </a:r>
          </a:p>
        </p:txBody>
      </p:sp>
      <p:pic>
        <p:nvPicPr>
          <p:cNvPr id="34" name="Picture 33" descr="Rock On Hand Gesture with solid fill">
            <a:extLst>
              <a:ext uri="{FF2B5EF4-FFF2-40B4-BE49-F238E27FC236}">
                <a16:creationId xmlns:a16="http://schemas.microsoft.com/office/drawing/2014/main" id="{612D5EB9-72C5-994F-ADEC-2A897F2C2C85}"/>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6678491" y="5379124"/>
            <a:ext cx="647613" cy="647613"/>
          </a:xfrm>
          <a:prstGeom prst="rect">
            <a:avLst/>
          </a:prstGeom>
        </p:spPr>
      </p:pic>
      <p:pic>
        <p:nvPicPr>
          <p:cNvPr id="36" name="Picture 35">
            <a:extLst>
              <a:ext uri="{FF2B5EF4-FFF2-40B4-BE49-F238E27FC236}">
                <a16:creationId xmlns:a16="http://schemas.microsoft.com/office/drawing/2014/main" id="{8A3CA01D-21A0-AE47-9AC7-E63BA858B33F}"/>
              </a:ext>
            </a:extLst>
          </p:cNvPr>
          <p:cNvPicPr>
            <a:picLocks noChangeAspect="1"/>
          </p:cNvPicPr>
          <p:nvPr/>
        </p:nvPicPr>
        <p:blipFill>
          <a:blip r:embed="rId5"/>
          <a:stretch>
            <a:fillRect/>
          </a:stretch>
        </p:blipFill>
        <p:spPr>
          <a:xfrm>
            <a:off x="6695163" y="4105714"/>
            <a:ext cx="612116" cy="612116"/>
          </a:xfrm>
          <a:prstGeom prst="rect">
            <a:avLst/>
          </a:prstGeom>
        </p:spPr>
      </p:pic>
      <p:pic>
        <p:nvPicPr>
          <p:cNvPr id="37" name="Picture 36">
            <a:extLst>
              <a:ext uri="{FF2B5EF4-FFF2-40B4-BE49-F238E27FC236}">
                <a16:creationId xmlns:a16="http://schemas.microsoft.com/office/drawing/2014/main" id="{14B5E239-5269-B34B-AC20-54A351C896B3}"/>
              </a:ext>
            </a:extLst>
          </p:cNvPr>
          <p:cNvPicPr>
            <a:picLocks noChangeAspect="1"/>
          </p:cNvPicPr>
          <p:nvPr/>
        </p:nvPicPr>
        <p:blipFill>
          <a:blip r:embed="rId5"/>
          <a:stretch>
            <a:fillRect/>
          </a:stretch>
        </p:blipFill>
        <p:spPr>
          <a:xfrm>
            <a:off x="1310267" y="4067752"/>
            <a:ext cx="612116" cy="612116"/>
          </a:xfrm>
          <a:prstGeom prst="rect">
            <a:avLst/>
          </a:prstGeom>
        </p:spPr>
      </p:pic>
      <p:pic>
        <p:nvPicPr>
          <p:cNvPr id="39" name="Picture 38">
            <a:extLst>
              <a:ext uri="{FF2B5EF4-FFF2-40B4-BE49-F238E27FC236}">
                <a16:creationId xmlns:a16="http://schemas.microsoft.com/office/drawing/2014/main" id="{1AA0008E-D2BC-2047-925F-A5414B355801}"/>
              </a:ext>
            </a:extLst>
          </p:cNvPr>
          <p:cNvPicPr>
            <a:picLocks noChangeAspect="1"/>
          </p:cNvPicPr>
          <p:nvPr/>
        </p:nvPicPr>
        <p:blipFill>
          <a:blip r:embed="rId6"/>
          <a:stretch>
            <a:fillRect/>
          </a:stretch>
        </p:blipFill>
        <p:spPr>
          <a:xfrm>
            <a:off x="1346311" y="5417352"/>
            <a:ext cx="545992" cy="545992"/>
          </a:xfrm>
          <a:prstGeom prst="rect">
            <a:avLst/>
          </a:prstGeom>
        </p:spPr>
      </p:pic>
      <p:pic>
        <p:nvPicPr>
          <p:cNvPr id="41" name="Picture 40">
            <a:extLst>
              <a:ext uri="{FF2B5EF4-FFF2-40B4-BE49-F238E27FC236}">
                <a16:creationId xmlns:a16="http://schemas.microsoft.com/office/drawing/2014/main" id="{73F737D2-B55D-5940-9FF4-956614BDD62E}"/>
              </a:ext>
            </a:extLst>
          </p:cNvPr>
          <p:cNvPicPr>
            <a:picLocks noChangeAspect="1"/>
          </p:cNvPicPr>
          <p:nvPr/>
        </p:nvPicPr>
        <p:blipFill>
          <a:blip r:embed="rId7"/>
          <a:stretch>
            <a:fillRect/>
          </a:stretch>
        </p:blipFill>
        <p:spPr>
          <a:xfrm>
            <a:off x="6682527" y="2784847"/>
            <a:ext cx="643577" cy="643577"/>
          </a:xfrm>
          <a:prstGeom prst="rect">
            <a:avLst/>
          </a:prstGeom>
        </p:spPr>
      </p:pic>
      <p:pic>
        <p:nvPicPr>
          <p:cNvPr id="43" name="Picture 42">
            <a:extLst>
              <a:ext uri="{FF2B5EF4-FFF2-40B4-BE49-F238E27FC236}">
                <a16:creationId xmlns:a16="http://schemas.microsoft.com/office/drawing/2014/main" id="{769B17F7-5BB9-3446-9EED-A0B82A41778C}"/>
              </a:ext>
            </a:extLst>
          </p:cNvPr>
          <p:cNvPicPr>
            <a:picLocks noChangeAspect="1"/>
          </p:cNvPicPr>
          <p:nvPr/>
        </p:nvPicPr>
        <p:blipFill>
          <a:blip r:embed="rId8"/>
          <a:stretch>
            <a:fillRect/>
          </a:stretch>
        </p:blipFill>
        <p:spPr>
          <a:xfrm>
            <a:off x="1211645" y="2684553"/>
            <a:ext cx="809360" cy="809360"/>
          </a:xfrm>
          <a:prstGeom prst="rect">
            <a:avLst/>
          </a:prstGeom>
        </p:spPr>
      </p:pic>
      <p:cxnSp>
        <p:nvCxnSpPr>
          <p:cNvPr id="7" name="Straight Arrow Connector 6">
            <a:extLst>
              <a:ext uri="{FF2B5EF4-FFF2-40B4-BE49-F238E27FC236}">
                <a16:creationId xmlns:a16="http://schemas.microsoft.com/office/drawing/2014/main" id="{C9DBAB4A-1D41-4DE1-B178-27FA00863E12}"/>
              </a:ext>
            </a:extLst>
          </p:cNvPr>
          <p:cNvCxnSpPr>
            <a:cxnSpLocks/>
          </p:cNvCxnSpPr>
          <p:nvPr/>
        </p:nvCxnSpPr>
        <p:spPr>
          <a:xfrm>
            <a:off x="5986648" y="1863194"/>
            <a:ext cx="0" cy="4321002"/>
          </a:xfrm>
          <a:prstGeom prst="straightConnector1">
            <a:avLst/>
          </a:prstGeom>
          <a:ln w="28575">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CA2A1889-4956-4CFA-BD38-6BDE55E00C99}"/>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latin typeface="Segoe UI Semibold" panose="020B0702040204020203" pitchFamily="34" charset="0"/>
                <a:ea typeface="Quattrocento Sans"/>
                <a:cs typeface="Segoe UI Semibold" panose="020B0702040204020203" pitchFamily="34" charset="0"/>
                <a:sym typeface="Quattrocento Sans"/>
              </a:rPr>
              <a:t>This graphic is for when you are comparing two options</a:t>
            </a:r>
            <a:endParaRPr lang="en-US" sz="2800" kern="0">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137031461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B27C0C2E-0482-4CF5-B0F5-AAE94C4525D6}"/>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bout Us</a:t>
            </a:r>
          </a:p>
        </p:txBody>
      </p:sp>
      <p:sp>
        <p:nvSpPr>
          <p:cNvPr id="2" name="Rectangle 1"/>
          <p:cNvSpPr/>
          <p:nvPr/>
        </p:nvSpPr>
        <p:spPr>
          <a:xfrm>
            <a:off x="440536" y="1059142"/>
            <a:ext cx="10901719" cy="2585323"/>
          </a:xfrm>
          <a:prstGeom prst="rect">
            <a:avLst/>
          </a:prstGeom>
        </p:spPr>
        <p:txBody>
          <a:bodyPr wrap="square">
            <a:spAutoFit/>
          </a:bodyPr>
          <a:lstStyle/>
          <a:p>
            <a:pPr algn="ctr" fontAlgn="base"/>
            <a:r>
              <a:rPr lang="en-US" b="1">
                <a:solidFill>
                  <a:srgbClr val="000000"/>
                </a:solidFill>
                <a:latin typeface="Segoe UI Semilight" panose="020B0402040204020203" pitchFamily="34" charset="0"/>
              </a:rPr>
              <a:t>We are the nation’s leader in dynamic local, state and national policy modeling.​</a:t>
            </a:r>
          </a:p>
          <a:p>
            <a:pPr algn="ctr" fontAlgn="base"/>
            <a:endParaRPr lang="en-US">
              <a:solidFill>
                <a:srgbClr val="575757"/>
              </a:solidFill>
              <a:latin typeface="Segoe UI" panose="020B0502040204020203" pitchFamily="34" charset="0"/>
            </a:endParaRPr>
          </a:p>
          <a:p>
            <a:pPr algn="ctr"/>
            <a:r>
              <a:rPr lang="en-US"/>
              <a:t>From the start, REMI has sought to improve public policy through economic modeling software that informs policies impacting our day-to-day lives.</a:t>
            </a:r>
          </a:p>
          <a:p>
            <a:pPr algn="ctr"/>
            <a:endParaRPr lang="en-US"/>
          </a:p>
          <a:p>
            <a:pPr algn="ctr"/>
            <a:r>
              <a:rPr lang="en-US"/>
              <a:t>We were founded in 1980 on a transformative idea: government decision-makers should test the economic effects of their policies before they’re implemented.</a:t>
            </a:r>
          </a:p>
          <a:p>
            <a:pPr algn="ctr"/>
            <a:endParaRPr lang="en-US"/>
          </a:p>
          <a:p>
            <a:pPr algn="ctr"/>
            <a:r>
              <a:rPr lang="en-US" b="1"/>
              <a:t>At REMI, we’re inspired by a single goal: </a:t>
            </a:r>
            <a:r>
              <a:rPr lang="en-US" b="1" i="1"/>
              <a:t>improving public policies.</a:t>
            </a:r>
            <a:endParaRPr lang="en-US"/>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l="-179" t="429" r="179" b="66341"/>
          <a:stretch/>
        </p:blipFill>
        <p:spPr>
          <a:xfrm>
            <a:off x="0" y="4031291"/>
            <a:ext cx="12192000" cy="2282423"/>
          </a:xfrm>
          <a:prstGeom prst="rect">
            <a:avLst/>
          </a:prstGeom>
        </p:spPr>
      </p:pic>
    </p:spTree>
    <p:extLst>
      <p:ext uri="{BB962C8B-B14F-4D97-AF65-F5344CB8AC3E}">
        <p14:creationId xmlns:p14="http://schemas.microsoft.com/office/powerpoint/2010/main" val="24116425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2" name="Connecteur droit 5">
            <a:extLst>
              <a:ext uri="{FF2B5EF4-FFF2-40B4-BE49-F238E27FC236}">
                <a16:creationId xmlns:a16="http://schemas.microsoft.com/office/drawing/2014/main" id="{205BCD9B-FB31-48F9-B648-43C9891CBD2E}"/>
              </a:ext>
            </a:extLst>
          </p:cNvPr>
          <p:cNvCxnSpPr>
            <a:cxnSpLocks/>
          </p:cNvCxnSpPr>
          <p:nvPr/>
        </p:nvCxnSpPr>
        <p:spPr>
          <a:xfrm>
            <a:off x="3037363" y="2846698"/>
            <a:ext cx="3176386" cy="832482"/>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 name="Connecteur droit 17">
            <a:extLst>
              <a:ext uri="{FF2B5EF4-FFF2-40B4-BE49-F238E27FC236}">
                <a16:creationId xmlns:a16="http://schemas.microsoft.com/office/drawing/2014/main" id="{548E2787-649C-4061-9166-40C3E0260F2D}"/>
              </a:ext>
            </a:extLst>
          </p:cNvPr>
          <p:cNvCxnSpPr>
            <a:cxnSpLocks/>
          </p:cNvCxnSpPr>
          <p:nvPr/>
        </p:nvCxnSpPr>
        <p:spPr>
          <a:xfrm>
            <a:off x="6221412" y="3679182"/>
            <a:ext cx="2507318" cy="256111"/>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 name="Connecteur droit 19">
            <a:extLst>
              <a:ext uri="{FF2B5EF4-FFF2-40B4-BE49-F238E27FC236}">
                <a16:creationId xmlns:a16="http://schemas.microsoft.com/office/drawing/2014/main" id="{D5E44CAE-2EFF-4858-84EE-5C3C26C181F2}"/>
              </a:ext>
            </a:extLst>
          </p:cNvPr>
          <p:cNvCxnSpPr>
            <a:cxnSpLocks/>
          </p:cNvCxnSpPr>
          <p:nvPr/>
        </p:nvCxnSpPr>
        <p:spPr>
          <a:xfrm flipV="1">
            <a:off x="6213749" y="4543648"/>
            <a:ext cx="2507040" cy="224096"/>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
        <p:nvSpPr>
          <p:cNvPr id="5" name="ShapeNameChangedByPowerUser1">
            <a:extLst>
              <a:ext uri="{FF2B5EF4-FFF2-40B4-BE49-F238E27FC236}">
                <a16:creationId xmlns:a16="http://schemas.microsoft.com/office/drawing/2014/main" id="{7EDFCBDD-AFDC-4149-A91A-03C1ED3B23D6}"/>
              </a:ext>
            </a:extLst>
          </p:cNvPr>
          <p:cNvSpPr/>
          <p:nvPr/>
        </p:nvSpPr>
        <p:spPr>
          <a:xfrm>
            <a:off x="3037364" y="2014245"/>
            <a:ext cx="1869816" cy="320174"/>
          </a:xfrm>
          <a:prstGeom prst="rect">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r>
              <a:rPr lang="en-US" sz="1400" b="1" kern="0">
                <a:solidFill>
                  <a:schemeClr val="bg1"/>
                </a:solidFill>
                <a:latin typeface="Segoe UI Light" panose="020B0502040204020203" pitchFamily="34" charset="0"/>
                <a:cs typeface="Segoe UI Light" panose="020B0502040204020203" pitchFamily="34" charset="0"/>
              </a:rPr>
              <a:t>Research</a:t>
            </a:r>
          </a:p>
        </p:txBody>
      </p:sp>
      <p:sp>
        <p:nvSpPr>
          <p:cNvPr id="6" name="ShapeNameChangedByPowerUser2">
            <a:extLst>
              <a:ext uri="{FF2B5EF4-FFF2-40B4-BE49-F238E27FC236}">
                <a16:creationId xmlns:a16="http://schemas.microsoft.com/office/drawing/2014/main" id="{C306C2CA-6B72-455E-8F69-82F058C8075D}"/>
              </a:ext>
            </a:extLst>
          </p:cNvPr>
          <p:cNvSpPr/>
          <p:nvPr/>
        </p:nvSpPr>
        <p:spPr>
          <a:xfrm>
            <a:off x="4942801" y="2014245"/>
            <a:ext cx="1869816" cy="320174"/>
          </a:xfrm>
          <a:prstGeom prst="rect">
            <a:avLst/>
          </a:prstGeom>
          <a:solidFill>
            <a:srgbClr val="4059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r>
              <a:rPr lang="en-US" sz="1400" b="1" kern="0">
                <a:solidFill>
                  <a:schemeClr val="bg1"/>
                </a:solidFill>
                <a:latin typeface="Segoe UI Light" panose="020B0502040204020203" pitchFamily="34" charset="0"/>
                <a:cs typeface="Segoe UI Light" panose="020B0502040204020203" pitchFamily="34" charset="0"/>
              </a:rPr>
              <a:t>Development</a:t>
            </a:r>
          </a:p>
        </p:txBody>
      </p:sp>
      <p:sp>
        <p:nvSpPr>
          <p:cNvPr id="7" name="ShapeNameChangedByPowerUser3">
            <a:extLst>
              <a:ext uri="{FF2B5EF4-FFF2-40B4-BE49-F238E27FC236}">
                <a16:creationId xmlns:a16="http://schemas.microsoft.com/office/drawing/2014/main" id="{815A6150-7F97-45C0-AF44-4D711E82E8B1}"/>
              </a:ext>
            </a:extLst>
          </p:cNvPr>
          <p:cNvSpPr/>
          <p:nvPr/>
        </p:nvSpPr>
        <p:spPr>
          <a:xfrm>
            <a:off x="6848237" y="2014245"/>
            <a:ext cx="1869816" cy="320174"/>
          </a:xfrm>
          <a:prstGeom prst="rect">
            <a:avLst/>
          </a:prstGeom>
          <a:solidFill>
            <a:srgbClr val="3F6C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r>
              <a:rPr lang="en-US" sz="1400" b="1" kern="0">
                <a:solidFill>
                  <a:schemeClr val="bg1"/>
                </a:solidFill>
                <a:latin typeface="Segoe UI Light" panose="020B0502040204020203" pitchFamily="34" charset="0"/>
                <a:cs typeface="Segoe UI Light" panose="020B0502040204020203" pitchFamily="34" charset="0"/>
              </a:rPr>
              <a:t>Commercialization</a:t>
            </a:r>
          </a:p>
        </p:txBody>
      </p:sp>
      <p:cxnSp>
        <p:nvCxnSpPr>
          <p:cNvPr id="8" name="Connecteur droit 31">
            <a:extLst>
              <a:ext uri="{FF2B5EF4-FFF2-40B4-BE49-F238E27FC236}">
                <a16:creationId xmlns:a16="http://schemas.microsoft.com/office/drawing/2014/main" id="{D45EA580-1F29-4F78-91D2-3A2493E06F54}"/>
              </a:ext>
            </a:extLst>
          </p:cNvPr>
          <p:cNvCxnSpPr>
            <a:cxnSpLocks/>
          </p:cNvCxnSpPr>
          <p:nvPr/>
        </p:nvCxnSpPr>
        <p:spPr>
          <a:xfrm>
            <a:off x="4933869" y="2000903"/>
            <a:ext cx="0" cy="313736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Connecteur droit 32">
            <a:extLst>
              <a:ext uri="{FF2B5EF4-FFF2-40B4-BE49-F238E27FC236}">
                <a16:creationId xmlns:a16="http://schemas.microsoft.com/office/drawing/2014/main" id="{C5E66F44-D568-432D-8663-D59AC2B3AAF7}"/>
              </a:ext>
            </a:extLst>
          </p:cNvPr>
          <p:cNvCxnSpPr>
            <a:cxnSpLocks/>
          </p:cNvCxnSpPr>
          <p:nvPr/>
        </p:nvCxnSpPr>
        <p:spPr>
          <a:xfrm>
            <a:off x="6840968" y="2014245"/>
            <a:ext cx="0" cy="26891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0" name="Connecteur droit 33">
            <a:extLst>
              <a:ext uri="{FF2B5EF4-FFF2-40B4-BE49-F238E27FC236}">
                <a16:creationId xmlns:a16="http://schemas.microsoft.com/office/drawing/2014/main" id="{C74F8BBA-235D-4480-A4EC-37C27F4F73F5}"/>
              </a:ext>
            </a:extLst>
          </p:cNvPr>
          <p:cNvCxnSpPr>
            <a:cxnSpLocks/>
          </p:cNvCxnSpPr>
          <p:nvPr/>
        </p:nvCxnSpPr>
        <p:spPr>
          <a:xfrm>
            <a:off x="8718976" y="2014246"/>
            <a:ext cx="0" cy="252909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Organigramme : Connecteur 37">
            <a:extLst>
              <a:ext uri="{FF2B5EF4-FFF2-40B4-BE49-F238E27FC236}">
                <a16:creationId xmlns:a16="http://schemas.microsoft.com/office/drawing/2014/main" id="{97400B3C-36EF-4401-9F42-AC0C4A5538E5}"/>
              </a:ext>
            </a:extLst>
          </p:cNvPr>
          <p:cNvSpPr/>
          <p:nvPr/>
        </p:nvSpPr>
        <p:spPr>
          <a:xfrm>
            <a:off x="3857909" y="3467466"/>
            <a:ext cx="432000" cy="432000"/>
          </a:xfrm>
          <a:prstGeom prst="flowChartConnector">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12" name="Organigramme : Connecteur 38">
            <a:extLst>
              <a:ext uri="{FF2B5EF4-FFF2-40B4-BE49-F238E27FC236}">
                <a16:creationId xmlns:a16="http://schemas.microsoft.com/office/drawing/2014/main" id="{9FF51DE9-480D-4CC3-8AE0-F75266B03332}"/>
              </a:ext>
            </a:extLst>
          </p:cNvPr>
          <p:cNvSpPr/>
          <p:nvPr/>
        </p:nvSpPr>
        <p:spPr>
          <a:xfrm>
            <a:off x="5893108" y="3999325"/>
            <a:ext cx="513000" cy="513000"/>
          </a:xfrm>
          <a:prstGeom prst="flowChartConnector">
            <a:avLst/>
          </a:prstGeom>
          <a:solidFill>
            <a:srgbClr val="4059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bg1"/>
              </a:solidFill>
              <a:latin typeface="Segoe UI Light" panose="020B0502040204020203" pitchFamily="34" charset="0"/>
              <a:cs typeface="Segoe UI Light" panose="020B0502040204020203" pitchFamily="34" charset="0"/>
            </a:endParaRPr>
          </a:p>
        </p:txBody>
      </p:sp>
      <p:sp>
        <p:nvSpPr>
          <p:cNvPr id="13" name="Organigramme : Connecteur 39">
            <a:extLst>
              <a:ext uri="{FF2B5EF4-FFF2-40B4-BE49-F238E27FC236}">
                <a16:creationId xmlns:a16="http://schemas.microsoft.com/office/drawing/2014/main" id="{DAC4930C-0FB1-4854-B2A0-3606DCD28E56}"/>
              </a:ext>
            </a:extLst>
          </p:cNvPr>
          <p:cNvSpPr/>
          <p:nvPr/>
        </p:nvSpPr>
        <p:spPr>
          <a:xfrm>
            <a:off x="4785902" y="4511605"/>
            <a:ext cx="432000" cy="432000"/>
          </a:xfrm>
          <a:prstGeom prst="flowChartConnector">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14" name="Organigramme : Connecteur 40">
            <a:extLst>
              <a:ext uri="{FF2B5EF4-FFF2-40B4-BE49-F238E27FC236}">
                <a16:creationId xmlns:a16="http://schemas.microsoft.com/office/drawing/2014/main" id="{5FBC3297-53A1-4862-A8C7-41DA7ABF615B}"/>
              </a:ext>
            </a:extLst>
          </p:cNvPr>
          <p:cNvSpPr/>
          <p:nvPr/>
        </p:nvSpPr>
        <p:spPr>
          <a:xfrm>
            <a:off x="3200976" y="4319500"/>
            <a:ext cx="432000" cy="432000"/>
          </a:xfrm>
          <a:prstGeom prst="flowChartConnector">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15" name="Organigramme : Connecteur 41">
            <a:extLst>
              <a:ext uri="{FF2B5EF4-FFF2-40B4-BE49-F238E27FC236}">
                <a16:creationId xmlns:a16="http://schemas.microsoft.com/office/drawing/2014/main" id="{D2C3833C-E27B-47BA-B1D3-D502CB88029B}"/>
              </a:ext>
            </a:extLst>
          </p:cNvPr>
          <p:cNvSpPr/>
          <p:nvPr/>
        </p:nvSpPr>
        <p:spPr>
          <a:xfrm>
            <a:off x="4014160" y="4127399"/>
            <a:ext cx="351000" cy="349893"/>
          </a:xfrm>
          <a:prstGeom prst="flowChartConnector">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16" name="Organigramme : Connecteur 42">
            <a:extLst>
              <a:ext uri="{FF2B5EF4-FFF2-40B4-BE49-F238E27FC236}">
                <a16:creationId xmlns:a16="http://schemas.microsoft.com/office/drawing/2014/main" id="{50E84570-E56E-4CF8-BD95-9C3F8D194E3C}"/>
              </a:ext>
            </a:extLst>
          </p:cNvPr>
          <p:cNvSpPr/>
          <p:nvPr/>
        </p:nvSpPr>
        <p:spPr>
          <a:xfrm>
            <a:off x="3200975" y="3102841"/>
            <a:ext cx="351000" cy="349893"/>
          </a:xfrm>
          <a:prstGeom prst="flowChartConnector">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17" name="Organigramme : Connecteur 43">
            <a:extLst>
              <a:ext uri="{FF2B5EF4-FFF2-40B4-BE49-F238E27FC236}">
                <a16:creationId xmlns:a16="http://schemas.microsoft.com/office/drawing/2014/main" id="{0734D41C-C5A6-4EBD-912F-9E8070ADAD05}"/>
              </a:ext>
            </a:extLst>
          </p:cNvPr>
          <p:cNvSpPr/>
          <p:nvPr/>
        </p:nvSpPr>
        <p:spPr>
          <a:xfrm>
            <a:off x="8003868" y="4063364"/>
            <a:ext cx="351000" cy="349893"/>
          </a:xfrm>
          <a:prstGeom prst="flowChartConnector">
            <a:avLst/>
          </a:prstGeom>
          <a:solidFill>
            <a:srgbClr val="3F6C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bg1"/>
              </a:solidFill>
              <a:latin typeface="Segoe UI Light" panose="020B0502040204020203" pitchFamily="34" charset="0"/>
              <a:cs typeface="Segoe UI Light" panose="020B0502040204020203" pitchFamily="34" charset="0"/>
            </a:endParaRPr>
          </a:p>
        </p:txBody>
      </p:sp>
      <p:sp>
        <p:nvSpPr>
          <p:cNvPr id="18" name="Organigramme : Connecteur 44">
            <a:extLst>
              <a:ext uri="{FF2B5EF4-FFF2-40B4-BE49-F238E27FC236}">
                <a16:creationId xmlns:a16="http://schemas.microsoft.com/office/drawing/2014/main" id="{994657D2-E233-450E-910D-E7AEC4735D05}"/>
              </a:ext>
            </a:extLst>
          </p:cNvPr>
          <p:cNvSpPr/>
          <p:nvPr/>
        </p:nvSpPr>
        <p:spPr>
          <a:xfrm>
            <a:off x="5066956" y="3679153"/>
            <a:ext cx="378000" cy="378000"/>
          </a:xfrm>
          <a:prstGeom prst="flowChartConnector">
            <a:avLst/>
          </a:prstGeom>
          <a:solidFill>
            <a:srgbClr val="4059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bg1"/>
              </a:solidFill>
              <a:latin typeface="Segoe UI Light" panose="020B0502040204020203" pitchFamily="34" charset="0"/>
              <a:cs typeface="Segoe UI Light" panose="020B0502040204020203" pitchFamily="34" charset="0"/>
            </a:endParaRPr>
          </a:p>
        </p:txBody>
      </p:sp>
      <p:sp>
        <p:nvSpPr>
          <p:cNvPr id="19" name="Organigramme : Connecteur 45">
            <a:extLst>
              <a:ext uri="{FF2B5EF4-FFF2-40B4-BE49-F238E27FC236}">
                <a16:creationId xmlns:a16="http://schemas.microsoft.com/office/drawing/2014/main" id="{BAB1E0FE-0C02-49F5-BF0A-2B73F317FE66}"/>
              </a:ext>
            </a:extLst>
          </p:cNvPr>
          <p:cNvSpPr/>
          <p:nvPr/>
        </p:nvSpPr>
        <p:spPr>
          <a:xfrm>
            <a:off x="6951073" y="3999328"/>
            <a:ext cx="378000" cy="378000"/>
          </a:xfrm>
          <a:prstGeom prst="flowChartConnector">
            <a:avLst/>
          </a:prstGeom>
          <a:solidFill>
            <a:srgbClr val="3F6C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bg1"/>
              </a:solidFill>
              <a:latin typeface="Segoe UI Light" panose="020B0502040204020203" pitchFamily="34" charset="0"/>
              <a:cs typeface="Segoe UI Light" panose="020B0502040204020203" pitchFamily="34" charset="0"/>
            </a:endParaRPr>
          </a:p>
        </p:txBody>
      </p:sp>
      <p:sp>
        <p:nvSpPr>
          <p:cNvPr id="20" name="Flèche droite 47">
            <a:extLst>
              <a:ext uri="{FF2B5EF4-FFF2-40B4-BE49-F238E27FC236}">
                <a16:creationId xmlns:a16="http://schemas.microsoft.com/office/drawing/2014/main" id="{791F3106-6FFC-4EFF-9FDA-4E67EBCF89E1}"/>
              </a:ext>
            </a:extLst>
          </p:cNvPr>
          <p:cNvSpPr/>
          <p:nvPr/>
        </p:nvSpPr>
        <p:spPr>
          <a:xfrm rot="20083304">
            <a:off x="3691292" y="4360342"/>
            <a:ext cx="271031" cy="128056"/>
          </a:xfrm>
          <a:prstGeom prst="rightArrow">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21" name="Flèche droite 48">
            <a:extLst>
              <a:ext uri="{FF2B5EF4-FFF2-40B4-BE49-F238E27FC236}">
                <a16:creationId xmlns:a16="http://schemas.microsoft.com/office/drawing/2014/main" id="{5BD22E52-9FF0-4479-A14F-5622A049BC95}"/>
              </a:ext>
            </a:extLst>
          </p:cNvPr>
          <p:cNvSpPr/>
          <p:nvPr/>
        </p:nvSpPr>
        <p:spPr>
          <a:xfrm rot="20069944">
            <a:off x="5304684" y="4367934"/>
            <a:ext cx="542063" cy="128056"/>
          </a:xfrm>
          <a:prstGeom prst="rightArrow">
            <a:avLst/>
          </a:prstGeom>
          <a:solidFill>
            <a:srgbClr val="4059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bg1"/>
              </a:solidFill>
              <a:latin typeface="Segoe UI Light" panose="020B0502040204020203" pitchFamily="34" charset="0"/>
              <a:cs typeface="Segoe UI Light" panose="020B0502040204020203" pitchFamily="34" charset="0"/>
            </a:endParaRPr>
          </a:p>
        </p:txBody>
      </p:sp>
      <p:sp>
        <p:nvSpPr>
          <p:cNvPr id="22" name="Flèche droite 49">
            <a:extLst>
              <a:ext uri="{FF2B5EF4-FFF2-40B4-BE49-F238E27FC236}">
                <a16:creationId xmlns:a16="http://schemas.microsoft.com/office/drawing/2014/main" id="{DF55BEAB-C20E-41D8-9C19-121580E1BDC5}"/>
              </a:ext>
            </a:extLst>
          </p:cNvPr>
          <p:cNvSpPr/>
          <p:nvPr/>
        </p:nvSpPr>
        <p:spPr>
          <a:xfrm rot="1510940">
            <a:off x="5494631" y="3952055"/>
            <a:ext cx="338789" cy="128056"/>
          </a:xfrm>
          <a:prstGeom prst="rightArrow">
            <a:avLst/>
          </a:prstGeom>
          <a:solidFill>
            <a:srgbClr val="4059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bg1"/>
              </a:solidFill>
              <a:latin typeface="Segoe UI Light" panose="020B0502040204020203" pitchFamily="34" charset="0"/>
              <a:cs typeface="Segoe UI Light" panose="020B0502040204020203" pitchFamily="34" charset="0"/>
            </a:endParaRPr>
          </a:p>
        </p:txBody>
      </p:sp>
      <p:sp>
        <p:nvSpPr>
          <p:cNvPr id="23" name="Flèche droite 50">
            <a:extLst>
              <a:ext uri="{FF2B5EF4-FFF2-40B4-BE49-F238E27FC236}">
                <a16:creationId xmlns:a16="http://schemas.microsoft.com/office/drawing/2014/main" id="{46813710-BCAD-40A0-AC4F-4915EA443A3B}"/>
              </a:ext>
            </a:extLst>
          </p:cNvPr>
          <p:cNvSpPr/>
          <p:nvPr/>
        </p:nvSpPr>
        <p:spPr>
          <a:xfrm rot="587337">
            <a:off x="4413238" y="3691453"/>
            <a:ext cx="542063" cy="128056"/>
          </a:xfrm>
          <a:prstGeom prst="rightArrow">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24" name="Flèche droite 51">
            <a:extLst>
              <a:ext uri="{FF2B5EF4-FFF2-40B4-BE49-F238E27FC236}">
                <a16:creationId xmlns:a16="http://schemas.microsoft.com/office/drawing/2014/main" id="{274711CA-1BDB-4759-9335-DA7ABD6B3A38}"/>
              </a:ext>
            </a:extLst>
          </p:cNvPr>
          <p:cNvSpPr/>
          <p:nvPr/>
        </p:nvSpPr>
        <p:spPr>
          <a:xfrm rot="1982153">
            <a:off x="4479002" y="4396414"/>
            <a:ext cx="338789" cy="128056"/>
          </a:xfrm>
          <a:prstGeom prst="rightArrow">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25" name="Organigramme : Connecteur 52">
            <a:extLst>
              <a:ext uri="{FF2B5EF4-FFF2-40B4-BE49-F238E27FC236}">
                <a16:creationId xmlns:a16="http://schemas.microsoft.com/office/drawing/2014/main" id="{E9567512-8468-4D03-80E8-C3AD18703CA6}"/>
              </a:ext>
            </a:extLst>
          </p:cNvPr>
          <p:cNvSpPr/>
          <p:nvPr/>
        </p:nvSpPr>
        <p:spPr>
          <a:xfrm>
            <a:off x="3864905" y="4753196"/>
            <a:ext cx="432000" cy="432000"/>
          </a:xfrm>
          <a:prstGeom prst="flowChartConnector">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26" name="Organigramme : Connecteur 53">
            <a:extLst>
              <a:ext uri="{FF2B5EF4-FFF2-40B4-BE49-F238E27FC236}">
                <a16:creationId xmlns:a16="http://schemas.microsoft.com/office/drawing/2014/main" id="{14CBD3A5-D998-41CF-ABC7-622B3CDE019E}"/>
              </a:ext>
            </a:extLst>
          </p:cNvPr>
          <p:cNvSpPr/>
          <p:nvPr/>
        </p:nvSpPr>
        <p:spPr>
          <a:xfrm>
            <a:off x="3424993" y="3862120"/>
            <a:ext cx="324000" cy="324000"/>
          </a:xfrm>
          <a:prstGeom prst="flowChartConnector">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27" name="Flèche droite 54">
            <a:extLst>
              <a:ext uri="{FF2B5EF4-FFF2-40B4-BE49-F238E27FC236}">
                <a16:creationId xmlns:a16="http://schemas.microsoft.com/office/drawing/2014/main" id="{B983E8F4-9E6A-4B71-AEE9-411B94616932}"/>
              </a:ext>
            </a:extLst>
          </p:cNvPr>
          <p:cNvSpPr/>
          <p:nvPr/>
        </p:nvSpPr>
        <p:spPr>
          <a:xfrm rot="1584710">
            <a:off x="3583158" y="3421763"/>
            <a:ext cx="271031" cy="116414"/>
          </a:xfrm>
          <a:prstGeom prst="rightArrow">
            <a:avLst/>
          </a:prstGeom>
          <a:solidFill>
            <a:srgbClr val="A8053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tx1"/>
              </a:solidFill>
              <a:latin typeface="Segoe UI Light" panose="020B0502040204020203" pitchFamily="34" charset="0"/>
              <a:cs typeface="Segoe UI Light" panose="020B0502040204020203" pitchFamily="34" charset="0"/>
            </a:endParaRPr>
          </a:p>
        </p:txBody>
      </p:sp>
      <p:sp>
        <p:nvSpPr>
          <p:cNvPr id="28" name="Flèche droite 55">
            <a:extLst>
              <a:ext uri="{FF2B5EF4-FFF2-40B4-BE49-F238E27FC236}">
                <a16:creationId xmlns:a16="http://schemas.microsoft.com/office/drawing/2014/main" id="{D7812F20-1870-4B56-82F8-B0567C73763F}"/>
              </a:ext>
            </a:extLst>
          </p:cNvPr>
          <p:cNvSpPr/>
          <p:nvPr/>
        </p:nvSpPr>
        <p:spPr>
          <a:xfrm rot="21405149">
            <a:off x="6463978" y="4109343"/>
            <a:ext cx="296351" cy="168584"/>
          </a:xfrm>
          <a:prstGeom prst="rightArrow">
            <a:avLst/>
          </a:prstGeom>
          <a:solidFill>
            <a:srgbClr val="4059A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bg1"/>
              </a:solidFill>
              <a:latin typeface="Segoe UI Light" panose="020B0502040204020203" pitchFamily="34" charset="0"/>
              <a:cs typeface="Segoe UI Light" panose="020B0502040204020203" pitchFamily="34" charset="0"/>
            </a:endParaRPr>
          </a:p>
        </p:txBody>
      </p:sp>
      <p:sp>
        <p:nvSpPr>
          <p:cNvPr id="29" name="Flèche droite 56">
            <a:extLst>
              <a:ext uri="{FF2B5EF4-FFF2-40B4-BE49-F238E27FC236}">
                <a16:creationId xmlns:a16="http://schemas.microsoft.com/office/drawing/2014/main" id="{2AD71C4A-FF53-468E-BBF7-F8BBD0D9475B}"/>
              </a:ext>
            </a:extLst>
          </p:cNvPr>
          <p:cNvSpPr/>
          <p:nvPr/>
        </p:nvSpPr>
        <p:spPr>
          <a:xfrm>
            <a:off x="7459362" y="4145763"/>
            <a:ext cx="440426" cy="128056"/>
          </a:xfrm>
          <a:prstGeom prst="rightArrow">
            <a:avLst/>
          </a:prstGeom>
          <a:solidFill>
            <a:srgbClr val="3F6C5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sz="1400" b="1" kern="0">
              <a:solidFill>
                <a:schemeClr val="bg1"/>
              </a:solidFill>
              <a:latin typeface="Segoe UI Light" panose="020B0502040204020203" pitchFamily="34" charset="0"/>
              <a:cs typeface="Segoe UI Light" panose="020B0502040204020203" pitchFamily="34" charset="0"/>
            </a:endParaRPr>
          </a:p>
        </p:txBody>
      </p:sp>
      <p:grpSp>
        <p:nvGrpSpPr>
          <p:cNvPr id="30" name="Group 29">
            <a:extLst>
              <a:ext uri="{FF2B5EF4-FFF2-40B4-BE49-F238E27FC236}">
                <a16:creationId xmlns:a16="http://schemas.microsoft.com/office/drawing/2014/main" id="{420084C0-C191-42A7-9B83-B38C096D60DB}"/>
              </a:ext>
            </a:extLst>
          </p:cNvPr>
          <p:cNvGrpSpPr/>
          <p:nvPr/>
        </p:nvGrpSpPr>
        <p:grpSpPr>
          <a:xfrm>
            <a:off x="1804964" y="3075551"/>
            <a:ext cx="1066945" cy="2295823"/>
            <a:chOff x="275353" y="2675118"/>
            <a:chExt cx="1066945" cy="2295823"/>
          </a:xfrm>
        </p:grpSpPr>
        <p:sp>
          <p:nvSpPr>
            <p:cNvPr id="31" name="Flèche droite 57">
              <a:extLst>
                <a:ext uri="{FF2B5EF4-FFF2-40B4-BE49-F238E27FC236}">
                  <a16:creationId xmlns:a16="http://schemas.microsoft.com/office/drawing/2014/main" id="{54AA018B-B38A-4071-A643-21136D046AA2}"/>
                </a:ext>
              </a:extLst>
            </p:cNvPr>
            <p:cNvSpPr/>
            <p:nvPr/>
          </p:nvSpPr>
          <p:spPr>
            <a:xfrm>
              <a:off x="457200" y="2675118"/>
              <a:ext cx="880950" cy="438812"/>
            </a:xfrm>
            <a:prstGeom prst="rightArrow">
              <a:avLst/>
            </a:prstGeom>
            <a:solidFill>
              <a:srgbClr val="A4A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b="1" kern="0">
                <a:solidFill>
                  <a:schemeClr val="tx1"/>
                </a:solidFill>
                <a:latin typeface="Segoe UI Semilight" panose="020B0402040204020203" pitchFamily="34" charset="0"/>
                <a:cs typeface="Segoe UI Semilight" panose="020B0402040204020203" pitchFamily="34" charset="0"/>
              </a:endParaRPr>
            </a:p>
          </p:txBody>
        </p:sp>
        <p:sp>
          <p:nvSpPr>
            <p:cNvPr id="32" name="Flèche droite 58">
              <a:extLst>
                <a:ext uri="{FF2B5EF4-FFF2-40B4-BE49-F238E27FC236}">
                  <a16:creationId xmlns:a16="http://schemas.microsoft.com/office/drawing/2014/main" id="{CF5FD726-EE9D-47AF-93F2-96BC28372EA1}"/>
                </a:ext>
              </a:extLst>
            </p:cNvPr>
            <p:cNvSpPr/>
            <p:nvPr/>
          </p:nvSpPr>
          <p:spPr>
            <a:xfrm>
              <a:off x="457200" y="4532129"/>
              <a:ext cx="880950" cy="438812"/>
            </a:xfrm>
            <a:prstGeom prst="rightArrow">
              <a:avLst/>
            </a:prstGeom>
            <a:solidFill>
              <a:srgbClr val="A4A5A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51435" tIns="25718" rIns="51435" bIns="25718" numCol="1" spcCol="0" rtlCol="0" fromWordArt="0" anchor="ctr" anchorCtr="0" forceAA="0" compatLnSpc="1">
              <a:prstTxWarp prst="textNoShape">
                <a:avLst/>
              </a:prstTxWarp>
              <a:noAutofit/>
            </a:bodyPr>
            <a:lstStyle/>
            <a:p>
              <a:pPr algn="ctr" defTabSz="685800">
                <a:defRPr/>
              </a:pPr>
              <a:endParaRPr lang="en-US" b="1" kern="0">
                <a:solidFill>
                  <a:schemeClr val="tx1"/>
                </a:solidFill>
                <a:latin typeface="Segoe UI Semilight" panose="020B0402040204020203" pitchFamily="34" charset="0"/>
                <a:cs typeface="Segoe UI Semilight" panose="020B0402040204020203" pitchFamily="34" charset="0"/>
              </a:endParaRPr>
            </a:p>
          </p:txBody>
        </p:sp>
        <p:sp>
          <p:nvSpPr>
            <p:cNvPr id="33" name="ZoneTexte 59">
              <a:extLst>
                <a:ext uri="{FF2B5EF4-FFF2-40B4-BE49-F238E27FC236}">
                  <a16:creationId xmlns:a16="http://schemas.microsoft.com/office/drawing/2014/main" id="{C210106E-93AF-4EA4-8776-7464001CDF96}"/>
                </a:ext>
              </a:extLst>
            </p:cNvPr>
            <p:cNvSpPr txBox="1"/>
            <p:nvPr/>
          </p:nvSpPr>
          <p:spPr>
            <a:xfrm>
              <a:off x="275353" y="3613688"/>
              <a:ext cx="1066945" cy="461665"/>
            </a:xfrm>
            <a:prstGeom prst="rect">
              <a:avLst/>
            </a:prstGeom>
            <a:noFill/>
          </p:spPr>
          <p:txBody>
            <a:bodyPr wrap="square" rtlCol="0">
              <a:spAutoFit/>
            </a:bodyPr>
            <a:lstStyle/>
            <a:p>
              <a:pPr algn="r" defTabSz="685800">
                <a:defRPr/>
              </a:pPr>
              <a:r>
                <a:rPr lang="en-US" sz="2400" kern="0">
                  <a:solidFill>
                    <a:srgbClr val="000000"/>
                  </a:solidFill>
                  <a:latin typeface="Segoe UI Semilight" panose="020B0402040204020203" pitchFamily="34" charset="0"/>
                  <a:cs typeface="Segoe UI Semilight" panose="020B0402040204020203" pitchFamily="34" charset="0"/>
                </a:rPr>
                <a:t>Idea</a:t>
              </a:r>
            </a:p>
          </p:txBody>
        </p:sp>
      </p:grpSp>
      <p:sp>
        <p:nvSpPr>
          <p:cNvPr id="34" name="Flèche droite 61">
            <a:extLst>
              <a:ext uri="{FF2B5EF4-FFF2-40B4-BE49-F238E27FC236}">
                <a16:creationId xmlns:a16="http://schemas.microsoft.com/office/drawing/2014/main" id="{3AAF6D93-B939-4BE6-B408-1CE3E29D1C37}"/>
              </a:ext>
            </a:extLst>
          </p:cNvPr>
          <p:cNvSpPr/>
          <p:nvPr/>
        </p:nvSpPr>
        <p:spPr>
          <a:xfrm>
            <a:off x="8859425" y="4020063"/>
            <a:ext cx="372668" cy="438812"/>
          </a:xfrm>
          <a:prstGeom prst="rightArrow">
            <a:avLst/>
          </a:prstGeom>
          <a:solidFill>
            <a:srgbClr val="A4A5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a:solidFill>
                <a:schemeClr val="bg1"/>
              </a:solidFill>
              <a:latin typeface="Segoe UI Light" panose="020B0502040204020203" pitchFamily="34" charset="0"/>
              <a:cs typeface="Segoe UI Light" panose="020B0502040204020203" pitchFamily="34" charset="0"/>
            </a:endParaRPr>
          </a:p>
        </p:txBody>
      </p:sp>
      <p:cxnSp>
        <p:nvCxnSpPr>
          <p:cNvPr id="35" name="Connecteur droit 6">
            <a:extLst>
              <a:ext uri="{FF2B5EF4-FFF2-40B4-BE49-F238E27FC236}">
                <a16:creationId xmlns:a16="http://schemas.microsoft.com/office/drawing/2014/main" id="{52863BC7-C304-445D-880F-7BFC6C09F3F0}"/>
              </a:ext>
            </a:extLst>
          </p:cNvPr>
          <p:cNvCxnSpPr/>
          <p:nvPr/>
        </p:nvCxnSpPr>
        <p:spPr>
          <a:xfrm flipV="1">
            <a:off x="3031853" y="4767744"/>
            <a:ext cx="3181897" cy="838757"/>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Connecteur droit 29">
            <a:extLst>
              <a:ext uri="{FF2B5EF4-FFF2-40B4-BE49-F238E27FC236}">
                <a16:creationId xmlns:a16="http://schemas.microsoft.com/office/drawing/2014/main" id="{371ACFC1-1DF4-4F08-9C80-CCF2325291A3}"/>
              </a:ext>
            </a:extLst>
          </p:cNvPr>
          <p:cNvCxnSpPr>
            <a:cxnSpLocks/>
          </p:cNvCxnSpPr>
          <p:nvPr/>
        </p:nvCxnSpPr>
        <p:spPr>
          <a:xfrm>
            <a:off x="3031853" y="2014245"/>
            <a:ext cx="0" cy="359225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0" name="ZoneTexte 59">
            <a:extLst>
              <a:ext uri="{FF2B5EF4-FFF2-40B4-BE49-F238E27FC236}">
                <a16:creationId xmlns:a16="http://schemas.microsoft.com/office/drawing/2014/main" id="{9A8B8242-C747-4665-8798-C64EBBCE189D}"/>
              </a:ext>
            </a:extLst>
          </p:cNvPr>
          <p:cNvSpPr txBox="1"/>
          <p:nvPr/>
        </p:nvSpPr>
        <p:spPr>
          <a:xfrm>
            <a:off x="9244322" y="4005030"/>
            <a:ext cx="1352661" cy="461665"/>
          </a:xfrm>
          <a:prstGeom prst="rect">
            <a:avLst/>
          </a:prstGeom>
          <a:noFill/>
        </p:spPr>
        <p:txBody>
          <a:bodyPr wrap="square" rtlCol="0">
            <a:spAutoFit/>
          </a:bodyPr>
          <a:lstStyle/>
          <a:p>
            <a:pPr defTabSz="685800">
              <a:defRPr/>
            </a:pPr>
            <a:r>
              <a:rPr lang="en-US" sz="2400" kern="0">
                <a:solidFill>
                  <a:srgbClr val="000000"/>
                </a:solidFill>
                <a:latin typeface="Segoe UI Semilight" panose="020B0402040204020203" pitchFamily="34" charset="0"/>
                <a:cs typeface="Segoe UI Semilight" panose="020B0402040204020203" pitchFamily="34" charset="0"/>
              </a:rPr>
              <a:t>Webinar</a:t>
            </a:r>
          </a:p>
        </p:txBody>
      </p:sp>
      <p:sp>
        <p:nvSpPr>
          <p:cNvPr id="42" name="TextBox 41">
            <a:extLst>
              <a:ext uri="{FF2B5EF4-FFF2-40B4-BE49-F238E27FC236}">
                <a16:creationId xmlns:a16="http://schemas.microsoft.com/office/drawing/2014/main" id="{B7D6BCD2-ACC5-4273-95E0-627B53D30AF1}"/>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ea typeface="Quattrocento Sans"/>
                <a:cs typeface="Segoe UI Semibold" panose="020B0702040204020203" pitchFamily="34" charset="0"/>
                <a:sym typeface="Quattrocento Sans"/>
              </a:rPr>
              <a:t>This graphic is for a funnel framework</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410030085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reeform 5">
            <a:extLst>
              <a:ext uri="{FF2B5EF4-FFF2-40B4-BE49-F238E27FC236}">
                <a16:creationId xmlns:a16="http://schemas.microsoft.com/office/drawing/2014/main" id="{B905F054-428B-4416-A9D1-A8FE73380F0A}"/>
              </a:ext>
            </a:extLst>
          </p:cNvPr>
          <p:cNvSpPr/>
          <p:nvPr/>
        </p:nvSpPr>
        <p:spPr>
          <a:xfrm>
            <a:off x="6236103" y="1612173"/>
            <a:ext cx="4313364" cy="4313364"/>
          </a:xfrm>
          <a:custGeom>
            <a:avLst/>
            <a:gdLst>
              <a:gd name="connsiteX0" fmla="*/ 0 w 4313364"/>
              <a:gd name="connsiteY0" fmla="*/ 2156682 h 4313364"/>
              <a:gd name="connsiteX1" fmla="*/ 2156682 w 4313364"/>
              <a:gd name="connsiteY1" fmla="*/ 0 h 4313364"/>
              <a:gd name="connsiteX2" fmla="*/ 4313364 w 4313364"/>
              <a:gd name="connsiteY2" fmla="*/ 2156682 h 4313364"/>
              <a:gd name="connsiteX3" fmla="*/ 2156682 w 4313364"/>
              <a:gd name="connsiteY3" fmla="*/ 4313364 h 4313364"/>
              <a:gd name="connsiteX4" fmla="*/ 0 w 4313364"/>
              <a:gd name="connsiteY4" fmla="*/ 2156682 h 4313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3364" h="4313364">
                <a:moveTo>
                  <a:pt x="0" y="2156682"/>
                </a:moveTo>
                <a:cubicBezTo>
                  <a:pt x="0" y="965579"/>
                  <a:pt x="965579" y="0"/>
                  <a:pt x="2156682" y="0"/>
                </a:cubicBezTo>
                <a:cubicBezTo>
                  <a:pt x="3347785" y="0"/>
                  <a:pt x="4313364" y="965579"/>
                  <a:pt x="4313364" y="2156682"/>
                </a:cubicBezTo>
                <a:cubicBezTo>
                  <a:pt x="4313364" y="3347785"/>
                  <a:pt x="3347785" y="4313364"/>
                  <a:pt x="2156682" y="4313364"/>
                </a:cubicBezTo>
                <a:cubicBezTo>
                  <a:pt x="965579" y="4313364"/>
                  <a:pt x="0" y="3347785"/>
                  <a:pt x="0" y="2156682"/>
                </a:cubicBezTo>
                <a:close/>
              </a:path>
            </a:pathLst>
          </a:custGeom>
          <a:solidFill>
            <a:srgbClr val="E28D8D"/>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481153" tIns="0" rIns="1481155" bIns="3528924" numCol="1" spcCol="1270" anchor="ctr" anchorCtr="0">
            <a:noAutofit/>
          </a:bodyPr>
          <a:lstStyle/>
          <a:p>
            <a:pPr lvl="0" algn="ctr" defTabSz="488950">
              <a:lnSpc>
                <a:spcPct val="90000"/>
              </a:lnSpc>
              <a:spcBef>
                <a:spcPct val="0"/>
              </a:spcBef>
              <a:spcAft>
                <a:spcPct val="35000"/>
              </a:spcAft>
            </a:pPr>
            <a:r>
              <a:rPr lang="en-US" b="1" kern="1200">
                <a:solidFill>
                  <a:schemeClr val="bg1"/>
                </a:solidFill>
                <a:latin typeface="Segoe UI Semibold" panose="020B0702040204020203" pitchFamily="34" charset="0"/>
                <a:cs typeface="Segoe UI Semibold" panose="020B0702040204020203" pitchFamily="34" charset="0"/>
              </a:rPr>
              <a:t>Header</a:t>
            </a:r>
            <a:endParaRPr lang="en-US" sz="1400" b="1" kern="1200">
              <a:solidFill>
                <a:schemeClr val="bg1"/>
              </a:solidFill>
              <a:latin typeface="Segoe UI Semibold" panose="020B0702040204020203" pitchFamily="34" charset="0"/>
              <a:cs typeface="Segoe UI Semibold" panose="020B0702040204020203" pitchFamily="34" charset="0"/>
            </a:endParaRPr>
          </a:p>
        </p:txBody>
      </p:sp>
      <p:sp>
        <p:nvSpPr>
          <p:cNvPr id="3" name="Freeform 6">
            <a:extLst>
              <a:ext uri="{FF2B5EF4-FFF2-40B4-BE49-F238E27FC236}">
                <a16:creationId xmlns:a16="http://schemas.microsoft.com/office/drawing/2014/main" id="{CF188458-005A-4953-B3ED-90045F6CF81A}"/>
              </a:ext>
            </a:extLst>
          </p:cNvPr>
          <p:cNvSpPr/>
          <p:nvPr/>
        </p:nvSpPr>
        <p:spPr>
          <a:xfrm>
            <a:off x="6775273" y="2690513"/>
            <a:ext cx="3235023" cy="3235023"/>
          </a:xfrm>
          <a:custGeom>
            <a:avLst/>
            <a:gdLst>
              <a:gd name="connsiteX0" fmla="*/ 0 w 3235023"/>
              <a:gd name="connsiteY0" fmla="*/ 1617512 h 3235023"/>
              <a:gd name="connsiteX1" fmla="*/ 1617512 w 3235023"/>
              <a:gd name="connsiteY1" fmla="*/ 0 h 3235023"/>
              <a:gd name="connsiteX2" fmla="*/ 3235024 w 3235023"/>
              <a:gd name="connsiteY2" fmla="*/ 1617512 h 3235023"/>
              <a:gd name="connsiteX3" fmla="*/ 1617512 w 3235023"/>
              <a:gd name="connsiteY3" fmla="*/ 3235024 h 3235023"/>
              <a:gd name="connsiteX4" fmla="*/ 0 w 3235023"/>
              <a:gd name="connsiteY4" fmla="*/ 1617512 h 32350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35023" h="3235023">
                <a:moveTo>
                  <a:pt x="0" y="1617512"/>
                </a:moveTo>
                <a:cubicBezTo>
                  <a:pt x="0" y="724185"/>
                  <a:pt x="724185" y="0"/>
                  <a:pt x="1617512" y="0"/>
                </a:cubicBezTo>
                <a:cubicBezTo>
                  <a:pt x="2510839" y="0"/>
                  <a:pt x="3235024" y="724185"/>
                  <a:pt x="3235024" y="1617512"/>
                </a:cubicBezTo>
                <a:cubicBezTo>
                  <a:pt x="3235024" y="2510839"/>
                  <a:pt x="2510839" y="3235024"/>
                  <a:pt x="1617512" y="3235024"/>
                </a:cubicBezTo>
                <a:cubicBezTo>
                  <a:pt x="724185" y="3235024"/>
                  <a:pt x="0" y="2510839"/>
                  <a:pt x="0" y="1617512"/>
                </a:cubicBezTo>
                <a:close/>
              </a:path>
            </a:pathLst>
          </a:custGeom>
          <a:solidFill>
            <a:srgbClr val="F80C4F"/>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41983" tIns="0" rIns="941984" bIns="2504500" numCol="1" spcCol="1270" anchor="ctr" anchorCtr="0">
            <a:noAutofit/>
          </a:bodyPr>
          <a:lstStyle/>
          <a:p>
            <a:pPr lvl="0" algn="ctr" defTabSz="488950">
              <a:lnSpc>
                <a:spcPct val="90000"/>
              </a:lnSpc>
              <a:spcBef>
                <a:spcPct val="0"/>
              </a:spcBef>
              <a:spcAft>
                <a:spcPct val="35000"/>
              </a:spcAft>
            </a:pPr>
            <a:r>
              <a:rPr lang="en-US" b="1" kern="1200">
                <a:solidFill>
                  <a:schemeClr val="bg1"/>
                </a:solidFill>
                <a:latin typeface="Segoe UI Semibold" panose="020B0702040204020203" pitchFamily="34" charset="0"/>
                <a:cs typeface="Segoe UI Semibold" panose="020B0702040204020203" pitchFamily="34" charset="0"/>
              </a:rPr>
              <a:t>Header</a:t>
            </a:r>
            <a:endParaRPr lang="en-US" sz="1400" b="1" kern="1200">
              <a:solidFill>
                <a:schemeClr val="bg1"/>
              </a:solidFill>
              <a:latin typeface="Segoe UI Semibold" panose="020B0702040204020203" pitchFamily="34" charset="0"/>
              <a:cs typeface="Segoe UI Semibold" panose="020B0702040204020203" pitchFamily="34" charset="0"/>
            </a:endParaRPr>
          </a:p>
        </p:txBody>
      </p:sp>
      <p:sp>
        <p:nvSpPr>
          <p:cNvPr id="4" name="Freeform 7">
            <a:extLst>
              <a:ext uri="{FF2B5EF4-FFF2-40B4-BE49-F238E27FC236}">
                <a16:creationId xmlns:a16="http://schemas.microsoft.com/office/drawing/2014/main" id="{A6DDB4AB-847B-4CA9-B78B-E1EEBE5715E8}"/>
              </a:ext>
            </a:extLst>
          </p:cNvPr>
          <p:cNvSpPr/>
          <p:nvPr/>
        </p:nvSpPr>
        <p:spPr>
          <a:xfrm>
            <a:off x="7314444" y="3768855"/>
            <a:ext cx="2156682" cy="2156682"/>
          </a:xfrm>
          <a:custGeom>
            <a:avLst/>
            <a:gdLst>
              <a:gd name="connsiteX0" fmla="*/ 0 w 2156682"/>
              <a:gd name="connsiteY0" fmla="*/ 1078341 h 2156682"/>
              <a:gd name="connsiteX1" fmla="*/ 1078341 w 2156682"/>
              <a:gd name="connsiteY1" fmla="*/ 0 h 2156682"/>
              <a:gd name="connsiteX2" fmla="*/ 2156682 w 2156682"/>
              <a:gd name="connsiteY2" fmla="*/ 1078341 h 2156682"/>
              <a:gd name="connsiteX3" fmla="*/ 1078341 w 2156682"/>
              <a:gd name="connsiteY3" fmla="*/ 2156682 h 2156682"/>
              <a:gd name="connsiteX4" fmla="*/ 0 w 2156682"/>
              <a:gd name="connsiteY4" fmla="*/ 1078341 h 21566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6682" h="2156682">
                <a:moveTo>
                  <a:pt x="0" y="1078341"/>
                </a:moveTo>
                <a:cubicBezTo>
                  <a:pt x="0" y="482790"/>
                  <a:pt x="482790" y="0"/>
                  <a:pt x="1078341" y="0"/>
                </a:cubicBezTo>
                <a:cubicBezTo>
                  <a:pt x="1673892" y="0"/>
                  <a:pt x="2156682" y="482790"/>
                  <a:pt x="2156682" y="1078341"/>
                </a:cubicBezTo>
                <a:cubicBezTo>
                  <a:pt x="2156682" y="1673892"/>
                  <a:pt x="1673892" y="2156682"/>
                  <a:pt x="1078341" y="2156682"/>
                </a:cubicBezTo>
                <a:cubicBezTo>
                  <a:pt x="482790" y="2156682"/>
                  <a:pt x="0" y="1673892"/>
                  <a:pt x="0" y="1078341"/>
                </a:cubicBezTo>
                <a:close/>
              </a:path>
            </a:pathLst>
          </a:custGeom>
          <a:solidFill>
            <a:srgbClr val="A8053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394070" tIns="0" rIns="394072" bIns="0" numCol="1" spcCol="1270" anchor="ctr" anchorCtr="0">
            <a:noAutofit/>
          </a:bodyPr>
          <a:lstStyle/>
          <a:p>
            <a:pPr lvl="0" algn="ctr" defTabSz="488950">
              <a:lnSpc>
                <a:spcPct val="90000"/>
              </a:lnSpc>
              <a:spcBef>
                <a:spcPct val="0"/>
              </a:spcBef>
              <a:spcAft>
                <a:spcPct val="35000"/>
              </a:spcAft>
            </a:pPr>
            <a:r>
              <a:rPr lang="en-US" b="1" kern="1200">
                <a:solidFill>
                  <a:schemeClr val="bg1"/>
                </a:solidFill>
                <a:latin typeface="Segoe UI Semibold" panose="020B0702040204020203" pitchFamily="34" charset="0"/>
                <a:cs typeface="Segoe UI Semibold" panose="020B0702040204020203" pitchFamily="34" charset="0"/>
              </a:rPr>
              <a:t>Header</a:t>
            </a:r>
            <a:endParaRPr lang="en-US" sz="1400" b="1" kern="1200">
              <a:solidFill>
                <a:schemeClr val="bg1"/>
              </a:solidFill>
              <a:latin typeface="Segoe UI Semibold" panose="020B0702040204020203" pitchFamily="34" charset="0"/>
              <a:cs typeface="Segoe UI Semibold" panose="020B0702040204020203" pitchFamily="34" charset="0"/>
            </a:endParaRPr>
          </a:p>
        </p:txBody>
      </p:sp>
      <p:sp>
        <p:nvSpPr>
          <p:cNvPr id="5" name="Rectangle 4">
            <a:extLst>
              <a:ext uri="{FF2B5EF4-FFF2-40B4-BE49-F238E27FC236}">
                <a16:creationId xmlns:a16="http://schemas.microsoft.com/office/drawing/2014/main" id="{272C95EF-4C83-490E-8386-32D41432B169}"/>
              </a:ext>
            </a:extLst>
          </p:cNvPr>
          <p:cNvSpPr/>
          <p:nvPr/>
        </p:nvSpPr>
        <p:spPr>
          <a:xfrm>
            <a:off x="457200" y="1432560"/>
            <a:ext cx="81342" cy="1336977"/>
          </a:xfrm>
          <a:prstGeom prst="rect">
            <a:avLst/>
          </a:prstGeom>
          <a:solidFill>
            <a:srgbClr val="E28D8D"/>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 name="Rectangle 5">
            <a:extLst>
              <a:ext uri="{FF2B5EF4-FFF2-40B4-BE49-F238E27FC236}">
                <a16:creationId xmlns:a16="http://schemas.microsoft.com/office/drawing/2014/main" id="{97B4DD64-D80B-41D8-B33E-AD981CF1FB41}"/>
              </a:ext>
            </a:extLst>
          </p:cNvPr>
          <p:cNvSpPr/>
          <p:nvPr/>
        </p:nvSpPr>
        <p:spPr>
          <a:xfrm>
            <a:off x="609599" y="1432559"/>
            <a:ext cx="3933218" cy="13369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600"/>
              </a:spcAft>
              <a:buFont typeface="Arial" panose="020B0604020202020204" pitchFamily="34" charset="0"/>
              <a:buChar char="•"/>
            </a:pPr>
            <a:r>
              <a:rPr lang="en-US">
                <a:solidFill>
                  <a:srgbClr val="000000"/>
                </a:solidFill>
                <a:latin typeface="Segoe UI Semilight" panose="020B0402040204020203" pitchFamily="34" charset="0"/>
                <a:cs typeface="Segoe UI Semilight" panose="020B0402040204020203" pitchFamily="34" charset="0"/>
              </a:rPr>
              <a:t>Text example here. Replace your own text</a:t>
            </a:r>
          </a:p>
          <a:p>
            <a:pPr marL="285750" indent="-285750">
              <a:spcAft>
                <a:spcPts val="600"/>
              </a:spcAft>
              <a:buFont typeface="Arial" panose="020B0604020202020204" pitchFamily="34" charset="0"/>
              <a:buChar cha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 </a:t>
            </a:r>
          </a:p>
        </p:txBody>
      </p:sp>
      <p:sp>
        <p:nvSpPr>
          <p:cNvPr id="7" name="Rectangle 6">
            <a:extLst>
              <a:ext uri="{FF2B5EF4-FFF2-40B4-BE49-F238E27FC236}">
                <a16:creationId xmlns:a16="http://schemas.microsoft.com/office/drawing/2014/main" id="{70FA8315-94F3-4B8C-AD95-C947287F8A72}"/>
              </a:ext>
            </a:extLst>
          </p:cNvPr>
          <p:cNvSpPr/>
          <p:nvPr/>
        </p:nvSpPr>
        <p:spPr>
          <a:xfrm>
            <a:off x="457200" y="3050071"/>
            <a:ext cx="81342" cy="1336977"/>
          </a:xfrm>
          <a:prstGeom prst="rect">
            <a:avLst/>
          </a:prstGeom>
          <a:solidFill>
            <a:srgbClr val="F80C4F"/>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8" name="Rectangle 7">
            <a:extLst>
              <a:ext uri="{FF2B5EF4-FFF2-40B4-BE49-F238E27FC236}">
                <a16:creationId xmlns:a16="http://schemas.microsoft.com/office/drawing/2014/main" id="{3B69E978-9ACB-4993-89BF-C29C8E7AC096}"/>
              </a:ext>
            </a:extLst>
          </p:cNvPr>
          <p:cNvSpPr/>
          <p:nvPr/>
        </p:nvSpPr>
        <p:spPr>
          <a:xfrm>
            <a:off x="609599" y="3050071"/>
            <a:ext cx="3933218" cy="13369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600"/>
              </a:spcAft>
              <a:buFont typeface="Arial" panose="020B0604020202020204" pitchFamily="34" charset="0"/>
              <a:buChar cha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a:p>
            <a:pPr marL="285750" indent="-285750">
              <a:spcAft>
                <a:spcPts val="600"/>
              </a:spcAft>
              <a:buFont typeface="Arial" panose="020B0604020202020204" pitchFamily="34" charset="0"/>
              <a:buChar cha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9" name="Rectangle 8">
            <a:extLst>
              <a:ext uri="{FF2B5EF4-FFF2-40B4-BE49-F238E27FC236}">
                <a16:creationId xmlns:a16="http://schemas.microsoft.com/office/drawing/2014/main" id="{5A362C09-3A6B-472B-97CF-4CF6B082501F}"/>
              </a:ext>
            </a:extLst>
          </p:cNvPr>
          <p:cNvSpPr/>
          <p:nvPr/>
        </p:nvSpPr>
        <p:spPr>
          <a:xfrm>
            <a:off x="457200" y="4667583"/>
            <a:ext cx="81342" cy="1336977"/>
          </a:xfrm>
          <a:prstGeom prst="rect">
            <a:avLst/>
          </a:prstGeom>
          <a:solidFill>
            <a:srgbClr val="A8053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0" name="Rectangle 9">
            <a:extLst>
              <a:ext uri="{FF2B5EF4-FFF2-40B4-BE49-F238E27FC236}">
                <a16:creationId xmlns:a16="http://schemas.microsoft.com/office/drawing/2014/main" id="{1065CD9B-249E-48D3-85D5-CE326CFC1614}"/>
              </a:ext>
            </a:extLst>
          </p:cNvPr>
          <p:cNvSpPr/>
          <p:nvPr/>
        </p:nvSpPr>
        <p:spPr>
          <a:xfrm>
            <a:off x="609599" y="4667582"/>
            <a:ext cx="3933218" cy="133697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50" indent="-285750">
              <a:spcAft>
                <a:spcPts val="600"/>
              </a:spcAft>
              <a:buFont typeface="Arial" panose="020B0604020202020204" pitchFamily="34" charset="0"/>
              <a:buChar cha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a:p>
            <a:pPr marL="285750" indent="-285750">
              <a:spcAft>
                <a:spcPts val="600"/>
              </a:spcAft>
              <a:buFont typeface="Arial" panose="020B0604020202020204" pitchFamily="34" charset="0"/>
              <a:buChar char="•"/>
            </a:pPr>
            <a:r>
              <a:rPr lang="en-US">
                <a:solidFill>
                  <a:srgbClr val="000000"/>
                </a:solidFill>
                <a:latin typeface="Segoe UI Semilight" panose="020B0402040204020203" pitchFamily="34" charset="0"/>
                <a:cs typeface="Segoe UI Semilight" panose="020B0402040204020203" pitchFamily="34" charset="0"/>
              </a:rPr>
              <a:t>Text example here. Replace with your own text</a:t>
            </a:r>
          </a:p>
        </p:txBody>
      </p:sp>
      <p:sp>
        <p:nvSpPr>
          <p:cNvPr id="13" name="TextBox 12">
            <a:extLst>
              <a:ext uri="{FF2B5EF4-FFF2-40B4-BE49-F238E27FC236}">
                <a16:creationId xmlns:a16="http://schemas.microsoft.com/office/drawing/2014/main" id="{3F664A54-1496-4098-B24D-7ADF9B55DFA1}"/>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ea typeface="Quattrocento Sans"/>
                <a:cs typeface="Segoe UI Semibold" panose="020B0702040204020203" pitchFamily="34" charset="0"/>
                <a:sym typeface="Quattrocento Sans"/>
              </a:rPr>
              <a:t>This graphic is for market sizing or something similar</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62531289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Freeform 23">
            <a:extLst>
              <a:ext uri="{FF2B5EF4-FFF2-40B4-BE49-F238E27FC236}">
                <a16:creationId xmlns:a16="http://schemas.microsoft.com/office/drawing/2014/main" id="{FB865E38-3BE4-465A-866E-0933EF14A7A9}"/>
              </a:ext>
            </a:extLst>
          </p:cNvPr>
          <p:cNvSpPr/>
          <p:nvPr/>
        </p:nvSpPr>
        <p:spPr>
          <a:xfrm>
            <a:off x="975510" y="2602495"/>
            <a:ext cx="9766360" cy="1747413"/>
          </a:xfrm>
          <a:custGeom>
            <a:avLst/>
            <a:gdLst>
              <a:gd name="connsiteX0" fmla="*/ 0 w 11497235"/>
              <a:gd name="connsiteY0" fmla="*/ 1963271 h 1963271"/>
              <a:gd name="connsiteX1" fmla="*/ 1277471 w 11497235"/>
              <a:gd name="connsiteY1" fmla="*/ 1963271 h 1963271"/>
              <a:gd name="connsiteX2" fmla="*/ 1694329 w 11497235"/>
              <a:gd name="connsiteY2" fmla="*/ 1546412 h 1963271"/>
              <a:gd name="connsiteX3" fmla="*/ 3657600 w 11497235"/>
              <a:gd name="connsiteY3" fmla="*/ 1546412 h 1963271"/>
              <a:gd name="connsiteX4" fmla="*/ 4061012 w 11497235"/>
              <a:gd name="connsiteY4" fmla="*/ 1129553 h 1963271"/>
              <a:gd name="connsiteX5" fmla="*/ 6078071 w 11497235"/>
              <a:gd name="connsiteY5" fmla="*/ 1129553 h 1963271"/>
              <a:gd name="connsiteX6" fmla="*/ 6468035 w 11497235"/>
              <a:gd name="connsiteY6" fmla="*/ 739588 h 1963271"/>
              <a:gd name="connsiteX7" fmla="*/ 8444753 w 11497235"/>
              <a:gd name="connsiteY7" fmla="*/ 739588 h 1963271"/>
              <a:gd name="connsiteX8" fmla="*/ 8861612 w 11497235"/>
              <a:gd name="connsiteY8" fmla="*/ 322729 h 1963271"/>
              <a:gd name="connsiteX9" fmla="*/ 10865224 w 11497235"/>
              <a:gd name="connsiteY9" fmla="*/ 309282 h 1963271"/>
              <a:gd name="connsiteX10" fmla="*/ 11497235 w 11497235"/>
              <a:gd name="connsiteY10" fmla="*/ 0 h 19632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497235" h="1963271">
                <a:moveTo>
                  <a:pt x="0" y="1963271"/>
                </a:moveTo>
                <a:lnTo>
                  <a:pt x="1277471" y="1963271"/>
                </a:lnTo>
                <a:lnTo>
                  <a:pt x="1694329" y="1546412"/>
                </a:lnTo>
                <a:lnTo>
                  <a:pt x="3657600" y="1546412"/>
                </a:lnTo>
                <a:lnTo>
                  <a:pt x="4061012" y="1129553"/>
                </a:lnTo>
                <a:lnTo>
                  <a:pt x="6078071" y="1129553"/>
                </a:lnTo>
                <a:lnTo>
                  <a:pt x="6468035" y="739588"/>
                </a:lnTo>
                <a:lnTo>
                  <a:pt x="8444753" y="739588"/>
                </a:lnTo>
                <a:lnTo>
                  <a:pt x="8861612" y="322729"/>
                </a:lnTo>
                <a:lnTo>
                  <a:pt x="10865224" y="309282"/>
                </a:lnTo>
                <a:lnTo>
                  <a:pt x="11497235" y="0"/>
                </a:lnTo>
              </a:path>
            </a:pathLst>
          </a:custGeom>
          <a:noFill/>
          <a:ln w="57150">
            <a:solidFill>
              <a:srgbClr val="A80532"/>
            </a:solidFill>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400" kern="0">
              <a:solidFill>
                <a:sysClr val="windowText" lastClr="000000"/>
              </a:solidFill>
              <a:latin typeface="Segoe UI Light" panose="020B0502040204020203" pitchFamily="34" charset="0"/>
              <a:cs typeface="Segoe UI Light" panose="020B0502040204020203" pitchFamily="34" charset="0"/>
            </a:endParaRPr>
          </a:p>
        </p:txBody>
      </p:sp>
      <p:sp>
        <p:nvSpPr>
          <p:cNvPr id="3" name="TextBox 2">
            <a:extLst>
              <a:ext uri="{FF2B5EF4-FFF2-40B4-BE49-F238E27FC236}">
                <a16:creationId xmlns:a16="http://schemas.microsoft.com/office/drawing/2014/main" id="{22A94F6D-244D-4C6B-9F48-603939C1EF9B}"/>
              </a:ext>
            </a:extLst>
          </p:cNvPr>
          <p:cNvSpPr txBox="1"/>
          <p:nvPr/>
        </p:nvSpPr>
        <p:spPr>
          <a:xfrm>
            <a:off x="1197438" y="3981268"/>
            <a:ext cx="786048" cy="338554"/>
          </a:xfrm>
          <a:prstGeom prst="rect">
            <a:avLst/>
          </a:prstGeom>
          <a:noFill/>
        </p:spPr>
        <p:txBody>
          <a:bodyPr wrap="square" rtlCol="0">
            <a:spAutoFit/>
          </a:bodyPr>
          <a:lstStyle/>
          <a:p>
            <a:pPr algn="ctr" defTabSz="685800">
              <a:defRPr/>
            </a:pPr>
            <a:r>
              <a:rPr lang="en-US" sz="1600" b="1" kern="0">
                <a:solidFill>
                  <a:schemeClr val="tx2"/>
                </a:solidFill>
                <a:latin typeface="Segoe UI Light" panose="020B0502040204020203" pitchFamily="34" charset="0"/>
                <a:cs typeface="Segoe UI Light" panose="020B0502040204020203" pitchFamily="34" charset="0"/>
              </a:rPr>
              <a:t>Step 0</a:t>
            </a:r>
          </a:p>
        </p:txBody>
      </p:sp>
      <p:sp>
        <p:nvSpPr>
          <p:cNvPr id="4" name="TextBox 3">
            <a:extLst>
              <a:ext uri="{FF2B5EF4-FFF2-40B4-BE49-F238E27FC236}">
                <a16:creationId xmlns:a16="http://schemas.microsoft.com/office/drawing/2014/main" id="{7E440251-94F5-4BF4-B51A-A15F141DF521}"/>
              </a:ext>
            </a:extLst>
          </p:cNvPr>
          <p:cNvSpPr txBox="1"/>
          <p:nvPr/>
        </p:nvSpPr>
        <p:spPr>
          <a:xfrm>
            <a:off x="3180282" y="3642714"/>
            <a:ext cx="751805" cy="338554"/>
          </a:xfrm>
          <a:prstGeom prst="rect">
            <a:avLst/>
          </a:prstGeom>
          <a:noFill/>
        </p:spPr>
        <p:txBody>
          <a:bodyPr wrap="square" rtlCol="0">
            <a:spAutoFit/>
          </a:bodyPr>
          <a:lstStyle/>
          <a:p>
            <a:pPr algn="ctr" defTabSz="685800">
              <a:defRPr/>
            </a:pPr>
            <a:r>
              <a:rPr lang="en-US" sz="1600" b="1" kern="0">
                <a:solidFill>
                  <a:schemeClr val="tx2"/>
                </a:solidFill>
                <a:latin typeface="Segoe UI Light" panose="020B0502040204020203" pitchFamily="34" charset="0"/>
                <a:cs typeface="Segoe UI Light" panose="020B0502040204020203" pitchFamily="34" charset="0"/>
              </a:rPr>
              <a:t>Step 1</a:t>
            </a:r>
          </a:p>
        </p:txBody>
      </p:sp>
      <p:sp>
        <p:nvSpPr>
          <p:cNvPr id="5" name="TextBox 4">
            <a:extLst>
              <a:ext uri="{FF2B5EF4-FFF2-40B4-BE49-F238E27FC236}">
                <a16:creationId xmlns:a16="http://schemas.microsoft.com/office/drawing/2014/main" id="{6A559C35-9521-429B-BA53-377E1A91337B}"/>
              </a:ext>
            </a:extLst>
          </p:cNvPr>
          <p:cNvSpPr txBox="1"/>
          <p:nvPr/>
        </p:nvSpPr>
        <p:spPr>
          <a:xfrm>
            <a:off x="5295428" y="3220934"/>
            <a:ext cx="786048" cy="338554"/>
          </a:xfrm>
          <a:prstGeom prst="rect">
            <a:avLst/>
          </a:prstGeom>
          <a:noFill/>
        </p:spPr>
        <p:txBody>
          <a:bodyPr wrap="square" rtlCol="0">
            <a:spAutoFit/>
          </a:bodyPr>
          <a:lstStyle/>
          <a:p>
            <a:pPr algn="ctr" defTabSz="685800">
              <a:defRPr/>
            </a:pPr>
            <a:r>
              <a:rPr lang="en-US" sz="1600" b="1" kern="0">
                <a:solidFill>
                  <a:schemeClr val="tx2"/>
                </a:solidFill>
                <a:latin typeface="Segoe UI Light" panose="020B0502040204020203" pitchFamily="34" charset="0"/>
                <a:cs typeface="Segoe UI Light" panose="020B0502040204020203" pitchFamily="34" charset="0"/>
              </a:rPr>
              <a:t>Step 2</a:t>
            </a:r>
          </a:p>
        </p:txBody>
      </p:sp>
      <p:sp>
        <p:nvSpPr>
          <p:cNvPr id="6" name="TextBox 5">
            <a:extLst>
              <a:ext uri="{FF2B5EF4-FFF2-40B4-BE49-F238E27FC236}">
                <a16:creationId xmlns:a16="http://schemas.microsoft.com/office/drawing/2014/main" id="{CDDDCE9C-4237-4524-B031-81912A05B072}"/>
              </a:ext>
            </a:extLst>
          </p:cNvPr>
          <p:cNvSpPr txBox="1"/>
          <p:nvPr/>
        </p:nvSpPr>
        <p:spPr>
          <a:xfrm>
            <a:off x="7371401" y="2882380"/>
            <a:ext cx="786048" cy="338554"/>
          </a:xfrm>
          <a:prstGeom prst="rect">
            <a:avLst/>
          </a:prstGeom>
          <a:noFill/>
        </p:spPr>
        <p:txBody>
          <a:bodyPr wrap="square" rtlCol="0">
            <a:spAutoFit/>
          </a:bodyPr>
          <a:lstStyle/>
          <a:p>
            <a:pPr algn="ctr" defTabSz="685800">
              <a:defRPr/>
            </a:pPr>
            <a:r>
              <a:rPr lang="en-US" sz="1600" b="1" kern="0">
                <a:solidFill>
                  <a:schemeClr val="tx2"/>
                </a:solidFill>
                <a:latin typeface="Segoe UI Light" panose="020B0502040204020203" pitchFamily="34" charset="0"/>
                <a:cs typeface="Segoe UI Light" panose="020B0502040204020203" pitchFamily="34" charset="0"/>
              </a:rPr>
              <a:t>Step 3</a:t>
            </a:r>
          </a:p>
        </p:txBody>
      </p:sp>
      <p:sp>
        <p:nvSpPr>
          <p:cNvPr id="7" name="TextBox 6">
            <a:extLst>
              <a:ext uri="{FF2B5EF4-FFF2-40B4-BE49-F238E27FC236}">
                <a16:creationId xmlns:a16="http://schemas.microsoft.com/office/drawing/2014/main" id="{4A4E07EC-D916-47F9-8F82-E96EAA766491}"/>
              </a:ext>
            </a:extLst>
          </p:cNvPr>
          <p:cNvSpPr txBox="1"/>
          <p:nvPr/>
        </p:nvSpPr>
        <p:spPr>
          <a:xfrm>
            <a:off x="9477724" y="2433218"/>
            <a:ext cx="789852" cy="338554"/>
          </a:xfrm>
          <a:prstGeom prst="rect">
            <a:avLst/>
          </a:prstGeom>
          <a:noFill/>
        </p:spPr>
        <p:txBody>
          <a:bodyPr wrap="square" rtlCol="0">
            <a:spAutoFit/>
          </a:bodyPr>
          <a:lstStyle/>
          <a:p>
            <a:pPr algn="ctr" defTabSz="685800">
              <a:defRPr/>
            </a:pPr>
            <a:r>
              <a:rPr lang="en-US" sz="1600" b="1" kern="0">
                <a:solidFill>
                  <a:schemeClr val="tx2"/>
                </a:solidFill>
                <a:latin typeface="Segoe UI Light" panose="020B0502040204020203" pitchFamily="34" charset="0"/>
                <a:cs typeface="Segoe UI Light" panose="020B0502040204020203" pitchFamily="34" charset="0"/>
              </a:rPr>
              <a:t>Step 4</a:t>
            </a:r>
          </a:p>
        </p:txBody>
      </p:sp>
      <p:sp>
        <p:nvSpPr>
          <p:cNvPr id="9" name="TextBox 8">
            <a:extLst>
              <a:ext uri="{FF2B5EF4-FFF2-40B4-BE49-F238E27FC236}">
                <a16:creationId xmlns:a16="http://schemas.microsoft.com/office/drawing/2014/main" id="{93B069EA-20C5-4112-A061-193DA80F5A49}"/>
              </a:ext>
            </a:extLst>
          </p:cNvPr>
          <p:cNvSpPr txBox="1"/>
          <p:nvPr/>
        </p:nvSpPr>
        <p:spPr>
          <a:xfrm>
            <a:off x="975511" y="4736783"/>
            <a:ext cx="1553680" cy="338554"/>
          </a:xfrm>
          <a:prstGeom prst="rect">
            <a:avLst/>
          </a:prstGeom>
          <a:noFill/>
        </p:spPr>
        <p:txBody>
          <a:bodyPr wrap="square" rtlCol="0">
            <a:spAutoFit/>
          </a:bodyPr>
          <a:lstStyle/>
          <a:p>
            <a:pPr defTabSz="685800">
              <a:defRPr/>
            </a:pPr>
            <a:r>
              <a:rPr lang="en-US" sz="1600" b="1" kern="0">
                <a:solidFill>
                  <a:srgbClr val="000000"/>
                </a:solidFill>
                <a:latin typeface="Segoe UI Light" panose="020B0502040204020203" pitchFamily="34" charset="0"/>
                <a:cs typeface="Segoe UI Light" panose="020B0502040204020203" pitchFamily="34" charset="0"/>
              </a:rPr>
              <a:t>Description</a:t>
            </a:r>
          </a:p>
        </p:txBody>
      </p:sp>
      <p:sp>
        <p:nvSpPr>
          <p:cNvPr id="10" name="TextBox 9">
            <a:extLst>
              <a:ext uri="{FF2B5EF4-FFF2-40B4-BE49-F238E27FC236}">
                <a16:creationId xmlns:a16="http://schemas.microsoft.com/office/drawing/2014/main" id="{BEC01070-5992-4977-8FD4-6D1A0CB9B1DA}"/>
              </a:ext>
            </a:extLst>
          </p:cNvPr>
          <p:cNvSpPr txBox="1"/>
          <p:nvPr/>
        </p:nvSpPr>
        <p:spPr>
          <a:xfrm>
            <a:off x="2966439" y="4319822"/>
            <a:ext cx="1553680" cy="338554"/>
          </a:xfrm>
          <a:prstGeom prst="rect">
            <a:avLst/>
          </a:prstGeom>
          <a:noFill/>
        </p:spPr>
        <p:txBody>
          <a:bodyPr wrap="square" rtlCol="0">
            <a:spAutoFit/>
          </a:bodyPr>
          <a:lstStyle/>
          <a:p>
            <a:pPr defTabSz="685800">
              <a:defRPr/>
            </a:pPr>
            <a:r>
              <a:rPr lang="en-US" sz="1600" b="1" kern="0">
                <a:solidFill>
                  <a:srgbClr val="000000"/>
                </a:solidFill>
                <a:latin typeface="Segoe UI Light" panose="020B0502040204020203" pitchFamily="34" charset="0"/>
                <a:cs typeface="Segoe UI Light" panose="020B0502040204020203" pitchFamily="34" charset="0"/>
              </a:rPr>
              <a:t>Description</a:t>
            </a:r>
          </a:p>
        </p:txBody>
      </p:sp>
      <p:sp>
        <p:nvSpPr>
          <p:cNvPr id="11" name="TextBox 10">
            <a:extLst>
              <a:ext uri="{FF2B5EF4-FFF2-40B4-BE49-F238E27FC236}">
                <a16:creationId xmlns:a16="http://schemas.microsoft.com/office/drawing/2014/main" id="{3F46CB81-49D9-471F-B8B0-A96F9332AB6C}"/>
              </a:ext>
            </a:extLst>
          </p:cNvPr>
          <p:cNvSpPr txBox="1"/>
          <p:nvPr/>
        </p:nvSpPr>
        <p:spPr>
          <a:xfrm>
            <a:off x="6987585" y="3637067"/>
            <a:ext cx="1553680" cy="338554"/>
          </a:xfrm>
          <a:prstGeom prst="rect">
            <a:avLst/>
          </a:prstGeom>
          <a:noFill/>
        </p:spPr>
        <p:txBody>
          <a:bodyPr wrap="square" rtlCol="0">
            <a:spAutoFit/>
          </a:bodyPr>
          <a:lstStyle/>
          <a:p>
            <a:pPr defTabSz="685800">
              <a:defRPr/>
            </a:pPr>
            <a:r>
              <a:rPr lang="en-US" sz="1600" b="1" kern="0">
                <a:solidFill>
                  <a:srgbClr val="000000"/>
                </a:solidFill>
                <a:latin typeface="Segoe UI Light" panose="020B0502040204020203" pitchFamily="34" charset="0"/>
                <a:cs typeface="Segoe UI Light" panose="020B0502040204020203" pitchFamily="34" charset="0"/>
              </a:rPr>
              <a:t>Description</a:t>
            </a:r>
          </a:p>
        </p:txBody>
      </p:sp>
      <p:sp>
        <p:nvSpPr>
          <p:cNvPr id="12" name="TextBox 11">
            <a:extLst>
              <a:ext uri="{FF2B5EF4-FFF2-40B4-BE49-F238E27FC236}">
                <a16:creationId xmlns:a16="http://schemas.microsoft.com/office/drawing/2014/main" id="{F0A65A14-83A8-4F7D-BDFE-8E776731E0D2}"/>
              </a:ext>
            </a:extLst>
          </p:cNvPr>
          <p:cNvSpPr txBox="1"/>
          <p:nvPr/>
        </p:nvSpPr>
        <p:spPr>
          <a:xfrm>
            <a:off x="5128883" y="3975621"/>
            <a:ext cx="1553680" cy="338554"/>
          </a:xfrm>
          <a:prstGeom prst="rect">
            <a:avLst/>
          </a:prstGeom>
          <a:noFill/>
        </p:spPr>
        <p:txBody>
          <a:bodyPr wrap="square" rtlCol="0">
            <a:spAutoFit/>
          </a:bodyPr>
          <a:lstStyle/>
          <a:p>
            <a:pPr defTabSz="685800">
              <a:defRPr/>
            </a:pPr>
            <a:r>
              <a:rPr lang="en-US" sz="1600" b="1" kern="0">
                <a:solidFill>
                  <a:srgbClr val="000000"/>
                </a:solidFill>
                <a:latin typeface="Segoe UI Light" panose="020B0502040204020203" pitchFamily="34" charset="0"/>
                <a:cs typeface="Segoe UI Light" panose="020B0502040204020203" pitchFamily="34" charset="0"/>
              </a:rPr>
              <a:t>Description</a:t>
            </a:r>
          </a:p>
        </p:txBody>
      </p:sp>
      <p:sp>
        <p:nvSpPr>
          <p:cNvPr id="13" name="TextBox 12">
            <a:extLst>
              <a:ext uri="{FF2B5EF4-FFF2-40B4-BE49-F238E27FC236}">
                <a16:creationId xmlns:a16="http://schemas.microsoft.com/office/drawing/2014/main" id="{746DCEBD-EB4A-4975-8A91-4BC6BB0BAE55}"/>
              </a:ext>
            </a:extLst>
          </p:cNvPr>
          <p:cNvSpPr txBox="1"/>
          <p:nvPr/>
        </p:nvSpPr>
        <p:spPr>
          <a:xfrm>
            <a:off x="9188190" y="3220934"/>
            <a:ext cx="1553680" cy="338554"/>
          </a:xfrm>
          <a:prstGeom prst="rect">
            <a:avLst/>
          </a:prstGeom>
          <a:noFill/>
        </p:spPr>
        <p:txBody>
          <a:bodyPr wrap="square" rtlCol="0">
            <a:spAutoFit/>
          </a:bodyPr>
          <a:lstStyle/>
          <a:p>
            <a:pPr defTabSz="685800">
              <a:defRPr/>
            </a:pPr>
            <a:r>
              <a:rPr lang="en-US" sz="1600" b="1" kern="0">
                <a:solidFill>
                  <a:srgbClr val="000000"/>
                </a:solidFill>
                <a:latin typeface="Segoe UI Light" panose="020B0502040204020203" pitchFamily="34" charset="0"/>
                <a:cs typeface="Segoe UI Light" panose="020B0502040204020203" pitchFamily="34" charset="0"/>
              </a:rPr>
              <a:t>Description</a:t>
            </a:r>
          </a:p>
        </p:txBody>
      </p:sp>
      <p:sp>
        <p:nvSpPr>
          <p:cNvPr id="15" name="TextBox 14">
            <a:extLst>
              <a:ext uri="{FF2B5EF4-FFF2-40B4-BE49-F238E27FC236}">
                <a16:creationId xmlns:a16="http://schemas.microsoft.com/office/drawing/2014/main" id="{F7720D49-F553-49A7-8415-D71D67DB6930}"/>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ea typeface="Quattrocento Sans"/>
                <a:cs typeface="Segoe UI Semibold" panose="020B0702040204020203" pitchFamily="34" charset="0"/>
                <a:sym typeface="Quattrocento Sans"/>
              </a:rPr>
              <a:t>This graphic is for a timeline</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278347477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94CEC40D-EEDB-43A1-B3AD-F46A396BF528}"/>
              </a:ext>
            </a:extLst>
          </p:cNvPr>
          <p:cNvGraphicFramePr/>
          <p:nvPr>
            <p:extLst>
              <p:ext uri="{D42A27DB-BD31-4B8C-83A1-F6EECF244321}">
                <p14:modId xmlns:p14="http://schemas.microsoft.com/office/powerpoint/2010/main" val="3675943850"/>
              </p:ext>
            </p:extLst>
          </p:nvPr>
        </p:nvGraphicFramePr>
        <p:xfrm>
          <a:off x="284480" y="1518073"/>
          <a:ext cx="5732780" cy="382185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Chart 3">
            <a:extLst>
              <a:ext uri="{FF2B5EF4-FFF2-40B4-BE49-F238E27FC236}">
                <a16:creationId xmlns:a16="http://schemas.microsoft.com/office/drawing/2014/main" id="{E9DEC770-C166-4AF3-83DA-B9454E117721}"/>
              </a:ext>
            </a:extLst>
          </p:cNvPr>
          <p:cNvGraphicFramePr/>
          <p:nvPr>
            <p:extLst>
              <p:ext uri="{D42A27DB-BD31-4B8C-83A1-F6EECF244321}">
                <p14:modId xmlns:p14="http://schemas.microsoft.com/office/powerpoint/2010/main" val="2198907650"/>
              </p:ext>
            </p:extLst>
          </p:nvPr>
        </p:nvGraphicFramePr>
        <p:xfrm>
          <a:off x="6096000" y="1518073"/>
          <a:ext cx="5732780" cy="3821853"/>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CA2F3E73-97DB-4E0B-A38E-07DC40B3D100}"/>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ea typeface="Quattrocento Sans"/>
                <a:cs typeface="Segoe UI Semibold" panose="020B0702040204020203" pitchFamily="34" charset="0"/>
                <a:sym typeface="Quattrocento Sans"/>
              </a:rPr>
              <a:t>This graphic is for one or a number of pie charts</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8040862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9061E2A-9B44-419B-B1EB-9BA07F90A8CB}"/>
              </a:ext>
            </a:extLst>
          </p:cNvPr>
          <p:cNvGrpSpPr/>
          <p:nvPr/>
        </p:nvGrpSpPr>
        <p:grpSpPr>
          <a:xfrm>
            <a:off x="3349929" y="1680780"/>
            <a:ext cx="6633808" cy="4339542"/>
            <a:chOff x="1622425" y="1860550"/>
            <a:chExt cx="5921375" cy="3873500"/>
          </a:xfrm>
          <a:solidFill>
            <a:srgbClr val="D9D9D9"/>
          </a:solidFill>
        </p:grpSpPr>
        <p:sp>
          <p:nvSpPr>
            <p:cNvPr id="4" name="Freeform 4">
              <a:extLst>
                <a:ext uri="{FF2B5EF4-FFF2-40B4-BE49-F238E27FC236}">
                  <a16:creationId xmlns:a16="http://schemas.microsoft.com/office/drawing/2014/main" id="{0B66D4EA-BFE7-47A7-8EB1-BE3F7CED31FC}"/>
                </a:ext>
              </a:extLst>
            </p:cNvPr>
            <p:cNvSpPr>
              <a:spLocks/>
            </p:cNvSpPr>
            <p:nvPr/>
          </p:nvSpPr>
          <p:spPr bwMode="auto">
            <a:xfrm>
              <a:off x="7105650" y="1860550"/>
              <a:ext cx="438150"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12700">
              <a:solidFill>
                <a:schemeClr val="bg1"/>
              </a:solidFill>
              <a:round/>
              <a:headEnd/>
              <a:tailEnd/>
            </a:ln>
          </p:spPr>
          <p:txBody>
            <a:bodyPr/>
            <a:lstStyle/>
            <a:p>
              <a:pPr>
                <a:defRPr/>
              </a:pPr>
              <a:endParaRPr lang="en-GB"/>
            </a:p>
          </p:txBody>
        </p:sp>
        <p:sp>
          <p:nvSpPr>
            <p:cNvPr id="5" name="Freeform 5">
              <a:extLst>
                <a:ext uri="{FF2B5EF4-FFF2-40B4-BE49-F238E27FC236}">
                  <a16:creationId xmlns:a16="http://schemas.microsoft.com/office/drawing/2014/main" id="{F7222BFF-99A4-4772-B0D8-AEF16B880F9A}"/>
                </a:ext>
              </a:extLst>
            </p:cNvPr>
            <p:cNvSpPr>
              <a:spLocks/>
            </p:cNvSpPr>
            <p:nvPr/>
          </p:nvSpPr>
          <p:spPr bwMode="auto">
            <a:xfrm>
              <a:off x="3427413" y="4129088"/>
              <a:ext cx="1611312"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12700">
              <a:solidFill>
                <a:schemeClr val="bg1"/>
              </a:solidFill>
              <a:round/>
              <a:headEnd/>
              <a:tailEnd/>
            </a:ln>
          </p:spPr>
          <p:txBody>
            <a:bodyPr/>
            <a:lstStyle/>
            <a:p>
              <a:pPr>
                <a:defRPr/>
              </a:pPr>
              <a:endParaRPr lang="en-GB"/>
            </a:p>
          </p:txBody>
        </p:sp>
        <p:sp>
          <p:nvSpPr>
            <p:cNvPr id="6" name="Freeform 6">
              <a:extLst>
                <a:ext uri="{FF2B5EF4-FFF2-40B4-BE49-F238E27FC236}">
                  <a16:creationId xmlns:a16="http://schemas.microsoft.com/office/drawing/2014/main" id="{3D4786DC-4762-477D-A850-7DE6F7010CC1}"/>
                </a:ext>
              </a:extLst>
            </p:cNvPr>
            <p:cNvSpPr>
              <a:spLocks/>
            </p:cNvSpPr>
            <p:nvPr/>
          </p:nvSpPr>
          <p:spPr bwMode="auto">
            <a:xfrm>
              <a:off x="4870450" y="4062413"/>
              <a:ext cx="560388"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12700">
              <a:solidFill>
                <a:schemeClr val="bg1"/>
              </a:solidFill>
              <a:round/>
              <a:headEnd/>
              <a:tailEnd/>
            </a:ln>
          </p:spPr>
          <p:txBody>
            <a:bodyPr/>
            <a:lstStyle/>
            <a:p>
              <a:pPr>
                <a:defRPr/>
              </a:pPr>
              <a:endParaRPr lang="en-GB"/>
            </a:p>
          </p:txBody>
        </p:sp>
        <p:sp>
          <p:nvSpPr>
            <p:cNvPr id="7" name="Freeform 7">
              <a:extLst>
                <a:ext uri="{FF2B5EF4-FFF2-40B4-BE49-F238E27FC236}">
                  <a16:creationId xmlns:a16="http://schemas.microsoft.com/office/drawing/2014/main" id="{D867E1A2-7253-48CE-A839-E44E98B82274}"/>
                </a:ext>
              </a:extLst>
            </p:cNvPr>
            <p:cNvSpPr>
              <a:spLocks/>
            </p:cNvSpPr>
            <p:nvPr/>
          </p:nvSpPr>
          <p:spPr bwMode="auto">
            <a:xfrm>
              <a:off x="4943475" y="4603750"/>
              <a:ext cx="684213"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12700">
              <a:solidFill>
                <a:schemeClr val="bg1"/>
              </a:solidFill>
              <a:round/>
              <a:headEnd/>
              <a:tailEnd/>
            </a:ln>
          </p:spPr>
          <p:txBody>
            <a:bodyPr/>
            <a:lstStyle/>
            <a:p>
              <a:pPr>
                <a:defRPr/>
              </a:pPr>
              <a:endParaRPr lang="en-GB"/>
            </a:p>
          </p:txBody>
        </p:sp>
        <p:sp>
          <p:nvSpPr>
            <p:cNvPr id="8" name="Freeform 8">
              <a:extLst>
                <a:ext uri="{FF2B5EF4-FFF2-40B4-BE49-F238E27FC236}">
                  <a16:creationId xmlns:a16="http://schemas.microsoft.com/office/drawing/2014/main" id="{95361210-B9D1-4EB2-B47A-61FD3A1AF7A7}"/>
                </a:ext>
              </a:extLst>
            </p:cNvPr>
            <p:cNvSpPr>
              <a:spLocks/>
            </p:cNvSpPr>
            <p:nvPr/>
          </p:nvSpPr>
          <p:spPr bwMode="auto">
            <a:xfrm>
              <a:off x="4476452" y="2130226"/>
              <a:ext cx="779760" cy="91270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12700">
              <a:solidFill>
                <a:schemeClr val="bg1"/>
              </a:solidFill>
              <a:round/>
              <a:headEnd/>
              <a:tailEnd/>
            </a:ln>
          </p:spPr>
          <p:txBody>
            <a:bodyPr/>
            <a:lstStyle/>
            <a:p>
              <a:pPr>
                <a:defRPr/>
              </a:pPr>
              <a:endParaRPr lang="en-GB"/>
            </a:p>
          </p:txBody>
        </p:sp>
        <p:sp>
          <p:nvSpPr>
            <p:cNvPr id="9" name="Freeform 9">
              <a:extLst>
                <a:ext uri="{FF2B5EF4-FFF2-40B4-BE49-F238E27FC236}">
                  <a16:creationId xmlns:a16="http://schemas.microsoft.com/office/drawing/2014/main" id="{6C30AECB-C2A6-4C49-8CF1-53F6AE2A1465}"/>
                </a:ext>
              </a:extLst>
            </p:cNvPr>
            <p:cNvSpPr>
              <a:spLocks/>
            </p:cNvSpPr>
            <p:nvPr/>
          </p:nvSpPr>
          <p:spPr bwMode="auto">
            <a:xfrm>
              <a:off x="4986338" y="2435225"/>
              <a:ext cx="579437"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12700">
              <a:solidFill>
                <a:schemeClr val="bg1"/>
              </a:solidFill>
              <a:round/>
              <a:headEnd/>
              <a:tailEnd/>
            </a:ln>
          </p:spPr>
          <p:txBody>
            <a:bodyPr/>
            <a:lstStyle/>
            <a:p>
              <a:pPr>
                <a:defRPr/>
              </a:pPr>
              <a:endParaRPr lang="en-GB"/>
            </a:p>
          </p:txBody>
        </p:sp>
        <p:sp>
          <p:nvSpPr>
            <p:cNvPr id="10" name="Freeform 10">
              <a:extLst>
                <a:ext uri="{FF2B5EF4-FFF2-40B4-BE49-F238E27FC236}">
                  <a16:creationId xmlns:a16="http://schemas.microsoft.com/office/drawing/2014/main" id="{9624D86F-E4E5-4166-94BE-203AD9BF806A}"/>
                </a:ext>
              </a:extLst>
            </p:cNvPr>
            <p:cNvSpPr>
              <a:spLocks/>
            </p:cNvSpPr>
            <p:nvPr/>
          </p:nvSpPr>
          <p:spPr bwMode="auto">
            <a:xfrm>
              <a:off x="5213350" y="2333625"/>
              <a:ext cx="625475"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12700">
              <a:solidFill>
                <a:schemeClr val="bg1"/>
              </a:solidFill>
              <a:round/>
              <a:headEnd/>
              <a:tailEnd/>
            </a:ln>
          </p:spPr>
          <p:txBody>
            <a:bodyPr/>
            <a:lstStyle/>
            <a:p>
              <a:pPr>
                <a:defRPr/>
              </a:pPr>
              <a:endParaRPr lang="en-GB"/>
            </a:p>
          </p:txBody>
        </p:sp>
        <p:sp>
          <p:nvSpPr>
            <p:cNvPr id="11" name="Freeform 11">
              <a:extLst>
                <a:ext uri="{FF2B5EF4-FFF2-40B4-BE49-F238E27FC236}">
                  <a16:creationId xmlns:a16="http://schemas.microsoft.com/office/drawing/2014/main" id="{D6CA2EDF-54C3-4AF6-B1C0-F51612565C3F}"/>
                </a:ext>
              </a:extLst>
            </p:cNvPr>
            <p:cNvSpPr>
              <a:spLocks/>
            </p:cNvSpPr>
            <p:nvPr/>
          </p:nvSpPr>
          <p:spPr bwMode="auto">
            <a:xfrm>
              <a:off x="5627688" y="2536825"/>
              <a:ext cx="444500"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12700">
              <a:solidFill>
                <a:schemeClr val="bg1"/>
              </a:solidFill>
              <a:round/>
              <a:headEnd/>
              <a:tailEnd/>
            </a:ln>
          </p:spPr>
          <p:txBody>
            <a:bodyPr/>
            <a:lstStyle/>
            <a:p>
              <a:pPr>
                <a:defRPr/>
              </a:pPr>
              <a:endParaRPr lang="en-GB"/>
            </a:p>
          </p:txBody>
        </p:sp>
        <p:sp>
          <p:nvSpPr>
            <p:cNvPr id="12" name="Freeform 12">
              <a:extLst>
                <a:ext uri="{FF2B5EF4-FFF2-40B4-BE49-F238E27FC236}">
                  <a16:creationId xmlns:a16="http://schemas.microsoft.com/office/drawing/2014/main" id="{A32D7B42-FFFB-4D78-BC5F-B7C3655F5968}"/>
                </a:ext>
              </a:extLst>
            </p:cNvPr>
            <p:cNvSpPr>
              <a:spLocks/>
            </p:cNvSpPr>
            <p:nvPr/>
          </p:nvSpPr>
          <p:spPr bwMode="auto">
            <a:xfrm>
              <a:off x="6194425" y="4090988"/>
              <a:ext cx="57150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grpFill/>
            <a:ln w="12700">
              <a:solidFill>
                <a:schemeClr val="bg1"/>
              </a:solidFill>
              <a:round/>
              <a:headEnd/>
              <a:tailEnd/>
            </a:ln>
          </p:spPr>
          <p:txBody>
            <a:bodyPr/>
            <a:lstStyle/>
            <a:p>
              <a:pPr>
                <a:defRPr/>
              </a:pPr>
              <a:endParaRPr lang="en-GB"/>
            </a:p>
          </p:txBody>
        </p:sp>
        <p:sp>
          <p:nvSpPr>
            <p:cNvPr id="13" name="Freeform 13">
              <a:extLst>
                <a:ext uri="{FF2B5EF4-FFF2-40B4-BE49-F238E27FC236}">
                  <a16:creationId xmlns:a16="http://schemas.microsoft.com/office/drawing/2014/main" id="{6817E76B-D347-4369-A312-E3FD715791A4}"/>
                </a:ext>
              </a:extLst>
            </p:cNvPr>
            <p:cNvSpPr>
              <a:spLocks/>
            </p:cNvSpPr>
            <p:nvPr/>
          </p:nvSpPr>
          <p:spPr bwMode="auto">
            <a:xfrm>
              <a:off x="6121400" y="3375025"/>
              <a:ext cx="860425"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12700">
              <a:solidFill>
                <a:schemeClr val="bg1"/>
              </a:solidFill>
              <a:round/>
              <a:headEnd/>
              <a:tailEnd/>
            </a:ln>
          </p:spPr>
          <p:txBody>
            <a:bodyPr/>
            <a:lstStyle/>
            <a:p>
              <a:pPr>
                <a:defRPr/>
              </a:pPr>
              <a:endParaRPr lang="en-GB"/>
            </a:p>
          </p:txBody>
        </p:sp>
        <p:sp>
          <p:nvSpPr>
            <p:cNvPr id="14" name="Freeform 14">
              <a:extLst>
                <a:ext uri="{FF2B5EF4-FFF2-40B4-BE49-F238E27FC236}">
                  <a16:creationId xmlns:a16="http://schemas.microsoft.com/office/drawing/2014/main" id="{FC87E636-05F8-4FF1-B2B3-F8BA6A3A6954}"/>
                </a:ext>
              </a:extLst>
            </p:cNvPr>
            <p:cNvSpPr>
              <a:spLocks/>
            </p:cNvSpPr>
            <p:nvPr/>
          </p:nvSpPr>
          <p:spPr bwMode="auto">
            <a:xfrm>
              <a:off x="6289675" y="2908300"/>
              <a:ext cx="660400"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12700">
              <a:solidFill>
                <a:schemeClr val="bg1"/>
              </a:solidFill>
              <a:round/>
              <a:headEnd/>
              <a:tailEnd/>
            </a:ln>
          </p:spPr>
          <p:txBody>
            <a:bodyPr/>
            <a:lstStyle/>
            <a:p>
              <a:pPr>
                <a:defRPr/>
              </a:pPr>
              <a:endParaRPr lang="en-GB"/>
            </a:p>
          </p:txBody>
        </p:sp>
        <p:sp>
          <p:nvSpPr>
            <p:cNvPr id="15" name="Freeform 15">
              <a:extLst>
                <a:ext uri="{FF2B5EF4-FFF2-40B4-BE49-F238E27FC236}">
                  <a16:creationId xmlns:a16="http://schemas.microsoft.com/office/drawing/2014/main" id="{74ABB831-33A3-4E08-BE17-760ACC73D158}"/>
                </a:ext>
              </a:extLst>
            </p:cNvPr>
            <p:cNvSpPr>
              <a:spLocks/>
            </p:cNvSpPr>
            <p:nvPr/>
          </p:nvSpPr>
          <p:spPr bwMode="auto">
            <a:xfrm>
              <a:off x="6453188" y="3279775"/>
              <a:ext cx="561975"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12700">
              <a:solidFill>
                <a:schemeClr val="bg1"/>
              </a:solidFill>
              <a:round/>
              <a:headEnd/>
              <a:tailEnd/>
            </a:ln>
          </p:spPr>
          <p:txBody>
            <a:bodyPr/>
            <a:lstStyle/>
            <a:p>
              <a:pPr>
                <a:defRPr/>
              </a:pPr>
              <a:endParaRPr lang="en-GB"/>
            </a:p>
          </p:txBody>
        </p:sp>
        <p:sp>
          <p:nvSpPr>
            <p:cNvPr id="16" name="Freeform 16">
              <a:extLst>
                <a:ext uri="{FF2B5EF4-FFF2-40B4-BE49-F238E27FC236}">
                  <a16:creationId xmlns:a16="http://schemas.microsoft.com/office/drawing/2014/main" id="{3FDD37B1-4614-4368-9619-0FD2BFBB9218}"/>
                </a:ext>
              </a:extLst>
            </p:cNvPr>
            <p:cNvSpPr>
              <a:spLocks/>
            </p:cNvSpPr>
            <p:nvPr/>
          </p:nvSpPr>
          <p:spPr bwMode="auto">
            <a:xfrm>
              <a:off x="2689225" y="2052638"/>
              <a:ext cx="1155700"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12700">
              <a:solidFill>
                <a:schemeClr val="bg1"/>
              </a:solidFill>
              <a:round/>
              <a:headEnd/>
              <a:tailEnd/>
            </a:ln>
          </p:spPr>
          <p:txBody>
            <a:bodyPr/>
            <a:lstStyle/>
            <a:p>
              <a:pPr>
                <a:defRPr/>
              </a:pPr>
              <a:endParaRPr lang="en-GB"/>
            </a:p>
          </p:txBody>
        </p:sp>
        <p:sp>
          <p:nvSpPr>
            <p:cNvPr id="17" name="Freeform 17">
              <a:extLst>
                <a:ext uri="{FF2B5EF4-FFF2-40B4-BE49-F238E27FC236}">
                  <a16:creationId xmlns:a16="http://schemas.microsoft.com/office/drawing/2014/main" id="{E74B1DD2-54C1-4FC9-A394-E891777FA1C7}"/>
                </a:ext>
              </a:extLst>
            </p:cNvPr>
            <p:cNvSpPr>
              <a:spLocks/>
            </p:cNvSpPr>
            <p:nvPr/>
          </p:nvSpPr>
          <p:spPr bwMode="auto">
            <a:xfrm>
              <a:off x="4710113" y="3459163"/>
              <a:ext cx="768350"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12700">
              <a:solidFill>
                <a:schemeClr val="bg1"/>
              </a:solidFill>
              <a:round/>
              <a:headEnd/>
              <a:tailEnd/>
            </a:ln>
          </p:spPr>
          <p:txBody>
            <a:bodyPr/>
            <a:lstStyle/>
            <a:p>
              <a:pPr>
                <a:defRPr/>
              </a:pPr>
              <a:endParaRPr lang="en-GB"/>
            </a:p>
          </p:txBody>
        </p:sp>
        <p:sp>
          <p:nvSpPr>
            <p:cNvPr id="18" name="Freeform 18">
              <a:extLst>
                <a:ext uri="{FF2B5EF4-FFF2-40B4-BE49-F238E27FC236}">
                  <a16:creationId xmlns:a16="http://schemas.microsoft.com/office/drawing/2014/main" id="{65CA41D8-EC11-4DB3-B2A2-E29F437567DC}"/>
                </a:ext>
              </a:extLst>
            </p:cNvPr>
            <p:cNvSpPr>
              <a:spLocks/>
            </p:cNvSpPr>
            <p:nvPr/>
          </p:nvSpPr>
          <p:spPr bwMode="auto">
            <a:xfrm>
              <a:off x="5551488" y="3173413"/>
              <a:ext cx="374650"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12700">
              <a:solidFill>
                <a:schemeClr val="bg1"/>
              </a:solidFill>
              <a:round/>
              <a:headEnd/>
              <a:tailEnd/>
            </a:ln>
          </p:spPr>
          <p:txBody>
            <a:bodyPr/>
            <a:lstStyle/>
            <a:p>
              <a:pPr>
                <a:defRPr/>
              </a:pPr>
              <a:endParaRPr lang="en-GB"/>
            </a:p>
          </p:txBody>
        </p:sp>
        <p:sp>
          <p:nvSpPr>
            <p:cNvPr id="19" name="Freeform 19">
              <a:extLst>
                <a:ext uri="{FF2B5EF4-FFF2-40B4-BE49-F238E27FC236}">
                  <a16:creationId xmlns:a16="http://schemas.microsoft.com/office/drawing/2014/main" id="{41C00F87-6277-46D9-BCCF-F100C6767710}"/>
                </a:ext>
              </a:extLst>
            </p:cNvPr>
            <p:cNvSpPr>
              <a:spLocks/>
            </p:cNvSpPr>
            <p:nvPr/>
          </p:nvSpPr>
          <p:spPr bwMode="auto">
            <a:xfrm>
              <a:off x="5842000" y="3038475"/>
              <a:ext cx="482600"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12700">
              <a:solidFill>
                <a:schemeClr val="bg1"/>
              </a:solidFill>
              <a:round/>
              <a:headEnd/>
              <a:tailEnd/>
            </a:ln>
          </p:spPr>
          <p:txBody>
            <a:bodyPr/>
            <a:lstStyle/>
            <a:p>
              <a:pPr>
                <a:defRPr/>
              </a:pPr>
              <a:endParaRPr lang="en-GB"/>
            </a:p>
          </p:txBody>
        </p:sp>
        <p:sp>
          <p:nvSpPr>
            <p:cNvPr id="20" name="Freeform 20">
              <a:extLst>
                <a:ext uri="{FF2B5EF4-FFF2-40B4-BE49-F238E27FC236}">
                  <a16:creationId xmlns:a16="http://schemas.microsoft.com/office/drawing/2014/main" id="{47523219-B961-4E5A-8F58-3ECE729FF64D}"/>
                </a:ext>
              </a:extLst>
            </p:cNvPr>
            <p:cNvSpPr>
              <a:spLocks/>
            </p:cNvSpPr>
            <p:nvPr/>
          </p:nvSpPr>
          <p:spPr bwMode="auto">
            <a:xfrm>
              <a:off x="5414963" y="3579813"/>
              <a:ext cx="847725"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12700">
              <a:solidFill>
                <a:schemeClr val="bg1"/>
              </a:solidFill>
              <a:round/>
              <a:headEnd/>
              <a:tailEnd/>
            </a:ln>
          </p:spPr>
          <p:txBody>
            <a:bodyPr/>
            <a:lstStyle/>
            <a:p>
              <a:pPr>
                <a:defRPr/>
              </a:pPr>
              <a:endParaRPr lang="en-GB"/>
            </a:p>
          </p:txBody>
        </p:sp>
        <p:sp>
          <p:nvSpPr>
            <p:cNvPr id="21" name="Freeform 21">
              <a:extLst>
                <a:ext uri="{FF2B5EF4-FFF2-40B4-BE49-F238E27FC236}">
                  <a16:creationId xmlns:a16="http://schemas.microsoft.com/office/drawing/2014/main" id="{DD0370BE-2199-4BFF-803C-274922926375}"/>
                </a:ext>
              </a:extLst>
            </p:cNvPr>
            <p:cNvSpPr>
              <a:spLocks/>
            </p:cNvSpPr>
            <p:nvPr/>
          </p:nvSpPr>
          <p:spPr bwMode="auto">
            <a:xfrm>
              <a:off x="5356225" y="3905250"/>
              <a:ext cx="977900"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12700">
              <a:solidFill>
                <a:schemeClr val="bg1"/>
              </a:solidFill>
              <a:round/>
              <a:headEnd/>
              <a:tailEnd/>
            </a:ln>
          </p:spPr>
          <p:txBody>
            <a:bodyPr/>
            <a:lstStyle/>
            <a:p>
              <a:pPr>
                <a:defRPr/>
              </a:pPr>
              <a:endParaRPr lang="en-GB"/>
            </a:p>
          </p:txBody>
        </p:sp>
        <p:sp>
          <p:nvSpPr>
            <p:cNvPr id="22" name="Freeform 22">
              <a:extLst>
                <a:ext uri="{FF2B5EF4-FFF2-40B4-BE49-F238E27FC236}">
                  <a16:creationId xmlns:a16="http://schemas.microsoft.com/office/drawing/2014/main" id="{20631512-4C9F-4770-9855-B5E39085EED7}"/>
                </a:ext>
              </a:extLst>
            </p:cNvPr>
            <p:cNvSpPr>
              <a:spLocks/>
            </p:cNvSpPr>
            <p:nvPr/>
          </p:nvSpPr>
          <p:spPr bwMode="auto">
            <a:xfrm>
              <a:off x="5788025" y="4787900"/>
              <a:ext cx="1069975"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12700">
              <a:solidFill>
                <a:schemeClr val="bg1"/>
              </a:solidFill>
              <a:round/>
              <a:headEnd/>
              <a:tailEnd/>
            </a:ln>
          </p:spPr>
          <p:txBody>
            <a:bodyPr/>
            <a:lstStyle/>
            <a:p>
              <a:pPr>
                <a:defRPr/>
              </a:pPr>
              <a:endParaRPr lang="en-GB"/>
            </a:p>
          </p:txBody>
        </p:sp>
        <p:sp>
          <p:nvSpPr>
            <p:cNvPr id="23" name="Freeform 23">
              <a:extLst>
                <a:ext uri="{FF2B5EF4-FFF2-40B4-BE49-F238E27FC236}">
                  <a16:creationId xmlns:a16="http://schemas.microsoft.com/office/drawing/2014/main" id="{7FA01EE4-E721-4E36-9B60-5C8060200D0A}"/>
                </a:ext>
              </a:extLst>
            </p:cNvPr>
            <p:cNvSpPr>
              <a:spLocks/>
            </p:cNvSpPr>
            <p:nvPr/>
          </p:nvSpPr>
          <p:spPr bwMode="auto">
            <a:xfrm>
              <a:off x="6181725" y="3260725"/>
              <a:ext cx="488950"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12700">
              <a:solidFill>
                <a:schemeClr val="bg1"/>
              </a:solidFill>
              <a:round/>
              <a:headEnd/>
              <a:tailEnd/>
            </a:ln>
          </p:spPr>
          <p:txBody>
            <a:bodyPr/>
            <a:lstStyle/>
            <a:p>
              <a:pPr>
                <a:defRPr/>
              </a:pPr>
              <a:endParaRPr lang="en-GB"/>
            </a:p>
          </p:txBody>
        </p:sp>
        <p:sp>
          <p:nvSpPr>
            <p:cNvPr id="24" name="Freeform 24">
              <a:extLst>
                <a:ext uri="{FF2B5EF4-FFF2-40B4-BE49-F238E27FC236}">
                  <a16:creationId xmlns:a16="http://schemas.microsoft.com/office/drawing/2014/main" id="{D15E5393-42B9-4426-955E-79AE929890C1}"/>
                </a:ext>
              </a:extLst>
            </p:cNvPr>
            <p:cNvSpPr>
              <a:spLocks/>
            </p:cNvSpPr>
            <p:nvPr/>
          </p:nvSpPr>
          <p:spPr bwMode="auto">
            <a:xfrm>
              <a:off x="6916738" y="2346325"/>
              <a:ext cx="192087"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12700">
              <a:solidFill>
                <a:schemeClr val="bg1"/>
              </a:solidFill>
              <a:round/>
              <a:headEnd/>
              <a:tailEnd/>
            </a:ln>
          </p:spPr>
          <p:txBody>
            <a:bodyPr/>
            <a:lstStyle/>
            <a:p>
              <a:pPr>
                <a:defRPr/>
              </a:pPr>
              <a:endParaRPr lang="en-GB"/>
            </a:p>
          </p:txBody>
        </p:sp>
        <p:sp>
          <p:nvSpPr>
            <p:cNvPr id="25" name="Freeform 25">
              <a:extLst>
                <a:ext uri="{FF2B5EF4-FFF2-40B4-BE49-F238E27FC236}">
                  <a16:creationId xmlns:a16="http://schemas.microsoft.com/office/drawing/2014/main" id="{4CDE8588-4408-4FCF-A516-4C9A0FF8FF47}"/>
                </a:ext>
              </a:extLst>
            </p:cNvPr>
            <p:cNvSpPr>
              <a:spLocks/>
            </p:cNvSpPr>
            <p:nvPr/>
          </p:nvSpPr>
          <p:spPr bwMode="auto">
            <a:xfrm>
              <a:off x="7008813" y="2647950"/>
              <a:ext cx="411162"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12700">
              <a:solidFill>
                <a:schemeClr val="bg1"/>
              </a:solidFill>
              <a:round/>
              <a:headEnd/>
              <a:tailEnd/>
            </a:ln>
          </p:spPr>
          <p:txBody>
            <a:bodyPr/>
            <a:lstStyle/>
            <a:p>
              <a:pPr>
                <a:defRPr/>
              </a:pPr>
              <a:endParaRPr lang="en-GB"/>
            </a:p>
          </p:txBody>
        </p:sp>
        <p:sp>
          <p:nvSpPr>
            <p:cNvPr id="26" name="Freeform 26">
              <a:extLst>
                <a:ext uri="{FF2B5EF4-FFF2-40B4-BE49-F238E27FC236}">
                  <a16:creationId xmlns:a16="http://schemas.microsoft.com/office/drawing/2014/main" id="{EF2B5ACA-E188-420A-B6A8-29E28CDA0110}"/>
                </a:ext>
              </a:extLst>
            </p:cNvPr>
            <p:cNvSpPr>
              <a:spLocks/>
            </p:cNvSpPr>
            <p:nvPr/>
          </p:nvSpPr>
          <p:spPr bwMode="auto">
            <a:xfrm>
              <a:off x="7056438" y="2271713"/>
              <a:ext cx="227012"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12700">
              <a:solidFill>
                <a:schemeClr val="bg1"/>
              </a:solidFill>
              <a:round/>
              <a:headEnd/>
              <a:tailEnd/>
            </a:ln>
          </p:spPr>
          <p:txBody>
            <a:bodyPr/>
            <a:lstStyle/>
            <a:p>
              <a:pPr>
                <a:defRPr/>
              </a:pPr>
              <a:endParaRPr lang="en-GB"/>
            </a:p>
          </p:txBody>
        </p:sp>
        <p:grpSp>
          <p:nvGrpSpPr>
            <p:cNvPr id="27" name="Group 26">
              <a:extLst>
                <a:ext uri="{FF2B5EF4-FFF2-40B4-BE49-F238E27FC236}">
                  <a16:creationId xmlns:a16="http://schemas.microsoft.com/office/drawing/2014/main" id="{D83A0886-D7ED-47FD-9ACA-C965AE44E2A4}"/>
                </a:ext>
              </a:extLst>
            </p:cNvPr>
            <p:cNvGrpSpPr>
              <a:grpSpLocks/>
            </p:cNvGrpSpPr>
            <p:nvPr/>
          </p:nvGrpSpPr>
          <p:grpSpPr bwMode="auto">
            <a:xfrm>
              <a:off x="2030693" y="2176832"/>
              <a:ext cx="5263492" cy="2675059"/>
              <a:chOff x="1657" y="1277"/>
              <a:chExt cx="2764" cy="1404"/>
            </a:xfrm>
            <a:grpFill/>
          </p:grpSpPr>
          <p:sp>
            <p:nvSpPr>
              <p:cNvPr id="40" name="Freeform 28">
                <a:extLst>
                  <a:ext uri="{FF2B5EF4-FFF2-40B4-BE49-F238E27FC236}">
                    <a16:creationId xmlns:a16="http://schemas.microsoft.com/office/drawing/2014/main" id="{7B02A46D-1F97-4FC1-BDCD-F056071E8561}"/>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12700">
                <a:solidFill>
                  <a:schemeClr val="bg1"/>
                </a:solidFill>
                <a:round/>
                <a:headEnd/>
                <a:tailEnd/>
              </a:ln>
            </p:spPr>
            <p:txBody>
              <a:bodyPr/>
              <a:lstStyle/>
              <a:p>
                <a:pPr>
                  <a:defRPr/>
                </a:pPr>
                <a:endParaRPr lang="en-GB"/>
              </a:p>
            </p:txBody>
          </p:sp>
          <p:sp>
            <p:nvSpPr>
              <p:cNvPr id="41" name="Freeform 29">
                <a:extLst>
                  <a:ext uri="{FF2B5EF4-FFF2-40B4-BE49-F238E27FC236}">
                    <a16:creationId xmlns:a16="http://schemas.microsoft.com/office/drawing/2014/main" id="{93876793-02D6-4BF7-A30B-B8A269427141}"/>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12700">
                <a:solidFill>
                  <a:schemeClr val="bg1"/>
                </a:solidFill>
                <a:round/>
                <a:headEnd/>
                <a:tailEnd/>
              </a:ln>
            </p:spPr>
            <p:txBody>
              <a:bodyPr/>
              <a:lstStyle/>
              <a:p>
                <a:pPr>
                  <a:defRPr/>
                </a:pPr>
                <a:endParaRPr lang="en-GB"/>
              </a:p>
            </p:txBody>
          </p:sp>
          <p:sp>
            <p:nvSpPr>
              <p:cNvPr id="42" name="Freeform 30">
                <a:extLst>
                  <a:ext uri="{FF2B5EF4-FFF2-40B4-BE49-F238E27FC236}">
                    <a16:creationId xmlns:a16="http://schemas.microsoft.com/office/drawing/2014/main" id="{D1F28C20-DAC6-4053-BCE2-CD096AC611E8}"/>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12700">
                <a:solidFill>
                  <a:schemeClr val="bg1"/>
                </a:solidFill>
                <a:round/>
                <a:headEnd/>
                <a:tailEnd/>
              </a:ln>
            </p:spPr>
            <p:txBody>
              <a:bodyPr/>
              <a:lstStyle/>
              <a:p>
                <a:pPr>
                  <a:defRPr/>
                </a:pPr>
                <a:endParaRPr lang="en-GB"/>
              </a:p>
            </p:txBody>
          </p:sp>
          <p:sp>
            <p:nvSpPr>
              <p:cNvPr id="43" name="Freeform 31">
                <a:extLst>
                  <a:ext uri="{FF2B5EF4-FFF2-40B4-BE49-F238E27FC236}">
                    <a16:creationId xmlns:a16="http://schemas.microsoft.com/office/drawing/2014/main" id="{85FBBB1F-1A25-4AD4-A9B3-73994EAA1306}"/>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12700">
                <a:solidFill>
                  <a:schemeClr val="bg1"/>
                </a:solidFill>
                <a:round/>
                <a:headEnd/>
                <a:tailEnd/>
              </a:ln>
            </p:spPr>
            <p:txBody>
              <a:bodyPr/>
              <a:lstStyle/>
              <a:p>
                <a:pPr>
                  <a:defRPr/>
                </a:pPr>
                <a:endParaRPr lang="en-GB"/>
              </a:p>
            </p:txBody>
          </p:sp>
          <p:sp>
            <p:nvSpPr>
              <p:cNvPr id="44" name="Freeform 32">
                <a:extLst>
                  <a:ext uri="{FF2B5EF4-FFF2-40B4-BE49-F238E27FC236}">
                    <a16:creationId xmlns:a16="http://schemas.microsoft.com/office/drawing/2014/main" id="{CA2FF715-F534-4D42-9386-AB3720A78372}"/>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12700">
                <a:solidFill>
                  <a:schemeClr val="bg1"/>
                </a:solidFill>
                <a:round/>
                <a:headEnd/>
                <a:tailEnd/>
              </a:ln>
            </p:spPr>
            <p:txBody>
              <a:bodyPr/>
              <a:lstStyle/>
              <a:p>
                <a:pPr>
                  <a:defRPr/>
                </a:pPr>
                <a:endParaRPr lang="en-GB"/>
              </a:p>
            </p:txBody>
          </p:sp>
          <p:sp>
            <p:nvSpPr>
              <p:cNvPr id="45" name="Freeform 33">
                <a:extLst>
                  <a:ext uri="{FF2B5EF4-FFF2-40B4-BE49-F238E27FC236}">
                    <a16:creationId xmlns:a16="http://schemas.microsoft.com/office/drawing/2014/main" id="{19B1FDA7-2165-4BF5-9343-9525F4C4889B}"/>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12700">
                <a:solidFill>
                  <a:schemeClr val="bg1"/>
                </a:solidFill>
                <a:round/>
                <a:headEnd/>
                <a:tailEnd/>
              </a:ln>
            </p:spPr>
            <p:txBody>
              <a:bodyPr/>
              <a:lstStyle/>
              <a:p>
                <a:pPr>
                  <a:defRPr/>
                </a:pPr>
                <a:endParaRPr lang="en-GB"/>
              </a:p>
            </p:txBody>
          </p:sp>
          <p:sp>
            <p:nvSpPr>
              <p:cNvPr id="46" name="Freeform 34">
                <a:extLst>
                  <a:ext uri="{FF2B5EF4-FFF2-40B4-BE49-F238E27FC236}">
                    <a16:creationId xmlns:a16="http://schemas.microsoft.com/office/drawing/2014/main" id="{36786D66-7536-4011-9BF6-DC31AF42EBB1}"/>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12700">
                <a:solidFill>
                  <a:schemeClr val="bg1"/>
                </a:solidFill>
                <a:round/>
                <a:headEnd/>
                <a:tailEnd/>
              </a:ln>
            </p:spPr>
            <p:txBody>
              <a:bodyPr/>
              <a:lstStyle/>
              <a:p>
                <a:pPr>
                  <a:defRPr/>
                </a:pPr>
                <a:endParaRPr lang="en-GB"/>
              </a:p>
            </p:txBody>
          </p:sp>
          <p:sp>
            <p:nvSpPr>
              <p:cNvPr id="47" name="Freeform 35">
                <a:extLst>
                  <a:ext uri="{FF2B5EF4-FFF2-40B4-BE49-F238E27FC236}">
                    <a16:creationId xmlns:a16="http://schemas.microsoft.com/office/drawing/2014/main" id="{80134431-78CC-420D-9F0C-5CD729D77510}"/>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12700">
                <a:solidFill>
                  <a:schemeClr val="bg1"/>
                </a:solidFill>
                <a:round/>
                <a:headEnd/>
                <a:tailEnd/>
              </a:ln>
            </p:spPr>
            <p:txBody>
              <a:bodyPr/>
              <a:lstStyle/>
              <a:p>
                <a:pPr>
                  <a:defRPr/>
                </a:pPr>
                <a:endParaRPr lang="en-GB"/>
              </a:p>
            </p:txBody>
          </p:sp>
          <p:sp>
            <p:nvSpPr>
              <p:cNvPr id="48" name="Freeform 36">
                <a:extLst>
                  <a:ext uri="{FF2B5EF4-FFF2-40B4-BE49-F238E27FC236}">
                    <a16:creationId xmlns:a16="http://schemas.microsoft.com/office/drawing/2014/main" id="{BD9D568B-AF2E-41F0-AE80-B3E5E8F12AE0}"/>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12700">
                <a:solidFill>
                  <a:schemeClr val="bg1"/>
                </a:solidFill>
                <a:round/>
                <a:headEnd/>
                <a:tailEnd/>
              </a:ln>
            </p:spPr>
            <p:txBody>
              <a:bodyPr/>
              <a:lstStyle/>
              <a:p>
                <a:pPr>
                  <a:defRPr/>
                </a:pPr>
                <a:endParaRPr lang="en-GB"/>
              </a:p>
            </p:txBody>
          </p:sp>
          <p:sp>
            <p:nvSpPr>
              <p:cNvPr id="49" name="Freeform 37">
                <a:extLst>
                  <a:ext uri="{FF2B5EF4-FFF2-40B4-BE49-F238E27FC236}">
                    <a16:creationId xmlns:a16="http://schemas.microsoft.com/office/drawing/2014/main" id="{143553EA-D304-490B-ACC4-E0415CD1D54F}"/>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12700">
                <a:solidFill>
                  <a:schemeClr val="bg1"/>
                </a:solidFill>
                <a:round/>
                <a:headEnd/>
                <a:tailEnd/>
              </a:ln>
            </p:spPr>
            <p:txBody>
              <a:bodyPr/>
              <a:lstStyle/>
              <a:p>
                <a:pPr>
                  <a:defRPr/>
                </a:pPr>
                <a:endParaRPr lang="en-GB"/>
              </a:p>
            </p:txBody>
          </p:sp>
          <p:sp>
            <p:nvSpPr>
              <p:cNvPr id="50" name="Freeform 38">
                <a:extLst>
                  <a:ext uri="{FF2B5EF4-FFF2-40B4-BE49-F238E27FC236}">
                    <a16:creationId xmlns:a16="http://schemas.microsoft.com/office/drawing/2014/main" id="{8F0D4F1F-AB28-45E9-96F5-1F8DC00A8942}"/>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12700">
                <a:solidFill>
                  <a:schemeClr val="bg1"/>
                </a:solidFill>
                <a:round/>
                <a:headEnd/>
                <a:tailEnd/>
              </a:ln>
            </p:spPr>
            <p:txBody>
              <a:bodyPr/>
              <a:lstStyle/>
              <a:p>
                <a:pPr>
                  <a:defRPr/>
                </a:pPr>
                <a:endParaRPr lang="en-GB"/>
              </a:p>
            </p:txBody>
          </p:sp>
          <p:sp>
            <p:nvSpPr>
              <p:cNvPr id="51" name="Freeform 39">
                <a:extLst>
                  <a:ext uri="{FF2B5EF4-FFF2-40B4-BE49-F238E27FC236}">
                    <a16:creationId xmlns:a16="http://schemas.microsoft.com/office/drawing/2014/main" id="{88C33F3D-7CB7-4571-8DEE-F38CA5D4824A}"/>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12700">
                <a:solidFill>
                  <a:schemeClr val="bg1"/>
                </a:solidFill>
                <a:round/>
                <a:headEnd/>
                <a:tailEnd/>
              </a:ln>
            </p:spPr>
            <p:txBody>
              <a:bodyPr/>
              <a:lstStyle/>
              <a:p>
                <a:pPr>
                  <a:defRPr/>
                </a:pPr>
                <a:endParaRPr lang="en-GB"/>
              </a:p>
            </p:txBody>
          </p:sp>
          <p:sp>
            <p:nvSpPr>
              <p:cNvPr id="52" name="Freeform 40">
                <a:extLst>
                  <a:ext uri="{FF2B5EF4-FFF2-40B4-BE49-F238E27FC236}">
                    <a16:creationId xmlns:a16="http://schemas.microsoft.com/office/drawing/2014/main" id="{B77BDF3B-AEFA-45C8-9BE7-2658745B865B}"/>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12700">
                <a:solidFill>
                  <a:schemeClr val="bg1"/>
                </a:solidFill>
                <a:round/>
                <a:headEnd/>
                <a:tailEnd/>
              </a:ln>
            </p:spPr>
            <p:txBody>
              <a:bodyPr/>
              <a:lstStyle/>
              <a:p>
                <a:pPr>
                  <a:defRPr/>
                </a:pPr>
                <a:endParaRPr lang="en-GB"/>
              </a:p>
            </p:txBody>
          </p:sp>
          <p:sp>
            <p:nvSpPr>
              <p:cNvPr id="53" name="Freeform 41">
                <a:extLst>
                  <a:ext uri="{FF2B5EF4-FFF2-40B4-BE49-F238E27FC236}">
                    <a16:creationId xmlns:a16="http://schemas.microsoft.com/office/drawing/2014/main" id="{0BF9BB88-0839-4AF2-A927-78B1AF55EF60}"/>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12700">
                <a:solidFill>
                  <a:schemeClr val="bg1"/>
                </a:solidFill>
                <a:round/>
                <a:headEnd/>
                <a:tailEnd/>
              </a:ln>
            </p:spPr>
            <p:txBody>
              <a:bodyPr/>
              <a:lstStyle/>
              <a:p>
                <a:pPr>
                  <a:defRPr/>
                </a:pPr>
                <a:endParaRPr lang="en-GB"/>
              </a:p>
            </p:txBody>
          </p:sp>
          <p:sp>
            <p:nvSpPr>
              <p:cNvPr id="54" name="Freeform 42">
                <a:extLst>
                  <a:ext uri="{FF2B5EF4-FFF2-40B4-BE49-F238E27FC236}">
                    <a16:creationId xmlns:a16="http://schemas.microsoft.com/office/drawing/2014/main" id="{60D5097B-7D6A-4429-887F-D01737BB9581}"/>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12700">
                <a:solidFill>
                  <a:schemeClr val="bg1"/>
                </a:solidFill>
                <a:round/>
                <a:headEnd/>
                <a:tailEnd/>
              </a:ln>
            </p:spPr>
            <p:txBody>
              <a:bodyPr/>
              <a:lstStyle/>
              <a:p>
                <a:pPr>
                  <a:defRPr/>
                </a:pPr>
                <a:endParaRPr lang="en-GB"/>
              </a:p>
            </p:txBody>
          </p:sp>
          <p:sp>
            <p:nvSpPr>
              <p:cNvPr id="55" name="Freeform 43">
                <a:extLst>
                  <a:ext uri="{FF2B5EF4-FFF2-40B4-BE49-F238E27FC236}">
                    <a16:creationId xmlns:a16="http://schemas.microsoft.com/office/drawing/2014/main" id="{02219B7C-5296-42E9-B6CC-CA7A8812622B}"/>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12700">
                <a:solidFill>
                  <a:schemeClr val="bg1"/>
                </a:solidFill>
                <a:round/>
                <a:headEnd/>
                <a:tailEnd/>
              </a:ln>
            </p:spPr>
            <p:txBody>
              <a:bodyPr/>
              <a:lstStyle/>
              <a:p>
                <a:pPr>
                  <a:defRPr/>
                </a:pPr>
                <a:endParaRPr lang="en-GB"/>
              </a:p>
            </p:txBody>
          </p:sp>
        </p:grpSp>
        <p:sp>
          <p:nvSpPr>
            <p:cNvPr id="28" name="Freeform 44">
              <a:extLst>
                <a:ext uri="{FF2B5EF4-FFF2-40B4-BE49-F238E27FC236}">
                  <a16:creationId xmlns:a16="http://schemas.microsoft.com/office/drawing/2014/main" id="{B5E623A0-2361-4EE7-A6FB-D42E092FA42F}"/>
                </a:ext>
              </a:extLst>
            </p:cNvPr>
            <p:cNvSpPr>
              <a:spLocks/>
            </p:cNvSpPr>
            <p:nvPr/>
          </p:nvSpPr>
          <p:spPr bwMode="auto">
            <a:xfrm>
              <a:off x="1874838" y="1914525"/>
              <a:ext cx="739775"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12700">
              <a:solidFill>
                <a:schemeClr val="bg1"/>
              </a:solidFill>
              <a:round/>
              <a:headEnd/>
              <a:tailEnd/>
            </a:ln>
          </p:spPr>
          <p:txBody>
            <a:bodyPr/>
            <a:lstStyle/>
            <a:p>
              <a:pPr>
                <a:defRPr/>
              </a:pPr>
              <a:endParaRPr lang="en-GB"/>
            </a:p>
          </p:txBody>
        </p:sp>
        <p:sp>
          <p:nvSpPr>
            <p:cNvPr id="29" name="Freeform 45">
              <a:extLst>
                <a:ext uri="{FF2B5EF4-FFF2-40B4-BE49-F238E27FC236}">
                  <a16:creationId xmlns:a16="http://schemas.microsoft.com/office/drawing/2014/main" id="{C0F9A264-3364-4FFA-B8D8-97AF6EF0ACEB}"/>
                </a:ext>
              </a:extLst>
            </p:cNvPr>
            <p:cNvSpPr>
              <a:spLocks/>
            </p:cNvSpPr>
            <p:nvPr/>
          </p:nvSpPr>
          <p:spPr bwMode="auto">
            <a:xfrm>
              <a:off x="1698625" y="2336800"/>
              <a:ext cx="925513"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12700">
              <a:solidFill>
                <a:schemeClr val="bg1"/>
              </a:solidFill>
              <a:round/>
              <a:headEnd/>
              <a:tailEnd/>
            </a:ln>
          </p:spPr>
          <p:txBody>
            <a:bodyPr/>
            <a:lstStyle/>
            <a:p>
              <a:pPr>
                <a:defRPr/>
              </a:pPr>
              <a:endParaRPr lang="en-GB"/>
            </a:p>
          </p:txBody>
        </p:sp>
        <p:sp>
          <p:nvSpPr>
            <p:cNvPr id="30" name="Freeform 46">
              <a:extLst>
                <a:ext uri="{FF2B5EF4-FFF2-40B4-BE49-F238E27FC236}">
                  <a16:creationId xmlns:a16="http://schemas.microsoft.com/office/drawing/2014/main" id="{A1579B3F-01CE-4453-82D9-C9499E45A308}"/>
                </a:ext>
              </a:extLst>
            </p:cNvPr>
            <p:cNvSpPr>
              <a:spLocks/>
            </p:cNvSpPr>
            <p:nvPr/>
          </p:nvSpPr>
          <p:spPr bwMode="auto">
            <a:xfrm>
              <a:off x="1622425" y="2925763"/>
              <a:ext cx="976313"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grpFill/>
            <a:ln w="12700">
              <a:solidFill>
                <a:schemeClr val="bg1"/>
              </a:solidFill>
              <a:round/>
              <a:headEnd/>
              <a:tailEnd/>
            </a:ln>
          </p:spPr>
          <p:txBody>
            <a:bodyPr/>
            <a:lstStyle/>
            <a:p>
              <a:pPr>
                <a:defRPr/>
              </a:pPr>
              <a:endParaRPr lang="en-GB"/>
            </a:p>
          </p:txBody>
        </p:sp>
        <p:sp>
          <p:nvSpPr>
            <p:cNvPr id="31" name="Freeform 47">
              <a:extLst>
                <a:ext uri="{FF2B5EF4-FFF2-40B4-BE49-F238E27FC236}">
                  <a16:creationId xmlns:a16="http://schemas.microsoft.com/office/drawing/2014/main" id="{039F0E7F-89DD-4C91-BE03-99CC89509E08}"/>
                </a:ext>
              </a:extLst>
            </p:cNvPr>
            <p:cNvSpPr>
              <a:spLocks/>
            </p:cNvSpPr>
            <p:nvPr/>
          </p:nvSpPr>
          <p:spPr bwMode="auto">
            <a:xfrm>
              <a:off x="2454275" y="2041525"/>
              <a:ext cx="666750"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12700">
              <a:solidFill>
                <a:schemeClr val="bg1"/>
              </a:solidFill>
              <a:round/>
              <a:headEnd/>
              <a:tailEnd/>
            </a:ln>
          </p:spPr>
          <p:txBody>
            <a:bodyPr/>
            <a:lstStyle/>
            <a:p>
              <a:pPr>
                <a:defRPr/>
              </a:pPr>
              <a:endParaRPr lang="en-GB"/>
            </a:p>
          </p:txBody>
        </p:sp>
        <p:sp>
          <p:nvSpPr>
            <p:cNvPr id="32" name="Freeform 48">
              <a:extLst>
                <a:ext uri="{FF2B5EF4-FFF2-40B4-BE49-F238E27FC236}">
                  <a16:creationId xmlns:a16="http://schemas.microsoft.com/office/drawing/2014/main" id="{890C5A15-CB1E-4AE3-98B4-E03A6753D3A3}"/>
                </a:ext>
              </a:extLst>
            </p:cNvPr>
            <p:cNvSpPr>
              <a:spLocks/>
            </p:cNvSpPr>
            <p:nvPr/>
          </p:nvSpPr>
          <p:spPr bwMode="auto">
            <a:xfrm>
              <a:off x="5260975" y="4259263"/>
              <a:ext cx="400050"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12700">
              <a:solidFill>
                <a:schemeClr val="bg1"/>
              </a:solidFill>
              <a:round/>
              <a:headEnd/>
              <a:tailEnd/>
            </a:ln>
          </p:spPr>
          <p:txBody>
            <a:bodyPr/>
            <a:lstStyle/>
            <a:p>
              <a:pPr>
                <a:defRPr/>
              </a:pPr>
              <a:endParaRPr lang="en-GB"/>
            </a:p>
          </p:txBody>
        </p:sp>
        <p:sp>
          <p:nvSpPr>
            <p:cNvPr id="33" name="Freeform 49">
              <a:extLst>
                <a:ext uri="{FF2B5EF4-FFF2-40B4-BE49-F238E27FC236}">
                  <a16:creationId xmlns:a16="http://schemas.microsoft.com/office/drawing/2014/main" id="{489CDA38-ABBD-4E31-88C3-A4933E54657D}"/>
                </a:ext>
              </a:extLst>
            </p:cNvPr>
            <p:cNvSpPr>
              <a:spLocks/>
            </p:cNvSpPr>
            <p:nvPr/>
          </p:nvSpPr>
          <p:spPr bwMode="auto">
            <a:xfrm>
              <a:off x="5635625" y="4222750"/>
              <a:ext cx="452438"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12700">
              <a:solidFill>
                <a:schemeClr val="bg1"/>
              </a:solidFill>
              <a:round/>
              <a:headEnd/>
              <a:tailEnd/>
            </a:ln>
          </p:spPr>
          <p:txBody>
            <a:bodyPr/>
            <a:lstStyle/>
            <a:p>
              <a:pPr>
                <a:defRPr/>
              </a:pPr>
              <a:endParaRPr lang="en-GB"/>
            </a:p>
          </p:txBody>
        </p:sp>
        <p:sp>
          <p:nvSpPr>
            <p:cNvPr id="34" name="Freeform 50">
              <a:extLst>
                <a:ext uri="{FF2B5EF4-FFF2-40B4-BE49-F238E27FC236}">
                  <a16:creationId xmlns:a16="http://schemas.microsoft.com/office/drawing/2014/main" id="{8B11C26F-EB7A-4F4C-AA09-1F24DB0C7E94}"/>
                </a:ext>
              </a:extLst>
            </p:cNvPr>
            <p:cNvSpPr>
              <a:spLocks/>
            </p:cNvSpPr>
            <p:nvPr/>
          </p:nvSpPr>
          <p:spPr bwMode="auto">
            <a:xfrm>
              <a:off x="5929313" y="4184650"/>
              <a:ext cx="627062"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12700">
              <a:solidFill>
                <a:schemeClr val="bg1"/>
              </a:solidFill>
              <a:round/>
              <a:headEnd/>
              <a:tailEnd/>
            </a:ln>
          </p:spPr>
          <p:txBody>
            <a:bodyPr/>
            <a:lstStyle/>
            <a:p>
              <a:pPr>
                <a:defRPr/>
              </a:pPr>
              <a:endParaRPr lang="en-GB"/>
            </a:p>
          </p:txBody>
        </p:sp>
        <p:sp>
          <p:nvSpPr>
            <p:cNvPr id="35" name="Freeform 51">
              <a:extLst>
                <a:ext uri="{FF2B5EF4-FFF2-40B4-BE49-F238E27FC236}">
                  <a16:creationId xmlns:a16="http://schemas.microsoft.com/office/drawing/2014/main" id="{BC74324E-0619-4782-9A45-C6BB3BD45F41}"/>
                </a:ext>
              </a:extLst>
            </p:cNvPr>
            <p:cNvSpPr>
              <a:spLocks/>
            </p:cNvSpPr>
            <p:nvPr/>
          </p:nvSpPr>
          <p:spPr bwMode="auto">
            <a:xfrm>
              <a:off x="6081713" y="3757613"/>
              <a:ext cx="982662"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12700">
              <a:solidFill>
                <a:schemeClr val="bg1"/>
              </a:solidFill>
              <a:round/>
              <a:headEnd/>
              <a:tailEnd/>
            </a:ln>
          </p:spPr>
          <p:txBody>
            <a:bodyPr/>
            <a:lstStyle/>
            <a:p>
              <a:pPr>
                <a:defRPr/>
              </a:pPr>
              <a:endParaRPr lang="en-GB"/>
            </a:p>
          </p:txBody>
        </p:sp>
        <p:sp>
          <p:nvSpPr>
            <p:cNvPr id="36" name="Freeform 52">
              <a:extLst>
                <a:ext uri="{FF2B5EF4-FFF2-40B4-BE49-F238E27FC236}">
                  <a16:creationId xmlns:a16="http://schemas.microsoft.com/office/drawing/2014/main" id="{40A92089-1734-4222-8AAE-27154B64032D}"/>
                </a:ext>
              </a:extLst>
            </p:cNvPr>
            <p:cNvSpPr>
              <a:spLocks/>
            </p:cNvSpPr>
            <p:nvPr/>
          </p:nvSpPr>
          <p:spPr bwMode="auto">
            <a:xfrm>
              <a:off x="6877050" y="3270250"/>
              <a:ext cx="136525"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12700">
              <a:solidFill>
                <a:schemeClr val="bg1"/>
              </a:solidFill>
              <a:round/>
              <a:headEnd/>
              <a:tailEnd/>
            </a:ln>
          </p:spPr>
          <p:txBody>
            <a:bodyPr/>
            <a:lstStyle/>
            <a:p>
              <a:pPr>
                <a:defRPr/>
              </a:pPr>
              <a:endParaRPr lang="en-GB"/>
            </a:p>
          </p:txBody>
        </p:sp>
        <p:sp>
          <p:nvSpPr>
            <p:cNvPr id="37" name="Freeform 53">
              <a:extLst>
                <a:ext uri="{FF2B5EF4-FFF2-40B4-BE49-F238E27FC236}">
                  <a16:creationId xmlns:a16="http://schemas.microsoft.com/office/drawing/2014/main" id="{B0FBC787-9AF7-4838-8B16-A8B90DFEFA14}"/>
                </a:ext>
              </a:extLst>
            </p:cNvPr>
            <p:cNvSpPr>
              <a:spLocks/>
            </p:cNvSpPr>
            <p:nvPr/>
          </p:nvSpPr>
          <p:spPr bwMode="auto">
            <a:xfrm>
              <a:off x="6345238" y="2382838"/>
              <a:ext cx="731837"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12700">
              <a:solidFill>
                <a:schemeClr val="bg1"/>
              </a:solidFill>
              <a:round/>
              <a:headEnd/>
              <a:tailEnd/>
            </a:ln>
          </p:spPr>
          <p:txBody>
            <a:bodyPr/>
            <a:lstStyle/>
            <a:p>
              <a:pPr>
                <a:defRPr/>
              </a:pPr>
              <a:endParaRPr lang="en-GB"/>
            </a:p>
          </p:txBody>
        </p:sp>
        <p:sp>
          <p:nvSpPr>
            <p:cNvPr id="38" name="Freeform 54">
              <a:extLst>
                <a:ext uri="{FF2B5EF4-FFF2-40B4-BE49-F238E27FC236}">
                  <a16:creationId xmlns:a16="http://schemas.microsoft.com/office/drawing/2014/main" id="{14171186-5B76-442B-BDCF-8443C75EB933}"/>
                </a:ext>
              </a:extLst>
            </p:cNvPr>
            <p:cNvSpPr>
              <a:spLocks/>
            </p:cNvSpPr>
            <p:nvPr/>
          </p:nvSpPr>
          <p:spPr bwMode="auto">
            <a:xfrm>
              <a:off x="7059613" y="2919413"/>
              <a:ext cx="212725"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12700">
              <a:solidFill>
                <a:schemeClr val="bg1"/>
              </a:solidFill>
              <a:round/>
              <a:headEnd/>
              <a:tailEnd/>
            </a:ln>
          </p:spPr>
          <p:txBody>
            <a:bodyPr/>
            <a:lstStyle/>
            <a:p>
              <a:pPr>
                <a:defRPr/>
              </a:pPr>
              <a:endParaRPr lang="en-GB"/>
            </a:p>
          </p:txBody>
        </p:sp>
        <p:sp>
          <p:nvSpPr>
            <p:cNvPr id="39" name="Freeform 55">
              <a:extLst>
                <a:ext uri="{FF2B5EF4-FFF2-40B4-BE49-F238E27FC236}">
                  <a16:creationId xmlns:a16="http://schemas.microsoft.com/office/drawing/2014/main" id="{4CD5BCA1-0052-484A-934D-D77CDF6D9ACF}"/>
                </a:ext>
              </a:extLst>
            </p:cNvPr>
            <p:cNvSpPr>
              <a:spLocks/>
            </p:cNvSpPr>
            <p:nvPr/>
          </p:nvSpPr>
          <p:spPr bwMode="auto">
            <a:xfrm>
              <a:off x="6956425" y="3517900"/>
              <a:ext cx="58738"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12700">
              <a:solidFill>
                <a:schemeClr val="bg1"/>
              </a:solidFill>
              <a:round/>
              <a:headEnd/>
              <a:tailEnd/>
            </a:ln>
          </p:spPr>
          <p:txBody>
            <a:bodyPr/>
            <a:lstStyle/>
            <a:p>
              <a:pPr>
                <a:defRPr/>
              </a:pPr>
              <a:endParaRPr lang="en-GB"/>
            </a:p>
          </p:txBody>
        </p:sp>
      </p:grpSp>
      <p:sp>
        <p:nvSpPr>
          <p:cNvPr id="56" name="Freeform 16">
            <a:extLst>
              <a:ext uri="{FF2B5EF4-FFF2-40B4-BE49-F238E27FC236}">
                <a16:creationId xmlns:a16="http://schemas.microsoft.com/office/drawing/2014/main" id="{5E4018D0-CC94-4F34-B3E2-D75D2426F7C2}"/>
              </a:ext>
            </a:extLst>
          </p:cNvPr>
          <p:cNvSpPr>
            <a:spLocks/>
          </p:cNvSpPr>
          <p:nvPr/>
        </p:nvSpPr>
        <p:spPr bwMode="auto">
          <a:xfrm>
            <a:off x="4550464" y="1893843"/>
            <a:ext cx="1258014" cy="864253"/>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solidFill>
            <a:srgbClr val="C00000"/>
          </a:solidFill>
          <a:ln w="12700">
            <a:solidFill>
              <a:schemeClr val="bg1"/>
            </a:solidFill>
            <a:round/>
            <a:headEnd/>
            <a:tailEnd/>
          </a:ln>
        </p:spPr>
        <p:txBody>
          <a:bodyPr/>
          <a:lstStyle/>
          <a:p>
            <a:pPr>
              <a:defRPr/>
            </a:pPr>
            <a:endParaRPr lang="en-GB"/>
          </a:p>
        </p:txBody>
      </p:sp>
      <p:sp>
        <p:nvSpPr>
          <p:cNvPr id="57" name="Oval 56">
            <a:extLst>
              <a:ext uri="{FF2B5EF4-FFF2-40B4-BE49-F238E27FC236}">
                <a16:creationId xmlns:a16="http://schemas.microsoft.com/office/drawing/2014/main" id="{CFA9FCC5-DCDB-403E-BD07-E0492C220360}"/>
              </a:ext>
            </a:extLst>
          </p:cNvPr>
          <p:cNvSpPr/>
          <p:nvPr/>
        </p:nvSpPr>
        <p:spPr>
          <a:xfrm>
            <a:off x="1496462" y="1862299"/>
            <a:ext cx="988148" cy="650931"/>
          </a:xfrm>
          <a:prstGeom prst="ellips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latin typeface="Segoe UI Light" panose="020B0502040204020203" pitchFamily="34" charset="0"/>
                <a:cs typeface="Segoe UI Light" panose="020B0502040204020203" pitchFamily="34" charset="0"/>
              </a:rPr>
              <a:t>50%</a:t>
            </a:r>
          </a:p>
        </p:txBody>
      </p:sp>
      <p:cxnSp>
        <p:nvCxnSpPr>
          <p:cNvPr id="58" name="Straight Connector 57">
            <a:extLst>
              <a:ext uri="{FF2B5EF4-FFF2-40B4-BE49-F238E27FC236}">
                <a16:creationId xmlns:a16="http://schemas.microsoft.com/office/drawing/2014/main" id="{E46F68A6-13F4-4D74-A968-44C092B11D5F}"/>
              </a:ext>
            </a:extLst>
          </p:cNvPr>
          <p:cNvCxnSpPr>
            <a:cxnSpLocks/>
            <a:stCxn id="57" idx="6"/>
          </p:cNvCxnSpPr>
          <p:nvPr/>
        </p:nvCxnSpPr>
        <p:spPr>
          <a:xfrm>
            <a:off x="2484610" y="2187765"/>
            <a:ext cx="2174296" cy="0"/>
          </a:xfrm>
          <a:prstGeom prst="line">
            <a:avLst/>
          </a:prstGeom>
          <a:ln w="19050">
            <a:solidFill>
              <a:srgbClr val="DC3C00"/>
            </a:solidFill>
          </a:ln>
          <a:effectLst/>
        </p:spPr>
        <p:style>
          <a:lnRef idx="2">
            <a:schemeClr val="accent1"/>
          </a:lnRef>
          <a:fillRef idx="0">
            <a:schemeClr val="accent1"/>
          </a:fillRef>
          <a:effectRef idx="1">
            <a:schemeClr val="accent1"/>
          </a:effectRef>
          <a:fontRef idx="minor">
            <a:schemeClr val="tx1"/>
          </a:fontRef>
        </p:style>
      </p:cxnSp>
      <p:sp>
        <p:nvSpPr>
          <p:cNvPr id="59" name="Freeform 38">
            <a:extLst>
              <a:ext uri="{FF2B5EF4-FFF2-40B4-BE49-F238E27FC236}">
                <a16:creationId xmlns:a16="http://schemas.microsoft.com/office/drawing/2014/main" id="{843D2666-7107-478B-BDCD-1FF1487661EC}"/>
              </a:ext>
            </a:extLst>
          </p:cNvPr>
          <p:cNvSpPr>
            <a:spLocks/>
          </p:cNvSpPr>
          <p:nvPr/>
        </p:nvSpPr>
        <p:spPr bwMode="auto">
          <a:xfrm>
            <a:off x="5891743" y="4120573"/>
            <a:ext cx="1116062" cy="583522"/>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solidFill>
            <a:schemeClr val="accent1"/>
          </a:solidFill>
          <a:ln w="12700">
            <a:solidFill>
              <a:schemeClr val="bg1"/>
            </a:solidFill>
            <a:round/>
            <a:headEnd/>
            <a:tailEnd/>
          </a:ln>
        </p:spPr>
        <p:txBody>
          <a:bodyPr/>
          <a:lstStyle/>
          <a:p>
            <a:pPr>
              <a:defRPr/>
            </a:pPr>
            <a:endParaRPr lang="en-GB"/>
          </a:p>
        </p:txBody>
      </p:sp>
      <p:sp>
        <p:nvSpPr>
          <p:cNvPr id="60" name="Freeform 50">
            <a:extLst>
              <a:ext uri="{FF2B5EF4-FFF2-40B4-BE49-F238E27FC236}">
                <a16:creationId xmlns:a16="http://schemas.microsoft.com/office/drawing/2014/main" id="{194F1057-DE5D-4AAE-AD33-992FB06C459E}"/>
              </a:ext>
            </a:extLst>
          </p:cNvPr>
          <p:cNvSpPr>
            <a:spLocks/>
          </p:cNvSpPr>
          <p:nvPr/>
        </p:nvSpPr>
        <p:spPr bwMode="auto">
          <a:xfrm>
            <a:off x="8180321" y="4289846"/>
            <a:ext cx="687322" cy="765626"/>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solidFill>
            <a:schemeClr val="accent5"/>
          </a:solidFill>
          <a:ln w="12700">
            <a:solidFill>
              <a:schemeClr val="bg1"/>
            </a:solidFill>
            <a:round/>
            <a:headEnd/>
            <a:tailEnd/>
          </a:ln>
        </p:spPr>
        <p:txBody>
          <a:bodyPr/>
          <a:lstStyle/>
          <a:p>
            <a:pPr>
              <a:defRPr/>
            </a:pPr>
            <a:endParaRPr lang="en-GB"/>
          </a:p>
        </p:txBody>
      </p:sp>
      <p:sp>
        <p:nvSpPr>
          <p:cNvPr id="61" name="Freeform 28">
            <a:extLst>
              <a:ext uri="{FF2B5EF4-FFF2-40B4-BE49-F238E27FC236}">
                <a16:creationId xmlns:a16="http://schemas.microsoft.com/office/drawing/2014/main" id="{66FC51FD-2277-44A9-97CB-A7138804A930}"/>
              </a:ext>
            </a:extLst>
          </p:cNvPr>
          <p:cNvSpPr>
            <a:spLocks/>
          </p:cNvSpPr>
          <p:nvPr/>
        </p:nvSpPr>
        <p:spPr bwMode="auto">
          <a:xfrm>
            <a:off x="3829467" y="2992994"/>
            <a:ext cx="816885" cy="1324983"/>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solidFill>
            <a:schemeClr val="accent3"/>
          </a:solidFill>
          <a:ln w="12700">
            <a:solidFill>
              <a:schemeClr val="bg1"/>
            </a:solidFill>
            <a:round/>
            <a:headEnd/>
            <a:tailEnd/>
          </a:ln>
        </p:spPr>
        <p:txBody>
          <a:bodyPr/>
          <a:lstStyle/>
          <a:p>
            <a:pPr>
              <a:defRPr/>
            </a:pPr>
            <a:endParaRPr lang="en-GB"/>
          </a:p>
        </p:txBody>
      </p:sp>
      <p:sp>
        <p:nvSpPr>
          <p:cNvPr id="62" name="Oval 61">
            <a:extLst>
              <a:ext uri="{FF2B5EF4-FFF2-40B4-BE49-F238E27FC236}">
                <a16:creationId xmlns:a16="http://schemas.microsoft.com/office/drawing/2014/main" id="{463F5876-AC28-40A1-9F32-79270A10B346}"/>
              </a:ext>
            </a:extLst>
          </p:cNvPr>
          <p:cNvSpPr/>
          <p:nvPr/>
        </p:nvSpPr>
        <p:spPr>
          <a:xfrm>
            <a:off x="1496462" y="4174238"/>
            <a:ext cx="988148" cy="650931"/>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latin typeface="Segoe UI Light" panose="020B0502040204020203" pitchFamily="34" charset="0"/>
                <a:cs typeface="Segoe UI Light" panose="020B0502040204020203" pitchFamily="34" charset="0"/>
              </a:rPr>
              <a:t>50%</a:t>
            </a:r>
          </a:p>
        </p:txBody>
      </p:sp>
      <p:cxnSp>
        <p:nvCxnSpPr>
          <p:cNvPr id="63" name="Straight Connector 62">
            <a:extLst>
              <a:ext uri="{FF2B5EF4-FFF2-40B4-BE49-F238E27FC236}">
                <a16:creationId xmlns:a16="http://schemas.microsoft.com/office/drawing/2014/main" id="{6194297A-63AE-4773-B794-363CAFED8DFB}"/>
              </a:ext>
            </a:extLst>
          </p:cNvPr>
          <p:cNvCxnSpPr>
            <a:cxnSpLocks/>
            <a:stCxn id="62" idx="6"/>
          </p:cNvCxnSpPr>
          <p:nvPr/>
        </p:nvCxnSpPr>
        <p:spPr>
          <a:xfrm>
            <a:off x="2484610" y="4499704"/>
            <a:ext cx="3856270" cy="0"/>
          </a:xfrm>
          <a:prstGeom prst="line">
            <a:avLst/>
          </a:prstGeom>
          <a:ln w="19050">
            <a:solidFill>
              <a:schemeClr val="accent1"/>
            </a:solidFill>
          </a:ln>
          <a:effectLst/>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FA3E93A7-6535-449A-984F-4C637B14C08D}"/>
              </a:ext>
            </a:extLst>
          </p:cNvPr>
          <p:cNvCxnSpPr>
            <a:cxnSpLocks/>
          </p:cNvCxnSpPr>
          <p:nvPr/>
        </p:nvCxnSpPr>
        <p:spPr>
          <a:xfrm>
            <a:off x="4545082" y="3537535"/>
            <a:ext cx="5694293" cy="0"/>
          </a:xfrm>
          <a:prstGeom prst="line">
            <a:avLst/>
          </a:prstGeom>
          <a:ln w="19050">
            <a:solidFill>
              <a:schemeClr val="accent3"/>
            </a:solidFill>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D3AF600D-A1BA-47C6-9F10-0866EDEC4E7F}"/>
              </a:ext>
            </a:extLst>
          </p:cNvPr>
          <p:cNvCxnSpPr>
            <a:cxnSpLocks/>
          </p:cNvCxnSpPr>
          <p:nvPr/>
        </p:nvCxnSpPr>
        <p:spPr>
          <a:xfrm>
            <a:off x="8640969" y="4723795"/>
            <a:ext cx="1597104" cy="0"/>
          </a:xfrm>
          <a:prstGeom prst="line">
            <a:avLst/>
          </a:prstGeom>
          <a:ln w="19050">
            <a:solidFill>
              <a:schemeClr val="accent5"/>
            </a:solidFill>
          </a:ln>
          <a:effectLst/>
        </p:spPr>
        <p:style>
          <a:lnRef idx="2">
            <a:schemeClr val="accent1"/>
          </a:lnRef>
          <a:fillRef idx="0">
            <a:schemeClr val="accent1"/>
          </a:fillRef>
          <a:effectRef idx="1">
            <a:schemeClr val="accent1"/>
          </a:effectRef>
          <a:fontRef idx="minor">
            <a:schemeClr val="tx1"/>
          </a:fontRef>
        </p:style>
      </p:cxnSp>
      <p:sp>
        <p:nvSpPr>
          <p:cNvPr id="69" name="Oval 68">
            <a:extLst>
              <a:ext uri="{FF2B5EF4-FFF2-40B4-BE49-F238E27FC236}">
                <a16:creationId xmlns:a16="http://schemas.microsoft.com/office/drawing/2014/main" id="{7894EC7D-9BDE-4F81-B9A2-4F35DF3D6064}"/>
              </a:ext>
            </a:extLst>
          </p:cNvPr>
          <p:cNvSpPr/>
          <p:nvPr/>
        </p:nvSpPr>
        <p:spPr>
          <a:xfrm>
            <a:off x="10237205" y="3202715"/>
            <a:ext cx="988148" cy="650931"/>
          </a:xfrm>
          <a:prstGeom prst="ellips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latin typeface="Segoe UI Light" panose="020B0502040204020203" pitchFamily="34" charset="0"/>
                <a:cs typeface="Segoe UI Light" panose="020B0502040204020203" pitchFamily="34" charset="0"/>
              </a:rPr>
              <a:t>50%</a:t>
            </a:r>
          </a:p>
        </p:txBody>
      </p:sp>
      <p:sp>
        <p:nvSpPr>
          <p:cNvPr id="70" name="Oval 69">
            <a:extLst>
              <a:ext uri="{FF2B5EF4-FFF2-40B4-BE49-F238E27FC236}">
                <a16:creationId xmlns:a16="http://schemas.microsoft.com/office/drawing/2014/main" id="{6913FCA8-BB2D-44E8-8E0D-C37F11E4CBB7}"/>
              </a:ext>
            </a:extLst>
          </p:cNvPr>
          <p:cNvSpPr/>
          <p:nvPr/>
        </p:nvSpPr>
        <p:spPr>
          <a:xfrm>
            <a:off x="10237205" y="4404541"/>
            <a:ext cx="988148" cy="650931"/>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a:latin typeface="Segoe UI Light" panose="020B0502040204020203" pitchFamily="34" charset="0"/>
                <a:cs typeface="Segoe UI Light" panose="020B0502040204020203" pitchFamily="34" charset="0"/>
              </a:rPr>
              <a:t>50%</a:t>
            </a:r>
          </a:p>
        </p:txBody>
      </p:sp>
      <p:sp>
        <p:nvSpPr>
          <p:cNvPr id="71" name="TextBox 70">
            <a:extLst>
              <a:ext uri="{FF2B5EF4-FFF2-40B4-BE49-F238E27FC236}">
                <a16:creationId xmlns:a16="http://schemas.microsoft.com/office/drawing/2014/main" id="{58FCA27A-4C8D-4757-BB90-CC72367FA202}"/>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cs typeface="Segoe UI Semibold" panose="020B0702040204020203" pitchFamily="34" charset="0"/>
                <a:sym typeface="Quattrocento Sans"/>
              </a:rPr>
              <a:t>States with left-handed people</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354939244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cxnSp>
        <p:nvCxnSpPr>
          <p:cNvPr id="7" name="Straight Arrow Connector 6">
            <a:extLst>
              <a:ext uri="{FF2B5EF4-FFF2-40B4-BE49-F238E27FC236}">
                <a16:creationId xmlns:a16="http://schemas.microsoft.com/office/drawing/2014/main" id="{F812E63A-7A44-4DE0-86FB-6AD2D642E2BB}"/>
              </a:ext>
            </a:extLst>
          </p:cNvPr>
          <p:cNvCxnSpPr/>
          <p:nvPr/>
        </p:nvCxnSpPr>
        <p:spPr>
          <a:xfrm>
            <a:off x="1914462" y="3027285"/>
            <a:ext cx="2672178" cy="0"/>
          </a:xfrm>
          <a:prstGeom prst="straightConnector1">
            <a:avLst/>
          </a:prstGeom>
          <a:ln w="38100">
            <a:solidFill>
              <a:srgbClr val="000000"/>
            </a:solidFill>
            <a:tailEnd type="triangle"/>
          </a:ln>
        </p:spPr>
        <p:style>
          <a:lnRef idx="1">
            <a:schemeClr val="accent1"/>
          </a:lnRef>
          <a:fillRef idx="0">
            <a:schemeClr val="accent1"/>
          </a:fillRef>
          <a:effectRef idx="0">
            <a:schemeClr val="accent1"/>
          </a:effectRef>
          <a:fontRef idx="minor">
            <a:schemeClr val="tx1"/>
          </a:fontRef>
        </p:style>
      </p:cxnSp>
      <p:sp>
        <p:nvSpPr>
          <p:cNvPr id="8" name="Oval 7">
            <a:extLst>
              <a:ext uri="{FF2B5EF4-FFF2-40B4-BE49-F238E27FC236}">
                <a16:creationId xmlns:a16="http://schemas.microsoft.com/office/drawing/2014/main" id="{4CC4CBEC-80A1-4657-A906-DE870A390FA3}"/>
              </a:ext>
            </a:extLst>
          </p:cNvPr>
          <p:cNvSpPr/>
          <p:nvPr/>
        </p:nvSpPr>
        <p:spPr>
          <a:xfrm>
            <a:off x="5557422" y="2956261"/>
            <a:ext cx="2139518" cy="1162975"/>
          </a:xfrm>
          <a:prstGeom prst="ellipse">
            <a:avLst/>
          </a:prstGeom>
          <a:noFill/>
          <a:ln w="38100">
            <a:solidFill>
              <a:srgbClr val="A805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FA9C6224-D032-45E3-881E-9B50115ABF99}"/>
              </a:ext>
            </a:extLst>
          </p:cNvPr>
          <p:cNvSpPr/>
          <p:nvPr/>
        </p:nvSpPr>
        <p:spPr>
          <a:xfrm>
            <a:off x="8424909" y="2911876"/>
            <a:ext cx="1251747" cy="1251747"/>
          </a:xfrm>
          <a:prstGeom prst="ellipse">
            <a:avLst/>
          </a:prstGeom>
          <a:noFill/>
          <a:ln w="38100">
            <a:solidFill>
              <a:srgbClr val="A805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A80532"/>
              </a:solidFill>
            </a:endParaRPr>
          </a:p>
        </p:txBody>
      </p:sp>
      <p:sp>
        <p:nvSpPr>
          <p:cNvPr id="10" name="Arrow: Down 9">
            <a:extLst>
              <a:ext uri="{FF2B5EF4-FFF2-40B4-BE49-F238E27FC236}">
                <a16:creationId xmlns:a16="http://schemas.microsoft.com/office/drawing/2014/main" id="{734698C8-C4A9-4D43-85FB-664F5574FAB9}"/>
              </a:ext>
            </a:extLst>
          </p:cNvPr>
          <p:cNvSpPr/>
          <p:nvPr/>
        </p:nvSpPr>
        <p:spPr>
          <a:xfrm>
            <a:off x="4341181" y="4163623"/>
            <a:ext cx="630314" cy="1464820"/>
          </a:xfrm>
          <a:prstGeom prst="downArrow">
            <a:avLst/>
          </a:prstGeom>
          <a:solidFill>
            <a:schemeClr val="bg1"/>
          </a:solidFill>
          <a:ln w="38100">
            <a:solidFill>
              <a:srgbClr val="A805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Down 10">
            <a:extLst>
              <a:ext uri="{FF2B5EF4-FFF2-40B4-BE49-F238E27FC236}">
                <a16:creationId xmlns:a16="http://schemas.microsoft.com/office/drawing/2014/main" id="{FEB0E60C-ACEC-4494-BCBC-2922DFA78426}"/>
              </a:ext>
            </a:extLst>
          </p:cNvPr>
          <p:cNvSpPr/>
          <p:nvPr/>
        </p:nvSpPr>
        <p:spPr>
          <a:xfrm rot="10800000">
            <a:off x="3337265" y="4163623"/>
            <a:ext cx="630314" cy="1464820"/>
          </a:xfrm>
          <a:prstGeom prst="downArrow">
            <a:avLst/>
          </a:prstGeom>
          <a:solidFill>
            <a:schemeClr val="bg1"/>
          </a:solidFill>
          <a:ln w="38100">
            <a:solidFill>
              <a:srgbClr val="A8053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a16="http://schemas.microsoft.com/office/drawing/2014/main" id="{E0261B38-C76F-4635-8759-ABA055E31A58}"/>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Shapes to highlight part of a graph</a:t>
            </a:r>
          </a:p>
        </p:txBody>
      </p:sp>
    </p:spTree>
    <p:extLst>
      <p:ext uri="{BB962C8B-B14F-4D97-AF65-F5344CB8AC3E}">
        <p14:creationId xmlns:p14="http://schemas.microsoft.com/office/powerpoint/2010/main" val="50053556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cx1="http://schemas.microsoft.com/office/drawing/2015/9/8/chartex">
        <mc:Choice Requires="cx1">
          <p:graphicFrame>
            <p:nvGraphicFramePr>
              <p:cNvPr id="6" name="Chart 5">
                <a:extLst>
                  <a:ext uri="{FF2B5EF4-FFF2-40B4-BE49-F238E27FC236}">
                    <a16:creationId xmlns:a16="http://schemas.microsoft.com/office/drawing/2014/main" id="{F8DBF123-F2EB-408E-9D44-829FE2C63DB0}"/>
                  </a:ext>
                </a:extLst>
              </p:cNvPr>
              <p:cNvGraphicFramePr/>
              <p:nvPr>
                <p:extLst>
                  <p:ext uri="{D42A27DB-BD31-4B8C-83A1-F6EECF244321}">
                    <p14:modId xmlns:p14="http://schemas.microsoft.com/office/powerpoint/2010/main" val="301623826"/>
                  </p:ext>
                </p:extLst>
              </p:nvPr>
            </p:nvGraphicFramePr>
            <p:xfrm>
              <a:off x="1635065" y="1559973"/>
              <a:ext cx="6274940" cy="4512591"/>
            </p:xfrm>
            <a:graphic>
              <a:graphicData uri="http://schemas.microsoft.com/office/drawing/2014/chartex">
                <cx:chart xmlns:cx="http://schemas.microsoft.com/office/drawing/2014/chartex" xmlns:r="http://schemas.openxmlformats.org/officeDocument/2006/relationships" r:id="rId2"/>
              </a:graphicData>
            </a:graphic>
          </p:graphicFrame>
        </mc:Choice>
        <mc:Fallback xmlns="">
          <p:pic>
            <p:nvPicPr>
              <p:cNvPr id="6" name="Chart 5">
                <a:extLst>
                  <a:ext uri="{FF2B5EF4-FFF2-40B4-BE49-F238E27FC236}">
                    <a16:creationId xmlns:a16="http://schemas.microsoft.com/office/drawing/2014/main" id="{F8DBF123-F2EB-408E-9D44-829FE2C63DB0}"/>
                  </a:ext>
                </a:extLst>
              </p:cNvPr>
              <p:cNvPicPr>
                <a:picLocks noGrp="1" noRot="1" noChangeAspect="1" noMove="1" noResize="1" noEditPoints="1" noAdjustHandles="1" noChangeArrowheads="1" noChangeShapeType="1"/>
              </p:cNvPicPr>
              <p:nvPr/>
            </p:nvPicPr>
            <p:blipFill>
              <a:blip r:embed="rId3"/>
              <a:stretch>
                <a:fillRect/>
              </a:stretch>
            </p:blipFill>
            <p:spPr>
              <a:xfrm>
                <a:off x="1635065" y="1559973"/>
                <a:ext cx="6274940" cy="4512591"/>
              </a:xfrm>
              <a:prstGeom prst="rect">
                <a:avLst/>
              </a:prstGeom>
            </p:spPr>
          </p:pic>
        </mc:Fallback>
      </mc:AlternateContent>
      <p:sp>
        <p:nvSpPr>
          <p:cNvPr id="7" name="Google Shape;819;p16">
            <a:extLst>
              <a:ext uri="{FF2B5EF4-FFF2-40B4-BE49-F238E27FC236}">
                <a16:creationId xmlns:a16="http://schemas.microsoft.com/office/drawing/2014/main" id="{22F90A15-9707-4B0C-9299-7A266D52BD92}"/>
              </a:ext>
            </a:extLst>
          </p:cNvPr>
          <p:cNvSpPr txBox="1"/>
          <p:nvPr/>
        </p:nvSpPr>
        <p:spPr>
          <a:xfrm>
            <a:off x="8570451" y="2235257"/>
            <a:ext cx="2170583" cy="3385542"/>
          </a:xfrm>
          <a:prstGeom prst="rect">
            <a:avLst/>
          </a:prstGeom>
          <a:noFill/>
          <a:ln>
            <a:noFill/>
          </a:ln>
        </p:spPr>
        <p:txBody>
          <a:bodyPr spcFirstLastPara="1" wrap="square" lIns="0" tIns="0" rIns="0" bIns="0" anchor="t" anchorCtr="0">
            <a:spAutoFit/>
          </a:bodyPr>
          <a:lstStyle/>
          <a:p>
            <a:pPr marL="285750" lvl="0" indent="-285750">
              <a:spcAft>
                <a:spcPts val="1200"/>
              </a:spcAft>
              <a:buFont typeface="Arial" panose="020B0604020202020204" pitchFamily="34" charset="0"/>
              <a:buChar char="•"/>
              <a:defRPr/>
            </a:pPr>
            <a:r>
              <a:rPr lang="en-US">
                <a:solidFill>
                  <a:srgbClr val="000000"/>
                </a:solidFill>
                <a:latin typeface="Segoe UI Semilight" panose="020B0402040204020203" pitchFamily="34" charset="0"/>
                <a:ea typeface="Quattrocento Sans"/>
                <a:cs typeface="Segoe UI Semilight" panose="020B0402040204020203" pitchFamily="34" charset="0"/>
                <a:sym typeface="Quattrocento Sans"/>
              </a:rPr>
              <a:t>Text example here. Replace your own text</a:t>
            </a:r>
          </a:p>
          <a:p>
            <a:pPr marL="285750" indent="-285750">
              <a:spcAft>
                <a:spcPts val="12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your own text</a:t>
            </a:r>
          </a:p>
          <a:p>
            <a:pPr marL="285750" indent="-285750">
              <a:spcAft>
                <a:spcPts val="1200"/>
              </a:spcAft>
              <a:buFont typeface="Arial" panose="020B0604020202020204" pitchFamily="34" charset="0"/>
              <a:buChar char="•"/>
              <a:defRPr/>
            </a:pPr>
            <a:r>
              <a:rPr lang="en-US">
                <a:solidFill>
                  <a:srgbClr val="000000"/>
                </a:solidFill>
                <a:latin typeface="Segoe UI Semilight" panose="020B0402040204020203" pitchFamily="34" charset="0"/>
                <a:cs typeface="Segoe UI Semilight" panose="020B0402040204020203" pitchFamily="34" charset="0"/>
              </a:rPr>
              <a:t>Text example here. Replace your own text</a:t>
            </a:r>
          </a:p>
          <a:p>
            <a:pPr marL="285750" lvl="0" indent="-285750">
              <a:spcAft>
                <a:spcPts val="1200"/>
              </a:spcAft>
              <a:buFont typeface="Arial" panose="020B0604020202020204" pitchFamily="34" charset="0"/>
              <a:buChar char="•"/>
              <a:defRPr/>
            </a:pPr>
            <a:endParaRPr lang="en-US" b="1">
              <a:solidFill>
                <a:srgbClr val="000000"/>
              </a:solidFill>
              <a:latin typeface="Segoe UI Semilight" panose="020B0402040204020203" pitchFamily="34" charset="0"/>
              <a:ea typeface="Quattrocento Sans"/>
              <a:cs typeface="Segoe UI Semilight" panose="020B0402040204020203" pitchFamily="34" charset="0"/>
              <a:sym typeface="Quattrocento Sans"/>
            </a:endParaRPr>
          </a:p>
        </p:txBody>
      </p:sp>
      <p:sp>
        <p:nvSpPr>
          <p:cNvPr id="8" name="TextBox 7">
            <a:extLst>
              <a:ext uri="{FF2B5EF4-FFF2-40B4-BE49-F238E27FC236}">
                <a16:creationId xmlns:a16="http://schemas.microsoft.com/office/drawing/2014/main" id="{9375ED87-7B33-40FF-92CC-59F151DF6DA0}"/>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Model Demo/Graph Title</a:t>
            </a:r>
          </a:p>
        </p:txBody>
      </p:sp>
    </p:spTree>
    <p:extLst>
      <p:ext uri="{BB962C8B-B14F-4D97-AF65-F5344CB8AC3E}">
        <p14:creationId xmlns:p14="http://schemas.microsoft.com/office/powerpoint/2010/main" val="38296281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3" name="Chart 2">
            <a:extLst>
              <a:ext uri="{FF2B5EF4-FFF2-40B4-BE49-F238E27FC236}">
                <a16:creationId xmlns:a16="http://schemas.microsoft.com/office/drawing/2014/main" id="{46C461C2-AE29-45BA-8301-2FB489BE4857}"/>
              </a:ext>
            </a:extLst>
          </p:cNvPr>
          <p:cNvGraphicFramePr>
            <a:graphicFrameLocks/>
          </p:cNvGraphicFramePr>
          <p:nvPr>
            <p:extLst>
              <p:ext uri="{D42A27DB-BD31-4B8C-83A1-F6EECF244321}">
                <p14:modId xmlns:p14="http://schemas.microsoft.com/office/powerpoint/2010/main" val="874904846"/>
              </p:ext>
            </p:extLst>
          </p:nvPr>
        </p:nvGraphicFramePr>
        <p:xfrm>
          <a:off x="530942" y="1705015"/>
          <a:ext cx="6890966" cy="4075132"/>
        </p:xfrm>
        <a:graphic>
          <a:graphicData uri="http://schemas.openxmlformats.org/drawingml/2006/chart">
            <c:chart xmlns:c="http://schemas.openxmlformats.org/drawingml/2006/chart" xmlns:r="http://schemas.openxmlformats.org/officeDocument/2006/relationships" r:id="rId2"/>
          </a:graphicData>
        </a:graphic>
      </p:graphicFrame>
      <p:sp>
        <p:nvSpPr>
          <p:cNvPr id="10" name="Oval 9">
            <a:extLst>
              <a:ext uri="{FF2B5EF4-FFF2-40B4-BE49-F238E27FC236}">
                <a16:creationId xmlns:a16="http://schemas.microsoft.com/office/drawing/2014/main" id="{E68093D9-D187-43D2-A444-D7E477E03D4E}"/>
              </a:ext>
            </a:extLst>
          </p:cNvPr>
          <p:cNvSpPr/>
          <p:nvPr/>
        </p:nvSpPr>
        <p:spPr>
          <a:xfrm>
            <a:off x="7965440" y="4387375"/>
            <a:ext cx="802640" cy="80264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6DC3CFAA-04ED-4C88-8DA5-B7AFFA628640}"/>
              </a:ext>
            </a:extLst>
          </p:cNvPr>
          <p:cNvSpPr/>
          <p:nvPr/>
        </p:nvSpPr>
        <p:spPr>
          <a:xfrm>
            <a:off x="7965440" y="2508184"/>
            <a:ext cx="802640" cy="80264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373C6080-479A-4BC5-BB08-659BA7BF6BA3}"/>
              </a:ext>
            </a:extLst>
          </p:cNvPr>
          <p:cNvSpPr txBox="1"/>
          <p:nvPr/>
        </p:nvSpPr>
        <p:spPr>
          <a:xfrm>
            <a:off x="8983980" y="2508184"/>
            <a:ext cx="2677078" cy="923330"/>
          </a:xfrm>
          <a:prstGeom prst="rect">
            <a:avLst/>
          </a:prstGeom>
          <a:noFill/>
        </p:spPr>
        <p:txBody>
          <a:bodyPr wrap="square" rtlCol="0">
            <a:spAutoFit/>
          </a:bodyPr>
          <a:lstStyle/>
          <a:p>
            <a:r>
              <a:rPr lang="en-US">
                <a:solidFill>
                  <a:srgbClr val="000000"/>
                </a:solidFill>
                <a:latin typeface="Segoe UI Semilight" panose="020B0402040204020203" pitchFamily="34" charset="0"/>
                <a:cs typeface="Segoe UI Semilight" panose="020B0402040204020203" pitchFamily="34" charset="0"/>
              </a:rPr>
              <a:t>State and local government jobs increase by 5,000</a:t>
            </a:r>
          </a:p>
        </p:txBody>
      </p:sp>
      <p:sp>
        <p:nvSpPr>
          <p:cNvPr id="16" name="TextBox 15">
            <a:extLst>
              <a:ext uri="{FF2B5EF4-FFF2-40B4-BE49-F238E27FC236}">
                <a16:creationId xmlns:a16="http://schemas.microsoft.com/office/drawing/2014/main" id="{C9A7298A-59FE-4768-920D-56D15F3BB79B}"/>
              </a:ext>
            </a:extLst>
          </p:cNvPr>
          <p:cNvSpPr txBox="1"/>
          <p:nvPr/>
        </p:nvSpPr>
        <p:spPr>
          <a:xfrm>
            <a:off x="8983980" y="4433095"/>
            <a:ext cx="2677078" cy="646331"/>
          </a:xfrm>
          <a:prstGeom prst="rect">
            <a:avLst/>
          </a:prstGeom>
          <a:noFill/>
        </p:spPr>
        <p:txBody>
          <a:bodyPr wrap="square" rtlCol="0">
            <a:spAutoFit/>
          </a:bodyPr>
          <a:lstStyle/>
          <a:p>
            <a:r>
              <a:rPr lang="en-US">
                <a:solidFill>
                  <a:srgbClr val="000000"/>
                </a:solidFill>
                <a:latin typeface="Segoe UI Semilight" panose="020B0402040204020203" pitchFamily="34" charset="0"/>
                <a:cs typeface="Segoe UI Semilight" panose="020B0402040204020203" pitchFamily="34" charset="0"/>
              </a:rPr>
              <a:t>Manufacturing jobs increase by 30,000</a:t>
            </a:r>
          </a:p>
        </p:txBody>
      </p:sp>
      <p:sp>
        <p:nvSpPr>
          <p:cNvPr id="17" name="Freeform 4838">
            <a:extLst>
              <a:ext uri="{FF2B5EF4-FFF2-40B4-BE49-F238E27FC236}">
                <a16:creationId xmlns:a16="http://schemas.microsoft.com/office/drawing/2014/main" id="{6EF3BBB9-F636-4DD2-A0AD-4D7E8DF929AA}"/>
              </a:ext>
            </a:extLst>
          </p:cNvPr>
          <p:cNvSpPr>
            <a:spLocks noEditPoints="1"/>
          </p:cNvSpPr>
          <p:nvPr/>
        </p:nvSpPr>
        <p:spPr bwMode="auto">
          <a:xfrm>
            <a:off x="8107561" y="2601075"/>
            <a:ext cx="512313" cy="509299"/>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solidFill>
            <a:schemeClr val="bg1"/>
          </a:solid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sp>
        <p:nvSpPr>
          <p:cNvPr id="18" name="Freeform 4819">
            <a:extLst>
              <a:ext uri="{FF2B5EF4-FFF2-40B4-BE49-F238E27FC236}">
                <a16:creationId xmlns:a16="http://schemas.microsoft.com/office/drawing/2014/main" id="{2FC9CEBD-C8C9-4E45-BA7E-2604EFDBCD9B}"/>
              </a:ext>
            </a:extLst>
          </p:cNvPr>
          <p:cNvSpPr>
            <a:spLocks noEditPoints="1"/>
          </p:cNvSpPr>
          <p:nvPr/>
        </p:nvSpPr>
        <p:spPr bwMode="auto">
          <a:xfrm>
            <a:off x="8107561" y="4562114"/>
            <a:ext cx="572889" cy="458926"/>
          </a:xfrm>
          <a:custGeom>
            <a:avLst/>
            <a:gdLst>
              <a:gd name="T0" fmla="*/ 286 w 372"/>
              <a:gd name="T1" fmla="*/ 10 h 298"/>
              <a:gd name="T2" fmla="*/ 276 w 372"/>
              <a:gd name="T3" fmla="*/ 0 h 298"/>
              <a:gd name="T4" fmla="*/ 250 w 372"/>
              <a:gd name="T5" fmla="*/ 2 h 298"/>
              <a:gd name="T6" fmla="*/ 218 w 372"/>
              <a:gd name="T7" fmla="*/ 200 h 298"/>
              <a:gd name="T8" fmla="*/ 218 w 372"/>
              <a:gd name="T9" fmla="*/ 136 h 298"/>
              <a:gd name="T10" fmla="*/ 192 w 372"/>
              <a:gd name="T11" fmla="*/ 34 h 298"/>
              <a:gd name="T12" fmla="*/ 208 w 372"/>
              <a:gd name="T13" fmla="*/ 24 h 298"/>
              <a:gd name="T14" fmla="*/ 204 w 372"/>
              <a:gd name="T15" fmla="*/ 6 h 298"/>
              <a:gd name="T16" fmla="*/ 36 w 372"/>
              <a:gd name="T17" fmla="*/ 2 h 298"/>
              <a:gd name="T18" fmla="*/ 20 w 372"/>
              <a:gd name="T19" fmla="*/ 18 h 298"/>
              <a:gd name="T20" fmla="*/ 6 w 372"/>
              <a:gd name="T21" fmla="*/ 152 h 298"/>
              <a:gd name="T22" fmla="*/ 0 w 372"/>
              <a:gd name="T23" fmla="*/ 264 h 298"/>
              <a:gd name="T24" fmla="*/ 6 w 372"/>
              <a:gd name="T25" fmla="*/ 274 h 298"/>
              <a:gd name="T26" fmla="*/ 22 w 372"/>
              <a:gd name="T27" fmla="*/ 274 h 298"/>
              <a:gd name="T28" fmla="*/ 30 w 372"/>
              <a:gd name="T29" fmla="*/ 250 h 298"/>
              <a:gd name="T30" fmla="*/ 58 w 372"/>
              <a:gd name="T31" fmla="*/ 232 h 298"/>
              <a:gd name="T32" fmla="*/ 84 w 372"/>
              <a:gd name="T33" fmla="*/ 234 h 298"/>
              <a:gd name="T34" fmla="*/ 108 w 372"/>
              <a:gd name="T35" fmla="*/ 258 h 298"/>
              <a:gd name="T36" fmla="*/ 110 w 372"/>
              <a:gd name="T37" fmla="*/ 274 h 298"/>
              <a:gd name="T38" fmla="*/ 200 w 372"/>
              <a:gd name="T39" fmla="*/ 274 h 298"/>
              <a:gd name="T40" fmla="*/ 200 w 372"/>
              <a:gd name="T41" fmla="*/ 266 h 298"/>
              <a:gd name="T42" fmla="*/ 218 w 372"/>
              <a:gd name="T43" fmla="*/ 238 h 298"/>
              <a:gd name="T44" fmla="*/ 244 w 372"/>
              <a:gd name="T45" fmla="*/ 230 h 298"/>
              <a:gd name="T46" fmla="*/ 270 w 372"/>
              <a:gd name="T47" fmla="*/ 240 h 298"/>
              <a:gd name="T48" fmla="*/ 286 w 372"/>
              <a:gd name="T49" fmla="*/ 264 h 298"/>
              <a:gd name="T50" fmla="*/ 286 w 372"/>
              <a:gd name="T51" fmla="*/ 210 h 298"/>
              <a:gd name="T52" fmla="*/ 366 w 372"/>
              <a:gd name="T53" fmla="*/ 164 h 298"/>
              <a:gd name="T54" fmla="*/ 372 w 372"/>
              <a:gd name="T55" fmla="*/ 154 h 298"/>
              <a:gd name="T56" fmla="*/ 362 w 372"/>
              <a:gd name="T57" fmla="*/ 144 h 298"/>
              <a:gd name="T58" fmla="*/ 168 w 372"/>
              <a:gd name="T59" fmla="*/ 160 h 298"/>
              <a:gd name="T60" fmla="*/ 162 w 372"/>
              <a:gd name="T61" fmla="*/ 152 h 298"/>
              <a:gd name="T62" fmla="*/ 116 w 372"/>
              <a:gd name="T63" fmla="*/ 148 h 298"/>
              <a:gd name="T64" fmla="*/ 90 w 372"/>
              <a:gd name="T65" fmla="*/ 130 h 298"/>
              <a:gd name="T66" fmla="*/ 84 w 372"/>
              <a:gd name="T67" fmla="*/ 108 h 298"/>
              <a:gd name="T68" fmla="*/ 68 w 372"/>
              <a:gd name="T69" fmla="*/ 92 h 298"/>
              <a:gd name="T70" fmla="*/ 54 w 372"/>
              <a:gd name="T71" fmla="*/ 100 h 298"/>
              <a:gd name="T72" fmla="*/ 166 w 372"/>
              <a:gd name="T73" fmla="*/ 34 h 298"/>
              <a:gd name="T74" fmla="*/ 200 w 372"/>
              <a:gd name="T75" fmla="*/ 172 h 298"/>
              <a:gd name="T76" fmla="*/ 66 w 372"/>
              <a:gd name="T77" fmla="*/ 250 h 298"/>
              <a:gd name="T78" fmla="*/ 88 w 372"/>
              <a:gd name="T79" fmla="*/ 264 h 298"/>
              <a:gd name="T80" fmla="*/ 84 w 372"/>
              <a:gd name="T81" fmla="*/ 292 h 298"/>
              <a:gd name="T82" fmla="*/ 58 w 372"/>
              <a:gd name="T83" fmla="*/ 296 h 298"/>
              <a:gd name="T84" fmla="*/ 42 w 372"/>
              <a:gd name="T85" fmla="*/ 274 h 298"/>
              <a:gd name="T86" fmla="*/ 66 w 372"/>
              <a:gd name="T87" fmla="*/ 250 h 298"/>
              <a:gd name="T88" fmla="*/ 260 w 372"/>
              <a:gd name="T89" fmla="*/ 258 h 298"/>
              <a:gd name="T90" fmla="*/ 266 w 372"/>
              <a:gd name="T91" fmla="*/ 284 h 298"/>
              <a:gd name="T92" fmla="*/ 244 w 372"/>
              <a:gd name="T93" fmla="*/ 298 h 298"/>
              <a:gd name="T94" fmla="*/ 220 w 372"/>
              <a:gd name="T95" fmla="*/ 274 h 298"/>
              <a:gd name="T96" fmla="*/ 234 w 372"/>
              <a:gd name="T97" fmla="*/ 25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2" h="298">
                <a:moveTo>
                  <a:pt x="362" y="144"/>
                </a:moveTo>
                <a:lnTo>
                  <a:pt x="286" y="144"/>
                </a:lnTo>
                <a:lnTo>
                  <a:pt x="286" y="10"/>
                </a:lnTo>
                <a:lnTo>
                  <a:pt x="286" y="10"/>
                </a:lnTo>
                <a:lnTo>
                  <a:pt x="286" y="6"/>
                </a:lnTo>
                <a:lnTo>
                  <a:pt x="284" y="2"/>
                </a:lnTo>
                <a:lnTo>
                  <a:pt x="280" y="0"/>
                </a:lnTo>
                <a:lnTo>
                  <a:pt x="276" y="0"/>
                </a:lnTo>
                <a:lnTo>
                  <a:pt x="256" y="0"/>
                </a:lnTo>
                <a:lnTo>
                  <a:pt x="256" y="0"/>
                </a:lnTo>
                <a:lnTo>
                  <a:pt x="252" y="0"/>
                </a:lnTo>
                <a:lnTo>
                  <a:pt x="250" y="2"/>
                </a:lnTo>
                <a:lnTo>
                  <a:pt x="246" y="6"/>
                </a:lnTo>
                <a:lnTo>
                  <a:pt x="246" y="10"/>
                </a:lnTo>
                <a:lnTo>
                  <a:pt x="246" y="200"/>
                </a:lnTo>
                <a:lnTo>
                  <a:pt x="218" y="200"/>
                </a:lnTo>
                <a:lnTo>
                  <a:pt x="218" y="200"/>
                </a:lnTo>
                <a:lnTo>
                  <a:pt x="220" y="172"/>
                </a:lnTo>
                <a:lnTo>
                  <a:pt x="220" y="172"/>
                </a:lnTo>
                <a:lnTo>
                  <a:pt x="218" y="136"/>
                </a:lnTo>
                <a:lnTo>
                  <a:pt x="212" y="100"/>
                </a:lnTo>
                <a:lnTo>
                  <a:pt x="202" y="66"/>
                </a:lnTo>
                <a:lnTo>
                  <a:pt x="188" y="34"/>
                </a:lnTo>
                <a:lnTo>
                  <a:pt x="192" y="34"/>
                </a:lnTo>
                <a:lnTo>
                  <a:pt x="192" y="34"/>
                </a:lnTo>
                <a:lnTo>
                  <a:pt x="200" y="32"/>
                </a:lnTo>
                <a:lnTo>
                  <a:pt x="204" y="30"/>
                </a:lnTo>
                <a:lnTo>
                  <a:pt x="208" y="24"/>
                </a:lnTo>
                <a:lnTo>
                  <a:pt x="208" y="18"/>
                </a:lnTo>
                <a:lnTo>
                  <a:pt x="208" y="18"/>
                </a:lnTo>
                <a:lnTo>
                  <a:pt x="208" y="12"/>
                </a:lnTo>
                <a:lnTo>
                  <a:pt x="204" y="6"/>
                </a:lnTo>
                <a:lnTo>
                  <a:pt x="200" y="4"/>
                </a:lnTo>
                <a:lnTo>
                  <a:pt x="192" y="2"/>
                </a:lnTo>
                <a:lnTo>
                  <a:pt x="36" y="2"/>
                </a:lnTo>
                <a:lnTo>
                  <a:pt x="36" y="2"/>
                </a:lnTo>
                <a:lnTo>
                  <a:pt x="30" y="4"/>
                </a:lnTo>
                <a:lnTo>
                  <a:pt x="24" y="6"/>
                </a:lnTo>
                <a:lnTo>
                  <a:pt x="22" y="12"/>
                </a:lnTo>
                <a:lnTo>
                  <a:pt x="20" y="18"/>
                </a:lnTo>
                <a:lnTo>
                  <a:pt x="20" y="150"/>
                </a:lnTo>
                <a:lnTo>
                  <a:pt x="10" y="150"/>
                </a:lnTo>
                <a:lnTo>
                  <a:pt x="10" y="150"/>
                </a:lnTo>
                <a:lnTo>
                  <a:pt x="6" y="152"/>
                </a:lnTo>
                <a:lnTo>
                  <a:pt x="4" y="154"/>
                </a:lnTo>
                <a:lnTo>
                  <a:pt x="0" y="156"/>
                </a:lnTo>
                <a:lnTo>
                  <a:pt x="0" y="160"/>
                </a:lnTo>
                <a:lnTo>
                  <a:pt x="0" y="264"/>
                </a:lnTo>
                <a:lnTo>
                  <a:pt x="0" y="264"/>
                </a:lnTo>
                <a:lnTo>
                  <a:pt x="0" y="268"/>
                </a:lnTo>
                <a:lnTo>
                  <a:pt x="4" y="272"/>
                </a:lnTo>
                <a:lnTo>
                  <a:pt x="6" y="274"/>
                </a:lnTo>
                <a:lnTo>
                  <a:pt x="10" y="274"/>
                </a:lnTo>
                <a:lnTo>
                  <a:pt x="22" y="274"/>
                </a:lnTo>
                <a:lnTo>
                  <a:pt x="22" y="274"/>
                </a:lnTo>
                <a:lnTo>
                  <a:pt x="22" y="274"/>
                </a:lnTo>
                <a:lnTo>
                  <a:pt x="22" y="274"/>
                </a:lnTo>
                <a:lnTo>
                  <a:pt x="24" y="266"/>
                </a:lnTo>
                <a:lnTo>
                  <a:pt x="26" y="258"/>
                </a:lnTo>
                <a:lnTo>
                  <a:pt x="30" y="250"/>
                </a:lnTo>
                <a:lnTo>
                  <a:pt x="36" y="244"/>
                </a:lnTo>
                <a:lnTo>
                  <a:pt x="42" y="238"/>
                </a:lnTo>
                <a:lnTo>
                  <a:pt x="50" y="234"/>
                </a:lnTo>
                <a:lnTo>
                  <a:pt x="58" y="232"/>
                </a:lnTo>
                <a:lnTo>
                  <a:pt x="66" y="230"/>
                </a:lnTo>
                <a:lnTo>
                  <a:pt x="66" y="230"/>
                </a:lnTo>
                <a:lnTo>
                  <a:pt x="76" y="232"/>
                </a:lnTo>
                <a:lnTo>
                  <a:pt x="84" y="234"/>
                </a:lnTo>
                <a:lnTo>
                  <a:pt x="92" y="238"/>
                </a:lnTo>
                <a:lnTo>
                  <a:pt x="98" y="244"/>
                </a:lnTo>
                <a:lnTo>
                  <a:pt x="104" y="250"/>
                </a:lnTo>
                <a:lnTo>
                  <a:pt x="108" y="258"/>
                </a:lnTo>
                <a:lnTo>
                  <a:pt x="110" y="266"/>
                </a:lnTo>
                <a:lnTo>
                  <a:pt x="110" y="274"/>
                </a:lnTo>
                <a:lnTo>
                  <a:pt x="110" y="274"/>
                </a:lnTo>
                <a:lnTo>
                  <a:pt x="110" y="274"/>
                </a:lnTo>
                <a:lnTo>
                  <a:pt x="158" y="274"/>
                </a:lnTo>
                <a:lnTo>
                  <a:pt x="158" y="274"/>
                </a:lnTo>
                <a:lnTo>
                  <a:pt x="158" y="274"/>
                </a:lnTo>
                <a:lnTo>
                  <a:pt x="200" y="274"/>
                </a:lnTo>
                <a:lnTo>
                  <a:pt x="200" y="274"/>
                </a:lnTo>
                <a:lnTo>
                  <a:pt x="200" y="274"/>
                </a:lnTo>
                <a:lnTo>
                  <a:pt x="200" y="274"/>
                </a:lnTo>
                <a:lnTo>
                  <a:pt x="200" y="266"/>
                </a:lnTo>
                <a:lnTo>
                  <a:pt x="202" y="258"/>
                </a:lnTo>
                <a:lnTo>
                  <a:pt x="206" y="250"/>
                </a:lnTo>
                <a:lnTo>
                  <a:pt x="212" y="244"/>
                </a:lnTo>
                <a:lnTo>
                  <a:pt x="218" y="238"/>
                </a:lnTo>
                <a:lnTo>
                  <a:pt x="226" y="234"/>
                </a:lnTo>
                <a:lnTo>
                  <a:pt x="234" y="232"/>
                </a:lnTo>
                <a:lnTo>
                  <a:pt x="244" y="230"/>
                </a:lnTo>
                <a:lnTo>
                  <a:pt x="244" y="230"/>
                </a:lnTo>
                <a:lnTo>
                  <a:pt x="250" y="230"/>
                </a:lnTo>
                <a:lnTo>
                  <a:pt x="258" y="232"/>
                </a:lnTo>
                <a:lnTo>
                  <a:pt x="264" y="236"/>
                </a:lnTo>
                <a:lnTo>
                  <a:pt x="270" y="240"/>
                </a:lnTo>
                <a:lnTo>
                  <a:pt x="276" y="246"/>
                </a:lnTo>
                <a:lnTo>
                  <a:pt x="280" y="252"/>
                </a:lnTo>
                <a:lnTo>
                  <a:pt x="284" y="258"/>
                </a:lnTo>
                <a:lnTo>
                  <a:pt x="286" y="264"/>
                </a:lnTo>
                <a:lnTo>
                  <a:pt x="286" y="264"/>
                </a:lnTo>
                <a:lnTo>
                  <a:pt x="286" y="264"/>
                </a:lnTo>
                <a:lnTo>
                  <a:pt x="286" y="224"/>
                </a:lnTo>
                <a:lnTo>
                  <a:pt x="286" y="210"/>
                </a:lnTo>
                <a:lnTo>
                  <a:pt x="286" y="164"/>
                </a:lnTo>
                <a:lnTo>
                  <a:pt x="362" y="164"/>
                </a:lnTo>
                <a:lnTo>
                  <a:pt x="362" y="164"/>
                </a:lnTo>
                <a:lnTo>
                  <a:pt x="366" y="164"/>
                </a:lnTo>
                <a:lnTo>
                  <a:pt x="370" y="160"/>
                </a:lnTo>
                <a:lnTo>
                  <a:pt x="372" y="158"/>
                </a:lnTo>
                <a:lnTo>
                  <a:pt x="372" y="154"/>
                </a:lnTo>
                <a:lnTo>
                  <a:pt x="372" y="154"/>
                </a:lnTo>
                <a:lnTo>
                  <a:pt x="372" y="150"/>
                </a:lnTo>
                <a:lnTo>
                  <a:pt x="370" y="146"/>
                </a:lnTo>
                <a:lnTo>
                  <a:pt x="366" y="144"/>
                </a:lnTo>
                <a:lnTo>
                  <a:pt x="362" y="144"/>
                </a:lnTo>
                <a:lnTo>
                  <a:pt x="362" y="144"/>
                </a:lnTo>
                <a:close/>
                <a:moveTo>
                  <a:pt x="198" y="200"/>
                </a:moveTo>
                <a:lnTo>
                  <a:pt x="168" y="200"/>
                </a:lnTo>
                <a:lnTo>
                  <a:pt x="168" y="160"/>
                </a:lnTo>
                <a:lnTo>
                  <a:pt x="168" y="160"/>
                </a:lnTo>
                <a:lnTo>
                  <a:pt x="168" y="156"/>
                </a:lnTo>
                <a:lnTo>
                  <a:pt x="166" y="154"/>
                </a:lnTo>
                <a:lnTo>
                  <a:pt x="162" y="152"/>
                </a:lnTo>
                <a:lnTo>
                  <a:pt x="158" y="150"/>
                </a:lnTo>
                <a:lnTo>
                  <a:pt x="124" y="150"/>
                </a:lnTo>
                <a:lnTo>
                  <a:pt x="124" y="150"/>
                </a:lnTo>
                <a:lnTo>
                  <a:pt x="116" y="148"/>
                </a:lnTo>
                <a:lnTo>
                  <a:pt x="108" y="146"/>
                </a:lnTo>
                <a:lnTo>
                  <a:pt x="102" y="142"/>
                </a:lnTo>
                <a:lnTo>
                  <a:pt x="96" y="136"/>
                </a:lnTo>
                <a:lnTo>
                  <a:pt x="90" y="130"/>
                </a:lnTo>
                <a:lnTo>
                  <a:pt x="86" y="124"/>
                </a:lnTo>
                <a:lnTo>
                  <a:pt x="84" y="116"/>
                </a:lnTo>
                <a:lnTo>
                  <a:pt x="84" y="108"/>
                </a:lnTo>
                <a:lnTo>
                  <a:pt x="84" y="108"/>
                </a:lnTo>
                <a:lnTo>
                  <a:pt x="82" y="102"/>
                </a:lnTo>
                <a:lnTo>
                  <a:pt x="80" y="98"/>
                </a:lnTo>
                <a:lnTo>
                  <a:pt x="74" y="94"/>
                </a:lnTo>
                <a:lnTo>
                  <a:pt x="68" y="92"/>
                </a:lnTo>
                <a:lnTo>
                  <a:pt x="68" y="92"/>
                </a:lnTo>
                <a:lnTo>
                  <a:pt x="62" y="94"/>
                </a:lnTo>
                <a:lnTo>
                  <a:pt x="58" y="96"/>
                </a:lnTo>
                <a:lnTo>
                  <a:pt x="54" y="100"/>
                </a:lnTo>
                <a:lnTo>
                  <a:pt x="52" y="106"/>
                </a:lnTo>
                <a:lnTo>
                  <a:pt x="52" y="34"/>
                </a:lnTo>
                <a:lnTo>
                  <a:pt x="166" y="34"/>
                </a:lnTo>
                <a:lnTo>
                  <a:pt x="166" y="34"/>
                </a:lnTo>
                <a:lnTo>
                  <a:pt x="180" y="66"/>
                </a:lnTo>
                <a:lnTo>
                  <a:pt x="192" y="100"/>
                </a:lnTo>
                <a:lnTo>
                  <a:pt x="198" y="136"/>
                </a:lnTo>
                <a:lnTo>
                  <a:pt x="200" y="172"/>
                </a:lnTo>
                <a:lnTo>
                  <a:pt x="200" y="172"/>
                </a:lnTo>
                <a:lnTo>
                  <a:pt x="198" y="200"/>
                </a:lnTo>
                <a:lnTo>
                  <a:pt x="198" y="200"/>
                </a:lnTo>
                <a:close/>
                <a:moveTo>
                  <a:pt x="66" y="250"/>
                </a:moveTo>
                <a:lnTo>
                  <a:pt x="66" y="250"/>
                </a:lnTo>
                <a:lnTo>
                  <a:pt x="76" y="252"/>
                </a:lnTo>
                <a:lnTo>
                  <a:pt x="84" y="258"/>
                </a:lnTo>
                <a:lnTo>
                  <a:pt x="88" y="264"/>
                </a:lnTo>
                <a:lnTo>
                  <a:pt x="90" y="274"/>
                </a:lnTo>
                <a:lnTo>
                  <a:pt x="90" y="274"/>
                </a:lnTo>
                <a:lnTo>
                  <a:pt x="88" y="284"/>
                </a:lnTo>
                <a:lnTo>
                  <a:pt x="84" y="292"/>
                </a:lnTo>
                <a:lnTo>
                  <a:pt x="76" y="296"/>
                </a:lnTo>
                <a:lnTo>
                  <a:pt x="66" y="298"/>
                </a:lnTo>
                <a:lnTo>
                  <a:pt x="66" y="298"/>
                </a:lnTo>
                <a:lnTo>
                  <a:pt x="58" y="296"/>
                </a:lnTo>
                <a:lnTo>
                  <a:pt x="50" y="292"/>
                </a:lnTo>
                <a:lnTo>
                  <a:pt x="44" y="284"/>
                </a:lnTo>
                <a:lnTo>
                  <a:pt x="42" y="274"/>
                </a:lnTo>
                <a:lnTo>
                  <a:pt x="42" y="274"/>
                </a:lnTo>
                <a:lnTo>
                  <a:pt x="44" y="264"/>
                </a:lnTo>
                <a:lnTo>
                  <a:pt x="50" y="258"/>
                </a:lnTo>
                <a:lnTo>
                  <a:pt x="58" y="252"/>
                </a:lnTo>
                <a:lnTo>
                  <a:pt x="66" y="250"/>
                </a:lnTo>
                <a:close/>
                <a:moveTo>
                  <a:pt x="244" y="250"/>
                </a:moveTo>
                <a:lnTo>
                  <a:pt x="244" y="250"/>
                </a:lnTo>
                <a:lnTo>
                  <a:pt x="252" y="252"/>
                </a:lnTo>
                <a:lnTo>
                  <a:pt x="260" y="258"/>
                </a:lnTo>
                <a:lnTo>
                  <a:pt x="266" y="264"/>
                </a:lnTo>
                <a:lnTo>
                  <a:pt x="268" y="274"/>
                </a:lnTo>
                <a:lnTo>
                  <a:pt x="268" y="274"/>
                </a:lnTo>
                <a:lnTo>
                  <a:pt x="266" y="284"/>
                </a:lnTo>
                <a:lnTo>
                  <a:pt x="260" y="292"/>
                </a:lnTo>
                <a:lnTo>
                  <a:pt x="252" y="296"/>
                </a:lnTo>
                <a:lnTo>
                  <a:pt x="244" y="298"/>
                </a:lnTo>
                <a:lnTo>
                  <a:pt x="244" y="298"/>
                </a:lnTo>
                <a:lnTo>
                  <a:pt x="234" y="296"/>
                </a:lnTo>
                <a:lnTo>
                  <a:pt x="226" y="292"/>
                </a:lnTo>
                <a:lnTo>
                  <a:pt x="222" y="284"/>
                </a:lnTo>
                <a:lnTo>
                  <a:pt x="220" y="274"/>
                </a:lnTo>
                <a:lnTo>
                  <a:pt x="220" y="274"/>
                </a:lnTo>
                <a:lnTo>
                  <a:pt x="222" y="264"/>
                </a:lnTo>
                <a:lnTo>
                  <a:pt x="226" y="258"/>
                </a:lnTo>
                <a:lnTo>
                  <a:pt x="234" y="252"/>
                </a:lnTo>
                <a:lnTo>
                  <a:pt x="244" y="250"/>
                </a:lnTo>
                <a:close/>
              </a:path>
            </a:pathLst>
          </a:custGeom>
          <a:solidFill>
            <a:schemeClr val="bg1"/>
          </a:solidFill>
          <a:ln>
            <a:no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sp>
        <p:nvSpPr>
          <p:cNvPr id="14" name="TextBox 13">
            <a:extLst>
              <a:ext uri="{FF2B5EF4-FFF2-40B4-BE49-F238E27FC236}">
                <a16:creationId xmlns:a16="http://schemas.microsoft.com/office/drawing/2014/main" id="{D48919A6-45D1-450E-BF05-C6BB3FF69270}"/>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0">
              <a:buClr>
                <a:srgbClr val="525252"/>
              </a:buClr>
              <a:buSzPts val="2400"/>
              <a:defRPr/>
            </a:pPr>
            <a:r>
              <a:rPr lang="en-US" sz="2800" kern="0">
                <a:solidFill>
                  <a:srgbClr val="000000"/>
                </a:solidFill>
                <a:latin typeface="Segoe UI Semibold" panose="020B0702040204020203" pitchFamily="34" charset="0"/>
                <a:cs typeface="Segoe UI Semibold" panose="020B0702040204020203" pitchFamily="34" charset="0"/>
                <a:sym typeface="Quattrocento Sans"/>
              </a:rPr>
              <a:t>Employment by Industry - 2021</a:t>
            </a:r>
            <a:endParaRPr lang="en-US" sz="2800" kern="0">
              <a:solidFill>
                <a:srgbClr val="000000"/>
              </a:solidFill>
              <a:latin typeface="Segoe UI Semibold" panose="020B0702040204020203" pitchFamily="34" charset="0"/>
              <a:cs typeface="Segoe UI Semibold" panose="020B0702040204020203" pitchFamily="34" charset="0"/>
              <a:sym typeface="Arial"/>
            </a:endParaRPr>
          </a:p>
        </p:txBody>
      </p:sp>
    </p:spTree>
    <p:extLst>
      <p:ext uri="{BB962C8B-B14F-4D97-AF65-F5344CB8AC3E}">
        <p14:creationId xmlns:p14="http://schemas.microsoft.com/office/powerpoint/2010/main" val="89998524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150" name="Group 1149">
            <a:extLst>
              <a:ext uri="{FF2B5EF4-FFF2-40B4-BE49-F238E27FC236}">
                <a16:creationId xmlns:a16="http://schemas.microsoft.com/office/drawing/2014/main" id="{7A6ECE52-3C25-48B0-AF46-12E7554E767D}"/>
              </a:ext>
            </a:extLst>
          </p:cNvPr>
          <p:cNvGrpSpPr/>
          <p:nvPr/>
        </p:nvGrpSpPr>
        <p:grpSpPr>
          <a:xfrm>
            <a:off x="6846734" y="3943380"/>
            <a:ext cx="612775" cy="612775"/>
            <a:chOff x="5692105" y="4581723"/>
            <a:chExt cx="612775" cy="612775"/>
          </a:xfrm>
        </p:grpSpPr>
        <p:sp>
          <p:nvSpPr>
            <p:cNvPr id="1151" name="Oval 1150">
              <a:extLst>
                <a:ext uri="{FF2B5EF4-FFF2-40B4-BE49-F238E27FC236}">
                  <a16:creationId xmlns:a16="http://schemas.microsoft.com/office/drawing/2014/main" id="{9794C051-D105-460C-A672-2AA06ECBC2DD}"/>
                </a:ext>
              </a:extLst>
            </p:cNvPr>
            <p:cNvSpPr/>
            <p:nvPr/>
          </p:nvSpPr>
          <p:spPr bwMode="ltGray">
            <a:xfrm>
              <a:off x="5692105"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152" name="Group 188">
              <a:extLst>
                <a:ext uri="{FF2B5EF4-FFF2-40B4-BE49-F238E27FC236}">
                  <a16:creationId xmlns:a16="http://schemas.microsoft.com/office/drawing/2014/main" id="{95DFC55B-38D8-4449-B259-9E784218B1E1}"/>
                </a:ext>
              </a:extLst>
            </p:cNvPr>
            <p:cNvGrpSpPr>
              <a:grpSpLocks/>
            </p:cNvGrpSpPr>
            <p:nvPr/>
          </p:nvGrpSpPr>
          <p:grpSpPr bwMode="auto">
            <a:xfrm>
              <a:off x="5866959" y="4657022"/>
              <a:ext cx="227312" cy="452223"/>
              <a:chOff x="2160" y="3363"/>
              <a:chExt cx="251" cy="500"/>
            </a:xfrm>
          </p:grpSpPr>
          <p:sp>
            <p:nvSpPr>
              <p:cNvPr id="1153" name="Freeform 189">
                <a:extLst>
                  <a:ext uri="{FF2B5EF4-FFF2-40B4-BE49-F238E27FC236}">
                    <a16:creationId xmlns:a16="http://schemas.microsoft.com/office/drawing/2014/main" id="{730D9767-E4B7-4FD4-A9E5-1503E850FA9E}"/>
                  </a:ext>
                </a:extLst>
              </p:cNvPr>
              <p:cNvSpPr>
                <a:spLocks noEditPoints="1"/>
              </p:cNvSpPr>
              <p:nvPr/>
            </p:nvSpPr>
            <p:spPr bwMode="auto">
              <a:xfrm>
                <a:off x="2160" y="3363"/>
                <a:ext cx="251" cy="500"/>
              </a:xfrm>
              <a:custGeom>
                <a:avLst/>
                <a:gdLst>
                  <a:gd name="T0" fmla="*/ 4 w 8060"/>
                  <a:gd name="T1" fmla="*/ 1 h 16028"/>
                  <a:gd name="T2" fmla="*/ 5 w 8060"/>
                  <a:gd name="T3" fmla="*/ 1 h 16028"/>
                  <a:gd name="T4" fmla="*/ 5 w 8060"/>
                  <a:gd name="T5" fmla="*/ 0 h 16028"/>
                  <a:gd name="T6" fmla="*/ 6 w 8060"/>
                  <a:gd name="T7" fmla="*/ 0 h 16028"/>
                  <a:gd name="T8" fmla="*/ 6 w 8060"/>
                  <a:gd name="T9" fmla="*/ 0 h 16028"/>
                  <a:gd name="T10" fmla="*/ 7 w 8060"/>
                  <a:gd name="T11" fmla="*/ 0 h 16028"/>
                  <a:gd name="T12" fmla="*/ 7 w 8060"/>
                  <a:gd name="T13" fmla="*/ 0 h 16028"/>
                  <a:gd name="T14" fmla="*/ 8 w 8060"/>
                  <a:gd name="T15" fmla="*/ 1 h 16028"/>
                  <a:gd name="T16" fmla="*/ 8 w 8060"/>
                  <a:gd name="T17" fmla="*/ 1 h 16028"/>
                  <a:gd name="T18" fmla="*/ 8 w 8060"/>
                  <a:gd name="T19" fmla="*/ 2 h 16028"/>
                  <a:gd name="T20" fmla="*/ 8 w 8060"/>
                  <a:gd name="T21" fmla="*/ 2 h 16028"/>
                  <a:gd name="T22" fmla="*/ 7 w 8060"/>
                  <a:gd name="T23" fmla="*/ 3 h 16028"/>
                  <a:gd name="T24" fmla="*/ 7 w 8060"/>
                  <a:gd name="T25" fmla="*/ 3 h 16028"/>
                  <a:gd name="T26" fmla="*/ 6 w 8060"/>
                  <a:gd name="T27" fmla="*/ 3 h 16028"/>
                  <a:gd name="T28" fmla="*/ 6 w 8060"/>
                  <a:gd name="T29" fmla="*/ 3 h 16028"/>
                  <a:gd name="T30" fmla="*/ 5 w 8060"/>
                  <a:gd name="T31" fmla="*/ 3 h 16028"/>
                  <a:gd name="T32" fmla="*/ 4 w 8060"/>
                  <a:gd name="T33" fmla="*/ 2 h 16028"/>
                  <a:gd name="T34" fmla="*/ 3 w 8060"/>
                  <a:gd name="T35" fmla="*/ 6 h 16028"/>
                  <a:gd name="T36" fmla="*/ 3 w 8060"/>
                  <a:gd name="T37" fmla="*/ 6 h 16028"/>
                  <a:gd name="T38" fmla="*/ 3 w 8060"/>
                  <a:gd name="T39" fmla="*/ 6 h 16028"/>
                  <a:gd name="T40" fmla="*/ 3 w 8060"/>
                  <a:gd name="T41" fmla="*/ 6 h 16028"/>
                  <a:gd name="T42" fmla="*/ 2 w 8060"/>
                  <a:gd name="T43" fmla="*/ 6 h 16028"/>
                  <a:gd name="T44" fmla="*/ 1 w 8060"/>
                  <a:gd name="T45" fmla="*/ 7 h 16028"/>
                  <a:gd name="T46" fmla="*/ 0 w 8060"/>
                  <a:gd name="T47" fmla="*/ 8 h 16028"/>
                  <a:gd name="T48" fmla="*/ 0 w 8060"/>
                  <a:gd name="T49" fmla="*/ 8 h 16028"/>
                  <a:gd name="T50" fmla="*/ 0 w 8060"/>
                  <a:gd name="T51" fmla="*/ 8 h 16028"/>
                  <a:gd name="T52" fmla="*/ 0 w 8060"/>
                  <a:gd name="T53" fmla="*/ 8 h 16028"/>
                  <a:gd name="T54" fmla="*/ 0 w 8060"/>
                  <a:gd name="T55" fmla="*/ 8 h 16028"/>
                  <a:gd name="T56" fmla="*/ 0 w 8060"/>
                  <a:gd name="T57" fmla="*/ 7 h 16028"/>
                  <a:gd name="T58" fmla="*/ 1 w 8060"/>
                  <a:gd name="T59" fmla="*/ 6 h 16028"/>
                  <a:gd name="T60" fmla="*/ 2 w 8060"/>
                  <a:gd name="T61" fmla="*/ 5 h 16028"/>
                  <a:gd name="T62" fmla="*/ 3 w 8060"/>
                  <a:gd name="T63" fmla="*/ 5 h 16028"/>
                  <a:gd name="T64" fmla="*/ 4 w 8060"/>
                  <a:gd name="T65" fmla="*/ 4 h 16028"/>
                  <a:gd name="T66" fmla="*/ 5 w 8060"/>
                  <a:gd name="T67" fmla="*/ 4 h 16028"/>
                  <a:gd name="T68" fmla="*/ 5 w 8060"/>
                  <a:gd name="T69" fmla="*/ 4 h 16028"/>
                  <a:gd name="T70" fmla="*/ 6 w 8060"/>
                  <a:gd name="T71" fmla="*/ 5 h 16028"/>
                  <a:gd name="T72" fmla="*/ 6 w 8060"/>
                  <a:gd name="T73" fmla="*/ 5 h 16028"/>
                  <a:gd name="T74" fmla="*/ 6 w 8060"/>
                  <a:gd name="T75" fmla="*/ 6 h 16028"/>
                  <a:gd name="T76" fmla="*/ 6 w 8060"/>
                  <a:gd name="T77" fmla="*/ 7 h 16028"/>
                  <a:gd name="T78" fmla="*/ 4 w 8060"/>
                  <a:gd name="T79" fmla="*/ 13 h 16028"/>
                  <a:gd name="T80" fmla="*/ 4 w 8060"/>
                  <a:gd name="T81" fmla="*/ 13 h 16028"/>
                  <a:gd name="T82" fmla="*/ 4 w 8060"/>
                  <a:gd name="T83" fmla="*/ 14 h 16028"/>
                  <a:gd name="T84" fmla="*/ 4 w 8060"/>
                  <a:gd name="T85" fmla="*/ 14 h 16028"/>
                  <a:gd name="T86" fmla="*/ 5 w 8060"/>
                  <a:gd name="T87" fmla="*/ 14 h 16028"/>
                  <a:gd name="T88" fmla="*/ 5 w 8060"/>
                  <a:gd name="T89" fmla="*/ 13 h 16028"/>
                  <a:gd name="T90" fmla="*/ 6 w 8060"/>
                  <a:gd name="T91" fmla="*/ 13 h 16028"/>
                  <a:gd name="T92" fmla="*/ 6 w 8060"/>
                  <a:gd name="T93" fmla="*/ 12 h 16028"/>
                  <a:gd name="T94" fmla="*/ 7 w 8060"/>
                  <a:gd name="T95" fmla="*/ 12 h 16028"/>
                  <a:gd name="T96" fmla="*/ 7 w 8060"/>
                  <a:gd name="T97" fmla="*/ 12 h 16028"/>
                  <a:gd name="T98" fmla="*/ 7 w 8060"/>
                  <a:gd name="T99" fmla="*/ 12 h 16028"/>
                  <a:gd name="T100" fmla="*/ 7 w 8060"/>
                  <a:gd name="T101" fmla="*/ 12 h 16028"/>
                  <a:gd name="T102" fmla="*/ 6 w 8060"/>
                  <a:gd name="T103" fmla="*/ 13 h 16028"/>
                  <a:gd name="T104" fmla="*/ 6 w 8060"/>
                  <a:gd name="T105" fmla="*/ 14 h 16028"/>
                  <a:gd name="T106" fmla="*/ 5 w 8060"/>
                  <a:gd name="T107" fmla="*/ 14 h 16028"/>
                  <a:gd name="T108" fmla="*/ 4 w 8060"/>
                  <a:gd name="T109" fmla="*/ 15 h 16028"/>
                  <a:gd name="T110" fmla="*/ 3 w 8060"/>
                  <a:gd name="T111" fmla="*/ 15 h 16028"/>
                  <a:gd name="T112" fmla="*/ 2 w 8060"/>
                  <a:gd name="T113" fmla="*/ 16 h 16028"/>
                  <a:gd name="T114" fmla="*/ 1 w 8060"/>
                  <a:gd name="T115" fmla="*/ 16 h 16028"/>
                  <a:gd name="T116" fmla="*/ 1 w 8060"/>
                  <a:gd name="T117" fmla="*/ 15 h 16028"/>
                  <a:gd name="T118" fmla="*/ 0 w 8060"/>
                  <a:gd name="T119" fmla="*/ 14 h 16028"/>
                  <a:gd name="T120" fmla="*/ 1 w 8060"/>
                  <a:gd name="T121" fmla="*/ 13 h 16028"/>
                  <a:gd name="T122" fmla="*/ 1 w 8060"/>
                  <a:gd name="T123" fmla="*/ 12 h 1602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60"/>
                  <a:gd name="T187" fmla="*/ 0 h 16028"/>
                  <a:gd name="T188" fmla="*/ 8060 w 8060"/>
                  <a:gd name="T189" fmla="*/ 16028 h 1602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60" h="16028">
                    <a:moveTo>
                      <a:pt x="4444" y="1689"/>
                    </a:moveTo>
                    <a:lnTo>
                      <a:pt x="4447" y="1648"/>
                    </a:lnTo>
                    <a:lnTo>
                      <a:pt x="4451" y="1606"/>
                    </a:lnTo>
                    <a:lnTo>
                      <a:pt x="4457" y="1565"/>
                    </a:lnTo>
                    <a:lnTo>
                      <a:pt x="4463" y="1524"/>
                    </a:lnTo>
                    <a:lnTo>
                      <a:pt x="4471" y="1484"/>
                    </a:lnTo>
                    <a:lnTo>
                      <a:pt x="4479" y="1444"/>
                    </a:lnTo>
                    <a:lnTo>
                      <a:pt x="4489" y="1405"/>
                    </a:lnTo>
                    <a:lnTo>
                      <a:pt x="4500" y="1366"/>
                    </a:lnTo>
                    <a:lnTo>
                      <a:pt x="4512" y="1326"/>
                    </a:lnTo>
                    <a:lnTo>
                      <a:pt x="4525" y="1287"/>
                    </a:lnTo>
                    <a:lnTo>
                      <a:pt x="4539" y="1249"/>
                    </a:lnTo>
                    <a:lnTo>
                      <a:pt x="4554" y="1211"/>
                    </a:lnTo>
                    <a:lnTo>
                      <a:pt x="4571" y="1173"/>
                    </a:lnTo>
                    <a:lnTo>
                      <a:pt x="4588" y="1136"/>
                    </a:lnTo>
                    <a:lnTo>
                      <a:pt x="4607" y="1098"/>
                    </a:lnTo>
                    <a:lnTo>
                      <a:pt x="4627" y="1061"/>
                    </a:lnTo>
                    <a:lnTo>
                      <a:pt x="4647" y="1024"/>
                    </a:lnTo>
                    <a:lnTo>
                      <a:pt x="4669" y="988"/>
                    </a:lnTo>
                    <a:lnTo>
                      <a:pt x="4692" y="952"/>
                    </a:lnTo>
                    <a:lnTo>
                      <a:pt x="4716" y="917"/>
                    </a:lnTo>
                    <a:lnTo>
                      <a:pt x="4741" y="881"/>
                    </a:lnTo>
                    <a:lnTo>
                      <a:pt x="4767" y="845"/>
                    </a:lnTo>
                    <a:lnTo>
                      <a:pt x="4795" y="811"/>
                    </a:lnTo>
                    <a:lnTo>
                      <a:pt x="4824" y="776"/>
                    </a:lnTo>
                    <a:lnTo>
                      <a:pt x="4853" y="742"/>
                    </a:lnTo>
                    <a:lnTo>
                      <a:pt x="4884" y="708"/>
                    </a:lnTo>
                    <a:lnTo>
                      <a:pt x="4916" y="675"/>
                    </a:lnTo>
                    <a:lnTo>
                      <a:pt x="4949" y="641"/>
                    </a:lnTo>
                    <a:lnTo>
                      <a:pt x="4982" y="607"/>
                    </a:lnTo>
                    <a:lnTo>
                      <a:pt x="5017" y="575"/>
                    </a:lnTo>
                    <a:lnTo>
                      <a:pt x="5053" y="542"/>
                    </a:lnTo>
                    <a:lnTo>
                      <a:pt x="5091" y="510"/>
                    </a:lnTo>
                    <a:lnTo>
                      <a:pt x="5128" y="479"/>
                    </a:lnTo>
                    <a:lnTo>
                      <a:pt x="5166" y="449"/>
                    </a:lnTo>
                    <a:lnTo>
                      <a:pt x="5205" y="420"/>
                    </a:lnTo>
                    <a:lnTo>
                      <a:pt x="5243" y="391"/>
                    </a:lnTo>
                    <a:lnTo>
                      <a:pt x="5281" y="364"/>
                    </a:lnTo>
                    <a:lnTo>
                      <a:pt x="5319" y="337"/>
                    </a:lnTo>
                    <a:lnTo>
                      <a:pt x="5358" y="312"/>
                    </a:lnTo>
                    <a:lnTo>
                      <a:pt x="5396" y="288"/>
                    </a:lnTo>
                    <a:lnTo>
                      <a:pt x="5435" y="264"/>
                    </a:lnTo>
                    <a:lnTo>
                      <a:pt x="5473" y="242"/>
                    </a:lnTo>
                    <a:lnTo>
                      <a:pt x="5512" y="221"/>
                    </a:lnTo>
                    <a:lnTo>
                      <a:pt x="5551" y="200"/>
                    </a:lnTo>
                    <a:lnTo>
                      <a:pt x="5591" y="181"/>
                    </a:lnTo>
                    <a:lnTo>
                      <a:pt x="5630" y="163"/>
                    </a:lnTo>
                    <a:lnTo>
                      <a:pt x="5669" y="145"/>
                    </a:lnTo>
                    <a:lnTo>
                      <a:pt x="5708" y="129"/>
                    </a:lnTo>
                    <a:lnTo>
                      <a:pt x="5747" y="113"/>
                    </a:lnTo>
                    <a:lnTo>
                      <a:pt x="5787" y="98"/>
                    </a:lnTo>
                    <a:lnTo>
                      <a:pt x="5826" y="85"/>
                    </a:lnTo>
                    <a:lnTo>
                      <a:pt x="5866" y="72"/>
                    </a:lnTo>
                    <a:lnTo>
                      <a:pt x="5905" y="61"/>
                    </a:lnTo>
                    <a:lnTo>
                      <a:pt x="5945" y="50"/>
                    </a:lnTo>
                    <a:lnTo>
                      <a:pt x="5986" y="41"/>
                    </a:lnTo>
                    <a:lnTo>
                      <a:pt x="6026" y="32"/>
                    </a:lnTo>
                    <a:lnTo>
                      <a:pt x="6066" y="25"/>
                    </a:lnTo>
                    <a:lnTo>
                      <a:pt x="6106" y="18"/>
                    </a:lnTo>
                    <a:lnTo>
                      <a:pt x="6146" y="13"/>
                    </a:lnTo>
                    <a:lnTo>
                      <a:pt x="6186" y="8"/>
                    </a:lnTo>
                    <a:lnTo>
                      <a:pt x="6227" y="5"/>
                    </a:lnTo>
                    <a:lnTo>
                      <a:pt x="6267" y="2"/>
                    </a:lnTo>
                    <a:lnTo>
                      <a:pt x="6308" y="1"/>
                    </a:lnTo>
                    <a:lnTo>
                      <a:pt x="6350" y="0"/>
                    </a:lnTo>
                    <a:lnTo>
                      <a:pt x="6400" y="1"/>
                    </a:lnTo>
                    <a:lnTo>
                      <a:pt x="6450" y="2"/>
                    </a:lnTo>
                    <a:lnTo>
                      <a:pt x="6499" y="4"/>
                    </a:lnTo>
                    <a:lnTo>
                      <a:pt x="6548" y="8"/>
                    </a:lnTo>
                    <a:lnTo>
                      <a:pt x="6596" y="12"/>
                    </a:lnTo>
                    <a:lnTo>
                      <a:pt x="6643" y="17"/>
                    </a:lnTo>
                    <a:lnTo>
                      <a:pt x="6689" y="23"/>
                    </a:lnTo>
                    <a:lnTo>
                      <a:pt x="6735" y="29"/>
                    </a:lnTo>
                    <a:lnTo>
                      <a:pt x="6780" y="37"/>
                    </a:lnTo>
                    <a:lnTo>
                      <a:pt x="6824" y="46"/>
                    </a:lnTo>
                    <a:lnTo>
                      <a:pt x="6867" y="55"/>
                    </a:lnTo>
                    <a:lnTo>
                      <a:pt x="6910" y="66"/>
                    </a:lnTo>
                    <a:lnTo>
                      <a:pt x="6952" y="77"/>
                    </a:lnTo>
                    <a:lnTo>
                      <a:pt x="6993" y="90"/>
                    </a:lnTo>
                    <a:lnTo>
                      <a:pt x="7033" y="103"/>
                    </a:lnTo>
                    <a:lnTo>
                      <a:pt x="7073" y="118"/>
                    </a:lnTo>
                    <a:lnTo>
                      <a:pt x="7112" y="133"/>
                    </a:lnTo>
                    <a:lnTo>
                      <a:pt x="7151" y="149"/>
                    </a:lnTo>
                    <a:lnTo>
                      <a:pt x="7189" y="166"/>
                    </a:lnTo>
                    <a:lnTo>
                      <a:pt x="7226" y="184"/>
                    </a:lnTo>
                    <a:lnTo>
                      <a:pt x="7262" y="203"/>
                    </a:lnTo>
                    <a:lnTo>
                      <a:pt x="7297" y="223"/>
                    </a:lnTo>
                    <a:lnTo>
                      <a:pt x="7332" y="244"/>
                    </a:lnTo>
                    <a:lnTo>
                      <a:pt x="7366" y="265"/>
                    </a:lnTo>
                    <a:lnTo>
                      <a:pt x="7399" y="288"/>
                    </a:lnTo>
                    <a:lnTo>
                      <a:pt x="7431" y="311"/>
                    </a:lnTo>
                    <a:lnTo>
                      <a:pt x="7463" y="336"/>
                    </a:lnTo>
                    <a:lnTo>
                      <a:pt x="7494" y="362"/>
                    </a:lnTo>
                    <a:lnTo>
                      <a:pt x="7525" y="389"/>
                    </a:lnTo>
                    <a:lnTo>
                      <a:pt x="7555" y="416"/>
                    </a:lnTo>
                    <a:lnTo>
                      <a:pt x="7584" y="444"/>
                    </a:lnTo>
                    <a:lnTo>
                      <a:pt x="7612" y="473"/>
                    </a:lnTo>
                    <a:lnTo>
                      <a:pt x="7639" y="503"/>
                    </a:lnTo>
                    <a:lnTo>
                      <a:pt x="7666" y="534"/>
                    </a:lnTo>
                    <a:lnTo>
                      <a:pt x="7691" y="565"/>
                    </a:lnTo>
                    <a:lnTo>
                      <a:pt x="7716" y="597"/>
                    </a:lnTo>
                    <a:lnTo>
                      <a:pt x="7740" y="631"/>
                    </a:lnTo>
                    <a:lnTo>
                      <a:pt x="7763" y="665"/>
                    </a:lnTo>
                    <a:lnTo>
                      <a:pt x="7785" y="700"/>
                    </a:lnTo>
                    <a:lnTo>
                      <a:pt x="7807" y="735"/>
                    </a:lnTo>
                    <a:lnTo>
                      <a:pt x="7827" y="771"/>
                    </a:lnTo>
                    <a:lnTo>
                      <a:pt x="7847" y="808"/>
                    </a:lnTo>
                    <a:lnTo>
                      <a:pt x="7866" y="846"/>
                    </a:lnTo>
                    <a:lnTo>
                      <a:pt x="7884" y="886"/>
                    </a:lnTo>
                    <a:lnTo>
                      <a:pt x="7902" y="925"/>
                    </a:lnTo>
                    <a:lnTo>
                      <a:pt x="7918" y="966"/>
                    </a:lnTo>
                    <a:lnTo>
                      <a:pt x="7933" y="1007"/>
                    </a:lnTo>
                    <a:lnTo>
                      <a:pt x="7948" y="1049"/>
                    </a:lnTo>
                    <a:lnTo>
                      <a:pt x="7961" y="1092"/>
                    </a:lnTo>
                    <a:lnTo>
                      <a:pt x="7974" y="1136"/>
                    </a:lnTo>
                    <a:lnTo>
                      <a:pt x="7986" y="1181"/>
                    </a:lnTo>
                    <a:lnTo>
                      <a:pt x="7996" y="1226"/>
                    </a:lnTo>
                    <a:lnTo>
                      <a:pt x="8007" y="1272"/>
                    </a:lnTo>
                    <a:lnTo>
                      <a:pt x="8016" y="1319"/>
                    </a:lnTo>
                    <a:lnTo>
                      <a:pt x="8024" y="1367"/>
                    </a:lnTo>
                    <a:lnTo>
                      <a:pt x="8032" y="1416"/>
                    </a:lnTo>
                    <a:lnTo>
                      <a:pt x="8038" y="1465"/>
                    </a:lnTo>
                    <a:lnTo>
                      <a:pt x="8044" y="1516"/>
                    </a:lnTo>
                    <a:lnTo>
                      <a:pt x="8049" y="1567"/>
                    </a:lnTo>
                    <a:lnTo>
                      <a:pt x="8053" y="1620"/>
                    </a:lnTo>
                    <a:lnTo>
                      <a:pt x="8056" y="1672"/>
                    </a:lnTo>
                    <a:lnTo>
                      <a:pt x="8058" y="1726"/>
                    </a:lnTo>
                    <a:lnTo>
                      <a:pt x="8059" y="1780"/>
                    </a:lnTo>
                    <a:lnTo>
                      <a:pt x="8060" y="1835"/>
                    </a:lnTo>
                    <a:lnTo>
                      <a:pt x="8057" y="1881"/>
                    </a:lnTo>
                    <a:lnTo>
                      <a:pt x="8053" y="1926"/>
                    </a:lnTo>
                    <a:lnTo>
                      <a:pt x="8048" y="1970"/>
                    </a:lnTo>
                    <a:lnTo>
                      <a:pt x="8042" y="2014"/>
                    </a:lnTo>
                    <a:lnTo>
                      <a:pt x="8035" y="2057"/>
                    </a:lnTo>
                    <a:lnTo>
                      <a:pt x="8027" y="2100"/>
                    </a:lnTo>
                    <a:lnTo>
                      <a:pt x="8019" y="2143"/>
                    </a:lnTo>
                    <a:lnTo>
                      <a:pt x="8009" y="2185"/>
                    </a:lnTo>
                    <a:lnTo>
                      <a:pt x="7997" y="2227"/>
                    </a:lnTo>
                    <a:lnTo>
                      <a:pt x="7985" y="2268"/>
                    </a:lnTo>
                    <a:lnTo>
                      <a:pt x="7972" y="2309"/>
                    </a:lnTo>
                    <a:lnTo>
                      <a:pt x="7958" y="2349"/>
                    </a:lnTo>
                    <a:lnTo>
                      <a:pt x="7943" y="2389"/>
                    </a:lnTo>
                    <a:lnTo>
                      <a:pt x="7927" y="2429"/>
                    </a:lnTo>
                    <a:lnTo>
                      <a:pt x="7910" y="2468"/>
                    </a:lnTo>
                    <a:lnTo>
                      <a:pt x="7892" y="2506"/>
                    </a:lnTo>
                    <a:lnTo>
                      <a:pt x="7871" y="2544"/>
                    </a:lnTo>
                    <a:lnTo>
                      <a:pt x="7851" y="2581"/>
                    </a:lnTo>
                    <a:lnTo>
                      <a:pt x="7830" y="2619"/>
                    </a:lnTo>
                    <a:lnTo>
                      <a:pt x="7807" y="2656"/>
                    </a:lnTo>
                    <a:lnTo>
                      <a:pt x="7784" y="2692"/>
                    </a:lnTo>
                    <a:lnTo>
                      <a:pt x="7759" y="2728"/>
                    </a:lnTo>
                    <a:lnTo>
                      <a:pt x="7734" y="2763"/>
                    </a:lnTo>
                    <a:lnTo>
                      <a:pt x="7707" y="2798"/>
                    </a:lnTo>
                    <a:lnTo>
                      <a:pt x="7680" y="2833"/>
                    </a:lnTo>
                    <a:lnTo>
                      <a:pt x="7651" y="2867"/>
                    </a:lnTo>
                    <a:lnTo>
                      <a:pt x="7621" y="2901"/>
                    </a:lnTo>
                    <a:lnTo>
                      <a:pt x="7591" y="2935"/>
                    </a:lnTo>
                    <a:lnTo>
                      <a:pt x="7559" y="2967"/>
                    </a:lnTo>
                    <a:lnTo>
                      <a:pt x="7526" y="3000"/>
                    </a:lnTo>
                    <a:lnTo>
                      <a:pt x="7491" y="3031"/>
                    </a:lnTo>
                    <a:lnTo>
                      <a:pt x="7457" y="3063"/>
                    </a:lnTo>
                    <a:lnTo>
                      <a:pt x="7421" y="3093"/>
                    </a:lnTo>
                    <a:lnTo>
                      <a:pt x="7384" y="3124"/>
                    </a:lnTo>
                    <a:lnTo>
                      <a:pt x="7348" y="3152"/>
                    </a:lnTo>
                    <a:lnTo>
                      <a:pt x="7311" y="3180"/>
                    </a:lnTo>
                    <a:lnTo>
                      <a:pt x="7274" y="3207"/>
                    </a:lnTo>
                    <a:lnTo>
                      <a:pt x="7236" y="3233"/>
                    </a:lnTo>
                    <a:lnTo>
                      <a:pt x="7199" y="3258"/>
                    </a:lnTo>
                    <a:lnTo>
                      <a:pt x="7161" y="3282"/>
                    </a:lnTo>
                    <a:lnTo>
                      <a:pt x="7123" y="3306"/>
                    </a:lnTo>
                    <a:lnTo>
                      <a:pt x="7083" y="3328"/>
                    </a:lnTo>
                    <a:lnTo>
                      <a:pt x="7044" y="3350"/>
                    </a:lnTo>
                    <a:lnTo>
                      <a:pt x="7005" y="3371"/>
                    </a:lnTo>
                    <a:lnTo>
                      <a:pt x="6965" y="3391"/>
                    </a:lnTo>
                    <a:lnTo>
                      <a:pt x="6926" y="3410"/>
                    </a:lnTo>
                    <a:lnTo>
                      <a:pt x="6886" y="3428"/>
                    </a:lnTo>
                    <a:lnTo>
                      <a:pt x="6845" y="3445"/>
                    </a:lnTo>
                    <a:lnTo>
                      <a:pt x="6804" y="3461"/>
                    </a:lnTo>
                    <a:lnTo>
                      <a:pt x="6763" y="3477"/>
                    </a:lnTo>
                    <a:lnTo>
                      <a:pt x="6721" y="3491"/>
                    </a:lnTo>
                    <a:lnTo>
                      <a:pt x="6679" y="3505"/>
                    </a:lnTo>
                    <a:lnTo>
                      <a:pt x="6637" y="3517"/>
                    </a:lnTo>
                    <a:lnTo>
                      <a:pt x="6595" y="3529"/>
                    </a:lnTo>
                    <a:lnTo>
                      <a:pt x="6553" y="3540"/>
                    </a:lnTo>
                    <a:lnTo>
                      <a:pt x="6510" y="3550"/>
                    </a:lnTo>
                    <a:lnTo>
                      <a:pt x="6466" y="3559"/>
                    </a:lnTo>
                    <a:lnTo>
                      <a:pt x="6423" y="3567"/>
                    </a:lnTo>
                    <a:lnTo>
                      <a:pt x="6379" y="3574"/>
                    </a:lnTo>
                    <a:lnTo>
                      <a:pt x="6334" y="3581"/>
                    </a:lnTo>
                    <a:lnTo>
                      <a:pt x="6289" y="3586"/>
                    </a:lnTo>
                    <a:lnTo>
                      <a:pt x="6244" y="3591"/>
                    </a:lnTo>
                    <a:lnTo>
                      <a:pt x="6199" y="3594"/>
                    </a:lnTo>
                    <a:lnTo>
                      <a:pt x="6154" y="3597"/>
                    </a:lnTo>
                    <a:lnTo>
                      <a:pt x="6049" y="3595"/>
                    </a:lnTo>
                    <a:lnTo>
                      <a:pt x="5946" y="3590"/>
                    </a:lnTo>
                    <a:lnTo>
                      <a:pt x="5848" y="3580"/>
                    </a:lnTo>
                    <a:lnTo>
                      <a:pt x="5753" y="3567"/>
                    </a:lnTo>
                    <a:lnTo>
                      <a:pt x="5661" y="3551"/>
                    </a:lnTo>
                    <a:lnTo>
                      <a:pt x="5573" y="3530"/>
                    </a:lnTo>
                    <a:lnTo>
                      <a:pt x="5487" y="3506"/>
                    </a:lnTo>
                    <a:lnTo>
                      <a:pt x="5405" y="3478"/>
                    </a:lnTo>
                    <a:lnTo>
                      <a:pt x="5327" y="3447"/>
                    </a:lnTo>
                    <a:lnTo>
                      <a:pt x="5252" y="3411"/>
                    </a:lnTo>
                    <a:lnTo>
                      <a:pt x="5179" y="3372"/>
                    </a:lnTo>
                    <a:lnTo>
                      <a:pt x="5111" y="3329"/>
                    </a:lnTo>
                    <a:lnTo>
                      <a:pt x="5046" y="3282"/>
                    </a:lnTo>
                    <a:lnTo>
                      <a:pt x="4984" y="3232"/>
                    </a:lnTo>
                    <a:lnTo>
                      <a:pt x="4926" y="3178"/>
                    </a:lnTo>
                    <a:lnTo>
                      <a:pt x="4871" y="3121"/>
                    </a:lnTo>
                    <a:lnTo>
                      <a:pt x="4820" y="3058"/>
                    </a:lnTo>
                    <a:lnTo>
                      <a:pt x="4770" y="2993"/>
                    </a:lnTo>
                    <a:lnTo>
                      <a:pt x="4725" y="2925"/>
                    </a:lnTo>
                    <a:lnTo>
                      <a:pt x="4684" y="2851"/>
                    </a:lnTo>
                    <a:lnTo>
                      <a:pt x="4645" y="2775"/>
                    </a:lnTo>
                    <a:lnTo>
                      <a:pt x="4610" y="2695"/>
                    </a:lnTo>
                    <a:lnTo>
                      <a:pt x="4579" y="2611"/>
                    </a:lnTo>
                    <a:lnTo>
                      <a:pt x="4550" y="2524"/>
                    </a:lnTo>
                    <a:lnTo>
                      <a:pt x="4525" y="2433"/>
                    </a:lnTo>
                    <a:lnTo>
                      <a:pt x="4504" y="2337"/>
                    </a:lnTo>
                    <a:lnTo>
                      <a:pt x="4485" y="2239"/>
                    </a:lnTo>
                    <a:lnTo>
                      <a:pt x="4470" y="2137"/>
                    </a:lnTo>
                    <a:lnTo>
                      <a:pt x="4459" y="2030"/>
                    </a:lnTo>
                    <a:lnTo>
                      <a:pt x="4450" y="1920"/>
                    </a:lnTo>
                    <a:lnTo>
                      <a:pt x="4445" y="1806"/>
                    </a:lnTo>
                    <a:lnTo>
                      <a:pt x="4444" y="1689"/>
                    </a:lnTo>
                    <a:close/>
                    <a:moveTo>
                      <a:pt x="3099" y="6656"/>
                    </a:moveTo>
                    <a:lnTo>
                      <a:pt x="3111" y="6620"/>
                    </a:lnTo>
                    <a:lnTo>
                      <a:pt x="3121" y="6587"/>
                    </a:lnTo>
                    <a:lnTo>
                      <a:pt x="3129" y="6556"/>
                    </a:lnTo>
                    <a:lnTo>
                      <a:pt x="3136" y="6527"/>
                    </a:lnTo>
                    <a:lnTo>
                      <a:pt x="3141" y="6501"/>
                    </a:lnTo>
                    <a:lnTo>
                      <a:pt x="3145" y="6477"/>
                    </a:lnTo>
                    <a:lnTo>
                      <a:pt x="3147" y="6455"/>
                    </a:lnTo>
                    <a:lnTo>
                      <a:pt x="3148" y="6436"/>
                    </a:lnTo>
                    <a:lnTo>
                      <a:pt x="3148" y="6415"/>
                    </a:lnTo>
                    <a:lnTo>
                      <a:pt x="3147" y="6395"/>
                    </a:lnTo>
                    <a:lnTo>
                      <a:pt x="3145" y="6374"/>
                    </a:lnTo>
                    <a:lnTo>
                      <a:pt x="3143" y="6355"/>
                    </a:lnTo>
                    <a:lnTo>
                      <a:pt x="3140" y="6337"/>
                    </a:lnTo>
                    <a:lnTo>
                      <a:pt x="3137" y="6319"/>
                    </a:lnTo>
                    <a:lnTo>
                      <a:pt x="3133" y="6302"/>
                    </a:lnTo>
                    <a:lnTo>
                      <a:pt x="3128" y="6286"/>
                    </a:lnTo>
                    <a:lnTo>
                      <a:pt x="3123" y="6270"/>
                    </a:lnTo>
                    <a:lnTo>
                      <a:pt x="3117" y="6255"/>
                    </a:lnTo>
                    <a:lnTo>
                      <a:pt x="3111" y="6241"/>
                    </a:lnTo>
                    <a:lnTo>
                      <a:pt x="3104" y="6227"/>
                    </a:lnTo>
                    <a:lnTo>
                      <a:pt x="3096" y="6214"/>
                    </a:lnTo>
                    <a:lnTo>
                      <a:pt x="3088" y="6202"/>
                    </a:lnTo>
                    <a:lnTo>
                      <a:pt x="3079" y="6190"/>
                    </a:lnTo>
                    <a:lnTo>
                      <a:pt x="3069" y="6179"/>
                    </a:lnTo>
                    <a:lnTo>
                      <a:pt x="3059" y="6169"/>
                    </a:lnTo>
                    <a:lnTo>
                      <a:pt x="3048" y="6159"/>
                    </a:lnTo>
                    <a:lnTo>
                      <a:pt x="3037" y="6150"/>
                    </a:lnTo>
                    <a:lnTo>
                      <a:pt x="3025" y="6142"/>
                    </a:lnTo>
                    <a:lnTo>
                      <a:pt x="3013" y="6134"/>
                    </a:lnTo>
                    <a:lnTo>
                      <a:pt x="3000" y="6126"/>
                    </a:lnTo>
                    <a:lnTo>
                      <a:pt x="2986" y="6120"/>
                    </a:lnTo>
                    <a:lnTo>
                      <a:pt x="2972" y="6114"/>
                    </a:lnTo>
                    <a:lnTo>
                      <a:pt x="2957" y="6109"/>
                    </a:lnTo>
                    <a:lnTo>
                      <a:pt x="2941" y="6105"/>
                    </a:lnTo>
                    <a:lnTo>
                      <a:pt x="2925" y="6101"/>
                    </a:lnTo>
                    <a:lnTo>
                      <a:pt x="2908" y="6098"/>
                    </a:lnTo>
                    <a:lnTo>
                      <a:pt x="2891" y="6096"/>
                    </a:lnTo>
                    <a:lnTo>
                      <a:pt x="2872" y="6094"/>
                    </a:lnTo>
                    <a:lnTo>
                      <a:pt x="2853" y="6093"/>
                    </a:lnTo>
                    <a:lnTo>
                      <a:pt x="2834" y="6093"/>
                    </a:lnTo>
                    <a:lnTo>
                      <a:pt x="2805" y="6094"/>
                    </a:lnTo>
                    <a:lnTo>
                      <a:pt x="2775" y="6096"/>
                    </a:lnTo>
                    <a:lnTo>
                      <a:pt x="2745" y="6101"/>
                    </a:lnTo>
                    <a:lnTo>
                      <a:pt x="2714" y="6107"/>
                    </a:lnTo>
                    <a:lnTo>
                      <a:pt x="2682" y="6114"/>
                    </a:lnTo>
                    <a:lnTo>
                      <a:pt x="2650" y="6124"/>
                    </a:lnTo>
                    <a:lnTo>
                      <a:pt x="2618" y="6136"/>
                    </a:lnTo>
                    <a:lnTo>
                      <a:pt x="2584" y="6149"/>
                    </a:lnTo>
                    <a:lnTo>
                      <a:pt x="2551" y="6163"/>
                    </a:lnTo>
                    <a:lnTo>
                      <a:pt x="2516" y="6180"/>
                    </a:lnTo>
                    <a:lnTo>
                      <a:pt x="2480" y="6198"/>
                    </a:lnTo>
                    <a:lnTo>
                      <a:pt x="2445" y="6217"/>
                    </a:lnTo>
                    <a:lnTo>
                      <a:pt x="2409" y="6239"/>
                    </a:lnTo>
                    <a:lnTo>
                      <a:pt x="2372" y="6262"/>
                    </a:lnTo>
                    <a:lnTo>
                      <a:pt x="2335" y="6287"/>
                    </a:lnTo>
                    <a:lnTo>
                      <a:pt x="2297" y="6313"/>
                    </a:lnTo>
                    <a:lnTo>
                      <a:pt x="2271" y="6332"/>
                    </a:lnTo>
                    <a:lnTo>
                      <a:pt x="2245" y="6352"/>
                    </a:lnTo>
                    <a:lnTo>
                      <a:pt x="2217" y="6374"/>
                    </a:lnTo>
                    <a:lnTo>
                      <a:pt x="2188" y="6399"/>
                    </a:lnTo>
                    <a:lnTo>
                      <a:pt x="2126" y="6450"/>
                    </a:lnTo>
                    <a:lnTo>
                      <a:pt x="2059" y="6508"/>
                    </a:lnTo>
                    <a:lnTo>
                      <a:pt x="1989" y="6573"/>
                    </a:lnTo>
                    <a:lnTo>
                      <a:pt x="1914" y="6645"/>
                    </a:lnTo>
                    <a:lnTo>
                      <a:pt x="1834" y="6722"/>
                    </a:lnTo>
                    <a:lnTo>
                      <a:pt x="1750" y="6806"/>
                    </a:lnTo>
                    <a:lnTo>
                      <a:pt x="1660" y="6897"/>
                    </a:lnTo>
                    <a:lnTo>
                      <a:pt x="1567" y="6993"/>
                    </a:lnTo>
                    <a:lnTo>
                      <a:pt x="1469" y="7096"/>
                    </a:lnTo>
                    <a:lnTo>
                      <a:pt x="1366" y="7206"/>
                    </a:lnTo>
                    <a:lnTo>
                      <a:pt x="1258" y="7322"/>
                    </a:lnTo>
                    <a:lnTo>
                      <a:pt x="1146" y="7444"/>
                    </a:lnTo>
                    <a:lnTo>
                      <a:pt x="1030" y="7573"/>
                    </a:lnTo>
                    <a:lnTo>
                      <a:pt x="908" y="7708"/>
                    </a:lnTo>
                    <a:lnTo>
                      <a:pt x="860" y="7767"/>
                    </a:lnTo>
                    <a:lnTo>
                      <a:pt x="814" y="7822"/>
                    </a:lnTo>
                    <a:lnTo>
                      <a:pt x="769" y="7873"/>
                    </a:lnTo>
                    <a:lnTo>
                      <a:pt x="725" y="7922"/>
                    </a:lnTo>
                    <a:lnTo>
                      <a:pt x="683" y="7966"/>
                    </a:lnTo>
                    <a:lnTo>
                      <a:pt x="643" y="8007"/>
                    </a:lnTo>
                    <a:lnTo>
                      <a:pt x="604" y="8044"/>
                    </a:lnTo>
                    <a:lnTo>
                      <a:pt x="566" y="8078"/>
                    </a:lnTo>
                    <a:lnTo>
                      <a:pt x="529" y="8108"/>
                    </a:lnTo>
                    <a:lnTo>
                      <a:pt x="495" y="8134"/>
                    </a:lnTo>
                    <a:lnTo>
                      <a:pt x="478" y="8147"/>
                    </a:lnTo>
                    <a:lnTo>
                      <a:pt x="462" y="8158"/>
                    </a:lnTo>
                    <a:lnTo>
                      <a:pt x="446" y="8168"/>
                    </a:lnTo>
                    <a:lnTo>
                      <a:pt x="430" y="8177"/>
                    </a:lnTo>
                    <a:lnTo>
                      <a:pt x="415" y="8185"/>
                    </a:lnTo>
                    <a:lnTo>
                      <a:pt x="400" y="8193"/>
                    </a:lnTo>
                    <a:lnTo>
                      <a:pt x="385" y="8199"/>
                    </a:lnTo>
                    <a:lnTo>
                      <a:pt x="371" y="8205"/>
                    </a:lnTo>
                    <a:lnTo>
                      <a:pt x="357" y="8210"/>
                    </a:lnTo>
                    <a:lnTo>
                      <a:pt x="344" y="8213"/>
                    </a:lnTo>
                    <a:lnTo>
                      <a:pt x="331" y="8216"/>
                    </a:lnTo>
                    <a:lnTo>
                      <a:pt x="318" y="8218"/>
                    </a:lnTo>
                    <a:lnTo>
                      <a:pt x="300" y="8218"/>
                    </a:lnTo>
                    <a:lnTo>
                      <a:pt x="283" y="8216"/>
                    </a:lnTo>
                    <a:lnTo>
                      <a:pt x="267" y="8213"/>
                    </a:lnTo>
                    <a:lnTo>
                      <a:pt x="251" y="8208"/>
                    </a:lnTo>
                    <a:lnTo>
                      <a:pt x="236" y="8202"/>
                    </a:lnTo>
                    <a:lnTo>
                      <a:pt x="222" y="8194"/>
                    </a:lnTo>
                    <a:lnTo>
                      <a:pt x="215" y="8190"/>
                    </a:lnTo>
                    <a:lnTo>
                      <a:pt x="209" y="8185"/>
                    </a:lnTo>
                    <a:lnTo>
                      <a:pt x="202" y="8179"/>
                    </a:lnTo>
                    <a:lnTo>
                      <a:pt x="196" y="8173"/>
                    </a:lnTo>
                    <a:lnTo>
                      <a:pt x="191" y="8173"/>
                    </a:lnTo>
                    <a:lnTo>
                      <a:pt x="185" y="8172"/>
                    </a:lnTo>
                    <a:lnTo>
                      <a:pt x="179" y="8170"/>
                    </a:lnTo>
                    <a:lnTo>
                      <a:pt x="172" y="8168"/>
                    </a:lnTo>
                    <a:lnTo>
                      <a:pt x="159" y="8161"/>
                    </a:lnTo>
                    <a:lnTo>
                      <a:pt x="145" y="8152"/>
                    </a:lnTo>
                    <a:lnTo>
                      <a:pt x="130" y="8140"/>
                    </a:lnTo>
                    <a:lnTo>
                      <a:pt x="114" y="8124"/>
                    </a:lnTo>
                    <a:lnTo>
                      <a:pt x="96" y="8107"/>
                    </a:lnTo>
                    <a:lnTo>
                      <a:pt x="77" y="8087"/>
                    </a:lnTo>
                    <a:lnTo>
                      <a:pt x="68" y="8077"/>
                    </a:lnTo>
                    <a:lnTo>
                      <a:pt x="59" y="8067"/>
                    </a:lnTo>
                    <a:lnTo>
                      <a:pt x="51" y="8056"/>
                    </a:lnTo>
                    <a:lnTo>
                      <a:pt x="43" y="8045"/>
                    </a:lnTo>
                    <a:lnTo>
                      <a:pt x="36" y="8035"/>
                    </a:lnTo>
                    <a:lnTo>
                      <a:pt x="30" y="8023"/>
                    </a:lnTo>
                    <a:lnTo>
                      <a:pt x="24" y="8012"/>
                    </a:lnTo>
                    <a:lnTo>
                      <a:pt x="19" y="8000"/>
                    </a:lnTo>
                    <a:lnTo>
                      <a:pt x="15" y="7989"/>
                    </a:lnTo>
                    <a:lnTo>
                      <a:pt x="11" y="7977"/>
                    </a:lnTo>
                    <a:lnTo>
                      <a:pt x="7" y="7965"/>
                    </a:lnTo>
                    <a:lnTo>
                      <a:pt x="5" y="7953"/>
                    </a:lnTo>
                    <a:lnTo>
                      <a:pt x="3" y="7941"/>
                    </a:lnTo>
                    <a:lnTo>
                      <a:pt x="1" y="7929"/>
                    </a:lnTo>
                    <a:lnTo>
                      <a:pt x="1" y="7917"/>
                    </a:lnTo>
                    <a:lnTo>
                      <a:pt x="0" y="7904"/>
                    </a:lnTo>
                    <a:lnTo>
                      <a:pt x="4" y="7883"/>
                    </a:lnTo>
                    <a:lnTo>
                      <a:pt x="9" y="7862"/>
                    </a:lnTo>
                    <a:lnTo>
                      <a:pt x="14" y="7840"/>
                    </a:lnTo>
                    <a:lnTo>
                      <a:pt x="20" y="7819"/>
                    </a:lnTo>
                    <a:lnTo>
                      <a:pt x="27" y="7797"/>
                    </a:lnTo>
                    <a:lnTo>
                      <a:pt x="34" y="7775"/>
                    </a:lnTo>
                    <a:lnTo>
                      <a:pt x="42" y="7752"/>
                    </a:lnTo>
                    <a:lnTo>
                      <a:pt x="51" y="7730"/>
                    </a:lnTo>
                    <a:lnTo>
                      <a:pt x="61" y="7707"/>
                    </a:lnTo>
                    <a:lnTo>
                      <a:pt x="71" y="7684"/>
                    </a:lnTo>
                    <a:lnTo>
                      <a:pt x="82" y="7660"/>
                    </a:lnTo>
                    <a:lnTo>
                      <a:pt x="94" y="7635"/>
                    </a:lnTo>
                    <a:lnTo>
                      <a:pt x="120" y="7587"/>
                    </a:lnTo>
                    <a:lnTo>
                      <a:pt x="150" y="7537"/>
                    </a:lnTo>
                    <a:lnTo>
                      <a:pt x="182" y="7486"/>
                    </a:lnTo>
                    <a:lnTo>
                      <a:pt x="217" y="7434"/>
                    </a:lnTo>
                    <a:lnTo>
                      <a:pt x="255" y="7380"/>
                    </a:lnTo>
                    <a:lnTo>
                      <a:pt x="296" y="7326"/>
                    </a:lnTo>
                    <a:lnTo>
                      <a:pt x="340" y="7270"/>
                    </a:lnTo>
                    <a:lnTo>
                      <a:pt x="386" y="7214"/>
                    </a:lnTo>
                    <a:lnTo>
                      <a:pt x="436" y="7156"/>
                    </a:lnTo>
                    <a:lnTo>
                      <a:pt x="489" y="7096"/>
                    </a:lnTo>
                    <a:lnTo>
                      <a:pt x="553" y="7019"/>
                    </a:lnTo>
                    <a:lnTo>
                      <a:pt x="619" y="6942"/>
                    </a:lnTo>
                    <a:lnTo>
                      <a:pt x="684" y="6866"/>
                    </a:lnTo>
                    <a:lnTo>
                      <a:pt x="750" y="6792"/>
                    </a:lnTo>
                    <a:lnTo>
                      <a:pt x="815" y="6719"/>
                    </a:lnTo>
                    <a:lnTo>
                      <a:pt x="881" y="6647"/>
                    </a:lnTo>
                    <a:lnTo>
                      <a:pt x="949" y="6575"/>
                    </a:lnTo>
                    <a:lnTo>
                      <a:pt x="1015" y="6505"/>
                    </a:lnTo>
                    <a:lnTo>
                      <a:pt x="1082" y="6437"/>
                    </a:lnTo>
                    <a:lnTo>
                      <a:pt x="1150" y="6368"/>
                    </a:lnTo>
                    <a:lnTo>
                      <a:pt x="1217" y="6302"/>
                    </a:lnTo>
                    <a:lnTo>
                      <a:pt x="1285" y="6237"/>
                    </a:lnTo>
                    <a:lnTo>
                      <a:pt x="1354" y="6173"/>
                    </a:lnTo>
                    <a:lnTo>
                      <a:pt x="1423" y="6109"/>
                    </a:lnTo>
                    <a:lnTo>
                      <a:pt x="1492" y="6047"/>
                    </a:lnTo>
                    <a:lnTo>
                      <a:pt x="1561" y="5986"/>
                    </a:lnTo>
                    <a:lnTo>
                      <a:pt x="1630" y="5926"/>
                    </a:lnTo>
                    <a:lnTo>
                      <a:pt x="1700" y="5866"/>
                    </a:lnTo>
                    <a:lnTo>
                      <a:pt x="1771" y="5809"/>
                    </a:lnTo>
                    <a:lnTo>
                      <a:pt x="1842" y="5753"/>
                    </a:lnTo>
                    <a:lnTo>
                      <a:pt x="1912" y="5697"/>
                    </a:lnTo>
                    <a:lnTo>
                      <a:pt x="1983" y="5643"/>
                    </a:lnTo>
                    <a:lnTo>
                      <a:pt x="2055" y="5589"/>
                    </a:lnTo>
                    <a:lnTo>
                      <a:pt x="2127" y="5537"/>
                    </a:lnTo>
                    <a:lnTo>
                      <a:pt x="2199" y="5486"/>
                    </a:lnTo>
                    <a:lnTo>
                      <a:pt x="2271" y="5436"/>
                    </a:lnTo>
                    <a:lnTo>
                      <a:pt x="2344" y="5388"/>
                    </a:lnTo>
                    <a:lnTo>
                      <a:pt x="2417" y="5339"/>
                    </a:lnTo>
                    <a:lnTo>
                      <a:pt x="2491" y="5293"/>
                    </a:lnTo>
                    <a:lnTo>
                      <a:pt x="2565" y="5247"/>
                    </a:lnTo>
                    <a:lnTo>
                      <a:pt x="2638" y="5203"/>
                    </a:lnTo>
                    <a:lnTo>
                      <a:pt x="2712" y="5160"/>
                    </a:lnTo>
                    <a:lnTo>
                      <a:pt x="2789" y="5117"/>
                    </a:lnTo>
                    <a:lnTo>
                      <a:pt x="2865" y="5077"/>
                    </a:lnTo>
                    <a:lnTo>
                      <a:pt x="2942" y="5038"/>
                    </a:lnTo>
                    <a:lnTo>
                      <a:pt x="3017" y="5000"/>
                    </a:lnTo>
                    <a:lnTo>
                      <a:pt x="3092" y="4964"/>
                    </a:lnTo>
                    <a:lnTo>
                      <a:pt x="3167" y="4929"/>
                    </a:lnTo>
                    <a:lnTo>
                      <a:pt x="3242" y="4895"/>
                    </a:lnTo>
                    <a:lnTo>
                      <a:pt x="3317" y="4862"/>
                    </a:lnTo>
                    <a:lnTo>
                      <a:pt x="3391" y="4831"/>
                    </a:lnTo>
                    <a:lnTo>
                      <a:pt x="3464" y="4802"/>
                    </a:lnTo>
                    <a:lnTo>
                      <a:pt x="3538" y="4773"/>
                    </a:lnTo>
                    <a:lnTo>
                      <a:pt x="3611" y="4746"/>
                    </a:lnTo>
                    <a:lnTo>
                      <a:pt x="3684" y="4721"/>
                    </a:lnTo>
                    <a:lnTo>
                      <a:pt x="3757" y="4696"/>
                    </a:lnTo>
                    <a:lnTo>
                      <a:pt x="3829" y="4673"/>
                    </a:lnTo>
                    <a:lnTo>
                      <a:pt x="3900" y="4651"/>
                    </a:lnTo>
                    <a:lnTo>
                      <a:pt x="3972" y="4631"/>
                    </a:lnTo>
                    <a:lnTo>
                      <a:pt x="4044" y="4611"/>
                    </a:lnTo>
                    <a:lnTo>
                      <a:pt x="4115" y="4593"/>
                    </a:lnTo>
                    <a:lnTo>
                      <a:pt x="4185" y="4577"/>
                    </a:lnTo>
                    <a:lnTo>
                      <a:pt x="4255" y="4562"/>
                    </a:lnTo>
                    <a:lnTo>
                      <a:pt x="4325" y="4548"/>
                    </a:lnTo>
                    <a:lnTo>
                      <a:pt x="4395" y="4536"/>
                    </a:lnTo>
                    <a:lnTo>
                      <a:pt x="4465" y="4524"/>
                    </a:lnTo>
                    <a:lnTo>
                      <a:pt x="4534" y="4515"/>
                    </a:lnTo>
                    <a:lnTo>
                      <a:pt x="4603" y="4506"/>
                    </a:lnTo>
                    <a:lnTo>
                      <a:pt x="4671" y="4499"/>
                    </a:lnTo>
                    <a:lnTo>
                      <a:pt x="4739" y="4493"/>
                    </a:lnTo>
                    <a:lnTo>
                      <a:pt x="4808" y="4488"/>
                    </a:lnTo>
                    <a:lnTo>
                      <a:pt x="4875" y="4485"/>
                    </a:lnTo>
                    <a:lnTo>
                      <a:pt x="4942" y="4483"/>
                    </a:lnTo>
                    <a:lnTo>
                      <a:pt x="5009" y="4482"/>
                    </a:lnTo>
                    <a:lnTo>
                      <a:pt x="5074" y="4483"/>
                    </a:lnTo>
                    <a:lnTo>
                      <a:pt x="5138" y="4485"/>
                    </a:lnTo>
                    <a:lnTo>
                      <a:pt x="5201" y="4488"/>
                    </a:lnTo>
                    <a:lnTo>
                      <a:pt x="5263" y="4492"/>
                    </a:lnTo>
                    <a:lnTo>
                      <a:pt x="5323" y="4498"/>
                    </a:lnTo>
                    <a:lnTo>
                      <a:pt x="5381" y="4505"/>
                    </a:lnTo>
                    <a:lnTo>
                      <a:pt x="5439" y="4513"/>
                    </a:lnTo>
                    <a:lnTo>
                      <a:pt x="5496" y="4523"/>
                    </a:lnTo>
                    <a:lnTo>
                      <a:pt x="5551" y="4534"/>
                    </a:lnTo>
                    <a:lnTo>
                      <a:pt x="5606" y="4546"/>
                    </a:lnTo>
                    <a:lnTo>
                      <a:pt x="5659" y="4560"/>
                    </a:lnTo>
                    <a:lnTo>
                      <a:pt x="5712" y="4575"/>
                    </a:lnTo>
                    <a:lnTo>
                      <a:pt x="5763" y="4591"/>
                    </a:lnTo>
                    <a:lnTo>
                      <a:pt x="5812" y="4609"/>
                    </a:lnTo>
                    <a:lnTo>
                      <a:pt x="5861" y="4629"/>
                    </a:lnTo>
                    <a:lnTo>
                      <a:pt x="5909" y="4650"/>
                    </a:lnTo>
                    <a:lnTo>
                      <a:pt x="5955" y="4673"/>
                    </a:lnTo>
                    <a:lnTo>
                      <a:pt x="6001" y="4697"/>
                    </a:lnTo>
                    <a:lnTo>
                      <a:pt x="6045" y="4722"/>
                    </a:lnTo>
                    <a:lnTo>
                      <a:pt x="6087" y="4749"/>
                    </a:lnTo>
                    <a:lnTo>
                      <a:pt x="6128" y="4777"/>
                    </a:lnTo>
                    <a:lnTo>
                      <a:pt x="6167" y="4807"/>
                    </a:lnTo>
                    <a:lnTo>
                      <a:pt x="6204" y="4837"/>
                    </a:lnTo>
                    <a:lnTo>
                      <a:pt x="6241" y="4869"/>
                    </a:lnTo>
                    <a:lnTo>
                      <a:pt x="6275" y="4904"/>
                    </a:lnTo>
                    <a:lnTo>
                      <a:pt x="6308" y="4939"/>
                    </a:lnTo>
                    <a:lnTo>
                      <a:pt x="6340" y="4975"/>
                    </a:lnTo>
                    <a:lnTo>
                      <a:pt x="6371" y="5012"/>
                    </a:lnTo>
                    <a:lnTo>
                      <a:pt x="6400" y="5051"/>
                    </a:lnTo>
                    <a:lnTo>
                      <a:pt x="6427" y="5091"/>
                    </a:lnTo>
                    <a:lnTo>
                      <a:pt x="6453" y="5133"/>
                    </a:lnTo>
                    <a:lnTo>
                      <a:pt x="6478" y="5176"/>
                    </a:lnTo>
                    <a:lnTo>
                      <a:pt x="6500" y="5220"/>
                    </a:lnTo>
                    <a:lnTo>
                      <a:pt x="6522" y="5266"/>
                    </a:lnTo>
                    <a:lnTo>
                      <a:pt x="6542" y="5312"/>
                    </a:lnTo>
                    <a:lnTo>
                      <a:pt x="6560" y="5360"/>
                    </a:lnTo>
                    <a:lnTo>
                      <a:pt x="6577" y="5411"/>
                    </a:lnTo>
                    <a:lnTo>
                      <a:pt x="6593" y="5461"/>
                    </a:lnTo>
                    <a:lnTo>
                      <a:pt x="6607" y="5514"/>
                    </a:lnTo>
                    <a:lnTo>
                      <a:pt x="6619" y="5567"/>
                    </a:lnTo>
                    <a:lnTo>
                      <a:pt x="6630" y="5622"/>
                    </a:lnTo>
                    <a:lnTo>
                      <a:pt x="6640" y="5679"/>
                    </a:lnTo>
                    <a:lnTo>
                      <a:pt x="6648" y="5736"/>
                    </a:lnTo>
                    <a:lnTo>
                      <a:pt x="6655" y="5795"/>
                    </a:lnTo>
                    <a:lnTo>
                      <a:pt x="6660" y="5855"/>
                    </a:lnTo>
                    <a:lnTo>
                      <a:pt x="6664" y="5917"/>
                    </a:lnTo>
                    <a:lnTo>
                      <a:pt x="6666" y="5980"/>
                    </a:lnTo>
                    <a:lnTo>
                      <a:pt x="6667" y="6044"/>
                    </a:lnTo>
                    <a:lnTo>
                      <a:pt x="6666" y="6110"/>
                    </a:lnTo>
                    <a:lnTo>
                      <a:pt x="6663" y="6178"/>
                    </a:lnTo>
                    <a:lnTo>
                      <a:pt x="6659" y="6246"/>
                    </a:lnTo>
                    <a:lnTo>
                      <a:pt x="6653" y="6315"/>
                    </a:lnTo>
                    <a:lnTo>
                      <a:pt x="6645" y="6385"/>
                    </a:lnTo>
                    <a:lnTo>
                      <a:pt x="6636" y="6456"/>
                    </a:lnTo>
                    <a:lnTo>
                      <a:pt x="6625" y="6528"/>
                    </a:lnTo>
                    <a:lnTo>
                      <a:pt x="6612" y="6600"/>
                    </a:lnTo>
                    <a:lnTo>
                      <a:pt x="6597" y="6675"/>
                    </a:lnTo>
                    <a:lnTo>
                      <a:pt x="6581" y="6749"/>
                    </a:lnTo>
                    <a:lnTo>
                      <a:pt x="6563" y="6824"/>
                    </a:lnTo>
                    <a:lnTo>
                      <a:pt x="6543" y="6901"/>
                    </a:lnTo>
                    <a:lnTo>
                      <a:pt x="6522" y="6978"/>
                    </a:lnTo>
                    <a:lnTo>
                      <a:pt x="6499" y="7056"/>
                    </a:lnTo>
                    <a:lnTo>
                      <a:pt x="6474" y="7134"/>
                    </a:lnTo>
                    <a:lnTo>
                      <a:pt x="6447" y="7215"/>
                    </a:lnTo>
                    <a:lnTo>
                      <a:pt x="4497" y="12480"/>
                    </a:lnTo>
                    <a:lnTo>
                      <a:pt x="4464" y="12570"/>
                    </a:lnTo>
                    <a:lnTo>
                      <a:pt x="4434" y="12659"/>
                    </a:lnTo>
                    <a:lnTo>
                      <a:pt x="4404" y="12744"/>
                    </a:lnTo>
                    <a:lnTo>
                      <a:pt x="4378" y="12827"/>
                    </a:lnTo>
                    <a:lnTo>
                      <a:pt x="4354" y="12907"/>
                    </a:lnTo>
                    <a:lnTo>
                      <a:pt x="4332" y="12986"/>
                    </a:lnTo>
                    <a:lnTo>
                      <a:pt x="4312" y="13061"/>
                    </a:lnTo>
                    <a:lnTo>
                      <a:pt x="4294" y="13134"/>
                    </a:lnTo>
                    <a:lnTo>
                      <a:pt x="4279" y="13206"/>
                    </a:lnTo>
                    <a:lnTo>
                      <a:pt x="4265" y="13274"/>
                    </a:lnTo>
                    <a:lnTo>
                      <a:pt x="4254" y="13340"/>
                    </a:lnTo>
                    <a:lnTo>
                      <a:pt x="4244" y="13403"/>
                    </a:lnTo>
                    <a:lnTo>
                      <a:pt x="4237" y="13465"/>
                    </a:lnTo>
                    <a:lnTo>
                      <a:pt x="4232" y="13524"/>
                    </a:lnTo>
                    <a:lnTo>
                      <a:pt x="4230" y="13552"/>
                    </a:lnTo>
                    <a:lnTo>
                      <a:pt x="4229" y="13580"/>
                    </a:lnTo>
                    <a:lnTo>
                      <a:pt x="4228" y="13607"/>
                    </a:lnTo>
                    <a:lnTo>
                      <a:pt x="4228" y="13633"/>
                    </a:lnTo>
                    <a:lnTo>
                      <a:pt x="4228" y="13656"/>
                    </a:lnTo>
                    <a:lnTo>
                      <a:pt x="4228" y="13678"/>
                    </a:lnTo>
                    <a:lnTo>
                      <a:pt x="4230" y="13699"/>
                    </a:lnTo>
                    <a:lnTo>
                      <a:pt x="4231" y="13719"/>
                    </a:lnTo>
                    <a:lnTo>
                      <a:pt x="4233" y="13738"/>
                    </a:lnTo>
                    <a:lnTo>
                      <a:pt x="4236" y="13757"/>
                    </a:lnTo>
                    <a:lnTo>
                      <a:pt x="4239" y="13775"/>
                    </a:lnTo>
                    <a:lnTo>
                      <a:pt x="4243" y="13792"/>
                    </a:lnTo>
                    <a:lnTo>
                      <a:pt x="4247" y="13809"/>
                    </a:lnTo>
                    <a:lnTo>
                      <a:pt x="4251" y="13825"/>
                    </a:lnTo>
                    <a:lnTo>
                      <a:pt x="4256" y="13840"/>
                    </a:lnTo>
                    <a:lnTo>
                      <a:pt x="4262" y="13854"/>
                    </a:lnTo>
                    <a:lnTo>
                      <a:pt x="4268" y="13868"/>
                    </a:lnTo>
                    <a:lnTo>
                      <a:pt x="4274" y="13881"/>
                    </a:lnTo>
                    <a:lnTo>
                      <a:pt x="4281" y="13893"/>
                    </a:lnTo>
                    <a:lnTo>
                      <a:pt x="4288" y="13905"/>
                    </a:lnTo>
                    <a:lnTo>
                      <a:pt x="4296" y="13917"/>
                    </a:lnTo>
                    <a:lnTo>
                      <a:pt x="4305" y="13927"/>
                    </a:lnTo>
                    <a:lnTo>
                      <a:pt x="4313" y="13937"/>
                    </a:lnTo>
                    <a:lnTo>
                      <a:pt x="4323" y="13946"/>
                    </a:lnTo>
                    <a:lnTo>
                      <a:pt x="4332" y="13954"/>
                    </a:lnTo>
                    <a:lnTo>
                      <a:pt x="4343" y="13961"/>
                    </a:lnTo>
                    <a:lnTo>
                      <a:pt x="4353" y="13968"/>
                    </a:lnTo>
                    <a:lnTo>
                      <a:pt x="4365" y="13974"/>
                    </a:lnTo>
                    <a:lnTo>
                      <a:pt x="4376" y="13980"/>
                    </a:lnTo>
                    <a:lnTo>
                      <a:pt x="4388" y="13984"/>
                    </a:lnTo>
                    <a:lnTo>
                      <a:pt x="4401" y="13988"/>
                    </a:lnTo>
                    <a:lnTo>
                      <a:pt x="4414" y="13991"/>
                    </a:lnTo>
                    <a:lnTo>
                      <a:pt x="4429" y="13994"/>
                    </a:lnTo>
                    <a:lnTo>
                      <a:pt x="4443" y="13996"/>
                    </a:lnTo>
                    <a:lnTo>
                      <a:pt x="4457" y="13997"/>
                    </a:lnTo>
                    <a:lnTo>
                      <a:pt x="4472" y="13997"/>
                    </a:lnTo>
                    <a:lnTo>
                      <a:pt x="4493" y="13996"/>
                    </a:lnTo>
                    <a:lnTo>
                      <a:pt x="4515" y="13994"/>
                    </a:lnTo>
                    <a:lnTo>
                      <a:pt x="4537" y="13991"/>
                    </a:lnTo>
                    <a:lnTo>
                      <a:pt x="4561" y="13986"/>
                    </a:lnTo>
                    <a:lnTo>
                      <a:pt x="4585" y="13980"/>
                    </a:lnTo>
                    <a:lnTo>
                      <a:pt x="4610" y="13972"/>
                    </a:lnTo>
                    <a:lnTo>
                      <a:pt x="4636" y="13963"/>
                    </a:lnTo>
                    <a:lnTo>
                      <a:pt x="4663" y="13953"/>
                    </a:lnTo>
                    <a:lnTo>
                      <a:pt x="4690" y="13941"/>
                    </a:lnTo>
                    <a:lnTo>
                      <a:pt x="4718" y="13928"/>
                    </a:lnTo>
                    <a:lnTo>
                      <a:pt x="4747" y="13914"/>
                    </a:lnTo>
                    <a:lnTo>
                      <a:pt x="4777" y="13897"/>
                    </a:lnTo>
                    <a:lnTo>
                      <a:pt x="4809" y="13879"/>
                    </a:lnTo>
                    <a:lnTo>
                      <a:pt x="4840" y="13861"/>
                    </a:lnTo>
                    <a:lnTo>
                      <a:pt x="4873" y="13841"/>
                    </a:lnTo>
                    <a:lnTo>
                      <a:pt x="4906" y="13819"/>
                    </a:lnTo>
                    <a:lnTo>
                      <a:pt x="4940" y="13796"/>
                    </a:lnTo>
                    <a:lnTo>
                      <a:pt x="4974" y="13772"/>
                    </a:lnTo>
                    <a:lnTo>
                      <a:pt x="5010" y="13747"/>
                    </a:lnTo>
                    <a:lnTo>
                      <a:pt x="5046" y="13720"/>
                    </a:lnTo>
                    <a:lnTo>
                      <a:pt x="5083" y="13692"/>
                    </a:lnTo>
                    <a:lnTo>
                      <a:pt x="5121" y="13662"/>
                    </a:lnTo>
                    <a:lnTo>
                      <a:pt x="5160" y="13630"/>
                    </a:lnTo>
                    <a:lnTo>
                      <a:pt x="5201" y="13597"/>
                    </a:lnTo>
                    <a:lnTo>
                      <a:pt x="5241" y="13564"/>
                    </a:lnTo>
                    <a:lnTo>
                      <a:pt x="5282" y="13528"/>
                    </a:lnTo>
                    <a:lnTo>
                      <a:pt x="5324" y="13492"/>
                    </a:lnTo>
                    <a:lnTo>
                      <a:pt x="5367" y="13454"/>
                    </a:lnTo>
                    <a:lnTo>
                      <a:pt x="5455" y="13373"/>
                    </a:lnTo>
                    <a:lnTo>
                      <a:pt x="5547" y="13287"/>
                    </a:lnTo>
                    <a:lnTo>
                      <a:pt x="5558" y="13275"/>
                    </a:lnTo>
                    <a:lnTo>
                      <a:pt x="5573" y="13259"/>
                    </a:lnTo>
                    <a:lnTo>
                      <a:pt x="5592" y="13238"/>
                    </a:lnTo>
                    <a:lnTo>
                      <a:pt x="5614" y="13212"/>
                    </a:lnTo>
                    <a:lnTo>
                      <a:pt x="5641" y="13183"/>
                    </a:lnTo>
                    <a:lnTo>
                      <a:pt x="5671" y="13148"/>
                    </a:lnTo>
                    <a:lnTo>
                      <a:pt x="5704" y="13109"/>
                    </a:lnTo>
                    <a:lnTo>
                      <a:pt x="5742" y="13066"/>
                    </a:lnTo>
                    <a:lnTo>
                      <a:pt x="5783" y="13019"/>
                    </a:lnTo>
                    <a:lnTo>
                      <a:pt x="5828" y="12967"/>
                    </a:lnTo>
                    <a:lnTo>
                      <a:pt x="5877" y="12911"/>
                    </a:lnTo>
                    <a:lnTo>
                      <a:pt x="5930" y="12849"/>
                    </a:lnTo>
                    <a:lnTo>
                      <a:pt x="5987" y="12784"/>
                    </a:lnTo>
                    <a:lnTo>
                      <a:pt x="6047" y="12715"/>
                    </a:lnTo>
                    <a:lnTo>
                      <a:pt x="6111" y="12640"/>
                    </a:lnTo>
                    <a:lnTo>
                      <a:pt x="6178" y="12561"/>
                    </a:lnTo>
                    <a:lnTo>
                      <a:pt x="6246" y="12484"/>
                    </a:lnTo>
                    <a:lnTo>
                      <a:pt x="6311" y="12411"/>
                    </a:lnTo>
                    <a:lnTo>
                      <a:pt x="6373" y="12343"/>
                    </a:lnTo>
                    <a:lnTo>
                      <a:pt x="6431" y="12280"/>
                    </a:lnTo>
                    <a:lnTo>
                      <a:pt x="6486" y="12222"/>
                    </a:lnTo>
                    <a:lnTo>
                      <a:pt x="6537" y="12170"/>
                    </a:lnTo>
                    <a:lnTo>
                      <a:pt x="6584" y="12121"/>
                    </a:lnTo>
                    <a:lnTo>
                      <a:pt x="6628" y="12078"/>
                    </a:lnTo>
                    <a:lnTo>
                      <a:pt x="6669" y="12041"/>
                    </a:lnTo>
                    <a:lnTo>
                      <a:pt x="6707" y="12008"/>
                    </a:lnTo>
                    <a:lnTo>
                      <a:pt x="6742" y="11980"/>
                    </a:lnTo>
                    <a:lnTo>
                      <a:pt x="6772" y="11958"/>
                    </a:lnTo>
                    <a:lnTo>
                      <a:pt x="6787" y="11948"/>
                    </a:lnTo>
                    <a:lnTo>
                      <a:pt x="6800" y="11940"/>
                    </a:lnTo>
                    <a:lnTo>
                      <a:pt x="6812" y="11933"/>
                    </a:lnTo>
                    <a:lnTo>
                      <a:pt x="6824" y="11927"/>
                    </a:lnTo>
                    <a:lnTo>
                      <a:pt x="6835" y="11923"/>
                    </a:lnTo>
                    <a:lnTo>
                      <a:pt x="6845" y="11920"/>
                    </a:lnTo>
                    <a:lnTo>
                      <a:pt x="6854" y="11918"/>
                    </a:lnTo>
                    <a:lnTo>
                      <a:pt x="6863" y="11917"/>
                    </a:lnTo>
                    <a:lnTo>
                      <a:pt x="6901" y="11935"/>
                    </a:lnTo>
                    <a:lnTo>
                      <a:pt x="6937" y="11954"/>
                    </a:lnTo>
                    <a:lnTo>
                      <a:pt x="6953" y="11964"/>
                    </a:lnTo>
                    <a:lnTo>
                      <a:pt x="6970" y="11974"/>
                    </a:lnTo>
                    <a:lnTo>
                      <a:pt x="6985" y="11985"/>
                    </a:lnTo>
                    <a:lnTo>
                      <a:pt x="7000" y="11995"/>
                    </a:lnTo>
                    <a:lnTo>
                      <a:pt x="7015" y="12006"/>
                    </a:lnTo>
                    <a:lnTo>
                      <a:pt x="7029" y="12017"/>
                    </a:lnTo>
                    <a:lnTo>
                      <a:pt x="7042" y="12028"/>
                    </a:lnTo>
                    <a:lnTo>
                      <a:pt x="7054" y="12040"/>
                    </a:lnTo>
                    <a:lnTo>
                      <a:pt x="7066" y="12052"/>
                    </a:lnTo>
                    <a:lnTo>
                      <a:pt x="7077" y="12064"/>
                    </a:lnTo>
                    <a:lnTo>
                      <a:pt x="7088" y="12076"/>
                    </a:lnTo>
                    <a:lnTo>
                      <a:pt x="7098" y="12089"/>
                    </a:lnTo>
                    <a:lnTo>
                      <a:pt x="7107" y="12102"/>
                    </a:lnTo>
                    <a:lnTo>
                      <a:pt x="7117" y="12115"/>
                    </a:lnTo>
                    <a:lnTo>
                      <a:pt x="7125" y="12128"/>
                    </a:lnTo>
                    <a:lnTo>
                      <a:pt x="7133" y="12142"/>
                    </a:lnTo>
                    <a:lnTo>
                      <a:pt x="7140" y="12157"/>
                    </a:lnTo>
                    <a:lnTo>
                      <a:pt x="7146" y="12171"/>
                    </a:lnTo>
                    <a:lnTo>
                      <a:pt x="7152" y="12186"/>
                    </a:lnTo>
                    <a:lnTo>
                      <a:pt x="7157" y="12200"/>
                    </a:lnTo>
                    <a:lnTo>
                      <a:pt x="7162" y="12216"/>
                    </a:lnTo>
                    <a:lnTo>
                      <a:pt x="7165" y="12231"/>
                    </a:lnTo>
                    <a:lnTo>
                      <a:pt x="7169" y="12246"/>
                    </a:lnTo>
                    <a:lnTo>
                      <a:pt x="7171" y="12262"/>
                    </a:lnTo>
                    <a:lnTo>
                      <a:pt x="7173" y="12278"/>
                    </a:lnTo>
                    <a:lnTo>
                      <a:pt x="7175" y="12295"/>
                    </a:lnTo>
                    <a:lnTo>
                      <a:pt x="7176" y="12312"/>
                    </a:lnTo>
                    <a:lnTo>
                      <a:pt x="7176" y="12329"/>
                    </a:lnTo>
                    <a:lnTo>
                      <a:pt x="7175" y="12359"/>
                    </a:lnTo>
                    <a:lnTo>
                      <a:pt x="7173" y="12390"/>
                    </a:lnTo>
                    <a:lnTo>
                      <a:pt x="7169" y="12421"/>
                    </a:lnTo>
                    <a:lnTo>
                      <a:pt x="7163" y="12451"/>
                    </a:lnTo>
                    <a:lnTo>
                      <a:pt x="7155" y="12482"/>
                    </a:lnTo>
                    <a:lnTo>
                      <a:pt x="7145" y="12512"/>
                    </a:lnTo>
                    <a:lnTo>
                      <a:pt x="7134" y="12543"/>
                    </a:lnTo>
                    <a:lnTo>
                      <a:pt x="7121" y="12573"/>
                    </a:lnTo>
                    <a:lnTo>
                      <a:pt x="7106" y="12604"/>
                    </a:lnTo>
                    <a:lnTo>
                      <a:pt x="7090" y="12634"/>
                    </a:lnTo>
                    <a:lnTo>
                      <a:pt x="7072" y="12666"/>
                    </a:lnTo>
                    <a:lnTo>
                      <a:pt x="7052" y="12696"/>
                    </a:lnTo>
                    <a:lnTo>
                      <a:pt x="7030" y="12727"/>
                    </a:lnTo>
                    <a:lnTo>
                      <a:pt x="7007" y="12757"/>
                    </a:lnTo>
                    <a:lnTo>
                      <a:pt x="6982" y="12788"/>
                    </a:lnTo>
                    <a:lnTo>
                      <a:pt x="6956" y="12818"/>
                    </a:lnTo>
                    <a:lnTo>
                      <a:pt x="6905" y="12886"/>
                    </a:lnTo>
                    <a:lnTo>
                      <a:pt x="6854" y="12954"/>
                    </a:lnTo>
                    <a:lnTo>
                      <a:pt x="6802" y="13021"/>
                    </a:lnTo>
                    <a:lnTo>
                      <a:pt x="6749" y="13087"/>
                    </a:lnTo>
                    <a:lnTo>
                      <a:pt x="6694" y="13154"/>
                    </a:lnTo>
                    <a:lnTo>
                      <a:pt x="6640" y="13221"/>
                    </a:lnTo>
                    <a:lnTo>
                      <a:pt x="6584" y="13286"/>
                    </a:lnTo>
                    <a:lnTo>
                      <a:pt x="6528" y="13352"/>
                    </a:lnTo>
                    <a:lnTo>
                      <a:pt x="6472" y="13418"/>
                    </a:lnTo>
                    <a:lnTo>
                      <a:pt x="6414" y="13482"/>
                    </a:lnTo>
                    <a:lnTo>
                      <a:pt x="6356" y="13547"/>
                    </a:lnTo>
                    <a:lnTo>
                      <a:pt x="6296" y="13611"/>
                    </a:lnTo>
                    <a:lnTo>
                      <a:pt x="6236" y="13675"/>
                    </a:lnTo>
                    <a:lnTo>
                      <a:pt x="6176" y="13739"/>
                    </a:lnTo>
                    <a:lnTo>
                      <a:pt x="6115" y="13802"/>
                    </a:lnTo>
                    <a:lnTo>
                      <a:pt x="6053" y="13864"/>
                    </a:lnTo>
                    <a:lnTo>
                      <a:pt x="5990" y="13928"/>
                    </a:lnTo>
                    <a:lnTo>
                      <a:pt x="5925" y="13990"/>
                    </a:lnTo>
                    <a:lnTo>
                      <a:pt x="5861" y="14052"/>
                    </a:lnTo>
                    <a:lnTo>
                      <a:pt x="5796" y="14113"/>
                    </a:lnTo>
                    <a:lnTo>
                      <a:pt x="5730" y="14175"/>
                    </a:lnTo>
                    <a:lnTo>
                      <a:pt x="5664" y="14236"/>
                    </a:lnTo>
                    <a:lnTo>
                      <a:pt x="5597" y="14296"/>
                    </a:lnTo>
                    <a:lnTo>
                      <a:pt x="5528" y="14357"/>
                    </a:lnTo>
                    <a:lnTo>
                      <a:pt x="5459" y="14417"/>
                    </a:lnTo>
                    <a:lnTo>
                      <a:pt x="5390" y="14477"/>
                    </a:lnTo>
                    <a:lnTo>
                      <a:pt x="5319" y="14536"/>
                    </a:lnTo>
                    <a:lnTo>
                      <a:pt x="5249" y="14595"/>
                    </a:lnTo>
                    <a:lnTo>
                      <a:pt x="5176" y="14654"/>
                    </a:lnTo>
                    <a:lnTo>
                      <a:pt x="5104" y="14713"/>
                    </a:lnTo>
                    <a:lnTo>
                      <a:pt x="5030" y="14771"/>
                    </a:lnTo>
                    <a:lnTo>
                      <a:pt x="4957" y="14829"/>
                    </a:lnTo>
                    <a:lnTo>
                      <a:pt x="4882" y="14885"/>
                    </a:lnTo>
                    <a:lnTo>
                      <a:pt x="4808" y="14941"/>
                    </a:lnTo>
                    <a:lnTo>
                      <a:pt x="4733" y="14995"/>
                    </a:lnTo>
                    <a:lnTo>
                      <a:pt x="4658" y="15047"/>
                    </a:lnTo>
                    <a:lnTo>
                      <a:pt x="4583" y="15099"/>
                    </a:lnTo>
                    <a:lnTo>
                      <a:pt x="4507" y="15148"/>
                    </a:lnTo>
                    <a:lnTo>
                      <a:pt x="4431" y="15198"/>
                    </a:lnTo>
                    <a:lnTo>
                      <a:pt x="4354" y="15245"/>
                    </a:lnTo>
                    <a:lnTo>
                      <a:pt x="4278" y="15291"/>
                    </a:lnTo>
                    <a:lnTo>
                      <a:pt x="4202" y="15335"/>
                    </a:lnTo>
                    <a:lnTo>
                      <a:pt x="4125" y="15378"/>
                    </a:lnTo>
                    <a:lnTo>
                      <a:pt x="4048" y="15421"/>
                    </a:lnTo>
                    <a:lnTo>
                      <a:pt x="3969" y="15462"/>
                    </a:lnTo>
                    <a:lnTo>
                      <a:pt x="3892" y="15501"/>
                    </a:lnTo>
                    <a:lnTo>
                      <a:pt x="3814" y="15538"/>
                    </a:lnTo>
                    <a:lnTo>
                      <a:pt x="3735" y="15575"/>
                    </a:lnTo>
                    <a:lnTo>
                      <a:pt x="3657" y="15610"/>
                    </a:lnTo>
                    <a:lnTo>
                      <a:pt x="3577" y="15644"/>
                    </a:lnTo>
                    <a:lnTo>
                      <a:pt x="3498" y="15677"/>
                    </a:lnTo>
                    <a:lnTo>
                      <a:pt x="3419" y="15708"/>
                    </a:lnTo>
                    <a:lnTo>
                      <a:pt x="3339" y="15738"/>
                    </a:lnTo>
                    <a:lnTo>
                      <a:pt x="3258" y="15767"/>
                    </a:lnTo>
                    <a:lnTo>
                      <a:pt x="3178" y="15794"/>
                    </a:lnTo>
                    <a:lnTo>
                      <a:pt x="3098" y="15820"/>
                    </a:lnTo>
                    <a:lnTo>
                      <a:pt x="3017" y="15844"/>
                    </a:lnTo>
                    <a:lnTo>
                      <a:pt x="2936" y="15867"/>
                    </a:lnTo>
                    <a:lnTo>
                      <a:pt x="2854" y="15889"/>
                    </a:lnTo>
                    <a:lnTo>
                      <a:pt x="2773" y="15909"/>
                    </a:lnTo>
                    <a:lnTo>
                      <a:pt x="2691" y="15930"/>
                    </a:lnTo>
                    <a:lnTo>
                      <a:pt x="2609" y="15947"/>
                    </a:lnTo>
                    <a:lnTo>
                      <a:pt x="2527" y="15964"/>
                    </a:lnTo>
                    <a:lnTo>
                      <a:pt x="2443" y="15979"/>
                    </a:lnTo>
                    <a:lnTo>
                      <a:pt x="2418" y="15985"/>
                    </a:lnTo>
                    <a:lnTo>
                      <a:pt x="2392" y="15990"/>
                    </a:lnTo>
                    <a:lnTo>
                      <a:pt x="2363" y="15996"/>
                    </a:lnTo>
                    <a:lnTo>
                      <a:pt x="2334" y="16000"/>
                    </a:lnTo>
                    <a:lnTo>
                      <a:pt x="2302" y="16005"/>
                    </a:lnTo>
                    <a:lnTo>
                      <a:pt x="2269" y="16009"/>
                    </a:lnTo>
                    <a:lnTo>
                      <a:pt x="2235" y="16012"/>
                    </a:lnTo>
                    <a:lnTo>
                      <a:pt x="2199" y="16016"/>
                    </a:lnTo>
                    <a:lnTo>
                      <a:pt x="2122" y="16021"/>
                    </a:lnTo>
                    <a:lnTo>
                      <a:pt x="2039" y="16025"/>
                    </a:lnTo>
                    <a:lnTo>
                      <a:pt x="1949" y="16027"/>
                    </a:lnTo>
                    <a:lnTo>
                      <a:pt x="1853" y="16028"/>
                    </a:lnTo>
                    <a:lnTo>
                      <a:pt x="1764" y="16026"/>
                    </a:lnTo>
                    <a:lnTo>
                      <a:pt x="1676" y="16022"/>
                    </a:lnTo>
                    <a:lnTo>
                      <a:pt x="1592" y="16015"/>
                    </a:lnTo>
                    <a:lnTo>
                      <a:pt x="1511" y="16005"/>
                    </a:lnTo>
                    <a:lnTo>
                      <a:pt x="1433" y="15991"/>
                    </a:lnTo>
                    <a:lnTo>
                      <a:pt x="1358" y="15976"/>
                    </a:lnTo>
                    <a:lnTo>
                      <a:pt x="1284" y="15957"/>
                    </a:lnTo>
                    <a:lnTo>
                      <a:pt x="1215" y="15935"/>
                    </a:lnTo>
                    <a:lnTo>
                      <a:pt x="1148" y="15909"/>
                    </a:lnTo>
                    <a:lnTo>
                      <a:pt x="1084" y="15882"/>
                    </a:lnTo>
                    <a:lnTo>
                      <a:pt x="1023" y="15851"/>
                    </a:lnTo>
                    <a:lnTo>
                      <a:pt x="965" y="15818"/>
                    </a:lnTo>
                    <a:lnTo>
                      <a:pt x="908" y="15781"/>
                    </a:lnTo>
                    <a:lnTo>
                      <a:pt x="856" y="15742"/>
                    </a:lnTo>
                    <a:lnTo>
                      <a:pt x="806" y="15700"/>
                    </a:lnTo>
                    <a:lnTo>
                      <a:pt x="759" y="15654"/>
                    </a:lnTo>
                    <a:lnTo>
                      <a:pt x="715" y="15606"/>
                    </a:lnTo>
                    <a:lnTo>
                      <a:pt x="674" y="15555"/>
                    </a:lnTo>
                    <a:lnTo>
                      <a:pt x="636" y="15502"/>
                    </a:lnTo>
                    <a:lnTo>
                      <a:pt x="600" y="15445"/>
                    </a:lnTo>
                    <a:lnTo>
                      <a:pt x="568" y="15385"/>
                    </a:lnTo>
                    <a:lnTo>
                      <a:pt x="537" y="15322"/>
                    </a:lnTo>
                    <a:lnTo>
                      <a:pt x="510" y="15257"/>
                    </a:lnTo>
                    <a:lnTo>
                      <a:pt x="486" y="15189"/>
                    </a:lnTo>
                    <a:lnTo>
                      <a:pt x="465" y="15116"/>
                    </a:lnTo>
                    <a:lnTo>
                      <a:pt x="446" y="15042"/>
                    </a:lnTo>
                    <a:lnTo>
                      <a:pt x="431" y="14965"/>
                    </a:lnTo>
                    <a:lnTo>
                      <a:pt x="418" y="14885"/>
                    </a:lnTo>
                    <a:lnTo>
                      <a:pt x="408" y="14802"/>
                    </a:lnTo>
                    <a:lnTo>
                      <a:pt x="401" y="14716"/>
                    </a:lnTo>
                    <a:lnTo>
                      <a:pt x="397" y="14627"/>
                    </a:lnTo>
                    <a:lnTo>
                      <a:pt x="395" y="14535"/>
                    </a:lnTo>
                    <a:lnTo>
                      <a:pt x="402" y="14451"/>
                    </a:lnTo>
                    <a:lnTo>
                      <a:pt x="410" y="14367"/>
                    </a:lnTo>
                    <a:lnTo>
                      <a:pt x="419" y="14285"/>
                    </a:lnTo>
                    <a:lnTo>
                      <a:pt x="428" y="14203"/>
                    </a:lnTo>
                    <a:lnTo>
                      <a:pt x="438" y="14120"/>
                    </a:lnTo>
                    <a:lnTo>
                      <a:pt x="448" y="14040"/>
                    </a:lnTo>
                    <a:lnTo>
                      <a:pt x="459" y="13960"/>
                    </a:lnTo>
                    <a:lnTo>
                      <a:pt x="471" y="13879"/>
                    </a:lnTo>
                    <a:lnTo>
                      <a:pt x="484" y="13801"/>
                    </a:lnTo>
                    <a:lnTo>
                      <a:pt x="497" y="13723"/>
                    </a:lnTo>
                    <a:lnTo>
                      <a:pt x="511" y="13644"/>
                    </a:lnTo>
                    <a:lnTo>
                      <a:pt x="525" y="13568"/>
                    </a:lnTo>
                    <a:lnTo>
                      <a:pt x="540" y="13491"/>
                    </a:lnTo>
                    <a:lnTo>
                      <a:pt x="556" y="13416"/>
                    </a:lnTo>
                    <a:lnTo>
                      <a:pt x="574" y="13340"/>
                    </a:lnTo>
                    <a:lnTo>
                      <a:pt x="591" y="13266"/>
                    </a:lnTo>
                    <a:lnTo>
                      <a:pt x="608" y="13192"/>
                    </a:lnTo>
                    <a:lnTo>
                      <a:pt x="627" y="13118"/>
                    </a:lnTo>
                    <a:lnTo>
                      <a:pt x="646" y="13046"/>
                    </a:lnTo>
                    <a:lnTo>
                      <a:pt x="666" y="12974"/>
                    </a:lnTo>
                    <a:lnTo>
                      <a:pt x="686" y="12903"/>
                    </a:lnTo>
                    <a:lnTo>
                      <a:pt x="707" y="12832"/>
                    </a:lnTo>
                    <a:lnTo>
                      <a:pt x="729" y="12762"/>
                    </a:lnTo>
                    <a:lnTo>
                      <a:pt x="751" y="12693"/>
                    </a:lnTo>
                    <a:lnTo>
                      <a:pt x="774" y="12624"/>
                    </a:lnTo>
                    <a:lnTo>
                      <a:pt x="797" y="12556"/>
                    </a:lnTo>
                    <a:lnTo>
                      <a:pt x="822" y="12489"/>
                    </a:lnTo>
                    <a:lnTo>
                      <a:pt x="847" y="12423"/>
                    </a:lnTo>
                    <a:lnTo>
                      <a:pt x="872" y="12356"/>
                    </a:lnTo>
                    <a:lnTo>
                      <a:pt x="898" y="12291"/>
                    </a:lnTo>
                    <a:lnTo>
                      <a:pt x="925" y="12226"/>
                    </a:lnTo>
                    <a:lnTo>
                      <a:pt x="954" y="12162"/>
                    </a:lnTo>
                    <a:lnTo>
                      <a:pt x="3099" y="6656"/>
                    </a:lnTo>
                    <a:close/>
                  </a:path>
                </a:pathLst>
              </a:custGeom>
              <a:solidFill>
                <a:sysClr val="window" lastClr="FFFFFF"/>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54" name="Freeform 190">
                <a:extLst>
                  <a:ext uri="{FF2B5EF4-FFF2-40B4-BE49-F238E27FC236}">
                    <a16:creationId xmlns:a16="http://schemas.microsoft.com/office/drawing/2014/main" id="{69AC482F-2EA3-4B11-8125-20CF29F2EEC3}"/>
                  </a:ext>
                </a:extLst>
              </p:cNvPr>
              <p:cNvSpPr>
                <a:spLocks/>
              </p:cNvSpPr>
              <p:nvPr/>
            </p:nvSpPr>
            <p:spPr bwMode="auto">
              <a:xfrm>
                <a:off x="2298" y="3363"/>
                <a:ext cx="113" cy="112"/>
              </a:xfrm>
              <a:custGeom>
                <a:avLst/>
                <a:gdLst>
                  <a:gd name="T0" fmla="*/ 0 w 3616"/>
                  <a:gd name="T1" fmla="*/ 2 h 3597"/>
                  <a:gd name="T2" fmla="*/ 0 w 3616"/>
                  <a:gd name="T3" fmla="*/ 1 h 3597"/>
                  <a:gd name="T4" fmla="*/ 0 w 3616"/>
                  <a:gd name="T5" fmla="*/ 1 h 3597"/>
                  <a:gd name="T6" fmla="*/ 0 w 3616"/>
                  <a:gd name="T7" fmla="*/ 1 h 3597"/>
                  <a:gd name="T8" fmla="*/ 0 w 3616"/>
                  <a:gd name="T9" fmla="*/ 1 h 3597"/>
                  <a:gd name="T10" fmla="*/ 0 w 3616"/>
                  <a:gd name="T11" fmla="*/ 1 h 3597"/>
                  <a:gd name="T12" fmla="*/ 0 w 3616"/>
                  <a:gd name="T13" fmla="*/ 1 h 3597"/>
                  <a:gd name="T14" fmla="*/ 1 w 3616"/>
                  <a:gd name="T15" fmla="*/ 1 h 3597"/>
                  <a:gd name="T16" fmla="*/ 1 w 3616"/>
                  <a:gd name="T17" fmla="*/ 0 h 3597"/>
                  <a:gd name="T18" fmla="*/ 1 w 3616"/>
                  <a:gd name="T19" fmla="*/ 0 h 3597"/>
                  <a:gd name="T20" fmla="*/ 1 w 3616"/>
                  <a:gd name="T21" fmla="*/ 0 h 3597"/>
                  <a:gd name="T22" fmla="*/ 1 w 3616"/>
                  <a:gd name="T23" fmla="*/ 0 h 3597"/>
                  <a:gd name="T24" fmla="*/ 1 w 3616"/>
                  <a:gd name="T25" fmla="*/ 0 h 3597"/>
                  <a:gd name="T26" fmla="*/ 2 w 3616"/>
                  <a:gd name="T27" fmla="*/ 0 h 3597"/>
                  <a:gd name="T28" fmla="*/ 2 w 3616"/>
                  <a:gd name="T29" fmla="*/ 0 h 3597"/>
                  <a:gd name="T30" fmla="*/ 2 w 3616"/>
                  <a:gd name="T31" fmla="*/ 0 h 3597"/>
                  <a:gd name="T32" fmla="*/ 2 w 3616"/>
                  <a:gd name="T33" fmla="*/ 0 h 3597"/>
                  <a:gd name="T34" fmla="*/ 2 w 3616"/>
                  <a:gd name="T35" fmla="*/ 0 h 3597"/>
                  <a:gd name="T36" fmla="*/ 2 w 3616"/>
                  <a:gd name="T37" fmla="*/ 0 h 3597"/>
                  <a:gd name="T38" fmla="*/ 3 w 3616"/>
                  <a:gd name="T39" fmla="*/ 0 h 3597"/>
                  <a:gd name="T40" fmla="*/ 3 w 3616"/>
                  <a:gd name="T41" fmla="*/ 0 h 3597"/>
                  <a:gd name="T42" fmla="*/ 3 w 3616"/>
                  <a:gd name="T43" fmla="*/ 0 h 3597"/>
                  <a:gd name="T44" fmla="*/ 3 w 3616"/>
                  <a:gd name="T45" fmla="*/ 0 h 3597"/>
                  <a:gd name="T46" fmla="*/ 3 w 3616"/>
                  <a:gd name="T47" fmla="*/ 0 h 3597"/>
                  <a:gd name="T48" fmla="*/ 3 w 3616"/>
                  <a:gd name="T49" fmla="*/ 1 h 3597"/>
                  <a:gd name="T50" fmla="*/ 3 w 3616"/>
                  <a:gd name="T51" fmla="*/ 1 h 3597"/>
                  <a:gd name="T52" fmla="*/ 3 w 3616"/>
                  <a:gd name="T53" fmla="*/ 1 h 3597"/>
                  <a:gd name="T54" fmla="*/ 3 w 3616"/>
                  <a:gd name="T55" fmla="*/ 1 h 3597"/>
                  <a:gd name="T56" fmla="*/ 3 w 3616"/>
                  <a:gd name="T57" fmla="*/ 1 h 3597"/>
                  <a:gd name="T58" fmla="*/ 4 w 3616"/>
                  <a:gd name="T59" fmla="*/ 1 h 3597"/>
                  <a:gd name="T60" fmla="*/ 4 w 3616"/>
                  <a:gd name="T61" fmla="*/ 2 h 3597"/>
                  <a:gd name="T62" fmla="*/ 4 w 3616"/>
                  <a:gd name="T63" fmla="*/ 2 h 3597"/>
                  <a:gd name="T64" fmla="*/ 4 w 3616"/>
                  <a:gd name="T65" fmla="*/ 2 h 3597"/>
                  <a:gd name="T66" fmla="*/ 4 w 3616"/>
                  <a:gd name="T67" fmla="*/ 2 h 3597"/>
                  <a:gd name="T68" fmla="*/ 3 w 3616"/>
                  <a:gd name="T69" fmla="*/ 2 h 3597"/>
                  <a:gd name="T70" fmla="*/ 3 w 3616"/>
                  <a:gd name="T71" fmla="*/ 2 h 3597"/>
                  <a:gd name="T72" fmla="*/ 3 w 3616"/>
                  <a:gd name="T73" fmla="*/ 3 h 3597"/>
                  <a:gd name="T74" fmla="*/ 3 w 3616"/>
                  <a:gd name="T75" fmla="*/ 3 h 3597"/>
                  <a:gd name="T76" fmla="*/ 3 w 3616"/>
                  <a:gd name="T77" fmla="*/ 3 h 3597"/>
                  <a:gd name="T78" fmla="*/ 3 w 3616"/>
                  <a:gd name="T79" fmla="*/ 3 h 3597"/>
                  <a:gd name="T80" fmla="*/ 3 w 3616"/>
                  <a:gd name="T81" fmla="*/ 3 h 3597"/>
                  <a:gd name="T82" fmla="*/ 3 w 3616"/>
                  <a:gd name="T83" fmla="*/ 3 h 3597"/>
                  <a:gd name="T84" fmla="*/ 3 w 3616"/>
                  <a:gd name="T85" fmla="*/ 3 h 3597"/>
                  <a:gd name="T86" fmla="*/ 2 w 3616"/>
                  <a:gd name="T87" fmla="*/ 3 h 3597"/>
                  <a:gd name="T88" fmla="*/ 2 w 3616"/>
                  <a:gd name="T89" fmla="*/ 3 h 3597"/>
                  <a:gd name="T90" fmla="*/ 2 w 3616"/>
                  <a:gd name="T91" fmla="*/ 3 h 3597"/>
                  <a:gd name="T92" fmla="*/ 2 w 3616"/>
                  <a:gd name="T93" fmla="*/ 3 h 3597"/>
                  <a:gd name="T94" fmla="*/ 2 w 3616"/>
                  <a:gd name="T95" fmla="*/ 3 h 3597"/>
                  <a:gd name="T96" fmla="*/ 1 w 3616"/>
                  <a:gd name="T97" fmla="*/ 3 h 3597"/>
                  <a:gd name="T98" fmla="*/ 1 w 3616"/>
                  <a:gd name="T99" fmla="*/ 3 h 3597"/>
                  <a:gd name="T100" fmla="*/ 1 w 3616"/>
                  <a:gd name="T101" fmla="*/ 3 h 3597"/>
                  <a:gd name="T102" fmla="*/ 0 w 3616"/>
                  <a:gd name="T103" fmla="*/ 3 h 3597"/>
                  <a:gd name="T104" fmla="*/ 0 w 3616"/>
                  <a:gd name="T105" fmla="*/ 3 h 3597"/>
                  <a:gd name="T106" fmla="*/ 0 w 3616"/>
                  <a:gd name="T107" fmla="*/ 3 h 3597"/>
                  <a:gd name="T108" fmla="*/ 0 w 3616"/>
                  <a:gd name="T109" fmla="*/ 2 h 3597"/>
                  <a:gd name="T110" fmla="*/ 0 w 3616"/>
                  <a:gd name="T111" fmla="*/ 2 h 359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16"/>
                  <a:gd name="T169" fmla="*/ 0 h 3597"/>
                  <a:gd name="T170" fmla="*/ 3616 w 3616"/>
                  <a:gd name="T171" fmla="*/ 3597 h 359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16" h="3597">
                    <a:moveTo>
                      <a:pt x="0" y="1689"/>
                    </a:moveTo>
                    <a:lnTo>
                      <a:pt x="3" y="1648"/>
                    </a:lnTo>
                    <a:lnTo>
                      <a:pt x="7" y="1606"/>
                    </a:lnTo>
                    <a:lnTo>
                      <a:pt x="13" y="1565"/>
                    </a:lnTo>
                    <a:lnTo>
                      <a:pt x="19" y="1524"/>
                    </a:lnTo>
                    <a:lnTo>
                      <a:pt x="27" y="1484"/>
                    </a:lnTo>
                    <a:lnTo>
                      <a:pt x="35" y="1444"/>
                    </a:lnTo>
                    <a:lnTo>
                      <a:pt x="45" y="1405"/>
                    </a:lnTo>
                    <a:lnTo>
                      <a:pt x="56" y="1366"/>
                    </a:lnTo>
                    <a:lnTo>
                      <a:pt x="68" y="1326"/>
                    </a:lnTo>
                    <a:lnTo>
                      <a:pt x="81" y="1287"/>
                    </a:lnTo>
                    <a:lnTo>
                      <a:pt x="95" y="1249"/>
                    </a:lnTo>
                    <a:lnTo>
                      <a:pt x="110" y="1211"/>
                    </a:lnTo>
                    <a:lnTo>
                      <a:pt x="127" y="1173"/>
                    </a:lnTo>
                    <a:lnTo>
                      <a:pt x="144" y="1136"/>
                    </a:lnTo>
                    <a:lnTo>
                      <a:pt x="163" y="1098"/>
                    </a:lnTo>
                    <a:lnTo>
                      <a:pt x="183" y="1061"/>
                    </a:lnTo>
                    <a:lnTo>
                      <a:pt x="203" y="1024"/>
                    </a:lnTo>
                    <a:lnTo>
                      <a:pt x="225" y="988"/>
                    </a:lnTo>
                    <a:lnTo>
                      <a:pt x="248" y="952"/>
                    </a:lnTo>
                    <a:lnTo>
                      <a:pt x="272" y="917"/>
                    </a:lnTo>
                    <a:lnTo>
                      <a:pt x="297" y="881"/>
                    </a:lnTo>
                    <a:lnTo>
                      <a:pt x="323" y="845"/>
                    </a:lnTo>
                    <a:lnTo>
                      <a:pt x="351" y="811"/>
                    </a:lnTo>
                    <a:lnTo>
                      <a:pt x="380" y="776"/>
                    </a:lnTo>
                    <a:lnTo>
                      <a:pt x="409" y="742"/>
                    </a:lnTo>
                    <a:lnTo>
                      <a:pt x="440" y="708"/>
                    </a:lnTo>
                    <a:lnTo>
                      <a:pt x="472" y="675"/>
                    </a:lnTo>
                    <a:lnTo>
                      <a:pt x="505" y="641"/>
                    </a:lnTo>
                    <a:lnTo>
                      <a:pt x="538" y="607"/>
                    </a:lnTo>
                    <a:lnTo>
                      <a:pt x="573" y="575"/>
                    </a:lnTo>
                    <a:lnTo>
                      <a:pt x="609" y="542"/>
                    </a:lnTo>
                    <a:lnTo>
                      <a:pt x="647" y="510"/>
                    </a:lnTo>
                    <a:lnTo>
                      <a:pt x="684" y="479"/>
                    </a:lnTo>
                    <a:lnTo>
                      <a:pt x="722" y="449"/>
                    </a:lnTo>
                    <a:lnTo>
                      <a:pt x="761" y="420"/>
                    </a:lnTo>
                    <a:lnTo>
                      <a:pt x="799" y="391"/>
                    </a:lnTo>
                    <a:lnTo>
                      <a:pt x="837" y="364"/>
                    </a:lnTo>
                    <a:lnTo>
                      <a:pt x="875" y="337"/>
                    </a:lnTo>
                    <a:lnTo>
                      <a:pt x="914" y="312"/>
                    </a:lnTo>
                    <a:lnTo>
                      <a:pt x="952" y="288"/>
                    </a:lnTo>
                    <a:lnTo>
                      <a:pt x="991" y="264"/>
                    </a:lnTo>
                    <a:lnTo>
                      <a:pt x="1029" y="242"/>
                    </a:lnTo>
                    <a:lnTo>
                      <a:pt x="1068" y="221"/>
                    </a:lnTo>
                    <a:lnTo>
                      <a:pt x="1107" y="200"/>
                    </a:lnTo>
                    <a:lnTo>
                      <a:pt x="1147" y="181"/>
                    </a:lnTo>
                    <a:lnTo>
                      <a:pt x="1186" y="163"/>
                    </a:lnTo>
                    <a:lnTo>
                      <a:pt x="1225" y="145"/>
                    </a:lnTo>
                    <a:lnTo>
                      <a:pt x="1264" y="129"/>
                    </a:lnTo>
                    <a:lnTo>
                      <a:pt x="1303" y="113"/>
                    </a:lnTo>
                    <a:lnTo>
                      <a:pt x="1343" y="98"/>
                    </a:lnTo>
                    <a:lnTo>
                      <a:pt x="1382" y="85"/>
                    </a:lnTo>
                    <a:lnTo>
                      <a:pt x="1422" y="72"/>
                    </a:lnTo>
                    <a:lnTo>
                      <a:pt x="1461" y="61"/>
                    </a:lnTo>
                    <a:lnTo>
                      <a:pt x="1501" y="50"/>
                    </a:lnTo>
                    <a:lnTo>
                      <a:pt x="1542" y="41"/>
                    </a:lnTo>
                    <a:lnTo>
                      <a:pt x="1582" y="32"/>
                    </a:lnTo>
                    <a:lnTo>
                      <a:pt x="1622" y="25"/>
                    </a:lnTo>
                    <a:lnTo>
                      <a:pt x="1662" y="18"/>
                    </a:lnTo>
                    <a:lnTo>
                      <a:pt x="1702" y="13"/>
                    </a:lnTo>
                    <a:lnTo>
                      <a:pt x="1742" y="8"/>
                    </a:lnTo>
                    <a:lnTo>
                      <a:pt x="1783" y="5"/>
                    </a:lnTo>
                    <a:lnTo>
                      <a:pt x="1823" y="2"/>
                    </a:lnTo>
                    <a:lnTo>
                      <a:pt x="1864" y="1"/>
                    </a:lnTo>
                    <a:lnTo>
                      <a:pt x="1906" y="0"/>
                    </a:lnTo>
                    <a:lnTo>
                      <a:pt x="1956" y="1"/>
                    </a:lnTo>
                    <a:lnTo>
                      <a:pt x="2006" y="2"/>
                    </a:lnTo>
                    <a:lnTo>
                      <a:pt x="2055" y="4"/>
                    </a:lnTo>
                    <a:lnTo>
                      <a:pt x="2104" y="8"/>
                    </a:lnTo>
                    <a:lnTo>
                      <a:pt x="2152" y="12"/>
                    </a:lnTo>
                    <a:lnTo>
                      <a:pt x="2199" y="17"/>
                    </a:lnTo>
                    <a:lnTo>
                      <a:pt x="2245" y="23"/>
                    </a:lnTo>
                    <a:lnTo>
                      <a:pt x="2291" y="29"/>
                    </a:lnTo>
                    <a:lnTo>
                      <a:pt x="2336" y="37"/>
                    </a:lnTo>
                    <a:lnTo>
                      <a:pt x="2380" y="46"/>
                    </a:lnTo>
                    <a:lnTo>
                      <a:pt x="2423" y="55"/>
                    </a:lnTo>
                    <a:lnTo>
                      <a:pt x="2466" y="66"/>
                    </a:lnTo>
                    <a:lnTo>
                      <a:pt x="2508" y="77"/>
                    </a:lnTo>
                    <a:lnTo>
                      <a:pt x="2549" y="90"/>
                    </a:lnTo>
                    <a:lnTo>
                      <a:pt x="2589" y="103"/>
                    </a:lnTo>
                    <a:lnTo>
                      <a:pt x="2629" y="118"/>
                    </a:lnTo>
                    <a:lnTo>
                      <a:pt x="2668" y="133"/>
                    </a:lnTo>
                    <a:lnTo>
                      <a:pt x="2707" y="149"/>
                    </a:lnTo>
                    <a:lnTo>
                      <a:pt x="2745" y="166"/>
                    </a:lnTo>
                    <a:lnTo>
                      <a:pt x="2782" y="184"/>
                    </a:lnTo>
                    <a:lnTo>
                      <a:pt x="2818" y="203"/>
                    </a:lnTo>
                    <a:lnTo>
                      <a:pt x="2853" y="223"/>
                    </a:lnTo>
                    <a:lnTo>
                      <a:pt x="2888" y="244"/>
                    </a:lnTo>
                    <a:lnTo>
                      <a:pt x="2922" y="265"/>
                    </a:lnTo>
                    <a:lnTo>
                      <a:pt x="2955" y="288"/>
                    </a:lnTo>
                    <a:lnTo>
                      <a:pt x="2987" y="311"/>
                    </a:lnTo>
                    <a:lnTo>
                      <a:pt x="3019" y="336"/>
                    </a:lnTo>
                    <a:lnTo>
                      <a:pt x="3050" y="362"/>
                    </a:lnTo>
                    <a:lnTo>
                      <a:pt x="3081" y="389"/>
                    </a:lnTo>
                    <a:lnTo>
                      <a:pt x="3111" y="416"/>
                    </a:lnTo>
                    <a:lnTo>
                      <a:pt x="3140" y="444"/>
                    </a:lnTo>
                    <a:lnTo>
                      <a:pt x="3168" y="473"/>
                    </a:lnTo>
                    <a:lnTo>
                      <a:pt x="3195" y="503"/>
                    </a:lnTo>
                    <a:lnTo>
                      <a:pt x="3222" y="534"/>
                    </a:lnTo>
                    <a:lnTo>
                      <a:pt x="3247" y="565"/>
                    </a:lnTo>
                    <a:lnTo>
                      <a:pt x="3272" y="597"/>
                    </a:lnTo>
                    <a:lnTo>
                      <a:pt x="3296" y="631"/>
                    </a:lnTo>
                    <a:lnTo>
                      <a:pt x="3319" y="665"/>
                    </a:lnTo>
                    <a:lnTo>
                      <a:pt x="3341" y="700"/>
                    </a:lnTo>
                    <a:lnTo>
                      <a:pt x="3363" y="735"/>
                    </a:lnTo>
                    <a:lnTo>
                      <a:pt x="3383" y="771"/>
                    </a:lnTo>
                    <a:lnTo>
                      <a:pt x="3403" y="808"/>
                    </a:lnTo>
                    <a:lnTo>
                      <a:pt x="3422" y="846"/>
                    </a:lnTo>
                    <a:lnTo>
                      <a:pt x="3440" y="886"/>
                    </a:lnTo>
                    <a:lnTo>
                      <a:pt x="3458" y="925"/>
                    </a:lnTo>
                    <a:lnTo>
                      <a:pt x="3474" y="966"/>
                    </a:lnTo>
                    <a:lnTo>
                      <a:pt x="3489" y="1007"/>
                    </a:lnTo>
                    <a:lnTo>
                      <a:pt x="3504" y="1049"/>
                    </a:lnTo>
                    <a:lnTo>
                      <a:pt x="3517" y="1092"/>
                    </a:lnTo>
                    <a:lnTo>
                      <a:pt x="3530" y="1136"/>
                    </a:lnTo>
                    <a:lnTo>
                      <a:pt x="3542" y="1181"/>
                    </a:lnTo>
                    <a:lnTo>
                      <a:pt x="3552" y="1226"/>
                    </a:lnTo>
                    <a:lnTo>
                      <a:pt x="3563" y="1272"/>
                    </a:lnTo>
                    <a:lnTo>
                      <a:pt x="3572" y="1319"/>
                    </a:lnTo>
                    <a:lnTo>
                      <a:pt x="3580" y="1367"/>
                    </a:lnTo>
                    <a:lnTo>
                      <a:pt x="3588" y="1416"/>
                    </a:lnTo>
                    <a:lnTo>
                      <a:pt x="3594" y="1465"/>
                    </a:lnTo>
                    <a:lnTo>
                      <a:pt x="3600" y="1516"/>
                    </a:lnTo>
                    <a:lnTo>
                      <a:pt x="3605" y="1567"/>
                    </a:lnTo>
                    <a:lnTo>
                      <a:pt x="3609" y="1620"/>
                    </a:lnTo>
                    <a:lnTo>
                      <a:pt x="3612" y="1672"/>
                    </a:lnTo>
                    <a:lnTo>
                      <a:pt x="3614" y="1726"/>
                    </a:lnTo>
                    <a:lnTo>
                      <a:pt x="3615" y="1780"/>
                    </a:lnTo>
                    <a:lnTo>
                      <a:pt x="3616" y="1835"/>
                    </a:lnTo>
                    <a:lnTo>
                      <a:pt x="3613" y="1881"/>
                    </a:lnTo>
                    <a:lnTo>
                      <a:pt x="3609" y="1926"/>
                    </a:lnTo>
                    <a:lnTo>
                      <a:pt x="3604" y="1970"/>
                    </a:lnTo>
                    <a:lnTo>
                      <a:pt x="3598" y="2014"/>
                    </a:lnTo>
                    <a:lnTo>
                      <a:pt x="3591" y="2057"/>
                    </a:lnTo>
                    <a:lnTo>
                      <a:pt x="3583" y="2100"/>
                    </a:lnTo>
                    <a:lnTo>
                      <a:pt x="3575" y="2143"/>
                    </a:lnTo>
                    <a:lnTo>
                      <a:pt x="3565" y="2185"/>
                    </a:lnTo>
                    <a:lnTo>
                      <a:pt x="3553" y="2227"/>
                    </a:lnTo>
                    <a:lnTo>
                      <a:pt x="3541" y="2268"/>
                    </a:lnTo>
                    <a:lnTo>
                      <a:pt x="3528" y="2309"/>
                    </a:lnTo>
                    <a:lnTo>
                      <a:pt x="3514" y="2349"/>
                    </a:lnTo>
                    <a:lnTo>
                      <a:pt x="3499" y="2389"/>
                    </a:lnTo>
                    <a:lnTo>
                      <a:pt x="3483" y="2429"/>
                    </a:lnTo>
                    <a:lnTo>
                      <a:pt x="3466" y="2468"/>
                    </a:lnTo>
                    <a:lnTo>
                      <a:pt x="3448" y="2506"/>
                    </a:lnTo>
                    <a:lnTo>
                      <a:pt x="3427" y="2544"/>
                    </a:lnTo>
                    <a:lnTo>
                      <a:pt x="3407" y="2581"/>
                    </a:lnTo>
                    <a:lnTo>
                      <a:pt x="3386" y="2619"/>
                    </a:lnTo>
                    <a:lnTo>
                      <a:pt x="3363" y="2656"/>
                    </a:lnTo>
                    <a:lnTo>
                      <a:pt x="3340" y="2692"/>
                    </a:lnTo>
                    <a:lnTo>
                      <a:pt x="3315" y="2728"/>
                    </a:lnTo>
                    <a:lnTo>
                      <a:pt x="3290" y="2763"/>
                    </a:lnTo>
                    <a:lnTo>
                      <a:pt x="3263" y="2798"/>
                    </a:lnTo>
                    <a:lnTo>
                      <a:pt x="3236" y="2833"/>
                    </a:lnTo>
                    <a:lnTo>
                      <a:pt x="3207" y="2867"/>
                    </a:lnTo>
                    <a:lnTo>
                      <a:pt x="3177" y="2901"/>
                    </a:lnTo>
                    <a:lnTo>
                      <a:pt x="3147" y="2935"/>
                    </a:lnTo>
                    <a:lnTo>
                      <a:pt x="3115" y="2967"/>
                    </a:lnTo>
                    <a:lnTo>
                      <a:pt x="3082" y="3000"/>
                    </a:lnTo>
                    <a:lnTo>
                      <a:pt x="3047" y="3031"/>
                    </a:lnTo>
                    <a:lnTo>
                      <a:pt x="3013" y="3063"/>
                    </a:lnTo>
                    <a:lnTo>
                      <a:pt x="2977" y="3093"/>
                    </a:lnTo>
                    <a:lnTo>
                      <a:pt x="2940" y="3124"/>
                    </a:lnTo>
                    <a:lnTo>
                      <a:pt x="2904" y="3152"/>
                    </a:lnTo>
                    <a:lnTo>
                      <a:pt x="2867" y="3180"/>
                    </a:lnTo>
                    <a:lnTo>
                      <a:pt x="2830" y="3207"/>
                    </a:lnTo>
                    <a:lnTo>
                      <a:pt x="2792" y="3233"/>
                    </a:lnTo>
                    <a:lnTo>
                      <a:pt x="2755" y="3258"/>
                    </a:lnTo>
                    <a:lnTo>
                      <a:pt x="2717" y="3282"/>
                    </a:lnTo>
                    <a:lnTo>
                      <a:pt x="2679" y="3306"/>
                    </a:lnTo>
                    <a:lnTo>
                      <a:pt x="2639" y="3328"/>
                    </a:lnTo>
                    <a:lnTo>
                      <a:pt x="2600" y="3350"/>
                    </a:lnTo>
                    <a:lnTo>
                      <a:pt x="2561" y="3371"/>
                    </a:lnTo>
                    <a:lnTo>
                      <a:pt x="2521" y="3391"/>
                    </a:lnTo>
                    <a:lnTo>
                      <a:pt x="2482" y="3410"/>
                    </a:lnTo>
                    <a:lnTo>
                      <a:pt x="2442" y="3428"/>
                    </a:lnTo>
                    <a:lnTo>
                      <a:pt x="2401" y="3445"/>
                    </a:lnTo>
                    <a:lnTo>
                      <a:pt x="2360" y="3461"/>
                    </a:lnTo>
                    <a:lnTo>
                      <a:pt x="2319" y="3477"/>
                    </a:lnTo>
                    <a:lnTo>
                      <a:pt x="2277" y="3491"/>
                    </a:lnTo>
                    <a:lnTo>
                      <a:pt x="2235" y="3505"/>
                    </a:lnTo>
                    <a:lnTo>
                      <a:pt x="2193" y="3517"/>
                    </a:lnTo>
                    <a:lnTo>
                      <a:pt x="2151" y="3529"/>
                    </a:lnTo>
                    <a:lnTo>
                      <a:pt x="2109" y="3540"/>
                    </a:lnTo>
                    <a:lnTo>
                      <a:pt x="2066" y="3550"/>
                    </a:lnTo>
                    <a:lnTo>
                      <a:pt x="2022" y="3559"/>
                    </a:lnTo>
                    <a:lnTo>
                      <a:pt x="1979" y="3567"/>
                    </a:lnTo>
                    <a:lnTo>
                      <a:pt x="1935" y="3574"/>
                    </a:lnTo>
                    <a:lnTo>
                      <a:pt x="1890" y="3581"/>
                    </a:lnTo>
                    <a:lnTo>
                      <a:pt x="1845" y="3586"/>
                    </a:lnTo>
                    <a:lnTo>
                      <a:pt x="1800" y="3591"/>
                    </a:lnTo>
                    <a:lnTo>
                      <a:pt x="1755" y="3594"/>
                    </a:lnTo>
                    <a:lnTo>
                      <a:pt x="1710" y="3597"/>
                    </a:lnTo>
                    <a:lnTo>
                      <a:pt x="1605" y="3595"/>
                    </a:lnTo>
                    <a:lnTo>
                      <a:pt x="1502" y="3590"/>
                    </a:lnTo>
                    <a:lnTo>
                      <a:pt x="1404" y="3580"/>
                    </a:lnTo>
                    <a:lnTo>
                      <a:pt x="1309" y="3567"/>
                    </a:lnTo>
                    <a:lnTo>
                      <a:pt x="1217" y="3551"/>
                    </a:lnTo>
                    <a:lnTo>
                      <a:pt x="1129" y="3530"/>
                    </a:lnTo>
                    <a:lnTo>
                      <a:pt x="1043" y="3506"/>
                    </a:lnTo>
                    <a:lnTo>
                      <a:pt x="961" y="3478"/>
                    </a:lnTo>
                    <a:lnTo>
                      <a:pt x="883" y="3447"/>
                    </a:lnTo>
                    <a:lnTo>
                      <a:pt x="808" y="3411"/>
                    </a:lnTo>
                    <a:lnTo>
                      <a:pt x="735" y="3372"/>
                    </a:lnTo>
                    <a:lnTo>
                      <a:pt x="667" y="3329"/>
                    </a:lnTo>
                    <a:lnTo>
                      <a:pt x="602" y="3282"/>
                    </a:lnTo>
                    <a:lnTo>
                      <a:pt x="540" y="3232"/>
                    </a:lnTo>
                    <a:lnTo>
                      <a:pt x="482" y="3178"/>
                    </a:lnTo>
                    <a:lnTo>
                      <a:pt x="427" y="3121"/>
                    </a:lnTo>
                    <a:lnTo>
                      <a:pt x="376" y="3058"/>
                    </a:lnTo>
                    <a:lnTo>
                      <a:pt x="326" y="2993"/>
                    </a:lnTo>
                    <a:lnTo>
                      <a:pt x="281" y="2925"/>
                    </a:lnTo>
                    <a:lnTo>
                      <a:pt x="240" y="2851"/>
                    </a:lnTo>
                    <a:lnTo>
                      <a:pt x="201" y="2775"/>
                    </a:lnTo>
                    <a:lnTo>
                      <a:pt x="166" y="2695"/>
                    </a:lnTo>
                    <a:lnTo>
                      <a:pt x="135" y="2611"/>
                    </a:lnTo>
                    <a:lnTo>
                      <a:pt x="106" y="2524"/>
                    </a:lnTo>
                    <a:lnTo>
                      <a:pt x="81" y="2433"/>
                    </a:lnTo>
                    <a:lnTo>
                      <a:pt x="60" y="2337"/>
                    </a:lnTo>
                    <a:lnTo>
                      <a:pt x="41" y="2239"/>
                    </a:lnTo>
                    <a:lnTo>
                      <a:pt x="26" y="2137"/>
                    </a:lnTo>
                    <a:lnTo>
                      <a:pt x="15" y="2030"/>
                    </a:lnTo>
                    <a:lnTo>
                      <a:pt x="6" y="1920"/>
                    </a:lnTo>
                    <a:lnTo>
                      <a:pt x="1" y="1806"/>
                    </a:lnTo>
                    <a:lnTo>
                      <a:pt x="0" y="1689"/>
                    </a:lnTo>
                  </a:path>
                </a:pathLst>
              </a:custGeom>
              <a:solidFill>
                <a:srgbClr val="505050"/>
              </a:solidFill>
              <a:ln w="1588">
                <a:no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55" name="Freeform 191">
                <a:extLst>
                  <a:ext uri="{FF2B5EF4-FFF2-40B4-BE49-F238E27FC236}">
                    <a16:creationId xmlns:a16="http://schemas.microsoft.com/office/drawing/2014/main" id="{93CC8490-D6EB-44D2-8440-94080C354523}"/>
                  </a:ext>
                </a:extLst>
              </p:cNvPr>
              <p:cNvSpPr>
                <a:spLocks/>
              </p:cNvSpPr>
              <p:nvPr/>
            </p:nvSpPr>
            <p:spPr bwMode="auto">
              <a:xfrm>
                <a:off x="2160" y="3503"/>
                <a:ext cx="224" cy="360"/>
              </a:xfrm>
              <a:custGeom>
                <a:avLst/>
                <a:gdLst>
                  <a:gd name="T0" fmla="*/ 3 w 7176"/>
                  <a:gd name="T1" fmla="*/ 2 h 11546"/>
                  <a:gd name="T2" fmla="*/ 3 w 7176"/>
                  <a:gd name="T3" fmla="*/ 2 h 11546"/>
                  <a:gd name="T4" fmla="*/ 3 w 7176"/>
                  <a:gd name="T5" fmla="*/ 2 h 11546"/>
                  <a:gd name="T6" fmla="*/ 3 w 7176"/>
                  <a:gd name="T7" fmla="*/ 2 h 11546"/>
                  <a:gd name="T8" fmla="*/ 2 w 7176"/>
                  <a:gd name="T9" fmla="*/ 2 h 11546"/>
                  <a:gd name="T10" fmla="*/ 2 w 7176"/>
                  <a:gd name="T11" fmla="*/ 2 h 11546"/>
                  <a:gd name="T12" fmla="*/ 1 w 7176"/>
                  <a:gd name="T13" fmla="*/ 3 h 11546"/>
                  <a:gd name="T14" fmla="*/ 1 w 7176"/>
                  <a:gd name="T15" fmla="*/ 3 h 11546"/>
                  <a:gd name="T16" fmla="*/ 0 w 7176"/>
                  <a:gd name="T17" fmla="*/ 4 h 11546"/>
                  <a:gd name="T18" fmla="*/ 0 w 7176"/>
                  <a:gd name="T19" fmla="*/ 4 h 11546"/>
                  <a:gd name="T20" fmla="*/ 0 w 7176"/>
                  <a:gd name="T21" fmla="*/ 4 h 11546"/>
                  <a:gd name="T22" fmla="*/ 0 w 7176"/>
                  <a:gd name="T23" fmla="*/ 3 h 11546"/>
                  <a:gd name="T24" fmla="*/ 0 w 7176"/>
                  <a:gd name="T25" fmla="*/ 3 h 11546"/>
                  <a:gd name="T26" fmla="*/ 0 w 7176"/>
                  <a:gd name="T27" fmla="*/ 3 h 11546"/>
                  <a:gd name="T28" fmla="*/ 0 w 7176"/>
                  <a:gd name="T29" fmla="*/ 3 h 11546"/>
                  <a:gd name="T30" fmla="*/ 1 w 7176"/>
                  <a:gd name="T31" fmla="*/ 2 h 11546"/>
                  <a:gd name="T32" fmla="*/ 1 w 7176"/>
                  <a:gd name="T33" fmla="*/ 2 h 11546"/>
                  <a:gd name="T34" fmla="*/ 2 w 7176"/>
                  <a:gd name="T35" fmla="*/ 1 h 11546"/>
                  <a:gd name="T36" fmla="*/ 3 w 7176"/>
                  <a:gd name="T37" fmla="*/ 1 h 11546"/>
                  <a:gd name="T38" fmla="*/ 4 w 7176"/>
                  <a:gd name="T39" fmla="*/ 0 h 11546"/>
                  <a:gd name="T40" fmla="*/ 4 w 7176"/>
                  <a:gd name="T41" fmla="*/ 0 h 11546"/>
                  <a:gd name="T42" fmla="*/ 5 w 7176"/>
                  <a:gd name="T43" fmla="*/ 0 h 11546"/>
                  <a:gd name="T44" fmla="*/ 6 w 7176"/>
                  <a:gd name="T45" fmla="*/ 0 h 11546"/>
                  <a:gd name="T46" fmla="*/ 6 w 7176"/>
                  <a:gd name="T47" fmla="*/ 0 h 11546"/>
                  <a:gd name="T48" fmla="*/ 6 w 7176"/>
                  <a:gd name="T49" fmla="*/ 1 h 11546"/>
                  <a:gd name="T50" fmla="*/ 6 w 7176"/>
                  <a:gd name="T51" fmla="*/ 1 h 11546"/>
                  <a:gd name="T52" fmla="*/ 6 w 7176"/>
                  <a:gd name="T53" fmla="*/ 2 h 11546"/>
                  <a:gd name="T54" fmla="*/ 6 w 7176"/>
                  <a:gd name="T55" fmla="*/ 2 h 11546"/>
                  <a:gd name="T56" fmla="*/ 4 w 7176"/>
                  <a:gd name="T57" fmla="*/ 8 h 11546"/>
                  <a:gd name="T58" fmla="*/ 4 w 7176"/>
                  <a:gd name="T59" fmla="*/ 9 h 11546"/>
                  <a:gd name="T60" fmla="*/ 4 w 7176"/>
                  <a:gd name="T61" fmla="*/ 9 h 11546"/>
                  <a:gd name="T62" fmla="*/ 4 w 7176"/>
                  <a:gd name="T63" fmla="*/ 9 h 11546"/>
                  <a:gd name="T64" fmla="*/ 4 w 7176"/>
                  <a:gd name="T65" fmla="*/ 9 h 11546"/>
                  <a:gd name="T66" fmla="*/ 4 w 7176"/>
                  <a:gd name="T67" fmla="*/ 9 h 11546"/>
                  <a:gd name="T68" fmla="*/ 5 w 7176"/>
                  <a:gd name="T69" fmla="*/ 9 h 11546"/>
                  <a:gd name="T70" fmla="*/ 5 w 7176"/>
                  <a:gd name="T71" fmla="*/ 9 h 11546"/>
                  <a:gd name="T72" fmla="*/ 6 w 7176"/>
                  <a:gd name="T73" fmla="*/ 8 h 11546"/>
                  <a:gd name="T74" fmla="*/ 6 w 7176"/>
                  <a:gd name="T75" fmla="*/ 8 h 11546"/>
                  <a:gd name="T76" fmla="*/ 7 w 7176"/>
                  <a:gd name="T77" fmla="*/ 7 h 11546"/>
                  <a:gd name="T78" fmla="*/ 7 w 7176"/>
                  <a:gd name="T79" fmla="*/ 7 h 11546"/>
                  <a:gd name="T80" fmla="*/ 7 w 7176"/>
                  <a:gd name="T81" fmla="*/ 7 h 11546"/>
                  <a:gd name="T82" fmla="*/ 7 w 7176"/>
                  <a:gd name="T83" fmla="*/ 7 h 11546"/>
                  <a:gd name="T84" fmla="*/ 7 w 7176"/>
                  <a:gd name="T85" fmla="*/ 8 h 11546"/>
                  <a:gd name="T86" fmla="*/ 7 w 7176"/>
                  <a:gd name="T87" fmla="*/ 8 h 11546"/>
                  <a:gd name="T88" fmla="*/ 7 w 7176"/>
                  <a:gd name="T89" fmla="*/ 8 h 11546"/>
                  <a:gd name="T90" fmla="*/ 6 w 7176"/>
                  <a:gd name="T91" fmla="*/ 9 h 11546"/>
                  <a:gd name="T92" fmla="*/ 5 w 7176"/>
                  <a:gd name="T93" fmla="*/ 10 h 11546"/>
                  <a:gd name="T94" fmla="*/ 5 w 7176"/>
                  <a:gd name="T95" fmla="*/ 10 h 11546"/>
                  <a:gd name="T96" fmla="*/ 4 w 7176"/>
                  <a:gd name="T97" fmla="*/ 11 h 11546"/>
                  <a:gd name="T98" fmla="*/ 3 w 7176"/>
                  <a:gd name="T99" fmla="*/ 11 h 11546"/>
                  <a:gd name="T100" fmla="*/ 2 w 7176"/>
                  <a:gd name="T101" fmla="*/ 11 h 11546"/>
                  <a:gd name="T102" fmla="*/ 2 w 7176"/>
                  <a:gd name="T103" fmla="*/ 11 h 11546"/>
                  <a:gd name="T104" fmla="*/ 1 w 7176"/>
                  <a:gd name="T105" fmla="*/ 11 h 11546"/>
                  <a:gd name="T106" fmla="*/ 1 w 7176"/>
                  <a:gd name="T107" fmla="*/ 11 h 11546"/>
                  <a:gd name="T108" fmla="*/ 0 w 7176"/>
                  <a:gd name="T109" fmla="*/ 10 h 11546"/>
                  <a:gd name="T110" fmla="*/ 0 w 7176"/>
                  <a:gd name="T111" fmla="*/ 9 h 11546"/>
                  <a:gd name="T112" fmla="*/ 1 w 7176"/>
                  <a:gd name="T113" fmla="*/ 9 h 11546"/>
                  <a:gd name="T114" fmla="*/ 1 w 7176"/>
                  <a:gd name="T115" fmla="*/ 8 h 1154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176"/>
                  <a:gd name="T175" fmla="*/ 0 h 11546"/>
                  <a:gd name="T176" fmla="*/ 7176 w 7176"/>
                  <a:gd name="T177" fmla="*/ 11546 h 1154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176" h="11546">
                    <a:moveTo>
                      <a:pt x="3099" y="2174"/>
                    </a:moveTo>
                    <a:lnTo>
                      <a:pt x="3111" y="2138"/>
                    </a:lnTo>
                    <a:lnTo>
                      <a:pt x="3121" y="2105"/>
                    </a:lnTo>
                    <a:lnTo>
                      <a:pt x="3129" y="2074"/>
                    </a:lnTo>
                    <a:lnTo>
                      <a:pt x="3136" y="2045"/>
                    </a:lnTo>
                    <a:lnTo>
                      <a:pt x="3141" y="2019"/>
                    </a:lnTo>
                    <a:lnTo>
                      <a:pt x="3145" y="1995"/>
                    </a:lnTo>
                    <a:lnTo>
                      <a:pt x="3147" y="1973"/>
                    </a:lnTo>
                    <a:lnTo>
                      <a:pt x="3148" y="1954"/>
                    </a:lnTo>
                    <a:lnTo>
                      <a:pt x="3148" y="1933"/>
                    </a:lnTo>
                    <a:lnTo>
                      <a:pt x="3147" y="1913"/>
                    </a:lnTo>
                    <a:lnTo>
                      <a:pt x="3145" y="1892"/>
                    </a:lnTo>
                    <a:lnTo>
                      <a:pt x="3143" y="1873"/>
                    </a:lnTo>
                    <a:lnTo>
                      <a:pt x="3140" y="1855"/>
                    </a:lnTo>
                    <a:lnTo>
                      <a:pt x="3137" y="1837"/>
                    </a:lnTo>
                    <a:lnTo>
                      <a:pt x="3133" y="1820"/>
                    </a:lnTo>
                    <a:lnTo>
                      <a:pt x="3128" y="1804"/>
                    </a:lnTo>
                    <a:lnTo>
                      <a:pt x="3123" y="1788"/>
                    </a:lnTo>
                    <a:lnTo>
                      <a:pt x="3117" y="1773"/>
                    </a:lnTo>
                    <a:lnTo>
                      <a:pt x="3111" y="1759"/>
                    </a:lnTo>
                    <a:lnTo>
                      <a:pt x="3104" y="1745"/>
                    </a:lnTo>
                    <a:lnTo>
                      <a:pt x="3096" y="1732"/>
                    </a:lnTo>
                    <a:lnTo>
                      <a:pt x="3088" y="1720"/>
                    </a:lnTo>
                    <a:lnTo>
                      <a:pt x="3079" y="1708"/>
                    </a:lnTo>
                    <a:lnTo>
                      <a:pt x="3069" y="1697"/>
                    </a:lnTo>
                    <a:lnTo>
                      <a:pt x="3059" y="1687"/>
                    </a:lnTo>
                    <a:lnTo>
                      <a:pt x="3048" y="1677"/>
                    </a:lnTo>
                    <a:lnTo>
                      <a:pt x="3037" y="1668"/>
                    </a:lnTo>
                    <a:lnTo>
                      <a:pt x="3025" y="1660"/>
                    </a:lnTo>
                    <a:lnTo>
                      <a:pt x="3013" y="1652"/>
                    </a:lnTo>
                    <a:lnTo>
                      <a:pt x="3000" y="1644"/>
                    </a:lnTo>
                    <a:lnTo>
                      <a:pt x="2986" y="1638"/>
                    </a:lnTo>
                    <a:lnTo>
                      <a:pt x="2972" y="1632"/>
                    </a:lnTo>
                    <a:lnTo>
                      <a:pt x="2957" y="1627"/>
                    </a:lnTo>
                    <a:lnTo>
                      <a:pt x="2941" y="1623"/>
                    </a:lnTo>
                    <a:lnTo>
                      <a:pt x="2925" y="1619"/>
                    </a:lnTo>
                    <a:lnTo>
                      <a:pt x="2908" y="1616"/>
                    </a:lnTo>
                    <a:lnTo>
                      <a:pt x="2891" y="1614"/>
                    </a:lnTo>
                    <a:lnTo>
                      <a:pt x="2872" y="1612"/>
                    </a:lnTo>
                    <a:lnTo>
                      <a:pt x="2853" y="1611"/>
                    </a:lnTo>
                    <a:lnTo>
                      <a:pt x="2834" y="1611"/>
                    </a:lnTo>
                    <a:lnTo>
                      <a:pt x="2805" y="1612"/>
                    </a:lnTo>
                    <a:lnTo>
                      <a:pt x="2775" y="1614"/>
                    </a:lnTo>
                    <a:lnTo>
                      <a:pt x="2745" y="1619"/>
                    </a:lnTo>
                    <a:lnTo>
                      <a:pt x="2714" y="1625"/>
                    </a:lnTo>
                    <a:lnTo>
                      <a:pt x="2682" y="1632"/>
                    </a:lnTo>
                    <a:lnTo>
                      <a:pt x="2650" y="1642"/>
                    </a:lnTo>
                    <a:lnTo>
                      <a:pt x="2618" y="1654"/>
                    </a:lnTo>
                    <a:lnTo>
                      <a:pt x="2584" y="1667"/>
                    </a:lnTo>
                    <a:lnTo>
                      <a:pt x="2551" y="1681"/>
                    </a:lnTo>
                    <a:lnTo>
                      <a:pt x="2516" y="1698"/>
                    </a:lnTo>
                    <a:lnTo>
                      <a:pt x="2480" y="1716"/>
                    </a:lnTo>
                    <a:lnTo>
                      <a:pt x="2445" y="1735"/>
                    </a:lnTo>
                    <a:lnTo>
                      <a:pt x="2409" y="1757"/>
                    </a:lnTo>
                    <a:lnTo>
                      <a:pt x="2372" y="1780"/>
                    </a:lnTo>
                    <a:lnTo>
                      <a:pt x="2335" y="1805"/>
                    </a:lnTo>
                    <a:lnTo>
                      <a:pt x="2297" y="1831"/>
                    </a:lnTo>
                    <a:lnTo>
                      <a:pt x="2271" y="1850"/>
                    </a:lnTo>
                    <a:lnTo>
                      <a:pt x="2245" y="1870"/>
                    </a:lnTo>
                    <a:lnTo>
                      <a:pt x="2217" y="1892"/>
                    </a:lnTo>
                    <a:lnTo>
                      <a:pt x="2188" y="1917"/>
                    </a:lnTo>
                    <a:lnTo>
                      <a:pt x="2126" y="1968"/>
                    </a:lnTo>
                    <a:lnTo>
                      <a:pt x="2059" y="2026"/>
                    </a:lnTo>
                    <a:lnTo>
                      <a:pt x="1989" y="2091"/>
                    </a:lnTo>
                    <a:lnTo>
                      <a:pt x="1914" y="2163"/>
                    </a:lnTo>
                    <a:lnTo>
                      <a:pt x="1834" y="2240"/>
                    </a:lnTo>
                    <a:lnTo>
                      <a:pt x="1750" y="2324"/>
                    </a:lnTo>
                    <a:lnTo>
                      <a:pt x="1660" y="2415"/>
                    </a:lnTo>
                    <a:lnTo>
                      <a:pt x="1567" y="2511"/>
                    </a:lnTo>
                    <a:lnTo>
                      <a:pt x="1469" y="2614"/>
                    </a:lnTo>
                    <a:lnTo>
                      <a:pt x="1366" y="2724"/>
                    </a:lnTo>
                    <a:lnTo>
                      <a:pt x="1258" y="2840"/>
                    </a:lnTo>
                    <a:lnTo>
                      <a:pt x="1146" y="2962"/>
                    </a:lnTo>
                    <a:lnTo>
                      <a:pt x="1030" y="3091"/>
                    </a:lnTo>
                    <a:lnTo>
                      <a:pt x="908" y="3226"/>
                    </a:lnTo>
                    <a:lnTo>
                      <a:pt x="860" y="3285"/>
                    </a:lnTo>
                    <a:lnTo>
                      <a:pt x="814" y="3340"/>
                    </a:lnTo>
                    <a:lnTo>
                      <a:pt x="769" y="3391"/>
                    </a:lnTo>
                    <a:lnTo>
                      <a:pt x="725" y="3440"/>
                    </a:lnTo>
                    <a:lnTo>
                      <a:pt x="683" y="3484"/>
                    </a:lnTo>
                    <a:lnTo>
                      <a:pt x="643" y="3525"/>
                    </a:lnTo>
                    <a:lnTo>
                      <a:pt x="604" y="3562"/>
                    </a:lnTo>
                    <a:lnTo>
                      <a:pt x="566" y="3596"/>
                    </a:lnTo>
                    <a:lnTo>
                      <a:pt x="529" y="3626"/>
                    </a:lnTo>
                    <a:lnTo>
                      <a:pt x="495" y="3652"/>
                    </a:lnTo>
                    <a:lnTo>
                      <a:pt x="478" y="3665"/>
                    </a:lnTo>
                    <a:lnTo>
                      <a:pt x="462" y="3676"/>
                    </a:lnTo>
                    <a:lnTo>
                      <a:pt x="446" y="3686"/>
                    </a:lnTo>
                    <a:lnTo>
                      <a:pt x="430" y="3695"/>
                    </a:lnTo>
                    <a:lnTo>
                      <a:pt x="415" y="3703"/>
                    </a:lnTo>
                    <a:lnTo>
                      <a:pt x="400" y="3711"/>
                    </a:lnTo>
                    <a:lnTo>
                      <a:pt x="385" y="3717"/>
                    </a:lnTo>
                    <a:lnTo>
                      <a:pt x="371" y="3723"/>
                    </a:lnTo>
                    <a:lnTo>
                      <a:pt x="357" y="3728"/>
                    </a:lnTo>
                    <a:lnTo>
                      <a:pt x="344" y="3731"/>
                    </a:lnTo>
                    <a:lnTo>
                      <a:pt x="331" y="3734"/>
                    </a:lnTo>
                    <a:lnTo>
                      <a:pt x="318" y="3736"/>
                    </a:lnTo>
                    <a:lnTo>
                      <a:pt x="300" y="3736"/>
                    </a:lnTo>
                    <a:lnTo>
                      <a:pt x="283" y="3734"/>
                    </a:lnTo>
                    <a:lnTo>
                      <a:pt x="267" y="3731"/>
                    </a:lnTo>
                    <a:lnTo>
                      <a:pt x="251" y="3726"/>
                    </a:lnTo>
                    <a:lnTo>
                      <a:pt x="236" y="3720"/>
                    </a:lnTo>
                    <a:lnTo>
                      <a:pt x="222" y="3712"/>
                    </a:lnTo>
                    <a:lnTo>
                      <a:pt x="215" y="3708"/>
                    </a:lnTo>
                    <a:lnTo>
                      <a:pt x="209" y="3703"/>
                    </a:lnTo>
                    <a:lnTo>
                      <a:pt x="202" y="3697"/>
                    </a:lnTo>
                    <a:lnTo>
                      <a:pt x="196" y="3691"/>
                    </a:lnTo>
                    <a:lnTo>
                      <a:pt x="191" y="3691"/>
                    </a:lnTo>
                    <a:lnTo>
                      <a:pt x="185" y="3690"/>
                    </a:lnTo>
                    <a:lnTo>
                      <a:pt x="179" y="3688"/>
                    </a:lnTo>
                    <a:lnTo>
                      <a:pt x="172" y="3686"/>
                    </a:lnTo>
                    <a:lnTo>
                      <a:pt x="159" y="3679"/>
                    </a:lnTo>
                    <a:lnTo>
                      <a:pt x="145" y="3670"/>
                    </a:lnTo>
                    <a:lnTo>
                      <a:pt x="130" y="3658"/>
                    </a:lnTo>
                    <a:lnTo>
                      <a:pt x="114" y="3642"/>
                    </a:lnTo>
                    <a:lnTo>
                      <a:pt x="96" y="3625"/>
                    </a:lnTo>
                    <a:lnTo>
                      <a:pt x="77" y="3605"/>
                    </a:lnTo>
                    <a:lnTo>
                      <a:pt x="68" y="3595"/>
                    </a:lnTo>
                    <a:lnTo>
                      <a:pt x="59" y="3585"/>
                    </a:lnTo>
                    <a:lnTo>
                      <a:pt x="51" y="3574"/>
                    </a:lnTo>
                    <a:lnTo>
                      <a:pt x="43" y="3563"/>
                    </a:lnTo>
                    <a:lnTo>
                      <a:pt x="36" y="3553"/>
                    </a:lnTo>
                    <a:lnTo>
                      <a:pt x="30" y="3541"/>
                    </a:lnTo>
                    <a:lnTo>
                      <a:pt x="24" y="3530"/>
                    </a:lnTo>
                    <a:lnTo>
                      <a:pt x="19" y="3518"/>
                    </a:lnTo>
                    <a:lnTo>
                      <a:pt x="15" y="3507"/>
                    </a:lnTo>
                    <a:lnTo>
                      <a:pt x="11" y="3495"/>
                    </a:lnTo>
                    <a:lnTo>
                      <a:pt x="7" y="3483"/>
                    </a:lnTo>
                    <a:lnTo>
                      <a:pt x="5" y="3471"/>
                    </a:lnTo>
                    <a:lnTo>
                      <a:pt x="3" y="3459"/>
                    </a:lnTo>
                    <a:lnTo>
                      <a:pt x="1" y="3447"/>
                    </a:lnTo>
                    <a:lnTo>
                      <a:pt x="1" y="3435"/>
                    </a:lnTo>
                    <a:lnTo>
                      <a:pt x="0" y="3422"/>
                    </a:lnTo>
                    <a:lnTo>
                      <a:pt x="4" y="3401"/>
                    </a:lnTo>
                    <a:lnTo>
                      <a:pt x="9" y="3380"/>
                    </a:lnTo>
                    <a:lnTo>
                      <a:pt x="14" y="3358"/>
                    </a:lnTo>
                    <a:lnTo>
                      <a:pt x="20" y="3337"/>
                    </a:lnTo>
                    <a:lnTo>
                      <a:pt x="27" y="3315"/>
                    </a:lnTo>
                    <a:lnTo>
                      <a:pt x="34" y="3293"/>
                    </a:lnTo>
                    <a:lnTo>
                      <a:pt x="42" y="3270"/>
                    </a:lnTo>
                    <a:lnTo>
                      <a:pt x="51" y="3248"/>
                    </a:lnTo>
                    <a:lnTo>
                      <a:pt x="61" y="3225"/>
                    </a:lnTo>
                    <a:lnTo>
                      <a:pt x="71" y="3202"/>
                    </a:lnTo>
                    <a:lnTo>
                      <a:pt x="82" y="3178"/>
                    </a:lnTo>
                    <a:lnTo>
                      <a:pt x="94" y="3153"/>
                    </a:lnTo>
                    <a:lnTo>
                      <a:pt x="120" y="3105"/>
                    </a:lnTo>
                    <a:lnTo>
                      <a:pt x="150" y="3055"/>
                    </a:lnTo>
                    <a:lnTo>
                      <a:pt x="182" y="3004"/>
                    </a:lnTo>
                    <a:lnTo>
                      <a:pt x="217" y="2952"/>
                    </a:lnTo>
                    <a:lnTo>
                      <a:pt x="255" y="2898"/>
                    </a:lnTo>
                    <a:lnTo>
                      <a:pt x="296" y="2844"/>
                    </a:lnTo>
                    <a:lnTo>
                      <a:pt x="340" y="2788"/>
                    </a:lnTo>
                    <a:lnTo>
                      <a:pt x="386" y="2732"/>
                    </a:lnTo>
                    <a:lnTo>
                      <a:pt x="436" y="2674"/>
                    </a:lnTo>
                    <a:lnTo>
                      <a:pt x="489" y="2614"/>
                    </a:lnTo>
                    <a:lnTo>
                      <a:pt x="553" y="2537"/>
                    </a:lnTo>
                    <a:lnTo>
                      <a:pt x="619" y="2460"/>
                    </a:lnTo>
                    <a:lnTo>
                      <a:pt x="684" y="2384"/>
                    </a:lnTo>
                    <a:lnTo>
                      <a:pt x="750" y="2310"/>
                    </a:lnTo>
                    <a:lnTo>
                      <a:pt x="815" y="2237"/>
                    </a:lnTo>
                    <a:lnTo>
                      <a:pt x="881" y="2165"/>
                    </a:lnTo>
                    <a:lnTo>
                      <a:pt x="949" y="2093"/>
                    </a:lnTo>
                    <a:lnTo>
                      <a:pt x="1015" y="2023"/>
                    </a:lnTo>
                    <a:lnTo>
                      <a:pt x="1082" y="1955"/>
                    </a:lnTo>
                    <a:lnTo>
                      <a:pt x="1150" y="1886"/>
                    </a:lnTo>
                    <a:lnTo>
                      <a:pt x="1217" y="1820"/>
                    </a:lnTo>
                    <a:lnTo>
                      <a:pt x="1285" y="1755"/>
                    </a:lnTo>
                    <a:lnTo>
                      <a:pt x="1354" y="1691"/>
                    </a:lnTo>
                    <a:lnTo>
                      <a:pt x="1423" y="1627"/>
                    </a:lnTo>
                    <a:lnTo>
                      <a:pt x="1492" y="1565"/>
                    </a:lnTo>
                    <a:lnTo>
                      <a:pt x="1561" y="1504"/>
                    </a:lnTo>
                    <a:lnTo>
                      <a:pt x="1630" y="1444"/>
                    </a:lnTo>
                    <a:lnTo>
                      <a:pt x="1700" y="1384"/>
                    </a:lnTo>
                    <a:lnTo>
                      <a:pt x="1771" y="1327"/>
                    </a:lnTo>
                    <a:lnTo>
                      <a:pt x="1842" y="1271"/>
                    </a:lnTo>
                    <a:lnTo>
                      <a:pt x="1912" y="1215"/>
                    </a:lnTo>
                    <a:lnTo>
                      <a:pt x="1983" y="1161"/>
                    </a:lnTo>
                    <a:lnTo>
                      <a:pt x="2055" y="1107"/>
                    </a:lnTo>
                    <a:lnTo>
                      <a:pt x="2127" y="1055"/>
                    </a:lnTo>
                    <a:lnTo>
                      <a:pt x="2199" y="1004"/>
                    </a:lnTo>
                    <a:lnTo>
                      <a:pt x="2271" y="954"/>
                    </a:lnTo>
                    <a:lnTo>
                      <a:pt x="2344" y="906"/>
                    </a:lnTo>
                    <a:lnTo>
                      <a:pt x="2417" y="857"/>
                    </a:lnTo>
                    <a:lnTo>
                      <a:pt x="2491" y="811"/>
                    </a:lnTo>
                    <a:lnTo>
                      <a:pt x="2565" y="765"/>
                    </a:lnTo>
                    <a:lnTo>
                      <a:pt x="2638" y="721"/>
                    </a:lnTo>
                    <a:lnTo>
                      <a:pt x="2712" y="678"/>
                    </a:lnTo>
                    <a:lnTo>
                      <a:pt x="2789" y="635"/>
                    </a:lnTo>
                    <a:lnTo>
                      <a:pt x="2865" y="595"/>
                    </a:lnTo>
                    <a:lnTo>
                      <a:pt x="2942" y="556"/>
                    </a:lnTo>
                    <a:lnTo>
                      <a:pt x="3017" y="518"/>
                    </a:lnTo>
                    <a:lnTo>
                      <a:pt x="3092" y="482"/>
                    </a:lnTo>
                    <a:lnTo>
                      <a:pt x="3167" y="447"/>
                    </a:lnTo>
                    <a:lnTo>
                      <a:pt x="3242" y="413"/>
                    </a:lnTo>
                    <a:lnTo>
                      <a:pt x="3317" y="380"/>
                    </a:lnTo>
                    <a:lnTo>
                      <a:pt x="3391" y="349"/>
                    </a:lnTo>
                    <a:lnTo>
                      <a:pt x="3464" y="320"/>
                    </a:lnTo>
                    <a:lnTo>
                      <a:pt x="3538" y="291"/>
                    </a:lnTo>
                    <a:lnTo>
                      <a:pt x="3611" y="264"/>
                    </a:lnTo>
                    <a:lnTo>
                      <a:pt x="3684" y="239"/>
                    </a:lnTo>
                    <a:lnTo>
                      <a:pt x="3757" y="214"/>
                    </a:lnTo>
                    <a:lnTo>
                      <a:pt x="3829" y="191"/>
                    </a:lnTo>
                    <a:lnTo>
                      <a:pt x="3900" y="169"/>
                    </a:lnTo>
                    <a:lnTo>
                      <a:pt x="3972" y="149"/>
                    </a:lnTo>
                    <a:lnTo>
                      <a:pt x="4044" y="129"/>
                    </a:lnTo>
                    <a:lnTo>
                      <a:pt x="4115" y="111"/>
                    </a:lnTo>
                    <a:lnTo>
                      <a:pt x="4185" y="95"/>
                    </a:lnTo>
                    <a:lnTo>
                      <a:pt x="4255" y="80"/>
                    </a:lnTo>
                    <a:lnTo>
                      <a:pt x="4325" y="66"/>
                    </a:lnTo>
                    <a:lnTo>
                      <a:pt x="4395" y="54"/>
                    </a:lnTo>
                    <a:lnTo>
                      <a:pt x="4465" y="42"/>
                    </a:lnTo>
                    <a:lnTo>
                      <a:pt x="4534" y="33"/>
                    </a:lnTo>
                    <a:lnTo>
                      <a:pt x="4603" y="24"/>
                    </a:lnTo>
                    <a:lnTo>
                      <a:pt x="4671" y="17"/>
                    </a:lnTo>
                    <a:lnTo>
                      <a:pt x="4739" y="11"/>
                    </a:lnTo>
                    <a:lnTo>
                      <a:pt x="4808" y="6"/>
                    </a:lnTo>
                    <a:lnTo>
                      <a:pt x="4875" y="3"/>
                    </a:lnTo>
                    <a:lnTo>
                      <a:pt x="4942" y="1"/>
                    </a:lnTo>
                    <a:lnTo>
                      <a:pt x="5009" y="0"/>
                    </a:lnTo>
                    <a:lnTo>
                      <a:pt x="5074" y="1"/>
                    </a:lnTo>
                    <a:lnTo>
                      <a:pt x="5138" y="3"/>
                    </a:lnTo>
                    <a:lnTo>
                      <a:pt x="5201" y="6"/>
                    </a:lnTo>
                    <a:lnTo>
                      <a:pt x="5263" y="10"/>
                    </a:lnTo>
                    <a:lnTo>
                      <a:pt x="5323" y="16"/>
                    </a:lnTo>
                    <a:lnTo>
                      <a:pt x="5381" y="23"/>
                    </a:lnTo>
                    <a:lnTo>
                      <a:pt x="5439" y="31"/>
                    </a:lnTo>
                    <a:lnTo>
                      <a:pt x="5496" y="41"/>
                    </a:lnTo>
                    <a:lnTo>
                      <a:pt x="5551" y="52"/>
                    </a:lnTo>
                    <a:lnTo>
                      <a:pt x="5606" y="64"/>
                    </a:lnTo>
                    <a:lnTo>
                      <a:pt x="5659" y="78"/>
                    </a:lnTo>
                    <a:lnTo>
                      <a:pt x="5712" y="93"/>
                    </a:lnTo>
                    <a:lnTo>
                      <a:pt x="5763" y="109"/>
                    </a:lnTo>
                    <a:lnTo>
                      <a:pt x="5812" y="127"/>
                    </a:lnTo>
                    <a:lnTo>
                      <a:pt x="5861" y="147"/>
                    </a:lnTo>
                    <a:lnTo>
                      <a:pt x="5909" y="168"/>
                    </a:lnTo>
                    <a:lnTo>
                      <a:pt x="5955" y="191"/>
                    </a:lnTo>
                    <a:lnTo>
                      <a:pt x="6001" y="215"/>
                    </a:lnTo>
                    <a:lnTo>
                      <a:pt x="6045" y="240"/>
                    </a:lnTo>
                    <a:lnTo>
                      <a:pt x="6087" y="267"/>
                    </a:lnTo>
                    <a:lnTo>
                      <a:pt x="6128" y="295"/>
                    </a:lnTo>
                    <a:lnTo>
                      <a:pt x="6167" y="325"/>
                    </a:lnTo>
                    <a:lnTo>
                      <a:pt x="6204" y="355"/>
                    </a:lnTo>
                    <a:lnTo>
                      <a:pt x="6241" y="387"/>
                    </a:lnTo>
                    <a:lnTo>
                      <a:pt x="6275" y="422"/>
                    </a:lnTo>
                    <a:lnTo>
                      <a:pt x="6308" y="457"/>
                    </a:lnTo>
                    <a:lnTo>
                      <a:pt x="6340" y="493"/>
                    </a:lnTo>
                    <a:lnTo>
                      <a:pt x="6371" y="530"/>
                    </a:lnTo>
                    <a:lnTo>
                      <a:pt x="6400" y="569"/>
                    </a:lnTo>
                    <a:lnTo>
                      <a:pt x="6427" y="609"/>
                    </a:lnTo>
                    <a:lnTo>
                      <a:pt x="6453" y="651"/>
                    </a:lnTo>
                    <a:lnTo>
                      <a:pt x="6478" y="694"/>
                    </a:lnTo>
                    <a:lnTo>
                      <a:pt x="6500" y="738"/>
                    </a:lnTo>
                    <a:lnTo>
                      <a:pt x="6522" y="784"/>
                    </a:lnTo>
                    <a:lnTo>
                      <a:pt x="6542" y="830"/>
                    </a:lnTo>
                    <a:lnTo>
                      <a:pt x="6560" y="878"/>
                    </a:lnTo>
                    <a:lnTo>
                      <a:pt x="6577" y="929"/>
                    </a:lnTo>
                    <a:lnTo>
                      <a:pt x="6593" y="979"/>
                    </a:lnTo>
                    <a:lnTo>
                      <a:pt x="6607" y="1032"/>
                    </a:lnTo>
                    <a:lnTo>
                      <a:pt x="6619" y="1085"/>
                    </a:lnTo>
                    <a:lnTo>
                      <a:pt x="6630" y="1140"/>
                    </a:lnTo>
                    <a:lnTo>
                      <a:pt x="6640" y="1197"/>
                    </a:lnTo>
                    <a:lnTo>
                      <a:pt x="6648" y="1254"/>
                    </a:lnTo>
                    <a:lnTo>
                      <a:pt x="6655" y="1313"/>
                    </a:lnTo>
                    <a:lnTo>
                      <a:pt x="6660" y="1373"/>
                    </a:lnTo>
                    <a:lnTo>
                      <a:pt x="6664" y="1435"/>
                    </a:lnTo>
                    <a:lnTo>
                      <a:pt x="6666" y="1498"/>
                    </a:lnTo>
                    <a:lnTo>
                      <a:pt x="6667" y="1562"/>
                    </a:lnTo>
                    <a:lnTo>
                      <a:pt x="6666" y="1628"/>
                    </a:lnTo>
                    <a:lnTo>
                      <a:pt x="6663" y="1696"/>
                    </a:lnTo>
                    <a:lnTo>
                      <a:pt x="6659" y="1764"/>
                    </a:lnTo>
                    <a:lnTo>
                      <a:pt x="6653" y="1833"/>
                    </a:lnTo>
                    <a:lnTo>
                      <a:pt x="6645" y="1903"/>
                    </a:lnTo>
                    <a:lnTo>
                      <a:pt x="6636" y="1974"/>
                    </a:lnTo>
                    <a:lnTo>
                      <a:pt x="6625" y="2046"/>
                    </a:lnTo>
                    <a:lnTo>
                      <a:pt x="6612" y="2118"/>
                    </a:lnTo>
                    <a:lnTo>
                      <a:pt x="6597" y="2193"/>
                    </a:lnTo>
                    <a:lnTo>
                      <a:pt x="6581" y="2267"/>
                    </a:lnTo>
                    <a:lnTo>
                      <a:pt x="6563" y="2342"/>
                    </a:lnTo>
                    <a:lnTo>
                      <a:pt x="6543" y="2419"/>
                    </a:lnTo>
                    <a:lnTo>
                      <a:pt x="6522" y="2496"/>
                    </a:lnTo>
                    <a:lnTo>
                      <a:pt x="6499" y="2574"/>
                    </a:lnTo>
                    <a:lnTo>
                      <a:pt x="6474" y="2652"/>
                    </a:lnTo>
                    <a:lnTo>
                      <a:pt x="6447" y="2733"/>
                    </a:lnTo>
                    <a:lnTo>
                      <a:pt x="4497" y="7998"/>
                    </a:lnTo>
                    <a:lnTo>
                      <a:pt x="4464" y="8088"/>
                    </a:lnTo>
                    <a:lnTo>
                      <a:pt x="4434" y="8177"/>
                    </a:lnTo>
                    <a:lnTo>
                      <a:pt x="4404" y="8262"/>
                    </a:lnTo>
                    <a:lnTo>
                      <a:pt x="4378" y="8345"/>
                    </a:lnTo>
                    <a:lnTo>
                      <a:pt x="4354" y="8425"/>
                    </a:lnTo>
                    <a:lnTo>
                      <a:pt x="4332" y="8504"/>
                    </a:lnTo>
                    <a:lnTo>
                      <a:pt x="4312" y="8579"/>
                    </a:lnTo>
                    <a:lnTo>
                      <a:pt x="4294" y="8652"/>
                    </a:lnTo>
                    <a:lnTo>
                      <a:pt x="4279" y="8724"/>
                    </a:lnTo>
                    <a:lnTo>
                      <a:pt x="4265" y="8792"/>
                    </a:lnTo>
                    <a:lnTo>
                      <a:pt x="4254" y="8858"/>
                    </a:lnTo>
                    <a:lnTo>
                      <a:pt x="4244" y="8921"/>
                    </a:lnTo>
                    <a:lnTo>
                      <a:pt x="4237" y="8983"/>
                    </a:lnTo>
                    <a:lnTo>
                      <a:pt x="4232" y="9042"/>
                    </a:lnTo>
                    <a:lnTo>
                      <a:pt x="4230" y="9070"/>
                    </a:lnTo>
                    <a:lnTo>
                      <a:pt x="4229" y="9098"/>
                    </a:lnTo>
                    <a:lnTo>
                      <a:pt x="4228" y="9125"/>
                    </a:lnTo>
                    <a:lnTo>
                      <a:pt x="4228" y="9151"/>
                    </a:lnTo>
                    <a:lnTo>
                      <a:pt x="4228" y="9174"/>
                    </a:lnTo>
                    <a:lnTo>
                      <a:pt x="4228" y="9196"/>
                    </a:lnTo>
                    <a:lnTo>
                      <a:pt x="4230" y="9217"/>
                    </a:lnTo>
                    <a:lnTo>
                      <a:pt x="4231" y="9237"/>
                    </a:lnTo>
                    <a:lnTo>
                      <a:pt x="4233" y="9256"/>
                    </a:lnTo>
                    <a:lnTo>
                      <a:pt x="4236" y="9275"/>
                    </a:lnTo>
                    <a:lnTo>
                      <a:pt x="4239" y="9293"/>
                    </a:lnTo>
                    <a:lnTo>
                      <a:pt x="4243" y="9310"/>
                    </a:lnTo>
                    <a:lnTo>
                      <a:pt x="4247" y="9327"/>
                    </a:lnTo>
                    <a:lnTo>
                      <a:pt x="4251" y="9343"/>
                    </a:lnTo>
                    <a:lnTo>
                      <a:pt x="4256" y="9358"/>
                    </a:lnTo>
                    <a:lnTo>
                      <a:pt x="4262" y="9372"/>
                    </a:lnTo>
                    <a:lnTo>
                      <a:pt x="4268" y="9386"/>
                    </a:lnTo>
                    <a:lnTo>
                      <a:pt x="4274" y="9399"/>
                    </a:lnTo>
                    <a:lnTo>
                      <a:pt x="4281" y="9411"/>
                    </a:lnTo>
                    <a:lnTo>
                      <a:pt x="4288" y="9423"/>
                    </a:lnTo>
                    <a:lnTo>
                      <a:pt x="4296" y="9435"/>
                    </a:lnTo>
                    <a:lnTo>
                      <a:pt x="4305" y="9445"/>
                    </a:lnTo>
                    <a:lnTo>
                      <a:pt x="4313" y="9455"/>
                    </a:lnTo>
                    <a:lnTo>
                      <a:pt x="4323" y="9464"/>
                    </a:lnTo>
                    <a:lnTo>
                      <a:pt x="4332" y="9472"/>
                    </a:lnTo>
                    <a:lnTo>
                      <a:pt x="4343" y="9479"/>
                    </a:lnTo>
                    <a:lnTo>
                      <a:pt x="4353" y="9486"/>
                    </a:lnTo>
                    <a:lnTo>
                      <a:pt x="4365" y="9492"/>
                    </a:lnTo>
                    <a:lnTo>
                      <a:pt x="4376" y="9498"/>
                    </a:lnTo>
                    <a:lnTo>
                      <a:pt x="4388" y="9502"/>
                    </a:lnTo>
                    <a:lnTo>
                      <a:pt x="4401" y="9506"/>
                    </a:lnTo>
                    <a:lnTo>
                      <a:pt x="4414" y="9509"/>
                    </a:lnTo>
                    <a:lnTo>
                      <a:pt x="4429" y="9512"/>
                    </a:lnTo>
                    <a:lnTo>
                      <a:pt x="4443" y="9514"/>
                    </a:lnTo>
                    <a:lnTo>
                      <a:pt x="4457" y="9515"/>
                    </a:lnTo>
                    <a:lnTo>
                      <a:pt x="4472" y="9515"/>
                    </a:lnTo>
                    <a:lnTo>
                      <a:pt x="4493" y="9514"/>
                    </a:lnTo>
                    <a:lnTo>
                      <a:pt x="4515" y="9512"/>
                    </a:lnTo>
                    <a:lnTo>
                      <a:pt x="4537" y="9509"/>
                    </a:lnTo>
                    <a:lnTo>
                      <a:pt x="4561" y="9504"/>
                    </a:lnTo>
                    <a:lnTo>
                      <a:pt x="4585" y="9498"/>
                    </a:lnTo>
                    <a:lnTo>
                      <a:pt x="4610" y="9490"/>
                    </a:lnTo>
                    <a:lnTo>
                      <a:pt x="4636" y="9481"/>
                    </a:lnTo>
                    <a:lnTo>
                      <a:pt x="4663" y="9471"/>
                    </a:lnTo>
                    <a:lnTo>
                      <a:pt x="4690" y="9459"/>
                    </a:lnTo>
                    <a:lnTo>
                      <a:pt x="4718" y="9446"/>
                    </a:lnTo>
                    <a:lnTo>
                      <a:pt x="4747" y="9432"/>
                    </a:lnTo>
                    <a:lnTo>
                      <a:pt x="4777" y="9415"/>
                    </a:lnTo>
                    <a:lnTo>
                      <a:pt x="4809" y="9397"/>
                    </a:lnTo>
                    <a:lnTo>
                      <a:pt x="4840" y="9379"/>
                    </a:lnTo>
                    <a:lnTo>
                      <a:pt x="4873" y="9359"/>
                    </a:lnTo>
                    <a:lnTo>
                      <a:pt x="4906" y="9337"/>
                    </a:lnTo>
                    <a:lnTo>
                      <a:pt x="4940" y="9314"/>
                    </a:lnTo>
                    <a:lnTo>
                      <a:pt x="4974" y="9290"/>
                    </a:lnTo>
                    <a:lnTo>
                      <a:pt x="5010" y="9265"/>
                    </a:lnTo>
                    <a:lnTo>
                      <a:pt x="5046" y="9238"/>
                    </a:lnTo>
                    <a:lnTo>
                      <a:pt x="5083" y="9210"/>
                    </a:lnTo>
                    <a:lnTo>
                      <a:pt x="5121" y="9180"/>
                    </a:lnTo>
                    <a:lnTo>
                      <a:pt x="5160" y="9148"/>
                    </a:lnTo>
                    <a:lnTo>
                      <a:pt x="5201" y="9115"/>
                    </a:lnTo>
                    <a:lnTo>
                      <a:pt x="5241" y="9082"/>
                    </a:lnTo>
                    <a:lnTo>
                      <a:pt x="5282" y="9046"/>
                    </a:lnTo>
                    <a:lnTo>
                      <a:pt x="5324" y="9010"/>
                    </a:lnTo>
                    <a:lnTo>
                      <a:pt x="5367" y="8972"/>
                    </a:lnTo>
                    <a:lnTo>
                      <a:pt x="5455" y="8891"/>
                    </a:lnTo>
                    <a:lnTo>
                      <a:pt x="5547" y="8805"/>
                    </a:lnTo>
                    <a:lnTo>
                      <a:pt x="5558" y="8793"/>
                    </a:lnTo>
                    <a:lnTo>
                      <a:pt x="5573" y="8777"/>
                    </a:lnTo>
                    <a:lnTo>
                      <a:pt x="5592" y="8756"/>
                    </a:lnTo>
                    <a:lnTo>
                      <a:pt x="5614" y="8730"/>
                    </a:lnTo>
                    <a:lnTo>
                      <a:pt x="5641" y="8701"/>
                    </a:lnTo>
                    <a:lnTo>
                      <a:pt x="5671" y="8666"/>
                    </a:lnTo>
                    <a:lnTo>
                      <a:pt x="5704" y="8627"/>
                    </a:lnTo>
                    <a:lnTo>
                      <a:pt x="5742" y="8584"/>
                    </a:lnTo>
                    <a:lnTo>
                      <a:pt x="5783" y="8537"/>
                    </a:lnTo>
                    <a:lnTo>
                      <a:pt x="5828" y="8485"/>
                    </a:lnTo>
                    <a:lnTo>
                      <a:pt x="5877" y="8429"/>
                    </a:lnTo>
                    <a:lnTo>
                      <a:pt x="5930" y="8367"/>
                    </a:lnTo>
                    <a:lnTo>
                      <a:pt x="5987" y="8302"/>
                    </a:lnTo>
                    <a:lnTo>
                      <a:pt x="6047" y="8233"/>
                    </a:lnTo>
                    <a:lnTo>
                      <a:pt x="6111" y="8158"/>
                    </a:lnTo>
                    <a:lnTo>
                      <a:pt x="6178" y="8079"/>
                    </a:lnTo>
                    <a:lnTo>
                      <a:pt x="6246" y="8002"/>
                    </a:lnTo>
                    <a:lnTo>
                      <a:pt x="6311" y="7929"/>
                    </a:lnTo>
                    <a:lnTo>
                      <a:pt x="6373" y="7861"/>
                    </a:lnTo>
                    <a:lnTo>
                      <a:pt x="6431" y="7798"/>
                    </a:lnTo>
                    <a:lnTo>
                      <a:pt x="6486" y="7740"/>
                    </a:lnTo>
                    <a:lnTo>
                      <a:pt x="6537" y="7688"/>
                    </a:lnTo>
                    <a:lnTo>
                      <a:pt x="6584" y="7639"/>
                    </a:lnTo>
                    <a:lnTo>
                      <a:pt x="6628" y="7596"/>
                    </a:lnTo>
                    <a:lnTo>
                      <a:pt x="6669" y="7559"/>
                    </a:lnTo>
                    <a:lnTo>
                      <a:pt x="6707" y="7526"/>
                    </a:lnTo>
                    <a:lnTo>
                      <a:pt x="6742" y="7498"/>
                    </a:lnTo>
                    <a:lnTo>
                      <a:pt x="6772" y="7476"/>
                    </a:lnTo>
                    <a:lnTo>
                      <a:pt x="6787" y="7466"/>
                    </a:lnTo>
                    <a:lnTo>
                      <a:pt x="6800" y="7458"/>
                    </a:lnTo>
                    <a:lnTo>
                      <a:pt x="6812" y="7451"/>
                    </a:lnTo>
                    <a:lnTo>
                      <a:pt x="6824" y="7445"/>
                    </a:lnTo>
                    <a:lnTo>
                      <a:pt x="6835" y="7441"/>
                    </a:lnTo>
                    <a:lnTo>
                      <a:pt x="6845" y="7438"/>
                    </a:lnTo>
                    <a:lnTo>
                      <a:pt x="6854" y="7436"/>
                    </a:lnTo>
                    <a:lnTo>
                      <a:pt x="6863" y="7435"/>
                    </a:lnTo>
                    <a:lnTo>
                      <a:pt x="6901" y="7453"/>
                    </a:lnTo>
                    <a:lnTo>
                      <a:pt x="6937" y="7472"/>
                    </a:lnTo>
                    <a:lnTo>
                      <a:pt x="6953" y="7482"/>
                    </a:lnTo>
                    <a:lnTo>
                      <a:pt x="6970" y="7492"/>
                    </a:lnTo>
                    <a:lnTo>
                      <a:pt x="6985" y="7503"/>
                    </a:lnTo>
                    <a:lnTo>
                      <a:pt x="7000" y="7513"/>
                    </a:lnTo>
                    <a:lnTo>
                      <a:pt x="7015" y="7524"/>
                    </a:lnTo>
                    <a:lnTo>
                      <a:pt x="7029" y="7535"/>
                    </a:lnTo>
                    <a:lnTo>
                      <a:pt x="7042" y="7546"/>
                    </a:lnTo>
                    <a:lnTo>
                      <a:pt x="7054" y="7558"/>
                    </a:lnTo>
                    <a:lnTo>
                      <a:pt x="7066" y="7570"/>
                    </a:lnTo>
                    <a:lnTo>
                      <a:pt x="7077" y="7582"/>
                    </a:lnTo>
                    <a:lnTo>
                      <a:pt x="7088" y="7594"/>
                    </a:lnTo>
                    <a:lnTo>
                      <a:pt x="7098" y="7607"/>
                    </a:lnTo>
                    <a:lnTo>
                      <a:pt x="7107" y="7620"/>
                    </a:lnTo>
                    <a:lnTo>
                      <a:pt x="7117" y="7633"/>
                    </a:lnTo>
                    <a:lnTo>
                      <a:pt x="7125" y="7646"/>
                    </a:lnTo>
                    <a:lnTo>
                      <a:pt x="7133" y="7660"/>
                    </a:lnTo>
                    <a:lnTo>
                      <a:pt x="7140" y="7675"/>
                    </a:lnTo>
                    <a:lnTo>
                      <a:pt x="7146" y="7689"/>
                    </a:lnTo>
                    <a:lnTo>
                      <a:pt x="7152" y="7704"/>
                    </a:lnTo>
                    <a:lnTo>
                      <a:pt x="7157" y="7718"/>
                    </a:lnTo>
                    <a:lnTo>
                      <a:pt x="7162" y="7734"/>
                    </a:lnTo>
                    <a:lnTo>
                      <a:pt x="7165" y="7749"/>
                    </a:lnTo>
                    <a:lnTo>
                      <a:pt x="7169" y="7764"/>
                    </a:lnTo>
                    <a:lnTo>
                      <a:pt x="7171" y="7780"/>
                    </a:lnTo>
                    <a:lnTo>
                      <a:pt x="7173" y="7796"/>
                    </a:lnTo>
                    <a:lnTo>
                      <a:pt x="7175" y="7813"/>
                    </a:lnTo>
                    <a:lnTo>
                      <a:pt x="7176" y="7830"/>
                    </a:lnTo>
                    <a:lnTo>
                      <a:pt x="7176" y="7847"/>
                    </a:lnTo>
                    <a:lnTo>
                      <a:pt x="7175" y="7877"/>
                    </a:lnTo>
                    <a:lnTo>
                      <a:pt x="7173" y="7908"/>
                    </a:lnTo>
                    <a:lnTo>
                      <a:pt x="7169" y="7939"/>
                    </a:lnTo>
                    <a:lnTo>
                      <a:pt x="7163" y="7969"/>
                    </a:lnTo>
                    <a:lnTo>
                      <a:pt x="7155" y="8000"/>
                    </a:lnTo>
                    <a:lnTo>
                      <a:pt x="7145" y="8030"/>
                    </a:lnTo>
                    <a:lnTo>
                      <a:pt x="7134" y="8061"/>
                    </a:lnTo>
                    <a:lnTo>
                      <a:pt x="7121" y="8091"/>
                    </a:lnTo>
                    <a:lnTo>
                      <a:pt x="7106" y="8122"/>
                    </a:lnTo>
                    <a:lnTo>
                      <a:pt x="7090" y="8152"/>
                    </a:lnTo>
                    <a:lnTo>
                      <a:pt x="7072" y="8184"/>
                    </a:lnTo>
                    <a:lnTo>
                      <a:pt x="7052" y="8214"/>
                    </a:lnTo>
                    <a:lnTo>
                      <a:pt x="7030" y="8245"/>
                    </a:lnTo>
                    <a:lnTo>
                      <a:pt x="7007" y="8275"/>
                    </a:lnTo>
                    <a:lnTo>
                      <a:pt x="6982" y="8306"/>
                    </a:lnTo>
                    <a:lnTo>
                      <a:pt x="6956" y="8336"/>
                    </a:lnTo>
                    <a:lnTo>
                      <a:pt x="6905" y="8404"/>
                    </a:lnTo>
                    <a:lnTo>
                      <a:pt x="6854" y="8472"/>
                    </a:lnTo>
                    <a:lnTo>
                      <a:pt x="6802" y="8539"/>
                    </a:lnTo>
                    <a:lnTo>
                      <a:pt x="6749" y="8605"/>
                    </a:lnTo>
                    <a:lnTo>
                      <a:pt x="6694" y="8672"/>
                    </a:lnTo>
                    <a:lnTo>
                      <a:pt x="6640" y="8739"/>
                    </a:lnTo>
                    <a:lnTo>
                      <a:pt x="6584" y="8804"/>
                    </a:lnTo>
                    <a:lnTo>
                      <a:pt x="6528" y="8870"/>
                    </a:lnTo>
                    <a:lnTo>
                      <a:pt x="6472" y="8936"/>
                    </a:lnTo>
                    <a:lnTo>
                      <a:pt x="6414" y="9000"/>
                    </a:lnTo>
                    <a:lnTo>
                      <a:pt x="6356" y="9065"/>
                    </a:lnTo>
                    <a:lnTo>
                      <a:pt x="6296" y="9129"/>
                    </a:lnTo>
                    <a:lnTo>
                      <a:pt x="6236" y="9193"/>
                    </a:lnTo>
                    <a:lnTo>
                      <a:pt x="6176" y="9257"/>
                    </a:lnTo>
                    <a:lnTo>
                      <a:pt x="6115" y="9320"/>
                    </a:lnTo>
                    <a:lnTo>
                      <a:pt x="6053" y="9382"/>
                    </a:lnTo>
                    <a:lnTo>
                      <a:pt x="5990" y="9446"/>
                    </a:lnTo>
                    <a:lnTo>
                      <a:pt x="5925" y="9508"/>
                    </a:lnTo>
                    <a:lnTo>
                      <a:pt x="5861" y="9570"/>
                    </a:lnTo>
                    <a:lnTo>
                      <a:pt x="5796" y="9631"/>
                    </a:lnTo>
                    <a:lnTo>
                      <a:pt x="5730" y="9693"/>
                    </a:lnTo>
                    <a:lnTo>
                      <a:pt x="5664" y="9754"/>
                    </a:lnTo>
                    <a:lnTo>
                      <a:pt x="5597" y="9814"/>
                    </a:lnTo>
                    <a:lnTo>
                      <a:pt x="5528" y="9875"/>
                    </a:lnTo>
                    <a:lnTo>
                      <a:pt x="5459" y="9935"/>
                    </a:lnTo>
                    <a:lnTo>
                      <a:pt x="5390" y="9995"/>
                    </a:lnTo>
                    <a:lnTo>
                      <a:pt x="5319" y="10054"/>
                    </a:lnTo>
                    <a:lnTo>
                      <a:pt x="5249" y="10113"/>
                    </a:lnTo>
                    <a:lnTo>
                      <a:pt x="5176" y="10172"/>
                    </a:lnTo>
                    <a:lnTo>
                      <a:pt x="5104" y="10231"/>
                    </a:lnTo>
                    <a:lnTo>
                      <a:pt x="5030" y="10289"/>
                    </a:lnTo>
                    <a:lnTo>
                      <a:pt x="4957" y="10347"/>
                    </a:lnTo>
                    <a:lnTo>
                      <a:pt x="4882" y="10403"/>
                    </a:lnTo>
                    <a:lnTo>
                      <a:pt x="4808" y="10459"/>
                    </a:lnTo>
                    <a:lnTo>
                      <a:pt x="4733" y="10513"/>
                    </a:lnTo>
                    <a:lnTo>
                      <a:pt x="4658" y="10565"/>
                    </a:lnTo>
                    <a:lnTo>
                      <a:pt x="4583" y="10617"/>
                    </a:lnTo>
                    <a:lnTo>
                      <a:pt x="4507" y="10666"/>
                    </a:lnTo>
                    <a:lnTo>
                      <a:pt x="4431" y="10716"/>
                    </a:lnTo>
                    <a:lnTo>
                      <a:pt x="4354" y="10763"/>
                    </a:lnTo>
                    <a:lnTo>
                      <a:pt x="4278" y="10809"/>
                    </a:lnTo>
                    <a:lnTo>
                      <a:pt x="4202" y="10853"/>
                    </a:lnTo>
                    <a:lnTo>
                      <a:pt x="4125" y="10896"/>
                    </a:lnTo>
                    <a:lnTo>
                      <a:pt x="4048" y="10939"/>
                    </a:lnTo>
                    <a:lnTo>
                      <a:pt x="3969" y="10980"/>
                    </a:lnTo>
                    <a:lnTo>
                      <a:pt x="3892" y="11019"/>
                    </a:lnTo>
                    <a:lnTo>
                      <a:pt x="3814" y="11056"/>
                    </a:lnTo>
                    <a:lnTo>
                      <a:pt x="3735" y="11093"/>
                    </a:lnTo>
                    <a:lnTo>
                      <a:pt x="3657" y="11128"/>
                    </a:lnTo>
                    <a:lnTo>
                      <a:pt x="3577" y="11162"/>
                    </a:lnTo>
                    <a:lnTo>
                      <a:pt x="3498" y="11195"/>
                    </a:lnTo>
                    <a:lnTo>
                      <a:pt x="3419" y="11226"/>
                    </a:lnTo>
                    <a:lnTo>
                      <a:pt x="3339" y="11256"/>
                    </a:lnTo>
                    <a:lnTo>
                      <a:pt x="3258" y="11285"/>
                    </a:lnTo>
                    <a:lnTo>
                      <a:pt x="3178" y="11312"/>
                    </a:lnTo>
                    <a:lnTo>
                      <a:pt x="3098" y="11338"/>
                    </a:lnTo>
                    <a:lnTo>
                      <a:pt x="3017" y="11362"/>
                    </a:lnTo>
                    <a:lnTo>
                      <a:pt x="2936" y="11385"/>
                    </a:lnTo>
                    <a:lnTo>
                      <a:pt x="2854" y="11407"/>
                    </a:lnTo>
                    <a:lnTo>
                      <a:pt x="2773" y="11427"/>
                    </a:lnTo>
                    <a:lnTo>
                      <a:pt x="2691" y="11448"/>
                    </a:lnTo>
                    <a:lnTo>
                      <a:pt x="2609" y="11465"/>
                    </a:lnTo>
                    <a:lnTo>
                      <a:pt x="2527" y="11482"/>
                    </a:lnTo>
                    <a:lnTo>
                      <a:pt x="2443" y="11497"/>
                    </a:lnTo>
                    <a:lnTo>
                      <a:pt x="2418" y="11503"/>
                    </a:lnTo>
                    <a:lnTo>
                      <a:pt x="2392" y="11508"/>
                    </a:lnTo>
                    <a:lnTo>
                      <a:pt x="2363" y="11514"/>
                    </a:lnTo>
                    <a:lnTo>
                      <a:pt x="2334" y="11518"/>
                    </a:lnTo>
                    <a:lnTo>
                      <a:pt x="2302" y="11523"/>
                    </a:lnTo>
                    <a:lnTo>
                      <a:pt x="2269" y="11527"/>
                    </a:lnTo>
                    <a:lnTo>
                      <a:pt x="2235" y="11530"/>
                    </a:lnTo>
                    <a:lnTo>
                      <a:pt x="2199" y="11534"/>
                    </a:lnTo>
                    <a:lnTo>
                      <a:pt x="2122" y="11539"/>
                    </a:lnTo>
                    <a:lnTo>
                      <a:pt x="2039" y="11543"/>
                    </a:lnTo>
                    <a:lnTo>
                      <a:pt x="1949" y="11545"/>
                    </a:lnTo>
                    <a:lnTo>
                      <a:pt x="1853" y="11546"/>
                    </a:lnTo>
                    <a:lnTo>
                      <a:pt x="1764" y="11544"/>
                    </a:lnTo>
                    <a:lnTo>
                      <a:pt x="1676" y="11540"/>
                    </a:lnTo>
                    <a:lnTo>
                      <a:pt x="1592" y="11533"/>
                    </a:lnTo>
                    <a:lnTo>
                      <a:pt x="1511" y="11523"/>
                    </a:lnTo>
                    <a:lnTo>
                      <a:pt x="1433" y="11509"/>
                    </a:lnTo>
                    <a:lnTo>
                      <a:pt x="1358" y="11494"/>
                    </a:lnTo>
                    <a:lnTo>
                      <a:pt x="1284" y="11475"/>
                    </a:lnTo>
                    <a:lnTo>
                      <a:pt x="1215" y="11453"/>
                    </a:lnTo>
                    <a:lnTo>
                      <a:pt x="1148" y="11427"/>
                    </a:lnTo>
                    <a:lnTo>
                      <a:pt x="1084" y="11400"/>
                    </a:lnTo>
                    <a:lnTo>
                      <a:pt x="1023" y="11369"/>
                    </a:lnTo>
                    <a:lnTo>
                      <a:pt x="965" y="11336"/>
                    </a:lnTo>
                    <a:lnTo>
                      <a:pt x="908" y="11299"/>
                    </a:lnTo>
                    <a:lnTo>
                      <a:pt x="856" y="11260"/>
                    </a:lnTo>
                    <a:lnTo>
                      <a:pt x="806" y="11218"/>
                    </a:lnTo>
                    <a:lnTo>
                      <a:pt x="759" y="11172"/>
                    </a:lnTo>
                    <a:lnTo>
                      <a:pt x="715" y="11124"/>
                    </a:lnTo>
                    <a:lnTo>
                      <a:pt x="674" y="11073"/>
                    </a:lnTo>
                    <a:lnTo>
                      <a:pt x="636" y="11020"/>
                    </a:lnTo>
                    <a:lnTo>
                      <a:pt x="600" y="10963"/>
                    </a:lnTo>
                    <a:lnTo>
                      <a:pt x="568" y="10903"/>
                    </a:lnTo>
                    <a:lnTo>
                      <a:pt x="537" y="10840"/>
                    </a:lnTo>
                    <a:lnTo>
                      <a:pt x="510" y="10775"/>
                    </a:lnTo>
                    <a:lnTo>
                      <a:pt x="486" y="10707"/>
                    </a:lnTo>
                    <a:lnTo>
                      <a:pt x="465" y="10634"/>
                    </a:lnTo>
                    <a:lnTo>
                      <a:pt x="446" y="10560"/>
                    </a:lnTo>
                    <a:lnTo>
                      <a:pt x="431" y="10483"/>
                    </a:lnTo>
                    <a:lnTo>
                      <a:pt x="418" y="10403"/>
                    </a:lnTo>
                    <a:lnTo>
                      <a:pt x="408" y="10320"/>
                    </a:lnTo>
                    <a:lnTo>
                      <a:pt x="401" y="10234"/>
                    </a:lnTo>
                    <a:lnTo>
                      <a:pt x="397" y="10145"/>
                    </a:lnTo>
                    <a:lnTo>
                      <a:pt x="395" y="10053"/>
                    </a:lnTo>
                    <a:lnTo>
                      <a:pt x="402" y="9969"/>
                    </a:lnTo>
                    <a:lnTo>
                      <a:pt x="410" y="9885"/>
                    </a:lnTo>
                    <a:lnTo>
                      <a:pt x="419" y="9803"/>
                    </a:lnTo>
                    <a:lnTo>
                      <a:pt x="428" y="9721"/>
                    </a:lnTo>
                    <a:lnTo>
                      <a:pt x="438" y="9638"/>
                    </a:lnTo>
                    <a:lnTo>
                      <a:pt x="448" y="9558"/>
                    </a:lnTo>
                    <a:lnTo>
                      <a:pt x="459" y="9478"/>
                    </a:lnTo>
                    <a:lnTo>
                      <a:pt x="471" y="9397"/>
                    </a:lnTo>
                    <a:lnTo>
                      <a:pt x="484" y="9319"/>
                    </a:lnTo>
                    <a:lnTo>
                      <a:pt x="497" y="9241"/>
                    </a:lnTo>
                    <a:lnTo>
                      <a:pt x="511" y="9162"/>
                    </a:lnTo>
                    <a:lnTo>
                      <a:pt x="525" y="9086"/>
                    </a:lnTo>
                    <a:lnTo>
                      <a:pt x="540" y="9009"/>
                    </a:lnTo>
                    <a:lnTo>
                      <a:pt x="556" y="8934"/>
                    </a:lnTo>
                    <a:lnTo>
                      <a:pt x="574" y="8858"/>
                    </a:lnTo>
                    <a:lnTo>
                      <a:pt x="591" y="8784"/>
                    </a:lnTo>
                    <a:lnTo>
                      <a:pt x="608" y="8710"/>
                    </a:lnTo>
                    <a:lnTo>
                      <a:pt x="627" y="8636"/>
                    </a:lnTo>
                    <a:lnTo>
                      <a:pt x="646" y="8564"/>
                    </a:lnTo>
                    <a:lnTo>
                      <a:pt x="666" y="8492"/>
                    </a:lnTo>
                    <a:lnTo>
                      <a:pt x="686" y="8421"/>
                    </a:lnTo>
                    <a:lnTo>
                      <a:pt x="707" y="8350"/>
                    </a:lnTo>
                    <a:lnTo>
                      <a:pt x="729" y="8280"/>
                    </a:lnTo>
                    <a:lnTo>
                      <a:pt x="751" y="8211"/>
                    </a:lnTo>
                    <a:lnTo>
                      <a:pt x="774" y="8142"/>
                    </a:lnTo>
                    <a:lnTo>
                      <a:pt x="797" y="8074"/>
                    </a:lnTo>
                    <a:lnTo>
                      <a:pt x="822" y="8007"/>
                    </a:lnTo>
                    <a:lnTo>
                      <a:pt x="847" y="7941"/>
                    </a:lnTo>
                    <a:lnTo>
                      <a:pt x="872" y="7874"/>
                    </a:lnTo>
                    <a:lnTo>
                      <a:pt x="898" y="7809"/>
                    </a:lnTo>
                    <a:lnTo>
                      <a:pt x="925" y="7744"/>
                    </a:lnTo>
                    <a:lnTo>
                      <a:pt x="954" y="7680"/>
                    </a:lnTo>
                    <a:lnTo>
                      <a:pt x="3099" y="2174"/>
                    </a:lnTo>
                  </a:path>
                </a:pathLst>
              </a:custGeom>
              <a:solidFill>
                <a:srgbClr val="505050"/>
              </a:solidFill>
              <a:ln w="1588">
                <a:no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156" name="Group 1155">
            <a:extLst>
              <a:ext uri="{FF2B5EF4-FFF2-40B4-BE49-F238E27FC236}">
                <a16:creationId xmlns:a16="http://schemas.microsoft.com/office/drawing/2014/main" id="{C6F84F80-4607-499C-B554-2632F1D5BEE8}"/>
              </a:ext>
            </a:extLst>
          </p:cNvPr>
          <p:cNvGrpSpPr/>
          <p:nvPr/>
        </p:nvGrpSpPr>
        <p:grpSpPr>
          <a:xfrm>
            <a:off x="9762521" y="1626836"/>
            <a:ext cx="612775" cy="612775"/>
            <a:chOff x="8607892" y="2265179"/>
            <a:chExt cx="612775" cy="612775"/>
          </a:xfrm>
        </p:grpSpPr>
        <p:sp>
          <p:nvSpPr>
            <p:cNvPr id="1157" name="Oval 1156">
              <a:extLst>
                <a:ext uri="{FF2B5EF4-FFF2-40B4-BE49-F238E27FC236}">
                  <a16:creationId xmlns:a16="http://schemas.microsoft.com/office/drawing/2014/main" id="{29BC72AE-6880-48B1-9778-AF979FA7251B}"/>
                </a:ext>
              </a:extLst>
            </p:cNvPr>
            <p:cNvSpPr/>
            <p:nvPr/>
          </p:nvSpPr>
          <p:spPr bwMode="ltGray">
            <a:xfrm>
              <a:off x="8607892"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158" name="Group 270">
              <a:extLst>
                <a:ext uri="{FF2B5EF4-FFF2-40B4-BE49-F238E27FC236}">
                  <a16:creationId xmlns:a16="http://schemas.microsoft.com/office/drawing/2014/main" id="{7CFB3E43-680E-437F-827D-6D66D1D7B17A}"/>
                </a:ext>
              </a:extLst>
            </p:cNvPr>
            <p:cNvGrpSpPr>
              <a:grpSpLocks/>
            </p:cNvGrpSpPr>
            <p:nvPr/>
          </p:nvGrpSpPr>
          <p:grpSpPr bwMode="auto">
            <a:xfrm>
              <a:off x="8737152" y="2389019"/>
              <a:ext cx="360000" cy="360000"/>
              <a:chOff x="527" y="3671"/>
              <a:chExt cx="649" cy="649"/>
            </a:xfrm>
          </p:grpSpPr>
          <p:sp>
            <p:nvSpPr>
              <p:cNvPr id="1159" name="Rectangle 271">
                <a:extLst>
                  <a:ext uri="{FF2B5EF4-FFF2-40B4-BE49-F238E27FC236}">
                    <a16:creationId xmlns:a16="http://schemas.microsoft.com/office/drawing/2014/main" id="{3739CAD8-0286-4FBB-BE25-EA5E4B0692BD}"/>
                  </a:ext>
                </a:extLst>
              </p:cNvPr>
              <p:cNvSpPr>
                <a:spLocks noChangeArrowheads="1"/>
              </p:cNvSpPr>
              <p:nvPr/>
            </p:nvSpPr>
            <p:spPr bwMode="auto">
              <a:xfrm>
                <a:off x="527" y="3671"/>
                <a:ext cx="649" cy="649"/>
              </a:xfrm>
              <a:prstGeom prst="rect">
                <a:avLst/>
              </a:prstGeom>
              <a:solidFill>
                <a:srgbClr val="505050"/>
              </a:solidFill>
              <a:ln w="9525">
                <a:solidFill>
                  <a:srgbClr val="505050"/>
                </a:solid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160" name="Rectangle 272">
                <a:extLst>
                  <a:ext uri="{FF2B5EF4-FFF2-40B4-BE49-F238E27FC236}">
                    <a16:creationId xmlns:a16="http://schemas.microsoft.com/office/drawing/2014/main" id="{7B6F5C54-FF52-4457-8B5D-D1D73E5D1EC9}"/>
                  </a:ext>
                </a:extLst>
              </p:cNvPr>
              <p:cNvSpPr>
                <a:spLocks noChangeArrowheads="1"/>
              </p:cNvSpPr>
              <p:nvPr/>
            </p:nvSpPr>
            <p:spPr bwMode="auto">
              <a:xfrm>
                <a:off x="612" y="3671"/>
                <a:ext cx="454" cy="349"/>
              </a:xfrm>
              <a:prstGeom prst="rect">
                <a:avLst/>
              </a:prstGeom>
              <a:solidFill>
                <a:sysClr val="window" lastClr="FFFFFF"/>
              </a:solidFill>
              <a:ln w="9525">
                <a:solidFill>
                  <a:srgbClr val="505050"/>
                </a:solid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161" name="Rectangle 273">
                <a:extLst>
                  <a:ext uri="{FF2B5EF4-FFF2-40B4-BE49-F238E27FC236}">
                    <a16:creationId xmlns:a16="http://schemas.microsoft.com/office/drawing/2014/main" id="{FA733F0E-BF6E-472E-A119-1C7F55599CC7}"/>
                  </a:ext>
                </a:extLst>
              </p:cNvPr>
              <p:cNvSpPr>
                <a:spLocks noChangeArrowheads="1"/>
              </p:cNvSpPr>
              <p:nvPr/>
            </p:nvSpPr>
            <p:spPr bwMode="auto">
              <a:xfrm>
                <a:off x="612" y="4156"/>
                <a:ext cx="454" cy="164"/>
              </a:xfrm>
              <a:prstGeom prst="rect">
                <a:avLst/>
              </a:prstGeom>
              <a:solidFill>
                <a:sysClr val="window" lastClr="FFFFFF"/>
              </a:solidFill>
              <a:ln w="9525">
                <a:solidFill>
                  <a:srgbClr val="505050"/>
                </a:solid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162" name="Rectangle 274">
                <a:extLst>
                  <a:ext uri="{FF2B5EF4-FFF2-40B4-BE49-F238E27FC236}">
                    <a16:creationId xmlns:a16="http://schemas.microsoft.com/office/drawing/2014/main" id="{9F4B5216-6D5C-4B7A-AE66-5302724DBDC6}"/>
                  </a:ext>
                </a:extLst>
              </p:cNvPr>
              <p:cNvSpPr>
                <a:spLocks noChangeArrowheads="1"/>
              </p:cNvSpPr>
              <p:nvPr/>
            </p:nvSpPr>
            <p:spPr bwMode="auto">
              <a:xfrm>
                <a:off x="656" y="4184"/>
                <a:ext cx="88" cy="136"/>
              </a:xfrm>
              <a:prstGeom prst="rect">
                <a:avLst/>
              </a:prstGeom>
              <a:solidFill>
                <a:srgbClr val="505050"/>
              </a:solidFill>
              <a:ln w="9525">
                <a:solidFill>
                  <a:sysClr val="window" lastClr="FFFFFF"/>
                </a:solid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grpSp>
      <p:grpSp>
        <p:nvGrpSpPr>
          <p:cNvPr id="1163" name="Group 1162">
            <a:extLst>
              <a:ext uri="{FF2B5EF4-FFF2-40B4-BE49-F238E27FC236}">
                <a16:creationId xmlns:a16="http://schemas.microsoft.com/office/drawing/2014/main" id="{AB37B382-ED97-4050-8EA9-9C225F808139}"/>
              </a:ext>
            </a:extLst>
          </p:cNvPr>
          <p:cNvGrpSpPr/>
          <p:nvPr/>
        </p:nvGrpSpPr>
        <p:grpSpPr>
          <a:xfrm>
            <a:off x="3203714" y="5493759"/>
            <a:ext cx="612000" cy="612000"/>
            <a:chOff x="2049085" y="6132102"/>
            <a:chExt cx="612000" cy="612000"/>
          </a:xfrm>
        </p:grpSpPr>
        <p:sp>
          <p:nvSpPr>
            <p:cNvPr id="1164" name="Oval 1163">
              <a:extLst>
                <a:ext uri="{FF2B5EF4-FFF2-40B4-BE49-F238E27FC236}">
                  <a16:creationId xmlns:a16="http://schemas.microsoft.com/office/drawing/2014/main" id="{3261F470-6581-4D5D-9EA8-FE5DA1897B1F}"/>
                </a:ext>
              </a:extLst>
            </p:cNvPr>
            <p:cNvSpPr/>
            <p:nvPr/>
          </p:nvSpPr>
          <p:spPr bwMode="ltGray">
            <a:xfrm>
              <a:off x="2049085" y="613210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165" name="Group 294">
              <a:extLst>
                <a:ext uri="{FF2B5EF4-FFF2-40B4-BE49-F238E27FC236}">
                  <a16:creationId xmlns:a16="http://schemas.microsoft.com/office/drawing/2014/main" id="{28D8D9DC-8FCF-44BA-97A2-8C8720F31650}"/>
                </a:ext>
              </a:extLst>
            </p:cNvPr>
            <p:cNvGrpSpPr>
              <a:grpSpLocks/>
            </p:cNvGrpSpPr>
            <p:nvPr/>
          </p:nvGrpSpPr>
          <p:grpSpPr bwMode="auto">
            <a:xfrm>
              <a:off x="2109855" y="6231411"/>
              <a:ext cx="468802" cy="432048"/>
              <a:chOff x="2100" y="1440"/>
              <a:chExt cx="1560" cy="1440"/>
            </a:xfrm>
          </p:grpSpPr>
          <p:sp>
            <p:nvSpPr>
              <p:cNvPr id="1166" name="Freeform 295">
                <a:extLst>
                  <a:ext uri="{FF2B5EF4-FFF2-40B4-BE49-F238E27FC236}">
                    <a16:creationId xmlns:a16="http://schemas.microsoft.com/office/drawing/2014/main" id="{D3B4BC75-9CC0-4778-B34D-59EE7A6B54EB}"/>
                  </a:ext>
                </a:extLst>
              </p:cNvPr>
              <p:cNvSpPr>
                <a:spLocks noEditPoints="1"/>
              </p:cNvSpPr>
              <p:nvPr/>
            </p:nvSpPr>
            <p:spPr bwMode="auto">
              <a:xfrm>
                <a:off x="2100" y="1974"/>
                <a:ext cx="904" cy="820"/>
              </a:xfrm>
              <a:custGeom>
                <a:avLst/>
                <a:gdLst>
                  <a:gd name="T0" fmla="*/ 642 w 904"/>
                  <a:gd name="T1" fmla="*/ 356 h 820"/>
                  <a:gd name="T2" fmla="*/ 456 w 904"/>
                  <a:gd name="T3" fmla="*/ 470 h 820"/>
                  <a:gd name="T4" fmla="*/ 736 w 904"/>
                  <a:gd name="T5" fmla="*/ 654 h 820"/>
                  <a:gd name="T6" fmla="*/ 600 w 904"/>
                  <a:gd name="T7" fmla="*/ 790 h 820"/>
                  <a:gd name="T8" fmla="*/ 556 w 904"/>
                  <a:gd name="T9" fmla="*/ 784 h 820"/>
                  <a:gd name="T10" fmla="*/ 492 w 904"/>
                  <a:gd name="T11" fmla="*/ 770 h 820"/>
                  <a:gd name="T12" fmla="*/ 468 w 904"/>
                  <a:gd name="T13" fmla="*/ 760 h 820"/>
                  <a:gd name="T14" fmla="*/ 426 w 904"/>
                  <a:gd name="T15" fmla="*/ 726 h 820"/>
                  <a:gd name="T16" fmla="*/ 372 w 904"/>
                  <a:gd name="T17" fmla="*/ 666 h 820"/>
                  <a:gd name="T18" fmla="*/ 228 w 904"/>
                  <a:gd name="T19" fmla="*/ 486 h 820"/>
                  <a:gd name="T20" fmla="*/ 194 w 904"/>
                  <a:gd name="T21" fmla="*/ 438 h 820"/>
                  <a:gd name="T22" fmla="*/ 174 w 904"/>
                  <a:gd name="T23" fmla="*/ 400 h 820"/>
                  <a:gd name="T24" fmla="*/ 168 w 904"/>
                  <a:gd name="T25" fmla="*/ 384 h 820"/>
                  <a:gd name="T26" fmla="*/ 166 w 904"/>
                  <a:gd name="T27" fmla="*/ 342 h 820"/>
                  <a:gd name="T28" fmla="*/ 168 w 904"/>
                  <a:gd name="T29" fmla="*/ 304 h 820"/>
                  <a:gd name="T30" fmla="*/ 356 w 904"/>
                  <a:gd name="T31" fmla="*/ 0 h 820"/>
                  <a:gd name="T32" fmla="*/ 128 w 904"/>
                  <a:gd name="T33" fmla="*/ 250 h 820"/>
                  <a:gd name="T34" fmla="*/ 218 w 904"/>
                  <a:gd name="T35" fmla="*/ 310 h 820"/>
                  <a:gd name="T36" fmla="*/ 216 w 904"/>
                  <a:gd name="T37" fmla="*/ 330 h 820"/>
                  <a:gd name="T38" fmla="*/ 218 w 904"/>
                  <a:gd name="T39" fmla="*/ 364 h 820"/>
                  <a:gd name="T40" fmla="*/ 222 w 904"/>
                  <a:gd name="T41" fmla="*/ 378 h 820"/>
                  <a:gd name="T42" fmla="*/ 232 w 904"/>
                  <a:gd name="T43" fmla="*/ 406 h 820"/>
                  <a:gd name="T44" fmla="*/ 252 w 904"/>
                  <a:gd name="T45" fmla="*/ 436 h 820"/>
                  <a:gd name="T46" fmla="*/ 426 w 904"/>
                  <a:gd name="T47" fmla="*/ 282 h 820"/>
                  <a:gd name="T48" fmla="*/ 348 w 904"/>
                  <a:gd name="T49" fmla="*/ 74 h 820"/>
                  <a:gd name="T50" fmla="*/ 450 w 904"/>
                  <a:gd name="T51" fmla="*/ 520 h 820"/>
                  <a:gd name="T52" fmla="*/ 446 w 904"/>
                  <a:gd name="T53" fmla="*/ 560 h 820"/>
                  <a:gd name="T54" fmla="*/ 444 w 904"/>
                  <a:gd name="T55" fmla="*/ 620 h 820"/>
                  <a:gd name="T56" fmla="*/ 448 w 904"/>
                  <a:gd name="T57" fmla="*/ 652 h 820"/>
                  <a:gd name="T58" fmla="*/ 458 w 904"/>
                  <a:gd name="T59" fmla="*/ 678 h 820"/>
                  <a:gd name="T60" fmla="*/ 464 w 904"/>
                  <a:gd name="T61" fmla="*/ 688 h 820"/>
                  <a:gd name="T62" fmla="*/ 480 w 904"/>
                  <a:gd name="T63" fmla="*/ 706 h 820"/>
                  <a:gd name="T64" fmla="*/ 502 w 904"/>
                  <a:gd name="T65" fmla="*/ 720 h 820"/>
                  <a:gd name="T66" fmla="*/ 532 w 904"/>
                  <a:gd name="T67" fmla="*/ 730 h 820"/>
                  <a:gd name="T68" fmla="*/ 566 w 904"/>
                  <a:gd name="T69" fmla="*/ 736 h 820"/>
                  <a:gd name="T70" fmla="*/ 666 w 904"/>
                  <a:gd name="T71" fmla="*/ 646 h 82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04"/>
                  <a:gd name="T109" fmla="*/ 0 h 820"/>
                  <a:gd name="T110" fmla="*/ 904 w 904"/>
                  <a:gd name="T111" fmla="*/ 820 h 82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04" h="820">
                    <a:moveTo>
                      <a:pt x="356" y="0"/>
                    </a:moveTo>
                    <a:lnTo>
                      <a:pt x="642" y="356"/>
                    </a:lnTo>
                    <a:lnTo>
                      <a:pt x="472" y="338"/>
                    </a:lnTo>
                    <a:lnTo>
                      <a:pt x="456" y="470"/>
                    </a:lnTo>
                    <a:lnTo>
                      <a:pt x="904" y="520"/>
                    </a:lnTo>
                    <a:lnTo>
                      <a:pt x="736" y="654"/>
                    </a:lnTo>
                    <a:lnTo>
                      <a:pt x="870" y="820"/>
                    </a:lnTo>
                    <a:lnTo>
                      <a:pt x="600" y="790"/>
                    </a:lnTo>
                    <a:lnTo>
                      <a:pt x="556" y="784"/>
                    </a:lnTo>
                    <a:lnTo>
                      <a:pt x="520" y="778"/>
                    </a:lnTo>
                    <a:lnTo>
                      <a:pt x="492" y="770"/>
                    </a:lnTo>
                    <a:lnTo>
                      <a:pt x="468" y="760"/>
                    </a:lnTo>
                    <a:lnTo>
                      <a:pt x="448" y="746"/>
                    </a:lnTo>
                    <a:lnTo>
                      <a:pt x="426" y="726"/>
                    </a:lnTo>
                    <a:lnTo>
                      <a:pt x="400" y="700"/>
                    </a:lnTo>
                    <a:lnTo>
                      <a:pt x="372" y="666"/>
                    </a:lnTo>
                    <a:lnTo>
                      <a:pt x="228" y="486"/>
                    </a:lnTo>
                    <a:lnTo>
                      <a:pt x="210" y="462"/>
                    </a:lnTo>
                    <a:lnTo>
                      <a:pt x="194" y="438"/>
                    </a:lnTo>
                    <a:lnTo>
                      <a:pt x="182" y="418"/>
                    </a:lnTo>
                    <a:lnTo>
                      <a:pt x="174" y="400"/>
                    </a:lnTo>
                    <a:lnTo>
                      <a:pt x="168" y="384"/>
                    </a:lnTo>
                    <a:lnTo>
                      <a:pt x="166" y="364"/>
                    </a:lnTo>
                    <a:lnTo>
                      <a:pt x="166" y="342"/>
                    </a:lnTo>
                    <a:lnTo>
                      <a:pt x="168" y="320"/>
                    </a:lnTo>
                    <a:lnTo>
                      <a:pt x="168" y="304"/>
                    </a:lnTo>
                    <a:lnTo>
                      <a:pt x="0" y="286"/>
                    </a:lnTo>
                    <a:lnTo>
                      <a:pt x="356" y="0"/>
                    </a:lnTo>
                    <a:close/>
                    <a:moveTo>
                      <a:pt x="348" y="74"/>
                    </a:moveTo>
                    <a:lnTo>
                      <a:pt x="128" y="250"/>
                    </a:lnTo>
                    <a:lnTo>
                      <a:pt x="224" y="260"/>
                    </a:lnTo>
                    <a:lnTo>
                      <a:pt x="218" y="310"/>
                    </a:lnTo>
                    <a:lnTo>
                      <a:pt x="216" y="330"/>
                    </a:lnTo>
                    <a:lnTo>
                      <a:pt x="216" y="348"/>
                    </a:lnTo>
                    <a:lnTo>
                      <a:pt x="218" y="364"/>
                    </a:lnTo>
                    <a:lnTo>
                      <a:pt x="222" y="378"/>
                    </a:lnTo>
                    <a:lnTo>
                      <a:pt x="226" y="392"/>
                    </a:lnTo>
                    <a:lnTo>
                      <a:pt x="232" y="406"/>
                    </a:lnTo>
                    <a:lnTo>
                      <a:pt x="242" y="420"/>
                    </a:lnTo>
                    <a:lnTo>
                      <a:pt x="252" y="436"/>
                    </a:lnTo>
                    <a:lnTo>
                      <a:pt x="392" y="606"/>
                    </a:lnTo>
                    <a:lnTo>
                      <a:pt x="426" y="282"/>
                    </a:lnTo>
                    <a:lnTo>
                      <a:pt x="522" y="294"/>
                    </a:lnTo>
                    <a:lnTo>
                      <a:pt x="348" y="74"/>
                    </a:lnTo>
                    <a:close/>
                    <a:moveTo>
                      <a:pt x="778" y="556"/>
                    </a:moveTo>
                    <a:lnTo>
                      <a:pt x="450" y="520"/>
                    </a:lnTo>
                    <a:lnTo>
                      <a:pt x="446" y="560"/>
                    </a:lnTo>
                    <a:lnTo>
                      <a:pt x="444" y="602"/>
                    </a:lnTo>
                    <a:lnTo>
                      <a:pt x="444" y="620"/>
                    </a:lnTo>
                    <a:lnTo>
                      <a:pt x="446" y="638"/>
                    </a:lnTo>
                    <a:lnTo>
                      <a:pt x="448" y="652"/>
                    </a:lnTo>
                    <a:lnTo>
                      <a:pt x="452" y="666"/>
                    </a:lnTo>
                    <a:lnTo>
                      <a:pt x="458" y="678"/>
                    </a:lnTo>
                    <a:lnTo>
                      <a:pt x="464" y="688"/>
                    </a:lnTo>
                    <a:lnTo>
                      <a:pt x="470" y="698"/>
                    </a:lnTo>
                    <a:lnTo>
                      <a:pt x="480" y="706"/>
                    </a:lnTo>
                    <a:lnTo>
                      <a:pt x="490" y="714"/>
                    </a:lnTo>
                    <a:lnTo>
                      <a:pt x="502" y="720"/>
                    </a:lnTo>
                    <a:lnTo>
                      <a:pt x="516" y="726"/>
                    </a:lnTo>
                    <a:lnTo>
                      <a:pt x="532" y="730"/>
                    </a:lnTo>
                    <a:lnTo>
                      <a:pt x="548" y="734"/>
                    </a:lnTo>
                    <a:lnTo>
                      <a:pt x="566" y="736"/>
                    </a:lnTo>
                    <a:lnTo>
                      <a:pt x="756" y="758"/>
                    </a:lnTo>
                    <a:lnTo>
                      <a:pt x="666" y="646"/>
                    </a:lnTo>
                    <a:lnTo>
                      <a:pt x="778" y="556"/>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67" name="Freeform 296">
                <a:extLst>
                  <a:ext uri="{FF2B5EF4-FFF2-40B4-BE49-F238E27FC236}">
                    <a16:creationId xmlns:a16="http://schemas.microsoft.com/office/drawing/2014/main" id="{F7BE8710-609C-46A5-9E6E-6CC8B8077C75}"/>
                  </a:ext>
                </a:extLst>
              </p:cNvPr>
              <p:cNvSpPr>
                <a:spLocks noEditPoints="1"/>
              </p:cNvSpPr>
              <p:nvPr/>
            </p:nvSpPr>
            <p:spPr bwMode="auto">
              <a:xfrm>
                <a:off x="2374" y="1440"/>
                <a:ext cx="962" cy="560"/>
              </a:xfrm>
              <a:custGeom>
                <a:avLst/>
                <a:gdLst>
                  <a:gd name="T0" fmla="*/ 506 w 962"/>
                  <a:gd name="T1" fmla="*/ 458 h 560"/>
                  <a:gd name="T2" fmla="*/ 532 w 962"/>
                  <a:gd name="T3" fmla="*/ 242 h 560"/>
                  <a:gd name="T4" fmla="*/ 214 w 962"/>
                  <a:gd name="T5" fmla="*/ 346 h 560"/>
                  <a:gd name="T6" fmla="*/ 192 w 962"/>
                  <a:gd name="T7" fmla="*/ 154 h 560"/>
                  <a:gd name="T8" fmla="*/ 224 w 962"/>
                  <a:gd name="T9" fmla="*/ 124 h 560"/>
                  <a:gd name="T10" fmla="*/ 276 w 962"/>
                  <a:gd name="T11" fmla="*/ 82 h 560"/>
                  <a:gd name="T12" fmla="*/ 298 w 962"/>
                  <a:gd name="T13" fmla="*/ 70 h 560"/>
                  <a:gd name="T14" fmla="*/ 352 w 962"/>
                  <a:gd name="T15" fmla="*/ 58 h 560"/>
                  <a:gd name="T16" fmla="*/ 432 w 962"/>
                  <a:gd name="T17" fmla="*/ 54 h 560"/>
                  <a:gd name="T18" fmla="*/ 662 w 962"/>
                  <a:gd name="T19" fmla="*/ 54 h 560"/>
                  <a:gd name="T20" fmla="*/ 720 w 962"/>
                  <a:gd name="T21" fmla="*/ 56 h 560"/>
                  <a:gd name="T22" fmla="*/ 762 w 962"/>
                  <a:gd name="T23" fmla="*/ 64 h 560"/>
                  <a:gd name="T24" fmla="*/ 780 w 962"/>
                  <a:gd name="T25" fmla="*/ 72 h 560"/>
                  <a:gd name="T26" fmla="*/ 814 w 962"/>
                  <a:gd name="T27" fmla="*/ 94 h 560"/>
                  <a:gd name="T28" fmla="*/ 842 w 962"/>
                  <a:gd name="T29" fmla="*/ 122 h 560"/>
                  <a:gd name="T30" fmla="*/ 962 w 962"/>
                  <a:gd name="T31" fmla="*/ 456 h 560"/>
                  <a:gd name="T32" fmla="*/ 910 w 962"/>
                  <a:gd name="T33" fmla="*/ 124 h 560"/>
                  <a:gd name="T34" fmla="*/ 806 w 962"/>
                  <a:gd name="T35" fmla="*/ 156 h 560"/>
                  <a:gd name="T36" fmla="*/ 792 w 962"/>
                  <a:gd name="T37" fmla="*/ 142 h 560"/>
                  <a:gd name="T38" fmla="*/ 764 w 962"/>
                  <a:gd name="T39" fmla="*/ 122 h 560"/>
                  <a:gd name="T40" fmla="*/ 750 w 962"/>
                  <a:gd name="T41" fmla="*/ 116 h 560"/>
                  <a:gd name="T42" fmla="*/ 722 w 962"/>
                  <a:gd name="T43" fmla="*/ 108 h 560"/>
                  <a:gd name="T44" fmla="*/ 686 w 962"/>
                  <a:gd name="T45" fmla="*/ 104 h 560"/>
                  <a:gd name="T46" fmla="*/ 698 w 962"/>
                  <a:gd name="T47" fmla="*/ 336 h 560"/>
                  <a:gd name="T48" fmla="*/ 910 w 962"/>
                  <a:gd name="T49" fmla="*/ 404 h 560"/>
                  <a:gd name="T50" fmla="*/ 496 w 962"/>
                  <a:gd name="T51" fmla="*/ 206 h 560"/>
                  <a:gd name="T52" fmla="*/ 468 w 962"/>
                  <a:gd name="T53" fmla="*/ 178 h 560"/>
                  <a:gd name="T54" fmla="*/ 422 w 962"/>
                  <a:gd name="T55" fmla="*/ 138 h 560"/>
                  <a:gd name="T56" fmla="*/ 394 w 962"/>
                  <a:gd name="T57" fmla="*/ 122 h 560"/>
                  <a:gd name="T58" fmla="*/ 370 w 962"/>
                  <a:gd name="T59" fmla="*/ 112 h 560"/>
                  <a:gd name="T60" fmla="*/ 358 w 962"/>
                  <a:gd name="T61" fmla="*/ 110 h 560"/>
                  <a:gd name="T62" fmla="*/ 332 w 962"/>
                  <a:gd name="T63" fmla="*/ 112 h 560"/>
                  <a:gd name="T64" fmla="*/ 308 w 962"/>
                  <a:gd name="T65" fmla="*/ 122 h 560"/>
                  <a:gd name="T66" fmla="*/ 282 w 962"/>
                  <a:gd name="T67" fmla="*/ 138 h 560"/>
                  <a:gd name="T68" fmla="*/ 256 w 962"/>
                  <a:gd name="T69" fmla="*/ 162 h 560"/>
                  <a:gd name="T70" fmla="*/ 264 w 962"/>
                  <a:gd name="T71" fmla="*/ 296 h 56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62"/>
                  <a:gd name="T109" fmla="*/ 0 h 560"/>
                  <a:gd name="T110" fmla="*/ 962 w 962"/>
                  <a:gd name="T111" fmla="*/ 560 h 560"/>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62" h="560">
                    <a:moveTo>
                      <a:pt x="962" y="456"/>
                    </a:moveTo>
                    <a:lnTo>
                      <a:pt x="506" y="458"/>
                    </a:lnTo>
                    <a:lnTo>
                      <a:pt x="626" y="336"/>
                    </a:lnTo>
                    <a:lnTo>
                      <a:pt x="532" y="242"/>
                    </a:lnTo>
                    <a:lnTo>
                      <a:pt x="214" y="560"/>
                    </a:lnTo>
                    <a:lnTo>
                      <a:pt x="214" y="346"/>
                    </a:lnTo>
                    <a:lnTo>
                      <a:pt x="0" y="346"/>
                    </a:lnTo>
                    <a:lnTo>
                      <a:pt x="192" y="154"/>
                    </a:lnTo>
                    <a:lnTo>
                      <a:pt x="224" y="124"/>
                    </a:lnTo>
                    <a:lnTo>
                      <a:pt x="252" y="100"/>
                    </a:lnTo>
                    <a:lnTo>
                      <a:pt x="276" y="82"/>
                    </a:lnTo>
                    <a:lnTo>
                      <a:pt x="298" y="70"/>
                    </a:lnTo>
                    <a:lnTo>
                      <a:pt x="322" y="64"/>
                    </a:lnTo>
                    <a:lnTo>
                      <a:pt x="352" y="58"/>
                    </a:lnTo>
                    <a:lnTo>
                      <a:pt x="388" y="56"/>
                    </a:lnTo>
                    <a:lnTo>
                      <a:pt x="432" y="54"/>
                    </a:lnTo>
                    <a:lnTo>
                      <a:pt x="662" y="54"/>
                    </a:lnTo>
                    <a:lnTo>
                      <a:pt x="694" y="54"/>
                    </a:lnTo>
                    <a:lnTo>
                      <a:pt x="720" y="56"/>
                    </a:lnTo>
                    <a:lnTo>
                      <a:pt x="744" y="60"/>
                    </a:lnTo>
                    <a:lnTo>
                      <a:pt x="762" y="64"/>
                    </a:lnTo>
                    <a:lnTo>
                      <a:pt x="780" y="72"/>
                    </a:lnTo>
                    <a:lnTo>
                      <a:pt x="796" y="82"/>
                    </a:lnTo>
                    <a:lnTo>
                      <a:pt x="814" y="94"/>
                    </a:lnTo>
                    <a:lnTo>
                      <a:pt x="830" y="110"/>
                    </a:lnTo>
                    <a:lnTo>
                      <a:pt x="842" y="122"/>
                    </a:lnTo>
                    <a:lnTo>
                      <a:pt x="962" y="0"/>
                    </a:lnTo>
                    <a:lnTo>
                      <a:pt x="962" y="456"/>
                    </a:lnTo>
                    <a:close/>
                    <a:moveTo>
                      <a:pt x="910" y="404"/>
                    </a:moveTo>
                    <a:lnTo>
                      <a:pt x="910" y="124"/>
                    </a:lnTo>
                    <a:lnTo>
                      <a:pt x="842" y="192"/>
                    </a:lnTo>
                    <a:lnTo>
                      <a:pt x="806" y="156"/>
                    </a:lnTo>
                    <a:lnTo>
                      <a:pt x="792" y="142"/>
                    </a:lnTo>
                    <a:lnTo>
                      <a:pt x="778" y="132"/>
                    </a:lnTo>
                    <a:lnTo>
                      <a:pt x="764" y="122"/>
                    </a:lnTo>
                    <a:lnTo>
                      <a:pt x="750" y="116"/>
                    </a:lnTo>
                    <a:lnTo>
                      <a:pt x="736" y="110"/>
                    </a:lnTo>
                    <a:lnTo>
                      <a:pt x="722" y="108"/>
                    </a:lnTo>
                    <a:lnTo>
                      <a:pt x="706" y="106"/>
                    </a:lnTo>
                    <a:lnTo>
                      <a:pt x="686" y="104"/>
                    </a:lnTo>
                    <a:lnTo>
                      <a:pt x="468" y="106"/>
                    </a:lnTo>
                    <a:lnTo>
                      <a:pt x="698" y="336"/>
                    </a:lnTo>
                    <a:lnTo>
                      <a:pt x="630" y="404"/>
                    </a:lnTo>
                    <a:lnTo>
                      <a:pt x="910" y="404"/>
                    </a:lnTo>
                    <a:close/>
                    <a:moveTo>
                      <a:pt x="264" y="440"/>
                    </a:moveTo>
                    <a:lnTo>
                      <a:pt x="496" y="206"/>
                    </a:lnTo>
                    <a:lnTo>
                      <a:pt x="468" y="178"/>
                    </a:lnTo>
                    <a:lnTo>
                      <a:pt x="438" y="150"/>
                    </a:lnTo>
                    <a:lnTo>
                      <a:pt x="422" y="138"/>
                    </a:lnTo>
                    <a:lnTo>
                      <a:pt x="408" y="130"/>
                    </a:lnTo>
                    <a:lnTo>
                      <a:pt x="394" y="122"/>
                    </a:lnTo>
                    <a:lnTo>
                      <a:pt x="382" y="116"/>
                    </a:lnTo>
                    <a:lnTo>
                      <a:pt x="370" y="112"/>
                    </a:lnTo>
                    <a:lnTo>
                      <a:pt x="358" y="110"/>
                    </a:lnTo>
                    <a:lnTo>
                      <a:pt x="346" y="110"/>
                    </a:lnTo>
                    <a:lnTo>
                      <a:pt x="332" y="112"/>
                    </a:lnTo>
                    <a:lnTo>
                      <a:pt x="320" y="116"/>
                    </a:lnTo>
                    <a:lnTo>
                      <a:pt x="308" y="122"/>
                    </a:lnTo>
                    <a:lnTo>
                      <a:pt x="296" y="128"/>
                    </a:lnTo>
                    <a:lnTo>
                      <a:pt x="282" y="138"/>
                    </a:lnTo>
                    <a:lnTo>
                      <a:pt x="268" y="148"/>
                    </a:lnTo>
                    <a:lnTo>
                      <a:pt x="256" y="162"/>
                    </a:lnTo>
                    <a:lnTo>
                      <a:pt x="120" y="296"/>
                    </a:lnTo>
                    <a:lnTo>
                      <a:pt x="264" y="296"/>
                    </a:lnTo>
                    <a:lnTo>
                      <a:pt x="264" y="440"/>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68" name="Freeform 297">
                <a:extLst>
                  <a:ext uri="{FF2B5EF4-FFF2-40B4-BE49-F238E27FC236}">
                    <a16:creationId xmlns:a16="http://schemas.microsoft.com/office/drawing/2014/main" id="{6538C13A-3D7C-4D21-BEC4-503CD376A9A6}"/>
                  </a:ext>
                </a:extLst>
              </p:cNvPr>
              <p:cNvSpPr>
                <a:spLocks noEditPoints="1"/>
              </p:cNvSpPr>
              <p:nvPr/>
            </p:nvSpPr>
            <p:spPr bwMode="auto">
              <a:xfrm>
                <a:off x="2996" y="1872"/>
                <a:ext cx="664" cy="1008"/>
              </a:xfrm>
              <a:custGeom>
                <a:avLst/>
                <a:gdLst>
                  <a:gd name="T0" fmla="*/ 224 w 664"/>
                  <a:gd name="T1" fmla="*/ 386 h 1008"/>
                  <a:gd name="T2" fmla="*/ 400 w 664"/>
                  <a:gd name="T3" fmla="*/ 514 h 1008"/>
                  <a:gd name="T4" fmla="*/ 466 w 664"/>
                  <a:gd name="T5" fmla="*/ 188 h 1008"/>
                  <a:gd name="T6" fmla="*/ 644 w 664"/>
                  <a:gd name="T7" fmla="*/ 262 h 1008"/>
                  <a:gd name="T8" fmla="*/ 654 w 664"/>
                  <a:gd name="T9" fmla="*/ 304 h 1008"/>
                  <a:gd name="T10" fmla="*/ 664 w 664"/>
                  <a:gd name="T11" fmla="*/ 372 h 1008"/>
                  <a:gd name="T12" fmla="*/ 664 w 664"/>
                  <a:gd name="T13" fmla="*/ 396 h 1008"/>
                  <a:gd name="T14" fmla="*/ 648 w 664"/>
                  <a:gd name="T15" fmla="*/ 448 h 1008"/>
                  <a:gd name="T16" fmla="*/ 612 w 664"/>
                  <a:gd name="T17" fmla="*/ 520 h 1008"/>
                  <a:gd name="T18" fmla="*/ 498 w 664"/>
                  <a:gd name="T19" fmla="*/ 720 h 1008"/>
                  <a:gd name="T20" fmla="*/ 466 w 664"/>
                  <a:gd name="T21" fmla="*/ 770 h 1008"/>
                  <a:gd name="T22" fmla="*/ 438 w 664"/>
                  <a:gd name="T23" fmla="*/ 802 h 1008"/>
                  <a:gd name="T24" fmla="*/ 424 w 664"/>
                  <a:gd name="T25" fmla="*/ 814 h 1008"/>
                  <a:gd name="T26" fmla="*/ 388 w 664"/>
                  <a:gd name="T27" fmla="*/ 832 h 1008"/>
                  <a:gd name="T28" fmla="*/ 350 w 664"/>
                  <a:gd name="T29" fmla="*/ 844 h 1008"/>
                  <a:gd name="T30" fmla="*/ 0 w 664"/>
                  <a:gd name="T31" fmla="*/ 782 h 1008"/>
                  <a:gd name="T32" fmla="*/ 314 w 664"/>
                  <a:gd name="T33" fmla="*/ 900 h 1008"/>
                  <a:gd name="T34" fmla="*/ 338 w 664"/>
                  <a:gd name="T35" fmla="*/ 794 h 1008"/>
                  <a:gd name="T36" fmla="*/ 358 w 664"/>
                  <a:gd name="T37" fmla="*/ 788 h 1008"/>
                  <a:gd name="T38" fmla="*/ 388 w 664"/>
                  <a:gd name="T39" fmla="*/ 774 h 1008"/>
                  <a:gd name="T40" fmla="*/ 400 w 664"/>
                  <a:gd name="T41" fmla="*/ 766 h 1008"/>
                  <a:gd name="T42" fmla="*/ 422 w 664"/>
                  <a:gd name="T43" fmla="*/ 746 h 1008"/>
                  <a:gd name="T44" fmla="*/ 442 w 664"/>
                  <a:gd name="T45" fmla="*/ 716 h 1008"/>
                  <a:gd name="T46" fmla="*/ 236 w 664"/>
                  <a:gd name="T47" fmla="*/ 612 h 1008"/>
                  <a:gd name="T48" fmla="*/ 72 w 664"/>
                  <a:gd name="T49" fmla="*/ 762 h 1008"/>
                  <a:gd name="T50" fmla="*/ 448 w 664"/>
                  <a:gd name="T51" fmla="*/ 502 h 1008"/>
                  <a:gd name="T52" fmla="*/ 486 w 664"/>
                  <a:gd name="T53" fmla="*/ 490 h 1008"/>
                  <a:gd name="T54" fmla="*/ 542 w 664"/>
                  <a:gd name="T55" fmla="*/ 470 h 1008"/>
                  <a:gd name="T56" fmla="*/ 572 w 664"/>
                  <a:gd name="T57" fmla="*/ 454 h 1008"/>
                  <a:gd name="T58" fmla="*/ 592 w 664"/>
                  <a:gd name="T59" fmla="*/ 436 h 1008"/>
                  <a:gd name="T60" fmla="*/ 600 w 664"/>
                  <a:gd name="T61" fmla="*/ 428 h 1008"/>
                  <a:gd name="T62" fmla="*/ 610 w 664"/>
                  <a:gd name="T63" fmla="*/ 406 h 1008"/>
                  <a:gd name="T64" fmla="*/ 614 w 664"/>
                  <a:gd name="T65" fmla="*/ 380 h 1008"/>
                  <a:gd name="T66" fmla="*/ 612 w 664"/>
                  <a:gd name="T67" fmla="*/ 348 h 1008"/>
                  <a:gd name="T68" fmla="*/ 606 w 664"/>
                  <a:gd name="T69" fmla="*/ 314 h 1008"/>
                  <a:gd name="T70" fmla="*/ 484 w 664"/>
                  <a:gd name="T71" fmla="*/ 254 h 10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64"/>
                  <a:gd name="T109" fmla="*/ 0 h 1008"/>
                  <a:gd name="T110" fmla="*/ 664 w 664"/>
                  <a:gd name="T111" fmla="*/ 1008 h 10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64" h="1008">
                    <a:moveTo>
                      <a:pt x="0" y="782"/>
                    </a:moveTo>
                    <a:lnTo>
                      <a:pt x="224" y="386"/>
                    </a:lnTo>
                    <a:lnTo>
                      <a:pt x="270" y="550"/>
                    </a:lnTo>
                    <a:lnTo>
                      <a:pt x="400" y="514"/>
                    </a:lnTo>
                    <a:lnTo>
                      <a:pt x="280" y="80"/>
                    </a:lnTo>
                    <a:lnTo>
                      <a:pt x="466" y="188"/>
                    </a:lnTo>
                    <a:lnTo>
                      <a:pt x="572" y="0"/>
                    </a:lnTo>
                    <a:lnTo>
                      <a:pt x="644" y="262"/>
                    </a:lnTo>
                    <a:lnTo>
                      <a:pt x="654" y="304"/>
                    </a:lnTo>
                    <a:lnTo>
                      <a:pt x="660" y="342"/>
                    </a:lnTo>
                    <a:lnTo>
                      <a:pt x="664" y="372"/>
                    </a:lnTo>
                    <a:lnTo>
                      <a:pt x="664" y="396"/>
                    </a:lnTo>
                    <a:lnTo>
                      <a:pt x="658" y="420"/>
                    </a:lnTo>
                    <a:lnTo>
                      <a:pt x="648" y="448"/>
                    </a:lnTo>
                    <a:lnTo>
                      <a:pt x="632" y="482"/>
                    </a:lnTo>
                    <a:lnTo>
                      <a:pt x="612" y="520"/>
                    </a:lnTo>
                    <a:lnTo>
                      <a:pt x="498" y="720"/>
                    </a:lnTo>
                    <a:lnTo>
                      <a:pt x="482" y="748"/>
                    </a:lnTo>
                    <a:lnTo>
                      <a:pt x="466" y="770"/>
                    </a:lnTo>
                    <a:lnTo>
                      <a:pt x="452" y="788"/>
                    </a:lnTo>
                    <a:lnTo>
                      <a:pt x="438" y="802"/>
                    </a:lnTo>
                    <a:lnTo>
                      <a:pt x="424" y="814"/>
                    </a:lnTo>
                    <a:lnTo>
                      <a:pt x="408" y="824"/>
                    </a:lnTo>
                    <a:lnTo>
                      <a:pt x="388" y="832"/>
                    </a:lnTo>
                    <a:lnTo>
                      <a:pt x="366" y="840"/>
                    </a:lnTo>
                    <a:lnTo>
                      <a:pt x="350" y="844"/>
                    </a:lnTo>
                    <a:lnTo>
                      <a:pt x="396" y="1008"/>
                    </a:lnTo>
                    <a:lnTo>
                      <a:pt x="0" y="782"/>
                    </a:lnTo>
                    <a:close/>
                    <a:moveTo>
                      <a:pt x="72" y="762"/>
                    </a:moveTo>
                    <a:lnTo>
                      <a:pt x="314" y="900"/>
                    </a:lnTo>
                    <a:lnTo>
                      <a:pt x="290" y="808"/>
                    </a:lnTo>
                    <a:lnTo>
                      <a:pt x="338" y="794"/>
                    </a:lnTo>
                    <a:lnTo>
                      <a:pt x="358" y="788"/>
                    </a:lnTo>
                    <a:lnTo>
                      <a:pt x="374" y="782"/>
                    </a:lnTo>
                    <a:lnTo>
                      <a:pt x="388" y="774"/>
                    </a:lnTo>
                    <a:lnTo>
                      <a:pt x="400" y="766"/>
                    </a:lnTo>
                    <a:lnTo>
                      <a:pt x="412" y="758"/>
                    </a:lnTo>
                    <a:lnTo>
                      <a:pt x="422" y="746"/>
                    </a:lnTo>
                    <a:lnTo>
                      <a:pt x="432" y="732"/>
                    </a:lnTo>
                    <a:lnTo>
                      <a:pt x="442" y="716"/>
                    </a:lnTo>
                    <a:lnTo>
                      <a:pt x="548" y="526"/>
                    </a:lnTo>
                    <a:lnTo>
                      <a:pt x="236" y="612"/>
                    </a:lnTo>
                    <a:lnTo>
                      <a:pt x="210" y="518"/>
                    </a:lnTo>
                    <a:lnTo>
                      <a:pt x="72" y="762"/>
                    </a:lnTo>
                    <a:close/>
                    <a:moveTo>
                      <a:pt x="360" y="184"/>
                    </a:moveTo>
                    <a:lnTo>
                      <a:pt x="448" y="502"/>
                    </a:lnTo>
                    <a:lnTo>
                      <a:pt x="486" y="490"/>
                    </a:lnTo>
                    <a:lnTo>
                      <a:pt x="526" y="478"/>
                    </a:lnTo>
                    <a:lnTo>
                      <a:pt x="542" y="470"/>
                    </a:lnTo>
                    <a:lnTo>
                      <a:pt x="558" y="462"/>
                    </a:lnTo>
                    <a:lnTo>
                      <a:pt x="572" y="454"/>
                    </a:lnTo>
                    <a:lnTo>
                      <a:pt x="582" y="446"/>
                    </a:lnTo>
                    <a:lnTo>
                      <a:pt x="592" y="436"/>
                    </a:lnTo>
                    <a:lnTo>
                      <a:pt x="600" y="428"/>
                    </a:lnTo>
                    <a:lnTo>
                      <a:pt x="606" y="416"/>
                    </a:lnTo>
                    <a:lnTo>
                      <a:pt x="610" y="406"/>
                    </a:lnTo>
                    <a:lnTo>
                      <a:pt x="612" y="392"/>
                    </a:lnTo>
                    <a:lnTo>
                      <a:pt x="614" y="380"/>
                    </a:lnTo>
                    <a:lnTo>
                      <a:pt x="614" y="364"/>
                    </a:lnTo>
                    <a:lnTo>
                      <a:pt x="612" y="348"/>
                    </a:lnTo>
                    <a:lnTo>
                      <a:pt x="610" y="332"/>
                    </a:lnTo>
                    <a:lnTo>
                      <a:pt x="606" y="314"/>
                    </a:lnTo>
                    <a:lnTo>
                      <a:pt x="554" y="130"/>
                    </a:lnTo>
                    <a:lnTo>
                      <a:pt x="484" y="254"/>
                    </a:lnTo>
                    <a:lnTo>
                      <a:pt x="360" y="184"/>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169" name="Group 1168">
            <a:extLst>
              <a:ext uri="{FF2B5EF4-FFF2-40B4-BE49-F238E27FC236}">
                <a16:creationId xmlns:a16="http://schemas.microsoft.com/office/drawing/2014/main" id="{6748E7CA-7356-4881-AC51-A2ED66D92E10}"/>
              </a:ext>
            </a:extLst>
          </p:cNvPr>
          <p:cNvGrpSpPr/>
          <p:nvPr/>
        </p:nvGrpSpPr>
        <p:grpSpPr>
          <a:xfrm>
            <a:off x="4649219" y="2393776"/>
            <a:ext cx="612775" cy="612775"/>
            <a:chOff x="2779162" y="3032119"/>
            <a:chExt cx="612775" cy="612775"/>
          </a:xfrm>
        </p:grpSpPr>
        <p:sp>
          <p:nvSpPr>
            <p:cNvPr id="1170" name="Oval 1169">
              <a:extLst>
                <a:ext uri="{FF2B5EF4-FFF2-40B4-BE49-F238E27FC236}">
                  <a16:creationId xmlns:a16="http://schemas.microsoft.com/office/drawing/2014/main" id="{30ACBBF8-717A-4495-95ED-B64F92DDF684}"/>
                </a:ext>
              </a:extLst>
            </p:cNvPr>
            <p:cNvSpPr/>
            <p:nvPr/>
          </p:nvSpPr>
          <p:spPr bwMode="ltGray">
            <a:xfrm>
              <a:off x="277916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171" name="Group 247">
              <a:extLst>
                <a:ext uri="{FF2B5EF4-FFF2-40B4-BE49-F238E27FC236}">
                  <a16:creationId xmlns:a16="http://schemas.microsoft.com/office/drawing/2014/main" id="{2E37F7CA-1049-4BDA-A20F-15172D2C8481}"/>
                </a:ext>
              </a:extLst>
            </p:cNvPr>
            <p:cNvGrpSpPr>
              <a:grpSpLocks/>
            </p:cNvGrpSpPr>
            <p:nvPr/>
          </p:nvGrpSpPr>
          <p:grpSpPr bwMode="auto">
            <a:xfrm>
              <a:off x="2902363" y="3187531"/>
              <a:ext cx="379435" cy="280856"/>
              <a:chOff x="2998" y="1680"/>
              <a:chExt cx="541" cy="401"/>
            </a:xfrm>
          </p:grpSpPr>
          <p:sp>
            <p:nvSpPr>
              <p:cNvPr id="1172" name="Rectangle 248">
                <a:extLst>
                  <a:ext uri="{FF2B5EF4-FFF2-40B4-BE49-F238E27FC236}">
                    <a16:creationId xmlns:a16="http://schemas.microsoft.com/office/drawing/2014/main" id="{196A0CF3-235F-4A37-92AA-83D1D7581A3E}"/>
                  </a:ext>
                </a:extLst>
              </p:cNvPr>
              <p:cNvSpPr>
                <a:spLocks noChangeArrowheads="1"/>
              </p:cNvSpPr>
              <p:nvPr/>
            </p:nvSpPr>
            <p:spPr bwMode="auto">
              <a:xfrm>
                <a:off x="2998" y="1680"/>
                <a:ext cx="541" cy="401"/>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173" name="Rectangle 249">
                <a:extLst>
                  <a:ext uri="{FF2B5EF4-FFF2-40B4-BE49-F238E27FC236}">
                    <a16:creationId xmlns:a16="http://schemas.microsoft.com/office/drawing/2014/main" id="{EB5F6C77-4923-41E3-8312-14D8736F4AEA}"/>
                  </a:ext>
                </a:extLst>
              </p:cNvPr>
              <p:cNvSpPr>
                <a:spLocks noChangeArrowheads="1"/>
              </p:cNvSpPr>
              <p:nvPr/>
            </p:nvSpPr>
            <p:spPr bwMode="auto">
              <a:xfrm>
                <a:off x="3068" y="1854"/>
                <a:ext cx="284" cy="27"/>
              </a:xfrm>
              <a:prstGeom prst="rect">
                <a:avLst/>
              </a:prstGeom>
              <a:solidFill>
                <a:sysClr val="window" lastClr="FFFFFF"/>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174" name="Rectangle 250">
                <a:extLst>
                  <a:ext uri="{FF2B5EF4-FFF2-40B4-BE49-F238E27FC236}">
                    <a16:creationId xmlns:a16="http://schemas.microsoft.com/office/drawing/2014/main" id="{2FEA0E05-D7D1-478B-A9EB-6F79B95DB2CF}"/>
                  </a:ext>
                </a:extLst>
              </p:cNvPr>
              <p:cNvSpPr>
                <a:spLocks noChangeArrowheads="1"/>
              </p:cNvSpPr>
              <p:nvPr/>
            </p:nvSpPr>
            <p:spPr bwMode="auto">
              <a:xfrm>
                <a:off x="3435" y="1706"/>
                <a:ext cx="83" cy="111"/>
              </a:xfrm>
              <a:prstGeom prst="rect">
                <a:avLst/>
              </a:prstGeom>
              <a:solidFill>
                <a:sysClr val="window" lastClr="FFFFFF"/>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175" name="Rectangle 251">
                <a:extLst>
                  <a:ext uri="{FF2B5EF4-FFF2-40B4-BE49-F238E27FC236}">
                    <a16:creationId xmlns:a16="http://schemas.microsoft.com/office/drawing/2014/main" id="{E8A80028-B5EE-4047-B636-81B7A784BEFB}"/>
                  </a:ext>
                </a:extLst>
              </p:cNvPr>
              <p:cNvSpPr>
                <a:spLocks noChangeArrowheads="1"/>
              </p:cNvSpPr>
              <p:nvPr/>
            </p:nvSpPr>
            <p:spPr bwMode="auto">
              <a:xfrm>
                <a:off x="3068" y="1904"/>
                <a:ext cx="284" cy="27"/>
              </a:xfrm>
              <a:prstGeom prst="rect">
                <a:avLst/>
              </a:prstGeom>
              <a:solidFill>
                <a:sysClr val="window" lastClr="FFFFFF"/>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176" name="Rectangle 252">
                <a:extLst>
                  <a:ext uri="{FF2B5EF4-FFF2-40B4-BE49-F238E27FC236}">
                    <a16:creationId xmlns:a16="http://schemas.microsoft.com/office/drawing/2014/main" id="{6DC39293-E8EE-42DA-938B-23574F7D194A}"/>
                  </a:ext>
                </a:extLst>
              </p:cNvPr>
              <p:cNvSpPr>
                <a:spLocks noChangeArrowheads="1"/>
              </p:cNvSpPr>
              <p:nvPr/>
            </p:nvSpPr>
            <p:spPr bwMode="auto">
              <a:xfrm>
                <a:off x="3068" y="1954"/>
                <a:ext cx="284" cy="27"/>
              </a:xfrm>
              <a:prstGeom prst="rect">
                <a:avLst/>
              </a:prstGeom>
              <a:solidFill>
                <a:sysClr val="window" lastClr="FFFFFF"/>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grpSp>
      <p:grpSp>
        <p:nvGrpSpPr>
          <p:cNvPr id="1177" name="Group 1176">
            <a:extLst>
              <a:ext uri="{FF2B5EF4-FFF2-40B4-BE49-F238E27FC236}">
                <a16:creationId xmlns:a16="http://schemas.microsoft.com/office/drawing/2014/main" id="{3D56E47C-BA50-4F5F-B782-B88788E19D7D}"/>
              </a:ext>
            </a:extLst>
          </p:cNvPr>
          <p:cNvGrpSpPr/>
          <p:nvPr/>
        </p:nvGrpSpPr>
        <p:grpSpPr>
          <a:xfrm>
            <a:off x="5389811" y="1626836"/>
            <a:ext cx="612775" cy="612775"/>
            <a:chOff x="4235182" y="2265179"/>
            <a:chExt cx="612775" cy="612775"/>
          </a:xfrm>
        </p:grpSpPr>
        <p:sp>
          <p:nvSpPr>
            <p:cNvPr id="1178" name="Oval 1177">
              <a:extLst>
                <a:ext uri="{FF2B5EF4-FFF2-40B4-BE49-F238E27FC236}">
                  <a16:creationId xmlns:a16="http://schemas.microsoft.com/office/drawing/2014/main" id="{B1B023BA-3CB6-49B0-882E-B9C0F9EA8618}"/>
                </a:ext>
              </a:extLst>
            </p:cNvPr>
            <p:cNvSpPr/>
            <p:nvPr/>
          </p:nvSpPr>
          <p:spPr bwMode="ltGray">
            <a:xfrm>
              <a:off x="4235182"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179" name="Group 198">
              <a:extLst>
                <a:ext uri="{FF2B5EF4-FFF2-40B4-BE49-F238E27FC236}">
                  <a16:creationId xmlns:a16="http://schemas.microsoft.com/office/drawing/2014/main" id="{F9313394-F051-46DC-8CAA-3309EB67F051}"/>
                </a:ext>
              </a:extLst>
            </p:cNvPr>
            <p:cNvGrpSpPr>
              <a:grpSpLocks/>
            </p:cNvGrpSpPr>
            <p:nvPr/>
          </p:nvGrpSpPr>
          <p:grpSpPr bwMode="auto">
            <a:xfrm rot="20140207">
              <a:off x="4380176" y="2379636"/>
              <a:ext cx="306896" cy="433911"/>
              <a:chOff x="2135" y="2000"/>
              <a:chExt cx="858" cy="1212"/>
            </a:xfrm>
          </p:grpSpPr>
          <p:sp>
            <p:nvSpPr>
              <p:cNvPr id="1180" name="AutoShape 199">
                <a:extLst>
                  <a:ext uri="{FF2B5EF4-FFF2-40B4-BE49-F238E27FC236}">
                    <a16:creationId xmlns:a16="http://schemas.microsoft.com/office/drawing/2014/main" id="{71D0BB9C-0354-4D4D-9A51-4C53ABD306BA}"/>
                  </a:ext>
                </a:extLst>
              </p:cNvPr>
              <p:cNvSpPr>
                <a:spLocks noChangeAspect="1" noChangeArrowheads="1" noTextEdit="1"/>
              </p:cNvSpPr>
              <p:nvPr/>
            </p:nvSpPr>
            <p:spPr bwMode="auto">
              <a:xfrm>
                <a:off x="2135" y="2000"/>
                <a:ext cx="858" cy="1212"/>
              </a:xfrm>
              <a:prstGeom prst="rect">
                <a:avLst/>
              </a:prstGeom>
              <a:noFill/>
              <a:ln w="9525">
                <a:noFill/>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81" name="Freeform 200">
                <a:extLst>
                  <a:ext uri="{FF2B5EF4-FFF2-40B4-BE49-F238E27FC236}">
                    <a16:creationId xmlns:a16="http://schemas.microsoft.com/office/drawing/2014/main" id="{86A1D53D-D24E-4743-AC95-F08C29FD66AA}"/>
                  </a:ext>
                </a:extLst>
              </p:cNvPr>
              <p:cNvSpPr>
                <a:spLocks/>
              </p:cNvSpPr>
              <p:nvPr/>
            </p:nvSpPr>
            <p:spPr bwMode="auto">
              <a:xfrm>
                <a:off x="2454" y="2302"/>
                <a:ext cx="327" cy="348"/>
              </a:xfrm>
              <a:custGeom>
                <a:avLst/>
                <a:gdLst>
                  <a:gd name="T0" fmla="*/ 327 w 327"/>
                  <a:gd name="T1" fmla="*/ 0 h 348"/>
                  <a:gd name="T2" fmla="*/ 98 w 327"/>
                  <a:gd name="T3" fmla="*/ 0 h 348"/>
                  <a:gd name="T4" fmla="*/ 70 w 327"/>
                  <a:gd name="T5" fmla="*/ 0 h 348"/>
                  <a:gd name="T6" fmla="*/ 46 w 327"/>
                  <a:gd name="T7" fmla="*/ 6 h 348"/>
                  <a:gd name="T8" fmla="*/ 31 w 327"/>
                  <a:gd name="T9" fmla="*/ 11 h 348"/>
                  <a:gd name="T10" fmla="*/ 18 w 327"/>
                  <a:gd name="T11" fmla="*/ 24 h 348"/>
                  <a:gd name="T12" fmla="*/ 9 w 327"/>
                  <a:gd name="T13" fmla="*/ 39 h 348"/>
                  <a:gd name="T14" fmla="*/ 7 w 327"/>
                  <a:gd name="T15" fmla="*/ 63 h 348"/>
                  <a:gd name="T16" fmla="*/ 0 w 327"/>
                  <a:gd name="T17" fmla="*/ 98 h 348"/>
                  <a:gd name="T18" fmla="*/ 0 w 327"/>
                  <a:gd name="T19" fmla="*/ 137 h 348"/>
                  <a:gd name="T20" fmla="*/ 0 w 327"/>
                  <a:gd name="T21" fmla="*/ 348 h 348"/>
                  <a:gd name="T22" fmla="*/ 327 w 327"/>
                  <a:gd name="T23" fmla="*/ 348 h 348"/>
                  <a:gd name="T24" fmla="*/ 327 w 327"/>
                  <a:gd name="T25" fmla="*/ 0 h 348"/>
                  <a:gd name="T26" fmla="*/ 327 w 327"/>
                  <a:gd name="T27" fmla="*/ 0 h 3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7"/>
                  <a:gd name="T43" fmla="*/ 0 h 348"/>
                  <a:gd name="T44" fmla="*/ 327 w 327"/>
                  <a:gd name="T45" fmla="*/ 348 h 3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7" h="348">
                    <a:moveTo>
                      <a:pt x="327" y="0"/>
                    </a:moveTo>
                    <a:lnTo>
                      <a:pt x="98" y="0"/>
                    </a:lnTo>
                    <a:lnTo>
                      <a:pt x="70" y="0"/>
                    </a:lnTo>
                    <a:lnTo>
                      <a:pt x="46" y="6"/>
                    </a:lnTo>
                    <a:lnTo>
                      <a:pt x="31" y="11"/>
                    </a:lnTo>
                    <a:lnTo>
                      <a:pt x="18" y="24"/>
                    </a:lnTo>
                    <a:lnTo>
                      <a:pt x="9" y="39"/>
                    </a:lnTo>
                    <a:lnTo>
                      <a:pt x="7" y="63"/>
                    </a:lnTo>
                    <a:lnTo>
                      <a:pt x="0" y="98"/>
                    </a:lnTo>
                    <a:lnTo>
                      <a:pt x="0" y="137"/>
                    </a:lnTo>
                    <a:lnTo>
                      <a:pt x="0" y="348"/>
                    </a:lnTo>
                    <a:lnTo>
                      <a:pt x="327" y="348"/>
                    </a:lnTo>
                    <a:lnTo>
                      <a:pt x="327" y="0"/>
                    </a:lnTo>
                    <a:close/>
                  </a:path>
                </a:pathLst>
              </a:custGeom>
              <a:solidFill>
                <a:srgbClr val="FFFFFF"/>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82" name="Freeform 201">
                <a:extLst>
                  <a:ext uri="{FF2B5EF4-FFF2-40B4-BE49-F238E27FC236}">
                    <a16:creationId xmlns:a16="http://schemas.microsoft.com/office/drawing/2014/main" id="{A4F52BCF-3132-478C-9908-E48170602685}"/>
                  </a:ext>
                </a:extLst>
              </p:cNvPr>
              <p:cNvSpPr>
                <a:spLocks/>
              </p:cNvSpPr>
              <p:nvPr/>
            </p:nvSpPr>
            <p:spPr bwMode="auto">
              <a:xfrm>
                <a:off x="2455" y="2677"/>
                <a:ext cx="536" cy="533"/>
              </a:xfrm>
              <a:custGeom>
                <a:avLst/>
                <a:gdLst>
                  <a:gd name="T0" fmla="*/ 0 w 536"/>
                  <a:gd name="T1" fmla="*/ 0 h 533"/>
                  <a:gd name="T2" fmla="*/ 0 w 536"/>
                  <a:gd name="T3" fmla="*/ 333 h 533"/>
                  <a:gd name="T4" fmla="*/ 0 w 536"/>
                  <a:gd name="T5" fmla="*/ 353 h 533"/>
                  <a:gd name="T6" fmla="*/ 7 w 536"/>
                  <a:gd name="T7" fmla="*/ 374 h 533"/>
                  <a:gd name="T8" fmla="*/ 11 w 536"/>
                  <a:gd name="T9" fmla="*/ 392 h 533"/>
                  <a:gd name="T10" fmla="*/ 21 w 536"/>
                  <a:gd name="T11" fmla="*/ 411 h 533"/>
                  <a:gd name="T12" fmla="*/ 30 w 536"/>
                  <a:gd name="T13" fmla="*/ 426 h 533"/>
                  <a:gd name="T14" fmla="*/ 44 w 536"/>
                  <a:gd name="T15" fmla="*/ 442 h 533"/>
                  <a:gd name="T16" fmla="*/ 60 w 536"/>
                  <a:gd name="T17" fmla="*/ 459 h 533"/>
                  <a:gd name="T18" fmla="*/ 80 w 536"/>
                  <a:gd name="T19" fmla="*/ 475 h 533"/>
                  <a:gd name="T20" fmla="*/ 100 w 536"/>
                  <a:gd name="T21" fmla="*/ 487 h 533"/>
                  <a:gd name="T22" fmla="*/ 120 w 536"/>
                  <a:gd name="T23" fmla="*/ 499 h 533"/>
                  <a:gd name="T24" fmla="*/ 143 w 536"/>
                  <a:gd name="T25" fmla="*/ 509 h 533"/>
                  <a:gd name="T26" fmla="*/ 167 w 536"/>
                  <a:gd name="T27" fmla="*/ 518 h 533"/>
                  <a:gd name="T28" fmla="*/ 190 w 536"/>
                  <a:gd name="T29" fmla="*/ 523 h 533"/>
                  <a:gd name="T30" fmla="*/ 213 w 536"/>
                  <a:gd name="T31" fmla="*/ 527 h 533"/>
                  <a:gd name="T32" fmla="*/ 240 w 536"/>
                  <a:gd name="T33" fmla="*/ 529 h 533"/>
                  <a:gd name="T34" fmla="*/ 270 w 536"/>
                  <a:gd name="T35" fmla="*/ 533 h 533"/>
                  <a:gd name="T36" fmla="*/ 296 w 536"/>
                  <a:gd name="T37" fmla="*/ 529 h 533"/>
                  <a:gd name="T38" fmla="*/ 323 w 536"/>
                  <a:gd name="T39" fmla="*/ 527 h 533"/>
                  <a:gd name="T40" fmla="*/ 346 w 536"/>
                  <a:gd name="T41" fmla="*/ 523 h 533"/>
                  <a:gd name="T42" fmla="*/ 373 w 536"/>
                  <a:gd name="T43" fmla="*/ 518 h 533"/>
                  <a:gd name="T44" fmla="*/ 396 w 536"/>
                  <a:gd name="T45" fmla="*/ 509 h 533"/>
                  <a:gd name="T46" fmla="*/ 416 w 536"/>
                  <a:gd name="T47" fmla="*/ 499 h 533"/>
                  <a:gd name="T48" fmla="*/ 439 w 536"/>
                  <a:gd name="T49" fmla="*/ 487 h 533"/>
                  <a:gd name="T50" fmla="*/ 460 w 536"/>
                  <a:gd name="T51" fmla="*/ 475 h 533"/>
                  <a:gd name="T52" fmla="*/ 476 w 536"/>
                  <a:gd name="T53" fmla="*/ 459 h 533"/>
                  <a:gd name="T54" fmla="*/ 492 w 536"/>
                  <a:gd name="T55" fmla="*/ 444 h 533"/>
                  <a:gd name="T56" fmla="*/ 506 w 536"/>
                  <a:gd name="T57" fmla="*/ 426 h 533"/>
                  <a:gd name="T58" fmla="*/ 515 w 536"/>
                  <a:gd name="T59" fmla="*/ 411 h 533"/>
                  <a:gd name="T60" fmla="*/ 525 w 536"/>
                  <a:gd name="T61" fmla="*/ 392 h 533"/>
                  <a:gd name="T62" fmla="*/ 532 w 536"/>
                  <a:gd name="T63" fmla="*/ 374 h 533"/>
                  <a:gd name="T64" fmla="*/ 536 w 536"/>
                  <a:gd name="T65" fmla="*/ 353 h 533"/>
                  <a:gd name="T66" fmla="*/ 536 w 536"/>
                  <a:gd name="T67" fmla="*/ 333 h 533"/>
                  <a:gd name="T68" fmla="*/ 536 w 536"/>
                  <a:gd name="T69" fmla="*/ 0 h 533"/>
                  <a:gd name="T70" fmla="*/ 0 w 536"/>
                  <a:gd name="T71" fmla="*/ 0 h 533"/>
                  <a:gd name="T72" fmla="*/ 0 w 536"/>
                  <a:gd name="T73" fmla="*/ 0 h 5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36"/>
                  <a:gd name="T112" fmla="*/ 0 h 533"/>
                  <a:gd name="T113" fmla="*/ 536 w 536"/>
                  <a:gd name="T114" fmla="*/ 533 h 5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36" h="533">
                    <a:moveTo>
                      <a:pt x="0" y="0"/>
                    </a:moveTo>
                    <a:lnTo>
                      <a:pt x="0" y="333"/>
                    </a:lnTo>
                    <a:lnTo>
                      <a:pt x="0" y="353"/>
                    </a:lnTo>
                    <a:lnTo>
                      <a:pt x="7" y="374"/>
                    </a:lnTo>
                    <a:lnTo>
                      <a:pt x="11" y="392"/>
                    </a:lnTo>
                    <a:lnTo>
                      <a:pt x="21" y="411"/>
                    </a:lnTo>
                    <a:lnTo>
                      <a:pt x="30" y="426"/>
                    </a:lnTo>
                    <a:lnTo>
                      <a:pt x="44" y="442"/>
                    </a:lnTo>
                    <a:lnTo>
                      <a:pt x="60" y="459"/>
                    </a:lnTo>
                    <a:lnTo>
                      <a:pt x="80" y="475"/>
                    </a:lnTo>
                    <a:lnTo>
                      <a:pt x="100" y="487"/>
                    </a:lnTo>
                    <a:lnTo>
                      <a:pt x="120" y="499"/>
                    </a:lnTo>
                    <a:lnTo>
                      <a:pt x="143" y="509"/>
                    </a:lnTo>
                    <a:lnTo>
                      <a:pt x="167" y="518"/>
                    </a:lnTo>
                    <a:lnTo>
                      <a:pt x="190" y="523"/>
                    </a:lnTo>
                    <a:lnTo>
                      <a:pt x="213" y="527"/>
                    </a:lnTo>
                    <a:lnTo>
                      <a:pt x="240" y="529"/>
                    </a:lnTo>
                    <a:lnTo>
                      <a:pt x="270" y="533"/>
                    </a:lnTo>
                    <a:lnTo>
                      <a:pt x="296" y="529"/>
                    </a:lnTo>
                    <a:lnTo>
                      <a:pt x="323" y="527"/>
                    </a:lnTo>
                    <a:lnTo>
                      <a:pt x="346" y="523"/>
                    </a:lnTo>
                    <a:lnTo>
                      <a:pt x="373" y="518"/>
                    </a:lnTo>
                    <a:lnTo>
                      <a:pt x="396" y="509"/>
                    </a:lnTo>
                    <a:lnTo>
                      <a:pt x="416" y="499"/>
                    </a:lnTo>
                    <a:lnTo>
                      <a:pt x="439" y="487"/>
                    </a:lnTo>
                    <a:lnTo>
                      <a:pt x="460" y="475"/>
                    </a:lnTo>
                    <a:lnTo>
                      <a:pt x="476" y="459"/>
                    </a:lnTo>
                    <a:lnTo>
                      <a:pt x="492" y="444"/>
                    </a:lnTo>
                    <a:lnTo>
                      <a:pt x="506" y="426"/>
                    </a:lnTo>
                    <a:lnTo>
                      <a:pt x="515" y="411"/>
                    </a:lnTo>
                    <a:lnTo>
                      <a:pt x="525" y="392"/>
                    </a:lnTo>
                    <a:lnTo>
                      <a:pt x="532" y="374"/>
                    </a:lnTo>
                    <a:lnTo>
                      <a:pt x="536" y="353"/>
                    </a:lnTo>
                    <a:lnTo>
                      <a:pt x="536" y="333"/>
                    </a:lnTo>
                    <a:lnTo>
                      <a:pt x="536" y="0"/>
                    </a:lnTo>
                    <a:lnTo>
                      <a:pt x="0" y="0"/>
                    </a:lnTo>
                    <a:close/>
                  </a:path>
                </a:pathLst>
              </a:custGeom>
              <a:solidFill>
                <a:srgbClr val="FFFFFF"/>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83" name="Freeform 202">
                <a:extLst>
                  <a:ext uri="{FF2B5EF4-FFF2-40B4-BE49-F238E27FC236}">
                    <a16:creationId xmlns:a16="http://schemas.microsoft.com/office/drawing/2014/main" id="{65D3A3B4-CCBA-4134-9D62-09A65AD86D32}"/>
                  </a:ext>
                </a:extLst>
              </p:cNvPr>
              <p:cNvSpPr>
                <a:spLocks/>
              </p:cNvSpPr>
              <p:nvPr/>
            </p:nvSpPr>
            <p:spPr bwMode="auto">
              <a:xfrm>
                <a:off x="2800" y="2302"/>
                <a:ext cx="186" cy="348"/>
              </a:xfrm>
              <a:custGeom>
                <a:avLst/>
                <a:gdLst>
                  <a:gd name="T0" fmla="*/ 0 w 186"/>
                  <a:gd name="T1" fmla="*/ 0 h 348"/>
                  <a:gd name="T2" fmla="*/ 0 w 186"/>
                  <a:gd name="T3" fmla="*/ 348 h 348"/>
                  <a:gd name="T4" fmla="*/ 186 w 186"/>
                  <a:gd name="T5" fmla="*/ 348 h 348"/>
                  <a:gd name="T6" fmla="*/ 186 w 186"/>
                  <a:gd name="T7" fmla="*/ 137 h 348"/>
                  <a:gd name="T8" fmla="*/ 186 w 186"/>
                  <a:gd name="T9" fmla="*/ 94 h 348"/>
                  <a:gd name="T10" fmla="*/ 183 w 186"/>
                  <a:gd name="T11" fmla="*/ 61 h 348"/>
                  <a:gd name="T12" fmla="*/ 177 w 186"/>
                  <a:gd name="T13" fmla="*/ 36 h 348"/>
                  <a:gd name="T14" fmla="*/ 170 w 186"/>
                  <a:gd name="T15" fmla="*/ 21 h 348"/>
                  <a:gd name="T16" fmla="*/ 162 w 186"/>
                  <a:gd name="T17" fmla="*/ 11 h 348"/>
                  <a:gd name="T18" fmla="*/ 146 w 186"/>
                  <a:gd name="T19" fmla="*/ 3 h 348"/>
                  <a:gd name="T20" fmla="*/ 125 w 186"/>
                  <a:gd name="T21" fmla="*/ 0 h 348"/>
                  <a:gd name="T22" fmla="*/ 101 w 186"/>
                  <a:gd name="T23" fmla="*/ 0 h 348"/>
                  <a:gd name="T24" fmla="*/ 0 w 186"/>
                  <a:gd name="T25" fmla="*/ 0 h 348"/>
                  <a:gd name="T26" fmla="*/ 0 w 186"/>
                  <a:gd name="T27" fmla="*/ 0 h 3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6"/>
                  <a:gd name="T43" fmla="*/ 0 h 348"/>
                  <a:gd name="T44" fmla="*/ 186 w 186"/>
                  <a:gd name="T45" fmla="*/ 348 h 3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6" h="348">
                    <a:moveTo>
                      <a:pt x="0" y="0"/>
                    </a:moveTo>
                    <a:lnTo>
                      <a:pt x="0" y="348"/>
                    </a:lnTo>
                    <a:lnTo>
                      <a:pt x="186" y="348"/>
                    </a:lnTo>
                    <a:lnTo>
                      <a:pt x="186" y="137"/>
                    </a:lnTo>
                    <a:lnTo>
                      <a:pt x="186" y="94"/>
                    </a:lnTo>
                    <a:lnTo>
                      <a:pt x="183" y="61"/>
                    </a:lnTo>
                    <a:lnTo>
                      <a:pt x="177" y="36"/>
                    </a:lnTo>
                    <a:lnTo>
                      <a:pt x="170" y="21"/>
                    </a:lnTo>
                    <a:lnTo>
                      <a:pt x="162" y="11"/>
                    </a:lnTo>
                    <a:lnTo>
                      <a:pt x="146" y="3"/>
                    </a:lnTo>
                    <a:lnTo>
                      <a:pt x="125" y="0"/>
                    </a:lnTo>
                    <a:lnTo>
                      <a:pt x="101" y="0"/>
                    </a:lnTo>
                    <a:lnTo>
                      <a:pt x="0" y="0"/>
                    </a:lnTo>
                    <a:close/>
                  </a:path>
                </a:pathLst>
              </a:custGeom>
              <a:solidFill>
                <a:srgbClr val="FFFFFF"/>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84" name="Freeform 203">
                <a:extLst>
                  <a:ext uri="{FF2B5EF4-FFF2-40B4-BE49-F238E27FC236}">
                    <a16:creationId xmlns:a16="http://schemas.microsoft.com/office/drawing/2014/main" id="{73C6C933-E2D7-41DD-B0B0-D2BF61FE5797}"/>
                  </a:ext>
                </a:extLst>
              </p:cNvPr>
              <p:cNvSpPr>
                <a:spLocks/>
              </p:cNvSpPr>
              <p:nvPr/>
            </p:nvSpPr>
            <p:spPr bwMode="auto">
              <a:xfrm>
                <a:off x="2733" y="2338"/>
                <a:ext cx="106" cy="244"/>
              </a:xfrm>
              <a:custGeom>
                <a:avLst/>
                <a:gdLst>
                  <a:gd name="T0" fmla="*/ 106 w 106"/>
                  <a:gd name="T1" fmla="*/ 49 h 244"/>
                  <a:gd name="T2" fmla="*/ 106 w 106"/>
                  <a:gd name="T3" fmla="*/ 49 h 244"/>
                  <a:gd name="T4" fmla="*/ 106 w 106"/>
                  <a:gd name="T5" fmla="*/ 40 h 244"/>
                  <a:gd name="T6" fmla="*/ 103 w 106"/>
                  <a:gd name="T7" fmla="*/ 31 h 244"/>
                  <a:gd name="T8" fmla="*/ 98 w 106"/>
                  <a:gd name="T9" fmla="*/ 21 h 244"/>
                  <a:gd name="T10" fmla="*/ 91 w 106"/>
                  <a:gd name="T11" fmla="*/ 15 h 244"/>
                  <a:gd name="T12" fmla="*/ 81 w 106"/>
                  <a:gd name="T13" fmla="*/ 9 h 244"/>
                  <a:gd name="T14" fmla="*/ 72 w 106"/>
                  <a:gd name="T15" fmla="*/ 3 h 244"/>
                  <a:gd name="T16" fmla="*/ 63 w 106"/>
                  <a:gd name="T17" fmla="*/ 0 h 244"/>
                  <a:gd name="T18" fmla="*/ 54 w 106"/>
                  <a:gd name="T19" fmla="*/ 0 h 244"/>
                  <a:gd name="T20" fmla="*/ 42 w 106"/>
                  <a:gd name="T21" fmla="*/ 0 h 244"/>
                  <a:gd name="T22" fmla="*/ 33 w 106"/>
                  <a:gd name="T23" fmla="*/ 3 h 244"/>
                  <a:gd name="T24" fmla="*/ 24 w 106"/>
                  <a:gd name="T25" fmla="*/ 9 h 244"/>
                  <a:gd name="T26" fmla="*/ 15 w 106"/>
                  <a:gd name="T27" fmla="*/ 15 h 244"/>
                  <a:gd name="T28" fmla="*/ 8 w 106"/>
                  <a:gd name="T29" fmla="*/ 21 h 244"/>
                  <a:gd name="T30" fmla="*/ 2 w 106"/>
                  <a:gd name="T31" fmla="*/ 31 h 244"/>
                  <a:gd name="T32" fmla="*/ 0 w 106"/>
                  <a:gd name="T33" fmla="*/ 40 h 244"/>
                  <a:gd name="T34" fmla="*/ 0 w 106"/>
                  <a:gd name="T35" fmla="*/ 49 h 244"/>
                  <a:gd name="T36" fmla="*/ 0 w 106"/>
                  <a:gd name="T37" fmla="*/ 195 h 244"/>
                  <a:gd name="T38" fmla="*/ 0 w 106"/>
                  <a:gd name="T39" fmla="*/ 205 h 244"/>
                  <a:gd name="T40" fmla="*/ 2 w 106"/>
                  <a:gd name="T41" fmla="*/ 214 h 244"/>
                  <a:gd name="T42" fmla="*/ 8 w 106"/>
                  <a:gd name="T43" fmla="*/ 223 h 244"/>
                  <a:gd name="T44" fmla="*/ 15 w 106"/>
                  <a:gd name="T45" fmla="*/ 229 h 244"/>
                  <a:gd name="T46" fmla="*/ 24 w 106"/>
                  <a:gd name="T47" fmla="*/ 236 h 244"/>
                  <a:gd name="T48" fmla="*/ 33 w 106"/>
                  <a:gd name="T49" fmla="*/ 242 h 244"/>
                  <a:gd name="T50" fmla="*/ 42 w 106"/>
                  <a:gd name="T51" fmla="*/ 244 h 244"/>
                  <a:gd name="T52" fmla="*/ 54 w 106"/>
                  <a:gd name="T53" fmla="*/ 244 h 244"/>
                  <a:gd name="T54" fmla="*/ 63 w 106"/>
                  <a:gd name="T55" fmla="*/ 244 h 244"/>
                  <a:gd name="T56" fmla="*/ 72 w 106"/>
                  <a:gd name="T57" fmla="*/ 242 h 244"/>
                  <a:gd name="T58" fmla="*/ 81 w 106"/>
                  <a:gd name="T59" fmla="*/ 236 h 244"/>
                  <a:gd name="T60" fmla="*/ 91 w 106"/>
                  <a:gd name="T61" fmla="*/ 229 h 244"/>
                  <a:gd name="T62" fmla="*/ 98 w 106"/>
                  <a:gd name="T63" fmla="*/ 223 h 244"/>
                  <a:gd name="T64" fmla="*/ 103 w 106"/>
                  <a:gd name="T65" fmla="*/ 214 h 244"/>
                  <a:gd name="T66" fmla="*/ 106 w 106"/>
                  <a:gd name="T67" fmla="*/ 205 h 244"/>
                  <a:gd name="T68" fmla="*/ 106 w 106"/>
                  <a:gd name="T69" fmla="*/ 195 h 244"/>
                  <a:gd name="T70" fmla="*/ 106 w 106"/>
                  <a:gd name="T71" fmla="*/ 49 h 244"/>
                  <a:gd name="T72" fmla="*/ 106 w 106"/>
                  <a:gd name="T73" fmla="*/ 49 h 2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6"/>
                  <a:gd name="T112" fmla="*/ 0 h 244"/>
                  <a:gd name="T113" fmla="*/ 106 w 106"/>
                  <a:gd name="T114" fmla="*/ 244 h 2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6" h="244">
                    <a:moveTo>
                      <a:pt x="106" y="49"/>
                    </a:moveTo>
                    <a:lnTo>
                      <a:pt x="106" y="49"/>
                    </a:lnTo>
                    <a:lnTo>
                      <a:pt x="106" y="40"/>
                    </a:lnTo>
                    <a:lnTo>
                      <a:pt x="103" y="31"/>
                    </a:lnTo>
                    <a:lnTo>
                      <a:pt x="98" y="21"/>
                    </a:lnTo>
                    <a:lnTo>
                      <a:pt x="91" y="15"/>
                    </a:lnTo>
                    <a:lnTo>
                      <a:pt x="81" y="9"/>
                    </a:lnTo>
                    <a:lnTo>
                      <a:pt x="72" y="3"/>
                    </a:lnTo>
                    <a:lnTo>
                      <a:pt x="63" y="0"/>
                    </a:lnTo>
                    <a:lnTo>
                      <a:pt x="54" y="0"/>
                    </a:lnTo>
                    <a:lnTo>
                      <a:pt x="42" y="0"/>
                    </a:lnTo>
                    <a:lnTo>
                      <a:pt x="33" y="3"/>
                    </a:lnTo>
                    <a:lnTo>
                      <a:pt x="24" y="9"/>
                    </a:lnTo>
                    <a:lnTo>
                      <a:pt x="15" y="15"/>
                    </a:lnTo>
                    <a:lnTo>
                      <a:pt x="8" y="21"/>
                    </a:lnTo>
                    <a:lnTo>
                      <a:pt x="2" y="31"/>
                    </a:lnTo>
                    <a:lnTo>
                      <a:pt x="0" y="40"/>
                    </a:lnTo>
                    <a:lnTo>
                      <a:pt x="0" y="49"/>
                    </a:lnTo>
                    <a:lnTo>
                      <a:pt x="0" y="195"/>
                    </a:lnTo>
                    <a:lnTo>
                      <a:pt x="0" y="205"/>
                    </a:lnTo>
                    <a:lnTo>
                      <a:pt x="2" y="214"/>
                    </a:lnTo>
                    <a:lnTo>
                      <a:pt x="8" y="223"/>
                    </a:lnTo>
                    <a:lnTo>
                      <a:pt x="15" y="229"/>
                    </a:lnTo>
                    <a:lnTo>
                      <a:pt x="24" y="236"/>
                    </a:lnTo>
                    <a:lnTo>
                      <a:pt x="33" y="242"/>
                    </a:lnTo>
                    <a:lnTo>
                      <a:pt x="42" y="244"/>
                    </a:lnTo>
                    <a:lnTo>
                      <a:pt x="54" y="244"/>
                    </a:lnTo>
                    <a:lnTo>
                      <a:pt x="63" y="244"/>
                    </a:lnTo>
                    <a:lnTo>
                      <a:pt x="72" y="242"/>
                    </a:lnTo>
                    <a:lnTo>
                      <a:pt x="81" y="236"/>
                    </a:lnTo>
                    <a:lnTo>
                      <a:pt x="91" y="229"/>
                    </a:lnTo>
                    <a:lnTo>
                      <a:pt x="98" y="223"/>
                    </a:lnTo>
                    <a:lnTo>
                      <a:pt x="103" y="214"/>
                    </a:lnTo>
                    <a:lnTo>
                      <a:pt x="106" y="205"/>
                    </a:lnTo>
                    <a:lnTo>
                      <a:pt x="106" y="195"/>
                    </a:lnTo>
                    <a:lnTo>
                      <a:pt x="106" y="49"/>
                    </a:lnTo>
                    <a:close/>
                  </a:path>
                </a:pathLst>
              </a:custGeom>
              <a:solidFill>
                <a:srgbClr val="336599"/>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85" name="Freeform 204">
                <a:extLst>
                  <a:ext uri="{FF2B5EF4-FFF2-40B4-BE49-F238E27FC236}">
                    <a16:creationId xmlns:a16="http://schemas.microsoft.com/office/drawing/2014/main" id="{BFBAF0D7-0389-4221-9150-83F6E94F9066}"/>
                  </a:ext>
                </a:extLst>
              </p:cNvPr>
              <p:cNvSpPr>
                <a:spLocks/>
              </p:cNvSpPr>
              <p:nvPr/>
            </p:nvSpPr>
            <p:spPr bwMode="auto">
              <a:xfrm>
                <a:off x="2151" y="2016"/>
                <a:ext cx="637" cy="284"/>
              </a:xfrm>
              <a:custGeom>
                <a:avLst/>
                <a:gdLst>
                  <a:gd name="T0" fmla="*/ 627 w 637"/>
                  <a:gd name="T1" fmla="*/ 284 h 284"/>
                  <a:gd name="T2" fmla="*/ 629 w 637"/>
                  <a:gd name="T3" fmla="*/ 264 h 284"/>
                  <a:gd name="T4" fmla="*/ 632 w 637"/>
                  <a:gd name="T5" fmla="*/ 246 h 284"/>
                  <a:gd name="T6" fmla="*/ 634 w 637"/>
                  <a:gd name="T7" fmla="*/ 226 h 284"/>
                  <a:gd name="T8" fmla="*/ 635 w 637"/>
                  <a:gd name="T9" fmla="*/ 217 h 284"/>
                  <a:gd name="T10" fmla="*/ 636 w 637"/>
                  <a:gd name="T11" fmla="*/ 206 h 284"/>
                  <a:gd name="T12" fmla="*/ 636 w 637"/>
                  <a:gd name="T13" fmla="*/ 197 h 284"/>
                  <a:gd name="T14" fmla="*/ 637 w 637"/>
                  <a:gd name="T15" fmla="*/ 188 h 284"/>
                  <a:gd name="T16" fmla="*/ 637 w 637"/>
                  <a:gd name="T17" fmla="*/ 179 h 284"/>
                  <a:gd name="T18" fmla="*/ 637 w 637"/>
                  <a:gd name="T19" fmla="*/ 169 h 284"/>
                  <a:gd name="T20" fmla="*/ 637 w 637"/>
                  <a:gd name="T21" fmla="*/ 161 h 284"/>
                  <a:gd name="T22" fmla="*/ 636 w 637"/>
                  <a:gd name="T23" fmla="*/ 152 h 284"/>
                  <a:gd name="T24" fmla="*/ 635 w 637"/>
                  <a:gd name="T25" fmla="*/ 143 h 284"/>
                  <a:gd name="T26" fmla="*/ 634 w 637"/>
                  <a:gd name="T27" fmla="*/ 135 h 284"/>
                  <a:gd name="T28" fmla="*/ 632 w 637"/>
                  <a:gd name="T29" fmla="*/ 127 h 284"/>
                  <a:gd name="T30" fmla="*/ 630 w 637"/>
                  <a:gd name="T31" fmla="*/ 119 h 284"/>
                  <a:gd name="T32" fmla="*/ 628 w 637"/>
                  <a:gd name="T33" fmla="*/ 111 h 284"/>
                  <a:gd name="T34" fmla="*/ 625 w 637"/>
                  <a:gd name="T35" fmla="*/ 103 h 284"/>
                  <a:gd name="T36" fmla="*/ 622 w 637"/>
                  <a:gd name="T37" fmla="*/ 96 h 284"/>
                  <a:gd name="T38" fmla="*/ 619 w 637"/>
                  <a:gd name="T39" fmla="*/ 88 h 284"/>
                  <a:gd name="T40" fmla="*/ 614 w 637"/>
                  <a:gd name="T41" fmla="*/ 82 h 284"/>
                  <a:gd name="T42" fmla="*/ 609 w 637"/>
                  <a:gd name="T43" fmla="*/ 74 h 284"/>
                  <a:gd name="T44" fmla="*/ 605 w 637"/>
                  <a:gd name="T45" fmla="*/ 68 h 284"/>
                  <a:gd name="T46" fmla="*/ 601 w 637"/>
                  <a:gd name="T47" fmla="*/ 65 h 284"/>
                  <a:gd name="T48" fmla="*/ 599 w 637"/>
                  <a:gd name="T49" fmla="*/ 61 h 284"/>
                  <a:gd name="T50" fmla="*/ 596 w 637"/>
                  <a:gd name="T51" fmla="*/ 59 h 284"/>
                  <a:gd name="T52" fmla="*/ 592 w 637"/>
                  <a:gd name="T53" fmla="*/ 55 h 284"/>
                  <a:gd name="T54" fmla="*/ 589 w 637"/>
                  <a:gd name="T55" fmla="*/ 53 h 284"/>
                  <a:gd name="T56" fmla="*/ 586 w 637"/>
                  <a:gd name="T57" fmla="*/ 50 h 284"/>
                  <a:gd name="T58" fmla="*/ 582 w 637"/>
                  <a:gd name="T59" fmla="*/ 47 h 284"/>
                  <a:gd name="T60" fmla="*/ 578 w 637"/>
                  <a:gd name="T61" fmla="*/ 44 h 284"/>
                  <a:gd name="T62" fmla="*/ 574 w 637"/>
                  <a:gd name="T63" fmla="*/ 42 h 284"/>
                  <a:gd name="T64" fmla="*/ 570 w 637"/>
                  <a:gd name="T65" fmla="*/ 39 h 284"/>
                  <a:gd name="T66" fmla="*/ 566 w 637"/>
                  <a:gd name="T67" fmla="*/ 37 h 284"/>
                  <a:gd name="T68" fmla="*/ 561 w 637"/>
                  <a:gd name="T69" fmla="*/ 35 h 284"/>
                  <a:gd name="T70" fmla="*/ 558 w 637"/>
                  <a:gd name="T71" fmla="*/ 32 h 284"/>
                  <a:gd name="T72" fmla="*/ 552 w 637"/>
                  <a:gd name="T73" fmla="*/ 30 h 284"/>
                  <a:gd name="T74" fmla="*/ 543 w 637"/>
                  <a:gd name="T75" fmla="*/ 27 h 284"/>
                  <a:gd name="T76" fmla="*/ 531 w 637"/>
                  <a:gd name="T77" fmla="*/ 23 h 284"/>
                  <a:gd name="T78" fmla="*/ 520 w 637"/>
                  <a:gd name="T79" fmla="*/ 20 h 284"/>
                  <a:gd name="T80" fmla="*/ 508 w 637"/>
                  <a:gd name="T81" fmla="*/ 16 h 284"/>
                  <a:gd name="T82" fmla="*/ 495 w 637"/>
                  <a:gd name="T83" fmla="*/ 13 h 284"/>
                  <a:gd name="T84" fmla="*/ 482 w 637"/>
                  <a:gd name="T85" fmla="*/ 12 h 284"/>
                  <a:gd name="T86" fmla="*/ 468 w 637"/>
                  <a:gd name="T87" fmla="*/ 9 h 284"/>
                  <a:gd name="T88" fmla="*/ 453 w 637"/>
                  <a:gd name="T89" fmla="*/ 7 h 284"/>
                  <a:gd name="T90" fmla="*/ 438 w 637"/>
                  <a:gd name="T91" fmla="*/ 5 h 284"/>
                  <a:gd name="T92" fmla="*/ 423 w 637"/>
                  <a:gd name="T93" fmla="*/ 4 h 284"/>
                  <a:gd name="T94" fmla="*/ 408 w 637"/>
                  <a:gd name="T95" fmla="*/ 2 h 284"/>
                  <a:gd name="T96" fmla="*/ 391 w 637"/>
                  <a:gd name="T97" fmla="*/ 1 h 284"/>
                  <a:gd name="T98" fmla="*/ 373 w 637"/>
                  <a:gd name="T99" fmla="*/ 1 h 284"/>
                  <a:gd name="T100" fmla="*/ 356 w 637"/>
                  <a:gd name="T101" fmla="*/ 0 h 284"/>
                  <a:gd name="T102" fmla="*/ 339 w 637"/>
                  <a:gd name="T103" fmla="*/ 0 h 284"/>
                  <a:gd name="T104" fmla="*/ 321 w 637"/>
                  <a:gd name="T105" fmla="*/ 0 h 284"/>
                  <a:gd name="T106" fmla="*/ 285 w 637"/>
                  <a:gd name="T107" fmla="*/ 0 h 284"/>
                  <a:gd name="T108" fmla="*/ 245 w 637"/>
                  <a:gd name="T109" fmla="*/ 1 h 284"/>
                  <a:gd name="T110" fmla="*/ 206 w 637"/>
                  <a:gd name="T111" fmla="*/ 4 h 284"/>
                  <a:gd name="T112" fmla="*/ 166 w 637"/>
                  <a:gd name="T113" fmla="*/ 5 h 284"/>
                  <a:gd name="T114" fmla="*/ 125 w 637"/>
                  <a:gd name="T115" fmla="*/ 7 h 284"/>
                  <a:gd name="T116" fmla="*/ 84 w 637"/>
                  <a:gd name="T117" fmla="*/ 10 h 284"/>
                  <a:gd name="T118" fmla="*/ 0 w 637"/>
                  <a:gd name="T119" fmla="*/ 15 h 284"/>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7"/>
                  <a:gd name="T181" fmla="*/ 0 h 284"/>
                  <a:gd name="T182" fmla="*/ 637 w 637"/>
                  <a:gd name="T183" fmla="*/ 284 h 284"/>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7" h="284">
                    <a:moveTo>
                      <a:pt x="627" y="284"/>
                    </a:moveTo>
                    <a:lnTo>
                      <a:pt x="629" y="264"/>
                    </a:lnTo>
                    <a:lnTo>
                      <a:pt x="632" y="246"/>
                    </a:lnTo>
                    <a:lnTo>
                      <a:pt x="634" y="226"/>
                    </a:lnTo>
                    <a:lnTo>
                      <a:pt x="635" y="217"/>
                    </a:lnTo>
                    <a:lnTo>
                      <a:pt x="636" y="206"/>
                    </a:lnTo>
                    <a:lnTo>
                      <a:pt x="636" y="197"/>
                    </a:lnTo>
                    <a:lnTo>
                      <a:pt x="637" y="188"/>
                    </a:lnTo>
                    <a:lnTo>
                      <a:pt x="637" y="179"/>
                    </a:lnTo>
                    <a:lnTo>
                      <a:pt x="637" y="169"/>
                    </a:lnTo>
                    <a:lnTo>
                      <a:pt x="637" y="161"/>
                    </a:lnTo>
                    <a:lnTo>
                      <a:pt x="636" y="152"/>
                    </a:lnTo>
                    <a:lnTo>
                      <a:pt x="635" y="143"/>
                    </a:lnTo>
                    <a:lnTo>
                      <a:pt x="634" y="135"/>
                    </a:lnTo>
                    <a:lnTo>
                      <a:pt x="632" y="127"/>
                    </a:lnTo>
                    <a:lnTo>
                      <a:pt x="630" y="119"/>
                    </a:lnTo>
                    <a:lnTo>
                      <a:pt x="628" y="111"/>
                    </a:lnTo>
                    <a:lnTo>
                      <a:pt x="625" y="103"/>
                    </a:lnTo>
                    <a:lnTo>
                      <a:pt x="622" y="96"/>
                    </a:lnTo>
                    <a:lnTo>
                      <a:pt x="619" y="88"/>
                    </a:lnTo>
                    <a:lnTo>
                      <a:pt x="614" y="82"/>
                    </a:lnTo>
                    <a:lnTo>
                      <a:pt x="609" y="74"/>
                    </a:lnTo>
                    <a:lnTo>
                      <a:pt x="605" y="68"/>
                    </a:lnTo>
                    <a:lnTo>
                      <a:pt x="601" y="65"/>
                    </a:lnTo>
                    <a:lnTo>
                      <a:pt x="599" y="61"/>
                    </a:lnTo>
                    <a:lnTo>
                      <a:pt x="596" y="59"/>
                    </a:lnTo>
                    <a:lnTo>
                      <a:pt x="592" y="55"/>
                    </a:lnTo>
                    <a:lnTo>
                      <a:pt x="589" y="53"/>
                    </a:lnTo>
                    <a:lnTo>
                      <a:pt x="586" y="50"/>
                    </a:lnTo>
                    <a:lnTo>
                      <a:pt x="582" y="47"/>
                    </a:lnTo>
                    <a:lnTo>
                      <a:pt x="578" y="44"/>
                    </a:lnTo>
                    <a:lnTo>
                      <a:pt x="574" y="42"/>
                    </a:lnTo>
                    <a:lnTo>
                      <a:pt x="570" y="39"/>
                    </a:lnTo>
                    <a:lnTo>
                      <a:pt x="566" y="37"/>
                    </a:lnTo>
                    <a:lnTo>
                      <a:pt x="561" y="35"/>
                    </a:lnTo>
                    <a:lnTo>
                      <a:pt x="558" y="32"/>
                    </a:lnTo>
                    <a:lnTo>
                      <a:pt x="552" y="30"/>
                    </a:lnTo>
                    <a:lnTo>
                      <a:pt x="543" y="27"/>
                    </a:lnTo>
                    <a:lnTo>
                      <a:pt x="531" y="23"/>
                    </a:lnTo>
                    <a:lnTo>
                      <a:pt x="520" y="20"/>
                    </a:lnTo>
                    <a:lnTo>
                      <a:pt x="508" y="16"/>
                    </a:lnTo>
                    <a:lnTo>
                      <a:pt x="495" y="13"/>
                    </a:lnTo>
                    <a:lnTo>
                      <a:pt x="482" y="12"/>
                    </a:lnTo>
                    <a:lnTo>
                      <a:pt x="468" y="9"/>
                    </a:lnTo>
                    <a:lnTo>
                      <a:pt x="453" y="7"/>
                    </a:lnTo>
                    <a:lnTo>
                      <a:pt x="438" y="5"/>
                    </a:lnTo>
                    <a:lnTo>
                      <a:pt x="423" y="4"/>
                    </a:lnTo>
                    <a:lnTo>
                      <a:pt x="408" y="2"/>
                    </a:lnTo>
                    <a:lnTo>
                      <a:pt x="391" y="1"/>
                    </a:lnTo>
                    <a:lnTo>
                      <a:pt x="373" y="1"/>
                    </a:lnTo>
                    <a:lnTo>
                      <a:pt x="356" y="0"/>
                    </a:lnTo>
                    <a:lnTo>
                      <a:pt x="339" y="0"/>
                    </a:lnTo>
                    <a:lnTo>
                      <a:pt x="321" y="0"/>
                    </a:lnTo>
                    <a:lnTo>
                      <a:pt x="285" y="0"/>
                    </a:lnTo>
                    <a:lnTo>
                      <a:pt x="245" y="1"/>
                    </a:lnTo>
                    <a:lnTo>
                      <a:pt x="206" y="4"/>
                    </a:lnTo>
                    <a:lnTo>
                      <a:pt x="166" y="5"/>
                    </a:lnTo>
                    <a:lnTo>
                      <a:pt x="125" y="7"/>
                    </a:lnTo>
                    <a:lnTo>
                      <a:pt x="84" y="10"/>
                    </a:lnTo>
                    <a:lnTo>
                      <a:pt x="0" y="15"/>
                    </a:lnTo>
                  </a:path>
                </a:pathLst>
              </a:custGeom>
              <a:noFill/>
              <a:ln w="44450">
                <a:no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86" name="Freeform 205">
                <a:extLst>
                  <a:ext uri="{FF2B5EF4-FFF2-40B4-BE49-F238E27FC236}">
                    <a16:creationId xmlns:a16="http://schemas.microsoft.com/office/drawing/2014/main" id="{2DFD70D9-DE34-4453-9CAC-2DA1B41F8C12}"/>
                  </a:ext>
                </a:extLst>
              </p:cNvPr>
              <p:cNvSpPr>
                <a:spLocks/>
              </p:cNvSpPr>
              <p:nvPr/>
            </p:nvSpPr>
            <p:spPr bwMode="auto">
              <a:xfrm>
                <a:off x="2454" y="2302"/>
                <a:ext cx="327" cy="348"/>
              </a:xfrm>
              <a:custGeom>
                <a:avLst/>
                <a:gdLst>
                  <a:gd name="T0" fmla="*/ 327 w 327"/>
                  <a:gd name="T1" fmla="*/ 0 h 348"/>
                  <a:gd name="T2" fmla="*/ 98 w 327"/>
                  <a:gd name="T3" fmla="*/ 0 h 348"/>
                  <a:gd name="T4" fmla="*/ 70 w 327"/>
                  <a:gd name="T5" fmla="*/ 0 h 348"/>
                  <a:gd name="T6" fmla="*/ 46 w 327"/>
                  <a:gd name="T7" fmla="*/ 6 h 348"/>
                  <a:gd name="T8" fmla="*/ 31 w 327"/>
                  <a:gd name="T9" fmla="*/ 11 h 348"/>
                  <a:gd name="T10" fmla="*/ 18 w 327"/>
                  <a:gd name="T11" fmla="*/ 24 h 348"/>
                  <a:gd name="T12" fmla="*/ 9 w 327"/>
                  <a:gd name="T13" fmla="*/ 39 h 348"/>
                  <a:gd name="T14" fmla="*/ 7 w 327"/>
                  <a:gd name="T15" fmla="*/ 63 h 348"/>
                  <a:gd name="T16" fmla="*/ 0 w 327"/>
                  <a:gd name="T17" fmla="*/ 98 h 348"/>
                  <a:gd name="T18" fmla="*/ 0 w 327"/>
                  <a:gd name="T19" fmla="*/ 137 h 348"/>
                  <a:gd name="T20" fmla="*/ 0 w 327"/>
                  <a:gd name="T21" fmla="*/ 348 h 348"/>
                  <a:gd name="T22" fmla="*/ 327 w 327"/>
                  <a:gd name="T23" fmla="*/ 348 h 348"/>
                  <a:gd name="T24" fmla="*/ 327 w 327"/>
                  <a:gd name="T25" fmla="*/ 0 h 348"/>
                  <a:gd name="T26" fmla="*/ 327 w 327"/>
                  <a:gd name="T27" fmla="*/ 0 h 3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27"/>
                  <a:gd name="T43" fmla="*/ 0 h 348"/>
                  <a:gd name="T44" fmla="*/ 327 w 327"/>
                  <a:gd name="T45" fmla="*/ 348 h 3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27" h="348">
                    <a:moveTo>
                      <a:pt x="327" y="0"/>
                    </a:moveTo>
                    <a:lnTo>
                      <a:pt x="98" y="0"/>
                    </a:lnTo>
                    <a:lnTo>
                      <a:pt x="70" y="0"/>
                    </a:lnTo>
                    <a:lnTo>
                      <a:pt x="46" y="6"/>
                    </a:lnTo>
                    <a:lnTo>
                      <a:pt x="31" y="11"/>
                    </a:lnTo>
                    <a:lnTo>
                      <a:pt x="18" y="24"/>
                    </a:lnTo>
                    <a:lnTo>
                      <a:pt x="9" y="39"/>
                    </a:lnTo>
                    <a:lnTo>
                      <a:pt x="7" y="63"/>
                    </a:lnTo>
                    <a:lnTo>
                      <a:pt x="0" y="98"/>
                    </a:lnTo>
                    <a:lnTo>
                      <a:pt x="0" y="137"/>
                    </a:lnTo>
                    <a:lnTo>
                      <a:pt x="0" y="348"/>
                    </a:lnTo>
                    <a:lnTo>
                      <a:pt x="327" y="348"/>
                    </a:lnTo>
                    <a:lnTo>
                      <a:pt x="327" y="0"/>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87" name="Freeform 206">
                <a:extLst>
                  <a:ext uri="{FF2B5EF4-FFF2-40B4-BE49-F238E27FC236}">
                    <a16:creationId xmlns:a16="http://schemas.microsoft.com/office/drawing/2014/main" id="{5957B23E-2025-425A-B44D-0305526F1549}"/>
                  </a:ext>
                </a:extLst>
              </p:cNvPr>
              <p:cNvSpPr>
                <a:spLocks/>
              </p:cNvSpPr>
              <p:nvPr/>
            </p:nvSpPr>
            <p:spPr bwMode="auto">
              <a:xfrm>
                <a:off x="2455" y="2677"/>
                <a:ext cx="536" cy="533"/>
              </a:xfrm>
              <a:custGeom>
                <a:avLst/>
                <a:gdLst>
                  <a:gd name="T0" fmla="*/ 0 w 536"/>
                  <a:gd name="T1" fmla="*/ 0 h 533"/>
                  <a:gd name="T2" fmla="*/ 0 w 536"/>
                  <a:gd name="T3" fmla="*/ 333 h 533"/>
                  <a:gd name="T4" fmla="*/ 0 w 536"/>
                  <a:gd name="T5" fmla="*/ 353 h 533"/>
                  <a:gd name="T6" fmla="*/ 7 w 536"/>
                  <a:gd name="T7" fmla="*/ 374 h 533"/>
                  <a:gd name="T8" fmla="*/ 11 w 536"/>
                  <a:gd name="T9" fmla="*/ 392 h 533"/>
                  <a:gd name="T10" fmla="*/ 21 w 536"/>
                  <a:gd name="T11" fmla="*/ 411 h 533"/>
                  <a:gd name="T12" fmla="*/ 30 w 536"/>
                  <a:gd name="T13" fmla="*/ 426 h 533"/>
                  <a:gd name="T14" fmla="*/ 44 w 536"/>
                  <a:gd name="T15" fmla="*/ 442 h 533"/>
                  <a:gd name="T16" fmla="*/ 60 w 536"/>
                  <a:gd name="T17" fmla="*/ 459 h 533"/>
                  <a:gd name="T18" fmla="*/ 80 w 536"/>
                  <a:gd name="T19" fmla="*/ 475 h 533"/>
                  <a:gd name="T20" fmla="*/ 100 w 536"/>
                  <a:gd name="T21" fmla="*/ 487 h 533"/>
                  <a:gd name="T22" fmla="*/ 120 w 536"/>
                  <a:gd name="T23" fmla="*/ 499 h 533"/>
                  <a:gd name="T24" fmla="*/ 143 w 536"/>
                  <a:gd name="T25" fmla="*/ 509 h 533"/>
                  <a:gd name="T26" fmla="*/ 167 w 536"/>
                  <a:gd name="T27" fmla="*/ 518 h 533"/>
                  <a:gd name="T28" fmla="*/ 190 w 536"/>
                  <a:gd name="T29" fmla="*/ 523 h 533"/>
                  <a:gd name="T30" fmla="*/ 213 w 536"/>
                  <a:gd name="T31" fmla="*/ 527 h 533"/>
                  <a:gd name="T32" fmla="*/ 240 w 536"/>
                  <a:gd name="T33" fmla="*/ 529 h 533"/>
                  <a:gd name="T34" fmla="*/ 270 w 536"/>
                  <a:gd name="T35" fmla="*/ 533 h 533"/>
                  <a:gd name="T36" fmla="*/ 296 w 536"/>
                  <a:gd name="T37" fmla="*/ 529 h 533"/>
                  <a:gd name="T38" fmla="*/ 323 w 536"/>
                  <a:gd name="T39" fmla="*/ 527 h 533"/>
                  <a:gd name="T40" fmla="*/ 346 w 536"/>
                  <a:gd name="T41" fmla="*/ 523 h 533"/>
                  <a:gd name="T42" fmla="*/ 373 w 536"/>
                  <a:gd name="T43" fmla="*/ 518 h 533"/>
                  <a:gd name="T44" fmla="*/ 396 w 536"/>
                  <a:gd name="T45" fmla="*/ 509 h 533"/>
                  <a:gd name="T46" fmla="*/ 416 w 536"/>
                  <a:gd name="T47" fmla="*/ 499 h 533"/>
                  <a:gd name="T48" fmla="*/ 439 w 536"/>
                  <a:gd name="T49" fmla="*/ 487 h 533"/>
                  <a:gd name="T50" fmla="*/ 460 w 536"/>
                  <a:gd name="T51" fmla="*/ 475 h 533"/>
                  <a:gd name="T52" fmla="*/ 476 w 536"/>
                  <a:gd name="T53" fmla="*/ 459 h 533"/>
                  <a:gd name="T54" fmla="*/ 492 w 536"/>
                  <a:gd name="T55" fmla="*/ 444 h 533"/>
                  <a:gd name="T56" fmla="*/ 506 w 536"/>
                  <a:gd name="T57" fmla="*/ 426 h 533"/>
                  <a:gd name="T58" fmla="*/ 515 w 536"/>
                  <a:gd name="T59" fmla="*/ 411 h 533"/>
                  <a:gd name="T60" fmla="*/ 525 w 536"/>
                  <a:gd name="T61" fmla="*/ 392 h 533"/>
                  <a:gd name="T62" fmla="*/ 532 w 536"/>
                  <a:gd name="T63" fmla="*/ 374 h 533"/>
                  <a:gd name="T64" fmla="*/ 536 w 536"/>
                  <a:gd name="T65" fmla="*/ 353 h 533"/>
                  <a:gd name="T66" fmla="*/ 536 w 536"/>
                  <a:gd name="T67" fmla="*/ 333 h 533"/>
                  <a:gd name="T68" fmla="*/ 536 w 536"/>
                  <a:gd name="T69" fmla="*/ 0 h 533"/>
                  <a:gd name="T70" fmla="*/ 0 w 536"/>
                  <a:gd name="T71" fmla="*/ 0 h 533"/>
                  <a:gd name="T72" fmla="*/ 0 w 536"/>
                  <a:gd name="T73" fmla="*/ 0 h 53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536"/>
                  <a:gd name="T112" fmla="*/ 0 h 533"/>
                  <a:gd name="T113" fmla="*/ 536 w 536"/>
                  <a:gd name="T114" fmla="*/ 533 h 533"/>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536" h="533">
                    <a:moveTo>
                      <a:pt x="0" y="0"/>
                    </a:moveTo>
                    <a:lnTo>
                      <a:pt x="0" y="333"/>
                    </a:lnTo>
                    <a:lnTo>
                      <a:pt x="0" y="353"/>
                    </a:lnTo>
                    <a:lnTo>
                      <a:pt x="7" y="374"/>
                    </a:lnTo>
                    <a:lnTo>
                      <a:pt x="11" y="392"/>
                    </a:lnTo>
                    <a:lnTo>
                      <a:pt x="21" y="411"/>
                    </a:lnTo>
                    <a:lnTo>
                      <a:pt x="30" y="426"/>
                    </a:lnTo>
                    <a:lnTo>
                      <a:pt x="44" y="442"/>
                    </a:lnTo>
                    <a:lnTo>
                      <a:pt x="60" y="459"/>
                    </a:lnTo>
                    <a:lnTo>
                      <a:pt x="80" y="475"/>
                    </a:lnTo>
                    <a:lnTo>
                      <a:pt x="100" y="487"/>
                    </a:lnTo>
                    <a:lnTo>
                      <a:pt x="120" y="499"/>
                    </a:lnTo>
                    <a:lnTo>
                      <a:pt x="143" y="509"/>
                    </a:lnTo>
                    <a:lnTo>
                      <a:pt x="167" y="518"/>
                    </a:lnTo>
                    <a:lnTo>
                      <a:pt x="190" y="523"/>
                    </a:lnTo>
                    <a:lnTo>
                      <a:pt x="213" y="527"/>
                    </a:lnTo>
                    <a:lnTo>
                      <a:pt x="240" y="529"/>
                    </a:lnTo>
                    <a:lnTo>
                      <a:pt x="270" y="533"/>
                    </a:lnTo>
                    <a:lnTo>
                      <a:pt x="296" y="529"/>
                    </a:lnTo>
                    <a:lnTo>
                      <a:pt x="323" y="527"/>
                    </a:lnTo>
                    <a:lnTo>
                      <a:pt x="346" y="523"/>
                    </a:lnTo>
                    <a:lnTo>
                      <a:pt x="373" y="518"/>
                    </a:lnTo>
                    <a:lnTo>
                      <a:pt x="396" y="509"/>
                    </a:lnTo>
                    <a:lnTo>
                      <a:pt x="416" y="499"/>
                    </a:lnTo>
                    <a:lnTo>
                      <a:pt x="439" y="487"/>
                    </a:lnTo>
                    <a:lnTo>
                      <a:pt x="460" y="475"/>
                    </a:lnTo>
                    <a:lnTo>
                      <a:pt x="476" y="459"/>
                    </a:lnTo>
                    <a:lnTo>
                      <a:pt x="492" y="444"/>
                    </a:lnTo>
                    <a:lnTo>
                      <a:pt x="506" y="426"/>
                    </a:lnTo>
                    <a:lnTo>
                      <a:pt x="515" y="411"/>
                    </a:lnTo>
                    <a:lnTo>
                      <a:pt x="525" y="392"/>
                    </a:lnTo>
                    <a:lnTo>
                      <a:pt x="532" y="374"/>
                    </a:lnTo>
                    <a:lnTo>
                      <a:pt x="536" y="353"/>
                    </a:lnTo>
                    <a:lnTo>
                      <a:pt x="536" y="333"/>
                    </a:lnTo>
                    <a:lnTo>
                      <a:pt x="536" y="0"/>
                    </a:lnTo>
                    <a:lnTo>
                      <a:pt x="0" y="0"/>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88" name="Freeform 207">
                <a:extLst>
                  <a:ext uri="{FF2B5EF4-FFF2-40B4-BE49-F238E27FC236}">
                    <a16:creationId xmlns:a16="http://schemas.microsoft.com/office/drawing/2014/main" id="{0FD0E3F4-64C3-42A7-A5E2-AAC0FF2D070F}"/>
                  </a:ext>
                </a:extLst>
              </p:cNvPr>
              <p:cNvSpPr>
                <a:spLocks/>
              </p:cNvSpPr>
              <p:nvPr/>
            </p:nvSpPr>
            <p:spPr bwMode="auto">
              <a:xfrm>
                <a:off x="2800" y="2302"/>
                <a:ext cx="186" cy="348"/>
              </a:xfrm>
              <a:custGeom>
                <a:avLst/>
                <a:gdLst>
                  <a:gd name="T0" fmla="*/ 0 w 186"/>
                  <a:gd name="T1" fmla="*/ 0 h 348"/>
                  <a:gd name="T2" fmla="*/ 0 w 186"/>
                  <a:gd name="T3" fmla="*/ 348 h 348"/>
                  <a:gd name="T4" fmla="*/ 186 w 186"/>
                  <a:gd name="T5" fmla="*/ 348 h 348"/>
                  <a:gd name="T6" fmla="*/ 186 w 186"/>
                  <a:gd name="T7" fmla="*/ 137 h 348"/>
                  <a:gd name="T8" fmla="*/ 186 w 186"/>
                  <a:gd name="T9" fmla="*/ 94 h 348"/>
                  <a:gd name="T10" fmla="*/ 183 w 186"/>
                  <a:gd name="T11" fmla="*/ 61 h 348"/>
                  <a:gd name="T12" fmla="*/ 177 w 186"/>
                  <a:gd name="T13" fmla="*/ 36 h 348"/>
                  <a:gd name="T14" fmla="*/ 170 w 186"/>
                  <a:gd name="T15" fmla="*/ 21 h 348"/>
                  <a:gd name="T16" fmla="*/ 162 w 186"/>
                  <a:gd name="T17" fmla="*/ 11 h 348"/>
                  <a:gd name="T18" fmla="*/ 146 w 186"/>
                  <a:gd name="T19" fmla="*/ 3 h 348"/>
                  <a:gd name="T20" fmla="*/ 125 w 186"/>
                  <a:gd name="T21" fmla="*/ 0 h 348"/>
                  <a:gd name="T22" fmla="*/ 101 w 186"/>
                  <a:gd name="T23" fmla="*/ 0 h 348"/>
                  <a:gd name="T24" fmla="*/ 0 w 186"/>
                  <a:gd name="T25" fmla="*/ 0 h 348"/>
                  <a:gd name="T26" fmla="*/ 0 w 186"/>
                  <a:gd name="T27" fmla="*/ 0 h 34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86"/>
                  <a:gd name="T43" fmla="*/ 0 h 348"/>
                  <a:gd name="T44" fmla="*/ 186 w 186"/>
                  <a:gd name="T45" fmla="*/ 348 h 34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86" h="348">
                    <a:moveTo>
                      <a:pt x="0" y="0"/>
                    </a:moveTo>
                    <a:lnTo>
                      <a:pt x="0" y="348"/>
                    </a:lnTo>
                    <a:lnTo>
                      <a:pt x="186" y="348"/>
                    </a:lnTo>
                    <a:lnTo>
                      <a:pt x="186" y="137"/>
                    </a:lnTo>
                    <a:lnTo>
                      <a:pt x="186" y="94"/>
                    </a:lnTo>
                    <a:lnTo>
                      <a:pt x="183" y="61"/>
                    </a:lnTo>
                    <a:lnTo>
                      <a:pt x="177" y="36"/>
                    </a:lnTo>
                    <a:lnTo>
                      <a:pt x="170" y="21"/>
                    </a:lnTo>
                    <a:lnTo>
                      <a:pt x="162" y="11"/>
                    </a:lnTo>
                    <a:lnTo>
                      <a:pt x="146" y="3"/>
                    </a:lnTo>
                    <a:lnTo>
                      <a:pt x="125" y="0"/>
                    </a:lnTo>
                    <a:lnTo>
                      <a:pt x="101" y="0"/>
                    </a:lnTo>
                    <a:lnTo>
                      <a:pt x="0" y="0"/>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89" name="Freeform 208">
                <a:extLst>
                  <a:ext uri="{FF2B5EF4-FFF2-40B4-BE49-F238E27FC236}">
                    <a16:creationId xmlns:a16="http://schemas.microsoft.com/office/drawing/2014/main" id="{0A5311B9-09D5-4C73-8119-54C827893E1F}"/>
                  </a:ext>
                </a:extLst>
              </p:cNvPr>
              <p:cNvSpPr>
                <a:spLocks/>
              </p:cNvSpPr>
              <p:nvPr/>
            </p:nvSpPr>
            <p:spPr bwMode="auto">
              <a:xfrm>
                <a:off x="2733" y="2338"/>
                <a:ext cx="106" cy="244"/>
              </a:xfrm>
              <a:custGeom>
                <a:avLst/>
                <a:gdLst>
                  <a:gd name="T0" fmla="*/ 106 w 106"/>
                  <a:gd name="T1" fmla="*/ 49 h 244"/>
                  <a:gd name="T2" fmla="*/ 106 w 106"/>
                  <a:gd name="T3" fmla="*/ 49 h 244"/>
                  <a:gd name="T4" fmla="*/ 106 w 106"/>
                  <a:gd name="T5" fmla="*/ 40 h 244"/>
                  <a:gd name="T6" fmla="*/ 103 w 106"/>
                  <a:gd name="T7" fmla="*/ 31 h 244"/>
                  <a:gd name="T8" fmla="*/ 98 w 106"/>
                  <a:gd name="T9" fmla="*/ 21 h 244"/>
                  <a:gd name="T10" fmla="*/ 91 w 106"/>
                  <a:gd name="T11" fmla="*/ 15 h 244"/>
                  <a:gd name="T12" fmla="*/ 81 w 106"/>
                  <a:gd name="T13" fmla="*/ 9 h 244"/>
                  <a:gd name="T14" fmla="*/ 72 w 106"/>
                  <a:gd name="T15" fmla="*/ 3 h 244"/>
                  <a:gd name="T16" fmla="*/ 63 w 106"/>
                  <a:gd name="T17" fmla="*/ 0 h 244"/>
                  <a:gd name="T18" fmla="*/ 54 w 106"/>
                  <a:gd name="T19" fmla="*/ 0 h 244"/>
                  <a:gd name="T20" fmla="*/ 42 w 106"/>
                  <a:gd name="T21" fmla="*/ 0 h 244"/>
                  <a:gd name="T22" fmla="*/ 33 w 106"/>
                  <a:gd name="T23" fmla="*/ 3 h 244"/>
                  <a:gd name="T24" fmla="*/ 24 w 106"/>
                  <a:gd name="T25" fmla="*/ 9 h 244"/>
                  <a:gd name="T26" fmla="*/ 15 w 106"/>
                  <a:gd name="T27" fmla="*/ 15 h 244"/>
                  <a:gd name="T28" fmla="*/ 8 w 106"/>
                  <a:gd name="T29" fmla="*/ 21 h 244"/>
                  <a:gd name="T30" fmla="*/ 2 w 106"/>
                  <a:gd name="T31" fmla="*/ 31 h 244"/>
                  <a:gd name="T32" fmla="*/ 0 w 106"/>
                  <a:gd name="T33" fmla="*/ 40 h 244"/>
                  <a:gd name="T34" fmla="*/ 0 w 106"/>
                  <a:gd name="T35" fmla="*/ 49 h 244"/>
                  <a:gd name="T36" fmla="*/ 0 w 106"/>
                  <a:gd name="T37" fmla="*/ 195 h 244"/>
                  <a:gd name="T38" fmla="*/ 0 w 106"/>
                  <a:gd name="T39" fmla="*/ 205 h 244"/>
                  <a:gd name="T40" fmla="*/ 2 w 106"/>
                  <a:gd name="T41" fmla="*/ 214 h 244"/>
                  <a:gd name="T42" fmla="*/ 8 w 106"/>
                  <a:gd name="T43" fmla="*/ 223 h 244"/>
                  <a:gd name="T44" fmla="*/ 15 w 106"/>
                  <a:gd name="T45" fmla="*/ 229 h 244"/>
                  <a:gd name="T46" fmla="*/ 24 w 106"/>
                  <a:gd name="T47" fmla="*/ 236 h 244"/>
                  <a:gd name="T48" fmla="*/ 33 w 106"/>
                  <a:gd name="T49" fmla="*/ 242 h 244"/>
                  <a:gd name="T50" fmla="*/ 42 w 106"/>
                  <a:gd name="T51" fmla="*/ 244 h 244"/>
                  <a:gd name="T52" fmla="*/ 54 w 106"/>
                  <a:gd name="T53" fmla="*/ 244 h 244"/>
                  <a:gd name="T54" fmla="*/ 63 w 106"/>
                  <a:gd name="T55" fmla="*/ 244 h 244"/>
                  <a:gd name="T56" fmla="*/ 72 w 106"/>
                  <a:gd name="T57" fmla="*/ 242 h 244"/>
                  <a:gd name="T58" fmla="*/ 81 w 106"/>
                  <a:gd name="T59" fmla="*/ 236 h 244"/>
                  <a:gd name="T60" fmla="*/ 91 w 106"/>
                  <a:gd name="T61" fmla="*/ 229 h 244"/>
                  <a:gd name="T62" fmla="*/ 98 w 106"/>
                  <a:gd name="T63" fmla="*/ 223 h 244"/>
                  <a:gd name="T64" fmla="*/ 103 w 106"/>
                  <a:gd name="T65" fmla="*/ 214 h 244"/>
                  <a:gd name="T66" fmla="*/ 106 w 106"/>
                  <a:gd name="T67" fmla="*/ 205 h 244"/>
                  <a:gd name="T68" fmla="*/ 106 w 106"/>
                  <a:gd name="T69" fmla="*/ 195 h 244"/>
                  <a:gd name="T70" fmla="*/ 106 w 106"/>
                  <a:gd name="T71" fmla="*/ 49 h 244"/>
                  <a:gd name="T72" fmla="*/ 106 w 106"/>
                  <a:gd name="T73" fmla="*/ 49 h 244"/>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06"/>
                  <a:gd name="T112" fmla="*/ 0 h 244"/>
                  <a:gd name="T113" fmla="*/ 106 w 106"/>
                  <a:gd name="T114" fmla="*/ 244 h 244"/>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06" h="244">
                    <a:moveTo>
                      <a:pt x="106" y="49"/>
                    </a:moveTo>
                    <a:lnTo>
                      <a:pt x="106" y="49"/>
                    </a:lnTo>
                    <a:lnTo>
                      <a:pt x="106" y="40"/>
                    </a:lnTo>
                    <a:lnTo>
                      <a:pt x="103" y="31"/>
                    </a:lnTo>
                    <a:lnTo>
                      <a:pt x="98" y="21"/>
                    </a:lnTo>
                    <a:lnTo>
                      <a:pt x="91" y="15"/>
                    </a:lnTo>
                    <a:lnTo>
                      <a:pt x="81" y="9"/>
                    </a:lnTo>
                    <a:lnTo>
                      <a:pt x="72" y="3"/>
                    </a:lnTo>
                    <a:lnTo>
                      <a:pt x="63" y="0"/>
                    </a:lnTo>
                    <a:lnTo>
                      <a:pt x="54" y="0"/>
                    </a:lnTo>
                    <a:lnTo>
                      <a:pt x="42" y="0"/>
                    </a:lnTo>
                    <a:lnTo>
                      <a:pt x="33" y="3"/>
                    </a:lnTo>
                    <a:lnTo>
                      <a:pt x="24" y="9"/>
                    </a:lnTo>
                    <a:lnTo>
                      <a:pt x="15" y="15"/>
                    </a:lnTo>
                    <a:lnTo>
                      <a:pt x="8" y="21"/>
                    </a:lnTo>
                    <a:lnTo>
                      <a:pt x="2" y="31"/>
                    </a:lnTo>
                    <a:lnTo>
                      <a:pt x="0" y="40"/>
                    </a:lnTo>
                    <a:lnTo>
                      <a:pt x="0" y="49"/>
                    </a:lnTo>
                    <a:lnTo>
                      <a:pt x="0" y="195"/>
                    </a:lnTo>
                    <a:lnTo>
                      <a:pt x="0" y="205"/>
                    </a:lnTo>
                    <a:lnTo>
                      <a:pt x="2" y="214"/>
                    </a:lnTo>
                    <a:lnTo>
                      <a:pt x="8" y="223"/>
                    </a:lnTo>
                    <a:lnTo>
                      <a:pt x="15" y="229"/>
                    </a:lnTo>
                    <a:lnTo>
                      <a:pt x="24" y="236"/>
                    </a:lnTo>
                    <a:lnTo>
                      <a:pt x="33" y="242"/>
                    </a:lnTo>
                    <a:lnTo>
                      <a:pt x="42" y="244"/>
                    </a:lnTo>
                    <a:lnTo>
                      <a:pt x="54" y="244"/>
                    </a:lnTo>
                    <a:lnTo>
                      <a:pt x="63" y="244"/>
                    </a:lnTo>
                    <a:lnTo>
                      <a:pt x="72" y="242"/>
                    </a:lnTo>
                    <a:lnTo>
                      <a:pt x="81" y="236"/>
                    </a:lnTo>
                    <a:lnTo>
                      <a:pt x="91" y="229"/>
                    </a:lnTo>
                    <a:lnTo>
                      <a:pt x="98" y="223"/>
                    </a:lnTo>
                    <a:lnTo>
                      <a:pt x="103" y="214"/>
                    </a:lnTo>
                    <a:lnTo>
                      <a:pt x="106" y="205"/>
                    </a:lnTo>
                    <a:lnTo>
                      <a:pt x="106" y="195"/>
                    </a:lnTo>
                    <a:lnTo>
                      <a:pt x="106" y="49"/>
                    </a:lnTo>
                    <a:close/>
                  </a:path>
                </a:pathLst>
              </a:custGeom>
              <a:solidFill>
                <a:sysClr val="window" lastClr="FFFFFF"/>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190" name="Freeform 209">
                <a:extLst>
                  <a:ext uri="{FF2B5EF4-FFF2-40B4-BE49-F238E27FC236}">
                    <a16:creationId xmlns:a16="http://schemas.microsoft.com/office/drawing/2014/main" id="{FE55C04C-16EA-4C40-997F-CD468CA0FF7C}"/>
                  </a:ext>
                </a:extLst>
              </p:cNvPr>
              <p:cNvSpPr>
                <a:spLocks/>
              </p:cNvSpPr>
              <p:nvPr/>
            </p:nvSpPr>
            <p:spPr bwMode="auto">
              <a:xfrm>
                <a:off x="2151" y="2002"/>
                <a:ext cx="651" cy="300"/>
              </a:xfrm>
              <a:custGeom>
                <a:avLst/>
                <a:gdLst>
                  <a:gd name="T0" fmla="*/ 646 w 651"/>
                  <a:gd name="T1" fmla="*/ 261 h 300"/>
                  <a:gd name="T2" fmla="*/ 647 w 651"/>
                  <a:gd name="T3" fmla="*/ 241 h 300"/>
                  <a:gd name="T4" fmla="*/ 650 w 651"/>
                  <a:gd name="T5" fmla="*/ 222 h 300"/>
                  <a:gd name="T6" fmla="*/ 651 w 651"/>
                  <a:gd name="T7" fmla="*/ 203 h 300"/>
                  <a:gd name="T8" fmla="*/ 651 w 651"/>
                  <a:gd name="T9" fmla="*/ 183 h 300"/>
                  <a:gd name="T10" fmla="*/ 650 w 651"/>
                  <a:gd name="T11" fmla="*/ 165 h 300"/>
                  <a:gd name="T12" fmla="*/ 649 w 651"/>
                  <a:gd name="T13" fmla="*/ 156 h 300"/>
                  <a:gd name="T14" fmla="*/ 646 w 651"/>
                  <a:gd name="T15" fmla="*/ 139 h 300"/>
                  <a:gd name="T16" fmla="*/ 643 w 651"/>
                  <a:gd name="T17" fmla="*/ 129 h 300"/>
                  <a:gd name="T18" fmla="*/ 638 w 651"/>
                  <a:gd name="T19" fmla="*/ 112 h 300"/>
                  <a:gd name="T20" fmla="*/ 635 w 651"/>
                  <a:gd name="T21" fmla="*/ 104 h 300"/>
                  <a:gd name="T22" fmla="*/ 625 w 651"/>
                  <a:gd name="T23" fmla="*/ 88 h 300"/>
                  <a:gd name="T24" fmla="*/ 621 w 651"/>
                  <a:gd name="T25" fmla="*/ 80 h 300"/>
                  <a:gd name="T26" fmla="*/ 612 w 651"/>
                  <a:gd name="T27" fmla="*/ 69 h 300"/>
                  <a:gd name="T28" fmla="*/ 606 w 651"/>
                  <a:gd name="T29" fmla="*/ 63 h 300"/>
                  <a:gd name="T30" fmla="*/ 601 w 651"/>
                  <a:gd name="T31" fmla="*/ 59 h 300"/>
                  <a:gd name="T32" fmla="*/ 593 w 651"/>
                  <a:gd name="T33" fmla="*/ 52 h 300"/>
                  <a:gd name="T34" fmla="*/ 585 w 651"/>
                  <a:gd name="T35" fmla="*/ 46 h 300"/>
                  <a:gd name="T36" fmla="*/ 577 w 651"/>
                  <a:gd name="T37" fmla="*/ 42 h 300"/>
                  <a:gd name="T38" fmla="*/ 563 w 651"/>
                  <a:gd name="T39" fmla="*/ 35 h 300"/>
                  <a:gd name="T40" fmla="*/ 547 w 651"/>
                  <a:gd name="T41" fmla="*/ 28 h 300"/>
                  <a:gd name="T42" fmla="*/ 524 w 651"/>
                  <a:gd name="T43" fmla="*/ 20 h 300"/>
                  <a:gd name="T44" fmla="*/ 510 w 651"/>
                  <a:gd name="T45" fmla="*/ 16 h 300"/>
                  <a:gd name="T46" fmla="*/ 484 w 651"/>
                  <a:gd name="T47" fmla="*/ 12 h 300"/>
                  <a:gd name="T48" fmla="*/ 455 w 651"/>
                  <a:gd name="T49" fmla="*/ 7 h 300"/>
                  <a:gd name="T50" fmla="*/ 439 w 651"/>
                  <a:gd name="T51" fmla="*/ 5 h 300"/>
                  <a:gd name="T52" fmla="*/ 392 w 651"/>
                  <a:gd name="T53" fmla="*/ 1 h 300"/>
                  <a:gd name="T54" fmla="*/ 357 w 651"/>
                  <a:gd name="T55" fmla="*/ 0 h 300"/>
                  <a:gd name="T56" fmla="*/ 321 w 651"/>
                  <a:gd name="T57" fmla="*/ 0 h 300"/>
                  <a:gd name="T58" fmla="*/ 245 w 651"/>
                  <a:gd name="T59" fmla="*/ 1 h 300"/>
                  <a:gd name="T60" fmla="*/ 165 w 651"/>
                  <a:gd name="T61" fmla="*/ 5 h 300"/>
                  <a:gd name="T62" fmla="*/ 83 w 651"/>
                  <a:gd name="T63" fmla="*/ 11 h 300"/>
                  <a:gd name="T64" fmla="*/ 0 w 651"/>
                  <a:gd name="T65" fmla="*/ 29 h 300"/>
                  <a:gd name="T66" fmla="*/ 126 w 651"/>
                  <a:gd name="T67" fmla="*/ 35 h 300"/>
                  <a:gd name="T68" fmla="*/ 206 w 651"/>
                  <a:gd name="T69" fmla="*/ 31 h 300"/>
                  <a:gd name="T70" fmla="*/ 285 w 651"/>
                  <a:gd name="T71" fmla="*/ 28 h 300"/>
                  <a:gd name="T72" fmla="*/ 339 w 651"/>
                  <a:gd name="T73" fmla="*/ 28 h 300"/>
                  <a:gd name="T74" fmla="*/ 373 w 651"/>
                  <a:gd name="T75" fmla="*/ 29 h 300"/>
                  <a:gd name="T76" fmla="*/ 407 w 651"/>
                  <a:gd name="T77" fmla="*/ 30 h 300"/>
                  <a:gd name="T78" fmla="*/ 452 w 651"/>
                  <a:gd name="T79" fmla="*/ 35 h 300"/>
                  <a:gd name="T80" fmla="*/ 479 w 651"/>
                  <a:gd name="T81" fmla="*/ 38 h 300"/>
                  <a:gd name="T82" fmla="*/ 505 w 651"/>
                  <a:gd name="T83" fmla="*/ 44 h 300"/>
                  <a:gd name="T84" fmla="*/ 528 w 651"/>
                  <a:gd name="T85" fmla="*/ 50 h 300"/>
                  <a:gd name="T86" fmla="*/ 552 w 651"/>
                  <a:gd name="T87" fmla="*/ 59 h 300"/>
                  <a:gd name="T88" fmla="*/ 564 w 651"/>
                  <a:gd name="T89" fmla="*/ 66 h 300"/>
                  <a:gd name="T90" fmla="*/ 567 w 651"/>
                  <a:gd name="T91" fmla="*/ 68 h 300"/>
                  <a:gd name="T92" fmla="*/ 578 w 651"/>
                  <a:gd name="T93" fmla="*/ 75 h 300"/>
                  <a:gd name="T94" fmla="*/ 583 w 651"/>
                  <a:gd name="T95" fmla="*/ 79 h 300"/>
                  <a:gd name="T96" fmla="*/ 589 w 651"/>
                  <a:gd name="T97" fmla="*/ 86 h 300"/>
                  <a:gd name="T98" fmla="*/ 593 w 651"/>
                  <a:gd name="T99" fmla="*/ 90 h 300"/>
                  <a:gd name="T100" fmla="*/ 602 w 651"/>
                  <a:gd name="T101" fmla="*/ 103 h 300"/>
                  <a:gd name="T102" fmla="*/ 609 w 651"/>
                  <a:gd name="T103" fmla="*/ 116 h 300"/>
                  <a:gd name="T104" fmla="*/ 614 w 651"/>
                  <a:gd name="T105" fmla="*/ 128 h 300"/>
                  <a:gd name="T106" fmla="*/ 619 w 651"/>
                  <a:gd name="T107" fmla="*/ 143 h 300"/>
                  <a:gd name="T108" fmla="*/ 621 w 651"/>
                  <a:gd name="T109" fmla="*/ 159 h 300"/>
                  <a:gd name="T110" fmla="*/ 623 w 651"/>
                  <a:gd name="T111" fmla="*/ 175 h 300"/>
                  <a:gd name="T112" fmla="*/ 623 w 651"/>
                  <a:gd name="T113" fmla="*/ 201 h 300"/>
                  <a:gd name="T114" fmla="*/ 622 w 651"/>
                  <a:gd name="T115" fmla="*/ 219 h 300"/>
                  <a:gd name="T116" fmla="*/ 620 w 651"/>
                  <a:gd name="T117" fmla="*/ 238 h 300"/>
                  <a:gd name="T118" fmla="*/ 616 w 651"/>
                  <a:gd name="T119" fmla="*/ 277 h 300"/>
                  <a:gd name="T120" fmla="*/ 640 w 651"/>
                  <a:gd name="T121" fmla="*/ 300 h 3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51"/>
                  <a:gd name="T184" fmla="*/ 0 h 300"/>
                  <a:gd name="T185" fmla="*/ 651 w 651"/>
                  <a:gd name="T186" fmla="*/ 300 h 30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51" h="300">
                    <a:moveTo>
                      <a:pt x="640" y="300"/>
                    </a:moveTo>
                    <a:lnTo>
                      <a:pt x="643" y="280"/>
                    </a:lnTo>
                    <a:lnTo>
                      <a:pt x="646" y="261"/>
                    </a:lnTo>
                    <a:lnTo>
                      <a:pt x="647" y="241"/>
                    </a:lnTo>
                    <a:lnTo>
                      <a:pt x="649" y="232"/>
                    </a:lnTo>
                    <a:lnTo>
                      <a:pt x="649" y="231"/>
                    </a:lnTo>
                    <a:lnTo>
                      <a:pt x="650" y="222"/>
                    </a:lnTo>
                    <a:lnTo>
                      <a:pt x="650" y="212"/>
                    </a:lnTo>
                    <a:lnTo>
                      <a:pt x="651" y="203"/>
                    </a:lnTo>
                    <a:lnTo>
                      <a:pt x="651" y="202"/>
                    </a:lnTo>
                    <a:lnTo>
                      <a:pt x="651" y="193"/>
                    </a:lnTo>
                    <a:lnTo>
                      <a:pt x="651" y="183"/>
                    </a:lnTo>
                    <a:lnTo>
                      <a:pt x="651" y="175"/>
                    </a:lnTo>
                    <a:lnTo>
                      <a:pt x="651" y="174"/>
                    </a:lnTo>
                    <a:lnTo>
                      <a:pt x="650" y="165"/>
                    </a:lnTo>
                    <a:lnTo>
                      <a:pt x="650" y="164"/>
                    </a:lnTo>
                    <a:lnTo>
                      <a:pt x="649" y="156"/>
                    </a:lnTo>
                    <a:lnTo>
                      <a:pt x="647" y="148"/>
                    </a:lnTo>
                    <a:lnTo>
                      <a:pt x="647" y="147"/>
                    </a:lnTo>
                    <a:lnTo>
                      <a:pt x="646" y="139"/>
                    </a:lnTo>
                    <a:lnTo>
                      <a:pt x="646" y="137"/>
                    </a:lnTo>
                    <a:lnTo>
                      <a:pt x="645" y="137"/>
                    </a:lnTo>
                    <a:lnTo>
                      <a:pt x="643" y="129"/>
                    </a:lnTo>
                    <a:lnTo>
                      <a:pt x="642" y="121"/>
                    </a:lnTo>
                    <a:lnTo>
                      <a:pt x="640" y="120"/>
                    </a:lnTo>
                    <a:lnTo>
                      <a:pt x="638" y="112"/>
                    </a:lnTo>
                    <a:lnTo>
                      <a:pt x="635" y="104"/>
                    </a:lnTo>
                    <a:lnTo>
                      <a:pt x="631" y="96"/>
                    </a:lnTo>
                    <a:lnTo>
                      <a:pt x="630" y="95"/>
                    </a:lnTo>
                    <a:lnTo>
                      <a:pt x="625" y="88"/>
                    </a:lnTo>
                    <a:lnTo>
                      <a:pt x="621" y="81"/>
                    </a:lnTo>
                    <a:lnTo>
                      <a:pt x="621" y="80"/>
                    </a:lnTo>
                    <a:lnTo>
                      <a:pt x="615" y="73"/>
                    </a:lnTo>
                    <a:lnTo>
                      <a:pt x="614" y="72"/>
                    </a:lnTo>
                    <a:lnTo>
                      <a:pt x="612" y="69"/>
                    </a:lnTo>
                    <a:lnTo>
                      <a:pt x="608" y="66"/>
                    </a:lnTo>
                    <a:lnTo>
                      <a:pt x="606" y="63"/>
                    </a:lnTo>
                    <a:lnTo>
                      <a:pt x="602" y="59"/>
                    </a:lnTo>
                    <a:lnTo>
                      <a:pt x="601" y="59"/>
                    </a:lnTo>
                    <a:lnTo>
                      <a:pt x="598" y="56"/>
                    </a:lnTo>
                    <a:lnTo>
                      <a:pt x="594" y="53"/>
                    </a:lnTo>
                    <a:lnTo>
                      <a:pt x="593" y="52"/>
                    </a:lnTo>
                    <a:lnTo>
                      <a:pt x="590" y="50"/>
                    </a:lnTo>
                    <a:lnTo>
                      <a:pt x="586" y="48"/>
                    </a:lnTo>
                    <a:lnTo>
                      <a:pt x="585" y="46"/>
                    </a:lnTo>
                    <a:lnTo>
                      <a:pt x="581" y="44"/>
                    </a:lnTo>
                    <a:lnTo>
                      <a:pt x="582" y="45"/>
                    </a:lnTo>
                    <a:lnTo>
                      <a:pt x="578" y="42"/>
                    </a:lnTo>
                    <a:lnTo>
                      <a:pt x="577" y="42"/>
                    </a:lnTo>
                    <a:lnTo>
                      <a:pt x="576" y="41"/>
                    </a:lnTo>
                    <a:lnTo>
                      <a:pt x="573" y="38"/>
                    </a:lnTo>
                    <a:lnTo>
                      <a:pt x="568" y="36"/>
                    </a:lnTo>
                    <a:lnTo>
                      <a:pt x="563" y="35"/>
                    </a:lnTo>
                    <a:lnTo>
                      <a:pt x="563" y="34"/>
                    </a:lnTo>
                    <a:lnTo>
                      <a:pt x="562" y="34"/>
                    </a:lnTo>
                    <a:lnTo>
                      <a:pt x="558" y="31"/>
                    </a:lnTo>
                    <a:lnTo>
                      <a:pt x="547" y="28"/>
                    </a:lnTo>
                    <a:lnTo>
                      <a:pt x="547" y="27"/>
                    </a:lnTo>
                    <a:lnTo>
                      <a:pt x="546" y="27"/>
                    </a:lnTo>
                    <a:lnTo>
                      <a:pt x="535" y="23"/>
                    </a:lnTo>
                    <a:lnTo>
                      <a:pt x="524" y="20"/>
                    </a:lnTo>
                    <a:lnTo>
                      <a:pt x="511" y="16"/>
                    </a:lnTo>
                    <a:lnTo>
                      <a:pt x="510" y="16"/>
                    </a:lnTo>
                    <a:lnTo>
                      <a:pt x="498" y="14"/>
                    </a:lnTo>
                    <a:lnTo>
                      <a:pt x="484" y="12"/>
                    </a:lnTo>
                    <a:lnTo>
                      <a:pt x="470" y="10"/>
                    </a:lnTo>
                    <a:lnTo>
                      <a:pt x="455" y="7"/>
                    </a:lnTo>
                    <a:lnTo>
                      <a:pt x="440" y="5"/>
                    </a:lnTo>
                    <a:lnTo>
                      <a:pt x="439" y="5"/>
                    </a:lnTo>
                    <a:lnTo>
                      <a:pt x="424" y="4"/>
                    </a:lnTo>
                    <a:lnTo>
                      <a:pt x="408" y="3"/>
                    </a:lnTo>
                    <a:lnTo>
                      <a:pt x="392" y="1"/>
                    </a:lnTo>
                    <a:lnTo>
                      <a:pt x="374" y="1"/>
                    </a:lnTo>
                    <a:lnTo>
                      <a:pt x="357" y="0"/>
                    </a:lnTo>
                    <a:lnTo>
                      <a:pt x="339" y="0"/>
                    </a:lnTo>
                    <a:lnTo>
                      <a:pt x="321" y="0"/>
                    </a:lnTo>
                    <a:lnTo>
                      <a:pt x="283" y="0"/>
                    </a:lnTo>
                    <a:lnTo>
                      <a:pt x="245" y="1"/>
                    </a:lnTo>
                    <a:lnTo>
                      <a:pt x="205" y="4"/>
                    </a:lnTo>
                    <a:lnTo>
                      <a:pt x="165" y="5"/>
                    </a:lnTo>
                    <a:lnTo>
                      <a:pt x="125" y="7"/>
                    </a:lnTo>
                    <a:lnTo>
                      <a:pt x="83" y="11"/>
                    </a:lnTo>
                    <a:lnTo>
                      <a:pt x="0" y="15"/>
                    </a:lnTo>
                    <a:lnTo>
                      <a:pt x="0" y="29"/>
                    </a:lnTo>
                    <a:lnTo>
                      <a:pt x="1" y="43"/>
                    </a:lnTo>
                    <a:lnTo>
                      <a:pt x="85" y="38"/>
                    </a:lnTo>
                    <a:lnTo>
                      <a:pt x="126" y="35"/>
                    </a:lnTo>
                    <a:lnTo>
                      <a:pt x="167" y="33"/>
                    </a:lnTo>
                    <a:lnTo>
                      <a:pt x="206" y="31"/>
                    </a:lnTo>
                    <a:lnTo>
                      <a:pt x="247" y="29"/>
                    </a:lnTo>
                    <a:lnTo>
                      <a:pt x="285" y="28"/>
                    </a:lnTo>
                    <a:lnTo>
                      <a:pt x="321" y="28"/>
                    </a:lnTo>
                    <a:lnTo>
                      <a:pt x="320" y="28"/>
                    </a:lnTo>
                    <a:lnTo>
                      <a:pt x="339" y="28"/>
                    </a:lnTo>
                    <a:lnTo>
                      <a:pt x="356" y="28"/>
                    </a:lnTo>
                    <a:lnTo>
                      <a:pt x="373" y="29"/>
                    </a:lnTo>
                    <a:lnTo>
                      <a:pt x="391" y="29"/>
                    </a:lnTo>
                    <a:lnTo>
                      <a:pt x="407" y="30"/>
                    </a:lnTo>
                    <a:lnTo>
                      <a:pt x="422" y="31"/>
                    </a:lnTo>
                    <a:lnTo>
                      <a:pt x="438" y="33"/>
                    </a:lnTo>
                    <a:lnTo>
                      <a:pt x="437" y="33"/>
                    </a:lnTo>
                    <a:lnTo>
                      <a:pt x="452" y="35"/>
                    </a:lnTo>
                    <a:lnTo>
                      <a:pt x="467" y="37"/>
                    </a:lnTo>
                    <a:lnTo>
                      <a:pt x="479" y="38"/>
                    </a:lnTo>
                    <a:lnTo>
                      <a:pt x="493" y="41"/>
                    </a:lnTo>
                    <a:lnTo>
                      <a:pt x="492" y="41"/>
                    </a:lnTo>
                    <a:lnTo>
                      <a:pt x="505" y="44"/>
                    </a:lnTo>
                    <a:lnTo>
                      <a:pt x="505" y="43"/>
                    </a:lnTo>
                    <a:lnTo>
                      <a:pt x="516" y="46"/>
                    </a:lnTo>
                    <a:lnTo>
                      <a:pt x="528" y="50"/>
                    </a:lnTo>
                    <a:lnTo>
                      <a:pt x="538" y="53"/>
                    </a:lnTo>
                    <a:lnTo>
                      <a:pt x="537" y="52"/>
                    </a:lnTo>
                    <a:lnTo>
                      <a:pt x="546" y="57"/>
                    </a:lnTo>
                    <a:lnTo>
                      <a:pt x="552" y="59"/>
                    </a:lnTo>
                    <a:lnTo>
                      <a:pt x="551" y="59"/>
                    </a:lnTo>
                    <a:lnTo>
                      <a:pt x="555" y="61"/>
                    </a:lnTo>
                    <a:lnTo>
                      <a:pt x="560" y="64"/>
                    </a:lnTo>
                    <a:lnTo>
                      <a:pt x="564" y="66"/>
                    </a:lnTo>
                    <a:lnTo>
                      <a:pt x="562" y="65"/>
                    </a:lnTo>
                    <a:lnTo>
                      <a:pt x="566" y="67"/>
                    </a:lnTo>
                    <a:lnTo>
                      <a:pt x="567" y="68"/>
                    </a:lnTo>
                    <a:lnTo>
                      <a:pt x="571" y="71"/>
                    </a:lnTo>
                    <a:lnTo>
                      <a:pt x="570" y="69"/>
                    </a:lnTo>
                    <a:lnTo>
                      <a:pt x="574" y="73"/>
                    </a:lnTo>
                    <a:lnTo>
                      <a:pt x="578" y="75"/>
                    </a:lnTo>
                    <a:lnTo>
                      <a:pt x="577" y="74"/>
                    </a:lnTo>
                    <a:lnTo>
                      <a:pt x="581" y="77"/>
                    </a:lnTo>
                    <a:lnTo>
                      <a:pt x="584" y="80"/>
                    </a:lnTo>
                    <a:lnTo>
                      <a:pt x="583" y="79"/>
                    </a:lnTo>
                    <a:lnTo>
                      <a:pt x="586" y="82"/>
                    </a:lnTo>
                    <a:lnTo>
                      <a:pt x="589" y="86"/>
                    </a:lnTo>
                    <a:lnTo>
                      <a:pt x="592" y="89"/>
                    </a:lnTo>
                    <a:lnTo>
                      <a:pt x="594" y="91"/>
                    </a:lnTo>
                    <a:lnTo>
                      <a:pt x="593" y="90"/>
                    </a:lnTo>
                    <a:lnTo>
                      <a:pt x="599" y="96"/>
                    </a:lnTo>
                    <a:lnTo>
                      <a:pt x="598" y="96"/>
                    </a:lnTo>
                    <a:lnTo>
                      <a:pt x="602" y="103"/>
                    </a:lnTo>
                    <a:lnTo>
                      <a:pt x="607" y="110"/>
                    </a:lnTo>
                    <a:lnTo>
                      <a:pt x="606" y="107"/>
                    </a:lnTo>
                    <a:lnTo>
                      <a:pt x="609" y="116"/>
                    </a:lnTo>
                    <a:lnTo>
                      <a:pt x="613" y="122"/>
                    </a:lnTo>
                    <a:lnTo>
                      <a:pt x="612" y="121"/>
                    </a:lnTo>
                    <a:lnTo>
                      <a:pt x="615" y="129"/>
                    </a:lnTo>
                    <a:lnTo>
                      <a:pt x="614" y="128"/>
                    </a:lnTo>
                    <a:lnTo>
                      <a:pt x="616" y="136"/>
                    </a:lnTo>
                    <a:lnTo>
                      <a:pt x="619" y="144"/>
                    </a:lnTo>
                    <a:lnTo>
                      <a:pt x="619" y="143"/>
                    </a:lnTo>
                    <a:lnTo>
                      <a:pt x="620" y="151"/>
                    </a:lnTo>
                    <a:lnTo>
                      <a:pt x="621" y="159"/>
                    </a:lnTo>
                    <a:lnTo>
                      <a:pt x="622" y="167"/>
                    </a:lnTo>
                    <a:lnTo>
                      <a:pt x="623" y="175"/>
                    </a:lnTo>
                    <a:lnTo>
                      <a:pt x="623" y="183"/>
                    </a:lnTo>
                    <a:lnTo>
                      <a:pt x="623" y="193"/>
                    </a:lnTo>
                    <a:lnTo>
                      <a:pt x="623" y="202"/>
                    </a:lnTo>
                    <a:lnTo>
                      <a:pt x="623" y="201"/>
                    </a:lnTo>
                    <a:lnTo>
                      <a:pt x="622" y="211"/>
                    </a:lnTo>
                    <a:lnTo>
                      <a:pt x="622" y="219"/>
                    </a:lnTo>
                    <a:lnTo>
                      <a:pt x="621" y="230"/>
                    </a:lnTo>
                    <a:lnTo>
                      <a:pt x="621" y="228"/>
                    </a:lnTo>
                    <a:lnTo>
                      <a:pt x="620" y="238"/>
                    </a:lnTo>
                    <a:lnTo>
                      <a:pt x="619" y="258"/>
                    </a:lnTo>
                    <a:lnTo>
                      <a:pt x="619" y="257"/>
                    </a:lnTo>
                    <a:lnTo>
                      <a:pt x="616" y="277"/>
                    </a:lnTo>
                    <a:lnTo>
                      <a:pt x="614" y="296"/>
                    </a:lnTo>
                    <a:lnTo>
                      <a:pt x="627" y="298"/>
                    </a:lnTo>
                    <a:lnTo>
                      <a:pt x="640" y="300"/>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191" name="Group 1190">
            <a:extLst>
              <a:ext uri="{FF2B5EF4-FFF2-40B4-BE49-F238E27FC236}">
                <a16:creationId xmlns:a16="http://schemas.microsoft.com/office/drawing/2014/main" id="{36A53D16-1C93-4B32-B238-87750534F0B5}"/>
              </a:ext>
            </a:extLst>
          </p:cNvPr>
          <p:cNvGrpSpPr/>
          <p:nvPr/>
        </p:nvGrpSpPr>
        <p:grpSpPr>
          <a:xfrm>
            <a:off x="5388906" y="3943380"/>
            <a:ext cx="612775" cy="612775"/>
            <a:chOff x="4234277" y="4581723"/>
            <a:chExt cx="612775" cy="612775"/>
          </a:xfrm>
        </p:grpSpPr>
        <p:sp>
          <p:nvSpPr>
            <p:cNvPr id="1192" name="Oval 1191">
              <a:extLst>
                <a:ext uri="{FF2B5EF4-FFF2-40B4-BE49-F238E27FC236}">
                  <a16:creationId xmlns:a16="http://schemas.microsoft.com/office/drawing/2014/main" id="{942D0BAA-7724-480F-AB87-254DFFFF1DFB}"/>
                </a:ext>
              </a:extLst>
            </p:cNvPr>
            <p:cNvSpPr/>
            <p:nvPr/>
          </p:nvSpPr>
          <p:spPr bwMode="ltGray">
            <a:xfrm>
              <a:off x="4234277"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193" name="Freeform 192">
              <a:extLst>
                <a:ext uri="{FF2B5EF4-FFF2-40B4-BE49-F238E27FC236}">
                  <a16:creationId xmlns:a16="http://schemas.microsoft.com/office/drawing/2014/main" id="{F9E5ACEA-9925-4CB1-A27B-E92277DBA037}"/>
                </a:ext>
              </a:extLst>
            </p:cNvPr>
            <p:cNvSpPr>
              <a:spLocks/>
            </p:cNvSpPr>
            <p:nvPr/>
          </p:nvSpPr>
          <p:spPr bwMode="auto">
            <a:xfrm>
              <a:off x="4371465" y="4731389"/>
              <a:ext cx="336732" cy="325352"/>
            </a:xfrm>
            <a:custGeom>
              <a:avLst/>
              <a:gdLst>
                <a:gd name="T0" fmla="*/ 36952266 w 15756"/>
                <a:gd name="T1" fmla="*/ 4412460 h 16364"/>
                <a:gd name="T2" fmla="*/ 33094465 w 15756"/>
                <a:gd name="T3" fmla="*/ 8349246 h 16364"/>
                <a:gd name="T4" fmla="*/ 29403603 w 15756"/>
                <a:gd name="T5" fmla="*/ 12294895 h 16364"/>
                <a:gd name="T6" fmla="*/ 25879675 w 15756"/>
                <a:gd name="T7" fmla="*/ 16253889 h 16364"/>
                <a:gd name="T8" fmla="*/ 22548437 w 15756"/>
                <a:gd name="T9" fmla="*/ 20192890 h 16364"/>
                <a:gd name="T10" fmla="*/ 19448299 w 15756"/>
                <a:gd name="T11" fmla="*/ 24065177 h 16364"/>
                <a:gd name="T12" fmla="*/ 16587067 w 15756"/>
                <a:gd name="T13" fmla="*/ 27870804 h 16364"/>
                <a:gd name="T14" fmla="*/ 13959519 w 15756"/>
                <a:gd name="T15" fmla="*/ 31611926 h 16364"/>
                <a:gd name="T16" fmla="*/ 12793423 w 15756"/>
                <a:gd name="T17" fmla="*/ 33425839 h 16364"/>
                <a:gd name="T18" fmla="*/ 11807142 w 15756"/>
                <a:gd name="T19" fmla="*/ 34721787 h 16364"/>
                <a:gd name="T20" fmla="*/ 10594880 w 15756"/>
                <a:gd name="T21" fmla="*/ 35610946 h 16364"/>
                <a:gd name="T22" fmla="*/ 9118019 w 15756"/>
                <a:gd name="T23" fmla="*/ 36160028 h 16364"/>
                <a:gd name="T24" fmla="*/ 7376608 w 15756"/>
                <a:gd name="T25" fmla="*/ 36373418 h 16364"/>
                <a:gd name="T26" fmla="*/ 5825246 w 15756"/>
                <a:gd name="T27" fmla="*/ 36322263 h 16364"/>
                <a:gd name="T28" fmla="*/ 4903176 w 15756"/>
                <a:gd name="T29" fmla="*/ 36148901 h 16364"/>
                <a:gd name="T30" fmla="*/ 4592407 w 15756"/>
                <a:gd name="T31" fmla="*/ 35995529 h 16364"/>
                <a:gd name="T32" fmla="*/ 4245656 w 15756"/>
                <a:gd name="T33" fmla="*/ 35710993 h 16364"/>
                <a:gd name="T34" fmla="*/ 3624067 w 15756"/>
                <a:gd name="T35" fmla="*/ 34890718 h 16364"/>
                <a:gd name="T36" fmla="*/ 2925445 w 15756"/>
                <a:gd name="T37" fmla="*/ 33623671 h 16364"/>
                <a:gd name="T38" fmla="*/ 2267924 w 15756"/>
                <a:gd name="T39" fmla="*/ 32243233 h 16364"/>
                <a:gd name="T40" fmla="*/ 1451167 w 15756"/>
                <a:gd name="T41" fmla="*/ 30198202 h 16364"/>
                <a:gd name="T42" fmla="*/ 493166 w 15756"/>
                <a:gd name="T43" fmla="*/ 27192820 h 16364"/>
                <a:gd name="T44" fmla="*/ 82203 w 15756"/>
                <a:gd name="T45" fmla="*/ 25376691 h 16364"/>
                <a:gd name="T46" fmla="*/ 0 w 15756"/>
                <a:gd name="T47" fmla="*/ 24569799 h 16364"/>
                <a:gd name="T48" fmla="*/ 53923 w 15756"/>
                <a:gd name="T49" fmla="*/ 23925149 h 16364"/>
                <a:gd name="T50" fmla="*/ 241439 w 15756"/>
                <a:gd name="T51" fmla="*/ 23427222 h 16364"/>
                <a:gd name="T52" fmla="*/ 626707 w 15756"/>
                <a:gd name="T53" fmla="*/ 22998178 h 16364"/>
                <a:gd name="T54" fmla="*/ 1294516 w 15756"/>
                <a:gd name="T55" fmla="*/ 22513594 h 16364"/>
                <a:gd name="T56" fmla="*/ 2388644 w 15756"/>
                <a:gd name="T57" fmla="*/ 21926747 h 16364"/>
                <a:gd name="T58" fmla="*/ 3639474 w 15756"/>
                <a:gd name="T59" fmla="*/ 21437731 h 16364"/>
                <a:gd name="T60" fmla="*/ 4890304 w 15756"/>
                <a:gd name="T61" fmla="*/ 21102039 h 16364"/>
                <a:gd name="T62" fmla="*/ 5945965 w 15756"/>
                <a:gd name="T63" fmla="*/ 20973138 h 16364"/>
                <a:gd name="T64" fmla="*/ 6415970 w 15756"/>
                <a:gd name="T65" fmla="*/ 21093176 h 16364"/>
                <a:gd name="T66" fmla="*/ 6857748 w 15756"/>
                <a:gd name="T67" fmla="*/ 21533299 h 16364"/>
                <a:gd name="T68" fmla="*/ 7343210 w 15756"/>
                <a:gd name="T69" fmla="*/ 22295772 h 16364"/>
                <a:gd name="T70" fmla="*/ 7869723 w 15756"/>
                <a:gd name="T71" fmla="*/ 23378283 h 16364"/>
                <a:gd name="T72" fmla="*/ 8082933 w 15756"/>
                <a:gd name="T73" fmla="*/ 23885120 h 16364"/>
                <a:gd name="T74" fmla="*/ 8427100 w 15756"/>
                <a:gd name="T75" fmla="*/ 24692053 h 16364"/>
                <a:gd name="T76" fmla="*/ 8897105 w 15756"/>
                <a:gd name="T77" fmla="*/ 25659011 h 16364"/>
                <a:gd name="T78" fmla="*/ 9326059 w 15756"/>
                <a:gd name="T79" fmla="*/ 26317004 h 16364"/>
                <a:gd name="T80" fmla="*/ 9716446 w 15756"/>
                <a:gd name="T81" fmla="*/ 26665991 h 16364"/>
                <a:gd name="T82" fmla="*/ 10073435 w 15756"/>
                <a:gd name="T83" fmla="*/ 26677118 h 16364"/>
                <a:gd name="T84" fmla="*/ 10738710 w 15756"/>
                <a:gd name="T85" fmla="*/ 26063585 h 16364"/>
                <a:gd name="T86" fmla="*/ 11835422 w 15756"/>
                <a:gd name="T87" fmla="*/ 24752078 h 16364"/>
                <a:gd name="T88" fmla="*/ 14046841 w 15756"/>
                <a:gd name="T89" fmla="*/ 21804493 h 16364"/>
                <a:gd name="T90" fmla="*/ 18081869 w 15756"/>
                <a:gd name="T91" fmla="*/ 16358369 h 16364"/>
                <a:gd name="T92" fmla="*/ 22188813 w 15756"/>
                <a:gd name="T93" fmla="*/ 11225680 h 16364"/>
                <a:gd name="T94" fmla="*/ 25114307 w 15756"/>
                <a:gd name="T95" fmla="*/ 7822418 h 16364"/>
                <a:gd name="T96" fmla="*/ 27592863 w 15756"/>
                <a:gd name="T97" fmla="*/ 5159373 h 16364"/>
                <a:gd name="T98" fmla="*/ 29642457 w 15756"/>
                <a:gd name="T99" fmla="*/ 3174314 h 16364"/>
                <a:gd name="T100" fmla="*/ 30685246 w 15756"/>
                <a:gd name="T101" fmla="*/ 2322920 h 16364"/>
                <a:gd name="T102" fmla="*/ 31376165 w 15756"/>
                <a:gd name="T103" fmla="*/ 1907266 h 16364"/>
                <a:gd name="T104" fmla="*/ 33130448 w 15756"/>
                <a:gd name="T105" fmla="*/ 1240362 h 16364"/>
                <a:gd name="T106" fmla="*/ 35316169 w 15756"/>
                <a:gd name="T107" fmla="*/ 675768 h 16364"/>
                <a:gd name="T108" fmla="*/ 37828116 w 15756"/>
                <a:gd name="T109" fmla="*/ 248987 h 16364"/>
                <a:gd name="T110" fmla="*/ 40468485 w 15756"/>
                <a:gd name="T111" fmla="*/ 975863 h 1636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5756"/>
                <a:gd name="T169" fmla="*/ 0 h 16364"/>
                <a:gd name="T170" fmla="*/ 15756 w 15756"/>
                <a:gd name="T171" fmla="*/ 16364 h 1636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5756" h="16364">
                  <a:moveTo>
                    <a:pt x="15756" y="439"/>
                  </a:moveTo>
                  <a:lnTo>
                    <a:pt x="15557" y="659"/>
                  </a:lnTo>
                  <a:lnTo>
                    <a:pt x="15359" y="881"/>
                  </a:lnTo>
                  <a:lnTo>
                    <a:pt x="15163" y="1101"/>
                  </a:lnTo>
                  <a:lnTo>
                    <a:pt x="14967" y="1322"/>
                  </a:lnTo>
                  <a:lnTo>
                    <a:pt x="14772" y="1543"/>
                  </a:lnTo>
                  <a:lnTo>
                    <a:pt x="14579" y="1764"/>
                  </a:lnTo>
                  <a:lnTo>
                    <a:pt x="14387" y="1985"/>
                  </a:lnTo>
                  <a:lnTo>
                    <a:pt x="14196" y="2207"/>
                  </a:lnTo>
                  <a:lnTo>
                    <a:pt x="14005" y="2427"/>
                  </a:lnTo>
                  <a:lnTo>
                    <a:pt x="13816" y="2649"/>
                  </a:lnTo>
                  <a:lnTo>
                    <a:pt x="13627" y="2870"/>
                  </a:lnTo>
                  <a:lnTo>
                    <a:pt x="13440" y="3091"/>
                  </a:lnTo>
                  <a:lnTo>
                    <a:pt x="13253" y="3313"/>
                  </a:lnTo>
                  <a:lnTo>
                    <a:pt x="13069" y="3535"/>
                  </a:lnTo>
                  <a:lnTo>
                    <a:pt x="12885" y="3756"/>
                  </a:lnTo>
                  <a:lnTo>
                    <a:pt x="12701" y="3978"/>
                  </a:lnTo>
                  <a:lnTo>
                    <a:pt x="12519" y="4199"/>
                  </a:lnTo>
                  <a:lnTo>
                    <a:pt x="12338" y="4421"/>
                  </a:lnTo>
                  <a:lnTo>
                    <a:pt x="12158" y="4643"/>
                  </a:lnTo>
                  <a:lnTo>
                    <a:pt x="11979" y="4865"/>
                  </a:lnTo>
                  <a:lnTo>
                    <a:pt x="11801" y="5088"/>
                  </a:lnTo>
                  <a:lnTo>
                    <a:pt x="11624" y="5309"/>
                  </a:lnTo>
                  <a:lnTo>
                    <a:pt x="11448" y="5531"/>
                  </a:lnTo>
                  <a:lnTo>
                    <a:pt x="11273" y="5754"/>
                  </a:lnTo>
                  <a:lnTo>
                    <a:pt x="11099" y="5976"/>
                  </a:lnTo>
                  <a:lnTo>
                    <a:pt x="10927" y="6198"/>
                  </a:lnTo>
                  <a:lnTo>
                    <a:pt x="10754" y="6422"/>
                  </a:lnTo>
                  <a:lnTo>
                    <a:pt x="10583" y="6644"/>
                  </a:lnTo>
                  <a:lnTo>
                    <a:pt x="10413" y="6867"/>
                  </a:lnTo>
                  <a:lnTo>
                    <a:pt x="10244" y="7090"/>
                  </a:lnTo>
                  <a:lnTo>
                    <a:pt x="10076" y="7312"/>
                  </a:lnTo>
                  <a:lnTo>
                    <a:pt x="9911" y="7536"/>
                  </a:lnTo>
                  <a:lnTo>
                    <a:pt x="9745" y="7758"/>
                  </a:lnTo>
                  <a:lnTo>
                    <a:pt x="9580" y="7981"/>
                  </a:lnTo>
                  <a:lnTo>
                    <a:pt x="9417" y="8202"/>
                  </a:lnTo>
                  <a:lnTo>
                    <a:pt x="9255" y="8423"/>
                  </a:lnTo>
                  <a:lnTo>
                    <a:pt x="9095" y="8644"/>
                  </a:lnTo>
                  <a:lnTo>
                    <a:pt x="8936" y="8864"/>
                  </a:lnTo>
                  <a:lnTo>
                    <a:pt x="8779" y="9084"/>
                  </a:lnTo>
                  <a:lnTo>
                    <a:pt x="8623" y="9304"/>
                  </a:lnTo>
                  <a:lnTo>
                    <a:pt x="8468" y="9522"/>
                  </a:lnTo>
                  <a:lnTo>
                    <a:pt x="8316" y="9740"/>
                  </a:lnTo>
                  <a:lnTo>
                    <a:pt x="8164" y="9959"/>
                  </a:lnTo>
                  <a:lnTo>
                    <a:pt x="8015" y="10176"/>
                  </a:lnTo>
                  <a:lnTo>
                    <a:pt x="7865" y="10393"/>
                  </a:lnTo>
                  <a:lnTo>
                    <a:pt x="7719" y="10609"/>
                  </a:lnTo>
                  <a:lnTo>
                    <a:pt x="7572" y="10826"/>
                  </a:lnTo>
                  <a:lnTo>
                    <a:pt x="7428" y="11041"/>
                  </a:lnTo>
                  <a:lnTo>
                    <a:pt x="7285" y="11256"/>
                  </a:lnTo>
                  <a:lnTo>
                    <a:pt x="7144" y="11471"/>
                  </a:lnTo>
                  <a:lnTo>
                    <a:pt x="7004" y="11685"/>
                  </a:lnTo>
                  <a:lnTo>
                    <a:pt x="6865" y="11898"/>
                  </a:lnTo>
                  <a:lnTo>
                    <a:pt x="6727" y="12113"/>
                  </a:lnTo>
                  <a:lnTo>
                    <a:pt x="6592" y="12325"/>
                  </a:lnTo>
                  <a:lnTo>
                    <a:pt x="6458" y="12538"/>
                  </a:lnTo>
                  <a:lnTo>
                    <a:pt x="6325" y="12749"/>
                  </a:lnTo>
                  <a:lnTo>
                    <a:pt x="6193" y="12961"/>
                  </a:lnTo>
                  <a:lnTo>
                    <a:pt x="6063" y="13172"/>
                  </a:lnTo>
                  <a:lnTo>
                    <a:pt x="5935" y="13382"/>
                  </a:lnTo>
                  <a:lnTo>
                    <a:pt x="5808" y="13593"/>
                  </a:lnTo>
                  <a:lnTo>
                    <a:pt x="5682" y="13803"/>
                  </a:lnTo>
                  <a:lnTo>
                    <a:pt x="5558" y="14012"/>
                  </a:lnTo>
                  <a:lnTo>
                    <a:pt x="5435" y="14221"/>
                  </a:lnTo>
                  <a:lnTo>
                    <a:pt x="5313" y="14429"/>
                  </a:lnTo>
                  <a:lnTo>
                    <a:pt x="5272" y="14500"/>
                  </a:lnTo>
                  <a:lnTo>
                    <a:pt x="5229" y="14578"/>
                  </a:lnTo>
                  <a:lnTo>
                    <a:pt x="5184" y="14660"/>
                  </a:lnTo>
                  <a:lnTo>
                    <a:pt x="5136" y="14746"/>
                  </a:lnTo>
                  <a:lnTo>
                    <a:pt x="5087" y="14839"/>
                  </a:lnTo>
                  <a:lnTo>
                    <a:pt x="5034" y="14935"/>
                  </a:lnTo>
                  <a:lnTo>
                    <a:pt x="4981" y="15037"/>
                  </a:lnTo>
                  <a:lnTo>
                    <a:pt x="4926" y="15144"/>
                  </a:lnTo>
                  <a:lnTo>
                    <a:pt x="4884" y="15219"/>
                  </a:lnTo>
                  <a:lnTo>
                    <a:pt x="4840" y="15292"/>
                  </a:lnTo>
                  <a:lnTo>
                    <a:pt x="4795" y="15362"/>
                  </a:lnTo>
                  <a:lnTo>
                    <a:pt x="4748" y="15430"/>
                  </a:lnTo>
                  <a:lnTo>
                    <a:pt x="4699" y="15496"/>
                  </a:lnTo>
                  <a:lnTo>
                    <a:pt x="4649" y="15559"/>
                  </a:lnTo>
                  <a:lnTo>
                    <a:pt x="4597" y="15620"/>
                  </a:lnTo>
                  <a:lnTo>
                    <a:pt x="4544" y="15678"/>
                  </a:lnTo>
                  <a:lnTo>
                    <a:pt x="4488" y="15734"/>
                  </a:lnTo>
                  <a:lnTo>
                    <a:pt x="4432" y="15788"/>
                  </a:lnTo>
                  <a:lnTo>
                    <a:pt x="4374" y="15839"/>
                  </a:lnTo>
                  <a:lnTo>
                    <a:pt x="4314" y="15888"/>
                  </a:lnTo>
                  <a:lnTo>
                    <a:pt x="4253" y="15934"/>
                  </a:lnTo>
                  <a:lnTo>
                    <a:pt x="4189" y="15978"/>
                  </a:lnTo>
                  <a:lnTo>
                    <a:pt x="4125" y="16020"/>
                  </a:lnTo>
                  <a:lnTo>
                    <a:pt x="4058" y="16059"/>
                  </a:lnTo>
                  <a:lnTo>
                    <a:pt x="3991" y="16096"/>
                  </a:lnTo>
                  <a:lnTo>
                    <a:pt x="3921" y="16131"/>
                  </a:lnTo>
                  <a:lnTo>
                    <a:pt x="3850" y="16163"/>
                  </a:lnTo>
                  <a:lnTo>
                    <a:pt x="3778" y="16192"/>
                  </a:lnTo>
                  <a:lnTo>
                    <a:pt x="3703" y="16220"/>
                  </a:lnTo>
                  <a:lnTo>
                    <a:pt x="3627" y="16245"/>
                  </a:lnTo>
                  <a:lnTo>
                    <a:pt x="3550" y="16267"/>
                  </a:lnTo>
                  <a:lnTo>
                    <a:pt x="3471" y="16288"/>
                  </a:lnTo>
                  <a:lnTo>
                    <a:pt x="3390" y="16305"/>
                  </a:lnTo>
                  <a:lnTo>
                    <a:pt x="3308" y="16321"/>
                  </a:lnTo>
                  <a:lnTo>
                    <a:pt x="3225" y="16334"/>
                  </a:lnTo>
                  <a:lnTo>
                    <a:pt x="3139" y="16344"/>
                  </a:lnTo>
                  <a:lnTo>
                    <a:pt x="3051" y="16353"/>
                  </a:lnTo>
                  <a:lnTo>
                    <a:pt x="2962" y="16358"/>
                  </a:lnTo>
                  <a:lnTo>
                    <a:pt x="2872" y="16363"/>
                  </a:lnTo>
                  <a:lnTo>
                    <a:pt x="2781" y="16364"/>
                  </a:lnTo>
                  <a:lnTo>
                    <a:pt x="2697" y="16364"/>
                  </a:lnTo>
                  <a:lnTo>
                    <a:pt x="2616" y="16362"/>
                  </a:lnTo>
                  <a:lnTo>
                    <a:pt x="2540" y="16360"/>
                  </a:lnTo>
                  <a:lnTo>
                    <a:pt x="2467" y="16356"/>
                  </a:lnTo>
                  <a:lnTo>
                    <a:pt x="2397" y="16351"/>
                  </a:lnTo>
                  <a:lnTo>
                    <a:pt x="2330" y="16346"/>
                  </a:lnTo>
                  <a:lnTo>
                    <a:pt x="2268" y="16340"/>
                  </a:lnTo>
                  <a:lnTo>
                    <a:pt x="2209" y="16333"/>
                  </a:lnTo>
                  <a:lnTo>
                    <a:pt x="2153" y="16325"/>
                  </a:lnTo>
                  <a:lnTo>
                    <a:pt x="2101" y="16315"/>
                  </a:lnTo>
                  <a:lnTo>
                    <a:pt x="2052" y="16305"/>
                  </a:lnTo>
                  <a:lnTo>
                    <a:pt x="2007" y="16294"/>
                  </a:lnTo>
                  <a:lnTo>
                    <a:pt x="1965" y="16282"/>
                  </a:lnTo>
                  <a:lnTo>
                    <a:pt x="1927" y="16269"/>
                  </a:lnTo>
                  <a:lnTo>
                    <a:pt x="1909" y="16262"/>
                  </a:lnTo>
                  <a:lnTo>
                    <a:pt x="1892" y="16255"/>
                  </a:lnTo>
                  <a:lnTo>
                    <a:pt x="1877" y="16247"/>
                  </a:lnTo>
                  <a:lnTo>
                    <a:pt x="1861" y="16240"/>
                  </a:lnTo>
                  <a:lnTo>
                    <a:pt x="1846" y="16231"/>
                  </a:lnTo>
                  <a:lnTo>
                    <a:pt x="1832" y="16223"/>
                  </a:lnTo>
                  <a:lnTo>
                    <a:pt x="1817" y="16214"/>
                  </a:lnTo>
                  <a:lnTo>
                    <a:pt x="1802" y="16204"/>
                  </a:lnTo>
                  <a:lnTo>
                    <a:pt x="1788" y="16193"/>
                  </a:lnTo>
                  <a:lnTo>
                    <a:pt x="1772" y="16181"/>
                  </a:lnTo>
                  <a:lnTo>
                    <a:pt x="1758" y="16170"/>
                  </a:lnTo>
                  <a:lnTo>
                    <a:pt x="1743" y="16157"/>
                  </a:lnTo>
                  <a:lnTo>
                    <a:pt x="1728" y="16143"/>
                  </a:lnTo>
                  <a:lnTo>
                    <a:pt x="1713" y="16129"/>
                  </a:lnTo>
                  <a:lnTo>
                    <a:pt x="1697" y="16114"/>
                  </a:lnTo>
                  <a:lnTo>
                    <a:pt x="1683" y="16098"/>
                  </a:lnTo>
                  <a:lnTo>
                    <a:pt x="1653" y="16065"/>
                  </a:lnTo>
                  <a:lnTo>
                    <a:pt x="1623" y="16028"/>
                  </a:lnTo>
                  <a:lnTo>
                    <a:pt x="1593" y="15990"/>
                  </a:lnTo>
                  <a:lnTo>
                    <a:pt x="1562" y="15948"/>
                  </a:lnTo>
                  <a:lnTo>
                    <a:pt x="1533" y="15903"/>
                  </a:lnTo>
                  <a:lnTo>
                    <a:pt x="1502" y="15855"/>
                  </a:lnTo>
                  <a:lnTo>
                    <a:pt x="1471" y="15805"/>
                  </a:lnTo>
                  <a:lnTo>
                    <a:pt x="1441" y="15752"/>
                  </a:lnTo>
                  <a:lnTo>
                    <a:pt x="1411" y="15696"/>
                  </a:lnTo>
                  <a:lnTo>
                    <a:pt x="1380" y="15637"/>
                  </a:lnTo>
                  <a:lnTo>
                    <a:pt x="1344" y="15566"/>
                  </a:lnTo>
                  <a:lnTo>
                    <a:pt x="1309" y="15495"/>
                  </a:lnTo>
                  <a:lnTo>
                    <a:pt x="1274" y="15422"/>
                  </a:lnTo>
                  <a:lnTo>
                    <a:pt x="1240" y="15349"/>
                  </a:lnTo>
                  <a:lnTo>
                    <a:pt x="1206" y="15275"/>
                  </a:lnTo>
                  <a:lnTo>
                    <a:pt x="1172" y="15200"/>
                  </a:lnTo>
                  <a:lnTo>
                    <a:pt x="1139" y="15126"/>
                  </a:lnTo>
                  <a:lnTo>
                    <a:pt x="1105" y="15051"/>
                  </a:lnTo>
                  <a:lnTo>
                    <a:pt x="1073" y="14974"/>
                  </a:lnTo>
                  <a:lnTo>
                    <a:pt x="1041" y="14898"/>
                  </a:lnTo>
                  <a:lnTo>
                    <a:pt x="1008" y="14820"/>
                  </a:lnTo>
                  <a:lnTo>
                    <a:pt x="976" y="14742"/>
                  </a:lnTo>
                  <a:lnTo>
                    <a:pt x="946" y="14663"/>
                  </a:lnTo>
                  <a:lnTo>
                    <a:pt x="914" y="14585"/>
                  </a:lnTo>
                  <a:lnTo>
                    <a:pt x="883" y="14505"/>
                  </a:lnTo>
                  <a:lnTo>
                    <a:pt x="853" y="14424"/>
                  </a:lnTo>
                  <a:lnTo>
                    <a:pt x="823" y="14343"/>
                  </a:lnTo>
                  <a:lnTo>
                    <a:pt x="793" y="14262"/>
                  </a:lnTo>
                  <a:lnTo>
                    <a:pt x="763" y="14179"/>
                  </a:lnTo>
                  <a:lnTo>
                    <a:pt x="734" y="14096"/>
                  </a:lnTo>
                  <a:lnTo>
                    <a:pt x="676" y="13929"/>
                  </a:lnTo>
                  <a:lnTo>
                    <a:pt x="620" y="13759"/>
                  </a:lnTo>
                  <a:lnTo>
                    <a:pt x="565" y="13585"/>
                  </a:lnTo>
                  <a:lnTo>
                    <a:pt x="510" y="13410"/>
                  </a:lnTo>
                  <a:lnTo>
                    <a:pt x="457" y="13233"/>
                  </a:lnTo>
                  <a:lnTo>
                    <a:pt x="405" y="13052"/>
                  </a:lnTo>
                  <a:lnTo>
                    <a:pt x="356" y="12875"/>
                  </a:lnTo>
                  <a:lnTo>
                    <a:pt x="311" y="12704"/>
                  </a:lnTo>
                  <a:lnTo>
                    <a:pt x="268" y="12540"/>
                  </a:lnTo>
                  <a:lnTo>
                    <a:pt x="228" y="12383"/>
                  </a:lnTo>
                  <a:lnTo>
                    <a:pt x="192" y="12233"/>
                  </a:lnTo>
                  <a:lnTo>
                    <a:pt x="158" y="12088"/>
                  </a:lnTo>
                  <a:lnTo>
                    <a:pt x="128" y="11951"/>
                  </a:lnTo>
                  <a:lnTo>
                    <a:pt x="102" y="11821"/>
                  </a:lnTo>
                  <a:lnTo>
                    <a:pt x="78" y="11697"/>
                  </a:lnTo>
                  <a:lnTo>
                    <a:pt x="58" y="11579"/>
                  </a:lnTo>
                  <a:lnTo>
                    <a:pt x="49" y="11522"/>
                  </a:lnTo>
                  <a:lnTo>
                    <a:pt x="40" y="11468"/>
                  </a:lnTo>
                  <a:lnTo>
                    <a:pt x="32" y="11416"/>
                  </a:lnTo>
                  <a:lnTo>
                    <a:pt x="26" y="11365"/>
                  </a:lnTo>
                  <a:lnTo>
                    <a:pt x="20" y="11314"/>
                  </a:lnTo>
                  <a:lnTo>
                    <a:pt x="15" y="11267"/>
                  </a:lnTo>
                  <a:lnTo>
                    <a:pt x="11" y="11221"/>
                  </a:lnTo>
                  <a:lnTo>
                    <a:pt x="7" y="11176"/>
                  </a:lnTo>
                  <a:lnTo>
                    <a:pt x="3" y="11134"/>
                  </a:lnTo>
                  <a:lnTo>
                    <a:pt x="2" y="11092"/>
                  </a:lnTo>
                  <a:lnTo>
                    <a:pt x="0" y="11053"/>
                  </a:lnTo>
                  <a:lnTo>
                    <a:pt x="0" y="11015"/>
                  </a:lnTo>
                  <a:lnTo>
                    <a:pt x="0" y="10976"/>
                  </a:lnTo>
                  <a:lnTo>
                    <a:pt x="2" y="10938"/>
                  </a:lnTo>
                  <a:lnTo>
                    <a:pt x="4" y="10900"/>
                  </a:lnTo>
                  <a:lnTo>
                    <a:pt x="8" y="10864"/>
                  </a:lnTo>
                  <a:lnTo>
                    <a:pt x="11" y="10830"/>
                  </a:lnTo>
                  <a:lnTo>
                    <a:pt x="16" y="10796"/>
                  </a:lnTo>
                  <a:lnTo>
                    <a:pt x="21" y="10763"/>
                  </a:lnTo>
                  <a:lnTo>
                    <a:pt x="27" y="10731"/>
                  </a:lnTo>
                  <a:lnTo>
                    <a:pt x="34" y="10700"/>
                  </a:lnTo>
                  <a:lnTo>
                    <a:pt x="42" y="10671"/>
                  </a:lnTo>
                  <a:lnTo>
                    <a:pt x="51" y="10642"/>
                  </a:lnTo>
                  <a:lnTo>
                    <a:pt x="61" y="10614"/>
                  </a:lnTo>
                  <a:lnTo>
                    <a:pt x="71" y="10588"/>
                  </a:lnTo>
                  <a:lnTo>
                    <a:pt x="81" y="10562"/>
                  </a:lnTo>
                  <a:lnTo>
                    <a:pt x="94" y="10539"/>
                  </a:lnTo>
                  <a:lnTo>
                    <a:pt x="106" y="10515"/>
                  </a:lnTo>
                  <a:lnTo>
                    <a:pt x="120" y="10492"/>
                  </a:lnTo>
                  <a:lnTo>
                    <a:pt x="137" y="10469"/>
                  </a:lnTo>
                  <a:lnTo>
                    <a:pt x="155" y="10445"/>
                  </a:lnTo>
                  <a:lnTo>
                    <a:pt x="175" y="10421"/>
                  </a:lnTo>
                  <a:lnTo>
                    <a:pt x="196" y="10397"/>
                  </a:lnTo>
                  <a:lnTo>
                    <a:pt x="219" y="10372"/>
                  </a:lnTo>
                  <a:lnTo>
                    <a:pt x="244" y="10346"/>
                  </a:lnTo>
                  <a:lnTo>
                    <a:pt x="271" y="10320"/>
                  </a:lnTo>
                  <a:lnTo>
                    <a:pt x="298" y="10295"/>
                  </a:lnTo>
                  <a:lnTo>
                    <a:pt x="328" y="10268"/>
                  </a:lnTo>
                  <a:lnTo>
                    <a:pt x="360" y="10240"/>
                  </a:lnTo>
                  <a:lnTo>
                    <a:pt x="394" y="10213"/>
                  </a:lnTo>
                  <a:lnTo>
                    <a:pt x="429" y="10185"/>
                  </a:lnTo>
                  <a:lnTo>
                    <a:pt x="465" y="10156"/>
                  </a:lnTo>
                  <a:lnTo>
                    <a:pt x="504" y="10128"/>
                  </a:lnTo>
                  <a:lnTo>
                    <a:pt x="544" y="10099"/>
                  </a:lnTo>
                  <a:lnTo>
                    <a:pt x="596" y="10063"/>
                  </a:lnTo>
                  <a:lnTo>
                    <a:pt x="651" y="10028"/>
                  </a:lnTo>
                  <a:lnTo>
                    <a:pt x="705" y="9993"/>
                  </a:lnTo>
                  <a:lnTo>
                    <a:pt x="760" y="9960"/>
                  </a:lnTo>
                  <a:lnTo>
                    <a:pt x="816" y="9927"/>
                  </a:lnTo>
                  <a:lnTo>
                    <a:pt x="873" y="9895"/>
                  </a:lnTo>
                  <a:lnTo>
                    <a:pt x="930" y="9864"/>
                  </a:lnTo>
                  <a:lnTo>
                    <a:pt x="989" y="9833"/>
                  </a:lnTo>
                  <a:lnTo>
                    <a:pt x="1047" y="9804"/>
                  </a:lnTo>
                  <a:lnTo>
                    <a:pt x="1107" y="9775"/>
                  </a:lnTo>
                  <a:lnTo>
                    <a:pt x="1167" y="9747"/>
                  </a:lnTo>
                  <a:lnTo>
                    <a:pt x="1228" y="9721"/>
                  </a:lnTo>
                  <a:lnTo>
                    <a:pt x="1291" y="9694"/>
                  </a:lnTo>
                  <a:lnTo>
                    <a:pt x="1353" y="9669"/>
                  </a:lnTo>
                  <a:lnTo>
                    <a:pt x="1417" y="9644"/>
                  </a:lnTo>
                  <a:lnTo>
                    <a:pt x="1481" y="9620"/>
                  </a:lnTo>
                  <a:lnTo>
                    <a:pt x="1546" y="9598"/>
                  </a:lnTo>
                  <a:lnTo>
                    <a:pt x="1608" y="9577"/>
                  </a:lnTo>
                  <a:lnTo>
                    <a:pt x="1670" y="9557"/>
                  </a:lnTo>
                  <a:lnTo>
                    <a:pt x="1730" y="9539"/>
                  </a:lnTo>
                  <a:lnTo>
                    <a:pt x="1789" y="9522"/>
                  </a:lnTo>
                  <a:lnTo>
                    <a:pt x="1847" y="9507"/>
                  </a:lnTo>
                  <a:lnTo>
                    <a:pt x="1904" y="9493"/>
                  </a:lnTo>
                  <a:lnTo>
                    <a:pt x="1960" y="9481"/>
                  </a:lnTo>
                  <a:lnTo>
                    <a:pt x="2014" y="9470"/>
                  </a:lnTo>
                  <a:lnTo>
                    <a:pt x="2067" y="9460"/>
                  </a:lnTo>
                  <a:lnTo>
                    <a:pt x="2119" y="9452"/>
                  </a:lnTo>
                  <a:lnTo>
                    <a:pt x="2171" y="9446"/>
                  </a:lnTo>
                  <a:lnTo>
                    <a:pt x="2220" y="9441"/>
                  </a:lnTo>
                  <a:lnTo>
                    <a:pt x="2268" y="9437"/>
                  </a:lnTo>
                  <a:lnTo>
                    <a:pt x="2315" y="9435"/>
                  </a:lnTo>
                  <a:lnTo>
                    <a:pt x="2361" y="9434"/>
                  </a:lnTo>
                  <a:lnTo>
                    <a:pt x="2380" y="9436"/>
                  </a:lnTo>
                  <a:lnTo>
                    <a:pt x="2399" y="9439"/>
                  </a:lnTo>
                  <a:lnTo>
                    <a:pt x="2419" y="9444"/>
                  </a:lnTo>
                  <a:lnTo>
                    <a:pt x="2438" y="9452"/>
                  </a:lnTo>
                  <a:lnTo>
                    <a:pt x="2458" y="9463"/>
                  </a:lnTo>
                  <a:lnTo>
                    <a:pt x="2478" y="9475"/>
                  </a:lnTo>
                  <a:lnTo>
                    <a:pt x="2498" y="9489"/>
                  </a:lnTo>
                  <a:lnTo>
                    <a:pt x="2519" y="9507"/>
                  </a:lnTo>
                  <a:lnTo>
                    <a:pt x="2540" y="9525"/>
                  </a:lnTo>
                  <a:lnTo>
                    <a:pt x="2561" y="9547"/>
                  </a:lnTo>
                  <a:lnTo>
                    <a:pt x="2582" y="9570"/>
                  </a:lnTo>
                  <a:lnTo>
                    <a:pt x="2604" y="9597"/>
                  </a:lnTo>
                  <a:lnTo>
                    <a:pt x="2626" y="9624"/>
                  </a:lnTo>
                  <a:lnTo>
                    <a:pt x="2648" y="9655"/>
                  </a:lnTo>
                  <a:lnTo>
                    <a:pt x="2670" y="9687"/>
                  </a:lnTo>
                  <a:lnTo>
                    <a:pt x="2693" y="9722"/>
                  </a:lnTo>
                  <a:lnTo>
                    <a:pt x="2716" y="9760"/>
                  </a:lnTo>
                  <a:lnTo>
                    <a:pt x="2739" y="9799"/>
                  </a:lnTo>
                  <a:lnTo>
                    <a:pt x="2763" y="9841"/>
                  </a:lnTo>
                  <a:lnTo>
                    <a:pt x="2786" y="9885"/>
                  </a:lnTo>
                  <a:lnTo>
                    <a:pt x="2810" y="9931"/>
                  </a:lnTo>
                  <a:lnTo>
                    <a:pt x="2834" y="9979"/>
                  </a:lnTo>
                  <a:lnTo>
                    <a:pt x="2859" y="10030"/>
                  </a:lnTo>
                  <a:lnTo>
                    <a:pt x="2883" y="10083"/>
                  </a:lnTo>
                  <a:lnTo>
                    <a:pt x="2908" y="10138"/>
                  </a:lnTo>
                  <a:lnTo>
                    <a:pt x="2934" y="10195"/>
                  </a:lnTo>
                  <a:lnTo>
                    <a:pt x="2959" y="10256"/>
                  </a:lnTo>
                  <a:lnTo>
                    <a:pt x="2985" y="10317"/>
                  </a:lnTo>
                  <a:lnTo>
                    <a:pt x="3010" y="10382"/>
                  </a:lnTo>
                  <a:lnTo>
                    <a:pt x="3037" y="10448"/>
                  </a:lnTo>
                  <a:lnTo>
                    <a:pt x="3064" y="10517"/>
                  </a:lnTo>
                  <a:lnTo>
                    <a:pt x="3090" y="10588"/>
                  </a:lnTo>
                  <a:lnTo>
                    <a:pt x="3101" y="10616"/>
                  </a:lnTo>
                  <a:lnTo>
                    <a:pt x="3109" y="10643"/>
                  </a:lnTo>
                  <a:lnTo>
                    <a:pt x="3118" y="10668"/>
                  </a:lnTo>
                  <a:lnTo>
                    <a:pt x="3126" y="10690"/>
                  </a:lnTo>
                  <a:lnTo>
                    <a:pt x="3133" y="10711"/>
                  </a:lnTo>
                  <a:lnTo>
                    <a:pt x="3141" y="10728"/>
                  </a:lnTo>
                  <a:lnTo>
                    <a:pt x="3147" y="10745"/>
                  </a:lnTo>
                  <a:lnTo>
                    <a:pt x="3153" y="10760"/>
                  </a:lnTo>
                  <a:lnTo>
                    <a:pt x="3160" y="10786"/>
                  </a:lnTo>
                  <a:lnTo>
                    <a:pt x="3172" y="10819"/>
                  </a:lnTo>
                  <a:lnTo>
                    <a:pt x="3188" y="10860"/>
                  </a:lnTo>
                  <a:lnTo>
                    <a:pt x="3207" y="10910"/>
                  </a:lnTo>
                  <a:lnTo>
                    <a:pt x="3232" y="10978"/>
                  </a:lnTo>
                  <a:lnTo>
                    <a:pt x="3256" y="11044"/>
                  </a:lnTo>
                  <a:lnTo>
                    <a:pt x="3281" y="11108"/>
                  </a:lnTo>
                  <a:lnTo>
                    <a:pt x="3304" y="11170"/>
                  </a:lnTo>
                  <a:lnTo>
                    <a:pt x="3328" y="11229"/>
                  </a:lnTo>
                  <a:lnTo>
                    <a:pt x="3351" y="11288"/>
                  </a:lnTo>
                  <a:lnTo>
                    <a:pt x="3374" y="11343"/>
                  </a:lnTo>
                  <a:lnTo>
                    <a:pt x="3397" y="11396"/>
                  </a:lnTo>
                  <a:lnTo>
                    <a:pt x="3419" y="11448"/>
                  </a:lnTo>
                  <a:lnTo>
                    <a:pt x="3442" y="11496"/>
                  </a:lnTo>
                  <a:lnTo>
                    <a:pt x="3464" y="11543"/>
                  </a:lnTo>
                  <a:lnTo>
                    <a:pt x="3486" y="11587"/>
                  </a:lnTo>
                  <a:lnTo>
                    <a:pt x="3507" y="11630"/>
                  </a:lnTo>
                  <a:lnTo>
                    <a:pt x="3529" y="11670"/>
                  </a:lnTo>
                  <a:lnTo>
                    <a:pt x="3550" y="11708"/>
                  </a:lnTo>
                  <a:lnTo>
                    <a:pt x="3571" y="11744"/>
                  </a:lnTo>
                  <a:lnTo>
                    <a:pt x="3591" y="11778"/>
                  </a:lnTo>
                  <a:lnTo>
                    <a:pt x="3612" y="11809"/>
                  </a:lnTo>
                  <a:lnTo>
                    <a:pt x="3631" y="11839"/>
                  </a:lnTo>
                  <a:lnTo>
                    <a:pt x="3652" y="11866"/>
                  </a:lnTo>
                  <a:lnTo>
                    <a:pt x="3671" y="11891"/>
                  </a:lnTo>
                  <a:lnTo>
                    <a:pt x="3691" y="11914"/>
                  </a:lnTo>
                  <a:lnTo>
                    <a:pt x="3709" y="11934"/>
                  </a:lnTo>
                  <a:lnTo>
                    <a:pt x="3727" y="11953"/>
                  </a:lnTo>
                  <a:lnTo>
                    <a:pt x="3746" y="11969"/>
                  </a:lnTo>
                  <a:lnTo>
                    <a:pt x="3764" y="11984"/>
                  </a:lnTo>
                  <a:lnTo>
                    <a:pt x="3783" y="11996"/>
                  </a:lnTo>
                  <a:lnTo>
                    <a:pt x="3800" y="12005"/>
                  </a:lnTo>
                  <a:lnTo>
                    <a:pt x="3818" y="12013"/>
                  </a:lnTo>
                  <a:lnTo>
                    <a:pt x="3835" y="12018"/>
                  </a:lnTo>
                  <a:lnTo>
                    <a:pt x="3851" y="12021"/>
                  </a:lnTo>
                  <a:lnTo>
                    <a:pt x="3868" y="12022"/>
                  </a:lnTo>
                  <a:lnTo>
                    <a:pt x="3883" y="12020"/>
                  </a:lnTo>
                  <a:lnTo>
                    <a:pt x="3902" y="12013"/>
                  </a:lnTo>
                  <a:lnTo>
                    <a:pt x="3922" y="12001"/>
                  </a:lnTo>
                  <a:lnTo>
                    <a:pt x="3946" y="11984"/>
                  </a:lnTo>
                  <a:lnTo>
                    <a:pt x="3971" y="11961"/>
                  </a:lnTo>
                  <a:lnTo>
                    <a:pt x="4000" y="11934"/>
                  </a:lnTo>
                  <a:lnTo>
                    <a:pt x="4031" y="11903"/>
                  </a:lnTo>
                  <a:lnTo>
                    <a:pt x="4064" y="11866"/>
                  </a:lnTo>
                  <a:lnTo>
                    <a:pt x="4100" y="11824"/>
                  </a:lnTo>
                  <a:lnTo>
                    <a:pt x="4139" y="11777"/>
                  </a:lnTo>
                  <a:lnTo>
                    <a:pt x="4181" y="11725"/>
                  </a:lnTo>
                  <a:lnTo>
                    <a:pt x="4225" y="11669"/>
                  </a:lnTo>
                  <a:lnTo>
                    <a:pt x="4272" y="11607"/>
                  </a:lnTo>
                  <a:lnTo>
                    <a:pt x="4321" y="11541"/>
                  </a:lnTo>
                  <a:lnTo>
                    <a:pt x="4374" y="11469"/>
                  </a:lnTo>
                  <a:lnTo>
                    <a:pt x="4429" y="11393"/>
                  </a:lnTo>
                  <a:lnTo>
                    <a:pt x="4485" y="11312"/>
                  </a:lnTo>
                  <a:lnTo>
                    <a:pt x="4546" y="11226"/>
                  </a:lnTo>
                  <a:lnTo>
                    <a:pt x="4608" y="11135"/>
                  </a:lnTo>
                  <a:lnTo>
                    <a:pt x="4674" y="11039"/>
                  </a:lnTo>
                  <a:lnTo>
                    <a:pt x="4741" y="10938"/>
                  </a:lnTo>
                  <a:lnTo>
                    <a:pt x="4812" y="10833"/>
                  </a:lnTo>
                  <a:lnTo>
                    <a:pt x="4885" y="10721"/>
                  </a:lnTo>
                  <a:lnTo>
                    <a:pt x="4961" y="10606"/>
                  </a:lnTo>
                  <a:lnTo>
                    <a:pt x="5119" y="10360"/>
                  </a:lnTo>
                  <a:lnTo>
                    <a:pt x="5289" y="10094"/>
                  </a:lnTo>
                  <a:lnTo>
                    <a:pt x="5469" y="9809"/>
                  </a:lnTo>
                  <a:lnTo>
                    <a:pt x="5659" y="9504"/>
                  </a:lnTo>
                  <a:lnTo>
                    <a:pt x="5856" y="9190"/>
                  </a:lnTo>
                  <a:lnTo>
                    <a:pt x="6051" y="8878"/>
                  </a:lnTo>
                  <a:lnTo>
                    <a:pt x="6248" y="8570"/>
                  </a:lnTo>
                  <a:lnTo>
                    <a:pt x="6446" y="8263"/>
                  </a:lnTo>
                  <a:lnTo>
                    <a:pt x="6643" y="7959"/>
                  </a:lnTo>
                  <a:lnTo>
                    <a:pt x="6841" y="7658"/>
                  </a:lnTo>
                  <a:lnTo>
                    <a:pt x="7040" y="7359"/>
                  </a:lnTo>
                  <a:lnTo>
                    <a:pt x="7238" y="7061"/>
                  </a:lnTo>
                  <a:lnTo>
                    <a:pt x="7437" y="6767"/>
                  </a:lnTo>
                  <a:lnTo>
                    <a:pt x="7637" y="6475"/>
                  </a:lnTo>
                  <a:lnTo>
                    <a:pt x="7837" y="6185"/>
                  </a:lnTo>
                  <a:lnTo>
                    <a:pt x="8036" y="5897"/>
                  </a:lnTo>
                  <a:lnTo>
                    <a:pt x="8237" y="5612"/>
                  </a:lnTo>
                  <a:lnTo>
                    <a:pt x="8438" y="5330"/>
                  </a:lnTo>
                  <a:lnTo>
                    <a:pt x="8639" y="5050"/>
                  </a:lnTo>
                  <a:lnTo>
                    <a:pt x="8841" y="4772"/>
                  </a:lnTo>
                  <a:lnTo>
                    <a:pt x="8981" y="4581"/>
                  </a:lnTo>
                  <a:lnTo>
                    <a:pt x="9118" y="4394"/>
                  </a:lnTo>
                  <a:lnTo>
                    <a:pt x="9254" y="4211"/>
                  </a:lnTo>
                  <a:lnTo>
                    <a:pt x="9388" y="4032"/>
                  </a:lnTo>
                  <a:lnTo>
                    <a:pt x="9520" y="3857"/>
                  </a:lnTo>
                  <a:lnTo>
                    <a:pt x="9650" y="3686"/>
                  </a:lnTo>
                  <a:lnTo>
                    <a:pt x="9778" y="3519"/>
                  </a:lnTo>
                  <a:lnTo>
                    <a:pt x="9905" y="3356"/>
                  </a:lnTo>
                  <a:lnTo>
                    <a:pt x="10030" y="3196"/>
                  </a:lnTo>
                  <a:lnTo>
                    <a:pt x="10153" y="3040"/>
                  </a:lnTo>
                  <a:lnTo>
                    <a:pt x="10275" y="2888"/>
                  </a:lnTo>
                  <a:lnTo>
                    <a:pt x="10395" y="2741"/>
                  </a:lnTo>
                  <a:lnTo>
                    <a:pt x="10513" y="2596"/>
                  </a:lnTo>
                  <a:lnTo>
                    <a:pt x="10628" y="2457"/>
                  </a:lnTo>
                  <a:lnTo>
                    <a:pt x="10743" y="2321"/>
                  </a:lnTo>
                  <a:lnTo>
                    <a:pt x="10855" y="2187"/>
                  </a:lnTo>
                  <a:lnTo>
                    <a:pt x="10964" y="2060"/>
                  </a:lnTo>
                  <a:lnTo>
                    <a:pt x="11071" y="1939"/>
                  </a:lnTo>
                  <a:lnTo>
                    <a:pt x="11172" y="1825"/>
                  </a:lnTo>
                  <a:lnTo>
                    <a:pt x="11271" y="1717"/>
                  </a:lnTo>
                  <a:lnTo>
                    <a:pt x="11365" y="1615"/>
                  </a:lnTo>
                  <a:lnTo>
                    <a:pt x="11455" y="1518"/>
                  </a:lnTo>
                  <a:lnTo>
                    <a:pt x="11541" y="1428"/>
                  </a:lnTo>
                  <a:lnTo>
                    <a:pt x="11624" y="1345"/>
                  </a:lnTo>
                  <a:lnTo>
                    <a:pt x="11702" y="1267"/>
                  </a:lnTo>
                  <a:lnTo>
                    <a:pt x="11777" y="1195"/>
                  </a:lnTo>
                  <a:lnTo>
                    <a:pt x="11812" y="1163"/>
                  </a:lnTo>
                  <a:lnTo>
                    <a:pt x="11847" y="1131"/>
                  </a:lnTo>
                  <a:lnTo>
                    <a:pt x="11882" y="1101"/>
                  </a:lnTo>
                  <a:lnTo>
                    <a:pt x="11915" y="1072"/>
                  </a:lnTo>
                  <a:lnTo>
                    <a:pt x="11947" y="1045"/>
                  </a:lnTo>
                  <a:lnTo>
                    <a:pt x="11977" y="1019"/>
                  </a:lnTo>
                  <a:lnTo>
                    <a:pt x="12008" y="996"/>
                  </a:lnTo>
                  <a:lnTo>
                    <a:pt x="12037" y="973"/>
                  </a:lnTo>
                  <a:lnTo>
                    <a:pt x="12064" y="952"/>
                  </a:lnTo>
                  <a:lnTo>
                    <a:pt x="12092" y="933"/>
                  </a:lnTo>
                  <a:lnTo>
                    <a:pt x="12118" y="915"/>
                  </a:lnTo>
                  <a:lnTo>
                    <a:pt x="12143" y="899"/>
                  </a:lnTo>
                  <a:lnTo>
                    <a:pt x="12216" y="858"/>
                  </a:lnTo>
                  <a:lnTo>
                    <a:pt x="12292" y="818"/>
                  </a:lnTo>
                  <a:lnTo>
                    <a:pt x="12371" y="778"/>
                  </a:lnTo>
                  <a:lnTo>
                    <a:pt x="12453" y="740"/>
                  </a:lnTo>
                  <a:lnTo>
                    <a:pt x="12537" y="702"/>
                  </a:lnTo>
                  <a:lnTo>
                    <a:pt x="12623" y="665"/>
                  </a:lnTo>
                  <a:lnTo>
                    <a:pt x="12713" y="629"/>
                  </a:lnTo>
                  <a:lnTo>
                    <a:pt x="12805" y="593"/>
                  </a:lnTo>
                  <a:lnTo>
                    <a:pt x="12899" y="558"/>
                  </a:lnTo>
                  <a:lnTo>
                    <a:pt x="12996" y="523"/>
                  </a:lnTo>
                  <a:lnTo>
                    <a:pt x="13097" y="489"/>
                  </a:lnTo>
                  <a:lnTo>
                    <a:pt x="13199" y="456"/>
                  </a:lnTo>
                  <a:lnTo>
                    <a:pt x="13305" y="425"/>
                  </a:lnTo>
                  <a:lnTo>
                    <a:pt x="13412" y="393"/>
                  </a:lnTo>
                  <a:lnTo>
                    <a:pt x="13523" y="362"/>
                  </a:lnTo>
                  <a:lnTo>
                    <a:pt x="13636" y="332"/>
                  </a:lnTo>
                  <a:lnTo>
                    <a:pt x="13750" y="304"/>
                  </a:lnTo>
                  <a:lnTo>
                    <a:pt x="13866" y="276"/>
                  </a:lnTo>
                  <a:lnTo>
                    <a:pt x="13984" y="249"/>
                  </a:lnTo>
                  <a:lnTo>
                    <a:pt x="14104" y="224"/>
                  </a:lnTo>
                  <a:lnTo>
                    <a:pt x="14225" y="199"/>
                  </a:lnTo>
                  <a:lnTo>
                    <a:pt x="14348" y="176"/>
                  </a:lnTo>
                  <a:lnTo>
                    <a:pt x="14473" y="154"/>
                  </a:lnTo>
                  <a:lnTo>
                    <a:pt x="14600" y="133"/>
                  </a:lnTo>
                  <a:lnTo>
                    <a:pt x="14728" y="112"/>
                  </a:lnTo>
                  <a:lnTo>
                    <a:pt x="14858" y="94"/>
                  </a:lnTo>
                  <a:lnTo>
                    <a:pt x="14989" y="75"/>
                  </a:lnTo>
                  <a:lnTo>
                    <a:pt x="15123" y="58"/>
                  </a:lnTo>
                  <a:lnTo>
                    <a:pt x="15258" y="42"/>
                  </a:lnTo>
                  <a:lnTo>
                    <a:pt x="15394" y="27"/>
                  </a:lnTo>
                  <a:lnTo>
                    <a:pt x="15532" y="14"/>
                  </a:lnTo>
                  <a:lnTo>
                    <a:pt x="15672" y="0"/>
                  </a:lnTo>
                  <a:lnTo>
                    <a:pt x="15756" y="439"/>
                  </a:lnTo>
                </a:path>
              </a:pathLst>
            </a:custGeom>
            <a:solidFill>
              <a:srgbClr val="505050"/>
            </a:solidFill>
            <a:ln w="3175">
              <a:no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194" name="Group 1193">
            <a:extLst>
              <a:ext uri="{FF2B5EF4-FFF2-40B4-BE49-F238E27FC236}">
                <a16:creationId xmlns:a16="http://schemas.microsoft.com/office/drawing/2014/main" id="{7C013322-86A2-4BBE-895D-802500BF8F29}"/>
              </a:ext>
            </a:extLst>
          </p:cNvPr>
          <p:cNvGrpSpPr/>
          <p:nvPr/>
        </p:nvGrpSpPr>
        <p:grpSpPr>
          <a:xfrm>
            <a:off x="6117820" y="3943380"/>
            <a:ext cx="612775" cy="612775"/>
            <a:chOff x="4963191" y="4581723"/>
            <a:chExt cx="612775" cy="612775"/>
          </a:xfrm>
        </p:grpSpPr>
        <p:sp>
          <p:nvSpPr>
            <p:cNvPr id="1195" name="Oval 1194">
              <a:extLst>
                <a:ext uri="{FF2B5EF4-FFF2-40B4-BE49-F238E27FC236}">
                  <a16:creationId xmlns:a16="http://schemas.microsoft.com/office/drawing/2014/main" id="{8028104C-FEDD-4D65-A3D6-E59F909959C7}"/>
                </a:ext>
              </a:extLst>
            </p:cNvPr>
            <p:cNvSpPr/>
            <p:nvPr/>
          </p:nvSpPr>
          <p:spPr bwMode="ltGray">
            <a:xfrm>
              <a:off x="4963191"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196" name="Freeform 193">
              <a:extLst>
                <a:ext uri="{FF2B5EF4-FFF2-40B4-BE49-F238E27FC236}">
                  <a16:creationId xmlns:a16="http://schemas.microsoft.com/office/drawing/2014/main" id="{63A21FB8-87F2-48A4-AAF5-0D60BF377F53}"/>
                </a:ext>
              </a:extLst>
            </p:cNvPr>
            <p:cNvSpPr>
              <a:spLocks/>
            </p:cNvSpPr>
            <p:nvPr/>
          </p:nvSpPr>
          <p:spPr bwMode="auto">
            <a:xfrm>
              <a:off x="5091600" y="4712729"/>
              <a:ext cx="362673" cy="362672"/>
            </a:xfrm>
            <a:custGeom>
              <a:avLst/>
              <a:gdLst>
                <a:gd name="T0" fmla="*/ 7476851 w 16029"/>
                <a:gd name="T1" fmla="*/ 37323730 h 16014"/>
                <a:gd name="T2" fmla="*/ 0 w 16029"/>
                <a:gd name="T3" fmla="*/ 29825888 h 16014"/>
                <a:gd name="T4" fmla="*/ 11166416 w 16029"/>
                <a:gd name="T5" fmla="*/ 18678183 h 16014"/>
                <a:gd name="T6" fmla="*/ 0 w 16029"/>
                <a:gd name="T7" fmla="*/ 7490845 h 16014"/>
                <a:gd name="T8" fmla="*/ 7476851 w 16029"/>
                <a:gd name="T9" fmla="*/ 0 h 16014"/>
                <a:gd name="T10" fmla="*/ 18645631 w 16029"/>
                <a:gd name="T11" fmla="*/ 11187337 h 16014"/>
                <a:gd name="T12" fmla="*/ 29812050 w 16029"/>
                <a:gd name="T13" fmla="*/ 0 h 16014"/>
                <a:gd name="T14" fmla="*/ 37288899 w 16029"/>
                <a:gd name="T15" fmla="*/ 7490845 h 16014"/>
                <a:gd name="T16" fmla="*/ 26122485 w 16029"/>
                <a:gd name="T17" fmla="*/ 18678183 h 16014"/>
                <a:gd name="T18" fmla="*/ 37288899 w 16029"/>
                <a:gd name="T19" fmla="*/ 29825888 h 16014"/>
                <a:gd name="T20" fmla="*/ 29772500 w 16029"/>
                <a:gd name="T21" fmla="*/ 37323730 h 16014"/>
                <a:gd name="T22" fmla="*/ 18645631 w 16029"/>
                <a:gd name="T23" fmla="*/ 26169031 h 16014"/>
                <a:gd name="T24" fmla="*/ 7476851 w 16029"/>
                <a:gd name="T25" fmla="*/ 37323730 h 160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6029"/>
                <a:gd name="T40" fmla="*/ 0 h 16014"/>
                <a:gd name="T41" fmla="*/ 16029 w 16029"/>
                <a:gd name="T42" fmla="*/ 16014 h 160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6029" h="16014">
                  <a:moveTo>
                    <a:pt x="3214" y="16014"/>
                  </a:moveTo>
                  <a:lnTo>
                    <a:pt x="0" y="12797"/>
                  </a:lnTo>
                  <a:lnTo>
                    <a:pt x="4800" y="8014"/>
                  </a:lnTo>
                  <a:lnTo>
                    <a:pt x="0" y="3214"/>
                  </a:lnTo>
                  <a:lnTo>
                    <a:pt x="3214" y="0"/>
                  </a:lnTo>
                  <a:lnTo>
                    <a:pt x="8015" y="4800"/>
                  </a:lnTo>
                  <a:lnTo>
                    <a:pt x="12815" y="0"/>
                  </a:lnTo>
                  <a:lnTo>
                    <a:pt x="16029" y="3214"/>
                  </a:lnTo>
                  <a:lnTo>
                    <a:pt x="11229" y="8014"/>
                  </a:lnTo>
                  <a:lnTo>
                    <a:pt x="16029" y="12797"/>
                  </a:lnTo>
                  <a:lnTo>
                    <a:pt x="12798" y="16014"/>
                  </a:lnTo>
                  <a:lnTo>
                    <a:pt x="8015" y="11228"/>
                  </a:lnTo>
                  <a:lnTo>
                    <a:pt x="3214" y="16014"/>
                  </a:lnTo>
                  <a:close/>
                </a:path>
              </a:pathLst>
            </a:custGeom>
            <a:solidFill>
              <a:srgbClr val="505050"/>
            </a:solidFill>
            <a:ln w="3175">
              <a:no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197" name="Group 1196">
            <a:extLst>
              <a:ext uri="{FF2B5EF4-FFF2-40B4-BE49-F238E27FC236}">
                <a16:creationId xmlns:a16="http://schemas.microsoft.com/office/drawing/2014/main" id="{3AD81AA9-C165-4EE1-B5C5-60732E6CFBC0}"/>
              </a:ext>
            </a:extLst>
          </p:cNvPr>
          <p:cNvGrpSpPr/>
          <p:nvPr/>
        </p:nvGrpSpPr>
        <p:grpSpPr>
          <a:xfrm>
            <a:off x="1747436" y="2393776"/>
            <a:ext cx="612775" cy="612775"/>
            <a:chOff x="592807" y="3032119"/>
            <a:chExt cx="612775" cy="612775"/>
          </a:xfrm>
        </p:grpSpPr>
        <p:sp>
          <p:nvSpPr>
            <p:cNvPr id="1198" name="Oval 1197">
              <a:extLst>
                <a:ext uri="{FF2B5EF4-FFF2-40B4-BE49-F238E27FC236}">
                  <a16:creationId xmlns:a16="http://schemas.microsoft.com/office/drawing/2014/main" id="{81F46705-4342-43EA-A2F7-A441BF7A8947}"/>
                </a:ext>
              </a:extLst>
            </p:cNvPr>
            <p:cNvSpPr/>
            <p:nvPr/>
          </p:nvSpPr>
          <p:spPr bwMode="ltGray">
            <a:xfrm>
              <a:off x="592807"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199" name="Group 1198">
              <a:extLst>
                <a:ext uri="{FF2B5EF4-FFF2-40B4-BE49-F238E27FC236}">
                  <a16:creationId xmlns:a16="http://schemas.microsoft.com/office/drawing/2014/main" id="{66315872-5138-4199-B588-D69AC2891D15}"/>
                </a:ext>
              </a:extLst>
            </p:cNvPr>
            <p:cNvGrpSpPr/>
            <p:nvPr/>
          </p:nvGrpSpPr>
          <p:grpSpPr>
            <a:xfrm>
              <a:off x="678272" y="3092312"/>
              <a:ext cx="458686" cy="507270"/>
              <a:chOff x="5261034" y="4117182"/>
              <a:chExt cx="458686" cy="507270"/>
            </a:xfrm>
            <a:solidFill>
              <a:srgbClr val="000000"/>
            </a:solidFill>
          </p:grpSpPr>
          <p:sp>
            <p:nvSpPr>
              <p:cNvPr id="1200" name="Freeform 430">
                <a:extLst>
                  <a:ext uri="{FF2B5EF4-FFF2-40B4-BE49-F238E27FC236}">
                    <a16:creationId xmlns:a16="http://schemas.microsoft.com/office/drawing/2014/main" id="{238B3B23-90BC-45A4-990F-9A870A416047}"/>
                  </a:ext>
                </a:extLst>
              </p:cNvPr>
              <p:cNvSpPr>
                <a:spLocks/>
              </p:cNvSpPr>
              <p:nvPr/>
            </p:nvSpPr>
            <p:spPr bwMode="auto">
              <a:xfrm>
                <a:off x="5261034" y="4117182"/>
                <a:ext cx="458686" cy="507270"/>
              </a:xfrm>
              <a:custGeom>
                <a:avLst/>
                <a:gdLst>
                  <a:gd name="T0" fmla="*/ 1711 w 2002"/>
                  <a:gd name="T1" fmla="*/ 1114 h 1509"/>
                  <a:gd name="T2" fmla="*/ 1588 w 2002"/>
                  <a:gd name="T3" fmla="*/ 623 h 1509"/>
                  <a:gd name="T4" fmla="*/ 1284 w 2002"/>
                  <a:gd name="T5" fmla="*/ 576 h 1509"/>
                  <a:gd name="T6" fmla="*/ 1527 w 2002"/>
                  <a:gd name="T7" fmla="*/ 528 h 1509"/>
                  <a:gd name="T8" fmla="*/ 1284 w 2002"/>
                  <a:gd name="T9" fmla="*/ 206 h 1509"/>
                  <a:gd name="T10" fmla="*/ 927 w 2002"/>
                  <a:gd name="T11" fmla="*/ 856 h 1509"/>
                  <a:gd name="T12" fmla="*/ 870 w 2002"/>
                  <a:gd name="T13" fmla="*/ 265 h 1509"/>
                  <a:gd name="T14" fmla="*/ 685 w 2002"/>
                  <a:gd name="T15" fmla="*/ 311 h 1509"/>
                  <a:gd name="T16" fmla="*/ 661 w 2002"/>
                  <a:gd name="T17" fmla="*/ 0 h 1509"/>
                  <a:gd name="T18" fmla="*/ 606 w 2002"/>
                  <a:gd name="T19" fmla="*/ 311 h 1509"/>
                  <a:gd name="T20" fmla="*/ 507 w 2002"/>
                  <a:gd name="T21" fmla="*/ 425 h 1509"/>
                  <a:gd name="T22" fmla="*/ 454 w 2002"/>
                  <a:gd name="T23" fmla="*/ 666 h 1509"/>
                  <a:gd name="T24" fmla="*/ 507 w 2002"/>
                  <a:gd name="T25" fmla="*/ 730 h 1509"/>
                  <a:gd name="T26" fmla="*/ 454 w 2002"/>
                  <a:gd name="T27" fmla="*/ 810 h 1509"/>
                  <a:gd name="T28" fmla="*/ 507 w 2002"/>
                  <a:gd name="T29" fmla="*/ 874 h 1509"/>
                  <a:gd name="T30" fmla="*/ 349 w 2002"/>
                  <a:gd name="T31" fmla="*/ 1063 h 1509"/>
                  <a:gd name="T32" fmla="*/ 430 w 2002"/>
                  <a:gd name="T33" fmla="*/ 1183 h 1509"/>
                  <a:gd name="T34" fmla="*/ 539 w 2002"/>
                  <a:gd name="T35" fmla="*/ 1180 h 1509"/>
                  <a:gd name="T36" fmla="*/ 640 w 2002"/>
                  <a:gd name="T37" fmla="*/ 1180 h 1509"/>
                  <a:gd name="T38" fmla="*/ 741 w 2002"/>
                  <a:gd name="T39" fmla="*/ 1179 h 1509"/>
                  <a:gd name="T40" fmla="*/ 837 w 2002"/>
                  <a:gd name="T41" fmla="*/ 1300 h 1509"/>
                  <a:gd name="T42" fmla="*/ 859 w 2002"/>
                  <a:gd name="T43" fmla="*/ 1273 h 1509"/>
                  <a:gd name="T44" fmla="*/ 887 w 2002"/>
                  <a:gd name="T45" fmla="*/ 1252 h 1509"/>
                  <a:gd name="T46" fmla="*/ 918 w 2002"/>
                  <a:gd name="T47" fmla="*/ 1240 h 1509"/>
                  <a:gd name="T48" fmla="*/ 954 w 2002"/>
                  <a:gd name="T49" fmla="*/ 1235 h 1509"/>
                  <a:gd name="T50" fmla="*/ 1006 w 2002"/>
                  <a:gd name="T51" fmla="*/ 1244 h 1509"/>
                  <a:gd name="T52" fmla="*/ 1048 w 2002"/>
                  <a:gd name="T53" fmla="*/ 1271 h 1509"/>
                  <a:gd name="T54" fmla="*/ 1078 w 2002"/>
                  <a:gd name="T55" fmla="*/ 1311 h 1509"/>
                  <a:gd name="T56" fmla="*/ 1093 w 2002"/>
                  <a:gd name="T57" fmla="*/ 1359 h 1509"/>
                  <a:gd name="T58" fmla="*/ 1102 w 2002"/>
                  <a:gd name="T59" fmla="*/ 1358 h 1509"/>
                  <a:gd name="T60" fmla="*/ 1110 w 2002"/>
                  <a:gd name="T61" fmla="*/ 1357 h 1509"/>
                  <a:gd name="T62" fmla="*/ 1120 w 2002"/>
                  <a:gd name="T63" fmla="*/ 1356 h 1509"/>
                  <a:gd name="T64" fmla="*/ 1129 w 2002"/>
                  <a:gd name="T65" fmla="*/ 1356 h 1509"/>
                  <a:gd name="T66" fmla="*/ 1169 w 2002"/>
                  <a:gd name="T67" fmla="*/ 1362 h 1509"/>
                  <a:gd name="T68" fmla="*/ 1205 w 2002"/>
                  <a:gd name="T69" fmla="*/ 1379 h 1509"/>
                  <a:gd name="T70" fmla="*/ 1235 w 2002"/>
                  <a:gd name="T71" fmla="*/ 1404 h 1509"/>
                  <a:gd name="T72" fmla="*/ 1256 w 2002"/>
                  <a:gd name="T73" fmla="*/ 1438 h 1509"/>
                  <a:gd name="T74" fmla="*/ 691 w 2002"/>
                  <a:gd name="T75" fmla="*/ 1425 h 1509"/>
                  <a:gd name="T76" fmla="*/ 707 w 2002"/>
                  <a:gd name="T77" fmla="*/ 1402 h 1509"/>
                  <a:gd name="T78" fmla="*/ 728 w 2002"/>
                  <a:gd name="T79" fmla="*/ 1384 h 1509"/>
                  <a:gd name="T80" fmla="*/ 752 w 2002"/>
                  <a:gd name="T81" fmla="*/ 1370 h 1509"/>
                  <a:gd name="T82" fmla="*/ 766 w 2002"/>
                  <a:gd name="T83" fmla="*/ 1237 h 1509"/>
                  <a:gd name="T84" fmla="*/ 294 w 2002"/>
                  <a:gd name="T85" fmla="*/ 1334 h 1509"/>
                  <a:gd name="T86" fmla="*/ 278 w 2002"/>
                  <a:gd name="T87" fmla="*/ 1359 h 1509"/>
                  <a:gd name="T88" fmla="*/ 271 w 2002"/>
                  <a:gd name="T89" fmla="*/ 1389 h 1509"/>
                  <a:gd name="T90" fmla="*/ 264 w 2002"/>
                  <a:gd name="T91" fmla="*/ 1388 h 1509"/>
                  <a:gd name="T92" fmla="*/ 256 w 2002"/>
                  <a:gd name="T93" fmla="*/ 1387 h 1509"/>
                  <a:gd name="T94" fmla="*/ 232 w 2002"/>
                  <a:gd name="T95" fmla="*/ 1391 h 1509"/>
                  <a:gd name="T96" fmla="*/ 211 w 2002"/>
                  <a:gd name="T97" fmla="*/ 1401 h 1509"/>
                  <a:gd name="T98" fmla="*/ 194 w 2002"/>
                  <a:gd name="T99" fmla="*/ 1417 h 1509"/>
                  <a:gd name="T100" fmla="*/ 181 w 2002"/>
                  <a:gd name="T101" fmla="*/ 1438 h 1509"/>
                  <a:gd name="T102" fmla="*/ 0 w 2002"/>
                  <a:gd name="T103" fmla="*/ 1509 h 1509"/>
                  <a:gd name="T104" fmla="*/ 2002 w 2002"/>
                  <a:gd name="T105" fmla="*/ 1438 h 1509"/>
                  <a:gd name="connsiteX0" fmla="*/ 8546 w 10000"/>
                  <a:gd name="connsiteY0" fmla="*/ 9529 h 10020"/>
                  <a:gd name="connsiteX1" fmla="*/ 8546 w 10000"/>
                  <a:gd name="connsiteY1" fmla="*/ 7382 h 10020"/>
                  <a:gd name="connsiteX2" fmla="*/ 7932 w 10000"/>
                  <a:gd name="connsiteY2" fmla="*/ 7382 h 10020"/>
                  <a:gd name="connsiteX3" fmla="*/ 7932 w 10000"/>
                  <a:gd name="connsiteY3" fmla="*/ 4129 h 10020"/>
                  <a:gd name="connsiteX4" fmla="*/ 6414 w 10000"/>
                  <a:gd name="connsiteY4" fmla="*/ 4129 h 10020"/>
                  <a:gd name="connsiteX5" fmla="*/ 6414 w 10000"/>
                  <a:gd name="connsiteY5" fmla="*/ 3817 h 10020"/>
                  <a:gd name="connsiteX6" fmla="*/ 7627 w 10000"/>
                  <a:gd name="connsiteY6" fmla="*/ 3817 h 10020"/>
                  <a:gd name="connsiteX7" fmla="*/ 7627 w 10000"/>
                  <a:gd name="connsiteY7" fmla="*/ 3499 h 10020"/>
                  <a:gd name="connsiteX8" fmla="*/ 6414 w 10000"/>
                  <a:gd name="connsiteY8" fmla="*/ 3499 h 10020"/>
                  <a:gd name="connsiteX9" fmla="*/ 6414 w 10000"/>
                  <a:gd name="connsiteY9" fmla="*/ 1365 h 10020"/>
                  <a:gd name="connsiteX10" fmla="*/ 4630 w 10000"/>
                  <a:gd name="connsiteY10" fmla="*/ 550 h 10020"/>
                  <a:gd name="connsiteX11" fmla="*/ 4630 w 10000"/>
                  <a:gd name="connsiteY11" fmla="*/ 5673 h 10020"/>
                  <a:gd name="connsiteX12" fmla="*/ 4346 w 10000"/>
                  <a:gd name="connsiteY12" fmla="*/ 5679 h 10020"/>
                  <a:gd name="connsiteX13" fmla="*/ 4346 w 10000"/>
                  <a:gd name="connsiteY13" fmla="*/ 1756 h 10020"/>
                  <a:gd name="connsiteX14" fmla="*/ 3746 w 10000"/>
                  <a:gd name="connsiteY14" fmla="*/ 2061 h 10020"/>
                  <a:gd name="connsiteX15" fmla="*/ 3422 w 10000"/>
                  <a:gd name="connsiteY15" fmla="*/ 2061 h 10020"/>
                  <a:gd name="connsiteX16" fmla="*/ 3422 w 10000"/>
                  <a:gd name="connsiteY16" fmla="*/ 0 h 10020"/>
                  <a:gd name="connsiteX17" fmla="*/ 3302 w 10000"/>
                  <a:gd name="connsiteY17" fmla="*/ 0 h 10020"/>
                  <a:gd name="connsiteX18" fmla="*/ 3302 w 10000"/>
                  <a:gd name="connsiteY18" fmla="*/ 2061 h 10020"/>
                  <a:gd name="connsiteX19" fmla="*/ 3027 w 10000"/>
                  <a:gd name="connsiteY19" fmla="*/ 2061 h 10020"/>
                  <a:gd name="connsiteX20" fmla="*/ 3027 w 10000"/>
                  <a:gd name="connsiteY20" fmla="*/ 2492 h 10020"/>
                  <a:gd name="connsiteX21" fmla="*/ 2532 w 10000"/>
                  <a:gd name="connsiteY21" fmla="*/ 2816 h 10020"/>
                  <a:gd name="connsiteX22" fmla="*/ 2532 w 10000"/>
                  <a:gd name="connsiteY22" fmla="*/ 4414 h 10020"/>
                  <a:gd name="connsiteX23" fmla="*/ 2268 w 10000"/>
                  <a:gd name="connsiteY23" fmla="*/ 4414 h 10020"/>
                  <a:gd name="connsiteX24" fmla="*/ 2268 w 10000"/>
                  <a:gd name="connsiteY24" fmla="*/ 4838 h 10020"/>
                  <a:gd name="connsiteX25" fmla="*/ 2532 w 10000"/>
                  <a:gd name="connsiteY25" fmla="*/ 4838 h 10020"/>
                  <a:gd name="connsiteX26" fmla="*/ 2532 w 10000"/>
                  <a:gd name="connsiteY26" fmla="*/ 5368 h 10020"/>
                  <a:gd name="connsiteX27" fmla="*/ 2268 w 10000"/>
                  <a:gd name="connsiteY27" fmla="*/ 5368 h 10020"/>
                  <a:gd name="connsiteX28" fmla="*/ 2268 w 10000"/>
                  <a:gd name="connsiteY28" fmla="*/ 5792 h 10020"/>
                  <a:gd name="connsiteX29" fmla="*/ 2532 w 10000"/>
                  <a:gd name="connsiteY29" fmla="*/ 5792 h 10020"/>
                  <a:gd name="connsiteX30" fmla="*/ 2532 w 10000"/>
                  <a:gd name="connsiteY30" fmla="*/ 7044 h 10020"/>
                  <a:gd name="connsiteX31" fmla="*/ 1743 w 10000"/>
                  <a:gd name="connsiteY31" fmla="*/ 7044 h 10020"/>
                  <a:gd name="connsiteX32" fmla="*/ 1743 w 10000"/>
                  <a:gd name="connsiteY32" fmla="*/ 7820 h 10020"/>
                  <a:gd name="connsiteX33" fmla="*/ 2148 w 10000"/>
                  <a:gd name="connsiteY33" fmla="*/ 7840 h 10020"/>
                  <a:gd name="connsiteX34" fmla="*/ 2697 w 10000"/>
                  <a:gd name="connsiteY34" fmla="*/ 7316 h 10020"/>
                  <a:gd name="connsiteX35" fmla="*/ 2692 w 10000"/>
                  <a:gd name="connsiteY35" fmla="*/ 7820 h 10020"/>
                  <a:gd name="connsiteX36" fmla="*/ 3197 w 10000"/>
                  <a:gd name="connsiteY36" fmla="*/ 7369 h 10020"/>
                  <a:gd name="connsiteX37" fmla="*/ 3197 w 10000"/>
                  <a:gd name="connsiteY37" fmla="*/ 7820 h 10020"/>
                  <a:gd name="connsiteX38" fmla="*/ 3696 w 10000"/>
                  <a:gd name="connsiteY38" fmla="*/ 7362 h 10020"/>
                  <a:gd name="connsiteX39" fmla="*/ 3701 w 10000"/>
                  <a:gd name="connsiteY39" fmla="*/ 7813 h 10020"/>
                  <a:gd name="connsiteX40" fmla="*/ 4181 w 10000"/>
                  <a:gd name="connsiteY40" fmla="*/ 7329 h 10020"/>
                  <a:gd name="connsiteX41" fmla="*/ 4181 w 10000"/>
                  <a:gd name="connsiteY41" fmla="*/ 8615 h 10020"/>
                  <a:gd name="connsiteX42" fmla="*/ 4236 w 10000"/>
                  <a:gd name="connsiteY42" fmla="*/ 8522 h 10020"/>
                  <a:gd name="connsiteX43" fmla="*/ 4291 w 10000"/>
                  <a:gd name="connsiteY43" fmla="*/ 8436 h 10020"/>
                  <a:gd name="connsiteX44" fmla="*/ 4356 w 10000"/>
                  <a:gd name="connsiteY44" fmla="*/ 8363 h 10020"/>
                  <a:gd name="connsiteX45" fmla="*/ 4431 w 10000"/>
                  <a:gd name="connsiteY45" fmla="*/ 8297 h 10020"/>
                  <a:gd name="connsiteX46" fmla="*/ 4505 w 10000"/>
                  <a:gd name="connsiteY46" fmla="*/ 8250 h 10020"/>
                  <a:gd name="connsiteX47" fmla="*/ 4585 w 10000"/>
                  <a:gd name="connsiteY47" fmla="*/ 8217 h 10020"/>
                  <a:gd name="connsiteX48" fmla="*/ 4670 w 10000"/>
                  <a:gd name="connsiteY48" fmla="*/ 8191 h 10020"/>
                  <a:gd name="connsiteX49" fmla="*/ 4765 w 10000"/>
                  <a:gd name="connsiteY49" fmla="*/ 8184 h 10020"/>
                  <a:gd name="connsiteX50" fmla="*/ 4895 w 10000"/>
                  <a:gd name="connsiteY50" fmla="*/ 8197 h 10020"/>
                  <a:gd name="connsiteX51" fmla="*/ 5025 w 10000"/>
                  <a:gd name="connsiteY51" fmla="*/ 8244 h 10020"/>
                  <a:gd name="connsiteX52" fmla="*/ 5130 w 10000"/>
                  <a:gd name="connsiteY52" fmla="*/ 8323 h 10020"/>
                  <a:gd name="connsiteX53" fmla="*/ 5235 w 10000"/>
                  <a:gd name="connsiteY53" fmla="*/ 8423 h 10020"/>
                  <a:gd name="connsiteX54" fmla="*/ 5325 w 10000"/>
                  <a:gd name="connsiteY54" fmla="*/ 8542 h 10020"/>
                  <a:gd name="connsiteX55" fmla="*/ 5385 w 10000"/>
                  <a:gd name="connsiteY55" fmla="*/ 8688 h 10020"/>
                  <a:gd name="connsiteX56" fmla="*/ 5440 w 10000"/>
                  <a:gd name="connsiteY56" fmla="*/ 8840 h 10020"/>
                  <a:gd name="connsiteX57" fmla="*/ 5460 w 10000"/>
                  <a:gd name="connsiteY57" fmla="*/ 9006 h 10020"/>
                  <a:gd name="connsiteX58" fmla="*/ 5485 w 10000"/>
                  <a:gd name="connsiteY58" fmla="*/ 8999 h 10020"/>
                  <a:gd name="connsiteX59" fmla="*/ 5504 w 10000"/>
                  <a:gd name="connsiteY59" fmla="*/ 8999 h 10020"/>
                  <a:gd name="connsiteX60" fmla="*/ 5524 w 10000"/>
                  <a:gd name="connsiteY60" fmla="*/ 8993 h 10020"/>
                  <a:gd name="connsiteX61" fmla="*/ 5544 w 10000"/>
                  <a:gd name="connsiteY61" fmla="*/ 8993 h 10020"/>
                  <a:gd name="connsiteX62" fmla="*/ 5569 w 10000"/>
                  <a:gd name="connsiteY62" fmla="*/ 8986 h 10020"/>
                  <a:gd name="connsiteX63" fmla="*/ 5594 w 10000"/>
                  <a:gd name="connsiteY63" fmla="*/ 8986 h 10020"/>
                  <a:gd name="connsiteX64" fmla="*/ 5614 w 10000"/>
                  <a:gd name="connsiteY64" fmla="*/ 8986 h 10020"/>
                  <a:gd name="connsiteX65" fmla="*/ 5639 w 10000"/>
                  <a:gd name="connsiteY65" fmla="*/ 8986 h 10020"/>
                  <a:gd name="connsiteX66" fmla="*/ 5744 w 10000"/>
                  <a:gd name="connsiteY66" fmla="*/ 8993 h 10020"/>
                  <a:gd name="connsiteX67" fmla="*/ 5839 w 10000"/>
                  <a:gd name="connsiteY67" fmla="*/ 9026 h 10020"/>
                  <a:gd name="connsiteX68" fmla="*/ 5934 w 10000"/>
                  <a:gd name="connsiteY68" fmla="*/ 9072 h 10020"/>
                  <a:gd name="connsiteX69" fmla="*/ 6019 w 10000"/>
                  <a:gd name="connsiteY69" fmla="*/ 9139 h 10020"/>
                  <a:gd name="connsiteX70" fmla="*/ 6099 w 10000"/>
                  <a:gd name="connsiteY70" fmla="*/ 9218 h 10020"/>
                  <a:gd name="connsiteX71" fmla="*/ 6169 w 10000"/>
                  <a:gd name="connsiteY71" fmla="*/ 9304 h 10020"/>
                  <a:gd name="connsiteX72" fmla="*/ 6224 w 10000"/>
                  <a:gd name="connsiteY72" fmla="*/ 9417 h 10020"/>
                  <a:gd name="connsiteX73" fmla="*/ 6274 w 10000"/>
                  <a:gd name="connsiteY73" fmla="*/ 9529 h 10020"/>
                  <a:gd name="connsiteX74" fmla="*/ 3422 w 10000"/>
                  <a:gd name="connsiteY74" fmla="*/ 9529 h 10020"/>
                  <a:gd name="connsiteX75" fmla="*/ 3452 w 10000"/>
                  <a:gd name="connsiteY75" fmla="*/ 9443 h 10020"/>
                  <a:gd name="connsiteX76" fmla="*/ 3492 w 10000"/>
                  <a:gd name="connsiteY76" fmla="*/ 9357 h 10020"/>
                  <a:gd name="connsiteX77" fmla="*/ 3531 w 10000"/>
                  <a:gd name="connsiteY77" fmla="*/ 9291 h 10020"/>
                  <a:gd name="connsiteX78" fmla="*/ 3586 w 10000"/>
                  <a:gd name="connsiteY78" fmla="*/ 9225 h 10020"/>
                  <a:gd name="connsiteX79" fmla="*/ 3636 w 10000"/>
                  <a:gd name="connsiteY79" fmla="*/ 9172 h 10020"/>
                  <a:gd name="connsiteX80" fmla="*/ 3696 w 10000"/>
                  <a:gd name="connsiteY80" fmla="*/ 9119 h 10020"/>
                  <a:gd name="connsiteX81" fmla="*/ 3756 w 10000"/>
                  <a:gd name="connsiteY81" fmla="*/ 9079 h 10020"/>
                  <a:gd name="connsiteX82" fmla="*/ 3826 w 10000"/>
                  <a:gd name="connsiteY82" fmla="*/ 9046 h 10020"/>
                  <a:gd name="connsiteX83" fmla="*/ 3826 w 10000"/>
                  <a:gd name="connsiteY83" fmla="*/ 8197 h 10020"/>
                  <a:gd name="connsiteX84" fmla="*/ 1469 w 10000"/>
                  <a:gd name="connsiteY84" fmla="*/ 8211 h 10020"/>
                  <a:gd name="connsiteX85" fmla="*/ 1469 w 10000"/>
                  <a:gd name="connsiteY85" fmla="*/ 8840 h 10020"/>
                  <a:gd name="connsiteX86" fmla="*/ 1424 w 10000"/>
                  <a:gd name="connsiteY86" fmla="*/ 8920 h 10020"/>
                  <a:gd name="connsiteX87" fmla="*/ 1389 w 10000"/>
                  <a:gd name="connsiteY87" fmla="*/ 9006 h 10020"/>
                  <a:gd name="connsiteX88" fmla="*/ 1364 w 10000"/>
                  <a:gd name="connsiteY88" fmla="*/ 9099 h 10020"/>
                  <a:gd name="connsiteX89" fmla="*/ 1354 w 10000"/>
                  <a:gd name="connsiteY89" fmla="*/ 9205 h 10020"/>
                  <a:gd name="connsiteX90" fmla="*/ 1334 w 10000"/>
                  <a:gd name="connsiteY90" fmla="*/ 9198 h 10020"/>
                  <a:gd name="connsiteX91" fmla="*/ 1319 w 10000"/>
                  <a:gd name="connsiteY91" fmla="*/ 9198 h 10020"/>
                  <a:gd name="connsiteX92" fmla="*/ 1299 w 10000"/>
                  <a:gd name="connsiteY92" fmla="*/ 9192 h 10020"/>
                  <a:gd name="connsiteX93" fmla="*/ 1279 w 10000"/>
                  <a:gd name="connsiteY93" fmla="*/ 9192 h 10020"/>
                  <a:gd name="connsiteX94" fmla="*/ 1214 w 10000"/>
                  <a:gd name="connsiteY94" fmla="*/ 9198 h 10020"/>
                  <a:gd name="connsiteX95" fmla="*/ 1159 w 10000"/>
                  <a:gd name="connsiteY95" fmla="*/ 9218 h 10020"/>
                  <a:gd name="connsiteX96" fmla="*/ 1104 w 10000"/>
                  <a:gd name="connsiteY96" fmla="*/ 9245 h 10020"/>
                  <a:gd name="connsiteX97" fmla="*/ 1054 w 10000"/>
                  <a:gd name="connsiteY97" fmla="*/ 9284 h 10020"/>
                  <a:gd name="connsiteX98" fmla="*/ 1009 w 10000"/>
                  <a:gd name="connsiteY98" fmla="*/ 9337 h 10020"/>
                  <a:gd name="connsiteX99" fmla="*/ 969 w 10000"/>
                  <a:gd name="connsiteY99" fmla="*/ 9390 h 10020"/>
                  <a:gd name="connsiteX100" fmla="*/ 934 w 10000"/>
                  <a:gd name="connsiteY100" fmla="*/ 9457 h 10020"/>
                  <a:gd name="connsiteX101" fmla="*/ 904 w 10000"/>
                  <a:gd name="connsiteY101" fmla="*/ 9529 h 10020"/>
                  <a:gd name="connsiteX102" fmla="*/ 415 w 10000"/>
                  <a:gd name="connsiteY102" fmla="*/ 9529 h 10020"/>
                  <a:gd name="connsiteX103" fmla="*/ 0 w 10000"/>
                  <a:gd name="connsiteY103" fmla="*/ 10000 h 10020"/>
                  <a:gd name="connsiteX104" fmla="*/ 1760 w 10000"/>
                  <a:gd name="connsiteY104" fmla="*/ 10020 h 10020"/>
                  <a:gd name="connsiteX105" fmla="*/ 9725 w 10000"/>
                  <a:gd name="connsiteY105" fmla="*/ 10000 h 10020"/>
                  <a:gd name="connsiteX106" fmla="*/ 10000 w 10000"/>
                  <a:gd name="connsiteY106" fmla="*/ 9529 h 10020"/>
                  <a:gd name="connsiteX107" fmla="*/ 8546 w 10000"/>
                  <a:gd name="connsiteY107" fmla="*/ 9529 h 10020"/>
                  <a:gd name="connsiteX0" fmla="*/ 8131 w 9585"/>
                  <a:gd name="connsiteY0" fmla="*/ 9529 h 10020"/>
                  <a:gd name="connsiteX1" fmla="*/ 8131 w 9585"/>
                  <a:gd name="connsiteY1" fmla="*/ 7382 h 10020"/>
                  <a:gd name="connsiteX2" fmla="*/ 7517 w 9585"/>
                  <a:gd name="connsiteY2" fmla="*/ 7382 h 10020"/>
                  <a:gd name="connsiteX3" fmla="*/ 7517 w 9585"/>
                  <a:gd name="connsiteY3" fmla="*/ 4129 h 10020"/>
                  <a:gd name="connsiteX4" fmla="*/ 5999 w 9585"/>
                  <a:gd name="connsiteY4" fmla="*/ 4129 h 10020"/>
                  <a:gd name="connsiteX5" fmla="*/ 5999 w 9585"/>
                  <a:gd name="connsiteY5" fmla="*/ 3817 h 10020"/>
                  <a:gd name="connsiteX6" fmla="*/ 7212 w 9585"/>
                  <a:gd name="connsiteY6" fmla="*/ 3817 h 10020"/>
                  <a:gd name="connsiteX7" fmla="*/ 7212 w 9585"/>
                  <a:gd name="connsiteY7" fmla="*/ 3499 h 10020"/>
                  <a:gd name="connsiteX8" fmla="*/ 5999 w 9585"/>
                  <a:gd name="connsiteY8" fmla="*/ 3499 h 10020"/>
                  <a:gd name="connsiteX9" fmla="*/ 5999 w 9585"/>
                  <a:gd name="connsiteY9" fmla="*/ 1365 h 10020"/>
                  <a:gd name="connsiteX10" fmla="*/ 4215 w 9585"/>
                  <a:gd name="connsiteY10" fmla="*/ 550 h 10020"/>
                  <a:gd name="connsiteX11" fmla="*/ 4215 w 9585"/>
                  <a:gd name="connsiteY11" fmla="*/ 5673 h 10020"/>
                  <a:gd name="connsiteX12" fmla="*/ 3931 w 9585"/>
                  <a:gd name="connsiteY12" fmla="*/ 5679 h 10020"/>
                  <a:gd name="connsiteX13" fmla="*/ 3931 w 9585"/>
                  <a:gd name="connsiteY13" fmla="*/ 1756 h 10020"/>
                  <a:gd name="connsiteX14" fmla="*/ 3331 w 9585"/>
                  <a:gd name="connsiteY14" fmla="*/ 2061 h 10020"/>
                  <a:gd name="connsiteX15" fmla="*/ 3007 w 9585"/>
                  <a:gd name="connsiteY15" fmla="*/ 2061 h 10020"/>
                  <a:gd name="connsiteX16" fmla="*/ 3007 w 9585"/>
                  <a:gd name="connsiteY16" fmla="*/ 0 h 10020"/>
                  <a:gd name="connsiteX17" fmla="*/ 2887 w 9585"/>
                  <a:gd name="connsiteY17" fmla="*/ 0 h 10020"/>
                  <a:gd name="connsiteX18" fmla="*/ 2887 w 9585"/>
                  <a:gd name="connsiteY18" fmla="*/ 2061 h 10020"/>
                  <a:gd name="connsiteX19" fmla="*/ 2612 w 9585"/>
                  <a:gd name="connsiteY19" fmla="*/ 2061 h 10020"/>
                  <a:gd name="connsiteX20" fmla="*/ 2612 w 9585"/>
                  <a:gd name="connsiteY20" fmla="*/ 2492 h 10020"/>
                  <a:gd name="connsiteX21" fmla="*/ 2117 w 9585"/>
                  <a:gd name="connsiteY21" fmla="*/ 2816 h 10020"/>
                  <a:gd name="connsiteX22" fmla="*/ 2117 w 9585"/>
                  <a:gd name="connsiteY22" fmla="*/ 4414 h 10020"/>
                  <a:gd name="connsiteX23" fmla="*/ 1853 w 9585"/>
                  <a:gd name="connsiteY23" fmla="*/ 4414 h 10020"/>
                  <a:gd name="connsiteX24" fmla="*/ 1853 w 9585"/>
                  <a:gd name="connsiteY24" fmla="*/ 4838 h 10020"/>
                  <a:gd name="connsiteX25" fmla="*/ 2117 w 9585"/>
                  <a:gd name="connsiteY25" fmla="*/ 4838 h 10020"/>
                  <a:gd name="connsiteX26" fmla="*/ 2117 w 9585"/>
                  <a:gd name="connsiteY26" fmla="*/ 5368 h 10020"/>
                  <a:gd name="connsiteX27" fmla="*/ 1853 w 9585"/>
                  <a:gd name="connsiteY27" fmla="*/ 5368 h 10020"/>
                  <a:gd name="connsiteX28" fmla="*/ 1853 w 9585"/>
                  <a:gd name="connsiteY28" fmla="*/ 5792 h 10020"/>
                  <a:gd name="connsiteX29" fmla="*/ 2117 w 9585"/>
                  <a:gd name="connsiteY29" fmla="*/ 5792 h 10020"/>
                  <a:gd name="connsiteX30" fmla="*/ 2117 w 9585"/>
                  <a:gd name="connsiteY30" fmla="*/ 7044 h 10020"/>
                  <a:gd name="connsiteX31" fmla="*/ 1328 w 9585"/>
                  <a:gd name="connsiteY31" fmla="*/ 7044 h 10020"/>
                  <a:gd name="connsiteX32" fmla="*/ 1328 w 9585"/>
                  <a:gd name="connsiteY32" fmla="*/ 7820 h 10020"/>
                  <a:gd name="connsiteX33" fmla="*/ 1733 w 9585"/>
                  <a:gd name="connsiteY33" fmla="*/ 7840 h 10020"/>
                  <a:gd name="connsiteX34" fmla="*/ 2282 w 9585"/>
                  <a:gd name="connsiteY34" fmla="*/ 7316 h 10020"/>
                  <a:gd name="connsiteX35" fmla="*/ 2277 w 9585"/>
                  <a:gd name="connsiteY35" fmla="*/ 7820 h 10020"/>
                  <a:gd name="connsiteX36" fmla="*/ 2782 w 9585"/>
                  <a:gd name="connsiteY36" fmla="*/ 7369 h 10020"/>
                  <a:gd name="connsiteX37" fmla="*/ 2782 w 9585"/>
                  <a:gd name="connsiteY37" fmla="*/ 7820 h 10020"/>
                  <a:gd name="connsiteX38" fmla="*/ 3281 w 9585"/>
                  <a:gd name="connsiteY38" fmla="*/ 7362 h 10020"/>
                  <a:gd name="connsiteX39" fmla="*/ 3286 w 9585"/>
                  <a:gd name="connsiteY39" fmla="*/ 7813 h 10020"/>
                  <a:gd name="connsiteX40" fmla="*/ 3766 w 9585"/>
                  <a:gd name="connsiteY40" fmla="*/ 7329 h 10020"/>
                  <a:gd name="connsiteX41" fmla="*/ 3766 w 9585"/>
                  <a:gd name="connsiteY41" fmla="*/ 8615 h 10020"/>
                  <a:gd name="connsiteX42" fmla="*/ 3821 w 9585"/>
                  <a:gd name="connsiteY42" fmla="*/ 8522 h 10020"/>
                  <a:gd name="connsiteX43" fmla="*/ 3876 w 9585"/>
                  <a:gd name="connsiteY43" fmla="*/ 8436 h 10020"/>
                  <a:gd name="connsiteX44" fmla="*/ 3941 w 9585"/>
                  <a:gd name="connsiteY44" fmla="*/ 8363 h 10020"/>
                  <a:gd name="connsiteX45" fmla="*/ 4016 w 9585"/>
                  <a:gd name="connsiteY45" fmla="*/ 8297 h 10020"/>
                  <a:gd name="connsiteX46" fmla="*/ 4090 w 9585"/>
                  <a:gd name="connsiteY46" fmla="*/ 8250 h 10020"/>
                  <a:gd name="connsiteX47" fmla="*/ 4170 w 9585"/>
                  <a:gd name="connsiteY47" fmla="*/ 8217 h 10020"/>
                  <a:gd name="connsiteX48" fmla="*/ 4255 w 9585"/>
                  <a:gd name="connsiteY48" fmla="*/ 8191 h 10020"/>
                  <a:gd name="connsiteX49" fmla="*/ 4350 w 9585"/>
                  <a:gd name="connsiteY49" fmla="*/ 8184 h 10020"/>
                  <a:gd name="connsiteX50" fmla="*/ 4480 w 9585"/>
                  <a:gd name="connsiteY50" fmla="*/ 8197 h 10020"/>
                  <a:gd name="connsiteX51" fmla="*/ 4610 w 9585"/>
                  <a:gd name="connsiteY51" fmla="*/ 8244 h 10020"/>
                  <a:gd name="connsiteX52" fmla="*/ 4715 w 9585"/>
                  <a:gd name="connsiteY52" fmla="*/ 8323 h 10020"/>
                  <a:gd name="connsiteX53" fmla="*/ 4820 w 9585"/>
                  <a:gd name="connsiteY53" fmla="*/ 8423 h 10020"/>
                  <a:gd name="connsiteX54" fmla="*/ 4910 w 9585"/>
                  <a:gd name="connsiteY54" fmla="*/ 8542 h 10020"/>
                  <a:gd name="connsiteX55" fmla="*/ 4970 w 9585"/>
                  <a:gd name="connsiteY55" fmla="*/ 8688 h 10020"/>
                  <a:gd name="connsiteX56" fmla="*/ 5025 w 9585"/>
                  <a:gd name="connsiteY56" fmla="*/ 8840 h 10020"/>
                  <a:gd name="connsiteX57" fmla="*/ 5045 w 9585"/>
                  <a:gd name="connsiteY57" fmla="*/ 9006 h 10020"/>
                  <a:gd name="connsiteX58" fmla="*/ 5070 w 9585"/>
                  <a:gd name="connsiteY58" fmla="*/ 8999 h 10020"/>
                  <a:gd name="connsiteX59" fmla="*/ 5089 w 9585"/>
                  <a:gd name="connsiteY59" fmla="*/ 8999 h 10020"/>
                  <a:gd name="connsiteX60" fmla="*/ 5109 w 9585"/>
                  <a:gd name="connsiteY60" fmla="*/ 8993 h 10020"/>
                  <a:gd name="connsiteX61" fmla="*/ 5129 w 9585"/>
                  <a:gd name="connsiteY61" fmla="*/ 8993 h 10020"/>
                  <a:gd name="connsiteX62" fmla="*/ 5154 w 9585"/>
                  <a:gd name="connsiteY62" fmla="*/ 8986 h 10020"/>
                  <a:gd name="connsiteX63" fmla="*/ 5179 w 9585"/>
                  <a:gd name="connsiteY63" fmla="*/ 8986 h 10020"/>
                  <a:gd name="connsiteX64" fmla="*/ 5199 w 9585"/>
                  <a:gd name="connsiteY64" fmla="*/ 8986 h 10020"/>
                  <a:gd name="connsiteX65" fmla="*/ 5224 w 9585"/>
                  <a:gd name="connsiteY65" fmla="*/ 8986 h 10020"/>
                  <a:gd name="connsiteX66" fmla="*/ 5329 w 9585"/>
                  <a:gd name="connsiteY66" fmla="*/ 8993 h 10020"/>
                  <a:gd name="connsiteX67" fmla="*/ 5424 w 9585"/>
                  <a:gd name="connsiteY67" fmla="*/ 9026 h 10020"/>
                  <a:gd name="connsiteX68" fmla="*/ 5519 w 9585"/>
                  <a:gd name="connsiteY68" fmla="*/ 9072 h 10020"/>
                  <a:gd name="connsiteX69" fmla="*/ 5604 w 9585"/>
                  <a:gd name="connsiteY69" fmla="*/ 9139 h 10020"/>
                  <a:gd name="connsiteX70" fmla="*/ 5684 w 9585"/>
                  <a:gd name="connsiteY70" fmla="*/ 9218 h 10020"/>
                  <a:gd name="connsiteX71" fmla="*/ 5754 w 9585"/>
                  <a:gd name="connsiteY71" fmla="*/ 9304 h 10020"/>
                  <a:gd name="connsiteX72" fmla="*/ 5809 w 9585"/>
                  <a:gd name="connsiteY72" fmla="*/ 9417 h 10020"/>
                  <a:gd name="connsiteX73" fmla="*/ 5859 w 9585"/>
                  <a:gd name="connsiteY73" fmla="*/ 9529 h 10020"/>
                  <a:gd name="connsiteX74" fmla="*/ 3007 w 9585"/>
                  <a:gd name="connsiteY74" fmla="*/ 9529 h 10020"/>
                  <a:gd name="connsiteX75" fmla="*/ 3037 w 9585"/>
                  <a:gd name="connsiteY75" fmla="*/ 9443 h 10020"/>
                  <a:gd name="connsiteX76" fmla="*/ 3077 w 9585"/>
                  <a:gd name="connsiteY76" fmla="*/ 9357 h 10020"/>
                  <a:gd name="connsiteX77" fmla="*/ 3116 w 9585"/>
                  <a:gd name="connsiteY77" fmla="*/ 9291 h 10020"/>
                  <a:gd name="connsiteX78" fmla="*/ 3171 w 9585"/>
                  <a:gd name="connsiteY78" fmla="*/ 9225 h 10020"/>
                  <a:gd name="connsiteX79" fmla="*/ 3221 w 9585"/>
                  <a:gd name="connsiteY79" fmla="*/ 9172 h 10020"/>
                  <a:gd name="connsiteX80" fmla="*/ 3281 w 9585"/>
                  <a:gd name="connsiteY80" fmla="*/ 9119 h 10020"/>
                  <a:gd name="connsiteX81" fmla="*/ 3341 w 9585"/>
                  <a:gd name="connsiteY81" fmla="*/ 9079 h 10020"/>
                  <a:gd name="connsiteX82" fmla="*/ 3411 w 9585"/>
                  <a:gd name="connsiteY82" fmla="*/ 9046 h 10020"/>
                  <a:gd name="connsiteX83" fmla="*/ 3411 w 9585"/>
                  <a:gd name="connsiteY83" fmla="*/ 8197 h 10020"/>
                  <a:gd name="connsiteX84" fmla="*/ 1054 w 9585"/>
                  <a:gd name="connsiteY84" fmla="*/ 8211 h 10020"/>
                  <a:gd name="connsiteX85" fmla="*/ 1054 w 9585"/>
                  <a:gd name="connsiteY85" fmla="*/ 8840 h 10020"/>
                  <a:gd name="connsiteX86" fmla="*/ 1009 w 9585"/>
                  <a:gd name="connsiteY86" fmla="*/ 8920 h 10020"/>
                  <a:gd name="connsiteX87" fmla="*/ 974 w 9585"/>
                  <a:gd name="connsiteY87" fmla="*/ 9006 h 10020"/>
                  <a:gd name="connsiteX88" fmla="*/ 949 w 9585"/>
                  <a:gd name="connsiteY88" fmla="*/ 9099 h 10020"/>
                  <a:gd name="connsiteX89" fmla="*/ 939 w 9585"/>
                  <a:gd name="connsiteY89" fmla="*/ 9205 h 10020"/>
                  <a:gd name="connsiteX90" fmla="*/ 919 w 9585"/>
                  <a:gd name="connsiteY90" fmla="*/ 9198 h 10020"/>
                  <a:gd name="connsiteX91" fmla="*/ 904 w 9585"/>
                  <a:gd name="connsiteY91" fmla="*/ 9198 h 10020"/>
                  <a:gd name="connsiteX92" fmla="*/ 884 w 9585"/>
                  <a:gd name="connsiteY92" fmla="*/ 9192 h 10020"/>
                  <a:gd name="connsiteX93" fmla="*/ 864 w 9585"/>
                  <a:gd name="connsiteY93" fmla="*/ 9192 h 10020"/>
                  <a:gd name="connsiteX94" fmla="*/ 799 w 9585"/>
                  <a:gd name="connsiteY94" fmla="*/ 9198 h 10020"/>
                  <a:gd name="connsiteX95" fmla="*/ 744 w 9585"/>
                  <a:gd name="connsiteY95" fmla="*/ 9218 h 10020"/>
                  <a:gd name="connsiteX96" fmla="*/ 689 w 9585"/>
                  <a:gd name="connsiteY96" fmla="*/ 9245 h 10020"/>
                  <a:gd name="connsiteX97" fmla="*/ 639 w 9585"/>
                  <a:gd name="connsiteY97" fmla="*/ 9284 h 10020"/>
                  <a:gd name="connsiteX98" fmla="*/ 594 w 9585"/>
                  <a:gd name="connsiteY98" fmla="*/ 9337 h 10020"/>
                  <a:gd name="connsiteX99" fmla="*/ 554 w 9585"/>
                  <a:gd name="connsiteY99" fmla="*/ 9390 h 10020"/>
                  <a:gd name="connsiteX100" fmla="*/ 519 w 9585"/>
                  <a:gd name="connsiteY100" fmla="*/ 9457 h 10020"/>
                  <a:gd name="connsiteX101" fmla="*/ 489 w 9585"/>
                  <a:gd name="connsiteY101" fmla="*/ 9529 h 10020"/>
                  <a:gd name="connsiteX102" fmla="*/ 0 w 9585"/>
                  <a:gd name="connsiteY102" fmla="*/ 9529 h 10020"/>
                  <a:gd name="connsiteX103" fmla="*/ 470 w 9585"/>
                  <a:gd name="connsiteY103" fmla="*/ 9951 h 10020"/>
                  <a:gd name="connsiteX104" fmla="*/ 1345 w 9585"/>
                  <a:gd name="connsiteY104" fmla="*/ 10020 h 10020"/>
                  <a:gd name="connsiteX105" fmla="*/ 9310 w 9585"/>
                  <a:gd name="connsiteY105" fmla="*/ 10000 h 10020"/>
                  <a:gd name="connsiteX106" fmla="*/ 9585 w 9585"/>
                  <a:gd name="connsiteY106" fmla="*/ 9529 h 10020"/>
                  <a:gd name="connsiteX107" fmla="*/ 8131 w 9585"/>
                  <a:gd name="connsiteY107" fmla="*/ 9529 h 10020"/>
                  <a:gd name="connsiteX0" fmla="*/ 7993 w 9510"/>
                  <a:gd name="connsiteY0" fmla="*/ 9510 h 10000"/>
                  <a:gd name="connsiteX1" fmla="*/ 7993 w 9510"/>
                  <a:gd name="connsiteY1" fmla="*/ 7367 h 10000"/>
                  <a:gd name="connsiteX2" fmla="*/ 7352 w 9510"/>
                  <a:gd name="connsiteY2" fmla="*/ 7367 h 10000"/>
                  <a:gd name="connsiteX3" fmla="*/ 7352 w 9510"/>
                  <a:gd name="connsiteY3" fmla="*/ 4121 h 10000"/>
                  <a:gd name="connsiteX4" fmla="*/ 5769 w 9510"/>
                  <a:gd name="connsiteY4" fmla="*/ 4121 h 10000"/>
                  <a:gd name="connsiteX5" fmla="*/ 5769 w 9510"/>
                  <a:gd name="connsiteY5" fmla="*/ 3809 h 10000"/>
                  <a:gd name="connsiteX6" fmla="*/ 7034 w 9510"/>
                  <a:gd name="connsiteY6" fmla="*/ 3809 h 10000"/>
                  <a:gd name="connsiteX7" fmla="*/ 7034 w 9510"/>
                  <a:gd name="connsiteY7" fmla="*/ 3492 h 10000"/>
                  <a:gd name="connsiteX8" fmla="*/ 5769 w 9510"/>
                  <a:gd name="connsiteY8" fmla="*/ 3492 h 10000"/>
                  <a:gd name="connsiteX9" fmla="*/ 5769 w 9510"/>
                  <a:gd name="connsiteY9" fmla="*/ 1362 h 10000"/>
                  <a:gd name="connsiteX10" fmla="*/ 3907 w 9510"/>
                  <a:gd name="connsiteY10" fmla="*/ 549 h 10000"/>
                  <a:gd name="connsiteX11" fmla="*/ 3907 w 9510"/>
                  <a:gd name="connsiteY11" fmla="*/ 5662 h 10000"/>
                  <a:gd name="connsiteX12" fmla="*/ 3611 w 9510"/>
                  <a:gd name="connsiteY12" fmla="*/ 5668 h 10000"/>
                  <a:gd name="connsiteX13" fmla="*/ 3611 w 9510"/>
                  <a:gd name="connsiteY13" fmla="*/ 1752 h 10000"/>
                  <a:gd name="connsiteX14" fmla="*/ 2985 w 9510"/>
                  <a:gd name="connsiteY14" fmla="*/ 2057 h 10000"/>
                  <a:gd name="connsiteX15" fmla="*/ 2647 w 9510"/>
                  <a:gd name="connsiteY15" fmla="*/ 2057 h 10000"/>
                  <a:gd name="connsiteX16" fmla="*/ 2647 w 9510"/>
                  <a:gd name="connsiteY16" fmla="*/ 0 h 10000"/>
                  <a:gd name="connsiteX17" fmla="*/ 2522 w 9510"/>
                  <a:gd name="connsiteY17" fmla="*/ 0 h 10000"/>
                  <a:gd name="connsiteX18" fmla="*/ 2522 w 9510"/>
                  <a:gd name="connsiteY18" fmla="*/ 2057 h 10000"/>
                  <a:gd name="connsiteX19" fmla="*/ 2235 w 9510"/>
                  <a:gd name="connsiteY19" fmla="*/ 2057 h 10000"/>
                  <a:gd name="connsiteX20" fmla="*/ 2235 w 9510"/>
                  <a:gd name="connsiteY20" fmla="*/ 2487 h 10000"/>
                  <a:gd name="connsiteX21" fmla="*/ 1719 w 9510"/>
                  <a:gd name="connsiteY21" fmla="*/ 2810 h 10000"/>
                  <a:gd name="connsiteX22" fmla="*/ 1719 w 9510"/>
                  <a:gd name="connsiteY22" fmla="*/ 4405 h 10000"/>
                  <a:gd name="connsiteX23" fmla="*/ 1443 w 9510"/>
                  <a:gd name="connsiteY23" fmla="*/ 4405 h 10000"/>
                  <a:gd name="connsiteX24" fmla="*/ 1443 w 9510"/>
                  <a:gd name="connsiteY24" fmla="*/ 4828 h 10000"/>
                  <a:gd name="connsiteX25" fmla="*/ 1719 w 9510"/>
                  <a:gd name="connsiteY25" fmla="*/ 4828 h 10000"/>
                  <a:gd name="connsiteX26" fmla="*/ 1719 w 9510"/>
                  <a:gd name="connsiteY26" fmla="*/ 5357 h 10000"/>
                  <a:gd name="connsiteX27" fmla="*/ 1443 w 9510"/>
                  <a:gd name="connsiteY27" fmla="*/ 5357 h 10000"/>
                  <a:gd name="connsiteX28" fmla="*/ 1443 w 9510"/>
                  <a:gd name="connsiteY28" fmla="*/ 5780 h 10000"/>
                  <a:gd name="connsiteX29" fmla="*/ 1719 w 9510"/>
                  <a:gd name="connsiteY29" fmla="*/ 5780 h 10000"/>
                  <a:gd name="connsiteX30" fmla="*/ 1719 w 9510"/>
                  <a:gd name="connsiteY30" fmla="*/ 7030 h 10000"/>
                  <a:gd name="connsiteX31" fmla="*/ 895 w 9510"/>
                  <a:gd name="connsiteY31" fmla="*/ 7030 h 10000"/>
                  <a:gd name="connsiteX32" fmla="*/ 895 w 9510"/>
                  <a:gd name="connsiteY32" fmla="*/ 7804 h 10000"/>
                  <a:gd name="connsiteX33" fmla="*/ 1318 w 9510"/>
                  <a:gd name="connsiteY33" fmla="*/ 7824 h 10000"/>
                  <a:gd name="connsiteX34" fmla="*/ 1891 w 9510"/>
                  <a:gd name="connsiteY34" fmla="*/ 7301 h 10000"/>
                  <a:gd name="connsiteX35" fmla="*/ 1886 w 9510"/>
                  <a:gd name="connsiteY35" fmla="*/ 7804 h 10000"/>
                  <a:gd name="connsiteX36" fmla="*/ 2412 w 9510"/>
                  <a:gd name="connsiteY36" fmla="*/ 7354 h 10000"/>
                  <a:gd name="connsiteX37" fmla="*/ 2412 w 9510"/>
                  <a:gd name="connsiteY37" fmla="*/ 7804 h 10000"/>
                  <a:gd name="connsiteX38" fmla="*/ 2933 w 9510"/>
                  <a:gd name="connsiteY38" fmla="*/ 7347 h 10000"/>
                  <a:gd name="connsiteX39" fmla="*/ 2938 w 9510"/>
                  <a:gd name="connsiteY39" fmla="*/ 7797 h 10000"/>
                  <a:gd name="connsiteX40" fmla="*/ 3439 w 9510"/>
                  <a:gd name="connsiteY40" fmla="*/ 7314 h 10000"/>
                  <a:gd name="connsiteX41" fmla="*/ 3439 w 9510"/>
                  <a:gd name="connsiteY41" fmla="*/ 8598 h 10000"/>
                  <a:gd name="connsiteX42" fmla="*/ 3496 w 9510"/>
                  <a:gd name="connsiteY42" fmla="*/ 8505 h 10000"/>
                  <a:gd name="connsiteX43" fmla="*/ 3554 w 9510"/>
                  <a:gd name="connsiteY43" fmla="*/ 8419 h 10000"/>
                  <a:gd name="connsiteX44" fmla="*/ 3622 w 9510"/>
                  <a:gd name="connsiteY44" fmla="*/ 8346 h 10000"/>
                  <a:gd name="connsiteX45" fmla="*/ 3700 w 9510"/>
                  <a:gd name="connsiteY45" fmla="*/ 8280 h 10000"/>
                  <a:gd name="connsiteX46" fmla="*/ 3777 w 9510"/>
                  <a:gd name="connsiteY46" fmla="*/ 8234 h 10000"/>
                  <a:gd name="connsiteX47" fmla="*/ 3861 w 9510"/>
                  <a:gd name="connsiteY47" fmla="*/ 8201 h 10000"/>
                  <a:gd name="connsiteX48" fmla="*/ 3949 w 9510"/>
                  <a:gd name="connsiteY48" fmla="*/ 8175 h 10000"/>
                  <a:gd name="connsiteX49" fmla="*/ 4048 w 9510"/>
                  <a:gd name="connsiteY49" fmla="*/ 8168 h 10000"/>
                  <a:gd name="connsiteX50" fmla="*/ 4184 w 9510"/>
                  <a:gd name="connsiteY50" fmla="*/ 8181 h 10000"/>
                  <a:gd name="connsiteX51" fmla="*/ 4320 w 9510"/>
                  <a:gd name="connsiteY51" fmla="*/ 8228 h 10000"/>
                  <a:gd name="connsiteX52" fmla="*/ 4429 w 9510"/>
                  <a:gd name="connsiteY52" fmla="*/ 8306 h 10000"/>
                  <a:gd name="connsiteX53" fmla="*/ 4539 w 9510"/>
                  <a:gd name="connsiteY53" fmla="*/ 8406 h 10000"/>
                  <a:gd name="connsiteX54" fmla="*/ 4633 w 9510"/>
                  <a:gd name="connsiteY54" fmla="*/ 8525 h 10000"/>
                  <a:gd name="connsiteX55" fmla="*/ 4695 w 9510"/>
                  <a:gd name="connsiteY55" fmla="*/ 8671 h 10000"/>
                  <a:gd name="connsiteX56" fmla="*/ 4753 w 9510"/>
                  <a:gd name="connsiteY56" fmla="*/ 8822 h 10000"/>
                  <a:gd name="connsiteX57" fmla="*/ 4773 w 9510"/>
                  <a:gd name="connsiteY57" fmla="*/ 8988 h 10000"/>
                  <a:gd name="connsiteX58" fmla="*/ 4800 w 9510"/>
                  <a:gd name="connsiteY58" fmla="*/ 8981 h 10000"/>
                  <a:gd name="connsiteX59" fmla="*/ 4819 w 9510"/>
                  <a:gd name="connsiteY59" fmla="*/ 8981 h 10000"/>
                  <a:gd name="connsiteX60" fmla="*/ 4840 w 9510"/>
                  <a:gd name="connsiteY60" fmla="*/ 8975 h 10000"/>
                  <a:gd name="connsiteX61" fmla="*/ 4861 w 9510"/>
                  <a:gd name="connsiteY61" fmla="*/ 8975 h 10000"/>
                  <a:gd name="connsiteX62" fmla="*/ 4887 w 9510"/>
                  <a:gd name="connsiteY62" fmla="*/ 8968 h 10000"/>
                  <a:gd name="connsiteX63" fmla="*/ 4913 w 9510"/>
                  <a:gd name="connsiteY63" fmla="*/ 8968 h 10000"/>
                  <a:gd name="connsiteX64" fmla="*/ 4934 w 9510"/>
                  <a:gd name="connsiteY64" fmla="*/ 8968 h 10000"/>
                  <a:gd name="connsiteX65" fmla="*/ 4960 w 9510"/>
                  <a:gd name="connsiteY65" fmla="*/ 8968 h 10000"/>
                  <a:gd name="connsiteX66" fmla="*/ 5070 w 9510"/>
                  <a:gd name="connsiteY66" fmla="*/ 8975 h 10000"/>
                  <a:gd name="connsiteX67" fmla="*/ 5169 w 9510"/>
                  <a:gd name="connsiteY67" fmla="*/ 9008 h 10000"/>
                  <a:gd name="connsiteX68" fmla="*/ 5268 w 9510"/>
                  <a:gd name="connsiteY68" fmla="*/ 9054 h 10000"/>
                  <a:gd name="connsiteX69" fmla="*/ 5357 w 9510"/>
                  <a:gd name="connsiteY69" fmla="*/ 9121 h 10000"/>
                  <a:gd name="connsiteX70" fmla="*/ 5440 w 9510"/>
                  <a:gd name="connsiteY70" fmla="*/ 9200 h 10000"/>
                  <a:gd name="connsiteX71" fmla="*/ 5513 w 9510"/>
                  <a:gd name="connsiteY71" fmla="*/ 9285 h 10000"/>
                  <a:gd name="connsiteX72" fmla="*/ 5571 w 9510"/>
                  <a:gd name="connsiteY72" fmla="*/ 9398 h 10000"/>
                  <a:gd name="connsiteX73" fmla="*/ 5623 w 9510"/>
                  <a:gd name="connsiteY73" fmla="*/ 9510 h 10000"/>
                  <a:gd name="connsiteX74" fmla="*/ 2647 w 9510"/>
                  <a:gd name="connsiteY74" fmla="*/ 9510 h 10000"/>
                  <a:gd name="connsiteX75" fmla="*/ 2678 w 9510"/>
                  <a:gd name="connsiteY75" fmla="*/ 9424 h 10000"/>
                  <a:gd name="connsiteX76" fmla="*/ 2720 w 9510"/>
                  <a:gd name="connsiteY76" fmla="*/ 9338 h 10000"/>
                  <a:gd name="connsiteX77" fmla="*/ 2761 w 9510"/>
                  <a:gd name="connsiteY77" fmla="*/ 9272 h 10000"/>
                  <a:gd name="connsiteX78" fmla="*/ 2818 w 9510"/>
                  <a:gd name="connsiteY78" fmla="*/ 9207 h 10000"/>
                  <a:gd name="connsiteX79" fmla="*/ 2870 w 9510"/>
                  <a:gd name="connsiteY79" fmla="*/ 9154 h 10000"/>
                  <a:gd name="connsiteX80" fmla="*/ 2933 w 9510"/>
                  <a:gd name="connsiteY80" fmla="*/ 9101 h 10000"/>
                  <a:gd name="connsiteX81" fmla="*/ 2996 w 9510"/>
                  <a:gd name="connsiteY81" fmla="*/ 9061 h 10000"/>
                  <a:gd name="connsiteX82" fmla="*/ 3069 w 9510"/>
                  <a:gd name="connsiteY82" fmla="*/ 9028 h 10000"/>
                  <a:gd name="connsiteX83" fmla="*/ 3069 w 9510"/>
                  <a:gd name="connsiteY83" fmla="*/ 8181 h 10000"/>
                  <a:gd name="connsiteX84" fmla="*/ 610 w 9510"/>
                  <a:gd name="connsiteY84" fmla="*/ 8195 h 10000"/>
                  <a:gd name="connsiteX85" fmla="*/ 610 w 9510"/>
                  <a:gd name="connsiteY85" fmla="*/ 8822 h 10000"/>
                  <a:gd name="connsiteX86" fmla="*/ 563 w 9510"/>
                  <a:gd name="connsiteY86" fmla="*/ 8902 h 10000"/>
                  <a:gd name="connsiteX87" fmla="*/ 526 w 9510"/>
                  <a:gd name="connsiteY87" fmla="*/ 8988 h 10000"/>
                  <a:gd name="connsiteX88" fmla="*/ 500 w 9510"/>
                  <a:gd name="connsiteY88" fmla="*/ 9081 h 10000"/>
                  <a:gd name="connsiteX89" fmla="*/ 490 w 9510"/>
                  <a:gd name="connsiteY89" fmla="*/ 9187 h 10000"/>
                  <a:gd name="connsiteX90" fmla="*/ 469 w 9510"/>
                  <a:gd name="connsiteY90" fmla="*/ 9180 h 10000"/>
                  <a:gd name="connsiteX91" fmla="*/ 453 w 9510"/>
                  <a:gd name="connsiteY91" fmla="*/ 9180 h 10000"/>
                  <a:gd name="connsiteX92" fmla="*/ 432 w 9510"/>
                  <a:gd name="connsiteY92" fmla="*/ 9174 h 10000"/>
                  <a:gd name="connsiteX93" fmla="*/ 411 w 9510"/>
                  <a:gd name="connsiteY93" fmla="*/ 9174 h 10000"/>
                  <a:gd name="connsiteX94" fmla="*/ 344 w 9510"/>
                  <a:gd name="connsiteY94" fmla="*/ 9180 h 10000"/>
                  <a:gd name="connsiteX95" fmla="*/ 286 w 9510"/>
                  <a:gd name="connsiteY95" fmla="*/ 9200 h 10000"/>
                  <a:gd name="connsiteX96" fmla="*/ 229 w 9510"/>
                  <a:gd name="connsiteY96" fmla="*/ 9227 h 10000"/>
                  <a:gd name="connsiteX97" fmla="*/ 177 w 9510"/>
                  <a:gd name="connsiteY97" fmla="*/ 9265 h 10000"/>
                  <a:gd name="connsiteX98" fmla="*/ 130 w 9510"/>
                  <a:gd name="connsiteY98" fmla="*/ 9318 h 10000"/>
                  <a:gd name="connsiteX99" fmla="*/ 88 w 9510"/>
                  <a:gd name="connsiteY99" fmla="*/ 9371 h 10000"/>
                  <a:gd name="connsiteX100" fmla="*/ 51 w 9510"/>
                  <a:gd name="connsiteY100" fmla="*/ 9438 h 10000"/>
                  <a:gd name="connsiteX101" fmla="*/ 20 w 9510"/>
                  <a:gd name="connsiteY101" fmla="*/ 9510 h 10000"/>
                  <a:gd name="connsiteX102" fmla="*/ 203 w 9510"/>
                  <a:gd name="connsiteY102" fmla="*/ 9461 h 10000"/>
                  <a:gd name="connsiteX103" fmla="*/ 0 w 9510"/>
                  <a:gd name="connsiteY103" fmla="*/ 9931 h 10000"/>
                  <a:gd name="connsiteX104" fmla="*/ 913 w 9510"/>
                  <a:gd name="connsiteY104" fmla="*/ 10000 h 10000"/>
                  <a:gd name="connsiteX105" fmla="*/ 9223 w 9510"/>
                  <a:gd name="connsiteY105" fmla="*/ 9980 h 10000"/>
                  <a:gd name="connsiteX106" fmla="*/ 9510 w 9510"/>
                  <a:gd name="connsiteY106" fmla="*/ 9510 h 10000"/>
                  <a:gd name="connsiteX107" fmla="*/ 7993 w 9510"/>
                  <a:gd name="connsiteY107" fmla="*/ 9510 h 10000"/>
                  <a:gd name="connsiteX0" fmla="*/ 8405 w 10000"/>
                  <a:gd name="connsiteY0" fmla="*/ 9510 h 10000"/>
                  <a:gd name="connsiteX1" fmla="*/ 8405 w 10000"/>
                  <a:gd name="connsiteY1" fmla="*/ 7367 h 10000"/>
                  <a:gd name="connsiteX2" fmla="*/ 7731 w 10000"/>
                  <a:gd name="connsiteY2" fmla="*/ 7367 h 10000"/>
                  <a:gd name="connsiteX3" fmla="*/ 7731 w 10000"/>
                  <a:gd name="connsiteY3" fmla="*/ 4121 h 10000"/>
                  <a:gd name="connsiteX4" fmla="*/ 6066 w 10000"/>
                  <a:gd name="connsiteY4" fmla="*/ 4121 h 10000"/>
                  <a:gd name="connsiteX5" fmla="*/ 6066 w 10000"/>
                  <a:gd name="connsiteY5" fmla="*/ 3809 h 10000"/>
                  <a:gd name="connsiteX6" fmla="*/ 7396 w 10000"/>
                  <a:gd name="connsiteY6" fmla="*/ 3809 h 10000"/>
                  <a:gd name="connsiteX7" fmla="*/ 7396 w 10000"/>
                  <a:gd name="connsiteY7" fmla="*/ 3492 h 10000"/>
                  <a:gd name="connsiteX8" fmla="*/ 6066 w 10000"/>
                  <a:gd name="connsiteY8" fmla="*/ 3492 h 10000"/>
                  <a:gd name="connsiteX9" fmla="*/ 6066 w 10000"/>
                  <a:gd name="connsiteY9" fmla="*/ 1362 h 10000"/>
                  <a:gd name="connsiteX10" fmla="*/ 4108 w 10000"/>
                  <a:gd name="connsiteY10" fmla="*/ 549 h 10000"/>
                  <a:gd name="connsiteX11" fmla="*/ 4108 w 10000"/>
                  <a:gd name="connsiteY11" fmla="*/ 5662 h 10000"/>
                  <a:gd name="connsiteX12" fmla="*/ 3797 w 10000"/>
                  <a:gd name="connsiteY12" fmla="*/ 5668 h 10000"/>
                  <a:gd name="connsiteX13" fmla="*/ 3797 w 10000"/>
                  <a:gd name="connsiteY13" fmla="*/ 1752 h 10000"/>
                  <a:gd name="connsiteX14" fmla="*/ 3139 w 10000"/>
                  <a:gd name="connsiteY14" fmla="*/ 2057 h 10000"/>
                  <a:gd name="connsiteX15" fmla="*/ 2783 w 10000"/>
                  <a:gd name="connsiteY15" fmla="*/ 2057 h 10000"/>
                  <a:gd name="connsiteX16" fmla="*/ 2783 w 10000"/>
                  <a:gd name="connsiteY16" fmla="*/ 0 h 10000"/>
                  <a:gd name="connsiteX17" fmla="*/ 2652 w 10000"/>
                  <a:gd name="connsiteY17" fmla="*/ 0 h 10000"/>
                  <a:gd name="connsiteX18" fmla="*/ 2652 w 10000"/>
                  <a:gd name="connsiteY18" fmla="*/ 2057 h 10000"/>
                  <a:gd name="connsiteX19" fmla="*/ 2350 w 10000"/>
                  <a:gd name="connsiteY19" fmla="*/ 2057 h 10000"/>
                  <a:gd name="connsiteX20" fmla="*/ 2350 w 10000"/>
                  <a:gd name="connsiteY20" fmla="*/ 2487 h 10000"/>
                  <a:gd name="connsiteX21" fmla="*/ 1808 w 10000"/>
                  <a:gd name="connsiteY21" fmla="*/ 2810 h 10000"/>
                  <a:gd name="connsiteX22" fmla="*/ 1808 w 10000"/>
                  <a:gd name="connsiteY22" fmla="*/ 4405 h 10000"/>
                  <a:gd name="connsiteX23" fmla="*/ 1517 w 10000"/>
                  <a:gd name="connsiteY23" fmla="*/ 4405 h 10000"/>
                  <a:gd name="connsiteX24" fmla="*/ 1517 w 10000"/>
                  <a:gd name="connsiteY24" fmla="*/ 4828 h 10000"/>
                  <a:gd name="connsiteX25" fmla="*/ 1808 w 10000"/>
                  <a:gd name="connsiteY25" fmla="*/ 4828 h 10000"/>
                  <a:gd name="connsiteX26" fmla="*/ 1808 w 10000"/>
                  <a:gd name="connsiteY26" fmla="*/ 5357 h 10000"/>
                  <a:gd name="connsiteX27" fmla="*/ 1517 w 10000"/>
                  <a:gd name="connsiteY27" fmla="*/ 5357 h 10000"/>
                  <a:gd name="connsiteX28" fmla="*/ 1517 w 10000"/>
                  <a:gd name="connsiteY28" fmla="*/ 5780 h 10000"/>
                  <a:gd name="connsiteX29" fmla="*/ 1808 w 10000"/>
                  <a:gd name="connsiteY29" fmla="*/ 5780 h 10000"/>
                  <a:gd name="connsiteX30" fmla="*/ 1808 w 10000"/>
                  <a:gd name="connsiteY30" fmla="*/ 7030 h 10000"/>
                  <a:gd name="connsiteX31" fmla="*/ 941 w 10000"/>
                  <a:gd name="connsiteY31" fmla="*/ 7030 h 10000"/>
                  <a:gd name="connsiteX32" fmla="*/ 941 w 10000"/>
                  <a:gd name="connsiteY32" fmla="*/ 7804 h 10000"/>
                  <a:gd name="connsiteX33" fmla="*/ 1386 w 10000"/>
                  <a:gd name="connsiteY33" fmla="*/ 7824 h 10000"/>
                  <a:gd name="connsiteX34" fmla="*/ 1988 w 10000"/>
                  <a:gd name="connsiteY34" fmla="*/ 7301 h 10000"/>
                  <a:gd name="connsiteX35" fmla="*/ 1983 w 10000"/>
                  <a:gd name="connsiteY35" fmla="*/ 7804 h 10000"/>
                  <a:gd name="connsiteX36" fmla="*/ 2536 w 10000"/>
                  <a:gd name="connsiteY36" fmla="*/ 7354 h 10000"/>
                  <a:gd name="connsiteX37" fmla="*/ 2536 w 10000"/>
                  <a:gd name="connsiteY37" fmla="*/ 7804 h 10000"/>
                  <a:gd name="connsiteX38" fmla="*/ 3084 w 10000"/>
                  <a:gd name="connsiteY38" fmla="*/ 7347 h 10000"/>
                  <a:gd name="connsiteX39" fmla="*/ 3089 w 10000"/>
                  <a:gd name="connsiteY39" fmla="*/ 7797 h 10000"/>
                  <a:gd name="connsiteX40" fmla="*/ 3616 w 10000"/>
                  <a:gd name="connsiteY40" fmla="*/ 7314 h 10000"/>
                  <a:gd name="connsiteX41" fmla="*/ 3616 w 10000"/>
                  <a:gd name="connsiteY41" fmla="*/ 8598 h 10000"/>
                  <a:gd name="connsiteX42" fmla="*/ 3676 w 10000"/>
                  <a:gd name="connsiteY42" fmla="*/ 8505 h 10000"/>
                  <a:gd name="connsiteX43" fmla="*/ 3737 w 10000"/>
                  <a:gd name="connsiteY43" fmla="*/ 8419 h 10000"/>
                  <a:gd name="connsiteX44" fmla="*/ 3809 w 10000"/>
                  <a:gd name="connsiteY44" fmla="*/ 8346 h 10000"/>
                  <a:gd name="connsiteX45" fmla="*/ 3891 w 10000"/>
                  <a:gd name="connsiteY45" fmla="*/ 8280 h 10000"/>
                  <a:gd name="connsiteX46" fmla="*/ 3972 w 10000"/>
                  <a:gd name="connsiteY46" fmla="*/ 8234 h 10000"/>
                  <a:gd name="connsiteX47" fmla="*/ 4060 w 10000"/>
                  <a:gd name="connsiteY47" fmla="*/ 8201 h 10000"/>
                  <a:gd name="connsiteX48" fmla="*/ 4152 w 10000"/>
                  <a:gd name="connsiteY48" fmla="*/ 8175 h 10000"/>
                  <a:gd name="connsiteX49" fmla="*/ 4257 w 10000"/>
                  <a:gd name="connsiteY49" fmla="*/ 8168 h 10000"/>
                  <a:gd name="connsiteX50" fmla="*/ 4400 w 10000"/>
                  <a:gd name="connsiteY50" fmla="*/ 8181 h 10000"/>
                  <a:gd name="connsiteX51" fmla="*/ 4543 w 10000"/>
                  <a:gd name="connsiteY51" fmla="*/ 8228 h 10000"/>
                  <a:gd name="connsiteX52" fmla="*/ 4657 w 10000"/>
                  <a:gd name="connsiteY52" fmla="*/ 8306 h 10000"/>
                  <a:gd name="connsiteX53" fmla="*/ 4773 w 10000"/>
                  <a:gd name="connsiteY53" fmla="*/ 8406 h 10000"/>
                  <a:gd name="connsiteX54" fmla="*/ 4872 w 10000"/>
                  <a:gd name="connsiteY54" fmla="*/ 8525 h 10000"/>
                  <a:gd name="connsiteX55" fmla="*/ 4937 w 10000"/>
                  <a:gd name="connsiteY55" fmla="*/ 8671 h 10000"/>
                  <a:gd name="connsiteX56" fmla="*/ 4998 w 10000"/>
                  <a:gd name="connsiteY56" fmla="*/ 8822 h 10000"/>
                  <a:gd name="connsiteX57" fmla="*/ 5019 w 10000"/>
                  <a:gd name="connsiteY57" fmla="*/ 8988 h 10000"/>
                  <a:gd name="connsiteX58" fmla="*/ 5047 w 10000"/>
                  <a:gd name="connsiteY58" fmla="*/ 8981 h 10000"/>
                  <a:gd name="connsiteX59" fmla="*/ 5067 w 10000"/>
                  <a:gd name="connsiteY59" fmla="*/ 8981 h 10000"/>
                  <a:gd name="connsiteX60" fmla="*/ 5089 w 10000"/>
                  <a:gd name="connsiteY60" fmla="*/ 8975 h 10000"/>
                  <a:gd name="connsiteX61" fmla="*/ 5111 w 10000"/>
                  <a:gd name="connsiteY61" fmla="*/ 8975 h 10000"/>
                  <a:gd name="connsiteX62" fmla="*/ 5139 w 10000"/>
                  <a:gd name="connsiteY62" fmla="*/ 8968 h 10000"/>
                  <a:gd name="connsiteX63" fmla="*/ 5166 w 10000"/>
                  <a:gd name="connsiteY63" fmla="*/ 8968 h 10000"/>
                  <a:gd name="connsiteX64" fmla="*/ 5188 w 10000"/>
                  <a:gd name="connsiteY64" fmla="*/ 8968 h 10000"/>
                  <a:gd name="connsiteX65" fmla="*/ 5216 w 10000"/>
                  <a:gd name="connsiteY65" fmla="*/ 8968 h 10000"/>
                  <a:gd name="connsiteX66" fmla="*/ 5331 w 10000"/>
                  <a:gd name="connsiteY66" fmla="*/ 8975 h 10000"/>
                  <a:gd name="connsiteX67" fmla="*/ 5435 w 10000"/>
                  <a:gd name="connsiteY67" fmla="*/ 9008 h 10000"/>
                  <a:gd name="connsiteX68" fmla="*/ 5539 w 10000"/>
                  <a:gd name="connsiteY68" fmla="*/ 9054 h 10000"/>
                  <a:gd name="connsiteX69" fmla="*/ 5633 w 10000"/>
                  <a:gd name="connsiteY69" fmla="*/ 9121 h 10000"/>
                  <a:gd name="connsiteX70" fmla="*/ 5720 w 10000"/>
                  <a:gd name="connsiteY70" fmla="*/ 9200 h 10000"/>
                  <a:gd name="connsiteX71" fmla="*/ 5797 w 10000"/>
                  <a:gd name="connsiteY71" fmla="*/ 9285 h 10000"/>
                  <a:gd name="connsiteX72" fmla="*/ 5858 w 10000"/>
                  <a:gd name="connsiteY72" fmla="*/ 9398 h 10000"/>
                  <a:gd name="connsiteX73" fmla="*/ 5913 w 10000"/>
                  <a:gd name="connsiteY73" fmla="*/ 9510 h 10000"/>
                  <a:gd name="connsiteX74" fmla="*/ 2783 w 10000"/>
                  <a:gd name="connsiteY74" fmla="*/ 9510 h 10000"/>
                  <a:gd name="connsiteX75" fmla="*/ 2816 w 10000"/>
                  <a:gd name="connsiteY75" fmla="*/ 9424 h 10000"/>
                  <a:gd name="connsiteX76" fmla="*/ 2860 w 10000"/>
                  <a:gd name="connsiteY76" fmla="*/ 9338 h 10000"/>
                  <a:gd name="connsiteX77" fmla="*/ 2903 w 10000"/>
                  <a:gd name="connsiteY77" fmla="*/ 9272 h 10000"/>
                  <a:gd name="connsiteX78" fmla="*/ 2963 w 10000"/>
                  <a:gd name="connsiteY78" fmla="*/ 9207 h 10000"/>
                  <a:gd name="connsiteX79" fmla="*/ 3018 w 10000"/>
                  <a:gd name="connsiteY79" fmla="*/ 9154 h 10000"/>
                  <a:gd name="connsiteX80" fmla="*/ 3084 w 10000"/>
                  <a:gd name="connsiteY80" fmla="*/ 9101 h 10000"/>
                  <a:gd name="connsiteX81" fmla="*/ 3150 w 10000"/>
                  <a:gd name="connsiteY81" fmla="*/ 9061 h 10000"/>
                  <a:gd name="connsiteX82" fmla="*/ 3227 w 10000"/>
                  <a:gd name="connsiteY82" fmla="*/ 9028 h 10000"/>
                  <a:gd name="connsiteX83" fmla="*/ 3227 w 10000"/>
                  <a:gd name="connsiteY83" fmla="*/ 8181 h 10000"/>
                  <a:gd name="connsiteX84" fmla="*/ 641 w 10000"/>
                  <a:gd name="connsiteY84" fmla="*/ 8195 h 10000"/>
                  <a:gd name="connsiteX85" fmla="*/ 641 w 10000"/>
                  <a:gd name="connsiteY85" fmla="*/ 8822 h 10000"/>
                  <a:gd name="connsiteX86" fmla="*/ 592 w 10000"/>
                  <a:gd name="connsiteY86" fmla="*/ 8902 h 10000"/>
                  <a:gd name="connsiteX87" fmla="*/ 553 w 10000"/>
                  <a:gd name="connsiteY87" fmla="*/ 8988 h 10000"/>
                  <a:gd name="connsiteX88" fmla="*/ 526 w 10000"/>
                  <a:gd name="connsiteY88" fmla="*/ 9081 h 10000"/>
                  <a:gd name="connsiteX89" fmla="*/ 515 w 10000"/>
                  <a:gd name="connsiteY89" fmla="*/ 9187 h 10000"/>
                  <a:gd name="connsiteX90" fmla="*/ 493 w 10000"/>
                  <a:gd name="connsiteY90" fmla="*/ 9180 h 10000"/>
                  <a:gd name="connsiteX91" fmla="*/ 476 w 10000"/>
                  <a:gd name="connsiteY91" fmla="*/ 9180 h 10000"/>
                  <a:gd name="connsiteX92" fmla="*/ 454 w 10000"/>
                  <a:gd name="connsiteY92" fmla="*/ 9174 h 10000"/>
                  <a:gd name="connsiteX93" fmla="*/ 432 w 10000"/>
                  <a:gd name="connsiteY93" fmla="*/ 9174 h 10000"/>
                  <a:gd name="connsiteX94" fmla="*/ 362 w 10000"/>
                  <a:gd name="connsiteY94" fmla="*/ 9180 h 10000"/>
                  <a:gd name="connsiteX95" fmla="*/ 301 w 10000"/>
                  <a:gd name="connsiteY95" fmla="*/ 9200 h 10000"/>
                  <a:gd name="connsiteX96" fmla="*/ 241 w 10000"/>
                  <a:gd name="connsiteY96" fmla="*/ 9227 h 10000"/>
                  <a:gd name="connsiteX97" fmla="*/ 186 w 10000"/>
                  <a:gd name="connsiteY97" fmla="*/ 9265 h 10000"/>
                  <a:gd name="connsiteX98" fmla="*/ 137 w 10000"/>
                  <a:gd name="connsiteY98" fmla="*/ 9318 h 10000"/>
                  <a:gd name="connsiteX99" fmla="*/ 93 w 10000"/>
                  <a:gd name="connsiteY99" fmla="*/ 9371 h 10000"/>
                  <a:gd name="connsiteX100" fmla="*/ 54 w 10000"/>
                  <a:gd name="connsiteY100" fmla="*/ 9438 h 10000"/>
                  <a:gd name="connsiteX101" fmla="*/ 21 w 10000"/>
                  <a:gd name="connsiteY101" fmla="*/ 9510 h 10000"/>
                  <a:gd name="connsiteX102" fmla="*/ 213 w 10000"/>
                  <a:gd name="connsiteY102" fmla="*/ 9461 h 10000"/>
                  <a:gd name="connsiteX103" fmla="*/ 0 w 10000"/>
                  <a:gd name="connsiteY103" fmla="*/ 9931 h 10000"/>
                  <a:gd name="connsiteX104" fmla="*/ 960 w 10000"/>
                  <a:gd name="connsiteY104" fmla="*/ 10000 h 10000"/>
                  <a:gd name="connsiteX105" fmla="*/ 7149 w 10000"/>
                  <a:gd name="connsiteY105" fmla="*/ 9980 h 10000"/>
                  <a:gd name="connsiteX106" fmla="*/ 10000 w 10000"/>
                  <a:gd name="connsiteY106" fmla="*/ 9510 h 10000"/>
                  <a:gd name="connsiteX107" fmla="*/ 8405 w 10000"/>
                  <a:gd name="connsiteY107" fmla="*/ 9510 h 10000"/>
                  <a:gd name="connsiteX0" fmla="*/ 8405 w 8405"/>
                  <a:gd name="connsiteY0" fmla="*/ 9510 h 10000"/>
                  <a:gd name="connsiteX1" fmla="*/ 8405 w 8405"/>
                  <a:gd name="connsiteY1" fmla="*/ 7367 h 10000"/>
                  <a:gd name="connsiteX2" fmla="*/ 7731 w 8405"/>
                  <a:gd name="connsiteY2" fmla="*/ 7367 h 10000"/>
                  <a:gd name="connsiteX3" fmla="*/ 7731 w 8405"/>
                  <a:gd name="connsiteY3" fmla="*/ 4121 h 10000"/>
                  <a:gd name="connsiteX4" fmla="*/ 6066 w 8405"/>
                  <a:gd name="connsiteY4" fmla="*/ 4121 h 10000"/>
                  <a:gd name="connsiteX5" fmla="*/ 6066 w 8405"/>
                  <a:gd name="connsiteY5" fmla="*/ 3809 h 10000"/>
                  <a:gd name="connsiteX6" fmla="*/ 7396 w 8405"/>
                  <a:gd name="connsiteY6" fmla="*/ 3809 h 10000"/>
                  <a:gd name="connsiteX7" fmla="*/ 7396 w 8405"/>
                  <a:gd name="connsiteY7" fmla="*/ 3492 h 10000"/>
                  <a:gd name="connsiteX8" fmla="*/ 6066 w 8405"/>
                  <a:gd name="connsiteY8" fmla="*/ 3492 h 10000"/>
                  <a:gd name="connsiteX9" fmla="*/ 6066 w 8405"/>
                  <a:gd name="connsiteY9" fmla="*/ 1362 h 10000"/>
                  <a:gd name="connsiteX10" fmla="*/ 4108 w 8405"/>
                  <a:gd name="connsiteY10" fmla="*/ 549 h 10000"/>
                  <a:gd name="connsiteX11" fmla="*/ 4108 w 8405"/>
                  <a:gd name="connsiteY11" fmla="*/ 5662 h 10000"/>
                  <a:gd name="connsiteX12" fmla="*/ 3797 w 8405"/>
                  <a:gd name="connsiteY12" fmla="*/ 5668 h 10000"/>
                  <a:gd name="connsiteX13" fmla="*/ 3797 w 8405"/>
                  <a:gd name="connsiteY13" fmla="*/ 1752 h 10000"/>
                  <a:gd name="connsiteX14" fmla="*/ 3139 w 8405"/>
                  <a:gd name="connsiteY14" fmla="*/ 2057 h 10000"/>
                  <a:gd name="connsiteX15" fmla="*/ 2783 w 8405"/>
                  <a:gd name="connsiteY15" fmla="*/ 2057 h 10000"/>
                  <a:gd name="connsiteX16" fmla="*/ 2783 w 8405"/>
                  <a:gd name="connsiteY16" fmla="*/ 0 h 10000"/>
                  <a:gd name="connsiteX17" fmla="*/ 2652 w 8405"/>
                  <a:gd name="connsiteY17" fmla="*/ 0 h 10000"/>
                  <a:gd name="connsiteX18" fmla="*/ 2652 w 8405"/>
                  <a:gd name="connsiteY18" fmla="*/ 2057 h 10000"/>
                  <a:gd name="connsiteX19" fmla="*/ 2350 w 8405"/>
                  <a:gd name="connsiteY19" fmla="*/ 2057 h 10000"/>
                  <a:gd name="connsiteX20" fmla="*/ 2350 w 8405"/>
                  <a:gd name="connsiteY20" fmla="*/ 2487 h 10000"/>
                  <a:gd name="connsiteX21" fmla="*/ 1808 w 8405"/>
                  <a:gd name="connsiteY21" fmla="*/ 2810 h 10000"/>
                  <a:gd name="connsiteX22" fmla="*/ 1808 w 8405"/>
                  <a:gd name="connsiteY22" fmla="*/ 4405 h 10000"/>
                  <a:gd name="connsiteX23" fmla="*/ 1517 w 8405"/>
                  <a:gd name="connsiteY23" fmla="*/ 4405 h 10000"/>
                  <a:gd name="connsiteX24" fmla="*/ 1517 w 8405"/>
                  <a:gd name="connsiteY24" fmla="*/ 4828 h 10000"/>
                  <a:gd name="connsiteX25" fmla="*/ 1808 w 8405"/>
                  <a:gd name="connsiteY25" fmla="*/ 4828 h 10000"/>
                  <a:gd name="connsiteX26" fmla="*/ 1808 w 8405"/>
                  <a:gd name="connsiteY26" fmla="*/ 5357 h 10000"/>
                  <a:gd name="connsiteX27" fmla="*/ 1517 w 8405"/>
                  <a:gd name="connsiteY27" fmla="*/ 5357 h 10000"/>
                  <a:gd name="connsiteX28" fmla="*/ 1517 w 8405"/>
                  <a:gd name="connsiteY28" fmla="*/ 5780 h 10000"/>
                  <a:gd name="connsiteX29" fmla="*/ 1808 w 8405"/>
                  <a:gd name="connsiteY29" fmla="*/ 5780 h 10000"/>
                  <a:gd name="connsiteX30" fmla="*/ 1808 w 8405"/>
                  <a:gd name="connsiteY30" fmla="*/ 7030 h 10000"/>
                  <a:gd name="connsiteX31" fmla="*/ 941 w 8405"/>
                  <a:gd name="connsiteY31" fmla="*/ 7030 h 10000"/>
                  <a:gd name="connsiteX32" fmla="*/ 941 w 8405"/>
                  <a:gd name="connsiteY32" fmla="*/ 7804 h 10000"/>
                  <a:gd name="connsiteX33" fmla="*/ 1386 w 8405"/>
                  <a:gd name="connsiteY33" fmla="*/ 7824 h 10000"/>
                  <a:gd name="connsiteX34" fmla="*/ 1988 w 8405"/>
                  <a:gd name="connsiteY34" fmla="*/ 7301 h 10000"/>
                  <a:gd name="connsiteX35" fmla="*/ 1983 w 8405"/>
                  <a:gd name="connsiteY35" fmla="*/ 7804 h 10000"/>
                  <a:gd name="connsiteX36" fmla="*/ 2536 w 8405"/>
                  <a:gd name="connsiteY36" fmla="*/ 7354 h 10000"/>
                  <a:gd name="connsiteX37" fmla="*/ 2536 w 8405"/>
                  <a:gd name="connsiteY37" fmla="*/ 7804 h 10000"/>
                  <a:gd name="connsiteX38" fmla="*/ 3084 w 8405"/>
                  <a:gd name="connsiteY38" fmla="*/ 7347 h 10000"/>
                  <a:gd name="connsiteX39" fmla="*/ 3089 w 8405"/>
                  <a:gd name="connsiteY39" fmla="*/ 7797 h 10000"/>
                  <a:gd name="connsiteX40" fmla="*/ 3616 w 8405"/>
                  <a:gd name="connsiteY40" fmla="*/ 7314 h 10000"/>
                  <a:gd name="connsiteX41" fmla="*/ 3616 w 8405"/>
                  <a:gd name="connsiteY41" fmla="*/ 8598 h 10000"/>
                  <a:gd name="connsiteX42" fmla="*/ 3676 w 8405"/>
                  <a:gd name="connsiteY42" fmla="*/ 8505 h 10000"/>
                  <a:gd name="connsiteX43" fmla="*/ 3737 w 8405"/>
                  <a:gd name="connsiteY43" fmla="*/ 8419 h 10000"/>
                  <a:gd name="connsiteX44" fmla="*/ 3809 w 8405"/>
                  <a:gd name="connsiteY44" fmla="*/ 8346 h 10000"/>
                  <a:gd name="connsiteX45" fmla="*/ 3891 w 8405"/>
                  <a:gd name="connsiteY45" fmla="*/ 8280 h 10000"/>
                  <a:gd name="connsiteX46" fmla="*/ 3972 w 8405"/>
                  <a:gd name="connsiteY46" fmla="*/ 8234 h 10000"/>
                  <a:gd name="connsiteX47" fmla="*/ 4060 w 8405"/>
                  <a:gd name="connsiteY47" fmla="*/ 8201 h 10000"/>
                  <a:gd name="connsiteX48" fmla="*/ 4152 w 8405"/>
                  <a:gd name="connsiteY48" fmla="*/ 8175 h 10000"/>
                  <a:gd name="connsiteX49" fmla="*/ 4257 w 8405"/>
                  <a:gd name="connsiteY49" fmla="*/ 8168 h 10000"/>
                  <a:gd name="connsiteX50" fmla="*/ 4400 w 8405"/>
                  <a:gd name="connsiteY50" fmla="*/ 8181 h 10000"/>
                  <a:gd name="connsiteX51" fmla="*/ 4543 w 8405"/>
                  <a:gd name="connsiteY51" fmla="*/ 8228 h 10000"/>
                  <a:gd name="connsiteX52" fmla="*/ 4657 w 8405"/>
                  <a:gd name="connsiteY52" fmla="*/ 8306 h 10000"/>
                  <a:gd name="connsiteX53" fmla="*/ 4773 w 8405"/>
                  <a:gd name="connsiteY53" fmla="*/ 8406 h 10000"/>
                  <a:gd name="connsiteX54" fmla="*/ 4872 w 8405"/>
                  <a:gd name="connsiteY54" fmla="*/ 8525 h 10000"/>
                  <a:gd name="connsiteX55" fmla="*/ 4937 w 8405"/>
                  <a:gd name="connsiteY55" fmla="*/ 8671 h 10000"/>
                  <a:gd name="connsiteX56" fmla="*/ 4998 w 8405"/>
                  <a:gd name="connsiteY56" fmla="*/ 8822 h 10000"/>
                  <a:gd name="connsiteX57" fmla="*/ 5019 w 8405"/>
                  <a:gd name="connsiteY57" fmla="*/ 8988 h 10000"/>
                  <a:gd name="connsiteX58" fmla="*/ 5047 w 8405"/>
                  <a:gd name="connsiteY58" fmla="*/ 8981 h 10000"/>
                  <a:gd name="connsiteX59" fmla="*/ 5067 w 8405"/>
                  <a:gd name="connsiteY59" fmla="*/ 8981 h 10000"/>
                  <a:gd name="connsiteX60" fmla="*/ 5089 w 8405"/>
                  <a:gd name="connsiteY60" fmla="*/ 8975 h 10000"/>
                  <a:gd name="connsiteX61" fmla="*/ 5111 w 8405"/>
                  <a:gd name="connsiteY61" fmla="*/ 8975 h 10000"/>
                  <a:gd name="connsiteX62" fmla="*/ 5139 w 8405"/>
                  <a:gd name="connsiteY62" fmla="*/ 8968 h 10000"/>
                  <a:gd name="connsiteX63" fmla="*/ 5166 w 8405"/>
                  <a:gd name="connsiteY63" fmla="*/ 8968 h 10000"/>
                  <a:gd name="connsiteX64" fmla="*/ 5188 w 8405"/>
                  <a:gd name="connsiteY64" fmla="*/ 8968 h 10000"/>
                  <a:gd name="connsiteX65" fmla="*/ 5216 w 8405"/>
                  <a:gd name="connsiteY65" fmla="*/ 8968 h 10000"/>
                  <a:gd name="connsiteX66" fmla="*/ 5331 w 8405"/>
                  <a:gd name="connsiteY66" fmla="*/ 8975 h 10000"/>
                  <a:gd name="connsiteX67" fmla="*/ 5435 w 8405"/>
                  <a:gd name="connsiteY67" fmla="*/ 9008 h 10000"/>
                  <a:gd name="connsiteX68" fmla="*/ 5539 w 8405"/>
                  <a:gd name="connsiteY68" fmla="*/ 9054 h 10000"/>
                  <a:gd name="connsiteX69" fmla="*/ 5633 w 8405"/>
                  <a:gd name="connsiteY69" fmla="*/ 9121 h 10000"/>
                  <a:gd name="connsiteX70" fmla="*/ 5720 w 8405"/>
                  <a:gd name="connsiteY70" fmla="*/ 9200 h 10000"/>
                  <a:gd name="connsiteX71" fmla="*/ 5797 w 8405"/>
                  <a:gd name="connsiteY71" fmla="*/ 9285 h 10000"/>
                  <a:gd name="connsiteX72" fmla="*/ 5858 w 8405"/>
                  <a:gd name="connsiteY72" fmla="*/ 9398 h 10000"/>
                  <a:gd name="connsiteX73" fmla="*/ 5913 w 8405"/>
                  <a:gd name="connsiteY73" fmla="*/ 9510 h 10000"/>
                  <a:gd name="connsiteX74" fmla="*/ 2783 w 8405"/>
                  <a:gd name="connsiteY74" fmla="*/ 9510 h 10000"/>
                  <a:gd name="connsiteX75" fmla="*/ 2816 w 8405"/>
                  <a:gd name="connsiteY75" fmla="*/ 9424 h 10000"/>
                  <a:gd name="connsiteX76" fmla="*/ 2860 w 8405"/>
                  <a:gd name="connsiteY76" fmla="*/ 9338 h 10000"/>
                  <a:gd name="connsiteX77" fmla="*/ 2903 w 8405"/>
                  <a:gd name="connsiteY77" fmla="*/ 9272 h 10000"/>
                  <a:gd name="connsiteX78" fmla="*/ 2963 w 8405"/>
                  <a:gd name="connsiteY78" fmla="*/ 9207 h 10000"/>
                  <a:gd name="connsiteX79" fmla="*/ 3018 w 8405"/>
                  <a:gd name="connsiteY79" fmla="*/ 9154 h 10000"/>
                  <a:gd name="connsiteX80" fmla="*/ 3084 w 8405"/>
                  <a:gd name="connsiteY80" fmla="*/ 9101 h 10000"/>
                  <a:gd name="connsiteX81" fmla="*/ 3150 w 8405"/>
                  <a:gd name="connsiteY81" fmla="*/ 9061 h 10000"/>
                  <a:gd name="connsiteX82" fmla="*/ 3227 w 8405"/>
                  <a:gd name="connsiteY82" fmla="*/ 9028 h 10000"/>
                  <a:gd name="connsiteX83" fmla="*/ 3227 w 8405"/>
                  <a:gd name="connsiteY83" fmla="*/ 8181 h 10000"/>
                  <a:gd name="connsiteX84" fmla="*/ 641 w 8405"/>
                  <a:gd name="connsiteY84" fmla="*/ 8195 h 10000"/>
                  <a:gd name="connsiteX85" fmla="*/ 641 w 8405"/>
                  <a:gd name="connsiteY85" fmla="*/ 8822 h 10000"/>
                  <a:gd name="connsiteX86" fmla="*/ 592 w 8405"/>
                  <a:gd name="connsiteY86" fmla="*/ 8902 h 10000"/>
                  <a:gd name="connsiteX87" fmla="*/ 553 w 8405"/>
                  <a:gd name="connsiteY87" fmla="*/ 8988 h 10000"/>
                  <a:gd name="connsiteX88" fmla="*/ 526 w 8405"/>
                  <a:gd name="connsiteY88" fmla="*/ 9081 h 10000"/>
                  <a:gd name="connsiteX89" fmla="*/ 515 w 8405"/>
                  <a:gd name="connsiteY89" fmla="*/ 9187 h 10000"/>
                  <a:gd name="connsiteX90" fmla="*/ 493 w 8405"/>
                  <a:gd name="connsiteY90" fmla="*/ 9180 h 10000"/>
                  <a:gd name="connsiteX91" fmla="*/ 476 w 8405"/>
                  <a:gd name="connsiteY91" fmla="*/ 9180 h 10000"/>
                  <a:gd name="connsiteX92" fmla="*/ 454 w 8405"/>
                  <a:gd name="connsiteY92" fmla="*/ 9174 h 10000"/>
                  <a:gd name="connsiteX93" fmla="*/ 432 w 8405"/>
                  <a:gd name="connsiteY93" fmla="*/ 9174 h 10000"/>
                  <a:gd name="connsiteX94" fmla="*/ 362 w 8405"/>
                  <a:gd name="connsiteY94" fmla="*/ 9180 h 10000"/>
                  <a:gd name="connsiteX95" fmla="*/ 301 w 8405"/>
                  <a:gd name="connsiteY95" fmla="*/ 9200 h 10000"/>
                  <a:gd name="connsiteX96" fmla="*/ 241 w 8405"/>
                  <a:gd name="connsiteY96" fmla="*/ 9227 h 10000"/>
                  <a:gd name="connsiteX97" fmla="*/ 186 w 8405"/>
                  <a:gd name="connsiteY97" fmla="*/ 9265 h 10000"/>
                  <a:gd name="connsiteX98" fmla="*/ 137 w 8405"/>
                  <a:gd name="connsiteY98" fmla="*/ 9318 h 10000"/>
                  <a:gd name="connsiteX99" fmla="*/ 93 w 8405"/>
                  <a:gd name="connsiteY99" fmla="*/ 9371 h 10000"/>
                  <a:gd name="connsiteX100" fmla="*/ 54 w 8405"/>
                  <a:gd name="connsiteY100" fmla="*/ 9438 h 10000"/>
                  <a:gd name="connsiteX101" fmla="*/ 21 w 8405"/>
                  <a:gd name="connsiteY101" fmla="*/ 9510 h 10000"/>
                  <a:gd name="connsiteX102" fmla="*/ 213 w 8405"/>
                  <a:gd name="connsiteY102" fmla="*/ 9461 h 10000"/>
                  <a:gd name="connsiteX103" fmla="*/ 0 w 8405"/>
                  <a:gd name="connsiteY103" fmla="*/ 9931 h 10000"/>
                  <a:gd name="connsiteX104" fmla="*/ 960 w 8405"/>
                  <a:gd name="connsiteY104" fmla="*/ 10000 h 10000"/>
                  <a:gd name="connsiteX105" fmla="*/ 7149 w 8405"/>
                  <a:gd name="connsiteY105" fmla="*/ 9980 h 10000"/>
                  <a:gd name="connsiteX106" fmla="*/ 8341 w 8405"/>
                  <a:gd name="connsiteY106" fmla="*/ 9510 h 10000"/>
                  <a:gd name="connsiteX107" fmla="*/ 8405 w 8405"/>
                  <a:gd name="connsiteY107" fmla="*/ 9510 h 10000"/>
                  <a:gd name="connsiteX0" fmla="*/ 10000 w 10000"/>
                  <a:gd name="connsiteY0" fmla="*/ 9510 h 10000"/>
                  <a:gd name="connsiteX1" fmla="*/ 10000 w 10000"/>
                  <a:gd name="connsiteY1" fmla="*/ 7367 h 10000"/>
                  <a:gd name="connsiteX2" fmla="*/ 9198 w 10000"/>
                  <a:gd name="connsiteY2" fmla="*/ 7367 h 10000"/>
                  <a:gd name="connsiteX3" fmla="*/ 9198 w 10000"/>
                  <a:gd name="connsiteY3" fmla="*/ 4121 h 10000"/>
                  <a:gd name="connsiteX4" fmla="*/ 7217 w 10000"/>
                  <a:gd name="connsiteY4" fmla="*/ 4121 h 10000"/>
                  <a:gd name="connsiteX5" fmla="*/ 7217 w 10000"/>
                  <a:gd name="connsiteY5" fmla="*/ 3809 h 10000"/>
                  <a:gd name="connsiteX6" fmla="*/ 8800 w 10000"/>
                  <a:gd name="connsiteY6" fmla="*/ 3809 h 10000"/>
                  <a:gd name="connsiteX7" fmla="*/ 8800 w 10000"/>
                  <a:gd name="connsiteY7" fmla="*/ 3492 h 10000"/>
                  <a:gd name="connsiteX8" fmla="*/ 7217 w 10000"/>
                  <a:gd name="connsiteY8" fmla="*/ 3492 h 10000"/>
                  <a:gd name="connsiteX9" fmla="*/ 7217 w 10000"/>
                  <a:gd name="connsiteY9" fmla="*/ 1362 h 10000"/>
                  <a:gd name="connsiteX10" fmla="*/ 4888 w 10000"/>
                  <a:gd name="connsiteY10" fmla="*/ 549 h 10000"/>
                  <a:gd name="connsiteX11" fmla="*/ 4888 w 10000"/>
                  <a:gd name="connsiteY11" fmla="*/ 5662 h 10000"/>
                  <a:gd name="connsiteX12" fmla="*/ 4518 w 10000"/>
                  <a:gd name="connsiteY12" fmla="*/ 5668 h 10000"/>
                  <a:gd name="connsiteX13" fmla="*/ 4518 w 10000"/>
                  <a:gd name="connsiteY13" fmla="*/ 1752 h 10000"/>
                  <a:gd name="connsiteX14" fmla="*/ 3735 w 10000"/>
                  <a:gd name="connsiteY14" fmla="*/ 2057 h 10000"/>
                  <a:gd name="connsiteX15" fmla="*/ 3311 w 10000"/>
                  <a:gd name="connsiteY15" fmla="*/ 2057 h 10000"/>
                  <a:gd name="connsiteX16" fmla="*/ 3311 w 10000"/>
                  <a:gd name="connsiteY16" fmla="*/ 0 h 10000"/>
                  <a:gd name="connsiteX17" fmla="*/ 3155 w 10000"/>
                  <a:gd name="connsiteY17" fmla="*/ 0 h 10000"/>
                  <a:gd name="connsiteX18" fmla="*/ 3155 w 10000"/>
                  <a:gd name="connsiteY18" fmla="*/ 2057 h 10000"/>
                  <a:gd name="connsiteX19" fmla="*/ 2796 w 10000"/>
                  <a:gd name="connsiteY19" fmla="*/ 2057 h 10000"/>
                  <a:gd name="connsiteX20" fmla="*/ 2796 w 10000"/>
                  <a:gd name="connsiteY20" fmla="*/ 2487 h 10000"/>
                  <a:gd name="connsiteX21" fmla="*/ 2151 w 10000"/>
                  <a:gd name="connsiteY21" fmla="*/ 2810 h 10000"/>
                  <a:gd name="connsiteX22" fmla="*/ 2151 w 10000"/>
                  <a:gd name="connsiteY22" fmla="*/ 4405 h 10000"/>
                  <a:gd name="connsiteX23" fmla="*/ 1805 w 10000"/>
                  <a:gd name="connsiteY23" fmla="*/ 4405 h 10000"/>
                  <a:gd name="connsiteX24" fmla="*/ 1805 w 10000"/>
                  <a:gd name="connsiteY24" fmla="*/ 4828 h 10000"/>
                  <a:gd name="connsiteX25" fmla="*/ 2151 w 10000"/>
                  <a:gd name="connsiteY25" fmla="*/ 4828 h 10000"/>
                  <a:gd name="connsiteX26" fmla="*/ 2151 w 10000"/>
                  <a:gd name="connsiteY26" fmla="*/ 5357 h 10000"/>
                  <a:gd name="connsiteX27" fmla="*/ 1805 w 10000"/>
                  <a:gd name="connsiteY27" fmla="*/ 5357 h 10000"/>
                  <a:gd name="connsiteX28" fmla="*/ 1805 w 10000"/>
                  <a:gd name="connsiteY28" fmla="*/ 5780 h 10000"/>
                  <a:gd name="connsiteX29" fmla="*/ 2151 w 10000"/>
                  <a:gd name="connsiteY29" fmla="*/ 5780 h 10000"/>
                  <a:gd name="connsiteX30" fmla="*/ 2151 w 10000"/>
                  <a:gd name="connsiteY30" fmla="*/ 7030 h 10000"/>
                  <a:gd name="connsiteX31" fmla="*/ 1120 w 10000"/>
                  <a:gd name="connsiteY31" fmla="*/ 7030 h 10000"/>
                  <a:gd name="connsiteX32" fmla="*/ 1120 w 10000"/>
                  <a:gd name="connsiteY32" fmla="*/ 7804 h 10000"/>
                  <a:gd name="connsiteX33" fmla="*/ 1649 w 10000"/>
                  <a:gd name="connsiteY33" fmla="*/ 7824 h 10000"/>
                  <a:gd name="connsiteX34" fmla="*/ 2365 w 10000"/>
                  <a:gd name="connsiteY34" fmla="*/ 7301 h 10000"/>
                  <a:gd name="connsiteX35" fmla="*/ 2359 w 10000"/>
                  <a:gd name="connsiteY35" fmla="*/ 7804 h 10000"/>
                  <a:gd name="connsiteX36" fmla="*/ 3017 w 10000"/>
                  <a:gd name="connsiteY36" fmla="*/ 7354 h 10000"/>
                  <a:gd name="connsiteX37" fmla="*/ 3017 w 10000"/>
                  <a:gd name="connsiteY37" fmla="*/ 7804 h 10000"/>
                  <a:gd name="connsiteX38" fmla="*/ 3669 w 10000"/>
                  <a:gd name="connsiteY38" fmla="*/ 7347 h 10000"/>
                  <a:gd name="connsiteX39" fmla="*/ 3675 w 10000"/>
                  <a:gd name="connsiteY39" fmla="*/ 7797 h 10000"/>
                  <a:gd name="connsiteX40" fmla="*/ 4302 w 10000"/>
                  <a:gd name="connsiteY40" fmla="*/ 7314 h 10000"/>
                  <a:gd name="connsiteX41" fmla="*/ 4302 w 10000"/>
                  <a:gd name="connsiteY41" fmla="*/ 8598 h 10000"/>
                  <a:gd name="connsiteX42" fmla="*/ 4374 w 10000"/>
                  <a:gd name="connsiteY42" fmla="*/ 8505 h 10000"/>
                  <a:gd name="connsiteX43" fmla="*/ 4446 w 10000"/>
                  <a:gd name="connsiteY43" fmla="*/ 8419 h 10000"/>
                  <a:gd name="connsiteX44" fmla="*/ 4532 w 10000"/>
                  <a:gd name="connsiteY44" fmla="*/ 8346 h 10000"/>
                  <a:gd name="connsiteX45" fmla="*/ 4629 w 10000"/>
                  <a:gd name="connsiteY45" fmla="*/ 8280 h 10000"/>
                  <a:gd name="connsiteX46" fmla="*/ 4726 w 10000"/>
                  <a:gd name="connsiteY46" fmla="*/ 8234 h 10000"/>
                  <a:gd name="connsiteX47" fmla="*/ 4830 w 10000"/>
                  <a:gd name="connsiteY47" fmla="*/ 8201 h 10000"/>
                  <a:gd name="connsiteX48" fmla="*/ 4940 w 10000"/>
                  <a:gd name="connsiteY48" fmla="*/ 8175 h 10000"/>
                  <a:gd name="connsiteX49" fmla="*/ 5065 w 10000"/>
                  <a:gd name="connsiteY49" fmla="*/ 8168 h 10000"/>
                  <a:gd name="connsiteX50" fmla="*/ 5235 w 10000"/>
                  <a:gd name="connsiteY50" fmla="*/ 8181 h 10000"/>
                  <a:gd name="connsiteX51" fmla="*/ 5405 w 10000"/>
                  <a:gd name="connsiteY51" fmla="*/ 8228 h 10000"/>
                  <a:gd name="connsiteX52" fmla="*/ 5541 w 10000"/>
                  <a:gd name="connsiteY52" fmla="*/ 8306 h 10000"/>
                  <a:gd name="connsiteX53" fmla="*/ 5679 w 10000"/>
                  <a:gd name="connsiteY53" fmla="*/ 8406 h 10000"/>
                  <a:gd name="connsiteX54" fmla="*/ 5797 w 10000"/>
                  <a:gd name="connsiteY54" fmla="*/ 8525 h 10000"/>
                  <a:gd name="connsiteX55" fmla="*/ 5874 w 10000"/>
                  <a:gd name="connsiteY55" fmla="*/ 8671 h 10000"/>
                  <a:gd name="connsiteX56" fmla="*/ 5946 w 10000"/>
                  <a:gd name="connsiteY56" fmla="*/ 8822 h 10000"/>
                  <a:gd name="connsiteX57" fmla="*/ 5971 w 10000"/>
                  <a:gd name="connsiteY57" fmla="*/ 8988 h 10000"/>
                  <a:gd name="connsiteX58" fmla="*/ 6005 w 10000"/>
                  <a:gd name="connsiteY58" fmla="*/ 8981 h 10000"/>
                  <a:gd name="connsiteX59" fmla="*/ 6029 w 10000"/>
                  <a:gd name="connsiteY59" fmla="*/ 8981 h 10000"/>
                  <a:gd name="connsiteX60" fmla="*/ 6055 w 10000"/>
                  <a:gd name="connsiteY60" fmla="*/ 8975 h 10000"/>
                  <a:gd name="connsiteX61" fmla="*/ 6081 w 10000"/>
                  <a:gd name="connsiteY61" fmla="*/ 8975 h 10000"/>
                  <a:gd name="connsiteX62" fmla="*/ 6114 w 10000"/>
                  <a:gd name="connsiteY62" fmla="*/ 8968 h 10000"/>
                  <a:gd name="connsiteX63" fmla="*/ 6146 w 10000"/>
                  <a:gd name="connsiteY63" fmla="*/ 8968 h 10000"/>
                  <a:gd name="connsiteX64" fmla="*/ 6173 w 10000"/>
                  <a:gd name="connsiteY64" fmla="*/ 8968 h 10000"/>
                  <a:gd name="connsiteX65" fmla="*/ 6206 w 10000"/>
                  <a:gd name="connsiteY65" fmla="*/ 8968 h 10000"/>
                  <a:gd name="connsiteX66" fmla="*/ 6343 w 10000"/>
                  <a:gd name="connsiteY66" fmla="*/ 8975 h 10000"/>
                  <a:gd name="connsiteX67" fmla="*/ 6466 w 10000"/>
                  <a:gd name="connsiteY67" fmla="*/ 9008 h 10000"/>
                  <a:gd name="connsiteX68" fmla="*/ 6590 w 10000"/>
                  <a:gd name="connsiteY68" fmla="*/ 9054 h 10000"/>
                  <a:gd name="connsiteX69" fmla="*/ 6702 w 10000"/>
                  <a:gd name="connsiteY69" fmla="*/ 9121 h 10000"/>
                  <a:gd name="connsiteX70" fmla="*/ 6805 w 10000"/>
                  <a:gd name="connsiteY70" fmla="*/ 9200 h 10000"/>
                  <a:gd name="connsiteX71" fmla="*/ 6897 w 10000"/>
                  <a:gd name="connsiteY71" fmla="*/ 9285 h 10000"/>
                  <a:gd name="connsiteX72" fmla="*/ 6970 w 10000"/>
                  <a:gd name="connsiteY72" fmla="*/ 9398 h 10000"/>
                  <a:gd name="connsiteX73" fmla="*/ 7035 w 10000"/>
                  <a:gd name="connsiteY73" fmla="*/ 9510 h 10000"/>
                  <a:gd name="connsiteX74" fmla="*/ 3311 w 10000"/>
                  <a:gd name="connsiteY74" fmla="*/ 9510 h 10000"/>
                  <a:gd name="connsiteX75" fmla="*/ 3350 w 10000"/>
                  <a:gd name="connsiteY75" fmla="*/ 9424 h 10000"/>
                  <a:gd name="connsiteX76" fmla="*/ 3403 w 10000"/>
                  <a:gd name="connsiteY76" fmla="*/ 9338 h 10000"/>
                  <a:gd name="connsiteX77" fmla="*/ 3454 w 10000"/>
                  <a:gd name="connsiteY77" fmla="*/ 9272 h 10000"/>
                  <a:gd name="connsiteX78" fmla="*/ 3525 w 10000"/>
                  <a:gd name="connsiteY78" fmla="*/ 9207 h 10000"/>
                  <a:gd name="connsiteX79" fmla="*/ 3591 w 10000"/>
                  <a:gd name="connsiteY79" fmla="*/ 9154 h 10000"/>
                  <a:gd name="connsiteX80" fmla="*/ 3669 w 10000"/>
                  <a:gd name="connsiteY80" fmla="*/ 9101 h 10000"/>
                  <a:gd name="connsiteX81" fmla="*/ 3748 w 10000"/>
                  <a:gd name="connsiteY81" fmla="*/ 9061 h 10000"/>
                  <a:gd name="connsiteX82" fmla="*/ 3839 w 10000"/>
                  <a:gd name="connsiteY82" fmla="*/ 9028 h 10000"/>
                  <a:gd name="connsiteX83" fmla="*/ 3839 w 10000"/>
                  <a:gd name="connsiteY83" fmla="*/ 8181 h 10000"/>
                  <a:gd name="connsiteX84" fmla="*/ 763 w 10000"/>
                  <a:gd name="connsiteY84" fmla="*/ 8195 h 10000"/>
                  <a:gd name="connsiteX85" fmla="*/ 763 w 10000"/>
                  <a:gd name="connsiteY85" fmla="*/ 8822 h 10000"/>
                  <a:gd name="connsiteX86" fmla="*/ 704 w 10000"/>
                  <a:gd name="connsiteY86" fmla="*/ 8902 h 10000"/>
                  <a:gd name="connsiteX87" fmla="*/ 658 w 10000"/>
                  <a:gd name="connsiteY87" fmla="*/ 8988 h 10000"/>
                  <a:gd name="connsiteX88" fmla="*/ 626 w 10000"/>
                  <a:gd name="connsiteY88" fmla="*/ 9081 h 10000"/>
                  <a:gd name="connsiteX89" fmla="*/ 613 w 10000"/>
                  <a:gd name="connsiteY89" fmla="*/ 9187 h 10000"/>
                  <a:gd name="connsiteX90" fmla="*/ 587 w 10000"/>
                  <a:gd name="connsiteY90" fmla="*/ 9180 h 10000"/>
                  <a:gd name="connsiteX91" fmla="*/ 566 w 10000"/>
                  <a:gd name="connsiteY91" fmla="*/ 9180 h 10000"/>
                  <a:gd name="connsiteX92" fmla="*/ 540 w 10000"/>
                  <a:gd name="connsiteY92" fmla="*/ 9174 h 10000"/>
                  <a:gd name="connsiteX93" fmla="*/ 514 w 10000"/>
                  <a:gd name="connsiteY93" fmla="*/ 9174 h 10000"/>
                  <a:gd name="connsiteX94" fmla="*/ 431 w 10000"/>
                  <a:gd name="connsiteY94" fmla="*/ 9180 h 10000"/>
                  <a:gd name="connsiteX95" fmla="*/ 358 w 10000"/>
                  <a:gd name="connsiteY95" fmla="*/ 9200 h 10000"/>
                  <a:gd name="connsiteX96" fmla="*/ 287 w 10000"/>
                  <a:gd name="connsiteY96" fmla="*/ 9227 h 10000"/>
                  <a:gd name="connsiteX97" fmla="*/ 221 w 10000"/>
                  <a:gd name="connsiteY97" fmla="*/ 9265 h 10000"/>
                  <a:gd name="connsiteX98" fmla="*/ 163 w 10000"/>
                  <a:gd name="connsiteY98" fmla="*/ 9318 h 10000"/>
                  <a:gd name="connsiteX99" fmla="*/ 111 w 10000"/>
                  <a:gd name="connsiteY99" fmla="*/ 9371 h 10000"/>
                  <a:gd name="connsiteX100" fmla="*/ 64 w 10000"/>
                  <a:gd name="connsiteY100" fmla="*/ 9438 h 10000"/>
                  <a:gd name="connsiteX101" fmla="*/ 314 w 10000"/>
                  <a:gd name="connsiteY101" fmla="*/ 9510 h 10000"/>
                  <a:gd name="connsiteX102" fmla="*/ 253 w 10000"/>
                  <a:gd name="connsiteY102" fmla="*/ 9461 h 10000"/>
                  <a:gd name="connsiteX103" fmla="*/ 0 w 10000"/>
                  <a:gd name="connsiteY103" fmla="*/ 9931 h 10000"/>
                  <a:gd name="connsiteX104" fmla="*/ 1142 w 10000"/>
                  <a:gd name="connsiteY104" fmla="*/ 10000 h 10000"/>
                  <a:gd name="connsiteX105" fmla="*/ 8506 w 10000"/>
                  <a:gd name="connsiteY105" fmla="*/ 9980 h 10000"/>
                  <a:gd name="connsiteX106" fmla="*/ 9924 w 10000"/>
                  <a:gd name="connsiteY106" fmla="*/ 9510 h 10000"/>
                  <a:gd name="connsiteX107" fmla="*/ 10000 w 10000"/>
                  <a:gd name="connsiteY107" fmla="*/ 9510 h 10000"/>
                  <a:gd name="connsiteX0" fmla="*/ 9936 w 9936"/>
                  <a:gd name="connsiteY0" fmla="*/ 9510 h 10000"/>
                  <a:gd name="connsiteX1" fmla="*/ 9936 w 9936"/>
                  <a:gd name="connsiteY1" fmla="*/ 7367 h 10000"/>
                  <a:gd name="connsiteX2" fmla="*/ 9134 w 9936"/>
                  <a:gd name="connsiteY2" fmla="*/ 7367 h 10000"/>
                  <a:gd name="connsiteX3" fmla="*/ 9134 w 9936"/>
                  <a:gd name="connsiteY3" fmla="*/ 4121 h 10000"/>
                  <a:gd name="connsiteX4" fmla="*/ 7153 w 9936"/>
                  <a:gd name="connsiteY4" fmla="*/ 4121 h 10000"/>
                  <a:gd name="connsiteX5" fmla="*/ 7153 w 9936"/>
                  <a:gd name="connsiteY5" fmla="*/ 3809 h 10000"/>
                  <a:gd name="connsiteX6" fmla="*/ 8736 w 9936"/>
                  <a:gd name="connsiteY6" fmla="*/ 3809 h 10000"/>
                  <a:gd name="connsiteX7" fmla="*/ 8736 w 9936"/>
                  <a:gd name="connsiteY7" fmla="*/ 3492 h 10000"/>
                  <a:gd name="connsiteX8" fmla="*/ 7153 w 9936"/>
                  <a:gd name="connsiteY8" fmla="*/ 3492 h 10000"/>
                  <a:gd name="connsiteX9" fmla="*/ 7153 w 9936"/>
                  <a:gd name="connsiteY9" fmla="*/ 1362 h 10000"/>
                  <a:gd name="connsiteX10" fmla="*/ 4824 w 9936"/>
                  <a:gd name="connsiteY10" fmla="*/ 549 h 10000"/>
                  <a:gd name="connsiteX11" fmla="*/ 4824 w 9936"/>
                  <a:gd name="connsiteY11" fmla="*/ 5662 h 10000"/>
                  <a:gd name="connsiteX12" fmla="*/ 4454 w 9936"/>
                  <a:gd name="connsiteY12" fmla="*/ 5668 h 10000"/>
                  <a:gd name="connsiteX13" fmla="*/ 4454 w 9936"/>
                  <a:gd name="connsiteY13" fmla="*/ 1752 h 10000"/>
                  <a:gd name="connsiteX14" fmla="*/ 3671 w 9936"/>
                  <a:gd name="connsiteY14" fmla="*/ 2057 h 10000"/>
                  <a:gd name="connsiteX15" fmla="*/ 3247 w 9936"/>
                  <a:gd name="connsiteY15" fmla="*/ 2057 h 10000"/>
                  <a:gd name="connsiteX16" fmla="*/ 3247 w 9936"/>
                  <a:gd name="connsiteY16" fmla="*/ 0 h 10000"/>
                  <a:gd name="connsiteX17" fmla="*/ 3091 w 9936"/>
                  <a:gd name="connsiteY17" fmla="*/ 0 h 10000"/>
                  <a:gd name="connsiteX18" fmla="*/ 3091 w 9936"/>
                  <a:gd name="connsiteY18" fmla="*/ 2057 h 10000"/>
                  <a:gd name="connsiteX19" fmla="*/ 2732 w 9936"/>
                  <a:gd name="connsiteY19" fmla="*/ 2057 h 10000"/>
                  <a:gd name="connsiteX20" fmla="*/ 2732 w 9936"/>
                  <a:gd name="connsiteY20" fmla="*/ 2487 h 10000"/>
                  <a:gd name="connsiteX21" fmla="*/ 2087 w 9936"/>
                  <a:gd name="connsiteY21" fmla="*/ 2810 h 10000"/>
                  <a:gd name="connsiteX22" fmla="*/ 2087 w 9936"/>
                  <a:gd name="connsiteY22" fmla="*/ 4405 h 10000"/>
                  <a:gd name="connsiteX23" fmla="*/ 1741 w 9936"/>
                  <a:gd name="connsiteY23" fmla="*/ 4405 h 10000"/>
                  <a:gd name="connsiteX24" fmla="*/ 1741 w 9936"/>
                  <a:gd name="connsiteY24" fmla="*/ 4828 h 10000"/>
                  <a:gd name="connsiteX25" fmla="*/ 2087 w 9936"/>
                  <a:gd name="connsiteY25" fmla="*/ 4828 h 10000"/>
                  <a:gd name="connsiteX26" fmla="*/ 2087 w 9936"/>
                  <a:gd name="connsiteY26" fmla="*/ 5357 h 10000"/>
                  <a:gd name="connsiteX27" fmla="*/ 1741 w 9936"/>
                  <a:gd name="connsiteY27" fmla="*/ 5357 h 10000"/>
                  <a:gd name="connsiteX28" fmla="*/ 1741 w 9936"/>
                  <a:gd name="connsiteY28" fmla="*/ 5780 h 10000"/>
                  <a:gd name="connsiteX29" fmla="*/ 2087 w 9936"/>
                  <a:gd name="connsiteY29" fmla="*/ 5780 h 10000"/>
                  <a:gd name="connsiteX30" fmla="*/ 2087 w 9936"/>
                  <a:gd name="connsiteY30" fmla="*/ 7030 h 10000"/>
                  <a:gd name="connsiteX31" fmla="*/ 1056 w 9936"/>
                  <a:gd name="connsiteY31" fmla="*/ 7030 h 10000"/>
                  <a:gd name="connsiteX32" fmla="*/ 1056 w 9936"/>
                  <a:gd name="connsiteY32" fmla="*/ 7804 h 10000"/>
                  <a:gd name="connsiteX33" fmla="*/ 1585 w 9936"/>
                  <a:gd name="connsiteY33" fmla="*/ 7824 h 10000"/>
                  <a:gd name="connsiteX34" fmla="*/ 2301 w 9936"/>
                  <a:gd name="connsiteY34" fmla="*/ 7301 h 10000"/>
                  <a:gd name="connsiteX35" fmla="*/ 2295 w 9936"/>
                  <a:gd name="connsiteY35" fmla="*/ 7804 h 10000"/>
                  <a:gd name="connsiteX36" fmla="*/ 2953 w 9936"/>
                  <a:gd name="connsiteY36" fmla="*/ 7354 h 10000"/>
                  <a:gd name="connsiteX37" fmla="*/ 2953 w 9936"/>
                  <a:gd name="connsiteY37" fmla="*/ 7804 h 10000"/>
                  <a:gd name="connsiteX38" fmla="*/ 3605 w 9936"/>
                  <a:gd name="connsiteY38" fmla="*/ 7347 h 10000"/>
                  <a:gd name="connsiteX39" fmla="*/ 3611 w 9936"/>
                  <a:gd name="connsiteY39" fmla="*/ 7797 h 10000"/>
                  <a:gd name="connsiteX40" fmla="*/ 4238 w 9936"/>
                  <a:gd name="connsiteY40" fmla="*/ 7314 h 10000"/>
                  <a:gd name="connsiteX41" fmla="*/ 4238 w 9936"/>
                  <a:gd name="connsiteY41" fmla="*/ 8598 h 10000"/>
                  <a:gd name="connsiteX42" fmla="*/ 4310 w 9936"/>
                  <a:gd name="connsiteY42" fmla="*/ 8505 h 10000"/>
                  <a:gd name="connsiteX43" fmla="*/ 4382 w 9936"/>
                  <a:gd name="connsiteY43" fmla="*/ 8419 h 10000"/>
                  <a:gd name="connsiteX44" fmla="*/ 4468 w 9936"/>
                  <a:gd name="connsiteY44" fmla="*/ 8346 h 10000"/>
                  <a:gd name="connsiteX45" fmla="*/ 4565 w 9936"/>
                  <a:gd name="connsiteY45" fmla="*/ 8280 h 10000"/>
                  <a:gd name="connsiteX46" fmla="*/ 4662 w 9936"/>
                  <a:gd name="connsiteY46" fmla="*/ 8234 h 10000"/>
                  <a:gd name="connsiteX47" fmla="*/ 4766 w 9936"/>
                  <a:gd name="connsiteY47" fmla="*/ 8201 h 10000"/>
                  <a:gd name="connsiteX48" fmla="*/ 4876 w 9936"/>
                  <a:gd name="connsiteY48" fmla="*/ 8175 h 10000"/>
                  <a:gd name="connsiteX49" fmla="*/ 5001 w 9936"/>
                  <a:gd name="connsiteY49" fmla="*/ 8168 h 10000"/>
                  <a:gd name="connsiteX50" fmla="*/ 5171 w 9936"/>
                  <a:gd name="connsiteY50" fmla="*/ 8181 h 10000"/>
                  <a:gd name="connsiteX51" fmla="*/ 5341 w 9936"/>
                  <a:gd name="connsiteY51" fmla="*/ 8228 h 10000"/>
                  <a:gd name="connsiteX52" fmla="*/ 5477 w 9936"/>
                  <a:gd name="connsiteY52" fmla="*/ 8306 h 10000"/>
                  <a:gd name="connsiteX53" fmla="*/ 5615 w 9936"/>
                  <a:gd name="connsiteY53" fmla="*/ 8406 h 10000"/>
                  <a:gd name="connsiteX54" fmla="*/ 5733 w 9936"/>
                  <a:gd name="connsiteY54" fmla="*/ 8525 h 10000"/>
                  <a:gd name="connsiteX55" fmla="*/ 5810 w 9936"/>
                  <a:gd name="connsiteY55" fmla="*/ 8671 h 10000"/>
                  <a:gd name="connsiteX56" fmla="*/ 5882 w 9936"/>
                  <a:gd name="connsiteY56" fmla="*/ 8822 h 10000"/>
                  <a:gd name="connsiteX57" fmla="*/ 5907 w 9936"/>
                  <a:gd name="connsiteY57" fmla="*/ 8988 h 10000"/>
                  <a:gd name="connsiteX58" fmla="*/ 5941 w 9936"/>
                  <a:gd name="connsiteY58" fmla="*/ 8981 h 10000"/>
                  <a:gd name="connsiteX59" fmla="*/ 5965 w 9936"/>
                  <a:gd name="connsiteY59" fmla="*/ 8981 h 10000"/>
                  <a:gd name="connsiteX60" fmla="*/ 5991 w 9936"/>
                  <a:gd name="connsiteY60" fmla="*/ 8975 h 10000"/>
                  <a:gd name="connsiteX61" fmla="*/ 6017 w 9936"/>
                  <a:gd name="connsiteY61" fmla="*/ 8975 h 10000"/>
                  <a:gd name="connsiteX62" fmla="*/ 6050 w 9936"/>
                  <a:gd name="connsiteY62" fmla="*/ 8968 h 10000"/>
                  <a:gd name="connsiteX63" fmla="*/ 6082 w 9936"/>
                  <a:gd name="connsiteY63" fmla="*/ 8968 h 10000"/>
                  <a:gd name="connsiteX64" fmla="*/ 6109 w 9936"/>
                  <a:gd name="connsiteY64" fmla="*/ 8968 h 10000"/>
                  <a:gd name="connsiteX65" fmla="*/ 6142 w 9936"/>
                  <a:gd name="connsiteY65" fmla="*/ 8968 h 10000"/>
                  <a:gd name="connsiteX66" fmla="*/ 6279 w 9936"/>
                  <a:gd name="connsiteY66" fmla="*/ 8975 h 10000"/>
                  <a:gd name="connsiteX67" fmla="*/ 6402 w 9936"/>
                  <a:gd name="connsiteY67" fmla="*/ 9008 h 10000"/>
                  <a:gd name="connsiteX68" fmla="*/ 6526 w 9936"/>
                  <a:gd name="connsiteY68" fmla="*/ 9054 h 10000"/>
                  <a:gd name="connsiteX69" fmla="*/ 6638 w 9936"/>
                  <a:gd name="connsiteY69" fmla="*/ 9121 h 10000"/>
                  <a:gd name="connsiteX70" fmla="*/ 6741 w 9936"/>
                  <a:gd name="connsiteY70" fmla="*/ 9200 h 10000"/>
                  <a:gd name="connsiteX71" fmla="*/ 6833 w 9936"/>
                  <a:gd name="connsiteY71" fmla="*/ 9285 h 10000"/>
                  <a:gd name="connsiteX72" fmla="*/ 6906 w 9936"/>
                  <a:gd name="connsiteY72" fmla="*/ 9398 h 10000"/>
                  <a:gd name="connsiteX73" fmla="*/ 6971 w 9936"/>
                  <a:gd name="connsiteY73" fmla="*/ 9510 h 10000"/>
                  <a:gd name="connsiteX74" fmla="*/ 3247 w 9936"/>
                  <a:gd name="connsiteY74" fmla="*/ 9510 h 10000"/>
                  <a:gd name="connsiteX75" fmla="*/ 3286 w 9936"/>
                  <a:gd name="connsiteY75" fmla="*/ 9424 h 10000"/>
                  <a:gd name="connsiteX76" fmla="*/ 3339 w 9936"/>
                  <a:gd name="connsiteY76" fmla="*/ 9338 h 10000"/>
                  <a:gd name="connsiteX77" fmla="*/ 3390 w 9936"/>
                  <a:gd name="connsiteY77" fmla="*/ 9272 h 10000"/>
                  <a:gd name="connsiteX78" fmla="*/ 3461 w 9936"/>
                  <a:gd name="connsiteY78" fmla="*/ 9207 h 10000"/>
                  <a:gd name="connsiteX79" fmla="*/ 3527 w 9936"/>
                  <a:gd name="connsiteY79" fmla="*/ 9154 h 10000"/>
                  <a:gd name="connsiteX80" fmla="*/ 3605 w 9936"/>
                  <a:gd name="connsiteY80" fmla="*/ 9101 h 10000"/>
                  <a:gd name="connsiteX81" fmla="*/ 3684 w 9936"/>
                  <a:gd name="connsiteY81" fmla="*/ 9061 h 10000"/>
                  <a:gd name="connsiteX82" fmla="*/ 3775 w 9936"/>
                  <a:gd name="connsiteY82" fmla="*/ 9028 h 10000"/>
                  <a:gd name="connsiteX83" fmla="*/ 3775 w 9936"/>
                  <a:gd name="connsiteY83" fmla="*/ 8181 h 10000"/>
                  <a:gd name="connsiteX84" fmla="*/ 699 w 9936"/>
                  <a:gd name="connsiteY84" fmla="*/ 8195 h 10000"/>
                  <a:gd name="connsiteX85" fmla="*/ 699 w 9936"/>
                  <a:gd name="connsiteY85" fmla="*/ 8822 h 10000"/>
                  <a:gd name="connsiteX86" fmla="*/ 640 w 9936"/>
                  <a:gd name="connsiteY86" fmla="*/ 8902 h 10000"/>
                  <a:gd name="connsiteX87" fmla="*/ 594 w 9936"/>
                  <a:gd name="connsiteY87" fmla="*/ 8988 h 10000"/>
                  <a:gd name="connsiteX88" fmla="*/ 562 w 9936"/>
                  <a:gd name="connsiteY88" fmla="*/ 9081 h 10000"/>
                  <a:gd name="connsiteX89" fmla="*/ 549 w 9936"/>
                  <a:gd name="connsiteY89" fmla="*/ 9187 h 10000"/>
                  <a:gd name="connsiteX90" fmla="*/ 523 w 9936"/>
                  <a:gd name="connsiteY90" fmla="*/ 9180 h 10000"/>
                  <a:gd name="connsiteX91" fmla="*/ 502 w 9936"/>
                  <a:gd name="connsiteY91" fmla="*/ 9180 h 10000"/>
                  <a:gd name="connsiteX92" fmla="*/ 476 w 9936"/>
                  <a:gd name="connsiteY92" fmla="*/ 9174 h 10000"/>
                  <a:gd name="connsiteX93" fmla="*/ 450 w 9936"/>
                  <a:gd name="connsiteY93" fmla="*/ 9174 h 10000"/>
                  <a:gd name="connsiteX94" fmla="*/ 367 w 9936"/>
                  <a:gd name="connsiteY94" fmla="*/ 9180 h 10000"/>
                  <a:gd name="connsiteX95" fmla="*/ 294 w 9936"/>
                  <a:gd name="connsiteY95" fmla="*/ 9200 h 10000"/>
                  <a:gd name="connsiteX96" fmla="*/ 223 w 9936"/>
                  <a:gd name="connsiteY96" fmla="*/ 9227 h 10000"/>
                  <a:gd name="connsiteX97" fmla="*/ 157 w 9936"/>
                  <a:gd name="connsiteY97" fmla="*/ 9265 h 10000"/>
                  <a:gd name="connsiteX98" fmla="*/ 99 w 9936"/>
                  <a:gd name="connsiteY98" fmla="*/ 9318 h 10000"/>
                  <a:gd name="connsiteX99" fmla="*/ 47 w 9936"/>
                  <a:gd name="connsiteY99" fmla="*/ 9371 h 10000"/>
                  <a:gd name="connsiteX100" fmla="*/ 0 w 9936"/>
                  <a:gd name="connsiteY100" fmla="*/ 9438 h 10000"/>
                  <a:gd name="connsiteX101" fmla="*/ 250 w 9936"/>
                  <a:gd name="connsiteY101" fmla="*/ 9510 h 10000"/>
                  <a:gd name="connsiteX102" fmla="*/ 189 w 9936"/>
                  <a:gd name="connsiteY102" fmla="*/ 9461 h 10000"/>
                  <a:gd name="connsiteX103" fmla="*/ 1192 w 9936"/>
                  <a:gd name="connsiteY103" fmla="*/ 8986 h 10000"/>
                  <a:gd name="connsiteX104" fmla="*/ 1078 w 9936"/>
                  <a:gd name="connsiteY104" fmla="*/ 10000 h 10000"/>
                  <a:gd name="connsiteX105" fmla="*/ 8442 w 9936"/>
                  <a:gd name="connsiteY105" fmla="*/ 9980 h 10000"/>
                  <a:gd name="connsiteX106" fmla="*/ 9860 w 9936"/>
                  <a:gd name="connsiteY106" fmla="*/ 9510 h 10000"/>
                  <a:gd name="connsiteX107" fmla="*/ 9936 w 9936"/>
                  <a:gd name="connsiteY107" fmla="*/ 9510 h 10000"/>
                  <a:gd name="connsiteX0" fmla="*/ 10000 w 10000"/>
                  <a:gd name="connsiteY0" fmla="*/ 9510 h 9980"/>
                  <a:gd name="connsiteX1" fmla="*/ 10000 w 10000"/>
                  <a:gd name="connsiteY1" fmla="*/ 7367 h 9980"/>
                  <a:gd name="connsiteX2" fmla="*/ 9193 w 10000"/>
                  <a:gd name="connsiteY2" fmla="*/ 7367 h 9980"/>
                  <a:gd name="connsiteX3" fmla="*/ 9193 w 10000"/>
                  <a:gd name="connsiteY3" fmla="*/ 4121 h 9980"/>
                  <a:gd name="connsiteX4" fmla="*/ 7199 w 10000"/>
                  <a:gd name="connsiteY4" fmla="*/ 4121 h 9980"/>
                  <a:gd name="connsiteX5" fmla="*/ 7199 w 10000"/>
                  <a:gd name="connsiteY5" fmla="*/ 3809 h 9980"/>
                  <a:gd name="connsiteX6" fmla="*/ 8792 w 10000"/>
                  <a:gd name="connsiteY6" fmla="*/ 3809 h 9980"/>
                  <a:gd name="connsiteX7" fmla="*/ 8792 w 10000"/>
                  <a:gd name="connsiteY7" fmla="*/ 3492 h 9980"/>
                  <a:gd name="connsiteX8" fmla="*/ 7199 w 10000"/>
                  <a:gd name="connsiteY8" fmla="*/ 3492 h 9980"/>
                  <a:gd name="connsiteX9" fmla="*/ 7199 w 10000"/>
                  <a:gd name="connsiteY9" fmla="*/ 1362 h 9980"/>
                  <a:gd name="connsiteX10" fmla="*/ 4855 w 10000"/>
                  <a:gd name="connsiteY10" fmla="*/ 549 h 9980"/>
                  <a:gd name="connsiteX11" fmla="*/ 4855 w 10000"/>
                  <a:gd name="connsiteY11" fmla="*/ 5662 h 9980"/>
                  <a:gd name="connsiteX12" fmla="*/ 4483 w 10000"/>
                  <a:gd name="connsiteY12" fmla="*/ 5668 h 9980"/>
                  <a:gd name="connsiteX13" fmla="*/ 4483 w 10000"/>
                  <a:gd name="connsiteY13" fmla="*/ 1752 h 9980"/>
                  <a:gd name="connsiteX14" fmla="*/ 3695 w 10000"/>
                  <a:gd name="connsiteY14" fmla="*/ 2057 h 9980"/>
                  <a:gd name="connsiteX15" fmla="*/ 3268 w 10000"/>
                  <a:gd name="connsiteY15" fmla="*/ 2057 h 9980"/>
                  <a:gd name="connsiteX16" fmla="*/ 3268 w 10000"/>
                  <a:gd name="connsiteY16" fmla="*/ 0 h 9980"/>
                  <a:gd name="connsiteX17" fmla="*/ 3111 w 10000"/>
                  <a:gd name="connsiteY17" fmla="*/ 0 h 9980"/>
                  <a:gd name="connsiteX18" fmla="*/ 3111 w 10000"/>
                  <a:gd name="connsiteY18" fmla="*/ 2057 h 9980"/>
                  <a:gd name="connsiteX19" fmla="*/ 2750 w 10000"/>
                  <a:gd name="connsiteY19" fmla="*/ 2057 h 9980"/>
                  <a:gd name="connsiteX20" fmla="*/ 2750 w 10000"/>
                  <a:gd name="connsiteY20" fmla="*/ 2487 h 9980"/>
                  <a:gd name="connsiteX21" fmla="*/ 2100 w 10000"/>
                  <a:gd name="connsiteY21" fmla="*/ 2810 h 9980"/>
                  <a:gd name="connsiteX22" fmla="*/ 2100 w 10000"/>
                  <a:gd name="connsiteY22" fmla="*/ 4405 h 9980"/>
                  <a:gd name="connsiteX23" fmla="*/ 1752 w 10000"/>
                  <a:gd name="connsiteY23" fmla="*/ 4405 h 9980"/>
                  <a:gd name="connsiteX24" fmla="*/ 1752 w 10000"/>
                  <a:gd name="connsiteY24" fmla="*/ 4828 h 9980"/>
                  <a:gd name="connsiteX25" fmla="*/ 2100 w 10000"/>
                  <a:gd name="connsiteY25" fmla="*/ 4828 h 9980"/>
                  <a:gd name="connsiteX26" fmla="*/ 2100 w 10000"/>
                  <a:gd name="connsiteY26" fmla="*/ 5357 h 9980"/>
                  <a:gd name="connsiteX27" fmla="*/ 1752 w 10000"/>
                  <a:gd name="connsiteY27" fmla="*/ 5357 h 9980"/>
                  <a:gd name="connsiteX28" fmla="*/ 1752 w 10000"/>
                  <a:gd name="connsiteY28" fmla="*/ 5780 h 9980"/>
                  <a:gd name="connsiteX29" fmla="*/ 2100 w 10000"/>
                  <a:gd name="connsiteY29" fmla="*/ 5780 h 9980"/>
                  <a:gd name="connsiteX30" fmla="*/ 2100 w 10000"/>
                  <a:gd name="connsiteY30" fmla="*/ 7030 h 9980"/>
                  <a:gd name="connsiteX31" fmla="*/ 1063 w 10000"/>
                  <a:gd name="connsiteY31" fmla="*/ 7030 h 9980"/>
                  <a:gd name="connsiteX32" fmla="*/ 1063 w 10000"/>
                  <a:gd name="connsiteY32" fmla="*/ 7804 h 9980"/>
                  <a:gd name="connsiteX33" fmla="*/ 1595 w 10000"/>
                  <a:gd name="connsiteY33" fmla="*/ 7824 h 9980"/>
                  <a:gd name="connsiteX34" fmla="*/ 2316 w 10000"/>
                  <a:gd name="connsiteY34" fmla="*/ 7301 h 9980"/>
                  <a:gd name="connsiteX35" fmla="*/ 2310 w 10000"/>
                  <a:gd name="connsiteY35" fmla="*/ 7804 h 9980"/>
                  <a:gd name="connsiteX36" fmla="*/ 2972 w 10000"/>
                  <a:gd name="connsiteY36" fmla="*/ 7354 h 9980"/>
                  <a:gd name="connsiteX37" fmla="*/ 2972 w 10000"/>
                  <a:gd name="connsiteY37" fmla="*/ 7804 h 9980"/>
                  <a:gd name="connsiteX38" fmla="*/ 3628 w 10000"/>
                  <a:gd name="connsiteY38" fmla="*/ 7347 h 9980"/>
                  <a:gd name="connsiteX39" fmla="*/ 3634 w 10000"/>
                  <a:gd name="connsiteY39" fmla="*/ 7797 h 9980"/>
                  <a:gd name="connsiteX40" fmla="*/ 4265 w 10000"/>
                  <a:gd name="connsiteY40" fmla="*/ 7314 h 9980"/>
                  <a:gd name="connsiteX41" fmla="*/ 4265 w 10000"/>
                  <a:gd name="connsiteY41" fmla="*/ 8598 h 9980"/>
                  <a:gd name="connsiteX42" fmla="*/ 4338 w 10000"/>
                  <a:gd name="connsiteY42" fmla="*/ 8505 h 9980"/>
                  <a:gd name="connsiteX43" fmla="*/ 4410 w 10000"/>
                  <a:gd name="connsiteY43" fmla="*/ 8419 h 9980"/>
                  <a:gd name="connsiteX44" fmla="*/ 4497 w 10000"/>
                  <a:gd name="connsiteY44" fmla="*/ 8346 h 9980"/>
                  <a:gd name="connsiteX45" fmla="*/ 4594 w 10000"/>
                  <a:gd name="connsiteY45" fmla="*/ 8280 h 9980"/>
                  <a:gd name="connsiteX46" fmla="*/ 4692 w 10000"/>
                  <a:gd name="connsiteY46" fmla="*/ 8234 h 9980"/>
                  <a:gd name="connsiteX47" fmla="*/ 4797 w 10000"/>
                  <a:gd name="connsiteY47" fmla="*/ 8201 h 9980"/>
                  <a:gd name="connsiteX48" fmla="*/ 4907 w 10000"/>
                  <a:gd name="connsiteY48" fmla="*/ 8175 h 9980"/>
                  <a:gd name="connsiteX49" fmla="*/ 5033 w 10000"/>
                  <a:gd name="connsiteY49" fmla="*/ 8168 h 9980"/>
                  <a:gd name="connsiteX50" fmla="*/ 5204 w 10000"/>
                  <a:gd name="connsiteY50" fmla="*/ 8181 h 9980"/>
                  <a:gd name="connsiteX51" fmla="*/ 5375 w 10000"/>
                  <a:gd name="connsiteY51" fmla="*/ 8228 h 9980"/>
                  <a:gd name="connsiteX52" fmla="*/ 5512 w 10000"/>
                  <a:gd name="connsiteY52" fmla="*/ 8306 h 9980"/>
                  <a:gd name="connsiteX53" fmla="*/ 5651 w 10000"/>
                  <a:gd name="connsiteY53" fmla="*/ 8406 h 9980"/>
                  <a:gd name="connsiteX54" fmla="*/ 5770 w 10000"/>
                  <a:gd name="connsiteY54" fmla="*/ 8525 h 9980"/>
                  <a:gd name="connsiteX55" fmla="*/ 5847 w 10000"/>
                  <a:gd name="connsiteY55" fmla="*/ 8671 h 9980"/>
                  <a:gd name="connsiteX56" fmla="*/ 5920 w 10000"/>
                  <a:gd name="connsiteY56" fmla="*/ 8822 h 9980"/>
                  <a:gd name="connsiteX57" fmla="*/ 5945 w 10000"/>
                  <a:gd name="connsiteY57" fmla="*/ 8988 h 9980"/>
                  <a:gd name="connsiteX58" fmla="*/ 5979 w 10000"/>
                  <a:gd name="connsiteY58" fmla="*/ 8981 h 9980"/>
                  <a:gd name="connsiteX59" fmla="*/ 6003 w 10000"/>
                  <a:gd name="connsiteY59" fmla="*/ 8981 h 9980"/>
                  <a:gd name="connsiteX60" fmla="*/ 6030 w 10000"/>
                  <a:gd name="connsiteY60" fmla="*/ 8975 h 9980"/>
                  <a:gd name="connsiteX61" fmla="*/ 6056 w 10000"/>
                  <a:gd name="connsiteY61" fmla="*/ 8975 h 9980"/>
                  <a:gd name="connsiteX62" fmla="*/ 6089 w 10000"/>
                  <a:gd name="connsiteY62" fmla="*/ 8968 h 9980"/>
                  <a:gd name="connsiteX63" fmla="*/ 6121 w 10000"/>
                  <a:gd name="connsiteY63" fmla="*/ 8968 h 9980"/>
                  <a:gd name="connsiteX64" fmla="*/ 6148 w 10000"/>
                  <a:gd name="connsiteY64" fmla="*/ 8968 h 9980"/>
                  <a:gd name="connsiteX65" fmla="*/ 6182 w 10000"/>
                  <a:gd name="connsiteY65" fmla="*/ 8968 h 9980"/>
                  <a:gd name="connsiteX66" fmla="*/ 6319 w 10000"/>
                  <a:gd name="connsiteY66" fmla="*/ 8975 h 9980"/>
                  <a:gd name="connsiteX67" fmla="*/ 6443 w 10000"/>
                  <a:gd name="connsiteY67" fmla="*/ 9008 h 9980"/>
                  <a:gd name="connsiteX68" fmla="*/ 6568 w 10000"/>
                  <a:gd name="connsiteY68" fmla="*/ 9054 h 9980"/>
                  <a:gd name="connsiteX69" fmla="*/ 6681 w 10000"/>
                  <a:gd name="connsiteY69" fmla="*/ 9121 h 9980"/>
                  <a:gd name="connsiteX70" fmla="*/ 6784 w 10000"/>
                  <a:gd name="connsiteY70" fmla="*/ 9200 h 9980"/>
                  <a:gd name="connsiteX71" fmla="*/ 6877 w 10000"/>
                  <a:gd name="connsiteY71" fmla="*/ 9285 h 9980"/>
                  <a:gd name="connsiteX72" fmla="*/ 6950 w 10000"/>
                  <a:gd name="connsiteY72" fmla="*/ 9398 h 9980"/>
                  <a:gd name="connsiteX73" fmla="*/ 7016 w 10000"/>
                  <a:gd name="connsiteY73" fmla="*/ 9510 h 9980"/>
                  <a:gd name="connsiteX74" fmla="*/ 3268 w 10000"/>
                  <a:gd name="connsiteY74" fmla="*/ 9510 h 9980"/>
                  <a:gd name="connsiteX75" fmla="*/ 3307 w 10000"/>
                  <a:gd name="connsiteY75" fmla="*/ 9424 h 9980"/>
                  <a:gd name="connsiteX76" fmla="*/ 3361 w 10000"/>
                  <a:gd name="connsiteY76" fmla="*/ 9338 h 9980"/>
                  <a:gd name="connsiteX77" fmla="*/ 3412 w 10000"/>
                  <a:gd name="connsiteY77" fmla="*/ 9272 h 9980"/>
                  <a:gd name="connsiteX78" fmla="*/ 3483 w 10000"/>
                  <a:gd name="connsiteY78" fmla="*/ 9207 h 9980"/>
                  <a:gd name="connsiteX79" fmla="*/ 3550 w 10000"/>
                  <a:gd name="connsiteY79" fmla="*/ 9154 h 9980"/>
                  <a:gd name="connsiteX80" fmla="*/ 3628 w 10000"/>
                  <a:gd name="connsiteY80" fmla="*/ 9101 h 9980"/>
                  <a:gd name="connsiteX81" fmla="*/ 3708 w 10000"/>
                  <a:gd name="connsiteY81" fmla="*/ 9061 h 9980"/>
                  <a:gd name="connsiteX82" fmla="*/ 3799 w 10000"/>
                  <a:gd name="connsiteY82" fmla="*/ 9028 h 9980"/>
                  <a:gd name="connsiteX83" fmla="*/ 3799 w 10000"/>
                  <a:gd name="connsiteY83" fmla="*/ 8181 h 9980"/>
                  <a:gd name="connsiteX84" fmla="*/ 704 w 10000"/>
                  <a:gd name="connsiteY84" fmla="*/ 8195 h 9980"/>
                  <a:gd name="connsiteX85" fmla="*/ 704 w 10000"/>
                  <a:gd name="connsiteY85" fmla="*/ 8822 h 9980"/>
                  <a:gd name="connsiteX86" fmla="*/ 644 w 10000"/>
                  <a:gd name="connsiteY86" fmla="*/ 8902 h 9980"/>
                  <a:gd name="connsiteX87" fmla="*/ 598 w 10000"/>
                  <a:gd name="connsiteY87" fmla="*/ 8988 h 9980"/>
                  <a:gd name="connsiteX88" fmla="*/ 566 w 10000"/>
                  <a:gd name="connsiteY88" fmla="*/ 9081 h 9980"/>
                  <a:gd name="connsiteX89" fmla="*/ 553 w 10000"/>
                  <a:gd name="connsiteY89" fmla="*/ 9187 h 9980"/>
                  <a:gd name="connsiteX90" fmla="*/ 526 w 10000"/>
                  <a:gd name="connsiteY90" fmla="*/ 9180 h 9980"/>
                  <a:gd name="connsiteX91" fmla="*/ 505 w 10000"/>
                  <a:gd name="connsiteY91" fmla="*/ 9180 h 9980"/>
                  <a:gd name="connsiteX92" fmla="*/ 479 w 10000"/>
                  <a:gd name="connsiteY92" fmla="*/ 9174 h 9980"/>
                  <a:gd name="connsiteX93" fmla="*/ 453 w 10000"/>
                  <a:gd name="connsiteY93" fmla="*/ 9174 h 9980"/>
                  <a:gd name="connsiteX94" fmla="*/ 369 w 10000"/>
                  <a:gd name="connsiteY94" fmla="*/ 9180 h 9980"/>
                  <a:gd name="connsiteX95" fmla="*/ 296 w 10000"/>
                  <a:gd name="connsiteY95" fmla="*/ 9200 h 9980"/>
                  <a:gd name="connsiteX96" fmla="*/ 224 w 10000"/>
                  <a:gd name="connsiteY96" fmla="*/ 9227 h 9980"/>
                  <a:gd name="connsiteX97" fmla="*/ 158 w 10000"/>
                  <a:gd name="connsiteY97" fmla="*/ 9265 h 9980"/>
                  <a:gd name="connsiteX98" fmla="*/ 100 w 10000"/>
                  <a:gd name="connsiteY98" fmla="*/ 9318 h 9980"/>
                  <a:gd name="connsiteX99" fmla="*/ 47 w 10000"/>
                  <a:gd name="connsiteY99" fmla="*/ 9371 h 9980"/>
                  <a:gd name="connsiteX100" fmla="*/ 0 w 10000"/>
                  <a:gd name="connsiteY100" fmla="*/ 9438 h 9980"/>
                  <a:gd name="connsiteX101" fmla="*/ 252 w 10000"/>
                  <a:gd name="connsiteY101" fmla="*/ 9510 h 9980"/>
                  <a:gd name="connsiteX102" fmla="*/ 190 w 10000"/>
                  <a:gd name="connsiteY102" fmla="*/ 9461 h 9980"/>
                  <a:gd name="connsiteX103" fmla="*/ 1200 w 10000"/>
                  <a:gd name="connsiteY103" fmla="*/ 8986 h 9980"/>
                  <a:gd name="connsiteX104" fmla="*/ 1660 w 10000"/>
                  <a:gd name="connsiteY104" fmla="*/ 9409 h 9980"/>
                  <a:gd name="connsiteX105" fmla="*/ 8496 w 10000"/>
                  <a:gd name="connsiteY105" fmla="*/ 9980 h 9980"/>
                  <a:gd name="connsiteX106" fmla="*/ 9924 w 10000"/>
                  <a:gd name="connsiteY106" fmla="*/ 9510 h 9980"/>
                  <a:gd name="connsiteX107" fmla="*/ 10000 w 10000"/>
                  <a:gd name="connsiteY107" fmla="*/ 9510 h 9980"/>
                  <a:gd name="connsiteX0" fmla="*/ 10000 w 10000"/>
                  <a:gd name="connsiteY0" fmla="*/ 9529 h 10002"/>
                  <a:gd name="connsiteX1" fmla="*/ 10000 w 10000"/>
                  <a:gd name="connsiteY1" fmla="*/ 7382 h 10002"/>
                  <a:gd name="connsiteX2" fmla="*/ 9193 w 10000"/>
                  <a:gd name="connsiteY2" fmla="*/ 7382 h 10002"/>
                  <a:gd name="connsiteX3" fmla="*/ 9193 w 10000"/>
                  <a:gd name="connsiteY3" fmla="*/ 4129 h 10002"/>
                  <a:gd name="connsiteX4" fmla="*/ 7199 w 10000"/>
                  <a:gd name="connsiteY4" fmla="*/ 4129 h 10002"/>
                  <a:gd name="connsiteX5" fmla="*/ 7199 w 10000"/>
                  <a:gd name="connsiteY5" fmla="*/ 3817 h 10002"/>
                  <a:gd name="connsiteX6" fmla="*/ 8792 w 10000"/>
                  <a:gd name="connsiteY6" fmla="*/ 3817 h 10002"/>
                  <a:gd name="connsiteX7" fmla="*/ 8792 w 10000"/>
                  <a:gd name="connsiteY7" fmla="*/ 3499 h 10002"/>
                  <a:gd name="connsiteX8" fmla="*/ 7199 w 10000"/>
                  <a:gd name="connsiteY8" fmla="*/ 3499 h 10002"/>
                  <a:gd name="connsiteX9" fmla="*/ 7199 w 10000"/>
                  <a:gd name="connsiteY9" fmla="*/ 1365 h 10002"/>
                  <a:gd name="connsiteX10" fmla="*/ 4855 w 10000"/>
                  <a:gd name="connsiteY10" fmla="*/ 550 h 10002"/>
                  <a:gd name="connsiteX11" fmla="*/ 4855 w 10000"/>
                  <a:gd name="connsiteY11" fmla="*/ 5673 h 10002"/>
                  <a:gd name="connsiteX12" fmla="*/ 4483 w 10000"/>
                  <a:gd name="connsiteY12" fmla="*/ 5679 h 10002"/>
                  <a:gd name="connsiteX13" fmla="*/ 4483 w 10000"/>
                  <a:gd name="connsiteY13" fmla="*/ 1756 h 10002"/>
                  <a:gd name="connsiteX14" fmla="*/ 3695 w 10000"/>
                  <a:gd name="connsiteY14" fmla="*/ 2061 h 10002"/>
                  <a:gd name="connsiteX15" fmla="*/ 3268 w 10000"/>
                  <a:gd name="connsiteY15" fmla="*/ 2061 h 10002"/>
                  <a:gd name="connsiteX16" fmla="*/ 3268 w 10000"/>
                  <a:gd name="connsiteY16" fmla="*/ 0 h 10002"/>
                  <a:gd name="connsiteX17" fmla="*/ 3111 w 10000"/>
                  <a:gd name="connsiteY17" fmla="*/ 0 h 10002"/>
                  <a:gd name="connsiteX18" fmla="*/ 3111 w 10000"/>
                  <a:gd name="connsiteY18" fmla="*/ 2061 h 10002"/>
                  <a:gd name="connsiteX19" fmla="*/ 2750 w 10000"/>
                  <a:gd name="connsiteY19" fmla="*/ 2061 h 10002"/>
                  <a:gd name="connsiteX20" fmla="*/ 2750 w 10000"/>
                  <a:gd name="connsiteY20" fmla="*/ 2492 h 10002"/>
                  <a:gd name="connsiteX21" fmla="*/ 2100 w 10000"/>
                  <a:gd name="connsiteY21" fmla="*/ 2816 h 10002"/>
                  <a:gd name="connsiteX22" fmla="*/ 2100 w 10000"/>
                  <a:gd name="connsiteY22" fmla="*/ 4414 h 10002"/>
                  <a:gd name="connsiteX23" fmla="*/ 1752 w 10000"/>
                  <a:gd name="connsiteY23" fmla="*/ 4414 h 10002"/>
                  <a:gd name="connsiteX24" fmla="*/ 1752 w 10000"/>
                  <a:gd name="connsiteY24" fmla="*/ 4838 h 10002"/>
                  <a:gd name="connsiteX25" fmla="*/ 2100 w 10000"/>
                  <a:gd name="connsiteY25" fmla="*/ 4838 h 10002"/>
                  <a:gd name="connsiteX26" fmla="*/ 2100 w 10000"/>
                  <a:gd name="connsiteY26" fmla="*/ 5368 h 10002"/>
                  <a:gd name="connsiteX27" fmla="*/ 1752 w 10000"/>
                  <a:gd name="connsiteY27" fmla="*/ 5368 h 10002"/>
                  <a:gd name="connsiteX28" fmla="*/ 1752 w 10000"/>
                  <a:gd name="connsiteY28" fmla="*/ 5792 h 10002"/>
                  <a:gd name="connsiteX29" fmla="*/ 2100 w 10000"/>
                  <a:gd name="connsiteY29" fmla="*/ 5792 h 10002"/>
                  <a:gd name="connsiteX30" fmla="*/ 2100 w 10000"/>
                  <a:gd name="connsiteY30" fmla="*/ 7044 h 10002"/>
                  <a:gd name="connsiteX31" fmla="*/ 1063 w 10000"/>
                  <a:gd name="connsiteY31" fmla="*/ 7044 h 10002"/>
                  <a:gd name="connsiteX32" fmla="*/ 1063 w 10000"/>
                  <a:gd name="connsiteY32" fmla="*/ 7820 h 10002"/>
                  <a:gd name="connsiteX33" fmla="*/ 1595 w 10000"/>
                  <a:gd name="connsiteY33" fmla="*/ 7840 h 10002"/>
                  <a:gd name="connsiteX34" fmla="*/ 2316 w 10000"/>
                  <a:gd name="connsiteY34" fmla="*/ 7316 h 10002"/>
                  <a:gd name="connsiteX35" fmla="*/ 2310 w 10000"/>
                  <a:gd name="connsiteY35" fmla="*/ 7820 h 10002"/>
                  <a:gd name="connsiteX36" fmla="*/ 2972 w 10000"/>
                  <a:gd name="connsiteY36" fmla="*/ 7369 h 10002"/>
                  <a:gd name="connsiteX37" fmla="*/ 2972 w 10000"/>
                  <a:gd name="connsiteY37" fmla="*/ 7820 h 10002"/>
                  <a:gd name="connsiteX38" fmla="*/ 3628 w 10000"/>
                  <a:gd name="connsiteY38" fmla="*/ 7362 h 10002"/>
                  <a:gd name="connsiteX39" fmla="*/ 3634 w 10000"/>
                  <a:gd name="connsiteY39" fmla="*/ 7813 h 10002"/>
                  <a:gd name="connsiteX40" fmla="*/ 4265 w 10000"/>
                  <a:gd name="connsiteY40" fmla="*/ 7329 h 10002"/>
                  <a:gd name="connsiteX41" fmla="*/ 4265 w 10000"/>
                  <a:gd name="connsiteY41" fmla="*/ 8615 h 10002"/>
                  <a:gd name="connsiteX42" fmla="*/ 4338 w 10000"/>
                  <a:gd name="connsiteY42" fmla="*/ 8522 h 10002"/>
                  <a:gd name="connsiteX43" fmla="*/ 4410 w 10000"/>
                  <a:gd name="connsiteY43" fmla="*/ 8436 h 10002"/>
                  <a:gd name="connsiteX44" fmla="*/ 4497 w 10000"/>
                  <a:gd name="connsiteY44" fmla="*/ 8363 h 10002"/>
                  <a:gd name="connsiteX45" fmla="*/ 4594 w 10000"/>
                  <a:gd name="connsiteY45" fmla="*/ 8297 h 10002"/>
                  <a:gd name="connsiteX46" fmla="*/ 4692 w 10000"/>
                  <a:gd name="connsiteY46" fmla="*/ 8251 h 10002"/>
                  <a:gd name="connsiteX47" fmla="*/ 4797 w 10000"/>
                  <a:gd name="connsiteY47" fmla="*/ 8217 h 10002"/>
                  <a:gd name="connsiteX48" fmla="*/ 4907 w 10000"/>
                  <a:gd name="connsiteY48" fmla="*/ 8191 h 10002"/>
                  <a:gd name="connsiteX49" fmla="*/ 5033 w 10000"/>
                  <a:gd name="connsiteY49" fmla="*/ 8184 h 10002"/>
                  <a:gd name="connsiteX50" fmla="*/ 5204 w 10000"/>
                  <a:gd name="connsiteY50" fmla="*/ 8197 h 10002"/>
                  <a:gd name="connsiteX51" fmla="*/ 5375 w 10000"/>
                  <a:gd name="connsiteY51" fmla="*/ 8244 h 10002"/>
                  <a:gd name="connsiteX52" fmla="*/ 5512 w 10000"/>
                  <a:gd name="connsiteY52" fmla="*/ 8323 h 10002"/>
                  <a:gd name="connsiteX53" fmla="*/ 5651 w 10000"/>
                  <a:gd name="connsiteY53" fmla="*/ 8423 h 10002"/>
                  <a:gd name="connsiteX54" fmla="*/ 5770 w 10000"/>
                  <a:gd name="connsiteY54" fmla="*/ 8542 h 10002"/>
                  <a:gd name="connsiteX55" fmla="*/ 5847 w 10000"/>
                  <a:gd name="connsiteY55" fmla="*/ 8688 h 10002"/>
                  <a:gd name="connsiteX56" fmla="*/ 5920 w 10000"/>
                  <a:gd name="connsiteY56" fmla="*/ 8840 h 10002"/>
                  <a:gd name="connsiteX57" fmla="*/ 5945 w 10000"/>
                  <a:gd name="connsiteY57" fmla="*/ 9006 h 10002"/>
                  <a:gd name="connsiteX58" fmla="*/ 5979 w 10000"/>
                  <a:gd name="connsiteY58" fmla="*/ 8999 h 10002"/>
                  <a:gd name="connsiteX59" fmla="*/ 6003 w 10000"/>
                  <a:gd name="connsiteY59" fmla="*/ 8999 h 10002"/>
                  <a:gd name="connsiteX60" fmla="*/ 6030 w 10000"/>
                  <a:gd name="connsiteY60" fmla="*/ 8993 h 10002"/>
                  <a:gd name="connsiteX61" fmla="*/ 6056 w 10000"/>
                  <a:gd name="connsiteY61" fmla="*/ 8993 h 10002"/>
                  <a:gd name="connsiteX62" fmla="*/ 6089 w 10000"/>
                  <a:gd name="connsiteY62" fmla="*/ 8986 h 10002"/>
                  <a:gd name="connsiteX63" fmla="*/ 6121 w 10000"/>
                  <a:gd name="connsiteY63" fmla="*/ 8986 h 10002"/>
                  <a:gd name="connsiteX64" fmla="*/ 6148 w 10000"/>
                  <a:gd name="connsiteY64" fmla="*/ 8986 h 10002"/>
                  <a:gd name="connsiteX65" fmla="*/ 6182 w 10000"/>
                  <a:gd name="connsiteY65" fmla="*/ 8986 h 10002"/>
                  <a:gd name="connsiteX66" fmla="*/ 6319 w 10000"/>
                  <a:gd name="connsiteY66" fmla="*/ 8993 h 10002"/>
                  <a:gd name="connsiteX67" fmla="*/ 6443 w 10000"/>
                  <a:gd name="connsiteY67" fmla="*/ 9026 h 10002"/>
                  <a:gd name="connsiteX68" fmla="*/ 6568 w 10000"/>
                  <a:gd name="connsiteY68" fmla="*/ 9072 h 10002"/>
                  <a:gd name="connsiteX69" fmla="*/ 6681 w 10000"/>
                  <a:gd name="connsiteY69" fmla="*/ 9139 h 10002"/>
                  <a:gd name="connsiteX70" fmla="*/ 6784 w 10000"/>
                  <a:gd name="connsiteY70" fmla="*/ 9218 h 10002"/>
                  <a:gd name="connsiteX71" fmla="*/ 6877 w 10000"/>
                  <a:gd name="connsiteY71" fmla="*/ 9304 h 10002"/>
                  <a:gd name="connsiteX72" fmla="*/ 6950 w 10000"/>
                  <a:gd name="connsiteY72" fmla="*/ 9417 h 10002"/>
                  <a:gd name="connsiteX73" fmla="*/ 7016 w 10000"/>
                  <a:gd name="connsiteY73" fmla="*/ 9529 h 10002"/>
                  <a:gd name="connsiteX74" fmla="*/ 3268 w 10000"/>
                  <a:gd name="connsiteY74" fmla="*/ 9529 h 10002"/>
                  <a:gd name="connsiteX75" fmla="*/ 3307 w 10000"/>
                  <a:gd name="connsiteY75" fmla="*/ 9443 h 10002"/>
                  <a:gd name="connsiteX76" fmla="*/ 3361 w 10000"/>
                  <a:gd name="connsiteY76" fmla="*/ 9357 h 10002"/>
                  <a:gd name="connsiteX77" fmla="*/ 3412 w 10000"/>
                  <a:gd name="connsiteY77" fmla="*/ 9291 h 10002"/>
                  <a:gd name="connsiteX78" fmla="*/ 3483 w 10000"/>
                  <a:gd name="connsiteY78" fmla="*/ 9225 h 10002"/>
                  <a:gd name="connsiteX79" fmla="*/ 3550 w 10000"/>
                  <a:gd name="connsiteY79" fmla="*/ 9172 h 10002"/>
                  <a:gd name="connsiteX80" fmla="*/ 3628 w 10000"/>
                  <a:gd name="connsiteY80" fmla="*/ 9119 h 10002"/>
                  <a:gd name="connsiteX81" fmla="*/ 3708 w 10000"/>
                  <a:gd name="connsiteY81" fmla="*/ 9079 h 10002"/>
                  <a:gd name="connsiteX82" fmla="*/ 3799 w 10000"/>
                  <a:gd name="connsiteY82" fmla="*/ 9046 h 10002"/>
                  <a:gd name="connsiteX83" fmla="*/ 3799 w 10000"/>
                  <a:gd name="connsiteY83" fmla="*/ 8197 h 10002"/>
                  <a:gd name="connsiteX84" fmla="*/ 704 w 10000"/>
                  <a:gd name="connsiteY84" fmla="*/ 8211 h 10002"/>
                  <a:gd name="connsiteX85" fmla="*/ 704 w 10000"/>
                  <a:gd name="connsiteY85" fmla="*/ 8840 h 10002"/>
                  <a:gd name="connsiteX86" fmla="*/ 644 w 10000"/>
                  <a:gd name="connsiteY86" fmla="*/ 8920 h 10002"/>
                  <a:gd name="connsiteX87" fmla="*/ 598 w 10000"/>
                  <a:gd name="connsiteY87" fmla="*/ 9006 h 10002"/>
                  <a:gd name="connsiteX88" fmla="*/ 566 w 10000"/>
                  <a:gd name="connsiteY88" fmla="*/ 9099 h 10002"/>
                  <a:gd name="connsiteX89" fmla="*/ 553 w 10000"/>
                  <a:gd name="connsiteY89" fmla="*/ 9205 h 10002"/>
                  <a:gd name="connsiteX90" fmla="*/ 526 w 10000"/>
                  <a:gd name="connsiteY90" fmla="*/ 9198 h 10002"/>
                  <a:gd name="connsiteX91" fmla="*/ 505 w 10000"/>
                  <a:gd name="connsiteY91" fmla="*/ 9198 h 10002"/>
                  <a:gd name="connsiteX92" fmla="*/ 479 w 10000"/>
                  <a:gd name="connsiteY92" fmla="*/ 9192 h 10002"/>
                  <a:gd name="connsiteX93" fmla="*/ 453 w 10000"/>
                  <a:gd name="connsiteY93" fmla="*/ 9192 h 10002"/>
                  <a:gd name="connsiteX94" fmla="*/ 369 w 10000"/>
                  <a:gd name="connsiteY94" fmla="*/ 9198 h 10002"/>
                  <a:gd name="connsiteX95" fmla="*/ 296 w 10000"/>
                  <a:gd name="connsiteY95" fmla="*/ 9218 h 10002"/>
                  <a:gd name="connsiteX96" fmla="*/ 224 w 10000"/>
                  <a:gd name="connsiteY96" fmla="*/ 9245 h 10002"/>
                  <a:gd name="connsiteX97" fmla="*/ 158 w 10000"/>
                  <a:gd name="connsiteY97" fmla="*/ 9284 h 10002"/>
                  <a:gd name="connsiteX98" fmla="*/ 100 w 10000"/>
                  <a:gd name="connsiteY98" fmla="*/ 9337 h 10002"/>
                  <a:gd name="connsiteX99" fmla="*/ 47 w 10000"/>
                  <a:gd name="connsiteY99" fmla="*/ 9390 h 10002"/>
                  <a:gd name="connsiteX100" fmla="*/ 0 w 10000"/>
                  <a:gd name="connsiteY100" fmla="*/ 9457 h 10002"/>
                  <a:gd name="connsiteX101" fmla="*/ 252 w 10000"/>
                  <a:gd name="connsiteY101" fmla="*/ 9529 h 10002"/>
                  <a:gd name="connsiteX102" fmla="*/ 190 w 10000"/>
                  <a:gd name="connsiteY102" fmla="*/ 9480 h 10002"/>
                  <a:gd name="connsiteX103" fmla="*/ 1200 w 10000"/>
                  <a:gd name="connsiteY103" fmla="*/ 9004 h 10002"/>
                  <a:gd name="connsiteX104" fmla="*/ 1660 w 10000"/>
                  <a:gd name="connsiteY104" fmla="*/ 9428 h 10002"/>
                  <a:gd name="connsiteX105" fmla="*/ 8496 w 10000"/>
                  <a:gd name="connsiteY105" fmla="*/ 10000 h 10002"/>
                  <a:gd name="connsiteX106" fmla="*/ 9924 w 10000"/>
                  <a:gd name="connsiteY106" fmla="*/ 9529 h 10002"/>
                  <a:gd name="connsiteX107" fmla="*/ 10000 w 10000"/>
                  <a:gd name="connsiteY107" fmla="*/ 9529 h 10002"/>
                  <a:gd name="connsiteX0" fmla="*/ 10000 w 10000"/>
                  <a:gd name="connsiteY0" fmla="*/ 9529 h 10002"/>
                  <a:gd name="connsiteX1" fmla="*/ 10000 w 10000"/>
                  <a:gd name="connsiteY1" fmla="*/ 7382 h 10002"/>
                  <a:gd name="connsiteX2" fmla="*/ 9193 w 10000"/>
                  <a:gd name="connsiteY2" fmla="*/ 7382 h 10002"/>
                  <a:gd name="connsiteX3" fmla="*/ 9193 w 10000"/>
                  <a:gd name="connsiteY3" fmla="*/ 4129 h 10002"/>
                  <a:gd name="connsiteX4" fmla="*/ 7199 w 10000"/>
                  <a:gd name="connsiteY4" fmla="*/ 4129 h 10002"/>
                  <a:gd name="connsiteX5" fmla="*/ 7199 w 10000"/>
                  <a:gd name="connsiteY5" fmla="*/ 3817 h 10002"/>
                  <a:gd name="connsiteX6" fmla="*/ 8792 w 10000"/>
                  <a:gd name="connsiteY6" fmla="*/ 3817 h 10002"/>
                  <a:gd name="connsiteX7" fmla="*/ 8792 w 10000"/>
                  <a:gd name="connsiteY7" fmla="*/ 3499 h 10002"/>
                  <a:gd name="connsiteX8" fmla="*/ 7199 w 10000"/>
                  <a:gd name="connsiteY8" fmla="*/ 3499 h 10002"/>
                  <a:gd name="connsiteX9" fmla="*/ 7199 w 10000"/>
                  <a:gd name="connsiteY9" fmla="*/ 1365 h 10002"/>
                  <a:gd name="connsiteX10" fmla="*/ 4855 w 10000"/>
                  <a:gd name="connsiteY10" fmla="*/ 550 h 10002"/>
                  <a:gd name="connsiteX11" fmla="*/ 4855 w 10000"/>
                  <a:gd name="connsiteY11" fmla="*/ 5673 h 10002"/>
                  <a:gd name="connsiteX12" fmla="*/ 4483 w 10000"/>
                  <a:gd name="connsiteY12" fmla="*/ 5679 h 10002"/>
                  <a:gd name="connsiteX13" fmla="*/ 4483 w 10000"/>
                  <a:gd name="connsiteY13" fmla="*/ 1756 h 10002"/>
                  <a:gd name="connsiteX14" fmla="*/ 3695 w 10000"/>
                  <a:gd name="connsiteY14" fmla="*/ 2061 h 10002"/>
                  <a:gd name="connsiteX15" fmla="*/ 3268 w 10000"/>
                  <a:gd name="connsiteY15" fmla="*/ 2061 h 10002"/>
                  <a:gd name="connsiteX16" fmla="*/ 3268 w 10000"/>
                  <a:gd name="connsiteY16" fmla="*/ 0 h 10002"/>
                  <a:gd name="connsiteX17" fmla="*/ 3111 w 10000"/>
                  <a:gd name="connsiteY17" fmla="*/ 0 h 10002"/>
                  <a:gd name="connsiteX18" fmla="*/ 3111 w 10000"/>
                  <a:gd name="connsiteY18" fmla="*/ 2061 h 10002"/>
                  <a:gd name="connsiteX19" fmla="*/ 2750 w 10000"/>
                  <a:gd name="connsiteY19" fmla="*/ 2061 h 10002"/>
                  <a:gd name="connsiteX20" fmla="*/ 2750 w 10000"/>
                  <a:gd name="connsiteY20" fmla="*/ 2492 h 10002"/>
                  <a:gd name="connsiteX21" fmla="*/ 2100 w 10000"/>
                  <a:gd name="connsiteY21" fmla="*/ 2816 h 10002"/>
                  <a:gd name="connsiteX22" fmla="*/ 2100 w 10000"/>
                  <a:gd name="connsiteY22" fmla="*/ 4414 h 10002"/>
                  <a:gd name="connsiteX23" fmla="*/ 1752 w 10000"/>
                  <a:gd name="connsiteY23" fmla="*/ 4414 h 10002"/>
                  <a:gd name="connsiteX24" fmla="*/ 1752 w 10000"/>
                  <a:gd name="connsiteY24" fmla="*/ 4838 h 10002"/>
                  <a:gd name="connsiteX25" fmla="*/ 2100 w 10000"/>
                  <a:gd name="connsiteY25" fmla="*/ 4838 h 10002"/>
                  <a:gd name="connsiteX26" fmla="*/ 2100 w 10000"/>
                  <a:gd name="connsiteY26" fmla="*/ 5368 h 10002"/>
                  <a:gd name="connsiteX27" fmla="*/ 1752 w 10000"/>
                  <a:gd name="connsiteY27" fmla="*/ 5368 h 10002"/>
                  <a:gd name="connsiteX28" fmla="*/ 1752 w 10000"/>
                  <a:gd name="connsiteY28" fmla="*/ 5792 h 10002"/>
                  <a:gd name="connsiteX29" fmla="*/ 2100 w 10000"/>
                  <a:gd name="connsiteY29" fmla="*/ 5792 h 10002"/>
                  <a:gd name="connsiteX30" fmla="*/ 2100 w 10000"/>
                  <a:gd name="connsiteY30" fmla="*/ 7044 h 10002"/>
                  <a:gd name="connsiteX31" fmla="*/ 1063 w 10000"/>
                  <a:gd name="connsiteY31" fmla="*/ 7044 h 10002"/>
                  <a:gd name="connsiteX32" fmla="*/ 1063 w 10000"/>
                  <a:gd name="connsiteY32" fmla="*/ 7820 h 10002"/>
                  <a:gd name="connsiteX33" fmla="*/ 1595 w 10000"/>
                  <a:gd name="connsiteY33" fmla="*/ 7840 h 10002"/>
                  <a:gd name="connsiteX34" fmla="*/ 2316 w 10000"/>
                  <a:gd name="connsiteY34" fmla="*/ 7316 h 10002"/>
                  <a:gd name="connsiteX35" fmla="*/ 2310 w 10000"/>
                  <a:gd name="connsiteY35" fmla="*/ 7820 h 10002"/>
                  <a:gd name="connsiteX36" fmla="*/ 2972 w 10000"/>
                  <a:gd name="connsiteY36" fmla="*/ 7369 h 10002"/>
                  <a:gd name="connsiteX37" fmla="*/ 2972 w 10000"/>
                  <a:gd name="connsiteY37" fmla="*/ 7820 h 10002"/>
                  <a:gd name="connsiteX38" fmla="*/ 3628 w 10000"/>
                  <a:gd name="connsiteY38" fmla="*/ 7362 h 10002"/>
                  <a:gd name="connsiteX39" fmla="*/ 3634 w 10000"/>
                  <a:gd name="connsiteY39" fmla="*/ 7813 h 10002"/>
                  <a:gd name="connsiteX40" fmla="*/ 4265 w 10000"/>
                  <a:gd name="connsiteY40" fmla="*/ 7329 h 10002"/>
                  <a:gd name="connsiteX41" fmla="*/ 4265 w 10000"/>
                  <a:gd name="connsiteY41" fmla="*/ 8615 h 10002"/>
                  <a:gd name="connsiteX42" fmla="*/ 4338 w 10000"/>
                  <a:gd name="connsiteY42" fmla="*/ 8522 h 10002"/>
                  <a:gd name="connsiteX43" fmla="*/ 4410 w 10000"/>
                  <a:gd name="connsiteY43" fmla="*/ 8436 h 10002"/>
                  <a:gd name="connsiteX44" fmla="*/ 4497 w 10000"/>
                  <a:gd name="connsiteY44" fmla="*/ 8363 h 10002"/>
                  <a:gd name="connsiteX45" fmla="*/ 4594 w 10000"/>
                  <a:gd name="connsiteY45" fmla="*/ 8297 h 10002"/>
                  <a:gd name="connsiteX46" fmla="*/ 4692 w 10000"/>
                  <a:gd name="connsiteY46" fmla="*/ 8251 h 10002"/>
                  <a:gd name="connsiteX47" fmla="*/ 4797 w 10000"/>
                  <a:gd name="connsiteY47" fmla="*/ 8217 h 10002"/>
                  <a:gd name="connsiteX48" fmla="*/ 4907 w 10000"/>
                  <a:gd name="connsiteY48" fmla="*/ 8191 h 10002"/>
                  <a:gd name="connsiteX49" fmla="*/ 5033 w 10000"/>
                  <a:gd name="connsiteY49" fmla="*/ 8184 h 10002"/>
                  <a:gd name="connsiteX50" fmla="*/ 5204 w 10000"/>
                  <a:gd name="connsiteY50" fmla="*/ 8197 h 10002"/>
                  <a:gd name="connsiteX51" fmla="*/ 5375 w 10000"/>
                  <a:gd name="connsiteY51" fmla="*/ 8244 h 10002"/>
                  <a:gd name="connsiteX52" fmla="*/ 5512 w 10000"/>
                  <a:gd name="connsiteY52" fmla="*/ 8323 h 10002"/>
                  <a:gd name="connsiteX53" fmla="*/ 5651 w 10000"/>
                  <a:gd name="connsiteY53" fmla="*/ 8423 h 10002"/>
                  <a:gd name="connsiteX54" fmla="*/ 5770 w 10000"/>
                  <a:gd name="connsiteY54" fmla="*/ 8542 h 10002"/>
                  <a:gd name="connsiteX55" fmla="*/ 5847 w 10000"/>
                  <a:gd name="connsiteY55" fmla="*/ 8688 h 10002"/>
                  <a:gd name="connsiteX56" fmla="*/ 5920 w 10000"/>
                  <a:gd name="connsiteY56" fmla="*/ 8840 h 10002"/>
                  <a:gd name="connsiteX57" fmla="*/ 5945 w 10000"/>
                  <a:gd name="connsiteY57" fmla="*/ 9006 h 10002"/>
                  <a:gd name="connsiteX58" fmla="*/ 5979 w 10000"/>
                  <a:gd name="connsiteY58" fmla="*/ 8999 h 10002"/>
                  <a:gd name="connsiteX59" fmla="*/ 6003 w 10000"/>
                  <a:gd name="connsiteY59" fmla="*/ 8999 h 10002"/>
                  <a:gd name="connsiteX60" fmla="*/ 6030 w 10000"/>
                  <a:gd name="connsiteY60" fmla="*/ 8993 h 10002"/>
                  <a:gd name="connsiteX61" fmla="*/ 6056 w 10000"/>
                  <a:gd name="connsiteY61" fmla="*/ 8993 h 10002"/>
                  <a:gd name="connsiteX62" fmla="*/ 6089 w 10000"/>
                  <a:gd name="connsiteY62" fmla="*/ 8986 h 10002"/>
                  <a:gd name="connsiteX63" fmla="*/ 6121 w 10000"/>
                  <a:gd name="connsiteY63" fmla="*/ 8986 h 10002"/>
                  <a:gd name="connsiteX64" fmla="*/ 6148 w 10000"/>
                  <a:gd name="connsiteY64" fmla="*/ 8986 h 10002"/>
                  <a:gd name="connsiteX65" fmla="*/ 6182 w 10000"/>
                  <a:gd name="connsiteY65" fmla="*/ 8986 h 10002"/>
                  <a:gd name="connsiteX66" fmla="*/ 6319 w 10000"/>
                  <a:gd name="connsiteY66" fmla="*/ 8993 h 10002"/>
                  <a:gd name="connsiteX67" fmla="*/ 6443 w 10000"/>
                  <a:gd name="connsiteY67" fmla="*/ 9026 h 10002"/>
                  <a:gd name="connsiteX68" fmla="*/ 6568 w 10000"/>
                  <a:gd name="connsiteY68" fmla="*/ 9072 h 10002"/>
                  <a:gd name="connsiteX69" fmla="*/ 6681 w 10000"/>
                  <a:gd name="connsiteY69" fmla="*/ 9139 h 10002"/>
                  <a:gd name="connsiteX70" fmla="*/ 6784 w 10000"/>
                  <a:gd name="connsiteY70" fmla="*/ 9218 h 10002"/>
                  <a:gd name="connsiteX71" fmla="*/ 6877 w 10000"/>
                  <a:gd name="connsiteY71" fmla="*/ 9304 h 10002"/>
                  <a:gd name="connsiteX72" fmla="*/ 6950 w 10000"/>
                  <a:gd name="connsiteY72" fmla="*/ 9417 h 10002"/>
                  <a:gd name="connsiteX73" fmla="*/ 7016 w 10000"/>
                  <a:gd name="connsiteY73" fmla="*/ 9529 h 10002"/>
                  <a:gd name="connsiteX74" fmla="*/ 3268 w 10000"/>
                  <a:gd name="connsiteY74" fmla="*/ 9529 h 10002"/>
                  <a:gd name="connsiteX75" fmla="*/ 3307 w 10000"/>
                  <a:gd name="connsiteY75" fmla="*/ 9443 h 10002"/>
                  <a:gd name="connsiteX76" fmla="*/ 3361 w 10000"/>
                  <a:gd name="connsiteY76" fmla="*/ 9357 h 10002"/>
                  <a:gd name="connsiteX77" fmla="*/ 3412 w 10000"/>
                  <a:gd name="connsiteY77" fmla="*/ 9291 h 10002"/>
                  <a:gd name="connsiteX78" fmla="*/ 3483 w 10000"/>
                  <a:gd name="connsiteY78" fmla="*/ 9225 h 10002"/>
                  <a:gd name="connsiteX79" fmla="*/ 3550 w 10000"/>
                  <a:gd name="connsiteY79" fmla="*/ 9172 h 10002"/>
                  <a:gd name="connsiteX80" fmla="*/ 3628 w 10000"/>
                  <a:gd name="connsiteY80" fmla="*/ 9119 h 10002"/>
                  <a:gd name="connsiteX81" fmla="*/ 3708 w 10000"/>
                  <a:gd name="connsiteY81" fmla="*/ 9079 h 10002"/>
                  <a:gd name="connsiteX82" fmla="*/ 3799 w 10000"/>
                  <a:gd name="connsiteY82" fmla="*/ 9046 h 10002"/>
                  <a:gd name="connsiteX83" fmla="*/ 3799 w 10000"/>
                  <a:gd name="connsiteY83" fmla="*/ 8197 h 10002"/>
                  <a:gd name="connsiteX84" fmla="*/ 704 w 10000"/>
                  <a:gd name="connsiteY84" fmla="*/ 8211 h 10002"/>
                  <a:gd name="connsiteX85" fmla="*/ 704 w 10000"/>
                  <a:gd name="connsiteY85" fmla="*/ 8840 h 10002"/>
                  <a:gd name="connsiteX86" fmla="*/ 644 w 10000"/>
                  <a:gd name="connsiteY86" fmla="*/ 8920 h 10002"/>
                  <a:gd name="connsiteX87" fmla="*/ 598 w 10000"/>
                  <a:gd name="connsiteY87" fmla="*/ 9006 h 10002"/>
                  <a:gd name="connsiteX88" fmla="*/ 566 w 10000"/>
                  <a:gd name="connsiteY88" fmla="*/ 9099 h 10002"/>
                  <a:gd name="connsiteX89" fmla="*/ 553 w 10000"/>
                  <a:gd name="connsiteY89" fmla="*/ 9205 h 10002"/>
                  <a:gd name="connsiteX90" fmla="*/ 526 w 10000"/>
                  <a:gd name="connsiteY90" fmla="*/ 9198 h 10002"/>
                  <a:gd name="connsiteX91" fmla="*/ 505 w 10000"/>
                  <a:gd name="connsiteY91" fmla="*/ 9198 h 10002"/>
                  <a:gd name="connsiteX92" fmla="*/ 479 w 10000"/>
                  <a:gd name="connsiteY92" fmla="*/ 9192 h 10002"/>
                  <a:gd name="connsiteX93" fmla="*/ 453 w 10000"/>
                  <a:gd name="connsiteY93" fmla="*/ 9192 h 10002"/>
                  <a:gd name="connsiteX94" fmla="*/ 369 w 10000"/>
                  <a:gd name="connsiteY94" fmla="*/ 9198 h 10002"/>
                  <a:gd name="connsiteX95" fmla="*/ 296 w 10000"/>
                  <a:gd name="connsiteY95" fmla="*/ 9218 h 10002"/>
                  <a:gd name="connsiteX96" fmla="*/ 224 w 10000"/>
                  <a:gd name="connsiteY96" fmla="*/ 9245 h 10002"/>
                  <a:gd name="connsiteX97" fmla="*/ 158 w 10000"/>
                  <a:gd name="connsiteY97" fmla="*/ 9284 h 10002"/>
                  <a:gd name="connsiteX98" fmla="*/ 100 w 10000"/>
                  <a:gd name="connsiteY98" fmla="*/ 9337 h 10002"/>
                  <a:gd name="connsiteX99" fmla="*/ 47 w 10000"/>
                  <a:gd name="connsiteY99" fmla="*/ 9390 h 10002"/>
                  <a:gd name="connsiteX100" fmla="*/ 0 w 10000"/>
                  <a:gd name="connsiteY100" fmla="*/ 9457 h 10002"/>
                  <a:gd name="connsiteX101" fmla="*/ 252 w 10000"/>
                  <a:gd name="connsiteY101" fmla="*/ 9529 h 10002"/>
                  <a:gd name="connsiteX102" fmla="*/ 765 w 10000"/>
                  <a:gd name="connsiteY102" fmla="*/ 8947 h 10002"/>
                  <a:gd name="connsiteX103" fmla="*/ 1200 w 10000"/>
                  <a:gd name="connsiteY103" fmla="*/ 9004 h 10002"/>
                  <a:gd name="connsiteX104" fmla="*/ 1660 w 10000"/>
                  <a:gd name="connsiteY104" fmla="*/ 9428 h 10002"/>
                  <a:gd name="connsiteX105" fmla="*/ 8496 w 10000"/>
                  <a:gd name="connsiteY105" fmla="*/ 10000 h 10002"/>
                  <a:gd name="connsiteX106" fmla="*/ 9924 w 10000"/>
                  <a:gd name="connsiteY106" fmla="*/ 9529 h 10002"/>
                  <a:gd name="connsiteX107" fmla="*/ 10000 w 10000"/>
                  <a:gd name="connsiteY107" fmla="*/ 9529 h 10002"/>
                  <a:gd name="connsiteX0" fmla="*/ 10000 w 10000"/>
                  <a:gd name="connsiteY0" fmla="*/ 9529 h 10002"/>
                  <a:gd name="connsiteX1" fmla="*/ 10000 w 10000"/>
                  <a:gd name="connsiteY1" fmla="*/ 7382 h 10002"/>
                  <a:gd name="connsiteX2" fmla="*/ 9193 w 10000"/>
                  <a:gd name="connsiteY2" fmla="*/ 7382 h 10002"/>
                  <a:gd name="connsiteX3" fmla="*/ 9193 w 10000"/>
                  <a:gd name="connsiteY3" fmla="*/ 4129 h 10002"/>
                  <a:gd name="connsiteX4" fmla="*/ 7199 w 10000"/>
                  <a:gd name="connsiteY4" fmla="*/ 4129 h 10002"/>
                  <a:gd name="connsiteX5" fmla="*/ 7199 w 10000"/>
                  <a:gd name="connsiteY5" fmla="*/ 3817 h 10002"/>
                  <a:gd name="connsiteX6" fmla="*/ 8792 w 10000"/>
                  <a:gd name="connsiteY6" fmla="*/ 3817 h 10002"/>
                  <a:gd name="connsiteX7" fmla="*/ 8792 w 10000"/>
                  <a:gd name="connsiteY7" fmla="*/ 3499 h 10002"/>
                  <a:gd name="connsiteX8" fmla="*/ 7199 w 10000"/>
                  <a:gd name="connsiteY8" fmla="*/ 3499 h 10002"/>
                  <a:gd name="connsiteX9" fmla="*/ 7199 w 10000"/>
                  <a:gd name="connsiteY9" fmla="*/ 1365 h 10002"/>
                  <a:gd name="connsiteX10" fmla="*/ 4855 w 10000"/>
                  <a:gd name="connsiteY10" fmla="*/ 550 h 10002"/>
                  <a:gd name="connsiteX11" fmla="*/ 4855 w 10000"/>
                  <a:gd name="connsiteY11" fmla="*/ 5673 h 10002"/>
                  <a:gd name="connsiteX12" fmla="*/ 4483 w 10000"/>
                  <a:gd name="connsiteY12" fmla="*/ 5679 h 10002"/>
                  <a:gd name="connsiteX13" fmla="*/ 4483 w 10000"/>
                  <a:gd name="connsiteY13" fmla="*/ 1756 h 10002"/>
                  <a:gd name="connsiteX14" fmla="*/ 3695 w 10000"/>
                  <a:gd name="connsiteY14" fmla="*/ 2061 h 10002"/>
                  <a:gd name="connsiteX15" fmla="*/ 3268 w 10000"/>
                  <a:gd name="connsiteY15" fmla="*/ 2061 h 10002"/>
                  <a:gd name="connsiteX16" fmla="*/ 3268 w 10000"/>
                  <a:gd name="connsiteY16" fmla="*/ 0 h 10002"/>
                  <a:gd name="connsiteX17" fmla="*/ 3111 w 10000"/>
                  <a:gd name="connsiteY17" fmla="*/ 0 h 10002"/>
                  <a:gd name="connsiteX18" fmla="*/ 3111 w 10000"/>
                  <a:gd name="connsiteY18" fmla="*/ 2061 h 10002"/>
                  <a:gd name="connsiteX19" fmla="*/ 2750 w 10000"/>
                  <a:gd name="connsiteY19" fmla="*/ 2061 h 10002"/>
                  <a:gd name="connsiteX20" fmla="*/ 2750 w 10000"/>
                  <a:gd name="connsiteY20" fmla="*/ 2492 h 10002"/>
                  <a:gd name="connsiteX21" fmla="*/ 2100 w 10000"/>
                  <a:gd name="connsiteY21" fmla="*/ 2816 h 10002"/>
                  <a:gd name="connsiteX22" fmla="*/ 2100 w 10000"/>
                  <a:gd name="connsiteY22" fmla="*/ 4414 h 10002"/>
                  <a:gd name="connsiteX23" fmla="*/ 1752 w 10000"/>
                  <a:gd name="connsiteY23" fmla="*/ 4414 h 10002"/>
                  <a:gd name="connsiteX24" fmla="*/ 1752 w 10000"/>
                  <a:gd name="connsiteY24" fmla="*/ 4838 h 10002"/>
                  <a:gd name="connsiteX25" fmla="*/ 2100 w 10000"/>
                  <a:gd name="connsiteY25" fmla="*/ 4838 h 10002"/>
                  <a:gd name="connsiteX26" fmla="*/ 2100 w 10000"/>
                  <a:gd name="connsiteY26" fmla="*/ 5368 h 10002"/>
                  <a:gd name="connsiteX27" fmla="*/ 1752 w 10000"/>
                  <a:gd name="connsiteY27" fmla="*/ 5368 h 10002"/>
                  <a:gd name="connsiteX28" fmla="*/ 1752 w 10000"/>
                  <a:gd name="connsiteY28" fmla="*/ 5792 h 10002"/>
                  <a:gd name="connsiteX29" fmla="*/ 2100 w 10000"/>
                  <a:gd name="connsiteY29" fmla="*/ 5792 h 10002"/>
                  <a:gd name="connsiteX30" fmla="*/ 2100 w 10000"/>
                  <a:gd name="connsiteY30" fmla="*/ 7044 h 10002"/>
                  <a:gd name="connsiteX31" fmla="*/ 1063 w 10000"/>
                  <a:gd name="connsiteY31" fmla="*/ 7044 h 10002"/>
                  <a:gd name="connsiteX32" fmla="*/ 1063 w 10000"/>
                  <a:gd name="connsiteY32" fmla="*/ 7820 h 10002"/>
                  <a:gd name="connsiteX33" fmla="*/ 1595 w 10000"/>
                  <a:gd name="connsiteY33" fmla="*/ 7840 h 10002"/>
                  <a:gd name="connsiteX34" fmla="*/ 2316 w 10000"/>
                  <a:gd name="connsiteY34" fmla="*/ 7316 h 10002"/>
                  <a:gd name="connsiteX35" fmla="*/ 2310 w 10000"/>
                  <a:gd name="connsiteY35" fmla="*/ 7820 h 10002"/>
                  <a:gd name="connsiteX36" fmla="*/ 2972 w 10000"/>
                  <a:gd name="connsiteY36" fmla="*/ 7369 h 10002"/>
                  <a:gd name="connsiteX37" fmla="*/ 2972 w 10000"/>
                  <a:gd name="connsiteY37" fmla="*/ 7820 h 10002"/>
                  <a:gd name="connsiteX38" fmla="*/ 3628 w 10000"/>
                  <a:gd name="connsiteY38" fmla="*/ 7362 h 10002"/>
                  <a:gd name="connsiteX39" fmla="*/ 3634 w 10000"/>
                  <a:gd name="connsiteY39" fmla="*/ 7813 h 10002"/>
                  <a:gd name="connsiteX40" fmla="*/ 4265 w 10000"/>
                  <a:gd name="connsiteY40" fmla="*/ 7329 h 10002"/>
                  <a:gd name="connsiteX41" fmla="*/ 4265 w 10000"/>
                  <a:gd name="connsiteY41" fmla="*/ 8615 h 10002"/>
                  <a:gd name="connsiteX42" fmla="*/ 4338 w 10000"/>
                  <a:gd name="connsiteY42" fmla="*/ 8522 h 10002"/>
                  <a:gd name="connsiteX43" fmla="*/ 4410 w 10000"/>
                  <a:gd name="connsiteY43" fmla="*/ 8436 h 10002"/>
                  <a:gd name="connsiteX44" fmla="*/ 4497 w 10000"/>
                  <a:gd name="connsiteY44" fmla="*/ 8363 h 10002"/>
                  <a:gd name="connsiteX45" fmla="*/ 4594 w 10000"/>
                  <a:gd name="connsiteY45" fmla="*/ 8297 h 10002"/>
                  <a:gd name="connsiteX46" fmla="*/ 4692 w 10000"/>
                  <a:gd name="connsiteY46" fmla="*/ 8251 h 10002"/>
                  <a:gd name="connsiteX47" fmla="*/ 4797 w 10000"/>
                  <a:gd name="connsiteY47" fmla="*/ 8217 h 10002"/>
                  <a:gd name="connsiteX48" fmla="*/ 4907 w 10000"/>
                  <a:gd name="connsiteY48" fmla="*/ 8191 h 10002"/>
                  <a:gd name="connsiteX49" fmla="*/ 5033 w 10000"/>
                  <a:gd name="connsiteY49" fmla="*/ 8184 h 10002"/>
                  <a:gd name="connsiteX50" fmla="*/ 5204 w 10000"/>
                  <a:gd name="connsiteY50" fmla="*/ 8197 h 10002"/>
                  <a:gd name="connsiteX51" fmla="*/ 5375 w 10000"/>
                  <a:gd name="connsiteY51" fmla="*/ 8244 h 10002"/>
                  <a:gd name="connsiteX52" fmla="*/ 5512 w 10000"/>
                  <a:gd name="connsiteY52" fmla="*/ 8323 h 10002"/>
                  <a:gd name="connsiteX53" fmla="*/ 5651 w 10000"/>
                  <a:gd name="connsiteY53" fmla="*/ 8423 h 10002"/>
                  <a:gd name="connsiteX54" fmla="*/ 5770 w 10000"/>
                  <a:gd name="connsiteY54" fmla="*/ 8542 h 10002"/>
                  <a:gd name="connsiteX55" fmla="*/ 5847 w 10000"/>
                  <a:gd name="connsiteY55" fmla="*/ 8688 h 10002"/>
                  <a:gd name="connsiteX56" fmla="*/ 5920 w 10000"/>
                  <a:gd name="connsiteY56" fmla="*/ 8840 h 10002"/>
                  <a:gd name="connsiteX57" fmla="*/ 5945 w 10000"/>
                  <a:gd name="connsiteY57" fmla="*/ 9006 h 10002"/>
                  <a:gd name="connsiteX58" fmla="*/ 5979 w 10000"/>
                  <a:gd name="connsiteY58" fmla="*/ 8999 h 10002"/>
                  <a:gd name="connsiteX59" fmla="*/ 6003 w 10000"/>
                  <a:gd name="connsiteY59" fmla="*/ 8999 h 10002"/>
                  <a:gd name="connsiteX60" fmla="*/ 6030 w 10000"/>
                  <a:gd name="connsiteY60" fmla="*/ 8993 h 10002"/>
                  <a:gd name="connsiteX61" fmla="*/ 6056 w 10000"/>
                  <a:gd name="connsiteY61" fmla="*/ 8993 h 10002"/>
                  <a:gd name="connsiteX62" fmla="*/ 6089 w 10000"/>
                  <a:gd name="connsiteY62" fmla="*/ 8986 h 10002"/>
                  <a:gd name="connsiteX63" fmla="*/ 6121 w 10000"/>
                  <a:gd name="connsiteY63" fmla="*/ 8986 h 10002"/>
                  <a:gd name="connsiteX64" fmla="*/ 6148 w 10000"/>
                  <a:gd name="connsiteY64" fmla="*/ 8986 h 10002"/>
                  <a:gd name="connsiteX65" fmla="*/ 6182 w 10000"/>
                  <a:gd name="connsiteY65" fmla="*/ 8986 h 10002"/>
                  <a:gd name="connsiteX66" fmla="*/ 6319 w 10000"/>
                  <a:gd name="connsiteY66" fmla="*/ 8993 h 10002"/>
                  <a:gd name="connsiteX67" fmla="*/ 6443 w 10000"/>
                  <a:gd name="connsiteY67" fmla="*/ 9026 h 10002"/>
                  <a:gd name="connsiteX68" fmla="*/ 6568 w 10000"/>
                  <a:gd name="connsiteY68" fmla="*/ 9072 h 10002"/>
                  <a:gd name="connsiteX69" fmla="*/ 6681 w 10000"/>
                  <a:gd name="connsiteY69" fmla="*/ 9139 h 10002"/>
                  <a:gd name="connsiteX70" fmla="*/ 6784 w 10000"/>
                  <a:gd name="connsiteY70" fmla="*/ 9218 h 10002"/>
                  <a:gd name="connsiteX71" fmla="*/ 6877 w 10000"/>
                  <a:gd name="connsiteY71" fmla="*/ 9304 h 10002"/>
                  <a:gd name="connsiteX72" fmla="*/ 6950 w 10000"/>
                  <a:gd name="connsiteY72" fmla="*/ 9417 h 10002"/>
                  <a:gd name="connsiteX73" fmla="*/ 7016 w 10000"/>
                  <a:gd name="connsiteY73" fmla="*/ 9529 h 10002"/>
                  <a:gd name="connsiteX74" fmla="*/ 3268 w 10000"/>
                  <a:gd name="connsiteY74" fmla="*/ 9529 h 10002"/>
                  <a:gd name="connsiteX75" fmla="*/ 3307 w 10000"/>
                  <a:gd name="connsiteY75" fmla="*/ 9443 h 10002"/>
                  <a:gd name="connsiteX76" fmla="*/ 3361 w 10000"/>
                  <a:gd name="connsiteY76" fmla="*/ 9357 h 10002"/>
                  <a:gd name="connsiteX77" fmla="*/ 3412 w 10000"/>
                  <a:gd name="connsiteY77" fmla="*/ 9291 h 10002"/>
                  <a:gd name="connsiteX78" fmla="*/ 3483 w 10000"/>
                  <a:gd name="connsiteY78" fmla="*/ 9225 h 10002"/>
                  <a:gd name="connsiteX79" fmla="*/ 3550 w 10000"/>
                  <a:gd name="connsiteY79" fmla="*/ 9172 h 10002"/>
                  <a:gd name="connsiteX80" fmla="*/ 3628 w 10000"/>
                  <a:gd name="connsiteY80" fmla="*/ 9119 h 10002"/>
                  <a:gd name="connsiteX81" fmla="*/ 3708 w 10000"/>
                  <a:gd name="connsiteY81" fmla="*/ 9079 h 10002"/>
                  <a:gd name="connsiteX82" fmla="*/ 3799 w 10000"/>
                  <a:gd name="connsiteY82" fmla="*/ 9046 h 10002"/>
                  <a:gd name="connsiteX83" fmla="*/ 3799 w 10000"/>
                  <a:gd name="connsiteY83" fmla="*/ 8197 h 10002"/>
                  <a:gd name="connsiteX84" fmla="*/ 704 w 10000"/>
                  <a:gd name="connsiteY84" fmla="*/ 8211 h 10002"/>
                  <a:gd name="connsiteX85" fmla="*/ 704 w 10000"/>
                  <a:gd name="connsiteY85" fmla="*/ 8840 h 10002"/>
                  <a:gd name="connsiteX86" fmla="*/ 644 w 10000"/>
                  <a:gd name="connsiteY86" fmla="*/ 8920 h 10002"/>
                  <a:gd name="connsiteX87" fmla="*/ 598 w 10000"/>
                  <a:gd name="connsiteY87" fmla="*/ 9006 h 10002"/>
                  <a:gd name="connsiteX88" fmla="*/ 566 w 10000"/>
                  <a:gd name="connsiteY88" fmla="*/ 9099 h 10002"/>
                  <a:gd name="connsiteX89" fmla="*/ 553 w 10000"/>
                  <a:gd name="connsiteY89" fmla="*/ 9205 h 10002"/>
                  <a:gd name="connsiteX90" fmla="*/ 526 w 10000"/>
                  <a:gd name="connsiteY90" fmla="*/ 9198 h 10002"/>
                  <a:gd name="connsiteX91" fmla="*/ 505 w 10000"/>
                  <a:gd name="connsiteY91" fmla="*/ 9198 h 10002"/>
                  <a:gd name="connsiteX92" fmla="*/ 479 w 10000"/>
                  <a:gd name="connsiteY92" fmla="*/ 9192 h 10002"/>
                  <a:gd name="connsiteX93" fmla="*/ 453 w 10000"/>
                  <a:gd name="connsiteY93" fmla="*/ 9192 h 10002"/>
                  <a:gd name="connsiteX94" fmla="*/ 369 w 10000"/>
                  <a:gd name="connsiteY94" fmla="*/ 9198 h 10002"/>
                  <a:gd name="connsiteX95" fmla="*/ 296 w 10000"/>
                  <a:gd name="connsiteY95" fmla="*/ 9218 h 10002"/>
                  <a:gd name="connsiteX96" fmla="*/ 224 w 10000"/>
                  <a:gd name="connsiteY96" fmla="*/ 9245 h 10002"/>
                  <a:gd name="connsiteX97" fmla="*/ 158 w 10000"/>
                  <a:gd name="connsiteY97" fmla="*/ 9284 h 10002"/>
                  <a:gd name="connsiteX98" fmla="*/ 100 w 10000"/>
                  <a:gd name="connsiteY98" fmla="*/ 9337 h 10002"/>
                  <a:gd name="connsiteX99" fmla="*/ 47 w 10000"/>
                  <a:gd name="connsiteY99" fmla="*/ 9390 h 10002"/>
                  <a:gd name="connsiteX100" fmla="*/ 0 w 10000"/>
                  <a:gd name="connsiteY100" fmla="*/ 9457 h 10002"/>
                  <a:gd name="connsiteX101" fmla="*/ 1114 w 10000"/>
                  <a:gd name="connsiteY101" fmla="*/ 8760 h 10002"/>
                  <a:gd name="connsiteX102" fmla="*/ 765 w 10000"/>
                  <a:gd name="connsiteY102" fmla="*/ 8947 h 10002"/>
                  <a:gd name="connsiteX103" fmla="*/ 1200 w 10000"/>
                  <a:gd name="connsiteY103" fmla="*/ 9004 h 10002"/>
                  <a:gd name="connsiteX104" fmla="*/ 1660 w 10000"/>
                  <a:gd name="connsiteY104" fmla="*/ 9428 h 10002"/>
                  <a:gd name="connsiteX105" fmla="*/ 8496 w 10000"/>
                  <a:gd name="connsiteY105" fmla="*/ 10000 h 10002"/>
                  <a:gd name="connsiteX106" fmla="*/ 9924 w 10000"/>
                  <a:gd name="connsiteY106" fmla="*/ 9529 h 10002"/>
                  <a:gd name="connsiteX107" fmla="*/ 10000 w 10000"/>
                  <a:gd name="connsiteY107" fmla="*/ 9529 h 10002"/>
                  <a:gd name="connsiteX0" fmla="*/ 9954 w 9954"/>
                  <a:gd name="connsiteY0" fmla="*/ 9529 h 10002"/>
                  <a:gd name="connsiteX1" fmla="*/ 9954 w 9954"/>
                  <a:gd name="connsiteY1" fmla="*/ 7382 h 10002"/>
                  <a:gd name="connsiteX2" fmla="*/ 9147 w 9954"/>
                  <a:gd name="connsiteY2" fmla="*/ 7382 h 10002"/>
                  <a:gd name="connsiteX3" fmla="*/ 9147 w 9954"/>
                  <a:gd name="connsiteY3" fmla="*/ 4129 h 10002"/>
                  <a:gd name="connsiteX4" fmla="*/ 7153 w 9954"/>
                  <a:gd name="connsiteY4" fmla="*/ 4129 h 10002"/>
                  <a:gd name="connsiteX5" fmla="*/ 7153 w 9954"/>
                  <a:gd name="connsiteY5" fmla="*/ 3817 h 10002"/>
                  <a:gd name="connsiteX6" fmla="*/ 8746 w 9954"/>
                  <a:gd name="connsiteY6" fmla="*/ 3817 h 10002"/>
                  <a:gd name="connsiteX7" fmla="*/ 8746 w 9954"/>
                  <a:gd name="connsiteY7" fmla="*/ 3499 h 10002"/>
                  <a:gd name="connsiteX8" fmla="*/ 7153 w 9954"/>
                  <a:gd name="connsiteY8" fmla="*/ 3499 h 10002"/>
                  <a:gd name="connsiteX9" fmla="*/ 7153 w 9954"/>
                  <a:gd name="connsiteY9" fmla="*/ 1365 h 10002"/>
                  <a:gd name="connsiteX10" fmla="*/ 4809 w 9954"/>
                  <a:gd name="connsiteY10" fmla="*/ 550 h 10002"/>
                  <a:gd name="connsiteX11" fmla="*/ 4809 w 9954"/>
                  <a:gd name="connsiteY11" fmla="*/ 5673 h 10002"/>
                  <a:gd name="connsiteX12" fmla="*/ 4437 w 9954"/>
                  <a:gd name="connsiteY12" fmla="*/ 5679 h 10002"/>
                  <a:gd name="connsiteX13" fmla="*/ 4437 w 9954"/>
                  <a:gd name="connsiteY13" fmla="*/ 1756 h 10002"/>
                  <a:gd name="connsiteX14" fmla="*/ 3649 w 9954"/>
                  <a:gd name="connsiteY14" fmla="*/ 2061 h 10002"/>
                  <a:gd name="connsiteX15" fmla="*/ 3222 w 9954"/>
                  <a:gd name="connsiteY15" fmla="*/ 2061 h 10002"/>
                  <a:gd name="connsiteX16" fmla="*/ 3222 w 9954"/>
                  <a:gd name="connsiteY16" fmla="*/ 0 h 10002"/>
                  <a:gd name="connsiteX17" fmla="*/ 3065 w 9954"/>
                  <a:gd name="connsiteY17" fmla="*/ 0 h 10002"/>
                  <a:gd name="connsiteX18" fmla="*/ 3065 w 9954"/>
                  <a:gd name="connsiteY18" fmla="*/ 2061 h 10002"/>
                  <a:gd name="connsiteX19" fmla="*/ 2704 w 9954"/>
                  <a:gd name="connsiteY19" fmla="*/ 2061 h 10002"/>
                  <a:gd name="connsiteX20" fmla="*/ 2704 w 9954"/>
                  <a:gd name="connsiteY20" fmla="*/ 2492 h 10002"/>
                  <a:gd name="connsiteX21" fmla="*/ 2054 w 9954"/>
                  <a:gd name="connsiteY21" fmla="*/ 2816 h 10002"/>
                  <a:gd name="connsiteX22" fmla="*/ 2054 w 9954"/>
                  <a:gd name="connsiteY22" fmla="*/ 4414 h 10002"/>
                  <a:gd name="connsiteX23" fmla="*/ 1706 w 9954"/>
                  <a:gd name="connsiteY23" fmla="*/ 4414 h 10002"/>
                  <a:gd name="connsiteX24" fmla="*/ 1706 w 9954"/>
                  <a:gd name="connsiteY24" fmla="*/ 4838 h 10002"/>
                  <a:gd name="connsiteX25" fmla="*/ 2054 w 9954"/>
                  <a:gd name="connsiteY25" fmla="*/ 4838 h 10002"/>
                  <a:gd name="connsiteX26" fmla="*/ 2054 w 9954"/>
                  <a:gd name="connsiteY26" fmla="*/ 5368 h 10002"/>
                  <a:gd name="connsiteX27" fmla="*/ 1706 w 9954"/>
                  <a:gd name="connsiteY27" fmla="*/ 5368 h 10002"/>
                  <a:gd name="connsiteX28" fmla="*/ 1706 w 9954"/>
                  <a:gd name="connsiteY28" fmla="*/ 5792 h 10002"/>
                  <a:gd name="connsiteX29" fmla="*/ 2054 w 9954"/>
                  <a:gd name="connsiteY29" fmla="*/ 5792 h 10002"/>
                  <a:gd name="connsiteX30" fmla="*/ 2054 w 9954"/>
                  <a:gd name="connsiteY30" fmla="*/ 7044 h 10002"/>
                  <a:gd name="connsiteX31" fmla="*/ 1017 w 9954"/>
                  <a:gd name="connsiteY31" fmla="*/ 7044 h 10002"/>
                  <a:gd name="connsiteX32" fmla="*/ 1017 w 9954"/>
                  <a:gd name="connsiteY32" fmla="*/ 7820 h 10002"/>
                  <a:gd name="connsiteX33" fmla="*/ 1549 w 9954"/>
                  <a:gd name="connsiteY33" fmla="*/ 7840 h 10002"/>
                  <a:gd name="connsiteX34" fmla="*/ 2270 w 9954"/>
                  <a:gd name="connsiteY34" fmla="*/ 7316 h 10002"/>
                  <a:gd name="connsiteX35" fmla="*/ 2264 w 9954"/>
                  <a:gd name="connsiteY35" fmla="*/ 7820 h 10002"/>
                  <a:gd name="connsiteX36" fmla="*/ 2926 w 9954"/>
                  <a:gd name="connsiteY36" fmla="*/ 7369 h 10002"/>
                  <a:gd name="connsiteX37" fmla="*/ 2926 w 9954"/>
                  <a:gd name="connsiteY37" fmla="*/ 7820 h 10002"/>
                  <a:gd name="connsiteX38" fmla="*/ 3582 w 9954"/>
                  <a:gd name="connsiteY38" fmla="*/ 7362 h 10002"/>
                  <a:gd name="connsiteX39" fmla="*/ 3588 w 9954"/>
                  <a:gd name="connsiteY39" fmla="*/ 7813 h 10002"/>
                  <a:gd name="connsiteX40" fmla="*/ 4219 w 9954"/>
                  <a:gd name="connsiteY40" fmla="*/ 7329 h 10002"/>
                  <a:gd name="connsiteX41" fmla="*/ 4219 w 9954"/>
                  <a:gd name="connsiteY41" fmla="*/ 8615 h 10002"/>
                  <a:gd name="connsiteX42" fmla="*/ 4292 w 9954"/>
                  <a:gd name="connsiteY42" fmla="*/ 8522 h 10002"/>
                  <a:gd name="connsiteX43" fmla="*/ 4364 w 9954"/>
                  <a:gd name="connsiteY43" fmla="*/ 8436 h 10002"/>
                  <a:gd name="connsiteX44" fmla="*/ 4451 w 9954"/>
                  <a:gd name="connsiteY44" fmla="*/ 8363 h 10002"/>
                  <a:gd name="connsiteX45" fmla="*/ 4548 w 9954"/>
                  <a:gd name="connsiteY45" fmla="*/ 8297 h 10002"/>
                  <a:gd name="connsiteX46" fmla="*/ 4646 w 9954"/>
                  <a:gd name="connsiteY46" fmla="*/ 8251 h 10002"/>
                  <a:gd name="connsiteX47" fmla="*/ 4751 w 9954"/>
                  <a:gd name="connsiteY47" fmla="*/ 8217 h 10002"/>
                  <a:gd name="connsiteX48" fmla="*/ 4861 w 9954"/>
                  <a:gd name="connsiteY48" fmla="*/ 8191 h 10002"/>
                  <a:gd name="connsiteX49" fmla="*/ 4987 w 9954"/>
                  <a:gd name="connsiteY49" fmla="*/ 8184 h 10002"/>
                  <a:gd name="connsiteX50" fmla="*/ 5158 w 9954"/>
                  <a:gd name="connsiteY50" fmla="*/ 8197 h 10002"/>
                  <a:gd name="connsiteX51" fmla="*/ 5329 w 9954"/>
                  <a:gd name="connsiteY51" fmla="*/ 8244 h 10002"/>
                  <a:gd name="connsiteX52" fmla="*/ 5466 w 9954"/>
                  <a:gd name="connsiteY52" fmla="*/ 8323 h 10002"/>
                  <a:gd name="connsiteX53" fmla="*/ 5605 w 9954"/>
                  <a:gd name="connsiteY53" fmla="*/ 8423 h 10002"/>
                  <a:gd name="connsiteX54" fmla="*/ 5724 w 9954"/>
                  <a:gd name="connsiteY54" fmla="*/ 8542 h 10002"/>
                  <a:gd name="connsiteX55" fmla="*/ 5801 w 9954"/>
                  <a:gd name="connsiteY55" fmla="*/ 8688 h 10002"/>
                  <a:gd name="connsiteX56" fmla="*/ 5874 w 9954"/>
                  <a:gd name="connsiteY56" fmla="*/ 8840 h 10002"/>
                  <a:gd name="connsiteX57" fmla="*/ 5899 w 9954"/>
                  <a:gd name="connsiteY57" fmla="*/ 9006 h 10002"/>
                  <a:gd name="connsiteX58" fmla="*/ 5933 w 9954"/>
                  <a:gd name="connsiteY58" fmla="*/ 8999 h 10002"/>
                  <a:gd name="connsiteX59" fmla="*/ 5957 w 9954"/>
                  <a:gd name="connsiteY59" fmla="*/ 8999 h 10002"/>
                  <a:gd name="connsiteX60" fmla="*/ 5984 w 9954"/>
                  <a:gd name="connsiteY60" fmla="*/ 8993 h 10002"/>
                  <a:gd name="connsiteX61" fmla="*/ 6010 w 9954"/>
                  <a:gd name="connsiteY61" fmla="*/ 8993 h 10002"/>
                  <a:gd name="connsiteX62" fmla="*/ 6043 w 9954"/>
                  <a:gd name="connsiteY62" fmla="*/ 8986 h 10002"/>
                  <a:gd name="connsiteX63" fmla="*/ 6075 w 9954"/>
                  <a:gd name="connsiteY63" fmla="*/ 8986 h 10002"/>
                  <a:gd name="connsiteX64" fmla="*/ 6102 w 9954"/>
                  <a:gd name="connsiteY64" fmla="*/ 8986 h 10002"/>
                  <a:gd name="connsiteX65" fmla="*/ 6136 w 9954"/>
                  <a:gd name="connsiteY65" fmla="*/ 8986 h 10002"/>
                  <a:gd name="connsiteX66" fmla="*/ 6273 w 9954"/>
                  <a:gd name="connsiteY66" fmla="*/ 8993 h 10002"/>
                  <a:gd name="connsiteX67" fmla="*/ 6397 w 9954"/>
                  <a:gd name="connsiteY67" fmla="*/ 9026 h 10002"/>
                  <a:gd name="connsiteX68" fmla="*/ 6522 w 9954"/>
                  <a:gd name="connsiteY68" fmla="*/ 9072 h 10002"/>
                  <a:gd name="connsiteX69" fmla="*/ 6635 w 9954"/>
                  <a:gd name="connsiteY69" fmla="*/ 9139 h 10002"/>
                  <a:gd name="connsiteX70" fmla="*/ 6738 w 9954"/>
                  <a:gd name="connsiteY70" fmla="*/ 9218 h 10002"/>
                  <a:gd name="connsiteX71" fmla="*/ 6831 w 9954"/>
                  <a:gd name="connsiteY71" fmla="*/ 9304 h 10002"/>
                  <a:gd name="connsiteX72" fmla="*/ 6904 w 9954"/>
                  <a:gd name="connsiteY72" fmla="*/ 9417 h 10002"/>
                  <a:gd name="connsiteX73" fmla="*/ 6970 w 9954"/>
                  <a:gd name="connsiteY73" fmla="*/ 9529 h 10002"/>
                  <a:gd name="connsiteX74" fmla="*/ 3222 w 9954"/>
                  <a:gd name="connsiteY74" fmla="*/ 9529 h 10002"/>
                  <a:gd name="connsiteX75" fmla="*/ 3261 w 9954"/>
                  <a:gd name="connsiteY75" fmla="*/ 9443 h 10002"/>
                  <a:gd name="connsiteX76" fmla="*/ 3315 w 9954"/>
                  <a:gd name="connsiteY76" fmla="*/ 9357 h 10002"/>
                  <a:gd name="connsiteX77" fmla="*/ 3366 w 9954"/>
                  <a:gd name="connsiteY77" fmla="*/ 9291 h 10002"/>
                  <a:gd name="connsiteX78" fmla="*/ 3437 w 9954"/>
                  <a:gd name="connsiteY78" fmla="*/ 9225 h 10002"/>
                  <a:gd name="connsiteX79" fmla="*/ 3504 w 9954"/>
                  <a:gd name="connsiteY79" fmla="*/ 9172 h 10002"/>
                  <a:gd name="connsiteX80" fmla="*/ 3582 w 9954"/>
                  <a:gd name="connsiteY80" fmla="*/ 9119 h 10002"/>
                  <a:gd name="connsiteX81" fmla="*/ 3662 w 9954"/>
                  <a:gd name="connsiteY81" fmla="*/ 9079 h 10002"/>
                  <a:gd name="connsiteX82" fmla="*/ 3753 w 9954"/>
                  <a:gd name="connsiteY82" fmla="*/ 9046 h 10002"/>
                  <a:gd name="connsiteX83" fmla="*/ 3753 w 9954"/>
                  <a:gd name="connsiteY83" fmla="*/ 8197 h 10002"/>
                  <a:gd name="connsiteX84" fmla="*/ 658 w 9954"/>
                  <a:gd name="connsiteY84" fmla="*/ 8211 h 10002"/>
                  <a:gd name="connsiteX85" fmla="*/ 658 w 9954"/>
                  <a:gd name="connsiteY85" fmla="*/ 8840 h 10002"/>
                  <a:gd name="connsiteX86" fmla="*/ 598 w 9954"/>
                  <a:gd name="connsiteY86" fmla="*/ 8920 h 10002"/>
                  <a:gd name="connsiteX87" fmla="*/ 552 w 9954"/>
                  <a:gd name="connsiteY87" fmla="*/ 9006 h 10002"/>
                  <a:gd name="connsiteX88" fmla="*/ 520 w 9954"/>
                  <a:gd name="connsiteY88" fmla="*/ 9099 h 10002"/>
                  <a:gd name="connsiteX89" fmla="*/ 507 w 9954"/>
                  <a:gd name="connsiteY89" fmla="*/ 9205 h 10002"/>
                  <a:gd name="connsiteX90" fmla="*/ 480 w 9954"/>
                  <a:gd name="connsiteY90" fmla="*/ 9198 h 10002"/>
                  <a:gd name="connsiteX91" fmla="*/ 459 w 9954"/>
                  <a:gd name="connsiteY91" fmla="*/ 9198 h 10002"/>
                  <a:gd name="connsiteX92" fmla="*/ 433 w 9954"/>
                  <a:gd name="connsiteY92" fmla="*/ 9192 h 10002"/>
                  <a:gd name="connsiteX93" fmla="*/ 407 w 9954"/>
                  <a:gd name="connsiteY93" fmla="*/ 9192 h 10002"/>
                  <a:gd name="connsiteX94" fmla="*/ 323 w 9954"/>
                  <a:gd name="connsiteY94" fmla="*/ 9198 h 10002"/>
                  <a:gd name="connsiteX95" fmla="*/ 250 w 9954"/>
                  <a:gd name="connsiteY95" fmla="*/ 9218 h 10002"/>
                  <a:gd name="connsiteX96" fmla="*/ 178 w 9954"/>
                  <a:gd name="connsiteY96" fmla="*/ 9245 h 10002"/>
                  <a:gd name="connsiteX97" fmla="*/ 112 w 9954"/>
                  <a:gd name="connsiteY97" fmla="*/ 9284 h 10002"/>
                  <a:gd name="connsiteX98" fmla="*/ 54 w 9954"/>
                  <a:gd name="connsiteY98" fmla="*/ 9337 h 10002"/>
                  <a:gd name="connsiteX99" fmla="*/ 1 w 9954"/>
                  <a:gd name="connsiteY99" fmla="*/ 9390 h 10002"/>
                  <a:gd name="connsiteX100" fmla="*/ 184 w 9954"/>
                  <a:gd name="connsiteY100" fmla="*/ 7089 h 10002"/>
                  <a:gd name="connsiteX101" fmla="*/ 1068 w 9954"/>
                  <a:gd name="connsiteY101" fmla="*/ 8760 h 10002"/>
                  <a:gd name="connsiteX102" fmla="*/ 719 w 9954"/>
                  <a:gd name="connsiteY102" fmla="*/ 8947 h 10002"/>
                  <a:gd name="connsiteX103" fmla="*/ 1154 w 9954"/>
                  <a:gd name="connsiteY103" fmla="*/ 9004 h 10002"/>
                  <a:gd name="connsiteX104" fmla="*/ 1614 w 9954"/>
                  <a:gd name="connsiteY104" fmla="*/ 9428 h 10002"/>
                  <a:gd name="connsiteX105" fmla="*/ 8450 w 9954"/>
                  <a:gd name="connsiteY105" fmla="*/ 10000 h 10002"/>
                  <a:gd name="connsiteX106" fmla="*/ 9878 w 9954"/>
                  <a:gd name="connsiteY106" fmla="*/ 9529 h 10002"/>
                  <a:gd name="connsiteX107" fmla="*/ 9954 w 9954"/>
                  <a:gd name="connsiteY107" fmla="*/ 9529 h 10002"/>
                  <a:gd name="connsiteX0" fmla="*/ 9947 w 9947"/>
                  <a:gd name="connsiteY0" fmla="*/ 9527 h 10000"/>
                  <a:gd name="connsiteX1" fmla="*/ 9947 w 9947"/>
                  <a:gd name="connsiteY1" fmla="*/ 7381 h 10000"/>
                  <a:gd name="connsiteX2" fmla="*/ 9136 w 9947"/>
                  <a:gd name="connsiteY2" fmla="*/ 7381 h 10000"/>
                  <a:gd name="connsiteX3" fmla="*/ 9136 w 9947"/>
                  <a:gd name="connsiteY3" fmla="*/ 4128 h 10000"/>
                  <a:gd name="connsiteX4" fmla="*/ 7133 w 9947"/>
                  <a:gd name="connsiteY4" fmla="*/ 4128 h 10000"/>
                  <a:gd name="connsiteX5" fmla="*/ 7133 w 9947"/>
                  <a:gd name="connsiteY5" fmla="*/ 3816 h 10000"/>
                  <a:gd name="connsiteX6" fmla="*/ 8733 w 9947"/>
                  <a:gd name="connsiteY6" fmla="*/ 3816 h 10000"/>
                  <a:gd name="connsiteX7" fmla="*/ 8733 w 9947"/>
                  <a:gd name="connsiteY7" fmla="*/ 3498 h 10000"/>
                  <a:gd name="connsiteX8" fmla="*/ 7133 w 9947"/>
                  <a:gd name="connsiteY8" fmla="*/ 3498 h 10000"/>
                  <a:gd name="connsiteX9" fmla="*/ 7133 w 9947"/>
                  <a:gd name="connsiteY9" fmla="*/ 1365 h 10000"/>
                  <a:gd name="connsiteX10" fmla="*/ 4778 w 9947"/>
                  <a:gd name="connsiteY10" fmla="*/ 550 h 10000"/>
                  <a:gd name="connsiteX11" fmla="*/ 4778 w 9947"/>
                  <a:gd name="connsiteY11" fmla="*/ 5672 h 10000"/>
                  <a:gd name="connsiteX12" fmla="*/ 4405 w 9947"/>
                  <a:gd name="connsiteY12" fmla="*/ 5678 h 10000"/>
                  <a:gd name="connsiteX13" fmla="*/ 4405 w 9947"/>
                  <a:gd name="connsiteY13" fmla="*/ 1756 h 10000"/>
                  <a:gd name="connsiteX14" fmla="*/ 3613 w 9947"/>
                  <a:gd name="connsiteY14" fmla="*/ 2061 h 10000"/>
                  <a:gd name="connsiteX15" fmla="*/ 3184 w 9947"/>
                  <a:gd name="connsiteY15" fmla="*/ 2061 h 10000"/>
                  <a:gd name="connsiteX16" fmla="*/ 3184 w 9947"/>
                  <a:gd name="connsiteY16" fmla="*/ 0 h 10000"/>
                  <a:gd name="connsiteX17" fmla="*/ 3026 w 9947"/>
                  <a:gd name="connsiteY17" fmla="*/ 0 h 10000"/>
                  <a:gd name="connsiteX18" fmla="*/ 3026 w 9947"/>
                  <a:gd name="connsiteY18" fmla="*/ 2061 h 10000"/>
                  <a:gd name="connsiteX19" fmla="*/ 2663 w 9947"/>
                  <a:gd name="connsiteY19" fmla="*/ 2061 h 10000"/>
                  <a:gd name="connsiteX20" fmla="*/ 2663 w 9947"/>
                  <a:gd name="connsiteY20" fmla="*/ 2492 h 10000"/>
                  <a:gd name="connsiteX21" fmla="*/ 2010 w 9947"/>
                  <a:gd name="connsiteY21" fmla="*/ 2815 h 10000"/>
                  <a:gd name="connsiteX22" fmla="*/ 2010 w 9947"/>
                  <a:gd name="connsiteY22" fmla="*/ 4413 h 10000"/>
                  <a:gd name="connsiteX23" fmla="*/ 1661 w 9947"/>
                  <a:gd name="connsiteY23" fmla="*/ 4413 h 10000"/>
                  <a:gd name="connsiteX24" fmla="*/ 1661 w 9947"/>
                  <a:gd name="connsiteY24" fmla="*/ 4837 h 10000"/>
                  <a:gd name="connsiteX25" fmla="*/ 2010 w 9947"/>
                  <a:gd name="connsiteY25" fmla="*/ 4837 h 10000"/>
                  <a:gd name="connsiteX26" fmla="*/ 2010 w 9947"/>
                  <a:gd name="connsiteY26" fmla="*/ 5367 h 10000"/>
                  <a:gd name="connsiteX27" fmla="*/ 1661 w 9947"/>
                  <a:gd name="connsiteY27" fmla="*/ 5367 h 10000"/>
                  <a:gd name="connsiteX28" fmla="*/ 1661 w 9947"/>
                  <a:gd name="connsiteY28" fmla="*/ 5791 h 10000"/>
                  <a:gd name="connsiteX29" fmla="*/ 2010 w 9947"/>
                  <a:gd name="connsiteY29" fmla="*/ 5791 h 10000"/>
                  <a:gd name="connsiteX30" fmla="*/ 2010 w 9947"/>
                  <a:gd name="connsiteY30" fmla="*/ 7043 h 10000"/>
                  <a:gd name="connsiteX31" fmla="*/ 969 w 9947"/>
                  <a:gd name="connsiteY31" fmla="*/ 7043 h 10000"/>
                  <a:gd name="connsiteX32" fmla="*/ 969 w 9947"/>
                  <a:gd name="connsiteY32" fmla="*/ 7818 h 10000"/>
                  <a:gd name="connsiteX33" fmla="*/ 1503 w 9947"/>
                  <a:gd name="connsiteY33" fmla="*/ 7838 h 10000"/>
                  <a:gd name="connsiteX34" fmla="*/ 2227 w 9947"/>
                  <a:gd name="connsiteY34" fmla="*/ 7315 h 10000"/>
                  <a:gd name="connsiteX35" fmla="*/ 2221 w 9947"/>
                  <a:gd name="connsiteY35" fmla="*/ 7818 h 10000"/>
                  <a:gd name="connsiteX36" fmla="*/ 2887 w 9947"/>
                  <a:gd name="connsiteY36" fmla="*/ 7368 h 10000"/>
                  <a:gd name="connsiteX37" fmla="*/ 2887 w 9947"/>
                  <a:gd name="connsiteY37" fmla="*/ 7818 h 10000"/>
                  <a:gd name="connsiteX38" fmla="*/ 3546 w 9947"/>
                  <a:gd name="connsiteY38" fmla="*/ 7361 h 10000"/>
                  <a:gd name="connsiteX39" fmla="*/ 3552 w 9947"/>
                  <a:gd name="connsiteY39" fmla="*/ 7811 h 10000"/>
                  <a:gd name="connsiteX40" fmla="*/ 4185 w 9947"/>
                  <a:gd name="connsiteY40" fmla="*/ 7328 h 10000"/>
                  <a:gd name="connsiteX41" fmla="*/ 4185 w 9947"/>
                  <a:gd name="connsiteY41" fmla="*/ 8613 h 10000"/>
                  <a:gd name="connsiteX42" fmla="*/ 4259 w 9947"/>
                  <a:gd name="connsiteY42" fmla="*/ 8520 h 10000"/>
                  <a:gd name="connsiteX43" fmla="*/ 4331 w 9947"/>
                  <a:gd name="connsiteY43" fmla="*/ 8434 h 10000"/>
                  <a:gd name="connsiteX44" fmla="*/ 4419 w 9947"/>
                  <a:gd name="connsiteY44" fmla="*/ 8361 h 10000"/>
                  <a:gd name="connsiteX45" fmla="*/ 4516 w 9947"/>
                  <a:gd name="connsiteY45" fmla="*/ 8295 h 10000"/>
                  <a:gd name="connsiteX46" fmla="*/ 4614 w 9947"/>
                  <a:gd name="connsiteY46" fmla="*/ 8249 h 10000"/>
                  <a:gd name="connsiteX47" fmla="*/ 4720 w 9947"/>
                  <a:gd name="connsiteY47" fmla="*/ 8215 h 10000"/>
                  <a:gd name="connsiteX48" fmla="*/ 4830 w 9947"/>
                  <a:gd name="connsiteY48" fmla="*/ 8189 h 10000"/>
                  <a:gd name="connsiteX49" fmla="*/ 4957 w 9947"/>
                  <a:gd name="connsiteY49" fmla="*/ 8182 h 10000"/>
                  <a:gd name="connsiteX50" fmla="*/ 5129 w 9947"/>
                  <a:gd name="connsiteY50" fmla="*/ 8195 h 10000"/>
                  <a:gd name="connsiteX51" fmla="*/ 5301 w 9947"/>
                  <a:gd name="connsiteY51" fmla="*/ 8242 h 10000"/>
                  <a:gd name="connsiteX52" fmla="*/ 5438 w 9947"/>
                  <a:gd name="connsiteY52" fmla="*/ 8321 h 10000"/>
                  <a:gd name="connsiteX53" fmla="*/ 5578 w 9947"/>
                  <a:gd name="connsiteY53" fmla="*/ 8421 h 10000"/>
                  <a:gd name="connsiteX54" fmla="*/ 5697 w 9947"/>
                  <a:gd name="connsiteY54" fmla="*/ 8540 h 10000"/>
                  <a:gd name="connsiteX55" fmla="*/ 5775 w 9947"/>
                  <a:gd name="connsiteY55" fmla="*/ 8686 h 10000"/>
                  <a:gd name="connsiteX56" fmla="*/ 5848 w 9947"/>
                  <a:gd name="connsiteY56" fmla="*/ 8838 h 10000"/>
                  <a:gd name="connsiteX57" fmla="*/ 5873 w 9947"/>
                  <a:gd name="connsiteY57" fmla="*/ 9004 h 10000"/>
                  <a:gd name="connsiteX58" fmla="*/ 5907 w 9947"/>
                  <a:gd name="connsiteY58" fmla="*/ 8997 h 10000"/>
                  <a:gd name="connsiteX59" fmla="*/ 5932 w 9947"/>
                  <a:gd name="connsiteY59" fmla="*/ 8997 h 10000"/>
                  <a:gd name="connsiteX60" fmla="*/ 5959 w 9947"/>
                  <a:gd name="connsiteY60" fmla="*/ 8991 h 10000"/>
                  <a:gd name="connsiteX61" fmla="*/ 5985 w 9947"/>
                  <a:gd name="connsiteY61" fmla="*/ 8991 h 10000"/>
                  <a:gd name="connsiteX62" fmla="*/ 6018 w 9947"/>
                  <a:gd name="connsiteY62" fmla="*/ 8984 h 10000"/>
                  <a:gd name="connsiteX63" fmla="*/ 6050 w 9947"/>
                  <a:gd name="connsiteY63" fmla="*/ 8984 h 10000"/>
                  <a:gd name="connsiteX64" fmla="*/ 6077 w 9947"/>
                  <a:gd name="connsiteY64" fmla="*/ 8984 h 10000"/>
                  <a:gd name="connsiteX65" fmla="*/ 6111 w 9947"/>
                  <a:gd name="connsiteY65" fmla="*/ 8984 h 10000"/>
                  <a:gd name="connsiteX66" fmla="*/ 6249 w 9947"/>
                  <a:gd name="connsiteY66" fmla="*/ 8991 h 10000"/>
                  <a:gd name="connsiteX67" fmla="*/ 6374 w 9947"/>
                  <a:gd name="connsiteY67" fmla="*/ 9024 h 10000"/>
                  <a:gd name="connsiteX68" fmla="*/ 6499 w 9947"/>
                  <a:gd name="connsiteY68" fmla="*/ 9070 h 10000"/>
                  <a:gd name="connsiteX69" fmla="*/ 6613 w 9947"/>
                  <a:gd name="connsiteY69" fmla="*/ 9137 h 10000"/>
                  <a:gd name="connsiteX70" fmla="*/ 6716 w 9947"/>
                  <a:gd name="connsiteY70" fmla="*/ 9216 h 10000"/>
                  <a:gd name="connsiteX71" fmla="*/ 6810 w 9947"/>
                  <a:gd name="connsiteY71" fmla="*/ 9302 h 10000"/>
                  <a:gd name="connsiteX72" fmla="*/ 6883 w 9947"/>
                  <a:gd name="connsiteY72" fmla="*/ 9415 h 10000"/>
                  <a:gd name="connsiteX73" fmla="*/ 6949 w 9947"/>
                  <a:gd name="connsiteY73" fmla="*/ 9527 h 10000"/>
                  <a:gd name="connsiteX74" fmla="*/ 3184 w 9947"/>
                  <a:gd name="connsiteY74" fmla="*/ 9527 h 10000"/>
                  <a:gd name="connsiteX75" fmla="*/ 3223 w 9947"/>
                  <a:gd name="connsiteY75" fmla="*/ 9441 h 10000"/>
                  <a:gd name="connsiteX76" fmla="*/ 3277 w 9947"/>
                  <a:gd name="connsiteY76" fmla="*/ 9355 h 10000"/>
                  <a:gd name="connsiteX77" fmla="*/ 3329 w 9947"/>
                  <a:gd name="connsiteY77" fmla="*/ 9289 h 10000"/>
                  <a:gd name="connsiteX78" fmla="*/ 3400 w 9947"/>
                  <a:gd name="connsiteY78" fmla="*/ 9223 h 10000"/>
                  <a:gd name="connsiteX79" fmla="*/ 3467 w 9947"/>
                  <a:gd name="connsiteY79" fmla="*/ 9170 h 10000"/>
                  <a:gd name="connsiteX80" fmla="*/ 3546 w 9947"/>
                  <a:gd name="connsiteY80" fmla="*/ 9117 h 10000"/>
                  <a:gd name="connsiteX81" fmla="*/ 3626 w 9947"/>
                  <a:gd name="connsiteY81" fmla="*/ 9077 h 10000"/>
                  <a:gd name="connsiteX82" fmla="*/ 3717 w 9947"/>
                  <a:gd name="connsiteY82" fmla="*/ 9044 h 10000"/>
                  <a:gd name="connsiteX83" fmla="*/ 3717 w 9947"/>
                  <a:gd name="connsiteY83" fmla="*/ 8195 h 10000"/>
                  <a:gd name="connsiteX84" fmla="*/ 608 w 9947"/>
                  <a:gd name="connsiteY84" fmla="*/ 8209 h 10000"/>
                  <a:gd name="connsiteX85" fmla="*/ 608 w 9947"/>
                  <a:gd name="connsiteY85" fmla="*/ 8838 h 10000"/>
                  <a:gd name="connsiteX86" fmla="*/ 548 w 9947"/>
                  <a:gd name="connsiteY86" fmla="*/ 8918 h 10000"/>
                  <a:gd name="connsiteX87" fmla="*/ 502 w 9947"/>
                  <a:gd name="connsiteY87" fmla="*/ 9004 h 10000"/>
                  <a:gd name="connsiteX88" fmla="*/ 469 w 9947"/>
                  <a:gd name="connsiteY88" fmla="*/ 9097 h 10000"/>
                  <a:gd name="connsiteX89" fmla="*/ 456 w 9947"/>
                  <a:gd name="connsiteY89" fmla="*/ 9203 h 10000"/>
                  <a:gd name="connsiteX90" fmla="*/ 429 w 9947"/>
                  <a:gd name="connsiteY90" fmla="*/ 9196 h 10000"/>
                  <a:gd name="connsiteX91" fmla="*/ 408 w 9947"/>
                  <a:gd name="connsiteY91" fmla="*/ 9196 h 10000"/>
                  <a:gd name="connsiteX92" fmla="*/ 382 w 9947"/>
                  <a:gd name="connsiteY92" fmla="*/ 9190 h 10000"/>
                  <a:gd name="connsiteX93" fmla="*/ 356 w 9947"/>
                  <a:gd name="connsiteY93" fmla="*/ 9190 h 10000"/>
                  <a:gd name="connsiteX94" fmla="*/ 271 w 9947"/>
                  <a:gd name="connsiteY94" fmla="*/ 9196 h 10000"/>
                  <a:gd name="connsiteX95" fmla="*/ 198 w 9947"/>
                  <a:gd name="connsiteY95" fmla="*/ 9216 h 10000"/>
                  <a:gd name="connsiteX96" fmla="*/ 126 w 9947"/>
                  <a:gd name="connsiteY96" fmla="*/ 9243 h 10000"/>
                  <a:gd name="connsiteX97" fmla="*/ 60 w 9947"/>
                  <a:gd name="connsiteY97" fmla="*/ 9282 h 10000"/>
                  <a:gd name="connsiteX98" fmla="*/ 1 w 9947"/>
                  <a:gd name="connsiteY98" fmla="*/ 9335 h 10000"/>
                  <a:gd name="connsiteX99" fmla="*/ 525 w 9947"/>
                  <a:gd name="connsiteY99" fmla="*/ 8678 h 10000"/>
                  <a:gd name="connsiteX100" fmla="*/ 132 w 9947"/>
                  <a:gd name="connsiteY100" fmla="*/ 7088 h 10000"/>
                  <a:gd name="connsiteX101" fmla="*/ 1020 w 9947"/>
                  <a:gd name="connsiteY101" fmla="*/ 8758 h 10000"/>
                  <a:gd name="connsiteX102" fmla="*/ 669 w 9947"/>
                  <a:gd name="connsiteY102" fmla="*/ 8945 h 10000"/>
                  <a:gd name="connsiteX103" fmla="*/ 1106 w 9947"/>
                  <a:gd name="connsiteY103" fmla="*/ 9002 h 10000"/>
                  <a:gd name="connsiteX104" fmla="*/ 1568 w 9947"/>
                  <a:gd name="connsiteY104" fmla="*/ 9426 h 10000"/>
                  <a:gd name="connsiteX105" fmla="*/ 8436 w 9947"/>
                  <a:gd name="connsiteY105" fmla="*/ 9998 h 10000"/>
                  <a:gd name="connsiteX106" fmla="*/ 9871 w 9947"/>
                  <a:gd name="connsiteY106" fmla="*/ 9527 h 10000"/>
                  <a:gd name="connsiteX107" fmla="*/ 9947 w 9947"/>
                  <a:gd name="connsiteY107" fmla="*/ 9527 h 10000"/>
                  <a:gd name="connsiteX0" fmla="*/ 9941 w 9941"/>
                  <a:gd name="connsiteY0" fmla="*/ 9527 h 10000"/>
                  <a:gd name="connsiteX1" fmla="*/ 9941 w 9941"/>
                  <a:gd name="connsiteY1" fmla="*/ 7381 h 10000"/>
                  <a:gd name="connsiteX2" fmla="*/ 9126 w 9941"/>
                  <a:gd name="connsiteY2" fmla="*/ 7381 h 10000"/>
                  <a:gd name="connsiteX3" fmla="*/ 9126 w 9941"/>
                  <a:gd name="connsiteY3" fmla="*/ 4128 h 10000"/>
                  <a:gd name="connsiteX4" fmla="*/ 7112 w 9941"/>
                  <a:gd name="connsiteY4" fmla="*/ 4128 h 10000"/>
                  <a:gd name="connsiteX5" fmla="*/ 7112 w 9941"/>
                  <a:gd name="connsiteY5" fmla="*/ 3816 h 10000"/>
                  <a:gd name="connsiteX6" fmla="*/ 8721 w 9941"/>
                  <a:gd name="connsiteY6" fmla="*/ 3816 h 10000"/>
                  <a:gd name="connsiteX7" fmla="*/ 8721 w 9941"/>
                  <a:gd name="connsiteY7" fmla="*/ 3498 h 10000"/>
                  <a:gd name="connsiteX8" fmla="*/ 7112 w 9941"/>
                  <a:gd name="connsiteY8" fmla="*/ 3498 h 10000"/>
                  <a:gd name="connsiteX9" fmla="*/ 7112 w 9941"/>
                  <a:gd name="connsiteY9" fmla="*/ 1365 h 10000"/>
                  <a:gd name="connsiteX10" fmla="*/ 4744 w 9941"/>
                  <a:gd name="connsiteY10" fmla="*/ 550 h 10000"/>
                  <a:gd name="connsiteX11" fmla="*/ 4744 w 9941"/>
                  <a:gd name="connsiteY11" fmla="*/ 5672 h 10000"/>
                  <a:gd name="connsiteX12" fmla="*/ 4369 w 9941"/>
                  <a:gd name="connsiteY12" fmla="*/ 5678 h 10000"/>
                  <a:gd name="connsiteX13" fmla="*/ 4369 w 9941"/>
                  <a:gd name="connsiteY13" fmla="*/ 1756 h 10000"/>
                  <a:gd name="connsiteX14" fmla="*/ 3573 w 9941"/>
                  <a:gd name="connsiteY14" fmla="*/ 2061 h 10000"/>
                  <a:gd name="connsiteX15" fmla="*/ 3142 w 9941"/>
                  <a:gd name="connsiteY15" fmla="*/ 2061 h 10000"/>
                  <a:gd name="connsiteX16" fmla="*/ 3142 w 9941"/>
                  <a:gd name="connsiteY16" fmla="*/ 0 h 10000"/>
                  <a:gd name="connsiteX17" fmla="*/ 2983 w 9941"/>
                  <a:gd name="connsiteY17" fmla="*/ 0 h 10000"/>
                  <a:gd name="connsiteX18" fmla="*/ 2983 w 9941"/>
                  <a:gd name="connsiteY18" fmla="*/ 2061 h 10000"/>
                  <a:gd name="connsiteX19" fmla="*/ 2618 w 9941"/>
                  <a:gd name="connsiteY19" fmla="*/ 2061 h 10000"/>
                  <a:gd name="connsiteX20" fmla="*/ 2618 w 9941"/>
                  <a:gd name="connsiteY20" fmla="*/ 2492 h 10000"/>
                  <a:gd name="connsiteX21" fmla="*/ 1962 w 9941"/>
                  <a:gd name="connsiteY21" fmla="*/ 2815 h 10000"/>
                  <a:gd name="connsiteX22" fmla="*/ 1962 w 9941"/>
                  <a:gd name="connsiteY22" fmla="*/ 4413 h 10000"/>
                  <a:gd name="connsiteX23" fmla="*/ 1611 w 9941"/>
                  <a:gd name="connsiteY23" fmla="*/ 4413 h 10000"/>
                  <a:gd name="connsiteX24" fmla="*/ 1611 w 9941"/>
                  <a:gd name="connsiteY24" fmla="*/ 4837 h 10000"/>
                  <a:gd name="connsiteX25" fmla="*/ 1962 w 9941"/>
                  <a:gd name="connsiteY25" fmla="*/ 4837 h 10000"/>
                  <a:gd name="connsiteX26" fmla="*/ 1962 w 9941"/>
                  <a:gd name="connsiteY26" fmla="*/ 5367 h 10000"/>
                  <a:gd name="connsiteX27" fmla="*/ 1611 w 9941"/>
                  <a:gd name="connsiteY27" fmla="*/ 5367 h 10000"/>
                  <a:gd name="connsiteX28" fmla="*/ 1611 w 9941"/>
                  <a:gd name="connsiteY28" fmla="*/ 5791 h 10000"/>
                  <a:gd name="connsiteX29" fmla="*/ 1962 w 9941"/>
                  <a:gd name="connsiteY29" fmla="*/ 5791 h 10000"/>
                  <a:gd name="connsiteX30" fmla="*/ 1962 w 9941"/>
                  <a:gd name="connsiteY30" fmla="*/ 7043 h 10000"/>
                  <a:gd name="connsiteX31" fmla="*/ 915 w 9941"/>
                  <a:gd name="connsiteY31" fmla="*/ 7043 h 10000"/>
                  <a:gd name="connsiteX32" fmla="*/ 915 w 9941"/>
                  <a:gd name="connsiteY32" fmla="*/ 7818 h 10000"/>
                  <a:gd name="connsiteX33" fmla="*/ 1452 w 9941"/>
                  <a:gd name="connsiteY33" fmla="*/ 7838 h 10000"/>
                  <a:gd name="connsiteX34" fmla="*/ 2180 w 9941"/>
                  <a:gd name="connsiteY34" fmla="*/ 7315 h 10000"/>
                  <a:gd name="connsiteX35" fmla="*/ 2174 w 9941"/>
                  <a:gd name="connsiteY35" fmla="*/ 7818 h 10000"/>
                  <a:gd name="connsiteX36" fmla="*/ 2843 w 9941"/>
                  <a:gd name="connsiteY36" fmla="*/ 7368 h 10000"/>
                  <a:gd name="connsiteX37" fmla="*/ 2843 w 9941"/>
                  <a:gd name="connsiteY37" fmla="*/ 7818 h 10000"/>
                  <a:gd name="connsiteX38" fmla="*/ 3506 w 9941"/>
                  <a:gd name="connsiteY38" fmla="*/ 7361 h 10000"/>
                  <a:gd name="connsiteX39" fmla="*/ 3512 w 9941"/>
                  <a:gd name="connsiteY39" fmla="*/ 7811 h 10000"/>
                  <a:gd name="connsiteX40" fmla="*/ 4148 w 9941"/>
                  <a:gd name="connsiteY40" fmla="*/ 7328 h 10000"/>
                  <a:gd name="connsiteX41" fmla="*/ 4148 w 9941"/>
                  <a:gd name="connsiteY41" fmla="*/ 8613 h 10000"/>
                  <a:gd name="connsiteX42" fmla="*/ 4223 w 9941"/>
                  <a:gd name="connsiteY42" fmla="*/ 8520 h 10000"/>
                  <a:gd name="connsiteX43" fmla="*/ 4295 w 9941"/>
                  <a:gd name="connsiteY43" fmla="*/ 8434 h 10000"/>
                  <a:gd name="connsiteX44" fmla="*/ 4384 w 9941"/>
                  <a:gd name="connsiteY44" fmla="*/ 8361 h 10000"/>
                  <a:gd name="connsiteX45" fmla="*/ 4481 w 9941"/>
                  <a:gd name="connsiteY45" fmla="*/ 8295 h 10000"/>
                  <a:gd name="connsiteX46" fmla="*/ 4580 w 9941"/>
                  <a:gd name="connsiteY46" fmla="*/ 8249 h 10000"/>
                  <a:gd name="connsiteX47" fmla="*/ 4686 w 9941"/>
                  <a:gd name="connsiteY47" fmla="*/ 8215 h 10000"/>
                  <a:gd name="connsiteX48" fmla="*/ 4797 w 9941"/>
                  <a:gd name="connsiteY48" fmla="*/ 8189 h 10000"/>
                  <a:gd name="connsiteX49" fmla="*/ 4924 w 9941"/>
                  <a:gd name="connsiteY49" fmla="*/ 8182 h 10000"/>
                  <a:gd name="connsiteX50" fmla="*/ 5097 w 9941"/>
                  <a:gd name="connsiteY50" fmla="*/ 8195 h 10000"/>
                  <a:gd name="connsiteX51" fmla="*/ 5270 w 9941"/>
                  <a:gd name="connsiteY51" fmla="*/ 8242 h 10000"/>
                  <a:gd name="connsiteX52" fmla="*/ 5408 w 9941"/>
                  <a:gd name="connsiteY52" fmla="*/ 8321 h 10000"/>
                  <a:gd name="connsiteX53" fmla="*/ 5549 w 9941"/>
                  <a:gd name="connsiteY53" fmla="*/ 8421 h 10000"/>
                  <a:gd name="connsiteX54" fmla="*/ 5668 w 9941"/>
                  <a:gd name="connsiteY54" fmla="*/ 8540 h 10000"/>
                  <a:gd name="connsiteX55" fmla="*/ 5747 w 9941"/>
                  <a:gd name="connsiteY55" fmla="*/ 8686 h 10000"/>
                  <a:gd name="connsiteX56" fmla="*/ 5820 w 9941"/>
                  <a:gd name="connsiteY56" fmla="*/ 8838 h 10000"/>
                  <a:gd name="connsiteX57" fmla="*/ 5845 w 9941"/>
                  <a:gd name="connsiteY57" fmla="*/ 9004 h 10000"/>
                  <a:gd name="connsiteX58" fmla="*/ 5879 w 9941"/>
                  <a:gd name="connsiteY58" fmla="*/ 8997 h 10000"/>
                  <a:gd name="connsiteX59" fmla="*/ 5905 w 9941"/>
                  <a:gd name="connsiteY59" fmla="*/ 8997 h 10000"/>
                  <a:gd name="connsiteX60" fmla="*/ 5932 w 9941"/>
                  <a:gd name="connsiteY60" fmla="*/ 8991 h 10000"/>
                  <a:gd name="connsiteX61" fmla="*/ 5958 w 9941"/>
                  <a:gd name="connsiteY61" fmla="*/ 8991 h 10000"/>
                  <a:gd name="connsiteX62" fmla="*/ 5991 w 9941"/>
                  <a:gd name="connsiteY62" fmla="*/ 8984 h 10000"/>
                  <a:gd name="connsiteX63" fmla="*/ 6023 w 9941"/>
                  <a:gd name="connsiteY63" fmla="*/ 8984 h 10000"/>
                  <a:gd name="connsiteX64" fmla="*/ 6050 w 9941"/>
                  <a:gd name="connsiteY64" fmla="*/ 8984 h 10000"/>
                  <a:gd name="connsiteX65" fmla="*/ 6085 w 9941"/>
                  <a:gd name="connsiteY65" fmla="*/ 8984 h 10000"/>
                  <a:gd name="connsiteX66" fmla="*/ 6223 w 9941"/>
                  <a:gd name="connsiteY66" fmla="*/ 8991 h 10000"/>
                  <a:gd name="connsiteX67" fmla="*/ 6349 w 9941"/>
                  <a:gd name="connsiteY67" fmla="*/ 9024 h 10000"/>
                  <a:gd name="connsiteX68" fmla="*/ 6475 w 9941"/>
                  <a:gd name="connsiteY68" fmla="*/ 9070 h 10000"/>
                  <a:gd name="connsiteX69" fmla="*/ 6589 w 9941"/>
                  <a:gd name="connsiteY69" fmla="*/ 9137 h 10000"/>
                  <a:gd name="connsiteX70" fmla="*/ 6693 w 9941"/>
                  <a:gd name="connsiteY70" fmla="*/ 9216 h 10000"/>
                  <a:gd name="connsiteX71" fmla="*/ 6787 w 9941"/>
                  <a:gd name="connsiteY71" fmla="*/ 9302 h 10000"/>
                  <a:gd name="connsiteX72" fmla="*/ 6861 w 9941"/>
                  <a:gd name="connsiteY72" fmla="*/ 9415 h 10000"/>
                  <a:gd name="connsiteX73" fmla="*/ 6927 w 9941"/>
                  <a:gd name="connsiteY73" fmla="*/ 9527 h 10000"/>
                  <a:gd name="connsiteX74" fmla="*/ 3142 w 9941"/>
                  <a:gd name="connsiteY74" fmla="*/ 9527 h 10000"/>
                  <a:gd name="connsiteX75" fmla="*/ 3181 w 9941"/>
                  <a:gd name="connsiteY75" fmla="*/ 9441 h 10000"/>
                  <a:gd name="connsiteX76" fmla="*/ 3235 w 9941"/>
                  <a:gd name="connsiteY76" fmla="*/ 9355 h 10000"/>
                  <a:gd name="connsiteX77" fmla="*/ 3288 w 9941"/>
                  <a:gd name="connsiteY77" fmla="*/ 9289 h 10000"/>
                  <a:gd name="connsiteX78" fmla="*/ 3359 w 9941"/>
                  <a:gd name="connsiteY78" fmla="*/ 9223 h 10000"/>
                  <a:gd name="connsiteX79" fmla="*/ 3426 w 9941"/>
                  <a:gd name="connsiteY79" fmla="*/ 9170 h 10000"/>
                  <a:gd name="connsiteX80" fmla="*/ 3506 w 9941"/>
                  <a:gd name="connsiteY80" fmla="*/ 9117 h 10000"/>
                  <a:gd name="connsiteX81" fmla="*/ 3586 w 9941"/>
                  <a:gd name="connsiteY81" fmla="*/ 9077 h 10000"/>
                  <a:gd name="connsiteX82" fmla="*/ 3678 w 9941"/>
                  <a:gd name="connsiteY82" fmla="*/ 9044 h 10000"/>
                  <a:gd name="connsiteX83" fmla="*/ 3678 w 9941"/>
                  <a:gd name="connsiteY83" fmla="*/ 8195 h 10000"/>
                  <a:gd name="connsiteX84" fmla="*/ 552 w 9941"/>
                  <a:gd name="connsiteY84" fmla="*/ 8209 h 10000"/>
                  <a:gd name="connsiteX85" fmla="*/ 552 w 9941"/>
                  <a:gd name="connsiteY85" fmla="*/ 8838 h 10000"/>
                  <a:gd name="connsiteX86" fmla="*/ 492 w 9941"/>
                  <a:gd name="connsiteY86" fmla="*/ 8918 h 10000"/>
                  <a:gd name="connsiteX87" fmla="*/ 446 w 9941"/>
                  <a:gd name="connsiteY87" fmla="*/ 9004 h 10000"/>
                  <a:gd name="connsiteX88" fmla="*/ 412 w 9941"/>
                  <a:gd name="connsiteY88" fmla="*/ 9097 h 10000"/>
                  <a:gd name="connsiteX89" fmla="*/ 399 w 9941"/>
                  <a:gd name="connsiteY89" fmla="*/ 9203 h 10000"/>
                  <a:gd name="connsiteX90" fmla="*/ 372 w 9941"/>
                  <a:gd name="connsiteY90" fmla="*/ 9196 h 10000"/>
                  <a:gd name="connsiteX91" fmla="*/ 351 w 9941"/>
                  <a:gd name="connsiteY91" fmla="*/ 9196 h 10000"/>
                  <a:gd name="connsiteX92" fmla="*/ 325 w 9941"/>
                  <a:gd name="connsiteY92" fmla="*/ 9190 h 10000"/>
                  <a:gd name="connsiteX93" fmla="*/ 299 w 9941"/>
                  <a:gd name="connsiteY93" fmla="*/ 9190 h 10000"/>
                  <a:gd name="connsiteX94" fmla="*/ 213 w 9941"/>
                  <a:gd name="connsiteY94" fmla="*/ 9196 h 10000"/>
                  <a:gd name="connsiteX95" fmla="*/ 140 w 9941"/>
                  <a:gd name="connsiteY95" fmla="*/ 9216 h 10000"/>
                  <a:gd name="connsiteX96" fmla="*/ 68 w 9941"/>
                  <a:gd name="connsiteY96" fmla="*/ 9243 h 10000"/>
                  <a:gd name="connsiteX97" fmla="*/ 1 w 9941"/>
                  <a:gd name="connsiteY97" fmla="*/ 9282 h 10000"/>
                  <a:gd name="connsiteX98" fmla="*/ 580 w 9941"/>
                  <a:gd name="connsiteY98" fmla="*/ 8684 h 10000"/>
                  <a:gd name="connsiteX99" fmla="*/ 469 w 9941"/>
                  <a:gd name="connsiteY99" fmla="*/ 8678 h 10000"/>
                  <a:gd name="connsiteX100" fmla="*/ 74 w 9941"/>
                  <a:gd name="connsiteY100" fmla="*/ 7088 h 10000"/>
                  <a:gd name="connsiteX101" fmla="*/ 966 w 9941"/>
                  <a:gd name="connsiteY101" fmla="*/ 8758 h 10000"/>
                  <a:gd name="connsiteX102" fmla="*/ 614 w 9941"/>
                  <a:gd name="connsiteY102" fmla="*/ 8945 h 10000"/>
                  <a:gd name="connsiteX103" fmla="*/ 1053 w 9941"/>
                  <a:gd name="connsiteY103" fmla="*/ 9002 h 10000"/>
                  <a:gd name="connsiteX104" fmla="*/ 1517 w 9941"/>
                  <a:gd name="connsiteY104" fmla="*/ 9426 h 10000"/>
                  <a:gd name="connsiteX105" fmla="*/ 8422 w 9941"/>
                  <a:gd name="connsiteY105" fmla="*/ 9998 h 10000"/>
                  <a:gd name="connsiteX106" fmla="*/ 9865 w 9941"/>
                  <a:gd name="connsiteY106" fmla="*/ 9527 h 10000"/>
                  <a:gd name="connsiteX107" fmla="*/ 9941 w 9941"/>
                  <a:gd name="connsiteY107" fmla="*/ 9527 h 10000"/>
                  <a:gd name="connsiteX0" fmla="*/ 9933 w 9933"/>
                  <a:gd name="connsiteY0" fmla="*/ 9527 h 10000"/>
                  <a:gd name="connsiteX1" fmla="*/ 9933 w 9933"/>
                  <a:gd name="connsiteY1" fmla="*/ 7381 h 10000"/>
                  <a:gd name="connsiteX2" fmla="*/ 9113 w 9933"/>
                  <a:gd name="connsiteY2" fmla="*/ 7381 h 10000"/>
                  <a:gd name="connsiteX3" fmla="*/ 9113 w 9933"/>
                  <a:gd name="connsiteY3" fmla="*/ 4128 h 10000"/>
                  <a:gd name="connsiteX4" fmla="*/ 7087 w 9933"/>
                  <a:gd name="connsiteY4" fmla="*/ 4128 h 10000"/>
                  <a:gd name="connsiteX5" fmla="*/ 7087 w 9933"/>
                  <a:gd name="connsiteY5" fmla="*/ 3816 h 10000"/>
                  <a:gd name="connsiteX6" fmla="*/ 8706 w 9933"/>
                  <a:gd name="connsiteY6" fmla="*/ 3816 h 10000"/>
                  <a:gd name="connsiteX7" fmla="*/ 8706 w 9933"/>
                  <a:gd name="connsiteY7" fmla="*/ 3498 h 10000"/>
                  <a:gd name="connsiteX8" fmla="*/ 7087 w 9933"/>
                  <a:gd name="connsiteY8" fmla="*/ 3498 h 10000"/>
                  <a:gd name="connsiteX9" fmla="*/ 7087 w 9933"/>
                  <a:gd name="connsiteY9" fmla="*/ 1365 h 10000"/>
                  <a:gd name="connsiteX10" fmla="*/ 4705 w 9933"/>
                  <a:gd name="connsiteY10" fmla="*/ 550 h 10000"/>
                  <a:gd name="connsiteX11" fmla="*/ 4705 w 9933"/>
                  <a:gd name="connsiteY11" fmla="*/ 5672 h 10000"/>
                  <a:gd name="connsiteX12" fmla="*/ 4328 w 9933"/>
                  <a:gd name="connsiteY12" fmla="*/ 5678 h 10000"/>
                  <a:gd name="connsiteX13" fmla="*/ 4328 w 9933"/>
                  <a:gd name="connsiteY13" fmla="*/ 1756 h 10000"/>
                  <a:gd name="connsiteX14" fmla="*/ 3527 w 9933"/>
                  <a:gd name="connsiteY14" fmla="*/ 2061 h 10000"/>
                  <a:gd name="connsiteX15" fmla="*/ 3094 w 9933"/>
                  <a:gd name="connsiteY15" fmla="*/ 2061 h 10000"/>
                  <a:gd name="connsiteX16" fmla="*/ 3094 w 9933"/>
                  <a:gd name="connsiteY16" fmla="*/ 0 h 10000"/>
                  <a:gd name="connsiteX17" fmla="*/ 2934 w 9933"/>
                  <a:gd name="connsiteY17" fmla="*/ 0 h 10000"/>
                  <a:gd name="connsiteX18" fmla="*/ 2934 w 9933"/>
                  <a:gd name="connsiteY18" fmla="*/ 2061 h 10000"/>
                  <a:gd name="connsiteX19" fmla="*/ 2567 w 9933"/>
                  <a:gd name="connsiteY19" fmla="*/ 2061 h 10000"/>
                  <a:gd name="connsiteX20" fmla="*/ 2567 w 9933"/>
                  <a:gd name="connsiteY20" fmla="*/ 2492 h 10000"/>
                  <a:gd name="connsiteX21" fmla="*/ 1907 w 9933"/>
                  <a:gd name="connsiteY21" fmla="*/ 2815 h 10000"/>
                  <a:gd name="connsiteX22" fmla="*/ 1907 w 9933"/>
                  <a:gd name="connsiteY22" fmla="*/ 4413 h 10000"/>
                  <a:gd name="connsiteX23" fmla="*/ 1554 w 9933"/>
                  <a:gd name="connsiteY23" fmla="*/ 4413 h 10000"/>
                  <a:gd name="connsiteX24" fmla="*/ 1554 w 9933"/>
                  <a:gd name="connsiteY24" fmla="*/ 4837 h 10000"/>
                  <a:gd name="connsiteX25" fmla="*/ 1907 w 9933"/>
                  <a:gd name="connsiteY25" fmla="*/ 4837 h 10000"/>
                  <a:gd name="connsiteX26" fmla="*/ 1907 w 9933"/>
                  <a:gd name="connsiteY26" fmla="*/ 5367 h 10000"/>
                  <a:gd name="connsiteX27" fmla="*/ 1554 w 9933"/>
                  <a:gd name="connsiteY27" fmla="*/ 5367 h 10000"/>
                  <a:gd name="connsiteX28" fmla="*/ 1554 w 9933"/>
                  <a:gd name="connsiteY28" fmla="*/ 5791 h 10000"/>
                  <a:gd name="connsiteX29" fmla="*/ 1907 w 9933"/>
                  <a:gd name="connsiteY29" fmla="*/ 5791 h 10000"/>
                  <a:gd name="connsiteX30" fmla="*/ 1907 w 9933"/>
                  <a:gd name="connsiteY30" fmla="*/ 7043 h 10000"/>
                  <a:gd name="connsiteX31" fmla="*/ 853 w 9933"/>
                  <a:gd name="connsiteY31" fmla="*/ 7043 h 10000"/>
                  <a:gd name="connsiteX32" fmla="*/ 853 w 9933"/>
                  <a:gd name="connsiteY32" fmla="*/ 7818 h 10000"/>
                  <a:gd name="connsiteX33" fmla="*/ 1394 w 9933"/>
                  <a:gd name="connsiteY33" fmla="*/ 7838 h 10000"/>
                  <a:gd name="connsiteX34" fmla="*/ 2126 w 9933"/>
                  <a:gd name="connsiteY34" fmla="*/ 7315 h 10000"/>
                  <a:gd name="connsiteX35" fmla="*/ 2120 w 9933"/>
                  <a:gd name="connsiteY35" fmla="*/ 7818 h 10000"/>
                  <a:gd name="connsiteX36" fmla="*/ 2793 w 9933"/>
                  <a:gd name="connsiteY36" fmla="*/ 7368 h 10000"/>
                  <a:gd name="connsiteX37" fmla="*/ 2793 w 9933"/>
                  <a:gd name="connsiteY37" fmla="*/ 7818 h 10000"/>
                  <a:gd name="connsiteX38" fmla="*/ 3460 w 9933"/>
                  <a:gd name="connsiteY38" fmla="*/ 7361 h 10000"/>
                  <a:gd name="connsiteX39" fmla="*/ 3466 w 9933"/>
                  <a:gd name="connsiteY39" fmla="*/ 7811 h 10000"/>
                  <a:gd name="connsiteX40" fmla="*/ 4106 w 9933"/>
                  <a:gd name="connsiteY40" fmla="*/ 7328 h 10000"/>
                  <a:gd name="connsiteX41" fmla="*/ 4106 w 9933"/>
                  <a:gd name="connsiteY41" fmla="*/ 8613 h 10000"/>
                  <a:gd name="connsiteX42" fmla="*/ 4181 w 9933"/>
                  <a:gd name="connsiteY42" fmla="*/ 8520 h 10000"/>
                  <a:gd name="connsiteX43" fmla="*/ 4253 w 9933"/>
                  <a:gd name="connsiteY43" fmla="*/ 8434 h 10000"/>
                  <a:gd name="connsiteX44" fmla="*/ 4343 w 9933"/>
                  <a:gd name="connsiteY44" fmla="*/ 8361 h 10000"/>
                  <a:gd name="connsiteX45" fmla="*/ 4441 w 9933"/>
                  <a:gd name="connsiteY45" fmla="*/ 8295 h 10000"/>
                  <a:gd name="connsiteX46" fmla="*/ 4540 w 9933"/>
                  <a:gd name="connsiteY46" fmla="*/ 8249 h 10000"/>
                  <a:gd name="connsiteX47" fmla="*/ 4647 w 9933"/>
                  <a:gd name="connsiteY47" fmla="*/ 8215 h 10000"/>
                  <a:gd name="connsiteX48" fmla="*/ 4758 w 9933"/>
                  <a:gd name="connsiteY48" fmla="*/ 8189 h 10000"/>
                  <a:gd name="connsiteX49" fmla="*/ 4886 w 9933"/>
                  <a:gd name="connsiteY49" fmla="*/ 8182 h 10000"/>
                  <a:gd name="connsiteX50" fmla="*/ 5060 w 9933"/>
                  <a:gd name="connsiteY50" fmla="*/ 8195 h 10000"/>
                  <a:gd name="connsiteX51" fmla="*/ 5234 w 9933"/>
                  <a:gd name="connsiteY51" fmla="*/ 8242 h 10000"/>
                  <a:gd name="connsiteX52" fmla="*/ 5373 w 9933"/>
                  <a:gd name="connsiteY52" fmla="*/ 8321 h 10000"/>
                  <a:gd name="connsiteX53" fmla="*/ 5515 w 9933"/>
                  <a:gd name="connsiteY53" fmla="*/ 8421 h 10000"/>
                  <a:gd name="connsiteX54" fmla="*/ 5635 w 9933"/>
                  <a:gd name="connsiteY54" fmla="*/ 8540 h 10000"/>
                  <a:gd name="connsiteX55" fmla="*/ 5714 w 9933"/>
                  <a:gd name="connsiteY55" fmla="*/ 8686 h 10000"/>
                  <a:gd name="connsiteX56" fmla="*/ 5788 w 9933"/>
                  <a:gd name="connsiteY56" fmla="*/ 8838 h 10000"/>
                  <a:gd name="connsiteX57" fmla="*/ 5813 w 9933"/>
                  <a:gd name="connsiteY57" fmla="*/ 9004 h 10000"/>
                  <a:gd name="connsiteX58" fmla="*/ 5847 w 9933"/>
                  <a:gd name="connsiteY58" fmla="*/ 8997 h 10000"/>
                  <a:gd name="connsiteX59" fmla="*/ 5873 w 9933"/>
                  <a:gd name="connsiteY59" fmla="*/ 8997 h 10000"/>
                  <a:gd name="connsiteX60" fmla="*/ 5900 w 9933"/>
                  <a:gd name="connsiteY60" fmla="*/ 8991 h 10000"/>
                  <a:gd name="connsiteX61" fmla="*/ 5926 w 9933"/>
                  <a:gd name="connsiteY61" fmla="*/ 8991 h 10000"/>
                  <a:gd name="connsiteX62" fmla="*/ 5960 w 9933"/>
                  <a:gd name="connsiteY62" fmla="*/ 8984 h 10000"/>
                  <a:gd name="connsiteX63" fmla="*/ 5992 w 9933"/>
                  <a:gd name="connsiteY63" fmla="*/ 8984 h 10000"/>
                  <a:gd name="connsiteX64" fmla="*/ 6019 w 9933"/>
                  <a:gd name="connsiteY64" fmla="*/ 8984 h 10000"/>
                  <a:gd name="connsiteX65" fmla="*/ 6054 w 9933"/>
                  <a:gd name="connsiteY65" fmla="*/ 8984 h 10000"/>
                  <a:gd name="connsiteX66" fmla="*/ 6193 w 9933"/>
                  <a:gd name="connsiteY66" fmla="*/ 8991 h 10000"/>
                  <a:gd name="connsiteX67" fmla="*/ 6320 w 9933"/>
                  <a:gd name="connsiteY67" fmla="*/ 9024 h 10000"/>
                  <a:gd name="connsiteX68" fmla="*/ 6446 w 9933"/>
                  <a:gd name="connsiteY68" fmla="*/ 9070 h 10000"/>
                  <a:gd name="connsiteX69" fmla="*/ 6561 w 9933"/>
                  <a:gd name="connsiteY69" fmla="*/ 9137 h 10000"/>
                  <a:gd name="connsiteX70" fmla="*/ 6666 w 9933"/>
                  <a:gd name="connsiteY70" fmla="*/ 9216 h 10000"/>
                  <a:gd name="connsiteX71" fmla="*/ 6760 w 9933"/>
                  <a:gd name="connsiteY71" fmla="*/ 9302 h 10000"/>
                  <a:gd name="connsiteX72" fmla="*/ 6835 w 9933"/>
                  <a:gd name="connsiteY72" fmla="*/ 9415 h 10000"/>
                  <a:gd name="connsiteX73" fmla="*/ 6901 w 9933"/>
                  <a:gd name="connsiteY73" fmla="*/ 9527 h 10000"/>
                  <a:gd name="connsiteX74" fmla="*/ 3094 w 9933"/>
                  <a:gd name="connsiteY74" fmla="*/ 9527 h 10000"/>
                  <a:gd name="connsiteX75" fmla="*/ 3133 w 9933"/>
                  <a:gd name="connsiteY75" fmla="*/ 9441 h 10000"/>
                  <a:gd name="connsiteX76" fmla="*/ 3187 w 9933"/>
                  <a:gd name="connsiteY76" fmla="*/ 9355 h 10000"/>
                  <a:gd name="connsiteX77" fmla="*/ 3241 w 9933"/>
                  <a:gd name="connsiteY77" fmla="*/ 9289 h 10000"/>
                  <a:gd name="connsiteX78" fmla="*/ 3312 w 9933"/>
                  <a:gd name="connsiteY78" fmla="*/ 9223 h 10000"/>
                  <a:gd name="connsiteX79" fmla="*/ 3379 w 9933"/>
                  <a:gd name="connsiteY79" fmla="*/ 9170 h 10000"/>
                  <a:gd name="connsiteX80" fmla="*/ 3460 w 9933"/>
                  <a:gd name="connsiteY80" fmla="*/ 9117 h 10000"/>
                  <a:gd name="connsiteX81" fmla="*/ 3540 w 9933"/>
                  <a:gd name="connsiteY81" fmla="*/ 9077 h 10000"/>
                  <a:gd name="connsiteX82" fmla="*/ 3633 w 9933"/>
                  <a:gd name="connsiteY82" fmla="*/ 9044 h 10000"/>
                  <a:gd name="connsiteX83" fmla="*/ 3633 w 9933"/>
                  <a:gd name="connsiteY83" fmla="*/ 8195 h 10000"/>
                  <a:gd name="connsiteX84" fmla="*/ 488 w 9933"/>
                  <a:gd name="connsiteY84" fmla="*/ 8209 h 10000"/>
                  <a:gd name="connsiteX85" fmla="*/ 488 w 9933"/>
                  <a:gd name="connsiteY85" fmla="*/ 8838 h 10000"/>
                  <a:gd name="connsiteX86" fmla="*/ 428 w 9933"/>
                  <a:gd name="connsiteY86" fmla="*/ 8918 h 10000"/>
                  <a:gd name="connsiteX87" fmla="*/ 382 w 9933"/>
                  <a:gd name="connsiteY87" fmla="*/ 9004 h 10000"/>
                  <a:gd name="connsiteX88" fmla="*/ 347 w 9933"/>
                  <a:gd name="connsiteY88" fmla="*/ 9097 h 10000"/>
                  <a:gd name="connsiteX89" fmla="*/ 334 w 9933"/>
                  <a:gd name="connsiteY89" fmla="*/ 9203 h 10000"/>
                  <a:gd name="connsiteX90" fmla="*/ 307 w 9933"/>
                  <a:gd name="connsiteY90" fmla="*/ 9196 h 10000"/>
                  <a:gd name="connsiteX91" fmla="*/ 286 w 9933"/>
                  <a:gd name="connsiteY91" fmla="*/ 9196 h 10000"/>
                  <a:gd name="connsiteX92" fmla="*/ 260 w 9933"/>
                  <a:gd name="connsiteY92" fmla="*/ 9190 h 10000"/>
                  <a:gd name="connsiteX93" fmla="*/ 234 w 9933"/>
                  <a:gd name="connsiteY93" fmla="*/ 9190 h 10000"/>
                  <a:gd name="connsiteX94" fmla="*/ 147 w 9933"/>
                  <a:gd name="connsiteY94" fmla="*/ 9196 h 10000"/>
                  <a:gd name="connsiteX95" fmla="*/ 74 w 9933"/>
                  <a:gd name="connsiteY95" fmla="*/ 9216 h 10000"/>
                  <a:gd name="connsiteX96" fmla="*/ 1 w 9933"/>
                  <a:gd name="connsiteY96" fmla="*/ 9243 h 10000"/>
                  <a:gd name="connsiteX97" fmla="*/ 1102 w 9933"/>
                  <a:gd name="connsiteY97" fmla="*/ 9282 h 10000"/>
                  <a:gd name="connsiteX98" fmla="*/ 516 w 9933"/>
                  <a:gd name="connsiteY98" fmla="*/ 8684 h 10000"/>
                  <a:gd name="connsiteX99" fmla="*/ 405 w 9933"/>
                  <a:gd name="connsiteY99" fmla="*/ 8678 h 10000"/>
                  <a:gd name="connsiteX100" fmla="*/ 7 w 9933"/>
                  <a:gd name="connsiteY100" fmla="*/ 7088 h 10000"/>
                  <a:gd name="connsiteX101" fmla="*/ 905 w 9933"/>
                  <a:gd name="connsiteY101" fmla="*/ 8758 h 10000"/>
                  <a:gd name="connsiteX102" fmla="*/ 551 w 9933"/>
                  <a:gd name="connsiteY102" fmla="*/ 8945 h 10000"/>
                  <a:gd name="connsiteX103" fmla="*/ 992 w 9933"/>
                  <a:gd name="connsiteY103" fmla="*/ 9002 h 10000"/>
                  <a:gd name="connsiteX104" fmla="*/ 1459 w 9933"/>
                  <a:gd name="connsiteY104" fmla="*/ 9426 h 10000"/>
                  <a:gd name="connsiteX105" fmla="*/ 8405 w 9933"/>
                  <a:gd name="connsiteY105" fmla="*/ 9998 h 10000"/>
                  <a:gd name="connsiteX106" fmla="*/ 9857 w 9933"/>
                  <a:gd name="connsiteY106" fmla="*/ 9527 h 10000"/>
                  <a:gd name="connsiteX107" fmla="*/ 9933 w 9933"/>
                  <a:gd name="connsiteY107" fmla="*/ 9527 h 10000"/>
                  <a:gd name="connsiteX0" fmla="*/ 9993 w 9993"/>
                  <a:gd name="connsiteY0" fmla="*/ 9527 h 10000"/>
                  <a:gd name="connsiteX1" fmla="*/ 9993 w 9993"/>
                  <a:gd name="connsiteY1" fmla="*/ 7381 h 10000"/>
                  <a:gd name="connsiteX2" fmla="*/ 9167 w 9993"/>
                  <a:gd name="connsiteY2" fmla="*/ 7381 h 10000"/>
                  <a:gd name="connsiteX3" fmla="*/ 9167 w 9993"/>
                  <a:gd name="connsiteY3" fmla="*/ 4128 h 10000"/>
                  <a:gd name="connsiteX4" fmla="*/ 7128 w 9993"/>
                  <a:gd name="connsiteY4" fmla="*/ 4128 h 10000"/>
                  <a:gd name="connsiteX5" fmla="*/ 7128 w 9993"/>
                  <a:gd name="connsiteY5" fmla="*/ 3816 h 10000"/>
                  <a:gd name="connsiteX6" fmla="*/ 8758 w 9993"/>
                  <a:gd name="connsiteY6" fmla="*/ 3816 h 10000"/>
                  <a:gd name="connsiteX7" fmla="*/ 8758 w 9993"/>
                  <a:gd name="connsiteY7" fmla="*/ 3498 h 10000"/>
                  <a:gd name="connsiteX8" fmla="*/ 7128 w 9993"/>
                  <a:gd name="connsiteY8" fmla="*/ 3498 h 10000"/>
                  <a:gd name="connsiteX9" fmla="*/ 7128 w 9993"/>
                  <a:gd name="connsiteY9" fmla="*/ 1365 h 10000"/>
                  <a:gd name="connsiteX10" fmla="*/ 4730 w 9993"/>
                  <a:gd name="connsiteY10" fmla="*/ 550 h 10000"/>
                  <a:gd name="connsiteX11" fmla="*/ 4730 w 9993"/>
                  <a:gd name="connsiteY11" fmla="*/ 5672 h 10000"/>
                  <a:gd name="connsiteX12" fmla="*/ 4350 w 9993"/>
                  <a:gd name="connsiteY12" fmla="*/ 5678 h 10000"/>
                  <a:gd name="connsiteX13" fmla="*/ 4350 w 9993"/>
                  <a:gd name="connsiteY13" fmla="*/ 1756 h 10000"/>
                  <a:gd name="connsiteX14" fmla="*/ 3544 w 9993"/>
                  <a:gd name="connsiteY14" fmla="*/ 2061 h 10000"/>
                  <a:gd name="connsiteX15" fmla="*/ 3108 w 9993"/>
                  <a:gd name="connsiteY15" fmla="*/ 2061 h 10000"/>
                  <a:gd name="connsiteX16" fmla="*/ 3108 w 9993"/>
                  <a:gd name="connsiteY16" fmla="*/ 0 h 10000"/>
                  <a:gd name="connsiteX17" fmla="*/ 2947 w 9993"/>
                  <a:gd name="connsiteY17" fmla="*/ 0 h 10000"/>
                  <a:gd name="connsiteX18" fmla="*/ 2947 w 9993"/>
                  <a:gd name="connsiteY18" fmla="*/ 2061 h 10000"/>
                  <a:gd name="connsiteX19" fmla="*/ 2577 w 9993"/>
                  <a:gd name="connsiteY19" fmla="*/ 2061 h 10000"/>
                  <a:gd name="connsiteX20" fmla="*/ 2577 w 9993"/>
                  <a:gd name="connsiteY20" fmla="*/ 2492 h 10000"/>
                  <a:gd name="connsiteX21" fmla="*/ 1913 w 9993"/>
                  <a:gd name="connsiteY21" fmla="*/ 2815 h 10000"/>
                  <a:gd name="connsiteX22" fmla="*/ 1913 w 9993"/>
                  <a:gd name="connsiteY22" fmla="*/ 4413 h 10000"/>
                  <a:gd name="connsiteX23" fmla="*/ 1557 w 9993"/>
                  <a:gd name="connsiteY23" fmla="*/ 4413 h 10000"/>
                  <a:gd name="connsiteX24" fmla="*/ 1557 w 9993"/>
                  <a:gd name="connsiteY24" fmla="*/ 4837 h 10000"/>
                  <a:gd name="connsiteX25" fmla="*/ 1913 w 9993"/>
                  <a:gd name="connsiteY25" fmla="*/ 4837 h 10000"/>
                  <a:gd name="connsiteX26" fmla="*/ 1913 w 9993"/>
                  <a:gd name="connsiteY26" fmla="*/ 5367 h 10000"/>
                  <a:gd name="connsiteX27" fmla="*/ 1557 w 9993"/>
                  <a:gd name="connsiteY27" fmla="*/ 5367 h 10000"/>
                  <a:gd name="connsiteX28" fmla="*/ 1557 w 9993"/>
                  <a:gd name="connsiteY28" fmla="*/ 5791 h 10000"/>
                  <a:gd name="connsiteX29" fmla="*/ 1913 w 9993"/>
                  <a:gd name="connsiteY29" fmla="*/ 5791 h 10000"/>
                  <a:gd name="connsiteX30" fmla="*/ 1913 w 9993"/>
                  <a:gd name="connsiteY30" fmla="*/ 7043 h 10000"/>
                  <a:gd name="connsiteX31" fmla="*/ 852 w 9993"/>
                  <a:gd name="connsiteY31" fmla="*/ 7043 h 10000"/>
                  <a:gd name="connsiteX32" fmla="*/ 852 w 9993"/>
                  <a:gd name="connsiteY32" fmla="*/ 7818 h 10000"/>
                  <a:gd name="connsiteX33" fmla="*/ 1396 w 9993"/>
                  <a:gd name="connsiteY33" fmla="*/ 7838 h 10000"/>
                  <a:gd name="connsiteX34" fmla="*/ 2133 w 9993"/>
                  <a:gd name="connsiteY34" fmla="*/ 7315 h 10000"/>
                  <a:gd name="connsiteX35" fmla="*/ 2127 w 9993"/>
                  <a:gd name="connsiteY35" fmla="*/ 7818 h 10000"/>
                  <a:gd name="connsiteX36" fmla="*/ 2805 w 9993"/>
                  <a:gd name="connsiteY36" fmla="*/ 7368 h 10000"/>
                  <a:gd name="connsiteX37" fmla="*/ 2805 w 9993"/>
                  <a:gd name="connsiteY37" fmla="*/ 7818 h 10000"/>
                  <a:gd name="connsiteX38" fmla="*/ 3476 w 9993"/>
                  <a:gd name="connsiteY38" fmla="*/ 7361 h 10000"/>
                  <a:gd name="connsiteX39" fmla="*/ 3482 w 9993"/>
                  <a:gd name="connsiteY39" fmla="*/ 7811 h 10000"/>
                  <a:gd name="connsiteX40" fmla="*/ 4127 w 9993"/>
                  <a:gd name="connsiteY40" fmla="*/ 7328 h 10000"/>
                  <a:gd name="connsiteX41" fmla="*/ 4127 w 9993"/>
                  <a:gd name="connsiteY41" fmla="*/ 8613 h 10000"/>
                  <a:gd name="connsiteX42" fmla="*/ 4202 w 9993"/>
                  <a:gd name="connsiteY42" fmla="*/ 8520 h 10000"/>
                  <a:gd name="connsiteX43" fmla="*/ 4275 w 9993"/>
                  <a:gd name="connsiteY43" fmla="*/ 8434 h 10000"/>
                  <a:gd name="connsiteX44" fmla="*/ 4365 w 9993"/>
                  <a:gd name="connsiteY44" fmla="*/ 8361 h 10000"/>
                  <a:gd name="connsiteX45" fmla="*/ 4464 w 9993"/>
                  <a:gd name="connsiteY45" fmla="*/ 8295 h 10000"/>
                  <a:gd name="connsiteX46" fmla="*/ 4564 w 9993"/>
                  <a:gd name="connsiteY46" fmla="*/ 8249 h 10000"/>
                  <a:gd name="connsiteX47" fmla="*/ 4671 w 9993"/>
                  <a:gd name="connsiteY47" fmla="*/ 8215 h 10000"/>
                  <a:gd name="connsiteX48" fmla="*/ 4783 w 9993"/>
                  <a:gd name="connsiteY48" fmla="*/ 8189 h 10000"/>
                  <a:gd name="connsiteX49" fmla="*/ 4912 w 9993"/>
                  <a:gd name="connsiteY49" fmla="*/ 8182 h 10000"/>
                  <a:gd name="connsiteX50" fmla="*/ 5087 w 9993"/>
                  <a:gd name="connsiteY50" fmla="*/ 8195 h 10000"/>
                  <a:gd name="connsiteX51" fmla="*/ 5262 w 9993"/>
                  <a:gd name="connsiteY51" fmla="*/ 8242 h 10000"/>
                  <a:gd name="connsiteX52" fmla="*/ 5402 w 9993"/>
                  <a:gd name="connsiteY52" fmla="*/ 8321 h 10000"/>
                  <a:gd name="connsiteX53" fmla="*/ 5545 w 9993"/>
                  <a:gd name="connsiteY53" fmla="*/ 8421 h 10000"/>
                  <a:gd name="connsiteX54" fmla="*/ 5666 w 9993"/>
                  <a:gd name="connsiteY54" fmla="*/ 8540 h 10000"/>
                  <a:gd name="connsiteX55" fmla="*/ 5746 w 9993"/>
                  <a:gd name="connsiteY55" fmla="*/ 8686 h 10000"/>
                  <a:gd name="connsiteX56" fmla="*/ 5820 w 9993"/>
                  <a:gd name="connsiteY56" fmla="*/ 8838 h 10000"/>
                  <a:gd name="connsiteX57" fmla="*/ 5845 w 9993"/>
                  <a:gd name="connsiteY57" fmla="*/ 9004 h 10000"/>
                  <a:gd name="connsiteX58" fmla="*/ 5879 w 9993"/>
                  <a:gd name="connsiteY58" fmla="*/ 8997 h 10000"/>
                  <a:gd name="connsiteX59" fmla="*/ 5906 w 9993"/>
                  <a:gd name="connsiteY59" fmla="*/ 8997 h 10000"/>
                  <a:gd name="connsiteX60" fmla="*/ 5933 w 9993"/>
                  <a:gd name="connsiteY60" fmla="*/ 8991 h 10000"/>
                  <a:gd name="connsiteX61" fmla="*/ 5959 w 9993"/>
                  <a:gd name="connsiteY61" fmla="*/ 8991 h 10000"/>
                  <a:gd name="connsiteX62" fmla="*/ 5993 w 9993"/>
                  <a:gd name="connsiteY62" fmla="*/ 8984 h 10000"/>
                  <a:gd name="connsiteX63" fmla="*/ 6025 w 9993"/>
                  <a:gd name="connsiteY63" fmla="*/ 8984 h 10000"/>
                  <a:gd name="connsiteX64" fmla="*/ 6053 w 9993"/>
                  <a:gd name="connsiteY64" fmla="*/ 8984 h 10000"/>
                  <a:gd name="connsiteX65" fmla="*/ 6088 w 9993"/>
                  <a:gd name="connsiteY65" fmla="*/ 8984 h 10000"/>
                  <a:gd name="connsiteX66" fmla="*/ 6228 w 9993"/>
                  <a:gd name="connsiteY66" fmla="*/ 8991 h 10000"/>
                  <a:gd name="connsiteX67" fmla="*/ 6356 w 9993"/>
                  <a:gd name="connsiteY67" fmla="*/ 9024 h 10000"/>
                  <a:gd name="connsiteX68" fmla="*/ 6482 w 9993"/>
                  <a:gd name="connsiteY68" fmla="*/ 9070 h 10000"/>
                  <a:gd name="connsiteX69" fmla="*/ 6598 w 9993"/>
                  <a:gd name="connsiteY69" fmla="*/ 9137 h 10000"/>
                  <a:gd name="connsiteX70" fmla="*/ 6704 w 9993"/>
                  <a:gd name="connsiteY70" fmla="*/ 9216 h 10000"/>
                  <a:gd name="connsiteX71" fmla="*/ 6799 w 9993"/>
                  <a:gd name="connsiteY71" fmla="*/ 9302 h 10000"/>
                  <a:gd name="connsiteX72" fmla="*/ 6874 w 9993"/>
                  <a:gd name="connsiteY72" fmla="*/ 9415 h 10000"/>
                  <a:gd name="connsiteX73" fmla="*/ 6941 w 9993"/>
                  <a:gd name="connsiteY73" fmla="*/ 9527 h 10000"/>
                  <a:gd name="connsiteX74" fmla="*/ 3108 w 9993"/>
                  <a:gd name="connsiteY74" fmla="*/ 9527 h 10000"/>
                  <a:gd name="connsiteX75" fmla="*/ 3147 w 9993"/>
                  <a:gd name="connsiteY75" fmla="*/ 9441 h 10000"/>
                  <a:gd name="connsiteX76" fmla="*/ 3201 w 9993"/>
                  <a:gd name="connsiteY76" fmla="*/ 9355 h 10000"/>
                  <a:gd name="connsiteX77" fmla="*/ 3256 w 9993"/>
                  <a:gd name="connsiteY77" fmla="*/ 9289 h 10000"/>
                  <a:gd name="connsiteX78" fmla="*/ 3327 w 9993"/>
                  <a:gd name="connsiteY78" fmla="*/ 9223 h 10000"/>
                  <a:gd name="connsiteX79" fmla="*/ 3395 w 9993"/>
                  <a:gd name="connsiteY79" fmla="*/ 9170 h 10000"/>
                  <a:gd name="connsiteX80" fmla="*/ 3476 w 9993"/>
                  <a:gd name="connsiteY80" fmla="*/ 9117 h 10000"/>
                  <a:gd name="connsiteX81" fmla="*/ 3557 w 9993"/>
                  <a:gd name="connsiteY81" fmla="*/ 9077 h 10000"/>
                  <a:gd name="connsiteX82" fmla="*/ 3651 w 9993"/>
                  <a:gd name="connsiteY82" fmla="*/ 9044 h 10000"/>
                  <a:gd name="connsiteX83" fmla="*/ 3651 w 9993"/>
                  <a:gd name="connsiteY83" fmla="*/ 8195 h 10000"/>
                  <a:gd name="connsiteX84" fmla="*/ 484 w 9993"/>
                  <a:gd name="connsiteY84" fmla="*/ 8209 h 10000"/>
                  <a:gd name="connsiteX85" fmla="*/ 484 w 9993"/>
                  <a:gd name="connsiteY85" fmla="*/ 8838 h 10000"/>
                  <a:gd name="connsiteX86" fmla="*/ 424 w 9993"/>
                  <a:gd name="connsiteY86" fmla="*/ 8918 h 10000"/>
                  <a:gd name="connsiteX87" fmla="*/ 378 w 9993"/>
                  <a:gd name="connsiteY87" fmla="*/ 9004 h 10000"/>
                  <a:gd name="connsiteX88" fmla="*/ 342 w 9993"/>
                  <a:gd name="connsiteY88" fmla="*/ 9097 h 10000"/>
                  <a:gd name="connsiteX89" fmla="*/ 329 w 9993"/>
                  <a:gd name="connsiteY89" fmla="*/ 9203 h 10000"/>
                  <a:gd name="connsiteX90" fmla="*/ 302 w 9993"/>
                  <a:gd name="connsiteY90" fmla="*/ 9196 h 10000"/>
                  <a:gd name="connsiteX91" fmla="*/ 281 w 9993"/>
                  <a:gd name="connsiteY91" fmla="*/ 9196 h 10000"/>
                  <a:gd name="connsiteX92" fmla="*/ 255 w 9993"/>
                  <a:gd name="connsiteY92" fmla="*/ 9190 h 10000"/>
                  <a:gd name="connsiteX93" fmla="*/ 229 w 9993"/>
                  <a:gd name="connsiteY93" fmla="*/ 9190 h 10000"/>
                  <a:gd name="connsiteX94" fmla="*/ 141 w 9993"/>
                  <a:gd name="connsiteY94" fmla="*/ 9196 h 10000"/>
                  <a:gd name="connsiteX95" fmla="*/ 67 w 9993"/>
                  <a:gd name="connsiteY95" fmla="*/ 9216 h 10000"/>
                  <a:gd name="connsiteX96" fmla="*/ 1346 w 9993"/>
                  <a:gd name="connsiteY96" fmla="*/ 9184 h 10000"/>
                  <a:gd name="connsiteX97" fmla="*/ 1102 w 9993"/>
                  <a:gd name="connsiteY97" fmla="*/ 9282 h 10000"/>
                  <a:gd name="connsiteX98" fmla="*/ 512 w 9993"/>
                  <a:gd name="connsiteY98" fmla="*/ 8684 h 10000"/>
                  <a:gd name="connsiteX99" fmla="*/ 401 w 9993"/>
                  <a:gd name="connsiteY99" fmla="*/ 8678 h 10000"/>
                  <a:gd name="connsiteX100" fmla="*/ 0 w 9993"/>
                  <a:gd name="connsiteY100" fmla="*/ 7088 h 10000"/>
                  <a:gd name="connsiteX101" fmla="*/ 904 w 9993"/>
                  <a:gd name="connsiteY101" fmla="*/ 8758 h 10000"/>
                  <a:gd name="connsiteX102" fmla="*/ 548 w 9993"/>
                  <a:gd name="connsiteY102" fmla="*/ 8945 h 10000"/>
                  <a:gd name="connsiteX103" fmla="*/ 992 w 9993"/>
                  <a:gd name="connsiteY103" fmla="*/ 9002 h 10000"/>
                  <a:gd name="connsiteX104" fmla="*/ 1462 w 9993"/>
                  <a:gd name="connsiteY104" fmla="*/ 9426 h 10000"/>
                  <a:gd name="connsiteX105" fmla="*/ 8455 w 9993"/>
                  <a:gd name="connsiteY105" fmla="*/ 9998 h 10000"/>
                  <a:gd name="connsiteX106" fmla="*/ 9916 w 9993"/>
                  <a:gd name="connsiteY106" fmla="*/ 9527 h 10000"/>
                  <a:gd name="connsiteX107" fmla="*/ 9993 w 9993"/>
                  <a:gd name="connsiteY107" fmla="*/ 9527 h 10000"/>
                  <a:gd name="connsiteX0" fmla="*/ 10000 w 10000"/>
                  <a:gd name="connsiteY0" fmla="*/ 9527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255 w 10000"/>
                  <a:gd name="connsiteY92" fmla="*/ 9190 h 10000"/>
                  <a:gd name="connsiteX93" fmla="*/ 229 w 10000"/>
                  <a:gd name="connsiteY93" fmla="*/ 9190 h 10000"/>
                  <a:gd name="connsiteX94" fmla="*/ 141 w 10000"/>
                  <a:gd name="connsiteY94" fmla="*/ 919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10000 w 10000"/>
                  <a:gd name="connsiteY107" fmla="*/ 9527 h 10000"/>
                  <a:gd name="connsiteX0" fmla="*/ 10000 w 10000"/>
                  <a:gd name="connsiteY0" fmla="*/ 9527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255 w 10000"/>
                  <a:gd name="connsiteY92" fmla="*/ 9190 h 10000"/>
                  <a:gd name="connsiteX93" fmla="*/ 229 w 10000"/>
                  <a:gd name="connsiteY93" fmla="*/ 9190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10000 w 10000"/>
                  <a:gd name="connsiteY107" fmla="*/ 9527 h 10000"/>
                  <a:gd name="connsiteX0" fmla="*/ 10000 w 10000"/>
                  <a:gd name="connsiteY0" fmla="*/ 9527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255 w 10000"/>
                  <a:gd name="connsiteY92" fmla="*/ 9190 h 10000"/>
                  <a:gd name="connsiteX93" fmla="*/ 817 w 10000"/>
                  <a:gd name="connsiteY93" fmla="*/ 8657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10000 w 10000"/>
                  <a:gd name="connsiteY107" fmla="*/ 9527 h 10000"/>
                  <a:gd name="connsiteX0" fmla="*/ 10000 w 10000"/>
                  <a:gd name="connsiteY0" fmla="*/ 9527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608 w 10000"/>
                  <a:gd name="connsiteY92" fmla="*/ 8657 h 10000"/>
                  <a:gd name="connsiteX93" fmla="*/ 817 w 10000"/>
                  <a:gd name="connsiteY93" fmla="*/ 8657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10000 w 10000"/>
                  <a:gd name="connsiteY107" fmla="*/ 9527 h 10000"/>
                  <a:gd name="connsiteX0" fmla="*/ 9118 w 10000"/>
                  <a:gd name="connsiteY0" fmla="*/ 8935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608 w 10000"/>
                  <a:gd name="connsiteY92" fmla="*/ 8657 h 10000"/>
                  <a:gd name="connsiteX93" fmla="*/ 817 w 10000"/>
                  <a:gd name="connsiteY93" fmla="*/ 8657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9923 w 10000"/>
                  <a:gd name="connsiteY106" fmla="*/ 9527 h 10000"/>
                  <a:gd name="connsiteX107" fmla="*/ 9118 w 10000"/>
                  <a:gd name="connsiteY107" fmla="*/ 8935 h 10000"/>
                  <a:gd name="connsiteX0" fmla="*/ 9118 w 10000"/>
                  <a:gd name="connsiteY0" fmla="*/ 8935 h 10000"/>
                  <a:gd name="connsiteX1" fmla="*/ 10000 w 10000"/>
                  <a:gd name="connsiteY1" fmla="*/ 7381 h 10000"/>
                  <a:gd name="connsiteX2" fmla="*/ 9173 w 10000"/>
                  <a:gd name="connsiteY2" fmla="*/ 7381 h 10000"/>
                  <a:gd name="connsiteX3" fmla="*/ 9173 w 10000"/>
                  <a:gd name="connsiteY3" fmla="*/ 4128 h 10000"/>
                  <a:gd name="connsiteX4" fmla="*/ 7133 w 10000"/>
                  <a:gd name="connsiteY4" fmla="*/ 4128 h 10000"/>
                  <a:gd name="connsiteX5" fmla="*/ 7133 w 10000"/>
                  <a:gd name="connsiteY5" fmla="*/ 3816 h 10000"/>
                  <a:gd name="connsiteX6" fmla="*/ 8764 w 10000"/>
                  <a:gd name="connsiteY6" fmla="*/ 3816 h 10000"/>
                  <a:gd name="connsiteX7" fmla="*/ 8764 w 10000"/>
                  <a:gd name="connsiteY7" fmla="*/ 3498 h 10000"/>
                  <a:gd name="connsiteX8" fmla="*/ 7133 w 10000"/>
                  <a:gd name="connsiteY8" fmla="*/ 3498 h 10000"/>
                  <a:gd name="connsiteX9" fmla="*/ 7133 w 10000"/>
                  <a:gd name="connsiteY9" fmla="*/ 1365 h 10000"/>
                  <a:gd name="connsiteX10" fmla="*/ 4733 w 10000"/>
                  <a:gd name="connsiteY10" fmla="*/ 550 h 10000"/>
                  <a:gd name="connsiteX11" fmla="*/ 4733 w 10000"/>
                  <a:gd name="connsiteY11" fmla="*/ 5672 h 10000"/>
                  <a:gd name="connsiteX12" fmla="*/ 4353 w 10000"/>
                  <a:gd name="connsiteY12" fmla="*/ 5678 h 10000"/>
                  <a:gd name="connsiteX13" fmla="*/ 4353 w 10000"/>
                  <a:gd name="connsiteY13" fmla="*/ 1756 h 10000"/>
                  <a:gd name="connsiteX14" fmla="*/ 3546 w 10000"/>
                  <a:gd name="connsiteY14" fmla="*/ 2061 h 10000"/>
                  <a:gd name="connsiteX15" fmla="*/ 3110 w 10000"/>
                  <a:gd name="connsiteY15" fmla="*/ 2061 h 10000"/>
                  <a:gd name="connsiteX16" fmla="*/ 3110 w 10000"/>
                  <a:gd name="connsiteY16" fmla="*/ 0 h 10000"/>
                  <a:gd name="connsiteX17" fmla="*/ 2949 w 10000"/>
                  <a:gd name="connsiteY17" fmla="*/ 0 h 10000"/>
                  <a:gd name="connsiteX18" fmla="*/ 2949 w 10000"/>
                  <a:gd name="connsiteY18" fmla="*/ 2061 h 10000"/>
                  <a:gd name="connsiteX19" fmla="*/ 2579 w 10000"/>
                  <a:gd name="connsiteY19" fmla="*/ 2061 h 10000"/>
                  <a:gd name="connsiteX20" fmla="*/ 2579 w 10000"/>
                  <a:gd name="connsiteY20" fmla="*/ 2492 h 10000"/>
                  <a:gd name="connsiteX21" fmla="*/ 1914 w 10000"/>
                  <a:gd name="connsiteY21" fmla="*/ 2815 h 10000"/>
                  <a:gd name="connsiteX22" fmla="*/ 1914 w 10000"/>
                  <a:gd name="connsiteY22" fmla="*/ 4413 h 10000"/>
                  <a:gd name="connsiteX23" fmla="*/ 1558 w 10000"/>
                  <a:gd name="connsiteY23" fmla="*/ 4413 h 10000"/>
                  <a:gd name="connsiteX24" fmla="*/ 1558 w 10000"/>
                  <a:gd name="connsiteY24" fmla="*/ 4837 h 10000"/>
                  <a:gd name="connsiteX25" fmla="*/ 1914 w 10000"/>
                  <a:gd name="connsiteY25" fmla="*/ 4837 h 10000"/>
                  <a:gd name="connsiteX26" fmla="*/ 1914 w 10000"/>
                  <a:gd name="connsiteY26" fmla="*/ 5367 h 10000"/>
                  <a:gd name="connsiteX27" fmla="*/ 1558 w 10000"/>
                  <a:gd name="connsiteY27" fmla="*/ 5367 h 10000"/>
                  <a:gd name="connsiteX28" fmla="*/ 1558 w 10000"/>
                  <a:gd name="connsiteY28" fmla="*/ 5791 h 10000"/>
                  <a:gd name="connsiteX29" fmla="*/ 1914 w 10000"/>
                  <a:gd name="connsiteY29" fmla="*/ 5791 h 10000"/>
                  <a:gd name="connsiteX30" fmla="*/ 1914 w 10000"/>
                  <a:gd name="connsiteY30" fmla="*/ 7043 h 10000"/>
                  <a:gd name="connsiteX31" fmla="*/ 853 w 10000"/>
                  <a:gd name="connsiteY31" fmla="*/ 7043 h 10000"/>
                  <a:gd name="connsiteX32" fmla="*/ 853 w 10000"/>
                  <a:gd name="connsiteY32" fmla="*/ 7818 h 10000"/>
                  <a:gd name="connsiteX33" fmla="*/ 1397 w 10000"/>
                  <a:gd name="connsiteY33" fmla="*/ 7838 h 10000"/>
                  <a:gd name="connsiteX34" fmla="*/ 2134 w 10000"/>
                  <a:gd name="connsiteY34" fmla="*/ 7315 h 10000"/>
                  <a:gd name="connsiteX35" fmla="*/ 2128 w 10000"/>
                  <a:gd name="connsiteY35" fmla="*/ 7818 h 10000"/>
                  <a:gd name="connsiteX36" fmla="*/ 2807 w 10000"/>
                  <a:gd name="connsiteY36" fmla="*/ 7368 h 10000"/>
                  <a:gd name="connsiteX37" fmla="*/ 2807 w 10000"/>
                  <a:gd name="connsiteY37" fmla="*/ 7818 h 10000"/>
                  <a:gd name="connsiteX38" fmla="*/ 3478 w 10000"/>
                  <a:gd name="connsiteY38" fmla="*/ 7361 h 10000"/>
                  <a:gd name="connsiteX39" fmla="*/ 3484 w 10000"/>
                  <a:gd name="connsiteY39" fmla="*/ 7811 h 10000"/>
                  <a:gd name="connsiteX40" fmla="*/ 4130 w 10000"/>
                  <a:gd name="connsiteY40" fmla="*/ 7328 h 10000"/>
                  <a:gd name="connsiteX41" fmla="*/ 4130 w 10000"/>
                  <a:gd name="connsiteY41" fmla="*/ 8613 h 10000"/>
                  <a:gd name="connsiteX42" fmla="*/ 4205 w 10000"/>
                  <a:gd name="connsiteY42" fmla="*/ 8520 h 10000"/>
                  <a:gd name="connsiteX43" fmla="*/ 4278 w 10000"/>
                  <a:gd name="connsiteY43" fmla="*/ 8434 h 10000"/>
                  <a:gd name="connsiteX44" fmla="*/ 4368 w 10000"/>
                  <a:gd name="connsiteY44" fmla="*/ 8361 h 10000"/>
                  <a:gd name="connsiteX45" fmla="*/ 4467 w 10000"/>
                  <a:gd name="connsiteY45" fmla="*/ 8295 h 10000"/>
                  <a:gd name="connsiteX46" fmla="*/ 4567 w 10000"/>
                  <a:gd name="connsiteY46" fmla="*/ 8249 h 10000"/>
                  <a:gd name="connsiteX47" fmla="*/ 4674 w 10000"/>
                  <a:gd name="connsiteY47" fmla="*/ 8215 h 10000"/>
                  <a:gd name="connsiteX48" fmla="*/ 4786 w 10000"/>
                  <a:gd name="connsiteY48" fmla="*/ 8189 h 10000"/>
                  <a:gd name="connsiteX49" fmla="*/ 4915 w 10000"/>
                  <a:gd name="connsiteY49" fmla="*/ 8182 h 10000"/>
                  <a:gd name="connsiteX50" fmla="*/ 5091 w 10000"/>
                  <a:gd name="connsiteY50" fmla="*/ 8195 h 10000"/>
                  <a:gd name="connsiteX51" fmla="*/ 5266 w 10000"/>
                  <a:gd name="connsiteY51" fmla="*/ 8242 h 10000"/>
                  <a:gd name="connsiteX52" fmla="*/ 5406 w 10000"/>
                  <a:gd name="connsiteY52" fmla="*/ 8321 h 10000"/>
                  <a:gd name="connsiteX53" fmla="*/ 5549 w 10000"/>
                  <a:gd name="connsiteY53" fmla="*/ 8421 h 10000"/>
                  <a:gd name="connsiteX54" fmla="*/ 5670 w 10000"/>
                  <a:gd name="connsiteY54" fmla="*/ 8540 h 10000"/>
                  <a:gd name="connsiteX55" fmla="*/ 5750 w 10000"/>
                  <a:gd name="connsiteY55" fmla="*/ 8686 h 10000"/>
                  <a:gd name="connsiteX56" fmla="*/ 5824 w 10000"/>
                  <a:gd name="connsiteY56" fmla="*/ 8838 h 10000"/>
                  <a:gd name="connsiteX57" fmla="*/ 5849 w 10000"/>
                  <a:gd name="connsiteY57" fmla="*/ 9004 h 10000"/>
                  <a:gd name="connsiteX58" fmla="*/ 5883 w 10000"/>
                  <a:gd name="connsiteY58" fmla="*/ 8997 h 10000"/>
                  <a:gd name="connsiteX59" fmla="*/ 5910 w 10000"/>
                  <a:gd name="connsiteY59" fmla="*/ 8997 h 10000"/>
                  <a:gd name="connsiteX60" fmla="*/ 5937 w 10000"/>
                  <a:gd name="connsiteY60" fmla="*/ 8991 h 10000"/>
                  <a:gd name="connsiteX61" fmla="*/ 5963 w 10000"/>
                  <a:gd name="connsiteY61" fmla="*/ 8991 h 10000"/>
                  <a:gd name="connsiteX62" fmla="*/ 5997 w 10000"/>
                  <a:gd name="connsiteY62" fmla="*/ 8984 h 10000"/>
                  <a:gd name="connsiteX63" fmla="*/ 6029 w 10000"/>
                  <a:gd name="connsiteY63" fmla="*/ 8984 h 10000"/>
                  <a:gd name="connsiteX64" fmla="*/ 6057 w 10000"/>
                  <a:gd name="connsiteY64" fmla="*/ 8984 h 10000"/>
                  <a:gd name="connsiteX65" fmla="*/ 6092 w 10000"/>
                  <a:gd name="connsiteY65" fmla="*/ 8984 h 10000"/>
                  <a:gd name="connsiteX66" fmla="*/ 6232 w 10000"/>
                  <a:gd name="connsiteY66" fmla="*/ 8991 h 10000"/>
                  <a:gd name="connsiteX67" fmla="*/ 6360 w 10000"/>
                  <a:gd name="connsiteY67" fmla="*/ 9024 h 10000"/>
                  <a:gd name="connsiteX68" fmla="*/ 6487 w 10000"/>
                  <a:gd name="connsiteY68" fmla="*/ 9070 h 10000"/>
                  <a:gd name="connsiteX69" fmla="*/ 6603 w 10000"/>
                  <a:gd name="connsiteY69" fmla="*/ 9137 h 10000"/>
                  <a:gd name="connsiteX70" fmla="*/ 6709 w 10000"/>
                  <a:gd name="connsiteY70" fmla="*/ 9216 h 10000"/>
                  <a:gd name="connsiteX71" fmla="*/ 6804 w 10000"/>
                  <a:gd name="connsiteY71" fmla="*/ 9302 h 10000"/>
                  <a:gd name="connsiteX72" fmla="*/ 6879 w 10000"/>
                  <a:gd name="connsiteY72" fmla="*/ 9415 h 10000"/>
                  <a:gd name="connsiteX73" fmla="*/ 6946 w 10000"/>
                  <a:gd name="connsiteY73" fmla="*/ 9527 h 10000"/>
                  <a:gd name="connsiteX74" fmla="*/ 3110 w 10000"/>
                  <a:gd name="connsiteY74" fmla="*/ 9527 h 10000"/>
                  <a:gd name="connsiteX75" fmla="*/ 3149 w 10000"/>
                  <a:gd name="connsiteY75" fmla="*/ 9441 h 10000"/>
                  <a:gd name="connsiteX76" fmla="*/ 3203 w 10000"/>
                  <a:gd name="connsiteY76" fmla="*/ 9355 h 10000"/>
                  <a:gd name="connsiteX77" fmla="*/ 3258 w 10000"/>
                  <a:gd name="connsiteY77" fmla="*/ 9289 h 10000"/>
                  <a:gd name="connsiteX78" fmla="*/ 3329 w 10000"/>
                  <a:gd name="connsiteY78" fmla="*/ 9223 h 10000"/>
                  <a:gd name="connsiteX79" fmla="*/ 3397 w 10000"/>
                  <a:gd name="connsiteY79" fmla="*/ 9170 h 10000"/>
                  <a:gd name="connsiteX80" fmla="*/ 3478 w 10000"/>
                  <a:gd name="connsiteY80" fmla="*/ 9117 h 10000"/>
                  <a:gd name="connsiteX81" fmla="*/ 3559 w 10000"/>
                  <a:gd name="connsiteY81" fmla="*/ 9077 h 10000"/>
                  <a:gd name="connsiteX82" fmla="*/ 3654 w 10000"/>
                  <a:gd name="connsiteY82" fmla="*/ 9044 h 10000"/>
                  <a:gd name="connsiteX83" fmla="*/ 3654 w 10000"/>
                  <a:gd name="connsiteY83" fmla="*/ 8195 h 10000"/>
                  <a:gd name="connsiteX84" fmla="*/ 484 w 10000"/>
                  <a:gd name="connsiteY84" fmla="*/ 8209 h 10000"/>
                  <a:gd name="connsiteX85" fmla="*/ 484 w 10000"/>
                  <a:gd name="connsiteY85" fmla="*/ 8838 h 10000"/>
                  <a:gd name="connsiteX86" fmla="*/ 424 w 10000"/>
                  <a:gd name="connsiteY86" fmla="*/ 8918 h 10000"/>
                  <a:gd name="connsiteX87" fmla="*/ 378 w 10000"/>
                  <a:gd name="connsiteY87" fmla="*/ 9004 h 10000"/>
                  <a:gd name="connsiteX88" fmla="*/ 342 w 10000"/>
                  <a:gd name="connsiteY88" fmla="*/ 9097 h 10000"/>
                  <a:gd name="connsiteX89" fmla="*/ 329 w 10000"/>
                  <a:gd name="connsiteY89" fmla="*/ 9203 h 10000"/>
                  <a:gd name="connsiteX90" fmla="*/ 302 w 10000"/>
                  <a:gd name="connsiteY90" fmla="*/ 9196 h 10000"/>
                  <a:gd name="connsiteX91" fmla="*/ 281 w 10000"/>
                  <a:gd name="connsiteY91" fmla="*/ 9196 h 10000"/>
                  <a:gd name="connsiteX92" fmla="*/ 608 w 10000"/>
                  <a:gd name="connsiteY92" fmla="*/ 8657 h 10000"/>
                  <a:gd name="connsiteX93" fmla="*/ 817 w 10000"/>
                  <a:gd name="connsiteY93" fmla="*/ 8657 h 10000"/>
                  <a:gd name="connsiteX94" fmla="*/ 670 w 10000"/>
                  <a:gd name="connsiteY94" fmla="*/ 8486 h 10000"/>
                  <a:gd name="connsiteX95" fmla="*/ 243 w 10000"/>
                  <a:gd name="connsiteY95" fmla="*/ 8269 h 10000"/>
                  <a:gd name="connsiteX96" fmla="*/ 1347 w 10000"/>
                  <a:gd name="connsiteY96" fmla="*/ 9184 h 10000"/>
                  <a:gd name="connsiteX97" fmla="*/ 1103 w 10000"/>
                  <a:gd name="connsiteY97" fmla="*/ 9282 h 10000"/>
                  <a:gd name="connsiteX98" fmla="*/ 512 w 10000"/>
                  <a:gd name="connsiteY98" fmla="*/ 8684 h 10000"/>
                  <a:gd name="connsiteX99" fmla="*/ 401 w 10000"/>
                  <a:gd name="connsiteY99" fmla="*/ 8678 h 10000"/>
                  <a:gd name="connsiteX100" fmla="*/ 0 w 10000"/>
                  <a:gd name="connsiteY100" fmla="*/ 7088 h 10000"/>
                  <a:gd name="connsiteX101" fmla="*/ 905 w 10000"/>
                  <a:gd name="connsiteY101" fmla="*/ 8758 h 10000"/>
                  <a:gd name="connsiteX102" fmla="*/ 548 w 10000"/>
                  <a:gd name="connsiteY102" fmla="*/ 8945 h 10000"/>
                  <a:gd name="connsiteX103" fmla="*/ 993 w 10000"/>
                  <a:gd name="connsiteY103" fmla="*/ 9002 h 10000"/>
                  <a:gd name="connsiteX104" fmla="*/ 1463 w 10000"/>
                  <a:gd name="connsiteY104" fmla="*/ 9426 h 10000"/>
                  <a:gd name="connsiteX105" fmla="*/ 8461 w 10000"/>
                  <a:gd name="connsiteY105" fmla="*/ 9998 h 10000"/>
                  <a:gd name="connsiteX106" fmla="*/ 8629 w 10000"/>
                  <a:gd name="connsiteY106" fmla="*/ 9231 h 10000"/>
                  <a:gd name="connsiteX107" fmla="*/ 9118 w 10000"/>
                  <a:gd name="connsiteY107" fmla="*/ 8935 h 10000"/>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329 w 10000"/>
                  <a:gd name="connsiteY89" fmla="*/ 9203 h 10294"/>
                  <a:gd name="connsiteX90" fmla="*/ 302 w 10000"/>
                  <a:gd name="connsiteY90" fmla="*/ 9196 h 10294"/>
                  <a:gd name="connsiteX91" fmla="*/ 281 w 10000"/>
                  <a:gd name="connsiteY91" fmla="*/ 9196 h 10294"/>
                  <a:gd name="connsiteX92" fmla="*/ 608 w 10000"/>
                  <a:gd name="connsiteY92" fmla="*/ 8657 h 10294"/>
                  <a:gd name="connsiteX93" fmla="*/ 817 w 10000"/>
                  <a:gd name="connsiteY93" fmla="*/ 8657 h 10294"/>
                  <a:gd name="connsiteX94" fmla="*/ 670 w 10000"/>
                  <a:gd name="connsiteY94" fmla="*/ 8486 h 10294"/>
                  <a:gd name="connsiteX95" fmla="*/ 243 w 10000"/>
                  <a:gd name="connsiteY95" fmla="*/ 8269 h 10294"/>
                  <a:gd name="connsiteX96" fmla="*/ 1347 w 10000"/>
                  <a:gd name="connsiteY96" fmla="*/ 9184 h 10294"/>
                  <a:gd name="connsiteX97" fmla="*/ 1103 w 10000"/>
                  <a:gd name="connsiteY97" fmla="*/ 9282 h 10294"/>
                  <a:gd name="connsiteX98" fmla="*/ 512 w 10000"/>
                  <a:gd name="connsiteY98" fmla="*/ 8684 h 10294"/>
                  <a:gd name="connsiteX99" fmla="*/ 401 w 10000"/>
                  <a:gd name="connsiteY99" fmla="*/ 8678 h 10294"/>
                  <a:gd name="connsiteX100" fmla="*/ 0 w 10000"/>
                  <a:gd name="connsiteY100" fmla="*/ 7088 h 10294"/>
                  <a:gd name="connsiteX101" fmla="*/ 905 w 10000"/>
                  <a:gd name="connsiteY101" fmla="*/ 8758 h 10294"/>
                  <a:gd name="connsiteX102" fmla="*/ 548 w 10000"/>
                  <a:gd name="connsiteY102" fmla="*/ 8945 h 10294"/>
                  <a:gd name="connsiteX103" fmla="*/ 993 w 10000"/>
                  <a:gd name="connsiteY103" fmla="*/ 9002 h 10294"/>
                  <a:gd name="connsiteX104" fmla="*/ 1463 w 10000"/>
                  <a:gd name="connsiteY104" fmla="*/ 9426 h 10294"/>
                  <a:gd name="connsiteX105" fmla="*/ 6226 w 10000"/>
                  <a:gd name="connsiteY105" fmla="*/ 10294 h 10294"/>
                  <a:gd name="connsiteX106" fmla="*/ 8629 w 10000"/>
                  <a:gd name="connsiteY106" fmla="*/ 9231 h 10294"/>
                  <a:gd name="connsiteX107" fmla="*/ 9118 w 10000"/>
                  <a:gd name="connsiteY107"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329 w 10000"/>
                  <a:gd name="connsiteY89" fmla="*/ 9203 h 10294"/>
                  <a:gd name="connsiteX90" fmla="*/ 302 w 10000"/>
                  <a:gd name="connsiteY90" fmla="*/ 9196 h 10294"/>
                  <a:gd name="connsiteX91" fmla="*/ 608 w 10000"/>
                  <a:gd name="connsiteY91" fmla="*/ 8657 h 10294"/>
                  <a:gd name="connsiteX92" fmla="*/ 817 w 10000"/>
                  <a:gd name="connsiteY92" fmla="*/ 8657 h 10294"/>
                  <a:gd name="connsiteX93" fmla="*/ 670 w 10000"/>
                  <a:gd name="connsiteY93" fmla="*/ 8486 h 10294"/>
                  <a:gd name="connsiteX94" fmla="*/ 243 w 10000"/>
                  <a:gd name="connsiteY94" fmla="*/ 8269 h 10294"/>
                  <a:gd name="connsiteX95" fmla="*/ 1347 w 10000"/>
                  <a:gd name="connsiteY95" fmla="*/ 9184 h 10294"/>
                  <a:gd name="connsiteX96" fmla="*/ 1103 w 10000"/>
                  <a:gd name="connsiteY96" fmla="*/ 9282 h 10294"/>
                  <a:gd name="connsiteX97" fmla="*/ 512 w 10000"/>
                  <a:gd name="connsiteY97" fmla="*/ 8684 h 10294"/>
                  <a:gd name="connsiteX98" fmla="*/ 401 w 10000"/>
                  <a:gd name="connsiteY98" fmla="*/ 8678 h 10294"/>
                  <a:gd name="connsiteX99" fmla="*/ 0 w 10000"/>
                  <a:gd name="connsiteY99" fmla="*/ 7088 h 10294"/>
                  <a:gd name="connsiteX100" fmla="*/ 905 w 10000"/>
                  <a:gd name="connsiteY100" fmla="*/ 8758 h 10294"/>
                  <a:gd name="connsiteX101" fmla="*/ 548 w 10000"/>
                  <a:gd name="connsiteY101" fmla="*/ 8945 h 10294"/>
                  <a:gd name="connsiteX102" fmla="*/ 993 w 10000"/>
                  <a:gd name="connsiteY102" fmla="*/ 9002 h 10294"/>
                  <a:gd name="connsiteX103" fmla="*/ 1463 w 10000"/>
                  <a:gd name="connsiteY103" fmla="*/ 9426 h 10294"/>
                  <a:gd name="connsiteX104" fmla="*/ 6226 w 10000"/>
                  <a:gd name="connsiteY104" fmla="*/ 10294 h 10294"/>
                  <a:gd name="connsiteX105" fmla="*/ 8629 w 10000"/>
                  <a:gd name="connsiteY105" fmla="*/ 9231 h 10294"/>
                  <a:gd name="connsiteX106" fmla="*/ 9118 w 10000"/>
                  <a:gd name="connsiteY106"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329 w 10000"/>
                  <a:gd name="connsiteY89" fmla="*/ 9203 h 10294"/>
                  <a:gd name="connsiteX90" fmla="*/ 608 w 10000"/>
                  <a:gd name="connsiteY90" fmla="*/ 8657 h 10294"/>
                  <a:gd name="connsiteX91" fmla="*/ 817 w 10000"/>
                  <a:gd name="connsiteY91" fmla="*/ 8657 h 10294"/>
                  <a:gd name="connsiteX92" fmla="*/ 670 w 10000"/>
                  <a:gd name="connsiteY92" fmla="*/ 8486 h 10294"/>
                  <a:gd name="connsiteX93" fmla="*/ 243 w 10000"/>
                  <a:gd name="connsiteY93" fmla="*/ 8269 h 10294"/>
                  <a:gd name="connsiteX94" fmla="*/ 1347 w 10000"/>
                  <a:gd name="connsiteY94" fmla="*/ 9184 h 10294"/>
                  <a:gd name="connsiteX95" fmla="*/ 1103 w 10000"/>
                  <a:gd name="connsiteY95" fmla="*/ 9282 h 10294"/>
                  <a:gd name="connsiteX96" fmla="*/ 512 w 10000"/>
                  <a:gd name="connsiteY96" fmla="*/ 8684 h 10294"/>
                  <a:gd name="connsiteX97" fmla="*/ 401 w 10000"/>
                  <a:gd name="connsiteY97" fmla="*/ 8678 h 10294"/>
                  <a:gd name="connsiteX98" fmla="*/ 0 w 10000"/>
                  <a:gd name="connsiteY98" fmla="*/ 7088 h 10294"/>
                  <a:gd name="connsiteX99" fmla="*/ 905 w 10000"/>
                  <a:gd name="connsiteY99" fmla="*/ 8758 h 10294"/>
                  <a:gd name="connsiteX100" fmla="*/ 548 w 10000"/>
                  <a:gd name="connsiteY100" fmla="*/ 8945 h 10294"/>
                  <a:gd name="connsiteX101" fmla="*/ 993 w 10000"/>
                  <a:gd name="connsiteY101" fmla="*/ 9002 h 10294"/>
                  <a:gd name="connsiteX102" fmla="*/ 1463 w 10000"/>
                  <a:gd name="connsiteY102" fmla="*/ 9426 h 10294"/>
                  <a:gd name="connsiteX103" fmla="*/ 6226 w 10000"/>
                  <a:gd name="connsiteY103" fmla="*/ 10294 h 10294"/>
                  <a:gd name="connsiteX104" fmla="*/ 8629 w 10000"/>
                  <a:gd name="connsiteY104" fmla="*/ 9231 h 10294"/>
                  <a:gd name="connsiteX105" fmla="*/ 9118 w 10000"/>
                  <a:gd name="connsiteY105"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608 w 10000"/>
                  <a:gd name="connsiteY89" fmla="*/ 8657 h 10294"/>
                  <a:gd name="connsiteX90" fmla="*/ 817 w 10000"/>
                  <a:gd name="connsiteY90" fmla="*/ 8657 h 10294"/>
                  <a:gd name="connsiteX91" fmla="*/ 670 w 10000"/>
                  <a:gd name="connsiteY91" fmla="*/ 8486 h 10294"/>
                  <a:gd name="connsiteX92" fmla="*/ 243 w 10000"/>
                  <a:gd name="connsiteY92" fmla="*/ 8269 h 10294"/>
                  <a:gd name="connsiteX93" fmla="*/ 1347 w 10000"/>
                  <a:gd name="connsiteY93" fmla="*/ 9184 h 10294"/>
                  <a:gd name="connsiteX94" fmla="*/ 1103 w 10000"/>
                  <a:gd name="connsiteY94" fmla="*/ 9282 h 10294"/>
                  <a:gd name="connsiteX95" fmla="*/ 512 w 10000"/>
                  <a:gd name="connsiteY95" fmla="*/ 8684 h 10294"/>
                  <a:gd name="connsiteX96" fmla="*/ 401 w 10000"/>
                  <a:gd name="connsiteY96" fmla="*/ 8678 h 10294"/>
                  <a:gd name="connsiteX97" fmla="*/ 0 w 10000"/>
                  <a:gd name="connsiteY97" fmla="*/ 7088 h 10294"/>
                  <a:gd name="connsiteX98" fmla="*/ 905 w 10000"/>
                  <a:gd name="connsiteY98" fmla="*/ 8758 h 10294"/>
                  <a:gd name="connsiteX99" fmla="*/ 548 w 10000"/>
                  <a:gd name="connsiteY99" fmla="*/ 8945 h 10294"/>
                  <a:gd name="connsiteX100" fmla="*/ 993 w 10000"/>
                  <a:gd name="connsiteY100" fmla="*/ 9002 h 10294"/>
                  <a:gd name="connsiteX101" fmla="*/ 1463 w 10000"/>
                  <a:gd name="connsiteY101" fmla="*/ 9426 h 10294"/>
                  <a:gd name="connsiteX102" fmla="*/ 6226 w 10000"/>
                  <a:gd name="connsiteY102" fmla="*/ 10294 h 10294"/>
                  <a:gd name="connsiteX103" fmla="*/ 8629 w 10000"/>
                  <a:gd name="connsiteY103" fmla="*/ 9231 h 10294"/>
                  <a:gd name="connsiteX104" fmla="*/ 9118 w 10000"/>
                  <a:gd name="connsiteY104"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342 w 10000"/>
                  <a:gd name="connsiteY88" fmla="*/ 9097 h 10294"/>
                  <a:gd name="connsiteX89" fmla="*/ 608 w 10000"/>
                  <a:gd name="connsiteY89" fmla="*/ 8657 h 10294"/>
                  <a:gd name="connsiteX90" fmla="*/ 817 w 10000"/>
                  <a:gd name="connsiteY90" fmla="*/ 8657 h 10294"/>
                  <a:gd name="connsiteX91" fmla="*/ 670 w 10000"/>
                  <a:gd name="connsiteY91" fmla="*/ 8486 h 10294"/>
                  <a:gd name="connsiteX92" fmla="*/ 243 w 10000"/>
                  <a:gd name="connsiteY92" fmla="*/ 8269 h 10294"/>
                  <a:gd name="connsiteX93" fmla="*/ 1347 w 10000"/>
                  <a:gd name="connsiteY93" fmla="*/ 9184 h 10294"/>
                  <a:gd name="connsiteX94" fmla="*/ 1103 w 10000"/>
                  <a:gd name="connsiteY94" fmla="*/ 9282 h 10294"/>
                  <a:gd name="connsiteX95" fmla="*/ 512 w 10000"/>
                  <a:gd name="connsiteY95" fmla="*/ 8684 h 10294"/>
                  <a:gd name="connsiteX96" fmla="*/ 401 w 10000"/>
                  <a:gd name="connsiteY96" fmla="*/ 8678 h 10294"/>
                  <a:gd name="connsiteX97" fmla="*/ 0 w 10000"/>
                  <a:gd name="connsiteY97" fmla="*/ 7088 h 10294"/>
                  <a:gd name="connsiteX98" fmla="*/ 905 w 10000"/>
                  <a:gd name="connsiteY98" fmla="*/ 8758 h 10294"/>
                  <a:gd name="connsiteX99" fmla="*/ 993 w 10000"/>
                  <a:gd name="connsiteY99" fmla="*/ 9002 h 10294"/>
                  <a:gd name="connsiteX100" fmla="*/ 1463 w 10000"/>
                  <a:gd name="connsiteY100" fmla="*/ 9426 h 10294"/>
                  <a:gd name="connsiteX101" fmla="*/ 6226 w 10000"/>
                  <a:gd name="connsiteY101" fmla="*/ 10294 h 10294"/>
                  <a:gd name="connsiteX102" fmla="*/ 8629 w 10000"/>
                  <a:gd name="connsiteY102" fmla="*/ 9231 h 10294"/>
                  <a:gd name="connsiteX103" fmla="*/ 9118 w 10000"/>
                  <a:gd name="connsiteY103"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378 w 10000"/>
                  <a:gd name="connsiteY87" fmla="*/ 9004 h 10294"/>
                  <a:gd name="connsiteX88" fmla="*/ 608 w 10000"/>
                  <a:gd name="connsiteY88" fmla="*/ 8657 h 10294"/>
                  <a:gd name="connsiteX89" fmla="*/ 817 w 10000"/>
                  <a:gd name="connsiteY89" fmla="*/ 8657 h 10294"/>
                  <a:gd name="connsiteX90" fmla="*/ 670 w 10000"/>
                  <a:gd name="connsiteY90" fmla="*/ 8486 h 10294"/>
                  <a:gd name="connsiteX91" fmla="*/ 243 w 10000"/>
                  <a:gd name="connsiteY91" fmla="*/ 8269 h 10294"/>
                  <a:gd name="connsiteX92" fmla="*/ 1347 w 10000"/>
                  <a:gd name="connsiteY92" fmla="*/ 9184 h 10294"/>
                  <a:gd name="connsiteX93" fmla="*/ 1103 w 10000"/>
                  <a:gd name="connsiteY93" fmla="*/ 9282 h 10294"/>
                  <a:gd name="connsiteX94" fmla="*/ 512 w 10000"/>
                  <a:gd name="connsiteY94" fmla="*/ 8684 h 10294"/>
                  <a:gd name="connsiteX95" fmla="*/ 401 w 10000"/>
                  <a:gd name="connsiteY95" fmla="*/ 8678 h 10294"/>
                  <a:gd name="connsiteX96" fmla="*/ 0 w 10000"/>
                  <a:gd name="connsiteY96" fmla="*/ 7088 h 10294"/>
                  <a:gd name="connsiteX97" fmla="*/ 905 w 10000"/>
                  <a:gd name="connsiteY97" fmla="*/ 8758 h 10294"/>
                  <a:gd name="connsiteX98" fmla="*/ 993 w 10000"/>
                  <a:gd name="connsiteY98" fmla="*/ 9002 h 10294"/>
                  <a:gd name="connsiteX99" fmla="*/ 1463 w 10000"/>
                  <a:gd name="connsiteY99" fmla="*/ 9426 h 10294"/>
                  <a:gd name="connsiteX100" fmla="*/ 6226 w 10000"/>
                  <a:gd name="connsiteY100" fmla="*/ 10294 h 10294"/>
                  <a:gd name="connsiteX101" fmla="*/ 8629 w 10000"/>
                  <a:gd name="connsiteY101" fmla="*/ 9231 h 10294"/>
                  <a:gd name="connsiteX102" fmla="*/ 9118 w 10000"/>
                  <a:gd name="connsiteY102"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424 w 10000"/>
                  <a:gd name="connsiteY86" fmla="*/ 8918 h 10294"/>
                  <a:gd name="connsiteX87" fmla="*/ 608 w 10000"/>
                  <a:gd name="connsiteY87" fmla="*/ 8657 h 10294"/>
                  <a:gd name="connsiteX88" fmla="*/ 817 w 10000"/>
                  <a:gd name="connsiteY88" fmla="*/ 8657 h 10294"/>
                  <a:gd name="connsiteX89" fmla="*/ 670 w 10000"/>
                  <a:gd name="connsiteY89" fmla="*/ 8486 h 10294"/>
                  <a:gd name="connsiteX90" fmla="*/ 243 w 10000"/>
                  <a:gd name="connsiteY90" fmla="*/ 8269 h 10294"/>
                  <a:gd name="connsiteX91" fmla="*/ 1347 w 10000"/>
                  <a:gd name="connsiteY91" fmla="*/ 9184 h 10294"/>
                  <a:gd name="connsiteX92" fmla="*/ 1103 w 10000"/>
                  <a:gd name="connsiteY92" fmla="*/ 9282 h 10294"/>
                  <a:gd name="connsiteX93" fmla="*/ 512 w 10000"/>
                  <a:gd name="connsiteY93" fmla="*/ 8684 h 10294"/>
                  <a:gd name="connsiteX94" fmla="*/ 401 w 10000"/>
                  <a:gd name="connsiteY94" fmla="*/ 8678 h 10294"/>
                  <a:gd name="connsiteX95" fmla="*/ 0 w 10000"/>
                  <a:gd name="connsiteY95" fmla="*/ 7088 h 10294"/>
                  <a:gd name="connsiteX96" fmla="*/ 905 w 10000"/>
                  <a:gd name="connsiteY96" fmla="*/ 8758 h 10294"/>
                  <a:gd name="connsiteX97" fmla="*/ 993 w 10000"/>
                  <a:gd name="connsiteY97" fmla="*/ 9002 h 10294"/>
                  <a:gd name="connsiteX98" fmla="*/ 1463 w 10000"/>
                  <a:gd name="connsiteY98" fmla="*/ 9426 h 10294"/>
                  <a:gd name="connsiteX99" fmla="*/ 6226 w 10000"/>
                  <a:gd name="connsiteY99" fmla="*/ 10294 h 10294"/>
                  <a:gd name="connsiteX100" fmla="*/ 8629 w 10000"/>
                  <a:gd name="connsiteY100" fmla="*/ 9231 h 10294"/>
                  <a:gd name="connsiteX101" fmla="*/ 9118 w 10000"/>
                  <a:gd name="connsiteY101" fmla="*/ 8935 h 10294"/>
                  <a:gd name="connsiteX0" fmla="*/ 9118 w 10000"/>
                  <a:gd name="connsiteY0" fmla="*/ 8935 h 10294"/>
                  <a:gd name="connsiteX1" fmla="*/ 10000 w 10000"/>
                  <a:gd name="connsiteY1" fmla="*/ 7381 h 10294"/>
                  <a:gd name="connsiteX2" fmla="*/ 9173 w 10000"/>
                  <a:gd name="connsiteY2" fmla="*/ 7381 h 10294"/>
                  <a:gd name="connsiteX3" fmla="*/ 9173 w 10000"/>
                  <a:gd name="connsiteY3" fmla="*/ 4128 h 10294"/>
                  <a:gd name="connsiteX4" fmla="*/ 7133 w 10000"/>
                  <a:gd name="connsiteY4" fmla="*/ 4128 h 10294"/>
                  <a:gd name="connsiteX5" fmla="*/ 7133 w 10000"/>
                  <a:gd name="connsiteY5" fmla="*/ 3816 h 10294"/>
                  <a:gd name="connsiteX6" fmla="*/ 8764 w 10000"/>
                  <a:gd name="connsiteY6" fmla="*/ 3816 h 10294"/>
                  <a:gd name="connsiteX7" fmla="*/ 8764 w 10000"/>
                  <a:gd name="connsiteY7" fmla="*/ 3498 h 10294"/>
                  <a:gd name="connsiteX8" fmla="*/ 7133 w 10000"/>
                  <a:gd name="connsiteY8" fmla="*/ 3498 h 10294"/>
                  <a:gd name="connsiteX9" fmla="*/ 7133 w 10000"/>
                  <a:gd name="connsiteY9" fmla="*/ 1365 h 10294"/>
                  <a:gd name="connsiteX10" fmla="*/ 4733 w 10000"/>
                  <a:gd name="connsiteY10" fmla="*/ 550 h 10294"/>
                  <a:gd name="connsiteX11" fmla="*/ 4733 w 10000"/>
                  <a:gd name="connsiteY11" fmla="*/ 5672 h 10294"/>
                  <a:gd name="connsiteX12" fmla="*/ 4353 w 10000"/>
                  <a:gd name="connsiteY12" fmla="*/ 5678 h 10294"/>
                  <a:gd name="connsiteX13" fmla="*/ 4353 w 10000"/>
                  <a:gd name="connsiteY13" fmla="*/ 1756 h 10294"/>
                  <a:gd name="connsiteX14" fmla="*/ 3546 w 10000"/>
                  <a:gd name="connsiteY14" fmla="*/ 2061 h 10294"/>
                  <a:gd name="connsiteX15" fmla="*/ 3110 w 10000"/>
                  <a:gd name="connsiteY15" fmla="*/ 2061 h 10294"/>
                  <a:gd name="connsiteX16" fmla="*/ 3110 w 10000"/>
                  <a:gd name="connsiteY16" fmla="*/ 0 h 10294"/>
                  <a:gd name="connsiteX17" fmla="*/ 2949 w 10000"/>
                  <a:gd name="connsiteY17" fmla="*/ 0 h 10294"/>
                  <a:gd name="connsiteX18" fmla="*/ 2949 w 10000"/>
                  <a:gd name="connsiteY18" fmla="*/ 2061 h 10294"/>
                  <a:gd name="connsiteX19" fmla="*/ 2579 w 10000"/>
                  <a:gd name="connsiteY19" fmla="*/ 2061 h 10294"/>
                  <a:gd name="connsiteX20" fmla="*/ 2579 w 10000"/>
                  <a:gd name="connsiteY20" fmla="*/ 2492 h 10294"/>
                  <a:gd name="connsiteX21" fmla="*/ 1914 w 10000"/>
                  <a:gd name="connsiteY21" fmla="*/ 2815 h 10294"/>
                  <a:gd name="connsiteX22" fmla="*/ 1914 w 10000"/>
                  <a:gd name="connsiteY22" fmla="*/ 4413 h 10294"/>
                  <a:gd name="connsiteX23" fmla="*/ 1558 w 10000"/>
                  <a:gd name="connsiteY23" fmla="*/ 4413 h 10294"/>
                  <a:gd name="connsiteX24" fmla="*/ 1558 w 10000"/>
                  <a:gd name="connsiteY24" fmla="*/ 4837 h 10294"/>
                  <a:gd name="connsiteX25" fmla="*/ 1914 w 10000"/>
                  <a:gd name="connsiteY25" fmla="*/ 4837 h 10294"/>
                  <a:gd name="connsiteX26" fmla="*/ 1914 w 10000"/>
                  <a:gd name="connsiteY26" fmla="*/ 5367 h 10294"/>
                  <a:gd name="connsiteX27" fmla="*/ 1558 w 10000"/>
                  <a:gd name="connsiteY27" fmla="*/ 5367 h 10294"/>
                  <a:gd name="connsiteX28" fmla="*/ 1558 w 10000"/>
                  <a:gd name="connsiteY28" fmla="*/ 5791 h 10294"/>
                  <a:gd name="connsiteX29" fmla="*/ 1914 w 10000"/>
                  <a:gd name="connsiteY29" fmla="*/ 5791 h 10294"/>
                  <a:gd name="connsiteX30" fmla="*/ 1914 w 10000"/>
                  <a:gd name="connsiteY30" fmla="*/ 7043 h 10294"/>
                  <a:gd name="connsiteX31" fmla="*/ 853 w 10000"/>
                  <a:gd name="connsiteY31" fmla="*/ 7043 h 10294"/>
                  <a:gd name="connsiteX32" fmla="*/ 853 w 10000"/>
                  <a:gd name="connsiteY32" fmla="*/ 7818 h 10294"/>
                  <a:gd name="connsiteX33" fmla="*/ 1397 w 10000"/>
                  <a:gd name="connsiteY33" fmla="*/ 7838 h 10294"/>
                  <a:gd name="connsiteX34" fmla="*/ 2134 w 10000"/>
                  <a:gd name="connsiteY34" fmla="*/ 7315 h 10294"/>
                  <a:gd name="connsiteX35" fmla="*/ 2128 w 10000"/>
                  <a:gd name="connsiteY35" fmla="*/ 7818 h 10294"/>
                  <a:gd name="connsiteX36" fmla="*/ 2807 w 10000"/>
                  <a:gd name="connsiteY36" fmla="*/ 7368 h 10294"/>
                  <a:gd name="connsiteX37" fmla="*/ 2807 w 10000"/>
                  <a:gd name="connsiteY37" fmla="*/ 7818 h 10294"/>
                  <a:gd name="connsiteX38" fmla="*/ 3478 w 10000"/>
                  <a:gd name="connsiteY38" fmla="*/ 7361 h 10294"/>
                  <a:gd name="connsiteX39" fmla="*/ 3484 w 10000"/>
                  <a:gd name="connsiteY39" fmla="*/ 7811 h 10294"/>
                  <a:gd name="connsiteX40" fmla="*/ 4130 w 10000"/>
                  <a:gd name="connsiteY40" fmla="*/ 7328 h 10294"/>
                  <a:gd name="connsiteX41" fmla="*/ 4130 w 10000"/>
                  <a:gd name="connsiteY41" fmla="*/ 8613 h 10294"/>
                  <a:gd name="connsiteX42" fmla="*/ 4205 w 10000"/>
                  <a:gd name="connsiteY42" fmla="*/ 8520 h 10294"/>
                  <a:gd name="connsiteX43" fmla="*/ 4278 w 10000"/>
                  <a:gd name="connsiteY43" fmla="*/ 8434 h 10294"/>
                  <a:gd name="connsiteX44" fmla="*/ 4368 w 10000"/>
                  <a:gd name="connsiteY44" fmla="*/ 8361 h 10294"/>
                  <a:gd name="connsiteX45" fmla="*/ 4467 w 10000"/>
                  <a:gd name="connsiteY45" fmla="*/ 8295 h 10294"/>
                  <a:gd name="connsiteX46" fmla="*/ 4567 w 10000"/>
                  <a:gd name="connsiteY46" fmla="*/ 8249 h 10294"/>
                  <a:gd name="connsiteX47" fmla="*/ 4674 w 10000"/>
                  <a:gd name="connsiteY47" fmla="*/ 8215 h 10294"/>
                  <a:gd name="connsiteX48" fmla="*/ 4786 w 10000"/>
                  <a:gd name="connsiteY48" fmla="*/ 8189 h 10294"/>
                  <a:gd name="connsiteX49" fmla="*/ 4915 w 10000"/>
                  <a:gd name="connsiteY49" fmla="*/ 8182 h 10294"/>
                  <a:gd name="connsiteX50" fmla="*/ 5091 w 10000"/>
                  <a:gd name="connsiteY50" fmla="*/ 8195 h 10294"/>
                  <a:gd name="connsiteX51" fmla="*/ 5266 w 10000"/>
                  <a:gd name="connsiteY51" fmla="*/ 8242 h 10294"/>
                  <a:gd name="connsiteX52" fmla="*/ 5406 w 10000"/>
                  <a:gd name="connsiteY52" fmla="*/ 8321 h 10294"/>
                  <a:gd name="connsiteX53" fmla="*/ 5549 w 10000"/>
                  <a:gd name="connsiteY53" fmla="*/ 8421 h 10294"/>
                  <a:gd name="connsiteX54" fmla="*/ 5670 w 10000"/>
                  <a:gd name="connsiteY54" fmla="*/ 8540 h 10294"/>
                  <a:gd name="connsiteX55" fmla="*/ 5750 w 10000"/>
                  <a:gd name="connsiteY55" fmla="*/ 8686 h 10294"/>
                  <a:gd name="connsiteX56" fmla="*/ 5824 w 10000"/>
                  <a:gd name="connsiteY56" fmla="*/ 8838 h 10294"/>
                  <a:gd name="connsiteX57" fmla="*/ 5849 w 10000"/>
                  <a:gd name="connsiteY57" fmla="*/ 9004 h 10294"/>
                  <a:gd name="connsiteX58" fmla="*/ 5883 w 10000"/>
                  <a:gd name="connsiteY58" fmla="*/ 8997 h 10294"/>
                  <a:gd name="connsiteX59" fmla="*/ 5910 w 10000"/>
                  <a:gd name="connsiteY59" fmla="*/ 8997 h 10294"/>
                  <a:gd name="connsiteX60" fmla="*/ 5937 w 10000"/>
                  <a:gd name="connsiteY60" fmla="*/ 8991 h 10294"/>
                  <a:gd name="connsiteX61" fmla="*/ 5963 w 10000"/>
                  <a:gd name="connsiteY61" fmla="*/ 8991 h 10294"/>
                  <a:gd name="connsiteX62" fmla="*/ 5997 w 10000"/>
                  <a:gd name="connsiteY62" fmla="*/ 8984 h 10294"/>
                  <a:gd name="connsiteX63" fmla="*/ 6029 w 10000"/>
                  <a:gd name="connsiteY63" fmla="*/ 8984 h 10294"/>
                  <a:gd name="connsiteX64" fmla="*/ 6057 w 10000"/>
                  <a:gd name="connsiteY64" fmla="*/ 8984 h 10294"/>
                  <a:gd name="connsiteX65" fmla="*/ 6092 w 10000"/>
                  <a:gd name="connsiteY65" fmla="*/ 8984 h 10294"/>
                  <a:gd name="connsiteX66" fmla="*/ 6232 w 10000"/>
                  <a:gd name="connsiteY66" fmla="*/ 8991 h 10294"/>
                  <a:gd name="connsiteX67" fmla="*/ 6360 w 10000"/>
                  <a:gd name="connsiteY67" fmla="*/ 9024 h 10294"/>
                  <a:gd name="connsiteX68" fmla="*/ 6487 w 10000"/>
                  <a:gd name="connsiteY68" fmla="*/ 9070 h 10294"/>
                  <a:gd name="connsiteX69" fmla="*/ 6603 w 10000"/>
                  <a:gd name="connsiteY69" fmla="*/ 9137 h 10294"/>
                  <a:gd name="connsiteX70" fmla="*/ 6709 w 10000"/>
                  <a:gd name="connsiteY70" fmla="*/ 9216 h 10294"/>
                  <a:gd name="connsiteX71" fmla="*/ 6804 w 10000"/>
                  <a:gd name="connsiteY71" fmla="*/ 9302 h 10294"/>
                  <a:gd name="connsiteX72" fmla="*/ 6879 w 10000"/>
                  <a:gd name="connsiteY72" fmla="*/ 9415 h 10294"/>
                  <a:gd name="connsiteX73" fmla="*/ 6946 w 10000"/>
                  <a:gd name="connsiteY73" fmla="*/ 9527 h 10294"/>
                  <a:gd name="connsiteX74" fmla="*/ 3110 w 10000"/>
                  <a:gd name="connsiteY74" fmla="*/ 9527 h 10294"/>
                  <a:gd name="connsiteX75" fmla="*/ 3149 w 10000"/>
                  <a:gd name="connsiteY75" fmla="*/ 9441 h 10294"/>
                  <a:gd name="connsiteX76" fmla="*/ 3203 w 10000"/>
                  <a:gd name="connsiteY76" fmla="*/ 9355 h 10294"/>
                  <a:gd name="connsiteX77" fmla="*/ 3258 w 10000"/>
                  <a:gd name="connsiteY77" fmla="*/ 9289 h 10294"/>
                  <a:gd name="connsiteX78" fmla="*/ 3329 w 10000"/>
                  <a:gd name="connsiteY78" fmla="*/ 9223 h 10294"/>
                  <a:gd name="connsiteX79" fmla="*/ 3397 w 10000"/>
                  <a:gd name="connsiteY79" fmla="*/ 9170 h 10294"/>
                  <a:gd name="connsiteX80" fmla="*/ 3478 w 10000"/>
                  <a:gd name="connsiteY80" fmla="*/ 9117 h 10294"/>
                  <a:gd name="connsiteX81" fmla="*/ 3559 w 10000"/>
                  <a:gd name="connsiteY81" fmla="*/ 9077 h 10294"/>
                  <a:gd name="connsiteX82" fmla="*/ 3654 w 10000"/>
                  <a:gd name="connsiteY82" fmla="*/ 9044 h 10294"/>
                  <a:gd name="connsiteX83" fmla="*/ 3654 w 10000"/>
                  <a:gd name="connsiteY83" fmla="*/ 8195 h 10294"/>
                  <a:gd name="connsiteX84" fmla="*/ 484 w 10000"/>
                  <a:gd name="connsiteY84" fmla="*/ 8209 h 10294"/>
                  <a:gd name="connsiteX85" fmla="*/ 484 w 10000"/>
                  <a:gd name="connsiteY85" fmla="*/ 8838 h 10294"/>
                  <a:gd name="connsiteX86" fmla="*/ 608 w 10000"/>
                  <a:gd name="connsiteY86" fmla="*/ 8657 h 10294"/>
                  <a:gd name="connsiteX87" fmla="*/ 817 w 10000"/>
                  <a:gd name="connsiteY87" fmla="*/ 8657 h 10294"/>
                  <a:gd name="connsiteX88" fmla="*/ 670 w 10000"/>
                  <a:gd name="connsiteY88" fmla="*/ 8486 h 10294"/>
                  <a:gd name="connsiteX89" fmla="*/ 243 w 10000"/>
                  <a:gd name="connsiteY89" fmla="*/ 8269 h 10294"/>
                  <a:gd name="connsiteX90" fmla="*/ 1347 w 10000"/>
                  <a:gd name="connsiteY90" fmla="*/ 9184 h 10294"/>
                  <a:gd name="connsiteX91" fmla="*/ 1103 w 10000"/>
                  <a:gd name="connsiteY91" fmla="*/ 9282 h 10294"/>
                  <a:gd name="connsiteX92" fmla="*/ 512 w 10000"/>
                  <a:gd name="connsiteY92" fmla="*/ 8684 h 10294"/>
                  <a:gd name="connsiteX93" fmla="*/ 401 w 10000"/>
                  <a:gd name="connsiteY93" fmla="*/ 8678 h 10294"/>
                  <a:gd name="connsiteX94" fmla="*/ 0 w 10000"/>
                  <a:gd name="connsiteY94" fmla="*/ 7088 h 10294"/>
                  <a:gd name="connsiteX95" fmla="*/ 905 w 10000"/>
                  <a:gd name="connsiteY95" fmla="*/ 8758 h 10294"/>
                  <a:gd name="connsiteX96" fmla="*/ 993 w 10000"/>
                  <a:gd name="connsiteY96" fmla="*/ 9002 h 10294"/>
                  <a:gd name="connsiteX97" fmla="*/ 1463 w 10000"/>
                  <a:gd name="connsiteY97" fmla="*/ 9426 h 10294"/>
                  <a:gd name="connsiteX98" fmla="*/ 6226 w 10000"/>
                  <a:gd name="connsiteY98" fmla="*/ 10294 h 10294"/>
                  <a:gd name="connsiteX99" fmla="*/ 8629 w 10000"/>
                  <a:gd name="connsiteY99" fmla="*/ 9231 h 10294"/>
                  <a:gd name="connsiteX100" fmla="*/ 9118 w 10000"/>
                  <a:gd name="connsiteY100"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491 w 10007"/>
                  <a:gd name="connsiteY85" fmla="*/ 8838 h 10294"/>
                  <a:gd name="connsiteX86" fmla="*/ 615 w 10007"/>
                  <a:gd name="connsiteY86" fmla="*/ 8657 h 10294"/>
                  <a:gd name="connsiteX87" fmla="*/ 824 w 10007"/>
                  <a:gd name="connsiteY87" fmla="*/ 8657 h 10294"/>
                  <a:gd name="connsiteX88" fmla="*/ 677 w 10007"/>
                  <a:gd name="connsiteY88" fmla="*/ 8486 h 10294"/>
                  <a:gd name="connsiteX89" fmla="*/ 250 w 10007"/>
                  <a:gd name="connsiteY89" fmla="*/ 8269 h 10294"/>
                  <a:gd name="connsiteX90" fmla="*/ 1354 w 10007"/>
                  <a:gd name="connsiteY90" fmla="*/ 9184 h 10294"/>
                  <a:gd name="connsiteX91" fmla="*/ 1110 w 10007"/>
                  <a:gd name="connsiteY91" fmla="*/ 9282 h 10294"/>
                  <a:gd name="connsiteX92" fmla="*/ 519 w 10007"/>
                  <a:gd name="connsiteY92" fmla="*/ 8684 h 10294"/>
                  <a:gd name="connsiteX93" fmla="*/ 7 w 10007"/>
                  <a:gd name="connsiteY93" fmla="*/ 7088 h 10294"/>
                  <a:gd name="connsiteX94" fmla="*/ 912 w 10007"/>
                  <a:gd name="connsiteY94" fmla="*/ 8758 h 10294"/>
                  <a:gd name="connsiteX95" fmla="*/ 1000 w 10007"/>
                  <a:gd name="connsiteY95" fmla="*/ 9002 h 10294"/>
                  <a:gd name="connsiteX96" fmla="*/ 1470 w 10007"/>
                  <a:gd name="connsiteY96" fmla="*/ 9426 h 10294"/>
                  <a:gd name="connsiteX97" fmla="*/ 6233 w 10007"/>
                  <a:gd name="connsiteY97" fmla="*/ 10294 h 10294"/>
                  <a:gd name="connsiteX98" fmla="*/ 8636 w 10007"/>
                  <a:gd name="connsiteY98" fmla="*/ 9231 h 10294"/>
                  <a:gd name="connsiteX99" fmla="*/ 9125 w 10007"/>
                  <a:gd name="connsiteY99"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491 w 10007"/>
                  <a:gd name="connsiteY85" fmla="*/ 8838 h 10294"/>
                  <a:gd name="connsiteX86" fmla="*/ 615 w 10007"/>
                  <a:gd name="connsiteY86" fmla="*/ 8657 h 10294"/>
                  <a:gd name="connsiteX87" fmla="*/ 824 w 10007"/>
                  <a:gd name="connsiteY87" fmla="*/ 8657 h 10294"/>
                  <a:gd name="connsiteX88" fmla="*/ 677 w 10007"/>
                  <a:gd name="connsiteY88" fmla="*/ 8486 h 10294"/>
                  <a:gd name="connsiteX89" fmla="*/ 250 w 10007"/>
                  <a:gd name="connsiteY89" fmla="*/ 8269 h 10294"/>
                  <a:gd name="connsiteX90" fmla="*/ 1354 w 10007"/>
                  <a:gd name="connsiteY90" fmla="*/ 9184 h 10294"/>
                  <a:gd name="connsiteX91" fmla="*/ 1110 w 10007"/>
                  <a:gd name="connsiteY91" fmla="*/ 9282 h 10294"/>
                  <a:gd name="connsiteX92" fmla="*/ 519 w 10007"/>
                  <a:gd name="connsiteY92" fmla="*/ 8684 h 10294"/>
                  <a:gd name="connsiteX93" fmla="*/ 7 w 10007"/>
                  <a:gd name="connsiteY93" fmla="*/ 7088 h 10294"/>
                  <a:gd name="connsiteX94" fmla="*/ 912 w 10007"/>
                  <a:gd name="connsiteY94" fmla="*/ 8758 h 10294"/>
                  <a:gd name="connsiteX95" fmla="*/ 1470 w 10007"/>
                  <a:gd name="connsiteY95" fmla="*/ 9426 h 10294"/>
                  <a:gd name="connsiteX96" fmla="*/ 6233 w 10007"/>
                  <a:gd name="connsiteY96" fmla="*/ 10294 h 10294"/>
                  <a:gd name="connsiteX97" fmla="*/ 8636 w 10007"/>
                  <a:gd name="connsiteY97" fmla="*/ 9231 h 10294"/>
                  <a:gd name="connsiteX98" fmla="*/ 9125 w 10007"/>
                  <a:gd name="connsiteY98"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615 w 10007"/>
                  <a:gd name="connsiteY85" fmla="*/ 8657 h 10294"/>
                  <a:gd name="connsiteX86" fmla="*/ 824 w 10007"/>
                  <a:gd name="connsiteY86" fmla="*/ 8657 h 10294"/>
                  <a:gd name="connsiteX87" fmla="*/ 677 w 10007"/>
                  <a:gd name="connsiteY87" fmla="*/ 8486 h 10294"/>
                  <a:gd name="connsiteX88" fmla="*/ 250 w 10007"/>
                  <a:gd name="connsiteY88" fmla="*/ 8269 h 10294"/>
                  <a:gd name="connsiteX89" fmla="*/ 1354 w 10007"/>
                  <a:gd name="connsiteY89" fmla="*/ 9184 h 10294"/>
                  <a:gd name="connsiteX90" fmla="*/ 1110 w 10007"/>
                  <a:gd name="connsiteY90" fmla="*/ 9282 h 10294"/>
                  <a:gd name="connsiteX91" fmla="*/ 519 w 10007"/>
                  <a:gd name="connsiteY91" fmla="*/ 8684 h 10294"/>
                  <a:gd name="connsiteX92" fmla="*/ 7 w 10007"/>
                  <a:gd name="connsiteY92" fmla="*/ 7088 h 10294"/>
                  <a:gd name="connsiteX93" fmla="*/ 912 w 10007"/>
                  <a:gd name="connsiteY93" fmla="*/ 8758 h 10294"/>
                  <a:gd name="connsiteX94" fmla="*/ 1470 w 10007"/>
                  <a:gd name="connsiteY94" fmla="*/ 9426 h 10294"/>
                  <a:gd name="connsiteX95" fmla="*/ 6233 w 10007"/>
                  <a:gd name="connsiteY95" fmla="*/ 10294 h 10294"/>
                  <a:gd name="connsiteX96" fmla="*/ 8636 w 10007"/>
                  <a:gd name="connsiteY96" fmla="*/ 9231 h 10294"/>
                  <a:gd name="connsiteX97" fmla="*/ 9125 w 10007"/>
                  <a:gd name="connsiteY97"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615 w 10007"/>
                  <a:gd name="connsiteY85" fmla="*/ 8657 h 10294"/>
                  <a:gd name="connsiteX86" fmla="*/ 824 w 10007"/>
                  <a:gd name="connsiteY86" fmla="*/ 8657 h 10294"/>
                  <a:gd name="connsiteX87" fmla="*/ 677 w 10007"/>
                  <a:gd name="connsiteY87" fmla="*/ 8486 h 10294"/>
                  <a:gd name="connsiteX88" fmla="*/ 250 w 10007"/>
                  <a:gd name="connsiteY88" fmla="*/ 8269 h 10294"/>
                  <a:gd name="connsiteX89" fmla="*/ 1354 w 10007"/>
                  <a:gd name="connsiteY89" fmla="*/ 9184 h 10294"/>
                  <a:gd name="connsiteX90" fmla="*/ 1110 w 10007"/>
                  <a:gd name="connsiteY90" fmla="*/ 9282 h 10294"/>
                  <a:gd name="connsiteX91" fmla="*/ 519 w 10007"/>
                  <a:gd name="connsiteY91" fmla="*/ 8684 h 10294"/>
                  <a:gd name="connsiteX92" fmla="*/ 7 w 10007"/>
                  <a:gd name="connsiteY92" fmla="*/ 7088 h 10294"/>
                  <a:gd name="connsiteX93" fmla="*/ 1470 w 10007"/>
                  <a:gd name="connsiteY93" fmla="*/ 9426 h 10294"/>
                  <a:gd name="connsiteX94" fmla="*/ 6233 w 10007"/>
                  <a:gd name="connsiteY94" fmla="*/ 10294 h 10294"/>
                  <a:gd name="connsiteX95" fmla="*/ 8636 w 10007"/>
                  <a:gd name="connsiteY95" fmla="*/ 9231 h 10294"/>
                  <a:gd name="connsiteX96" fmla="*/ 9125 w 10007"/>
                  <a:gd name="connsiteY96" fmla="*/ 8935 h 10294"/>
                  <a:gd name="connsiteX0" fmla="*/ 9125 w 10007"/>
                  <a:gd name="connsiteY0" fmla="*/ 8935 h 10294"/>
                  <a:gd name="connsiteX1" fmla="*/ 10007 w 10007"/>
                  <a:gd name="connsiteY1" fmla="*/ 7381 h 10294"/>
                  <a:gd name="connsiteX2" fmla="*/ 9180 w 10007"/>
                  <a:gd name="connsiteY2" fmla="*/ 7381 h 10294"/>
                  <a:gd name="connsiteX3" fmla="*/ 9180 w 10007"/>
                  <a:gd name="connsiteY3" fmla="*/ 4128 h 10294"/>
                  <a:gd name="connsiteX4" fmla="*/ 7140 w 10007"/>
                  <a:gd name="connsiteY4" fmla="*/ 4128 h 10294"/>
                  <a:gd name="connsiteX5" fmla="*/ 7140 w 10007"/>
                  <a:gd name="connsiteY5" fmla="*/ 3816 h 10294"/>
                  <a:gd name="connsiteX6" fmla="*/ 8771 w 10007"/>
                  <a:gd name="connsiteY6" fmla="*/ 3816 h 10294"/>
                  <a:gd name="connsiteX7" fmla="*/ 8771 w 10007"/>
                  <a:gd name="connsiteY7" fmla="*/ 3498 h 10294"/>
                  <a:gd name="connsiteX8" fmla="*/ 7140 w 10007"/>
                  <a:gd name="connsiteY8" fmla="*/ 3498 h 10294"/>
                  <a:gd name="connsiteX9" fmla="*/ 7140 w 10007"/>
                  <a:gd name="connsiteY9" fmla="*/ 1365 h 10294"/>
                  <a:gd name="connsiteX10" fmla="*/ 4740 w 10007"/>
                  <a:gd name="connsiteY10" fmla="*/ 550 h 10294"/>
                  <a:gd name="connsiteX11" fmla="*/ 4740 w 10007"/>
                  <a:gd name="connsiteY11" fmla="*/ 5672 h 10294"/>
                  <a:gd name="connsiteX12" fmla="*/ 4360 w 10007"/>
                  <a:gd name="connsiteY12" fmla="*/ 5678 h 10294"/>
                  <a:gd name="connsiteX13" fmla="*/ 4360 w 10007"/>
                  <a:gd name="connsiteY13" fmla="*/ 1756 h 10294"/>
                  <a:gd name="connsiteX14" fmla="*/ 3553 w 10007"/>
                  <a:gd name="connsiteY14" fmla="*/ 2061 h 10294"/>
                  <a:gd name="connsiteX15" fmla="*/ 3117 w 10007"/>
                  <a:gd name="connsiteY15" fmla="*/ 2061 h 10294"/>
                  <a:gd name="connsiteX16" fmla="*/ 3117 w 10007"/>
                  <a:gd name="connsiteY16" fmla="*/ 0 h 10294"/>
                  <a:gd name="connsiteX17" fmla="*/ 2956 w 10007"/>
                  <a:gd name="connsiteY17" fmla="*/ 0 h 10294"/>
                  <a:gd name="connsiteX18" fmla="*/ 2956 w 10007"/>
                  <a:gd name="connsiteY18" fmla="*/ 2061 h 10294"/>
                  <a:gd name="connsiteX19" fmla="*/ 2586 w 10007"/>
                  <a:gd name="connsiteY19" fmla="*/ 2061 h 10294"/>
                  <a:gd name="connsiteX20" fmla="*/ 2586 w 10007"/>
                  <a:gd name="connsiteY20" fmla="*/ 2492 h 10294"/>
                  <a:gd name="connsiteX21" fmla="*/ 1921 w 10007"/>
                  <a:gd name="connsiteY21" fmla="*/ 2815 h 10294"/>
                  <a:gd name="connsiteX22" fmla="*/ 1921 w 10007"/>
                  <a:gd name="connsiteY22" fmla="*/ 4413 h 10294"/>
                  <a:gd name="connsiteX23" fmla="*/ 1565 w 10007"/>
                  <a:gd name="connsiteY23" fmla="*/ 4413 h 10294"/>
                  <a:gd name="connsiteX24" fmla="*/ 1565 w 10007"/>
                  <a:gd name="connsiteY24" fmla="*/ 4837 h 10294"/>
                  <a:gd name="connsiteX25" fmla="*/ 1921 w 10007"/>
                  <a:gd name="connsiteY25" fmla="*/ 4837 h 10294"/>
                  <a:gd name="connsiteX26" fmla="*/ 1921 w 10007"/>
                  <a:gd name="connsiteY26" fmla="*/ 5367 h 10294"/>
                  <a:gd name="connsiteX27" fmla="*/ 1565 w 10007"/>
                  <a:gd name="connsiteY27" fmla="*/ 5367 h 10294"/>
                  <a:gd name="connsiteX28" fmla="*/ 1565 w 10007"/>
                  <a:gd name="connsiteY28" fmla="*/ 5791 h 10294"/>
                  <a:gd name="connsiteX29" fmla="*/ 1921 w 10007"/>
                  <a:gd name="connsiteY29" fmla="*/ 5791 h 10294"/>
                  <a:gd name="connsiteX30" fmla="*/ 1921 w 10007"/>
                  <a:gd name="connsiteY30" fmla="*/ 7043 h 10294"/>
                  <a:gd name="connsiteX31" fmla="*/ 860 w 10007"/>
                  <a:gd name="connsiteY31" fmla="*/ 7043 h 10294"/>
                  <a:gd name="connsiteX32" fmla="*/ 860 w 10007"/>
                  <a:gd name="connsiteY32" fmla="*/ 7818 h 10294"/>
                  <a:gd name="connsiteX33" fmla="*/ 1404 w 10007"/>
                  <a:gd name="connsiteY33" fmla="*/ 7838 h 10294"/>
                  <a:gd name="connsiteX34" fmla="*/ 2141 w 10007"/>
                  <a:gd name="connsiteY34" fmla="*/ 7315 h 10294"/>
                  <a:gd name="connsiteX35" fmla="*/ 2135 w 10007"/>
                  <a:gd name="connsiteY35" fmla="*/ 7818 h 10294"/>
                  <a:gd name="connsiteX36" fmla="*/ 2814 w 10007"/>
                  <a:gd name="connsiteY36" fmla="*/ 7368 h 10294"/>
                  <a:gd name="connsiteX37" fmla="*/ 2814 w 10007"/>
                  <a:gd name="connsiteY37" fmla="*/ 7818 h 10294"/>
                  <a:gd name="connsiteX38" fmla="*/ 3485 w 10007"/>
                  <a:gd name="connsiteY38" fmla="*/ 7361 h 10294"/>
                  <a:gd name="connsiteX39" fmla="*/ 3491 w 10007"/>
                  <a:gd name="connsiteY39" fmla="*/ 7811 h 10294"/>
                  <a:gd name="connsiteX40" fmla="*/ 4137 w 10007"/>
                  <a:gd name="connsiteY40" fmla="*/ 7328 h 10294"/>
                  <a:gd name="connsiteX41" fmla="*/ 4137 w 10007"/>
                  <a:gd name="connsiteY41" fmla="*/ 8613 h 10294"/>
                  <a:gd name="connsiteX42" fmla="*/ 4212 w 10007"/>
                  <a:gd name="connsiteY42" fmla="*/ 8520 h 10294"/>
                  <a:gd name="connsiteX43" fmla="*/ 4285 w 10007"/>
                  <a:gd name="connsiteY43" fmla="*/ 8434 h 10294"/>
                  <a:gd name="connsiteX44" fmla="*/ 4375 w 10007"/>
                  <a:gd name="connsiteY44" fmla="*/ 8361 h 10294"/>
                  <a:gd name="connsiteX45" fmla="*/ 4474 w 10007"/>
                  <a:gd name="connsiteY45" fmla="*/ 8295 h 10294"/>
                  <a:gd name="connsiteX46" fmla="*/ 4574 w 10007"/>
                  <a:gd name="connsiteY46" fmla="*/ 8249 h 10294"/>
                  <a:gd name="connsiteX47" fmla="*/ 4681 w 10007"/>
                  <a:gd name="connsiteY47" fmla="*/ 8215 h 10294"/>
                  <a:gd name="connsiteX48" fmla="*/ 4793 w 10007"/>
                  <a:gd name="connsiteY48" fmla="*/ 8189 h 10294"/>
                  <a:gd name="connsiteX49" fmla="*/ 4922 w 10007"/>
                  <a:gd name="connsiteY49" fmla="*/ 8182 h 10294"/>
                  <a:gd name="connsiteX50" fmla="*/ 5098 w 10007"/>
                  <a:gd name="connsiteY50" fmla="*/ 8195 h 10294"/>
                  <a:gd name="connsiteX51" fmla="*/ 5273 w 10007"/>
                  <a:gd name="connsiteY51" fmla="*/ 8242 h 10294"/>
                  <a:gd name="connsiteX52" fmla="*/ 5413 w 10007"/>
                  <a:gd name="connsiteY52" fmla="*/ 8321 h 10294"/>
                  <a:gd name="connsiteX53" fmla="*/ 5556 w 10007"/>
                  <a:gd name="connsiteY53" fmla="*/ 8421 h 10294"/>
                  <a:gd name="connsiteX54" fmla="*/ 5677 w 10007"/>
                  <a:gd name="connsiteY54" fmla="*/ 8540 h 10294"/>
                  <a:gd name="connsiteX55" fmla="*/ 5757 w 10007"/>
                  <a:gd name="connsiteY55" fmla="*/ 8686 h 10294"/>
                  <a:gd name="connsiteX56" fmla="*/ 5831 w 10007"/>
                  <a:gd name="connsiteY56" fmla="*/ 8838 h 10294"/>
                  <a:gd name="connsiteX57" fmla="*/ 5856 w 10007"/>
                  <a:gd name="connsiteY57" fmla="*/ 9004 h 10294"/>
                  <a:gd name="connsiteX58" fmla="*/ 5890 w 10007"/>
                  <a:gd name="connsiteY58" fmla="*/ 8997 h 10294"/>
                  <a:gd name="connsiteX59" fmla="*/ 5917 w 10007"/>
                  <a:gd name="connsiteY59" fmla="*/ 8997 h 10294"/>
                  <a:gd name="connsiteX60" fmla="*/ 5944 w 10007"/>
                  <a:gd name="connsiteY60" fmla="*/ 8991 h 10294"/>
                  <a:gd name="connsiteX61" fmla="*/ 5970 w 10007"/>
                  <a:gd name="connsiteY61" fmla="*/ 8991 h 10294"/>
                  <a:gd name="connsiteX62" fmla="*/ 6004 w 10007"/>
                  <a:gd name="connsiteY62" fmla="*/ 8984 h 10294"/>
                  <a:gd name="connsiteX63" fmla="*/ 6036 w 10007"/>
                  <a:gd name="connsiteY63" fmla="*/ 8984 h 10294"/>
                  <a:gd name="connsiteX64" fmla="*/ 6064 w 10007"/>
                  <a:gd name="connsiteY64" fmla="*/ 8984 h 10294"/>
                  <a:gd name="connsiteX65" fmla="*/ 6099 w 10007"/>
                  <a:gd name="connsiteY65" fmla="*/ 8984 h 10294"/>
                  <a:gd name="connsiteX66" fmla="*/ 6239 w 10007"/>
                  <a:gd name="connsiteY66" fmla="*/ 8991 h 10294"/>
                  <a:gd name="connsiteX67" fmla="*/ 6367 w 10007"/>
                  <a:gd name="connsiteY67" fmla="*/ 9024 h 10294"/>
                  <a:gd name="connsiteX68" fmla="*/ 6494 w 10007"/>
                  <a:gd name="connsiteY68" fmla="*/ 9070 h 10294"/>
                  <a:gd name="connsiteX69" fmla="*/ 6610 w 10007"/>
                  <a:gd name="connsiteY69" fmla="*/ 9137 h 10294"/>
                  <a:gd name="connsiteX70" fmla="*/ 6716 w 10007"/>
                  <a:gd name="connsiteY70" fmla="*/ 9216 h 10294"/>
                  <a:gd name="connsiteX71" fmla="*/ 6811 w 10007"/>
                  <a:gd name="connsiteY71" fmla="*/ 9302 h 10294"/>
                  <a:gd name="connsiteX72" fmla="*/ 6886 w 10007"/>
                  <a:gd name="connsiteY72" fmla="*/ 9415 h 10294"/>
                  <a:gd name="connsiteX73" fmla="*/ 6953 w 10007"/>
                  <a:gd name="connsiteY73" fmla="*/ 9527 h 10294"/>
                  <a:gd name="connsiteX74" fmla="*/ 3117 w 10007"/>
                  <a:gd name="connsiteY74" fmla="*/ 9527 h 10294"/>
                  <a:gd name="connsiteX75" fmla="*/ 3156 w 10007"/>
                  <a:gd name="connsiteY75" fmla="*/ 9441 h 10294"/>
                  <a:gd name="connsiteX76" fmla="*/ 3210 w 10007"/>
                  <a:gd name="connsiteY76" fmla="*/ 9355 h 10294"/>
                  <a:gd name="connsiteX77" fmla="*/ 3265 w 10007"/>
                  <a:gd name="connsiteY77" fmla="*/ 9289 h 10294"/>
                  <a:gd name="connsiteX78" fmla="*/ 3336 w 10007"/>
                  <a:gd name="connsiteY78" fmla="*/ 9223 h 10294"/>
                  <a:gd name="connsiteX79" fmla="*/ 3404 w 10007"/>
                  <a:gd name="connsiteY79" fmla="*/ 9170 h 10294"/>
                  <a:gd name="connsiteX80" fmla="*/ 3485 w 10007"/>
                  <a:gd name="connsiteY80" fmla="*/ 9117 h 10294"/>
                  <a:gd name="connsiteX81" fmla="*/ 3566 w 10007"/>
                  <a:gd name="connsiteY81" fmla="*/ 9077 h 10294"/>
                  <a:gd name="connsiteX82" fmla="*/ 3661 w 10007"/>
                  <a:gd name="connsiteY82" fmla="*/ 9044 h 10294"/>
                  <a:gd name="connsiteX83" fmla="*/ 3661 w 10007"/>
                  <a:gd name="connsiteY83" fmla="*/ 8195 h 10294"/>
                  <a:gd name="connsiteX84" fmla="*/ 491 w 10007"/>
                  <a:gd name="connsiteY84" fmla="*/ 8209 h 10294"/>
                  <a:gd name="connsiteX85" fmla="*/ 615 w 10007"/>
                  <a:gd name="connsiteY85" fmla="*/ 8657 h 10294"/>
                  <a:gd name="connsiteX86" fmla="*/ 677 w 10007"/>
                  <a:gd name="connsiteY86" fmla="*/ 8486 h 10294"/>
                  <a:gd name="connsiteX87" fmla="*/ 250 w 10007"/>
                  <a:gd name="connsiteY87" fmla="*/ 8269 h 10294"/>
                  <a:gd name="connsiteX88" fmla="*/ 1354 w 10007"/>
                  <a:gd name="connsiteY88" fmla="*/ 9184 h 10294"/>
                  <a:gd name="connsiteX89" fmla="*/ 1110 w 10007"/>
                  <a:gd name="connsiteY89" fmla="*/ 9282 h 10294"/>
                  <a:gd name="connsiteX90" fmla="*/ 519 w 10007"/>
                  <a:gd name="connsiteY90" fmla="*/ 8684 h 10294"/>
                  <a:gd name="connsiteX91" fmla="*/ 7 w 10007"/>
                  <a:gd name="connsiteY91" fmla="*/ 7088 h 10294"/>
                  <a:gd name="connsiteX92" fmla="*/ 1470 w 10007"/>
                  <a:gd name="connsiteY92" fmla="*/ 9426 h 10294"/>
                  <a:gd name="connsiteX93" fmla="*/ 6233 w 10007"/>
                  <a:gd name="connsiteY93" fmla="*/ 10294 h 10294"/>
                  <a:gd name="connsiteX94" fmla="*/ 8636 w 10007"/>
                  <a:gd name="connsiteY94" fmla="*/ 9231 h 10294"/>
                  <a:gd name="connsiteX95" fmla="*/ 9125 w 10007"/>
                  <a:gd name="connsiteY95"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487 w 10003"/>
                  <a:gd name="connsiteY84" fmla="*/ 8209 h 10294"/>
                  <a:gd name="connsiteX85" fmla="*/ 611 w 10003"/>
                  <a:gd name="connsiteY85" fmla="*/ 8657 h 10294"/>
                  <a:gd name="connsiteX86" fmla="*/ 673 w 10003"/>
                  <a:gd name="connsiteY86" fmla="*/ 8486 h 10294"/>
                  <a:gd name="connsiteX87" fmla="*/ 246 w 10003"/>
                  <a:gd name="connsiteY87" fmla="*/ 8269 h 10294"/>
                  <a:gd name="connsiteX88" fmla="*/ 1350 w 10003"/>
                  <a:gd name="connsiteY88" fmla="*/ 9184 h 10294"/>
                  <a:gd name="connsiteX89" fmla="*/ 1106 w 10003"/>
                  <a:gd name="connsiteY89" fmla="*/ 9282 h 10294"/>
                  <a:gd name="connsiteX90" fmla="*/ 3 w 10003"/>
                  <a:gd name="connsiteY90" fmla="*/ 7088 h 10294"/>
                  <a:gd name="connsiteX91" fmla="*/ 1466 w 10003"/>
                  <a:gd name="connsiteY91" fmla="*/ 9426 h 10294"/>
                  <a:gd name="connsiteX92" fmla="*/ 6229 w 10003"/>
                  <a:gd name="connsiteY92" fmla="*/ 10294 h 10294"/>
                  <a:gd name="connsiteX93" fmla="*/ 8632 w 10003"/>
                  <a:gd name="connsiteY93" fmla="*/ 9231 h 10294"/>
                  <a:gd name="connsiteX94" fmla="*/ 9121 w 10003"/>
                  <a:gd name="connsiteY94"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487 w 10003"/>
                  <a:gd name="connsiteY84" fmla="*/ 8209 h 10294"/>
                  <a:gd name="connsiteX85" fmla="*/ 611 w 10003"/>
                  <a:gd name="connsiteY85" fmla="*/ 8657 h 10294"/>
                  <a:gd name="connsiteX86" fmla="*/ 246 w 10003"/>
                  <a:gd name="connsiteY86" fmla="*/ 8269 h 10294"/>
                  <a:gd name="connsiteX87" fmla="*/ 1350 w 10003"/>
                  <a:gd name="connsiteY87" fmla="*/ 9184 h 10294"/>
                  <a:gd name="connsiteX88" fmla="*/ 1106 w 10003"/>
                  <a:gd name="connsiteY88" fmla="*/ 9282 h 10294"/>
                  <a:gd name="connsiteX89" fmla="*/ 3 w 10003"/>
                  <a:gd name="connsiteY89" fmla="*/ 7088 h 10294"/>
                  <a:gd name="connsiteX90" fmla="*/ 1466 w 10003"/>
                  <a:gd name="connsiteY90" fmla="*/ 9426 h 10294"/>
                  <a:gd name="connsiteX91" fmla="*/ 6229 w 10003"/>
                  <a:gd name="connsiteY91" fmla="*/ 10294 h 10294"/>
                  <a:gd name="connsiteX92" fmla="*/ 8632 w 10003"/>
                  <a:gd name="connsiteY92" fmla="*/ 9231 h 10294"/>
                  <a:gd name="connsiteX93" fmla="*/ 9121 w 10003"/>
                  <a:gd name="connsiteY93"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487 w 10003"/>
                  <a:gd name="connsiteY84" fmla="*/ 8209 h 10294"/>
                  <a:gd name="connsiteX85" fmla="*/ 246 w 10003"/>
                  <a:gd name="connsiteY85" fmla="*/ 8269 h 10294"/>
                  <a:gd name="connsiteX86" fmla="*/ 1350 w 10003"/>
                  <a:gd name="connsiteY86" fmla="*/ 9184 h 10294"/>
                  <a:gd name="connsiteX87" fmla="*/ 1106 w 10003"/>
                  <a:gd name="connsiteY87" fmla="*/ 9282 h 10294"/>
                  <a:gd name="connsiteX88" fmla="*/ 3 w 10003"/>
                  <a:gd name="connsiteY88" fmla="*/ 7088 h 10294"/>
                  <a:gd name="connsiteX89" fmla="*/ 1466 w 10003"/>
                  <a:gd name="connsiteY89" fmla="*/ 9426 h 10294"/>
                  <a:gd name="connsiteX90" fmla="*/ 6229 w 10003"/>
                  <a:gd name="connsiteY90" fmla="*/ 10294 h 10294"/>
                  <a:gd name="connsiteX91" fmla="*/ 8632 w 10003"/>
                  <a:gd name="connsiteY91" fmla="*/ 9231 h 10294"/>
                  <a:gd name="connsiteX92" fmla="*/ 9121 w 10003"/>
                  <a:gd name="connsiteY92"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487 w 10003"/>
                  <a:gd name="connsiteY84" fmla="*/ 8209 h 10294"/>
                  <a:gd name="connsiteX85" fmla="*/ 1350 w 10003"/>
                  <a:gd name="connsiteY85" fmla="*/ 9184 h 10294"/>
                  <a:gd name="connsiteX86" fmla="*/ 1106 w 10003"/>
                  <a:gd name="connsiteY86" fmla="*/ 9282 h 10294"/>
                  <a:gd name="connsiteX87" fmla="*/ 3 w 10003"/>
                  <a:gd name="connsiteY87" fmla="*/ 7088 h 10294"/>
                  <a:gd name="connsiteX88" fmla="*/ 1466 w 10003"/>
                  <a:gd name="connsiteY88" fmla="*/ 9426 h 10294"/>
                  <a:gd name="connsiteX89" fmla="*/ 6229 w 10003"/>
                  <a:gd name="connsiteY89" fmla="*/ 10294 h 10294"/>
                  <a:gd name="connsiteX90" fmla="*/ 8632 w 10003"/>
                  <a:gd name="connsiteY90" fmla="*/ 9231 h 10294"/>
                  <a:gd name="connsiteX91" fmla="*/ 9121 w 10003"/>
                  <a:gd name="connsiteY91"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350 w 10003"/>
                  <a:gd name="connsiteY84" fmla="*/ 9184 h 10294"/>
                  <a:gd name="connsiteX85" fmla="*/ 1106 w 10003"/>
                  <a:gd name="connsiteY85" fmla="*/ 9282 h 10294"/>
                  <a:gd name="connsiteX86" fmla="*/ 3 w 10003"/>
                  <a:gd name="connsiteY86" fmla="*/ 7088 h 10294"/>
                  <a:gd name="connsiteX87" fmla="*/ 1466 w 10003"/>
                  <a:gd name="connsiteY87" fmla="*/ 9426 h 10294"/>
                  <a:gd name="connsiteX88" fmla="*/ 6229 w 10003"/>
                  <a:gd name="connsiteY88" fmla="*/ 10294 h 10294"/>
                  <a:gd name="connsiteX89" fmla="*/ 8632 w 10003"/>
                  <a:gd name="connsiteY89" fmla="*/ 9231 h 10294"/>
                  <a:gd name="connsiteX90" fmla="*/ 9121 w 10003"/>
                  <a:gd name="connsiteY90"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350 w 10003"/>
                  <a:gd name="connsiteY84" fmla="*/ 9184 h 10294"/>
                  <a:gd name="connsiteX85" fmla="*/ 1106 w 10003"/>
                  <a:gd name="connsiteY85" fmla="*/ 9282 h 10294"/>
                  <a:gd name="connsiteX86" fmla="*/ 3 w 10003"/>
                  <a:gd name="connsiteY86" fmla="*/ 7088 h 10294"/>
                  <a:gd name="connsiteX87" fmla="*/ 1851 w 10003"/>
                  <a:gd name="connsiteY87" fmla="*/ 9877 h 10294"/>
                  <a:gd name="connsiteX88" fmla="*/ 6229 w 10003"/>
                  <a:gd name="connsiteY88" fmla="*/ 10294 h 10294"/>
                  <a:gd name="connsiteX89" fmla="*/ 8632 w 10003"/>
                  <a:gd name="connsiteY89" fmla="*/ 9231 h 10294"/>
                  <a:gd name="connsiteX90" fmla="*/ 9121 w 10003"/>
                  <a:gd name="connsiteY90"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350 w 10003"/>
                  <a:gd name="connsiteY84" fmla="*/ 9184 h 10294"/>
                  <a:gd name="connsiteX85" fmla="*/ 1362 w 10003"/>
                  <a:gd name="connsiteY85" fmla="*/ 8379 h 10294"/>
                  <a:gd name="connsiteX86" fmla="*/ 3 w 10003"/>
                  <a:gd name="connsiteY86" fmla="*/ 7088 h 10294"/>
                  <a:gd name="connsiteX87" fmla="*/ 1851 w 10003"/>
                  <a:gd name="connsiteY87" fmla="*/ 9877 h 10294"/>
                  <a:gd name="connsiteX88" fmla="*/ 6229 w 10003"/>
                  <a:gd name="connsiteY88" fmla="*/ 10294 h 10294"/>
                  <a:gd name="connsiteX89" fmla="*/ 8632 w 10003"/>
                  <a:gd name="connsiteY89" fmla="*/ 9231 h 10294"/>
                  <a:gd name="connsiteX90" fmla="*/ 9121 w 10003"/>
                  <a:gd name="connsiteY90"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927 w 10003"/>
                  <a:gd name="connsiteY84" fmla="*/ 8475 h 10294"/>
                  <a:gd name="connsiteX85" fmla="*/ 1362 w 10003"/>
                  <a:gd name="connsiteY85" fmla="*/ 8379 h 10294"/>
                  <a:gd name="connsiteX86" fmla="*/ 3 w 10003"/>
                  <a:gd name="connsiteY86" fmla="*/ 7088 h 10294"/>
                  <a:gd name="connsiteX87" fmla="*/ 1851 w 10003"/>
                  <a:gd name="connsiteY87" fmla="*/ 9877 h 10294"/>
                  <a:gd name="connsiteX88" fmla="*/ 6229 w 10003"/>
                  <a:gd name="connsiteY88" fmla="*/ 10294 h 10294"/>
                  <a:gd name="connsiteX89" fmla="*/ 8632 w 10003"/>
                  <a:gd name="connsiteY89" fmla="*/ 9231 h 10294"/>
                  <a:gd name="connsiteX90" fmla="*/ 9121 w 10003"/>
                  <a:gd name="connsiteY90" fmla="*/ 8935 h 10294"/>
                  <a:gd name="connsiteX0" fmla="*/ 9121 w 10003"/>
                  <a:gd name="connsiteY0" fmla="*/ 8935 h 10294"/>
                  <a:gd name="connsiteX1" fmla="*/ 10003 w 10003"/>
                  <a:gd name="connsiteY1" fmla="*/ 7381 h 10294"/>
                  <a:gd name="connsiteX2" fmla="*/ 9176 w 10003"/>
                  <a:gd name="connsiteY2" fmla="*/ 7381 h 10294"/>
                  <a:gd name="connsiteX3" fmla="*/ 9176 w 10003"/>
                  <a:gd name="connsiteY3" fmla="*/ 4128 h 10294"/>
                  <a:gd name="connsiteX4" fmla="*/ 7136 w 10003"/>
                  <a:gd name="connsiteY4" fmla="*/ 4128 h 10294"/>
                  <a:gd name="connsiteX5" fmla="*/ 7136 w 10003"/>
                  <a:gd name="connsiteY5" fmla="*/ 3816 h 10294"/>
                  <a:gd name="connsiteX6" fmla="*/ 8767 w 10003"/>
                  <a:gd name="connsiteY6" fmla="*/ 3816 h 10294"/>
                  <a:gd name="connsiteX7" fmla="*/ 8767 w 10003"/>
                  <a:gd name="connsiteY7" fmla="*/ 3498 h 10294"/>
                  <a:gd name="connsiteX8" fmla="*/ 7136 w 10003"/>
                  <a:gd name="connsiteY8" fmla="*/ 3498 h 10294"/>
                  <a:gd name="connsiteX9" fmla="*/ 7136 w 10003"/>
                  <a:gd name="connsiteY9" fmla="*/ 1365 h 10294"/>
                  <a:gd name="connsiteX10" fmla="*/ 4736 w 10003"/>
                  <a:gd name="connsiteY10" fmla="*/ 550 h 10294"/>
                  <a:gd name="connsiteX11" fmla="*/ 4736 w 10003"/>
                  <a:gd name="connsiteY11" fmla="*/ 5672 h 10294"/>
                  <a:gd name="connsiteX12" fmla="*/ 4356 w 10003"/>
                  <a:gd name="connsiteY12" fmla="*/ 5678 h 10294"/>
                  <a:gd name="connsiteX13" fmla="*/ 4356 w 10003"/>
                  <a:gd name="connsiteY13" fmla="*/ 1756 h 10294"/>
                  <a:gd name="connsiteX14" fmla="*/ 3549 w 10003"/>
                  <a:gd name="connsiteY14" fmla="*/ 2061 h 10294"/>
                  <a:gd name="connsiteX15" fmla="*/ 3113 w 10003"/>
                  <a:gd name="connsiteY15" fmla="*/ 2061 h 10294"/>
                  <a:gd name="connsiteX16" fmla="*/ 3113 w 10003"/>
                  <a:gd name="connsiteY16" fmla="*/ 0 h 10294"/>
                  <a:gd name="connsiteX17" fmla="*/ 2952 w 10003"/>
                  <a:gd name="connsiteY17" fmla="*/ 0 h 10294"/>
                  <a:gd name="connsiteX18" fmla="*/ 2952 w 10003"/>
                  <a:gd name="connsiteY18" fmla="*/ 2061 h 10294"/>
                  <a:gd name="connsiteX19" fmla="*/ 2582 w 10003"/>
                  <a:gd name="connsiteY19" fmla="*/ 2061 h 10294"/>
                  <a:gd name="connsiteX20" fmla="*/ 2582 w 10003"/>
                  <a:gd name="connsiteY20" fmla="*/ 2492 h 10294"/>
                  <a:gd name="connsiteX21" fmla="*/ 1917 w 10003"/>
                  <a:gd name="connsiteY21" fmla="*/ 2815 h 10294"/>
                  <a:gd name="connsiteX22" fmla="*/ 1917 w 10003"/>
                  <a:gd name="connsiteY22" fmla="*/ 4413 h 10294"/>
                  <a:gd name="connsiteX23" fmla="*/ 1561 w 10003"/>
                  <a:gd name="connsiteY23" fmla="*/ 4413 h 10294"/>
                  <a:gd name="connsiteX24" fmla="*/ 1561 w 10003"/>
                  <a:gd name="connsiteY24" fmla="*/ 4837 h 10294"/>
                  <a:gd name="connsiteX25" fmla="*/ 1917 w 10003"/>
                  <a:gd name="connsiteY25" fmla="*/ 4837 h 10294"/>
                  <a:gd name="connsiteX26" fmla="*/ 1917 w 10003"/>
                  <a:gd name="connsiteY26" fmla="*/ 5367 h 10294"/>
                  <a:gd name="connsiteX27" fmla="*/ 1561 w 10003"/>
                  <a:gd name="connsiteY27" fmla="*/ 5367 h 10294"/>
                  <a:gd name="connsiteX28" fmla="*/ 1561 w 10003"/>
                  <a:gd name="connsiteY28" fmla="*/ 5791 h 10294"/>
                  <a:gd name="connsiteX29" fmla="*/ 1917 w 10003"/>
                  <a:gd name="connsiteY29" fmla="*/ 5791 h 10294"/>
                  <a:gd name="connsiteX30" fmla="*/ 1917 w 10003"/>
                  <a:gd name="connsiteY30" fmla="*/ 7043 h 10294"/>
                  <a:gd name="connsiteX31" fmla="*/ 856 w 10003"/>
                  <a:gd name="connsiteY31" fmla="*/ 7043 h 10294"/>
                  <a:gd name="connsiteX32" fmla="*/ 856 w 10003"/>
                  <a:gd name="connsiteY32" fmla="*/ 7818 h 10294"/>
                  <a:gd name="connsiteX33" fmla="*/ 1400 w 10003"/>
                  <a:gd name="connsiteY33" fmla="*/ 7838 h 10294"/>
                  <a:gd name="connsiteX34" fmla="*/ 2137 w 10003"/>
                  <a:gd name="connsiteY34" fmla="*/ 7315 h 10294"/>
                  <a:gd name="connsiteX35" fmla="*/ 2131 w 10003"/>
                  <a:gd name="connsiteY35" fmla="*/ 7818 h 10294"/>
                  <a:gd name="connsiteX36" fmla="*/ 2810 w 10003"/>
                  <a:gd name="connsiteY36" fmla="*/ 7368 h 10294"/>
                  <a:gd name="connsiteX37" fmla="*/ 2810 w 10003"/>
                  <a:gd name="connsiteY37" fmla="*/ 7818 h 10294"/>
                  <a:gd name="connsiteX38" fmla="*/ 3481 w 10003"/>
                  <a:gd name="connsiteY38" fmla="*/ 7361 h 10294"/>
                  <a:gd name="connsiteX39" fmla="*/ 3487 w 10003"/>
                  <a:gd name="connsiteY39" fmla="*/ 7811 h 10294"/>
                  <a:gd name="connsiteX40" fmla="*/ 4133 w 10003"/>
                  <a:gd name="connsiteY40" fmla="*/ 7328 h 10294"/>
                  <a:gd name="connsiteX41" fmla="*/ 4133 w 10003"/>
                  <a:gd name="connsiteY41" fmla="*/ 8613 h 10294"/>
                  <a:gd name="connsiteX42" fmla="*/ 4208 w 10003"/>
                  <a:gd name="connsiteY42" fmla="*/ 8520 h 10294"/>
                  <a:gd name="connsiteX43" fmla="*/ 4281 w 10003"/>
                  <a:gd name="connsiteY43" fmla="*/ 8434 h 10294"/>
                  <a:gd name="connsiteX44" fmla="*/ 4371 w 10003"/>
                  <a:gd name="connsiteY44" fmla="*/ 8361 h 10294"/>
                  <a:gd name="connsiteX45" fmla="*/ 4470 w 10003"/>
                  <a:gd name="connsiteY45" fmla="*/ 8295 h 10294"/>
                  <a:gd name="connsiteX46" fmla="*/ 4570 w 10003"/>
                  <a:gd name="connsiteY46" fmla="*/ 8249 h 10294"/>
                  <a:gd name="connsiteX47" fmla="*/ 4677 w 10003"/>
                  <a:gd name="connsiteY47" fmla="*/ 8215 h 10294"/>
                  <a:gd name="connsiteX48" fmla="*/ 4789 w 10003"/>
                  <a:gd name="connsiteY48" fmla="*/ 8189 h 10294"/>
                  <a:gd name="connsiteX49" fmla="*/ 4918 w 10003"/>
                  <a:gd name="connsiteY49" fmla="*/ 8182 h 10294"/>
                  <a:gd name="connsiteX50" fmla="*/ 5094 w 10003"/>
                  <a:gd name="connsiteY50" fmla="*/ 8195 h 10294"/>
                  <a:gd name="connsiteX51" fmla="*/ 5269 w 10003"/>
                  <a:gd name="connsiteY51" fmla="*/ 8242 h 10294"/>
                  <a:gd name="connsiteX52" fmla="*/ 5409 w 10003"/>
                  <a:gd name="connsiteY52" fmla="*/ 8321 h 10294"/>
                  <a:gd name="connsiteX53" fmla="*/ 5552 w 10003"/>
                  <a:gd name="connsiteY53" fmla="*/ 8421 h 10294"/>
                  <a:gd name="connsiteX54" fmla="*/ 5673 w 10003"/>
                  <a:gd name="connsiteY54" fmla="*/ 8540 h 10294"/>
                  <a:gd name="connsiteX55" fmla="*/ 5753 w 10003"/>
                  <a:gd name="connsiteY55" fmla="*/ 8686 h 10294"/>
                  <a:gd name="connsiteX56" fmla="*/ 5827 w 10003"/>
                  <a:gd name="connsiteY56" fmla="*/ 8838 h 10294"/>
                  <a:gd name="connsiteX57" fmla="*/ 5852 w 10003"/>
                  <a:gd name="connsiteY57" fmla="*/ 9004 h 10294"/>
                  <a:gd name="connsiteX58" fmla="*/ 5886 w 10003"/>
                  <a:gd name="connsiteY58" fmla="*/ 8997 h 10294"/>
                  <a:gd name="connsiteX59" fmla="*/ 5913 w 10003"/>
                  <a:gd name="connsiteY59" fmla="*/ 8997 h 10294"/>
                  <a:gd name="connsiteX60" fmla="*/ 5940 w 10003"/>
                  <a:gd name="connsiteY60" fmla="*/ 8991 h 10294"/>
                  <a:gd name="connsiteX61" fmla="*/ 5966 w 10003"/>
                  <a:gd name="connsiteY61" fmla="*/ 8991 h 10294"/>
                  <a:gd name="connsiteX62" fmla="*/ 6000 w 10003"/>
                  <a:gd name="connsiteY62" fmla="*/ 8984 h 10294"/>
                  <a:gd name="connsiteX63" fmla="*/ 6032 w 10003"/>
                  <a:gd name="connsiteY63" fmla="*/ 8984 h 10294"/>
                  <a:gd name="connsiteX64" fmla="*/ 6060 w 10003"/>
                  <a:gd name="connsiteY64" fmla="*/ 8984 h 10294"/>
                  <a:gd name="connsiteX65" fmla="*/ 6095 w 10003"/>
                  <a:gd name="connsiteY65" fmla="*/ 8984 h 10294"/>
                  <a:gd name="connsiteX66" fmla="*/ 6235 w 10003"/>
                  <a:gd name="connsiteY66" fmla="*/ 8991 h 10294"/>
                  <a:gd name="connsiteX67" fmla="*/ 6363 w 10003"/>
                  <a:gd name="connsiteY67" fmla="*/ 9024 h 10294"/>
                  <a:gd name="connsiteX68" fmla="*/ 6490 w 10003"/>
                  <a:gd name="connsiteY68" fmla="*/ 9070 h 10294"/>
                  <a:gd name="connsiteX69" fmla="*/ 6606 w 10003"/>
                  <a:gd name="connsiteY69" fmla="*/ 9137 h 10294"/>
                  <a:gd name="connsiteX70" fmla="*/ 6712 w 10003"/>
                  <a:gd name="connsiteY70" fmla="*/ 9216 h 10294"/>
                  <a:gd name="connsiteX71" fmla="*/ 6807 w 10003"/>
                  <a:gd name="connsiteY71" fmla="*/ 9302 h 10294"/>
                  <a:gd name="connsiteX72" fmla="*/ 6882 w 10003"/>
                  <a:gd name="connsiteY72" fmla="*/ 9415 h 10294"/>
                  <a:gd name="connsiteX73" fmla="*/ 6949 w 10003"/>
                  <a:gd name="connsiteY73" fmla="*/ 9527 h 10294"/>
                  <a:gd name="connsiteX74" fmla="*/ 3113 w 10003"/>
                  <a:gd name="connsiteY74" fmla="*/ 9527 h 10294"/>
                  <a:gd name="connsiteX75" fmla="*/ 3152 w 10003"/>
                  <a:gd name="connsiteY75" fmla="*/ 9441 h 10294"/>
                  <a:gd name="connsiteX76" fmla="*/ 3206 w 10003"/>
                  <a:gd name="connsiteY76" fmla="*/ 9355 h 10294"/>
                  <a:gd name="connsiteX77" fmla="*/ 3261 w 10003"/>
                  <a:gd name="connsiteY77" fmla="*/ 9289 h 10294"/>
                  <a:gd name="connsiteX78" fmla="*/ 3332 w 10003"/>
                  <a:gd name="connsiteY78" fmla="*/ 9223 h 10294"/>
                  <a:gd name="connsiteX79" fmla="*/ 3400 w 10003"/>
                  <a:gd name="connsiteY79" fmla="*/ 9170 h 10294"/>
                  <a:gd name="connsiteX80" fmla="*/ 3481 w 10003"/>
                  <a:gd name="connsiteY80" fmla="*/ 9117 h 10294"/>
                  <a:gd name="connsiteX81" fmla="*/ 3562 w 10003"/>
                  <a:gd name="connsiteY81" fmla="*/ 9077 h 10294"/>
                  <a:gd name="connsiteX82" fmla="*/ 3657 w 10003"/>
                  <a:gd name="connsiteY82" fmla="*/ 9044 h 10294"/>
                  <a:gd name="connsiteX83" fmla="*/ 3657 w 10003"/>
                  <a:gd name="connsiteY83" fmla="*/ 8195 h 10294"/>
                  <a:gd name="connsiteX84" fmla="*/ 1542 w 10003"/>
                  <a:gd name="connsiteY84" fmla="*/ 8282 h 10294"/>
                  <a:gd name="connsiteX85" fmla="*/ 1362 w 10003"/>
                  <a:gd name="connsiteY85" fmla="*/ 8379 h 10294"/>
                  <a:gd name="connsiteX86" fmla="*/ 3 w 10003"/>
                  <a:gd name="connsiteY86" fmla="*/ 7088 h 10294"/>
                  <a:gd name="connsiteX87" fmla="*/ 1851 w 10003"/>
                  <a:gd name="connsiteY87" fmla="*/ 9877 h 10294"/>
                  <a:gd name="connsiteX88" fmla="*/ 6229 w 10003"/>
                  <a:gd name="connsiteY88" fmla="*/ 10294 h 10294"/>
                  <a:gd name="connsiteX89" fmla="*/ 8632 w 10003"/>
                  <a:gd name="connsiteY89" fmla="*/ 9231 h 10294"/>
                  <a:gd name="connsiteX90" fmla="*/ 9121 w 10003"/>
                  <a:gd name="connsiteY90" fmla="*/ 8935 h 10294"/>
                  <a:gd name="connsiteX0" fmla="*/ 9120 w 10002"/>
                  <a:gd name="connsiteY0" fmla="*/ 8935 h 10294"/>
                  <a:gd name="connsiteX1" fmla="*/ 10002 w 10002"/>
                  <a:gd name="connsiteY1" fmla="*/ 7381 h 10294"/>
                  <a:gd name="connsiteX2" fmla="*/ 9175 w 10002"/>
                  <a:gd name="connsiteY2" fmla="*/ 7381 h 10294"/>
                  <a:gd name="connsiteX3" fmla="*/ 9175 w 10002"/>
                  <a:gd name="connsiteY3" fmla="*/ 4128 h 10294"/>
                  <a:gd name="connsiteX4" fmla="*/ 7135 w 10002"/>
                  <a:gd name="connsiteY4" fmla="*/ 4128 h 10294"/>
                  <a:gd name="connsiteX5" fmla="*/ 7135 w 10002"/>
                  <a:gd name="connsiteY5" fmla="*/ 3816 h 10294"/>
                  <a:gd name="connsiteX6" fmla="*/ 8766 w 10002"/>
                  <a:gd name="connsiteY6" fmla="*/ 3816 h 10294"/>
                  <a:gd name="connsiteX7" fmla="*/ 8766 w 10002"/>
                  <a:gd name="connsiteY7" fmla="*/ 3498 h 10294"/>
                  <a:gd name="connsiteX8" fmla="*/ 7135 w 10002"/>
                  <a:gd name="connsiteY8" fmla="*/ 3498 h 10294"/>
                  <a:gd name="connsiteX9" fmla="*/ 7135 w 10002"/>
                  <a:gd name="connsiteY9" fmla="*/ 1365 h 10294"/>
                  <a:gd name="connsiteX10" fmla="*/ 4735 w 10002"/>
                  <a:gd name="connsiteY10" fmla="*/ 550 h 10294"/>
                  <a:gd name="connsiteX11" fmla="*/ 4735 w 10002"/>
                  <a:gd name="connsiteY11" fmla="*/ 5672 h 10294"/>
                  <a:gd name="connsiteX12" fmla="*/ 4355 w 10002"/>
                  <a:gd name="connsiteY12" fmla="*/ 5678 h 10294"/>
                  <a:gd name="connsiteX13" fmla="*/ 4355 w 10002"/>
                  <a:gd name="connsiteY13" fmla="*/ 1756 h 10294"/>
                  <a:gd name="connsiteX14" fmla="*/ 3548 w 10002"/>
                  <a:gd name="connsiteY14" fmla="*/ 2061 h 10294"/>
                  <a:gd name="connsiteX15" fmla="*/ 3112 w 10002"/>
                  <a:gd name="connsiteY15" fmla="*/ 2061 h 10294"/>
                  <a:gd name="connsiteX16" fmla="*/ 3112 w 10002"/>
                  <a:gd name="connsiteY16" fmla="*/ 0 h 10294"/>
                  <a:gd name="connsiteX17" fmla="*/ 2951 w 10002"/>
                  <a:gd name="connsiteY17" fmla="*/ 0 h 10294"/>
                  <a:gd name="connsiteX18" fmla="*/ 2951 w 10002"/>
                  <a:gd name="connsiteY18" fmla="*/ 2061 h 10294"/>
                  <a:gd name="connsiteX19" fmla="*/ 2581 w 10002"/>
                  <a:gd name="connsiteY19" fmla="*/ 2061 h 10294"/>
                  <a:gd name="connsiteX20" fmla="*/ 2581 w 10002"/>
                  <a:gd name="connsiteY20" fmla="*/ 2492 h 10294"/>
                  <a:gd name="connsiteX21" fmla="*/ 1916 w 10002"/>
                  <a:gd name="connsiteY21" fmla="*/ 2815 h 10294"/>
                  <a:gd name="connsiteX22" fmla="*/ 1916 w 10002"/>
                  <a:gd name="connsiteY22" fmla="*/ 4413 h 10294"/>
                  <a:gd name="connsiteX23" fmla="*/ 1560 w 10002"/>
                  <a:gd name="connsiteY23" fmla="*/ 4413 h 10294"/>
                  <a:gd name="connsiteX24" fmla="*/ 1560 w 10002"/>
                  <a:gd name="connsiteY24" fmla="*/ 4837 h 10294"/>
                  <a:gd name="connsiteX25" fmla="*/ 1916 w 10002"/>
                  <a:gd name="connsiteY25" fmla="*/ 4837 h 10294"/>
                  <a:gd name="connsiteX26" fmla="*/ 1916 w 10002"/>
                  <a:gd name="connsiteY26" fmla="*/ 5367 h 10294"/>
                  <a:gd name="connsiteX27" fmla="*/ 1560 w 10002"/>
                  <a:gd name="connsiteY27" fmla="*/ 5367 h 10294"/>
                  <a:gd name="connsiteX28" fmla="*/ 1560 w 10002"/>
                  <a:gd name="connsiteY28" fmla="*/ 5791 h 10294"/>
                  <a:gd name="connsiteX29" fmla="*/ 1916 w 10002"/>
                  <a:gd name="connsiteY29" fmla="*/ 5791 h 10294"/>
                  <a:gd name="connsiteX30" fmla="*/ 1916 w 10002"/>
                  <a:gd name="connsiteY30" fmla="*/ 7043 h 10294"/>
                  <a:gd name="connsiteX31" fmla="*/ 855 w 10002"/>
                  <a:gd name="connsiteY31" fmla="*/ 7043 h 10294"/>
                  <a:gd name="connsiteX32" fmla="*/ 855 w 10002"/>
                  <a:gd name="connsiteY32" fmla="*/ 7818 h 10294"/>
                  <a:gd name="connsiteX33" fmla="*/ 1399 w 10002"/>
                  <a:gd name="connsiteY33" fmla="*/ 7838 h 10294"/>
                  <a:gd name="connsiteX34" fmla="*/ 2136 w 10002"/>
                  <a:gd name="connsiteY34" fmla="*/ 7315 h 10294"/>
                  <a:gd name="connsiteX35" fmla="*/ 2130 w 10002"/>
                  <a:gd name="connsiteY35" fmla="*/ 7818 h 10294"/>
                  <a:gd name="connsiteX36" fmla="*/ 2809 w 10002"/>
                  <a:gd name="connsiteY36" fmla="*/ 7368 h 10294"/>
                  <a:gd name="connsiteX37" fmla="*/ 2809 w 10002"/>
                  <a:gd name="connsiteY37" fmla="*/ 7818 h 10294"/>
                  <a:gd name="connsiteX38" fmla="*/ 3480 w 10002"/>
                  <a:gd name="connsiteY38" fmla="*/ 7361 h 10294"/>
                  <a:gd name="connsiteX39" fmla="*/ 3486 w 10002"/>
                  <a:gd name="connsiteY39" fmla="*/ 7811 h 10294"/>
                  <a:gd name="connsiteX40" fmla="*/ 4132 w 10002"/>
                  <a:gd name="connsiteY40" fmla="*/ 7328 h 10294"/>
                  <a:gd name="connsiteX41" fmla="*/ 4132 w 10002"/>
                  <a:gd name="connsiteY41" fmla="*/ 8613 h 10294"/>
                  <a:gd name="connsiteX42" fmla="*/ 4207 w 10002"/>
                  <a:gd name="connsiteY42" fmla="*/ 8520 h 10294"/>
                  <a:gd name="connsiteX43" fmla="*/ 4280 w 10002"/>
                  <a:gd name="connsiteY43" fmla="*/ 8434 h 10294"/>
                  <a:gd name="connsiteX44" fmla="*/ 4370 w 10002"/>
                  <a:gd name="connsiteY44" fmla="*/ 8361 h 10294"/>
                  <a:gd name="connsiteX45" fmla="*/ 4469 w 10002"/>
                  <a:gd name="connsiteY45" fmla="*/ 8295 h 10294"/>
                  <a:gd name="connsiteX46" fmla="*/ 4569 w 10002"/>
                  <a:gd name="connsiteY46" fmla="*/ 8249 h 10294"/>
                  <a:gd name="connsiteX47" fmla="*/ 4676 w 10002"/>
                  <a:gd name="connsiteY47" fmla="*/ 8215 h 10294"/>
                  <a:gd name="connsiteX48" fmla="*/ 4788 w 10002"/>
                  <a:gd name="connsiteY48" fmla="*/ 8189 h 10294"/>
                  <a:gd name="connsiteX49" fmla="*/ 4917 w 10002"/>
                  <a:gd name="connsiteY49" fmla="*/ 8182 h 10294"/>
                  <a:gd name="connsiteX50" fmla="*/ 5093 w 10002"/>
                  <a:gd name="connsiteY50" fmla="*/ 8195 h 10294"/>
                  <a:gd name="connsiteX51" fmla="*/ 5268 w 10002"/>
                  <a:gd name="connsiteY51" fmla="*/ 8242 h 10294"/>
                  <a:gd name="connsiteX52" fmla="*/ 5408 w 10002"/>
                  <a:gd name="connsiteY52" fmla="*/ 8321 h 10294"/>
                  <a:gd name="connsiteX53" fmla="*/ 5551 w 10002"/>
                  <a:gd name="connsiteY53" fmla="*/ 8421 h 10294"/>
                  <a:gd name="connsiteX54" fmla="*/ 5672 w 10002"/>
                  <a:gd name="connsiteY54" fmla="*/ 8540 h 10294"/>
                  <a:gd name="connsiteX55" fmla="*/ 5752 w 10002"/>
                  <a:gd name="connsiteY55" fmla="*/ 8686 h 10294"/>
                  <a:gd name="connsiteX56" fmla="*/ 5826 w 10002"/>
                  <a:gd name="connsiteY56" fmla="*/ 8838 h 10294"/>
                  <a:gd name="connsiteX57" fmla="*/ 5851 w 10002"/>
                  <a:gd name="connsiteY57" fmla="*/ 9004 h 10294"/>
                  <a:gd name="connsiteX58" fmla="*/ 5885 w 10002"/>
                  <a:gd name="connsiteY58" fmla="*/ 8997 h 10294"/>
                  <a:gd name="connsiteX59" fmla="*/ 5912 w 10002"/>
                  <a:gd name="connsiteY59" fmla="*/ 8997 h 10294"/>
                  <a:gd name="connsiteX60" fmla="*/ 5939 w 10002"/>
                  <a:gd name="connsiteY60" fmla="*/ 8991 h 10294"/>
                  <a:gd name="connsiteX61" fmla="*/ 5965 w 10002"/>
                  <a:gd name="connsiteY61" fmla="*/ 8991 h 10294"/>
                  <a:gd name="connsiteX62" fmla="*/ 5999 w 10002"/>
                  <a:gd name="connsiteY62" fmla="*/ 8984 h 10294"/>
                  <a:gd name="connsiteX63" fmla="*/ 6031 w 10002"/>
                  <a:gd name="connsiteY63" fmla="*/ 8984 h 10294"/>
                  <a:gd name="connsiteX64" fmla="*/ 6059 w 10002"/>
                  <a:gd name="connsiteY64" fmla="*/ 8984 h 10294"/>
                  <a:gd name="connsiteX65" fmla="*/ 6094 w 10002"/>
                  <a:gd name="connsiteY65" fmla="*/ 8984 h 10294"/>
                  <a:gd name="connsiteX66" fmla="*/ 6234 w 10002"/>
                  <a:gd name="connsiteY66" fmla="*/ 8991 h 10294"/>
                  <a:gd name="connsiteX67" fmla="*/ 6362 w 10002"/>
                  <a:gd name="connsiteY67" fmla="*/ 9024 h 10294"/>
                  <a:gd name="connsiteX68" fmla="*/ 6489 w 10002"/>
                  <a:gd name="connsiteY68" fmla="*/ 9070 h 10294"/>
                  <a:gd name="connsiteX69" fmla="*/ 6605 w 10002"/>
                  <a:gd name="connsiteY69" fmla="*/ 9137 h 10294"/>
                  <a:gd name="connsiteX70" fmla="*/ 6711 w 10002"/>
                  <a:gd name="connsiteY70" fmla="*/ 9216 h 10294"/>
                  <a:gd name="connsiteX71" fmla="*/ 6806 w 10002"/>
                  <a:gd name="connsiteY71" fmla="*/ 9302 h 10294"/>
                  <a:gd name="connsiteX72" fmla="*/ 6881 w 10002"/>
                  <a:gd name="connsiteY72" fmla="*/ 9415 h 10294"/>
                  <a:gd name="connsiteX73" fmla="*/ 6948 w 10002"/>
                  <a:gd name="connsiteY73" fmla="*/ 9527 h 10294"/>
                  <a:gd name="connsiteX74" fmla="*/ 3112 w 10002"/>
                  <a:gd name="connsiteY74" fmla="*/ 9527 h 10294"/>
                  <a:gd name="connsiteX75" fmla="*/ 3151 w 10002"/>
                  <a:gd name="connsiteY75" fmla="*/ 9441 h 10294"/>
                  <a:gd name="connsiteX76" fmla="*/ 3205 w 10002"/>
                  <a:gd name="connsiteY76" fmla="*/ 9355 h 10294"/>
                  <a:gd name="connsiteX77" fmla="*/ 3260 w 10002"/>
                  <a:gd name="connsiteY77" fmla="*/ 9289 h 10294"/>
                  <a:gd name="connsiteX78" fmla="*/ 3331 w 10002"/>
                  <a:gd name="connsiteY78" fmla="*/ 9223 h 10294"/>
                  <a:gd name="connsiteX79" fmla="*/ 3399 w 10002"/>
                  <a:gd name="connsiteY79" fmla="*/ 9170 h 10294"/>
                  <a:gd name="connsiteX80" fmla="*/ 3480 w 10002"/>
                  <a:gd name="connsiteY80" fmla="*/ 9117 h 10294"/>
                  <a:gd name="connsiteX81" fmla="*/ 3561 w 10002"/>
                  <a:gd name="connsiteY81" fmla="*/ 9077 h 10294"/>
                  <a:gd name="connsiteX82" fmla="*/ 3656 w 10002"/>
                  <a:gd name="connsiteY82" fmla="*/ 9044 h 10294"/>
                  <a:gd name="connsiteX83" fmla="*/ 3656 w 10002"/>
                  <a:gd name="connsiteY83" fmla="*/ 8195 h 10294"/>
                  <a:gd name="connsiteX84" fmla="*/ 1541 w 10002"/>
                  <a:gd name="connsiteY84" fmla="*/ 8282 h 10294"/>
                  <a:gd name="connsiteX85" fmla="*/ 2 w 10002"/>
                  <a:gd name="connsiteY85" fmla="*/ 7088 h 10294"/>
                  <a:gd name="connsiteX86" fmla="*/ 1850 w 10002"/>
                  <a:gd name="connsiteY86" fmla="*/ 9877 h 10294"/>
                  <a:gd name="connsiteX87" fmla="*/ 6228 w 10002"/>
                  <a:gd name="connsiteY87" fmla="*/ 10294 h 10294"/>
                  <a:gd name="connsiteX88" fmla="*/ 8631 w 10002"/>
                  <a:gd name="connsiteY88" fmla="*/ 9231 h 10294"/>
                  <a:gd name="connsiteX89" fmla="*/ 9120 w 10002"/>
                  <a:gd name="connsiteY89" fmla="*/ 8935 h 10294"/>
                  <a:gd name="connsiteX0" fmla="*/ 9120 w 10002"/>
                  <a:gd name="connsiteY0" fmla="*/ 8935 h 10474"/>
                  <a:gd name="connsiteX1" fmla="*/ 10002 w 10002"/>
                  <a:gd name="connsiteY1" fmla="*/ 7381 h 10474"/>
                  <a:gd name="connsiteX2" fmla="*/ 9175 w 10002"/>
                  <a:gd name="connsiteY2" fmla="*/ 7381 h 10474"/>
                  <a:gd name="connsiteX3" fmla="*/ 9175 w 10002"/>
                  <a:gd name="connsiteY3" fmla="*/ 4128 h 10474"/>
                  <a:gd name="connsiteX4" fmla="*/ 7135 w 10002"/>
                  <a:gd name="connsiteY4" fmla="*/ 4128 h 10474"/>
                  <a:gd name="connsiteX5" fmla="*/ 7135 w 10002"/>
                  <a:gd name="connsiteY5" fmla="*/ 3816 h 10474"/>
                  <a:gd name="connsiteX6" fmla="*/ 8766 w 10002"/>
                  <a:gd name="connsiteY6" fmla="*/ 3816 h 10474"/>
                  <a:gd name="connsiteX7" fmla="*/ 8766 w 10002"/>
                  <a:gd name="connsiteY7" fmla="*/ 3498 h 10474"/>
                  <a:gd name="connsiteX8" fmla="*/ 7135 w 10002"/>
                  <a:gd name="connsiteY8" fmla="*/ 3498 h 10474"/>
                  <a:gd name="connsiteX9" fmla="*/ 7135 w 10002"/>
                  <a:gd name="connsiteY9" fmla="*/ 1365 h 10474"/>
                  <a:gd name="connsiteX10" fmla="*/ 4735 w 10002"/>
                  <a:gd name="connsiteY10" fmla="*/ 550 h 10474"/>
                  <a:gd name="connsiteX11" fmla="*/ 4735 w 10002"/>
                  <a:gd name="connsiteY11" fmla="*/ 5672 h 10474"/>
                  <a:gd name="connsiteX12" fmla="*/ 4355 w 10002"/>
                  <a:gd name="connsiteY12" fmla="*/ 5678 h 10474"/>
                  <a:gd name="connsiteX13" fmla="*/ 4355 w 10002"/>
                  <a:gd name="connsiteY13" fmla="*/ 1756 h 10474"/>
                  <a:gd name="connsiteX14" fmla="*/ 3548 w 10002"/>
                  <a:gd name="connsiteY14" fmla="*/ 2061 h 10474"/>
                  <a:gd name="connsiteX15" fmla="*/ 3112 w 10002"/>
                  <a:gd name="connsiteY15" fmla="*/ 2061 h 10474"/>
                  <a:gd name="connsiteX16" fmla="*/ 3112 w 10002"/>
                  <a:gd name="connsiteY16" fmla="*/ 0 h 10474"/>
                  <a:gd name="connsiteX17" fmla="*/ 2951 w 10002"/>
                  <a:gd name="connsiteY17" fmla="*/ 0 h 10474"/>
                  <a:gd name="connsiteX18" fmla="*/ 2951 w 10002"/>
                  <a:gd name="connsiteY18" fmla="*/ 2061 h 10474"/>
                  <a:gd name="connsiteX19" fmla="*/ 2581 w 10002"/>
                  <a:gd name="connsiteY19" fmla="*/ 2061 h 10474"/>
                  <a:gd name="connsiteX20" fmla="*/ 2581 w 10002"/>
                  <a:gd name="connsiteY20" fmla="*/ 2492 h 10474"/>
                  <a:gd name="connsiteX21" fmla="*/ 1916 w 10002"/>
                  <a:gd name="connsiteY21" fmla="*/ 2815 h 10474"/>
                  <a:gd name="connsiteX22" fmla="*/ 1916 w 10002"/>
                  <a:gd name="connsiteY22" fmla="*/ 4413 h 10474"/>
                  <a:gd name="connsiteX23" fmla="*/ 1560 w 10002"/>
                  <a:gd name="connsiteY23" fmla="*/ 4413 h 10474"/>
                  <a:gd name="connsiteX24" fmla="*/ 1560 w 10002"/>
                  <a:gd name="connsiteY24" fmla="*/ 4837 h 10474"/>
                  <a:gd name="connsiteX25" fmla="*/ 1916 w 10002"/>
                  <a:gd name="connsiteY25" fmla="*/ 4837 h 10474"/>
                  <a:gd name="connsiteX26" fmla="*/ 1916 w 10002"/>
                  <a:gd name="connsiteY26" fmla="*/ 5367 h 10474"/>
                  <a:gd name="connsiteX27" fmla="*/ 1560 w 10002"/>
                  <a:gd name="connsiteY27" fmla="*/ 5367 h 10474"/>
                  <a:gd name="connsiteX28" fmla="*/ 1560 w 10002"/>
                  <a:gd name="connsiteY28" fmla="*/ 5791 h 10474"/>
                  <a:gd name="connsiteX29" fmla="*/ 1916 w 10002"/>
                  <a:gd name="connsiteY29" fmla="*/ 5791 h 10474"/>
                  <a:gd name="connsiteX30" fmla="*/ 1916 w 10002"/>
                  <a:gd name="connsiteY30" fmla="*/ 7043 h 10474"/>
                  <a:gd name="connsiteX31" fmla="*/ 855 w 10002"/>
                  <a:gd name="connsiteY31" fmla="*/ 7043 h 10474"/>
                  <a:gd name="connsiteX32" fmla="*/ 855 w 10002"/>
                  <a:gd name="connsiteY32" fmla="*/ 7818 h 10474"/>
                  <a:gd name="connsiteX33" fmla="*/ 1399 w 10002"/>
                  <a:gd name="connsiteY33" fmla="*/ 7838 h 10474"/>
                  <a:gd name="connsiteX34" fmla="*/ 2136 w 10002"/>
                  <a:gd name="connsiteY34" fmla="*/ 7315 h 10474"/>
                  <a:gd name="connsiteX35" fmla="*/ 2130 w 10002"/>
                  <a:gd name="connsiteY35" fmla="*/ 7818 h 10474"/>
                  <a:gd name="connsiteX36" fmla="*/ 2809 w 10002"/>
                  <a:gd name="connsiteY36" fmla="*/ 7368 h 10474"/>
                  <a:gd name="connsiteX37" fmla="*/ 2809 w 10002"/>
                  <a:gd name="connsiteY37" fmla="*/ 7818 h 10474"/>
                  <a:gd name="connsiteX38" fmla="*/ 3480 w 10002"/>
                  <a:gd name="connsiteY38" fmla="*/ 7361 h 10474"/>
                  <a:gd name="connsiteX39" fmla="*/ 3486 w 10002"/>
                  <a:gd name="connsiteY39" fmla="*/ 7811 h 10474"/>
                  <a:gd name="connsiteX40" fmla="*/ 4132 w 10002"/>
                  <a:gd name="connsiteY40" fmla="*/ 7328 h 10474"/>
                  <a:gd name="connsiteX41" fmla="*/ 4132 w 10002"/>
                  <a:gd name="connsiteY41" fmla="*/ 8613 h 10474"/>
                  <a:gd name="connsiteX42" fmla="*/ 4207 w 10002"/>
                  <a:gd name="connsiteY42" fmla="*/ 8520 h 10474"/>
                  <a:gd name="connsiteX43" fmla="*/ 4280 w 10002"/>
                  <a:gd name="connsiteY43" fmla="*/ 8434 h 10474"/>
                  <a:gd name="connsiteX44" fmla="*/ 4370 w 10002"/>
                  <a:gd name="connsiteY44" fmla="*/ 8361 h 10474"/>
                  <a:gd name="connsiteX45" fmla="*/ 4469 w 10002"/>
                  <a:gd name="connsiteY45" fmla="*/ 8295 h 10474"/>
                  <a:gd name="connsiteX46" fmla="*/ 4569 w 10002"/>
                  <a:gd name="connsiteY46" fmla="*/ 8249 h 10474"/>
                  <a:gd name="connsiteX47" fmla="*/ 4676 w 10002"/>
                  <a:gd name="connsiteY47" fmla="*/ 8215 h 10474"/>
                  <a:gd name="connsiteX48" fmla="*/ 4788 w 10002"/>
                  <a:gd name="connsiteY48" fmla="*/ 8189 h 10474"/>
                  <a:gd name="connsiteX49" fmla="*/ 4917 w 10002"/>
                  <a:gd name="connsiteY49" fmla="*/ 8182 h 10474"/>
                  <a:gd name="connsiteX50" fmla="*/ 5093 w 10002"/>
                  <a:gd name="connsiteY50" fmla="*/ 8195 h 10474"/>
                  <a:gd name="connsiteX51" fmla="*/ 5268 w 10002"/>
                  <a:gd name="connsiteY51" fmla="*/ 8242 h 10474"/>
                  <a:gd name="connsiteX52" fmla="*/ 5408 w 10002"/>
                  <a:gd name="connsiteY52" fmla="*/ 8321 h 10474"/>
                  <a:gd name="connsiteX53" fmla="*/ 5551 w 10002"/>
                  <a:gd name="connsiteY53" fmla="*/ 8421 h 10474"/>
                  <a:gd name="connsiteX54" fmla="*/ 5672 w 10002"/>
                  <a:gd name="connsiteY54" fmla="*/ 8540 h 10474"/>
                  <a:gd name="connsiteX55" fmla="*/ 5752 w 10002"/>
                  <a:gd name="connsiteY55" fmla="*/ 8686 h 10474"/>
                  <a:gd name="connsiteX56" fmla="*/ 5826 w 10002"/>
                  <a:gd name="connsiteY56" fmla="*/ 8838 h 10474"/>
                  <a:gd name="connsiteX57" fmla="*/ 5851 w 10002"/>
                  <a:gd name="connsiteY57" fmla="*/ 9004 h 10474"/>
                  <a:gd name="connsiteX58" fmla="*/ 5885 w 10002"/>
                  <a:gd name="connsiteY58" fmla="*/ 8997 h 10474"/>
                  <a:gd name="connsiteX59" fmla="*/ 5912 w 10002"/>
                  <a:gd name="connsiteY59" fmla="*/ 8997 h 10474"/>
                  <a:gd name="connsiteX60" fmla="*/ 5939 w 10002"/>
                  <a:gd name="connsiteY60" fmla="*/ 8991 h 10474"/>
                  <a:gd name="connsiteX61" fmla="*/ 5965 w 10002"/>
                  <a:gd name="connsiteY61" fmla="*/ 8991 h 10474"/>
                  <a:gd name="connsiteX62" fmla="*/ 5999 w 10002"/>
                  <a:gd name="connsiteY62" fmla="*/ 8984 h 10474"/>
                  <a:gd name="connsiteX63" fmla="*/ 6031 w 10002"/>
                  <a:gd name="connsiteY63" fmla="*/ 8984 h 10474"/>
                  <a:gd name="connsiteX64" fmla="*/ 6059 w 10002"/>
                  <a:gd name="connsiteY64" fmla="*/ 8984 h 10474"/>
                  <a:gd name="connsiteX65" fmla="*/ 6094 w 10002"/>
                  <a:gd name="connsiteY65" fmla="*/ 8984 h 10474"/>
                  <a:gd name="connsiteX66" fmla="*/ 6234 w 10002"/>
                  <a:gd name="connsiteY66" fmla="*/ 8991 h 10474"/>
                  <a:gd name="connsiteX67" fmla="*/ 6362 w 10002"/>
                  <a:gd name="connsiteY67" fmla="*/ 9024 h 10474"/>
                  <a:gd name="connsiteX68" fmla="*/ 6489 w 10002"/>
                  <a:gd name="connsiteY68" fmla="*/ 9070 h 10474"/>
                  <a:gd name="connsiteX69" fmla="*/ 6605 w 10002"/>
                  <a:gd name="connsiteY69" fmla="*/ 9137 h 10474"/>
                  <a:gd name="connsiteX70" fmla="*/ 6711 w 10002"/>
                  <a:gd name="connsiteY70" fmla="*/ 9216 h 10474"/>
                  <a:gd name="connsiteX71" fmla="*/ 6806 w 10002"/>
                  <a:gd name="connsiteY71" fmla="*/ 9302 h 10474"/>
                  <a:gd name="connsiteX72" fmla="*/ 6881 w 10002"/>
                  <a:gd name="connsiteY72" fmla="*/ 9415 h 10474"/>
                  <a:gd name="connsiteX73" fmla="*/ 6948 w 10002"/>
                  <a:gd name="connsiteY73" fmla="*/ 9527 h 10474"/>
                  <a:gd name="connsiteX74" fmla="*/ 3112 w 10002"/>
                  <a:gd name="connsiteY74" fmla="*/ 9527 h 10474"/>
                  <a:gd name="connsiteX75" fmla="*/ 3151 w 10002"/>
                  <a:gd name="connsiteY75" fmla="*/ 9441 h 10474"/>
                  <a:gd name="connsiteX76" fmla="*/ 3205 w 10002"/>
                  <a:gd name="connsiteY76" fmla="*/ 9355 h 10474"/>
                  <a:gd name="connsiteX77" fmla="*/ 3260 w 10002"/>
                  <a:gd name="connsiteY77" fmla="*/ 9289 h 10474"/>
                  <a:gd name="connsiteX78" fmla="*/ 3331 w 10002"/>
                  <a:gd name="connsiteY78" fmla="*/ 9223 h 10474"/>
                  <a:gd name="connsiteX79" fmla="*/ 3399 w 10002"/>
                  <a:gd name="connsiteY79" fmla="*/ 9170 h 10474"/>
                  <a:gd name="connsiteX80" fmla="*/ 3480 w 10002"/>
                  <a:gd name="connsiteY80" fmla="*/ 9117 h 10474"/>
                  <a:gd name="connsiteX81" fmla="*/ 3561 w 10002"/>
                  <a:gd name="connsiteY81" fmla="*/ 9077 h 10474"/>
                  <a:gd name="connsiteX82" fmla="*/ 3656 w 10002"/>
                  <a:gd name="connsiteY82" fmla="*/ 9044 h 10474"/>
                  <a:gd name="connsiteX83" fmla="*/ 3656 w 10002"/>
                  <a:gd name="connsiteY83" fmla="*/ 8195 h 10474"/>
                  <a:gd name="connsiteX84" fmla="*/ 1541 w 10002"/>
                  <a:gd name="connsiteY84" fmla="*/ 8282 h 10474"/>
                  <a:gd name="connsiteX85" fmla="*/ 2 w 10002"/>
                  <a:gd name="connsiteY85" fmla="*/ 7088 h 10474"/>
                  <a:gd name="connsiteX86" fmla="*/ 1850 w 10002"/>
                  <a:gd name="connsiteY86" fmla="*/ 9877 h 10474"/>
                  <a:gd name="connsiteX87" fmla="*/ 6228 w 10002"/>
                  <a:gd name="connsiteY87" fmla="*/ 10294 h 10474"/>
                  <a:gd name="connsiteX88" fmla="*/ 8631 w 10002"/>
                  <a:gd name="connsiteY88" fmla="*/ 9231 h 10474"/>
                  <a:gd name="connsiteX89" fmla="*/ 9120 w 10002"/>
                  <a:gd name="connsiteY89" fmla="*/ 8935 h 10474"/>
                  <a:gd name="connsiteX0" fmla="*/ 9120 w 10002"/>
                  <a:gd name="connsiteY0" fmla="*/ 8935 h 10451"/>
                  <a:gd name="connsiteX1" fmla="*/ 10002 w 10002"/>
                  <a:gd name="connsiteY1" fmla="*/ 7381 h 10451"/>
                  <a:gd name="connsiteX2" fmla="*/ 9175 w 10002"/>
                  <a:gd name="connsiteY2" fmla="*/ 7381 h 10451"/>
                  <a:gd name="connsiteX3" fmla="*/ 9175 w 10002"/>
                  <a:gd name="connsiteY3" fmla="*/ 4128 h 10451"/>
                  <a:gd name="connsiteX4" fmla="*/ 7135 w 10002"/>
                  <a:gd name="connsiteY4" fmla="*/ 4128 h 10451"/>
                  <a:gd name="connsiteX5" fmla="*/ 7135 w 10002"/>
                  <a:gd name="connsiteY5" fmla="*/ 3816 h 10451"/>
                  <a:gd name="connsiteX6" fmla="*/ 8766 w 10002"/>
                  <a:gd name="connsiteY6" fmla="*/ 3816 h 10451"/>
                  <a:gd name="connsiteX7" fmla="*/ 8766 w 10002"/>
                  <a:gd name="connsiteY7" fmla="*/ 3498 h 10451"/>
                  <a:gd name="connsiteX8" fmla="*/ 7135 w 10002"/>
                  <a:gd name="connsiteY8" fmla="*/ 3498 h 10451"/>
                  <a:gd name="connsiteX9" fmla="*/ 7135 w 10002"/>
                  <a:gd name="connsiteY9" fmla="*/ 1365 h 10451"/>
                  <a:gd name="connsiteX10" fmla="*/ 4735 w 10002"/>
                  <a:gd name="connsiteY10" fmla="*/ 550 h 10451"/>
                  <a:gd name="connsiteX11" fmla="*/ 4735 w 10002"/>
                  <a:gd name="connsiteY11" fmla="*/ 5672 h 10451"/>
                  <a:gd name="connsiteX12" fmla="*/ 4355 w 10002"/>
                  <a:gd name="connsiteY12" fmla="*/ 5678 h 10451"/>
                  <a:gd name="connsiteX13" fmla="*/ 4355 w 10002"/>
                  <a:gd name="connsiteY13" fmla="*/ 1756 h 10451"/>
                  <a:gd name="connsiteX14" fmla="*/ 3548 w 10002"/>
                  <a:gd name="connsiteY14" fmla="*/ 2061 h 10451"/>
                  <a:gd name="connsiteX15" fmla="*/ 3112 w 10002"/>
                  <a:gd name="connsiteY15" fmla="*/ 2061 h 10451"/>
                  <a:gd name="connsiteX16" fmla="*/ 3112 w 10002"/>
                  <a:gd name="connsiteY16" fmla="*/ 0 h 10451"/>
                  <a:gd name="connsiteX17" fmla="*/ 2951 w 10002"/>
                  <a:gd name="connsiteY17" fmla="*/ 0 h 10451"/>
                  <a:gd name="connsiteX18" fmla="*/ 2951 w 10002"/>
                  <a:gd name="connsiteY18" fmla="*/ 2061 h 10451"/>
                  <a:gd name="connsiteX19" fmla="*/ 2581 w 10002"/>
                  <a:gd name="connsiteY19" fmla="*/ 2061 h 10451"/>
                  <a:gd name="connsiteX20" fmla="*/ 2581 w 10002"/>
                  <a:gd name="connsiteY20" fmla="*/ 2492 h 10451"/>
                  <a:gd name="connsiteX21" fmla="*/ 1916 w 10002"/>
                  <a:gd name="connsiteY21" fmla="*/ 2815 h 10451"/>
                  <a:gd name="connsiteX22" fmla="*/ 1916 w 10002"/>
                  <a:gd name="connsiteY22" fmla="*/ 4413 h 10451"/>
                  <a:gd name="connsiteX23" fmla="*/ 1560 w 10002"/>
                  <a:gd name="connsiteY23" fmla="*/ 4413 h 10451"/>
                  <a:gd name="connsiteX24" fmla="*/ 1560 w 10002"/>
                  <a:gd name="connsiteY24" fmla="*/ 4837 h 10451"/>
                  <a:gd name="connsiteX25" fmla="*/ 1916 w 10002"/>
                  <a:gd name="connsiteY25" fmla="*/ 4837 h 10451"/>
                  <a:gd name="connsiteX26" fmla="*/ 1916 w 10002"/>
                  <a:gd name="connsiteY26" fmla="*/ 5367 h 10451"/>
                  <a:gd name="connsiteX27" fmla="*/ 1560 w 10002"/>
                  <a:gd name="connsiteY27" fmla="*/ 5367 h 10451"/>
                  <a:gd name="connsiteX28" fmla="*/ 1560 w 10002"/>
                  <a:gd name="connsiteY28" fmla="*/ 5791 h 10451"/>
                  <a:gd name="connsiteX29" fmla="*/ 1916 w 10002"/>
                  <a:gd name="connsiteY29" fmla="*/ 5791 h 10451"/>
                  <a:gd name="connsiteX30" fmla="*/ 1916 w 10002"/>
                  <a:gd name="connsiteY30" fmla="*/ 7043 h 10451"/>
                  <a:gd name="connsiteX31" fmla="*/ 855 w 10002"/>
                  <a:gd name="connsiteY31" fmla="*/ 7043 h 10451"/>
                  <a:gd name="connsiteX32" fmla="*/ 855 w 10002"/>
                  <a:gd name="connsiteY32" fmla="*/ 7818 h 10451"/>
                  <a:gd name="connsiteX33" fmla="*/ 1399 w 10002"/>
                  <a:gd name="connsiteY33" fmla="*/ 7838 h 10451"/>
                  <a:gd name="connsiteX34" fmla="*/ 2136 w 10002"/>
                  <a:gd name="connsiteY34" fmla="*/ 7315 h 10451"/>
                  <a:gd name="connsiteX35" fmla="*/ 2130 w 10002"/>
                  <a:gd name="connsiteY35" fmla="*/ 7818 h 10451"/>
                  <a:gd name="connsiteX36" fmla="*/ 2809 w 10002"/>
                  <a:gd name="connsiteY36" fmla="*/ 7368 h 10451"/>
                  <a:gd name="connsiteX37" fmla="*/ 2809 w 10002"/>
                  <a:gd name="connsiteY37" fmla="*/ 7818 h 10451"/>
                  <a:gd name="connsiteX38" fmla="*/ 3480 w 10002"/>
                  <a:gd name="connsiteY38" fmla="*/ 7361 h 10451"/>
                  <a:gd name="connsiteX39" fmla="*/ 3486 w 10002"/>
                  <a:gd name="connsiteY39" fmla="*/ 7811 h 10451"/>
                  <a:gd name="connsiteX40" fmla="*/ 4132 w 10002"/>
                  <a:gd name="connsiteY40" fmla="*/ 7328 h 10451"/>
                  <a:gd name="connsiteX41" fmla="*/ 4132 w 10002"/>
                  <a:gd name="connsiteY41" fmla="*/ 8613 h 10451"/>
                  <a:gd name="connsiteX42" fmla="*/ 4207 w 10002"/>
                  <a:gd name="connsiteY42" fmla="*/ 8520 h 10451"/>
                  <a:gd name="connsiteX43" fmla="*/ 4280 w 10002"/>
                  <a:gd name="connsiteY43" fmla="*/ 8434 h 10451"/>
                  <a:gd name="connsiteX44" fmla="*/ 4370 w 10002"/>
                  <a:gd name="connsiteY44" fmla="*/ 8361 h 10451"/>
                  <a:gd name="connsiteX45" fmla="*/ 4469 w 10002"/>
                  <a:gd name="connsiteY45" fmla="*/ 8295 h 10451"/>
                  <a:gd name="connsiteX46" fmla="*/ 4569 w 10002"/>
                  <a:gd name="connsiteY46" fmla="*/ 8249 h 10451"/>
                  <a:gd name="connsiteX47" fmla="*/ 4676 w 10002"/>
                  <a:gd name="connsiteY47" fmla="*/ 8215 h 10451"/>
                  <a:gd name="connsiteX48" fmla="*/ 4788 w 10002"/>
                  <a:gd name="connsiteY48" fmla="*/ 8189 h 10451"/>
                  <a:gd name="connsiteX49" fmla="*/ 4917 w 10002"/>
                  <a:gd name="connsiteY49" fmla="*/ 8182 h 10451"/>
                  <a:gd name="connsiteX50" fmla="*/ 5093 w 10002"/>
                  <a:gd name="connsiteY50" fmla="*/ 8195 h 10451"/>
                  <a:gd name="connsiteX51" fmla="*/ 5268 w 10002"/>
                  <a:gd name="connsiteY51" fmla="*/ 8242 h 10451"/>
                  <a:gd name="connsiteX52" fmla="*/ 5408 w 10002"/>
                  <a:gd name="connsiteY52" fmla="*/ 8321 h 10451"/>
                  <a:gd name="connsiteX53" fmla="*/ 5551 w 10002"/>
                  <a:gd name="connsiteY53" fmla="*/ 8421 h 10451"/>
                  <a:gd name="connsiteX54" fmla="*/ 5672 w 10002"/>
                  <a:gd name="connsiteY54" fmla="*/ 8540 h 10451"/>
                  <a:gd name="connsiteX55" fmla="*/ 5752 w 10002"/>
                  <a:gd name="connsiteY55" fmla="*/ 8686 h 10451"/>
                  <a:gd name="connsiteX56" fmla="*/ 5826 w 10002"/>
                  <a:gd name="connsiteY56" fmla="*/ 8838 h 10451"/>
                  <a:gd name="connsiteX57" fmla="*/ 5851 w 10002"/>
                  <a:gd name="connsiteY57" fmla="*/ 9004 h 10451"/>
                  <a:gd name="connsiteX58" fmla="*/ 5885 w 10002"/>
                  <a:gd name="connsiteY58" fmla="*/ 8997 h 10451"/>
                  <a:gd name="connsiteX59" fmla="*/ 5912 w 10002"/>
                  <a:gd name="connsiteY59" fmla="*/ 8997 h 10451"/>
                  <a:gd name="connsiteX60" fmla="*/ 5939 w 10002"/>
                  <a:gd name="connsiteY60" fmla="*/ 8991 h 10451"/>
                  <a:gd name="connsiteX61" fmla="*/ 5965 w 10002"/>
                  <a:gd name="connsiteY61" fmla="*/ 8991 h 10451"/>
                  <a:gd name="connsiteX62" fmla="*/ 5999 w 10002"/>
                  <a:gd name="connsiteY62" fmla="*/ 8984 h 10451"/>
                  <a:gd name="connsiteX63" fmla="*/ 6031 w 10002"/>
                  <a:gd name="connsiteY63" fmla="*/ 8984 h 10451"/>
                  <a:gd name="connsiteX64" fmla="*/ 6059 w 10002"/>
                  <a:gd name="connsiteY64" fmla="*/ 8984 h 10451"/>
                  <a:gd name="connsiteX65" fmla="*/ 6094 w 10002"/>
                  <a:gd name="connsiteY65" fmla="*/ 8984 h 10451"/>
                  <a:gd name="connsiteX66" fmla="*/ 6234 w 10002"/>
                  <a:gd name="connsiteY66" fmla="*/ 8991 h 10451"/>
                  <a:gd name="connsiteX67" fmla="*/ 6362 w 10002"/>
                  <a:gd name="connsiteY67" fmla="*/ 9024 h 10451"/>
                  <a:gd name="connsiteX68" fmla="*/ 6489 w 10002"/>
                  <a:gd name="connsiteY68" fmla="*/ 9070 h 10451"/>
                  <a:gd name="connsiteX69" fmla="*/ 6605 w 10002"/>
                  <a:gd name="connsiteY69" fmla="*/ 9137 h 10451"/>
                  <a:gd name="connsiteX70" fmla="*/ 6711 w 10002"/>
                  <a:gd name="connsiteY70" fmla="*/ 9216 h 10451"/>
                  <a:gd name="connsiteX71" fmla="*/ 6806 w 10002"/>
                  <a:gd name="connsiteY71" fmla="*/ 9302 h 10451"/>
                  <a:gd name="connsiteX72" fmla="*/ 6881 w 10002"/>
                  <a:gd name="connsiteY72" fmla="*/ 9415 h 10451"/>
                  <a:gd name="connsiteX73" fmla="*/ 6948 w 10002"/>
                  <a:gd name="connsiteY73" fmla="*/ 9527 h 10451"/>
                  <a:gd name="connsiteX74" fmla="*/ 3112 w 10002"/>
                  <a:gd name="connsiteY74" fmla="*/ 9527 h 10451"/>
                  <a:gd name="connsiteX75" fmla="*/ 3151 w 10002"/>
                  <a:gd name="connsiteY75" fmla="*/ 9441 h 10451"/>
                  <a:gd name="connsiteX76" fmla="*/ 3205 w 10002"/>
                  <a:gd name="connsiteY76" fmla="*/ 9355 h 10451"/>
                  <a:gd name="connsiteX77" fmla="*/ 3260 w 10002"/>
                  <a:gd name="connsiteY77" fmla="*/ 9289 h 10451"/>
                  <a:gd name="connsiteX78" fmla="*/ 3331 w 10002"/>
                  <a:gd name="connsiteY78" fmla="*/ 9223 h 10451"/>
                  <a:gd name="connsiteX79" fmla="*/ 3399 w 10002"/>
                  <a:gd name="connsiteY79" fmla="*/ 9170 h 10451"/>
                  <a:gd name="connsiteX80" fmla="*/ 3480 w 10002"/>
                  <a:gd name="connsiteY80" fmla="*/ 9117 h 10451"/>
                  <a:gd name="connsiteX81" fmla="*/ 3561 w 10002"/>
                  <a:gd name="connsiteY81" fmla="*/ 9077 h 10451"/>
                  <a:gd name="connsiteX82" fmla="*/ 3656 w 10002"/>
                  <a:gd name="connsiteY82" fmla="*/ 9044 h 10451"/>
                  <a:gd name="connsiteX83" fmla="*/ 3656 w 10002"/>
                  <a:gd name="connsiteY83" fmla="*/ 8195 h 10451"/>
                  <a:gd name="connsiteX84" fmla="*/ 1541 w 10002"/>
                  <a:gd name="connsiteY84" fmla="*/ 8282 h 10451"/>
                  <a:gd name="connsiteX85" fmla="*/ 2 w 10002"/>
                  <a:gd name="connsiteY85" fmla="*/ 7088 h 10451"/>
                  <a:gd name="connsiteX86" fmla="*/ 1850 w 10002"/>
                  <a:gd name="connsiteY86" fmla="*/ 9877 h 10451"/>
                  <a:gd name="connsiteX87" fmla="*/ 6228 w 10002"/>
                  <a:gd name="connsiteY87" fmla="*/ 10294 h 10451"/>
                  <a:gd name="connsiteX88" fmla="*/ 8631 w 10002"/>
                  <a:gd name="connsiteY88" fmla="*/ 9231 h 10451"/>
                  <a:gd name="connsiteX89" fmla="*/ 9120 w 10002"/>
                  <a:gd name="connsiteY89" fmla="*/ 8935 h 10451"/>
                  <a:gd name="connsiteX0" fmla="*/ 9120 w 10002"/>
                  <a:gd name="connsiteY0" fmla="*/ 8935 h 10346"/>
                  <a:gd name="connsiteX1" fmla="*/ 10002 w 10002"/>
                  <a:gd name="connsiteY1" fmla="*/ 7381 h 10346"/>
                  <a:gd name="connsiteX2" fmla="*/ 9175 w 10002"/>
                  <a:gd name="connsiteY2" fmla="*/ 7381 h 10346"/>
                  <a:gd name="connsiteX3" fmla="*/ 9175 w 10002"/>
                  <a:gd name="connsiteY3" fmla="*/ 4128 h 10346"/>
                  <a:gd name="connsiteX4" fmla="*/ 7135 w 10002"/>
                  <a:gd name="connsiteY4" fmla="*/ 4128 h 10346"/>
                  <a:gd name="connsiteX5" fmla="*/ 7135 w 10002"/>
                  <a:gd name="connsiteY5" fmla="*/ 3816 h 10346"/>
                  <a:gd name="connsiteX6" fmla="*/ 8766 w 10002"/>
                  <a:gd name="connsiteY6" fmla="*/ 3816 h 10346"/>
                  <a:gd name="connsiteX7" fmla="*/ 8766 w 10002"/>
                  <a:gd name="connsiteY7" fmla="*/ 3498 h 10346"/>
                  <a:gd name="connsiteX8" fmla="*/ 7135 w 10002"/>
                  <a:gd name="connsiteY8" fmla="*/ 3498 h 10346"/>
                  <a:gd name="connsiteX9" fmla="*/ 7135 w 10002"/>
                  <a:gd name="connsiteY9" fmla="*/ 1365 h 10346"/>
                  <a:gd name="connsiteX10" fmla="*/ 4735 w 10002"/>
                  <a:gd name="connsiteY10" fmla="*/ 550 h 10346"/>
                  <a:gd name="connsiteX11" fmla="*/ 4735 w 10002"/>
                  <a:gd name="connsiteY11" fmla="*/ 5672 h 10346"/>
                  <a:gd name="connsiteX12" fmla="*/ 4355 w 10002"/>
                  <a:gd name="connsiteY12" fmla="*/ 5678 h 10346"/>
                  <a:gd name="connsiteX13" fmla="*/ 4355 w 10002"/>
                  <a:gd name="connsiteY13" fmla="*/ 1756 h 10346"/>
                  <a:gd name="connsiteX14" fmla="*/ 3548 w 10002"/>
                  <a:gd name="connsiteY14" fmla="*/ 2061 h 10346"/>
                  <a:gd name="connsiteX15" fmla="*/ 3112 w 10002"/>
                  <a:gd name="connsiteY15" fmla="*/ 2061 h 10346"/>
                  <a:gd name="connsiteX16" fmla="*/ 3112 w 10002"/>
                  <a:gd name="connsiteY16" fmla="*/ 0 h 10346"/>
                  <a:gd name="connsiteX17" fmla="*/ 2951 w 10002"/>
                  <a:gd name="connsiteY17" fmla="*/ 0 h 10346"/>
                  <a:gd name="connsiteX18" fmla="*/ 2951 w 10002"/>
                  <a:gd name="connsiteY18" fmla="*/ 2061 h 10346"/>
                  <a:gd name="connsiteX19" fmla="*/ 2581 w 10002"/>
                  <a:gd name="connsiteY19" fmla="*/ 2061 h 10346"/>
                  <a:gd name="connsiteX20" fmla="*/ 2581 w 10002"/>
                  <a:gd name="connsiteY20" fmla="*/ 2492 h 10346"/>
                  <a:gd name="connsiteX21" fmla="*/ 1916 w 10002"/>
                  <a:gd name="connsiteY21" fmla="*/ 2815 h 10346"/>
                  <a:gd name="connsiteX22" fmla="*/ 1916 w 10002"/>
                  <a:gd name="connsiteY22" fmla="*/ 4413 h 10346"/>
                  <a:gd name="connsiteX23" fmla="*/ 1560 w 10002"/>
                  <a:gd name="connsiteY23" fmla="*/ 4413 h 10346"/>
                  <a:gd name="connsiteX24" fmla="*/ 1560 w 10002"/>
                  <a:gd name="connsiteY24" fmla="*/ 4837 h 10346"/>
                  <a:gd name="connsiteX25" fmla="*/ 1916 w 10002"/>
                  <a:gd name="connsiteY25" fmla="*/ 4837 h 10346"/>
                  <a:gd name="connsiteX26" fmla="*/ 1916 w 10002"/>
                  <a:gd name="connsiteY26" fmla="*/ 5367 h 10346"/>
                  <a:gd name="connsiteX27" fmla="*/ 1560 w 10002"/>
                  <a:gd name="connsiteY27" fmla="*/ 5367 h 10346"/>
                  <a:gd name="connsiteX28" fmla="*/ 1560 w 10002"/>
                  <a:gd name="connsiteY28" fmla="*/ 5791 h 10346"/>
                  <a:gd name="connsiteX29" fmla="*/ 1916 w 10002"/>
                  <a:gd name="connsiteY29" fmla="*/ 5791 h 10346"/>
                  <a:gd name="connsiteX30" fmla="*/ 1916 w 10002"/>
                  <a:gd name="connsiteY30" fmla="*/ 7043 h 10346"/>
                  <a:gd name="connsiteX31" fmla="*/ 855 w 10002"/>
                  <a:gd name="connsiteY31" fmla="*/ 7043 h 10346"/>
                  <a:gd name="connsiteX32" fmla="*/ 855 w 10002"/>
                  <a:gd name="connsiteY32" fmla="*/ 7818 h 10346"/>
                  <a:gd name="connsiteX33" fmla="*/ 1399 w 10002"/>
                  <a:gd name="connsiteY33" fmla="*/ 7838 h 10346"/>
                  <a:gd name="connsiteX34" fmla="*/ 2136 w 10002"/>
                  <a:gd name="connsiteY34" fmla="*/ 7315 h 10346"/>
                  <a:gd name="connsiteX35" fmla="*/ 2130 w 10002"/>
                  <a:gd name="connsiteY35" fmla="*/ 7818 h 10346"/>
                  <a:gd name="connsiteX36" fmla="*/ 2809 w 10002"/>
                  <a:gd name="connsiteY36" fmla="*/ 7368 h 10346"/>
                  <a:gd name="connsiteX37" fmla="*/ 2809 w 10002"/>
                  <a:gd name="connsiteY37" fmla="*/ 7818 h 10346"/>
                  <a:gd name="connsiteX38" fmla="*/ 3480 w 10002"/>
                  <a:gd name="connsiteY38" fmla="*/ 7361 h 10346"/>
                  <a:gd name="connsiteX39" fmla="*/ 3486 w 10002"/>
                  <a:gd name="connsiteY39" fmla="*/ 7811 h 10346"/>
                  <a:gd name="connsiteX40" fmla="*/ 4132 w 10002"/>
                  <a:gd name="connsiteY40" fmla="*/ 7328 h 10346"/>
                  <a:gd name="connsiteX41" fmla="*/ 4132 w 10002"/>
                  <a:gd name="connsiteY41" fmla="*/ 8613 h 10346"/>
                  <a:gd name="connsiteX42" fmla="*/ 4207 w 10002"/>
                  <a:gd name="connsiteY42" fmla="*/ 8520 h 10346"/>
                  <a:gd name="connsiteX43" fmla="*/ 4280 w 10002"/>
                  <a:gd name="connsiteY43" fmla="*/ 8434 h 10346"/>
                  <a:gd name="connsiteX44" fmla="*/ 4370 w 10002"/>
                  <a:gd name="connsiteY44" fmla="*/ 8361 h 10346"/>
                  <a:gd name="connsiteX45" fmla="*/ 4469 w 10002"/>
                  <a:gd name="connsiteY45" fmla="*/ 8295 h 10346"/>
                  <a:gd name="connsiteX46" fmla="*/ 4569 w 10002"/>
                  <a:gd name="connsiteY46" fmla="*/ 8249 h 10346"/>
                  <a:gd name="connsiteX47" fmla="*/ 4676 w 10002"/>
                  <a:gd name="connsiteY47" fmla="*/ 8215 h 10346"/>
                  <a:gd name="connsiteX48" fmla="*/ 4788 w 10002"/>
                  <a:gd name="connsiteY48" fmla="*/ 8189 h 10346"/>
                  <a:gd name="connsiteX49" fmla="*/ 4917 w 10002"/>
                  <a:gd name="connsiteY49" fmla="*/ 8182 h 10346"/>
                  <a:gd name="connsiteX50" fmla="*/ 5093 w 10002"/>
                  <a:gd name="connsiteY50" fmla="*/ 8195 h 10346"/>
                  <a:gd name="connsiteX51" fmla="*/ 5268 w 10002"/>
                  <a:gd name="connsiteY51" fmla="*/ 8242 h 10346"/>
                  <a:gd name="connsiteX52" fmla="*/ 5408 w 10002"/>
                  <a:gd name="connsiteY52" fmla="*/ 8321 h 10346"/>
                  <a:gd name="connsiteX53" fmla="*/ 5551 w 10002"/>
                  <a:gd name="connsiteY53" fmla="*/ 8421 h 10346"/>
                  <a:gd name="connsiteX54" fmla="*/ 5672 w 10002"/>
                  <a:gd name="connsiteY54" fmla="*/ 8540 h 10346"/>
                  <a:gd name="connsiteX55" fmla="*/ 5752 w 10002"/>
                  <a:gd name="connsiteY55" fmla="*/ 8686 h 10346"/>
                  <a:gd name="connsiteX56" fmla="*/ 5826 w 10002"/>
                  <a:gd name="connsiteY56" fmla="*/ 8838 h 10346"/>
                  <a:gd name="connsiteX57" fmla="*/ 5851 w 10002"/>
                  <a:gd name="connsiteY57" fmla="*/ 9004 h 10346"/>
                  <a:gd name="connsiteX58" fmla="*/ 5885 w 10002"/>
                  <a:gd name="connsiteY58" fmla="*/ 8997 h 10346"/>
                  <a:gd name="connsiteX59" fmla="*/ 5912 w 10002"/>
                  <a:gd name="connsiteY59" fmla="*/ 8997 h 10346"/>
                  <a:gd name="connsiteX60" fmla="*/ 5939 w 10002"/>
                  <a:gd name="connsiteY60" fmla="*/ 8991 h 10346"/>
                  <a:gd name="connsiteX61" fmla="*/ 5965 w 10002"/>
                  <a:gd name="connsiteY61" fmla="*/ 8991 h 10346"/>
                  <a:gd name="connsiteX62" fmla="*/ 5999 w 10002"/>
                  <a:gd name="connsiteY62" fmla="*/ 8984 h 10346"/>
                  <a:gd name="connsiteX63" fmla="*/ 6031 w 10002"/>
                  <a:gd name="connsiteY63" fmla="*/ 8984 h 10346"/>
                  <a:gd name="connsiteX64" fmla="*/ 6059 w 10002"/>
                  <a:gd name="connsiteY64" fmla="*/ 8984 h 10346"/>
                  <a:gd name="connsiteX65" fmla="*/ 6094 w 10002"/>
                  <a:gd name="connsiteY65" fmla="*/ 8984 h 10346"/>
                  <a:gd name="connsiteX66" fmla="*/ 6234 w 10002"/>
                  <a:gd name="connsiteY66" fmla="*/ 8991 h 10346"/>
                  <a:gd name="connsiteX67" fmla="*/ 6362 w 10002"/>
                  <a:gd name="connsiteY67" fmla="*/ 9024 h 10346"/>
                  <a:gd name="connsiteX68" fmla="*/ 6489 w 10002"/>
                  <a:gd name="connsiteY68" fmla="*/ 9070 h 10346"/>
                  <a:gd name="connsiteX69" fmla="*/ 6605 w 10002"/>
                  <a:gd name="connsiteY69" fmla="*/ 9137 h 10346"/>
                  <a:gd name="connsiteX70" fmla="*/ 6711 w 10002"/>
                  <a:gd name="connsiteY70" fmla="*/ 9216 h 10346"/>
                  <a:gd name="connsiteX71" fmla="*/ 6806 w 10002"/>
                  <a:gd name="connsiteY71" fmla="*/ 9302 h 10346"/>
                  <a:gd name="connsiteX72" fmla="*/ 6881 w 10002"/>
                  <a:gd name="connsiteY72" fmla="*/ 9415 h 10346"/>
                  <a:gd name="connsiteX73" fmla="*/ 6948 w 10002"/>
                  <a:gd name="connsiteY73" fmla="*/ 9527 h 10346"/>
                  <a:gd name="connsiteX74" fmla="*/ 3112 w 10002"/>
                  <a:gd name="connsiteY74" fmla="*/ 9527 h 10346"/>
                  <a:gd name="connsiteX75" fmla="*/ 3151 w 10002"/>
                  <a:gd name="connsiteY75" fmla="*/ 9441 h 10346"/>
                  <a:gd name="connsiteX76" fmla="*/ 3205 w 10002"/>
                  <a:gd name="connsiteY76" fmla="*/ 9355 h 10346"/>
                  <a:gd name="connsiteX77" fmla="*/ 3260 w 10002"/>
                  <a:gd name="connsiteY77" fmla="*/ 9289 h 10346"/>
                  <a:gd name="connsiteX78" fmla="*/ 3331 w 10002"/>
                  <a:gd name="connsiteY78" fmla="*/ 9223 h 10346"/>
                  <a:gd name="connsiteX79" fmla="*/ 3399 w 10002"/>
                  <a:gd name="connsiteY79" fmla="*/ 9170 h 10346"/>
                  <a:gd name="connsiteX80" fmla="*/ 3480 w 10002"/>
                  <a:gd name="connsiteY80" fmla="*/ 9117 h 10346"/>
                  <a:gd name="connsiteX81" fmla="*/ 3561 w 10002"/>
                  <a:gd name="connsiteY81" fmla="*/ 9077 h 10346"/>
                  <a:gd name="connsiteX82" fmla="*/ 3656 w 10002"/>
                  <a:gd name="connsiteY82" fmla="*/ 9044 h 10346"/>
                  <a:gd name="connsiteX83" fmla="*/ 3656 w 10002"/>
                  <a:gd name="connsiteY83" fmla="*/ 8195 h 10346"/>
                  <a:gd name="connsiteX84" fmla="*/ 1541 w 10002"/>
                  <a:gd name="connsiteY84" fmla="*/ 8282 h 10346"/>
                  <a:gd name="connsiteX85" fmla="*/ 2 w 10002"/>
                  <a:gd name="connsiteY85" fmla="*/ 7088 h 10346"/>
                  <a:gd name="connsiteX86" fmla="*/ 2106 w 10002"/>
                  <a:gd name="connsiteY86" fmla="*/ 9555 h 10346"/>
                  <a:gd name="connsiteX87" fmla="*/ 6228 w 10002"/>
                  <a:gd name="connsiteY87" fmla="*/ 10294 h 10346"/>
                  <a:gd name="connsiteX88" fmla="*/ 8631 w 10002"/>
                  <a:gd name="connsiteY88" fmla="*/ 9231 h 10346"/>
                  <a:gd name="connsiteX89" fmla="*/ 9120 w 10002"/>
                  <a:gd name="connsiteY89" fmla="*/ 8935 h 10346"/>
                  <a:gd name="connsiteX0" fmla="*/ 9120 w 10002"/>
                  <a:gd name="connsiteY0" fmla="*/ 8935 h 10454"/>
                  <a:gd name="connsiteX1" fmla="*/ 10002 w 10002"/>
                  <a:gd name="connsiteY1" fmla="*/ 7381 h 10454"/>
                  <a:gd name="connsiteX2" fmla="*/ 9175 w 10002"/>
                  <a:gd name="connsiteY2" fmla="*/ 7381 h 10454"/>
                  <a:gd name="connsiteX3" fmla="*/ 9175 w 10002"/>
                  <a:gd name="connsiteY3" fmla="*/ 4128 h 10454"/>
                  <a:gd name="connsiteX4" fmla="*/ 7135 w 10002"/>
                  <a:gd name="connsiteY4" fmla="*/ 4128 h 10454"/>
                  <a:gd name="connsiteX5" fmla="*/ 7135 w 10002"/>
                  <a:gd name="connsiteY5" fmla="*/ 3816 h 10454"/>
                  <a:gd name="connsiteX6" fmla="*/ 8766 w 10002"/>
                  <a:gd name="connsiteY6" fmla="*/ 3816 h 10454"/>
                  <a:gd name="connsiteX7" fmla="*/ 8766 w 10002"/>
                  <a:gd name="connsiteY7" fmla="*/ 3498 h 10454"/>
                  <a:gd name="connsiteX8" fmla="*/ 7135 w 10002"/>
                  <a:gd name="connsiteY8" fmla="*/ 3498 h 10454"/>
                  <a:gd name="connsiteX9" fmla="*/ 7135 w 10002"/>
                  <a:gd name="connsiteY9" fmla="*/ 1365 h 10454"/>
                  <a:gd name="connsiteX10" fmla="*/ 4735 w 10002"/>
                  <a:gd name="connsiteY10" fmla="*/ 550 h 10454"/>
                  <a:gd name="connsiteX11" fmla="*/ 4735 w 10002"/>
                  <a:gd name="connsiteY11" fmla="*/ 5672 h 10454"/>
                  <a:gd name="connsiteX12" fmla="*/ 4355 w 10002"/>
                  <a:gd name="connsiteY12" fmla="*/ 5678 h 10454"/>
                  <a:gd name="connsiteX13" fmla="*/ 4355 w 10002"/>
                  <a:gd name="connsiteY13" fmla="*/ 1756 h 10454"/>
                  <a:gd name="connsiteX14" fmla="*/ 3548 w 10002"/>
                  <a:gd name="connsiteY14" fmla="*/ 2061 h 10454"/>
                  <a:gd name="connsiteX15" fmla="*/ 3112 w 10002"/>
                  <a:gd name="connsiteY15" fmla="*/ 2061 h 10454"/>
                  <a:gd name="connsiteX16" fmla="*/ 3112 w 10002"/>
                  <a:gd name="connsiteY16" fmla="*/ 0 h 10454"/>
                  <a:gd name="connsiteX17" fmla="*/ 2951 w 10002"/>
                  <a:gd name="connsiteY17" fmla="*/ 0 h 10454"/>
                  <a:gd name="connsiteX18" fmla="*/ 2951 w 10002"/>
                  <a:gd name="connsiteY18" fmla="*/ 2061 h 10454"/>
                  <a:gd name="connsiteX19" fmla="*/ 2581 w 10002"/>
                  <a:gd name="connsiteY19" fmla="*/ 2061 h 10454"/>
                  <a:gd name="connsiteX20" fmla="*/ 2581 w 10002"/>
                  <a:gd name="connsiteY20" fmla="*/ 2492 h 10454"/>
                  <a:gd name="connsiteX21" fmla="*/ 1916 w 10002"/>
                  <a:gd name="connsiteY21" fmla="*/ 2815 h 10454"/>
                  <a:gd name="connsiteX22" fmla="*/ 1916 w 10002"/>
                  <a:gd name="connsiteY22" fmla="*/ 4413 h 10454"/>
                  <a:gd name="connsiteX23" fmla="*/ 1560 w 10002"/>
                  <a:gd name="connsiteY23" fmla="*/ 4413 h 10454"/>
                  <a:gd name="connsiteX24" fmla="*/ 1560 w 10002"/>
                  <a:gd name="connsiteY24" fmla="*/ 4837 h 10454"/>
                  <a:gd name="connsiteX25" fmla="*/ 1916 w 10002"/>
                  <a:gd name="connsiteY25" fmla="*/ 4837 h 10454"/>
                  <a:gd name="connsiteX26" fmla="*/ 1916 w 10002"/>
                  <a:gd name="connsiteY26" fmla="*/ 5367 h 10454"/>
                  <a:gd name="connsiteX27" fmla="*/ 1560 w 10002"/>
                  <a:gd name="connsiteY27" fmla="*/ 5367 h 10454"/>
                  <a:gd name="connsiteX28" fmla="*/ 1560 w 10002"/>
                  <a:gd name="connsiteY28" fmla="*/ 5791 h 10454"/>
                  <a:gd name="connsiteX29" fmla="*/ 1916 w 10002"/>
                  <a:gd name="connsiteY29" fmla="*/ 5791 h 10454"/>
                  <a:gd name="connsiteX30" fmla="*/ 1916 w 10002"/>
                  <a:gd name="connsiteY30" fmla="*/ 7043 h 10454"/>
                  <a:gd name="connsiteX31" fmla="*/ 855 w 10002"/>
                  <a:gd name="connsiteY31" fmla="*/ 7043 h 10454"/>
                  <a:gd name="connsiteX32" fmla="*/ 855 w 10002"/>
                  <a:gd name="connsiteY32" fmla="*/ 7818 h 10454"/>
                  <a:gd name="connsiteX33" fmla="*/ 1399 w 10002"/>
                  <a:gd name="connsiteY33" fmla="*/ 7838 h 10454"/>
                  <a:gd name="connsiteX34" fmla="*/ 2136 w 10002"/>
                  <a:gd name="connsiteY34" fmla="*/ 7315 h 10454"/>
                  <a:gd name="connsiteX35" fmla="*/ 2130 w 10002"/>
                  <a:gd name="connsiteY35" fmla="*/ 7818 h 10454"/>
                  <a:gd name="connsiteX36" fmla="*/ 2809 w 10002"/>
                  <a:gd name="connsiteY36" fmla="*/ 7368 h 10454"/>
                  <a:gd name="connsiteX37" fmla="*/ 2809 w 10002"/>
                  <a:gd name="connsiteY37" fmla="*/ 7818 h 10454"/>
                  <a:gd name="connsiteX38" fmla="*/ 3480 w 10002"/>
                  <a:gd name="connsiteY38" fmla="*/ 7361 h 10454"/>
                  <a:gd name="connsiteX39" fmla="*/ 3486 w 10002"/>
                  <a:gd name="connsiteY39" fmla="*/ 7811 h 10454"/>
                  <a:gd name="connsiteX40" fmla="*/ 4132 w 10002"/>
                  <a:gd name="connsiteY40" fmla="*/ 7328 h 10454"/>
                  <a:gd name="connsiteX41" fmla="*/ 4132 w 10002"/>
                  <a:gd name="connsiteY41" fmla="*/ 8613 h 10454"/>
                  <a:gd name="connsiteX42" fmla="*/ 4207 w 10002"/>
                  <a:gd name="connsiteY42" fmla="*/ 8520 h 10454"/>
                  <a:gd name="connsiteX43" fmla="*/ 4280 w 10002"/>
                  <a:gd name="connsiteY43" fmla="*/ 8434 h 10454"/>
                  <a:gd name="connsiteX44" fmla="*/ 4370 w 10002"/>
                  <a:gd name="connsiteY44" fmla="*/ 8361 h 10454"/>
                  <a:gd name="connsiteX45" fmla="*/ 4469 w 10002"/>
                  <a:gd name="connsiteY45" fmla="*/ 8295 h 10454"/>
                  <a:gd name="connsiteX46" fmla="*/ 4569 w 10002"/>
                  <a:gd name="connsiteY46" fmla="*/ 8249 h 10454"/>
                  <a:gd name="connsiteX47" fmla="*/ 4676 w 10002"/>
                  <a:gd name="connsiteY47" fmla="*/ 8215 h 10454"/>
                  <a:gd name="connsiteX48" fmla="*/ 4788 w 10002"/>
                  <a:gd name="connsiteY48" fmla="*/ 8189 h 10454"/>
                  <a:gd name="connsiteX49" fmla="*/ 4917 w 10002"/>
                  <a:gd name="connsiteY49" fmla="*/ 8182 h 10454"/>
                  <a:gd name="connsiteX50" fmla="*/ 5093 w 10002"/>
                  <a:gd name="connsiteY50" fmla="*/ 8195 h 10454"/>
                  <a:gd name="connsiteX51" fmla="*/ 5268 w 10002"/>
                  <a:gd name="connsiteY51" fmla="*/ 8242 h 10454"/>
                  <a:gd name="connsiteX52" fmla="*/ 5408 w 10002"/>
                  <a:gd name="connsiteY52" fmla="*/ 8321 h 10454"/>
                  <a:gd name="connsiteX53" fmla="*/ 5551 w 10002"/>
                  <a:gd name="connsiteY53" fmla="*/ 8421 h 10454"/>
                  <a:gd name="connsiteX54" fmla="*/ 5672 w 10002"/>
                  <a:gd name="connsiteY54" fmla="*/ 8540 h 10454"/>
                  <a:gd name="connsiteX55" fmla="*/ 5752 w 10002"/>
                  <a:gd name="connsiteY55" fmla="*/ 8686 h 10454"/>
                  <a:gd name="connsiteX56" fmla="*/ 5826 w 10002"/>
                  <a:gd name="connsiteY56" fmla="*/ 8838 h 10454"/>
                  <a:gd name="connsiteX57" fmla="*/ 5851 w 10002"/>
                  <a:gd name="connsiteY57" fmla="*/ 9004 h 10454"/>
                  <a:gd name="connsiteX58" fmla="*/ 5885 w 10002"/>
                  <a:gd name="connsiteY58" fmla="*/ 8997 h 10454"/>
                  <a:gd name="connsiteX59" fmla="*/ 5912 w 10002"/>
                  <a:gd name="connsiteY59" fmla="*/ 8997 h 10454"/>
                  <a:gd name="connsiteX60" fmla="*/ 5939 w 10002"/>
                  <a:gd name="connsiteY60" fmla="*/ 8991 h 10454"/>
                  <a:gd name="connsiteX61" fmla="*/ 5965 w 10002"/>
                  <a:gd name="connsiteY61" fmla="*/ 8991 h 10454"/>
                  <a:gd name="connsiteX62" fmla="*/ 5999 w 10002"/>
                  <a:gd name="connsiteY62" fmla="*/ 8984 h 10454"/>
                  <a:gd name="connsiteX63" fmla="*/ 6031 w 10002"/>
                  <a:gd name="connsiteY63" fmla="*/ 8984 h 10454"/>
                  <a:gd name="connsiteX64" fmla="*/ 6059 w 10002"/>
                  <a:gd name="connsiteY64" fmla="*/ 8984 h 10454"/>
                  <a:gd name="connsiteX65" fmla="*/ 6094 w 10002"/>
                  <a:gd name="connsiteY65" fmla="*/ 8984 h 10454"/>
                  <a:gd name="connsiteX66" fmla="*/ 6234 w 10002"/>
                  <a:gd name="connsiteY66" fmla="*/ 8991 h 10454"/>
                  <a:gd name="connsiteX67" fmla="*/ 6362 w 10002"/>
                  <a:gd name="connsiteY67" fmla="*/ 9024 h 10454"/>
                  <a:gd name="connsiteX68" fmla="*/ 6489 w 10002"/>
                  <a:gd name="connsiteY68" fmla="*/ 9070 h 10454"/>
                  <a:gd name="connsiteX69" fmla="*/ 6605 w 10002"/>
                  <a:gd name="connsiteY69" fmla="*/ 9137 h 10454"/>
                  <a:gd name="connsiteX70" fmla="*/ 6711 w 10002"/>
                  <a:gd name="connsiteY70" fmla="*/ 9216 h 10454"/>
                  <a:gd name="connsiteX71" fmla="*/ 6806 w 10002"/>
                  <a:gd name="connsiteY71" fmla="*/ 9302 h 10454"/>
                  <a:gd name="connsiteX72" fmla="*/ 6881 w 10002"/>
                  <a:gd name="connsiteY72" fmla="*/ 9415 h 10454"/>
                  <a:gd name="connsiteX73" fmla="*/ 6948 w 10002"/>
                  <a:gd name="connsiteY73" fmla="*/ 9527 h 10454"/>
                  <a:gd name="connsiteX74" fmla="*/ 3112 w 10002"/>
                  <a:gd name="connsiteY74" fmla="*/ 9527 h 10454"/>
                  <a:gd name="connsiteX75" fmla="*/ 3151 w 10002"/>
                  <a:gd name="connsiteY75" fmla="*/ 9441 h 10454"/>
                  <a:gd name="connsiteX76" fmla="*/ 3205 w 10002"/>
                  <a:gd name="connsiteY76" fmla="*/ 9355 h 10454"/>
                  <a:gd name="connsiteX77" fmla="*/ 3260 w 10002"/>
                  <a:gd name="connsiteY77" fmla="*/ 9289 h 10454"/>
                  <a:gd name="connsiteX78" fmla="*/ 3331 w 10002"/>
                  <a:gd name="connsiteY78" fmla="*/ 9223 h 10454"/>
                  <a:gd name="connsiteX79" fmla="*/ 3399 w 10002"/>
                  <a:gd name="connsiteY79" fmla="*/ 9170 h 10454"/>
                  <a:gd name="connsiteX80" fmla="*/ 3480 w 10002"/>
                  <a:gd name="connsiteY80" fmla="*/ 9117 h 10454"/>
                  <a:gd name="connsiteX81" fmla="*/ 3561 w 10002"/>
                  <a:gd name="connsiteY81" fmla="*/ 9077 h 10454"/>
                  <a:gd name="connsiteX82" fmla="*/ 3656 w 10002"/>
                  <a:gd name="connsiteY82" fmla="*/ 9044 h 10454"/>
                  <a:gd name="connsiteX83" fmla="*/ 3656 w 10002"/>
                  <a:gd name="connsiteY83" fmla="*/ 8195 h 10454"/>
                  <a:gd name="connsiteX84" fmla="*/ 1541 w 10002"/>
                  <a:gd name="connsiteY84" fmla="*/ 8282 h 10454"/>
                  <a:gd name="connsiteX85" fmla="*/ 2 w 10002"/>
                  <a:gd name="connsiteY85" fmla="*/ 7088 h 10454"/>
                  <a:gd name="connsiteX86" fmla="*/ 2106 w 10002"/>
                  <a:gd name="connsiteY86" fmla="*/ 9555 h 10454"/>
                  <a:gd name="connsiteX87" fmla="*/ 6228 w 10002"/>
                  <a:gd name="connsiteY87" fmla="*/ 10294 h 10454"/>
                  <a:gd name="connsiteX88" fmla="*/ 8631 w 10002"/>
                  <a:gd name="connsiteY88" fmla="*/ 9231 h 10454"/>
                  <a:gd name="connsiteX89" fmla="*/ 9120 w 10002"/>
                  <a:gd name="connsiteY89" fmla="*/ 8935 h 10454"/>
                  <a:gd name="connsiteX0" fmla="*/ 9120 w 10002"/>
                  <a:gd name="connsiteY0" fmla="*/ 8935 h 10369"/>
                  <a:gd name="connsiteX1" fmla="*/ 10002 w 10002"/>
                  <a:gd name="connsiteY1" fmla="*/ 7381 h 10369"/>
                  <a:gd name="connsiteX2" fmla="*/ 9175 w 10002"/>
                  <a:gd name="connsiteY2" fmla="*/ 7381 h 10369"/>
                  <a:gd name="connsiteX3" fmla="*/ 9175 w 10002"/>
                  <a:gd name="connsiteY3" fmla="*/ 4128 h 10369"/>
                  <a:gd name="connsiteX4" fmla="*/ 7135 w 10002"/>
                  <a:gd name="connsiteY4" fmla="*/ 4128 h 10369"/>
                  <a:gd name="connsiteX5" fmla="*/ 7135 w 10002"/>
                  <a:gd name="connsiteY5" fmla="*/ 3816 h 10369"/>
                  <a:gd name="connsiteX6" fmla="*/ 8766 w 10002"/>
                  <a:gd name="connsiteY6" fmla="*/ 3816 h 10369"/>
                  <a:gd name="connsiteX7" fmla="*/ 8766 w 10002"/>
                  <a:gd name="connsiteY7" fmla="*/ 3498 h 10369"/>
                  <a:gd name="connsiteX8" fmla="*/ 7135 w 10002"/>
                  <a:gd name="connsiteY8" fmla="*/ 3498 h 10369"/>
                  <a:gd name="connsiteX9" fmla="*/ 7135 w 10002"/>
                  <a:gd name="connsiteY9" fmla="*/ 1365 h 10369"/>
                  <a:gd name="connsiteX10" fmla="*/ 4735 w 10002"/>
                  <a:gd name="connsiteY10" fmla="*/ 550 h 10369"/>
                  <a:gd name="connsiteX11" fmla="*/ 4735 w 10002"/>
                  <a:gd name="connsiteY11" fmla="*/ 5672 h 10369"/>
                  <a:gd name="connsiteX12" fmla="*/ 4355 w 10002"/>
                  <a:gd name="connsiteY12" fmla="*/ 5678 h 10369"/>
                  <a:gd name="connsiteX13" fmla="*/ 4355 w 10002"/>
                  <a:gd name="connsiteY13" fmla="*/ 1756 h 10369"/>
                  <a:gd name="connsiteX14" fmla="*/ 3548 w 10002"/>
                  <a:gd name="connsiteY14" fmla="*/ 2061 h 10369"/>
                  <a:gd name="connsiteX15" fmla="*/ 3112 w 10002"/>
                  <a:gd name="connsiteY15" fmla="*/ 2061 h 10369"/>
                  <a:gd name="connsiteX16" fmla="*/ 3112 w 10002"/>
                  <a:gd name="connsiteY16" fmla="*/ 0 h 10369"/>
                  <a:gd name="connsiteX17" fmla="*/ 2951 w 10002"/>
                  <a:gd name="connsiteY17" fmla="*/ 0 h 10369"/>
                  <a:gd name="connsiteX18" fmla="*/ 2951 w 10002"/>
                  <a:gd name="connsiteY18" fmla="*/ 2061 h 10369"/>
                  <a:gd name="connsiteX19" fmla="*/ 2581 w 10002"/>
                  <a:gd name="connsiteY19" fmla="*/ 2061 h 10369"/>
                  <a:gd name="connsiteX20" fmla="*/ 2581 w 10002"/>
                  <a:gd name="connsiteY20" fmla="*/ 2492 h 10369"/>
                  <a:gd name="connsiteX21" fmla="*/ 1916 w 10002"/>
                  <a:gd name="connsiteY21" fmla="*/ 2815 h 10369"/>
                  <a:gd name="connsiteX22" fmla="*/ 1916 w 10002"/>
                  <a:gd name="connsiteY22" fmla="*/ 4413 h 10369"/>
                  <a:gd name="connsiteX23" fmla="*/ 1560 w 10002"/>
                  <a:gd name="connsiteY23" fmla="*/ 4413 h 10369"/>
                  <a:gd name="connsiteX24" fmla="*/ 1560 w 10002"/>
                  <a:gd name="connsiteY24" fmla="*/ 4837 h 10369"/>
                  <a:gd name="connsiteX25" fmla="*/ 1916 w 10002"/>
                  <a:gd name="connsiteY25" fmla="*/ 4837 h 10369"/>
                  <a:gd name="connsiteX26" fmla="*/ 1916 w 10002"/>
                  <a:gd name="connsiteY26" fmla="*/ 5367 h 10369"/>
                  <a:gd name="connsiteX27" fmla="*/ 1560 w 10002"/>
                  <a:gd name="connsiteY27" fmla="*/ 5367 h 10369"/>
                  <a:gd name="connsiteX28" fmla="*/ 1560 w 10002"/>
                  <a:gd name="connsiteY28" fmla="*/ 5791 h 10369"/>
                  <a:gd name="connsiteX29" fmla="*/ 1916 w 10002"/>
                  <a:gd name="connsiteY29" fmla="*/ 5791 h 10369"/>
                  <a:gd name="connsiteX30" fmla="*/ 1916 w 10002"/>
                  <a:gd name="connsiteY30" fmla="*/ 7043 h 10369"/>
                  <a:gd name="connsiteX31" fmla="*/ 855 w 10002"/>
                  <a:gd name="connsiteY31" fmla="*/ 7043 h 10369"/>
                  <a:gd name="connsiteX32" fmla="*/ 855 w 10002"/>
                  <a:gd name="connsiteY32" fmla="*/ 7818 h 10369"/>
                  <a:gd name="connsiteX33" fmla="*/ 1399 w 10002"/>
                  <a:gd name="connsiteY33" fmla="*/ 7838 h 10369"/>
                  <a:gd name="connsiteX34" fmla="*/ 2136 w 10002"/>
                  <a:gd name="connsiteY34" fmla="*/ 7315 h 10369"/>
                  <a:gd name="connsiteX35" fmla="*/ 2130 w 10002"/>
                  <a:gd name="connsiteY35" fmla="*/ 7818 h 10369"/>
                  <a:gd name="connsiteX36" fmla="*/ 2809 w 10002"/>
                  <a:gd name="connsiteY36" fmla="*/ 7368 h 10369"/>
                  <a:gd name="connsiteX37" fmla="*/ 2809 w 10002"/>
                  <a:gd name="connsiteY37" fmla="*/ 7818 h 10369"/>
                  <a:gd name="connsiteX38" fmla="*/ 3480 w 10002"/>
                  <a:gd name="connsiteY38" fmla="*/ 7361 h 10369"/>
                  <a:gd name="connsiteX39" fmla="*/ 3486 w 10002"/>
                  <a:gd name="connsiteY39" fmla="*/ 7811 h 10369"/>
                  <a:gd name="connsiteX40" fmla="*/ 4132 w 10002"/>
                  <a:gd name="connsiteY40" fmla="*/ 7328 h 10369"/>
                  <a:gd name="connsiteX41" fmla="*/ 4132 w 10002"/>
                  <a:gd name="connsiteY41" fmla="*/ 8613 h 10369"/>
                  <a:gd name="connsiteX42" fmla="*/ 4207 w 10002"/>
                  <a:gd name="connsiteY42" fmla="*/ 8520 h 10369"/>
                  <a:gd name="connsiteX43" fmla="*/ 4280 w 10002"/>
                  <a:gd name="connsiteY43" fmla="*/ 8434 h 10369"/>
                  <a:gd name="connsiteX44" fmla="*/ 4370 w 10002"/>
                  <a:gd name="connsiteY44" fmla="*/ 8361 h 10369"/>
                  <a:gd name="connsiteX45" fmla="*/ 4469 w 10002"/>
                  <a:gd name="connsiteY45" fmla="*/ 8295 h 10369"/>
                  <a:gd name="connsiteX46" fmla="*/ 4569 w 10002"/>
                  <a:gd name="connsiteY46" fmla="*/ 8249 h 10369"/>
                  <a:gd name="connsiteX47" fmla="*/ 4676 w 10002"/>
                  <a:gd name="connsiteY47" fmla="*/ 8215 h 10369"/>
                  <a:gd name="connsiteX48" fmla="*/ 4788 w 10002"/>
                  <a:gd name="connsiteY48" fmla="*/ 8189 h 10369"/>
                  <a:gd name="connsiteX49" fmla="*/ 4917 w 10002"/>
                  <a:gd name="connsiteY49" fmla="*/ 8182 h 10369"/>
                  <a:gd name="connsiteX50" fmla="*/ 5093 w 10002"/>
                  <a:gd name="connsiteY50" fmla="*/ 8195 h 10369"/>
                  <a:gd name="connsiteX51" fmla="*/ 5268 w 10002"/>
                  <a:gd name="connsiteY51" fmla="*/ 8242 h 10369"/>
                  <a:gd name="connsiteX52" fmla="*/ 5408 w 10002"/>
                  <a:gd name="connsiteY52" fmla="*/ 8321 h 10369"/>
                  <a:gd name="connsiteX53" fmla="*/ 5551 w 10002"/>
                  <a:gd name="connsiteY53" fmla="*/ 8421 h 10369"/>
                  <a:gd name="connsiteX54" fmla="*/ 5672 w 10002"/>
                  <a:gd name="connsiteY54" fmla="*/ 8540 h 10369"/>
                  <a:gd name="connsiteX55" fmla="*/ 5752 w 10002"/>
                  <a:gd name="connsiteY55" fmla="*/ 8686 h 10369"/>
                  <a:gd name="connsiteX56" fmla="*/ 5826 w 10002"/>
                  <a:gd name="connsiteY56" fmla="*/ 8838 h 10369"/>
                  <a:gd name="connsiteX57" fmla="*/ 5851 w 10002"/>
                  <a:gd name="connsiteY57" fmla="*/ 9004 h 10369"/>
                  <a:gd name="connsiteX58" fmla="*/ 5885 w 10002"/>
                  <a:gd name="connsiteY58" fmla="*/ 8997 h 10369"/>
                  <a:gd name="connsiteX59" fmla="*/ 5912 w 10002"/>
                  <a:gd name="connsiteY59" fmla="*/ 8997 h 10369"/>
                  <a:gd name="connsiteX60" fmla="*/ 5939 w 10002"/>
                  <a:gd name="connsiteY60" fmla="*/ 8991 h 10369"/>
                  <a:gd name="connsiteX61" fmla="*/ 5965 w 10002"/>
                  <a:gd name="connsiteY61" fmla="*/ 8991 h 10369"/>
                  <a:gd name="connsiteX62" fmla="*/ 5999 w 10002"/>
                  <a:gd name="connsiteY62" fmla="*/ 8984 h 10369"/>
                  <a:gd name="connsiteX63" fmla="*/ 6031 w 10002"/>
                  <a:gd name="connsiteY63" fmla="*/ 8984 h 10369"/>
                  <a:gd name="connsiteX64" fmla="*/ 6059 w 10002"/>
                  <a:gd name="connsiteY64" fmla="*/ 8984 h 10369"/>
                  <a:gd name="connsiteX65" fmla="*/ 6094 w 10002"/>
                  <a:gd name="connsiteY65" fmla="*/ 8984 h 10369"/>
                  <a:gd name="connsiteX66" fmla="*/ 6234 w 10002"/>
                  <a:gd name="connsiteY66" fmla="*/ 8991 h 10369"/>
                  <a:gd name="connsiteX67" fmla="*/ 6362 w 10002"/>
                  <a:gd name="connsiteY67" fmla="*/ 9024 h 10369"/>
                  <a:gd name="connsiteX68" fmla="*/ 6489 w 10002"/>
                  <a:gd name="connsiteY68" fmla="*/ 9070 h 10369"/>
                  <a:gd name="connsiteX69" fmla="*/ 6605 w 10002"/>
                  <a:gd name="connsiteY69" fmla="*/ 9137 h 10369"/>
                  <a:gd name="connsiteX70" fmla="*/ 6711 w 10002"/>
                  <a:gd name="connsiteY70" fmla="*/ 9216 h 10369"/>
                  <a:gd name="connsiteX71" fmla="*/ 6806 w 10002"/>
                  <a:gd name="connsiteY71" fmla="*/ 9302 h 10369"/>
                  <a:gd name="connsiteX72" fmla="*/ 6881 w 10002"/>
                  <a:gd name="connsiteY72" fmla="*/ 9415 h 10369"/>
                  <a:gd name="connsiteX73" fmla="*/ 6948 w 10002"/>
                  <a:gd name="connsiteY73" fmla="*/ 9527 h 10369"/>
                  <a:gd name="connsiteX74" fmla="*/ 3112 w 10002"/>
                  <a:gd name="connsiteY74" fmla="*/ 9527 h 10369"/>
                  <a:gd name="connsiteX75" fmla="*/ 3151 w 10002"/>
                  <a:gd name="connsiteY75" fmla="*/ 9441 h 10369"/>
                  <a:gd name="connsiteX76" fmla="*/ 3205 w 10002"/>
                  <a:gd name="connsiteY76" fmla="*/ 9355 h 10369"/>
                  <a:gd name="connsiteX77" fmla="*/ 3260 w 10002"/>
                  <a:gd name="connsiteY77" fmla="*/ 9289 h 10369"/>
                  <a:gd name="connsiteX78" fmla="*/ 3331 w 10002"/>
                  <a:gd name="connsiteY78" fmla="*/ 9223 h 10369"/>
                  <a:gd name="connsiteX79" fmla="*/ 3399 w 10002"/>
                  <a:gd name="connsiteY79" fmla="*/ 9170 h 10369"/>
                  <a:gd name="connsiteX80" fmla="*/ 3480 w 10002"/>
                  <a:gd name="connsiteY80" fmla="*/ 9117 h 10369"/>
                  <a:gd name="connsiteX81" fmla="*/ 3561 w 10002"/>
                  <a:gd name="connsiteY81" fmla="*/ 9077 h 10369"/>
                  <a:gd name="connsiteX82" fmla="*/ 3656 w 10002"/>
                  <a:gd name="connsiteY82" fmla="*/ 9044 h 10369"/>
                  <a:gd name="connsiteX83" fmla="*/ 3656 w 10002"/>
                  <a:gd name="connsiteY83" fmla="*/ 8195 h 10369"/>
                  <a:gd name="connsiteX84" fmla="*/ 1541 w 10002"/>
                  <a:gd name="connsiteY84" fmla="*/ 8282 h 10369"/>
                  <a:gd name="connsiteX85" fmla="*/ 2 w 10002"/>
                  <a:gd name="connsiteY85" fmla="*/ 7088 h 10369"/>
                  <a:gd name="connsiteX86" fmla="*/ 2106 w 10002"/>
                  <a:gd name="connsiteY86" fmla="*/ 9555 h 10369"/>
                  <a:gd name="connsiteX87" fmla="*/ 6228 w 10002"/>
                  <a:gd name="connsiteY87" fmla="*/ 10294 h 10369"/>
                  <a:gd name="connsiteX88" fmla="*/ 8631 w 10002"/>
                  <a:gd name="connsiteY88" fmla="*/ 9231 h 10369"/>
                  <a:gd name="connsiteX89" fmla="*/ 9120 w 10002"/>
                  <a:gd name="connsiteY89" fmla="*/ 8935 h 10369"/>
                  <a:gd name="connsiteX0" fmla="*/ 9120 w 10002"/>
                  <a:gd name="connsiteY0" fmla="*/ 8935 h 10369"/>
                  <a:gd name="connsiteX1" fmla="*/ 10002 w 10002"/>
                  <a:gd name="connsiteY1" fmla="*/ 7381 h 10369"/>
                  <a:gd name="connsiteX2" fmla="*/ 9175 w 10002"/>
                  <a:gd name="connsiteY2" fmla="*/ 7381 h 10369"/>
                  <a:gd name="connsiteX3" fmla="*/ 9175 w 10002"/>
                  <a:gd name="connsiteY3" fmla="*/ 4128 h 10369"/>
                  <a:gd name="connsiteX4" fmla="*/ 7135 w 10002"/>
                  <a:gd name="connsiteY4" fmla="*/ 4128 h 10369"/>
                  <a:gd name="connsiteX5" fmla="*/ 7135 w 10002"/>
                  <a:gd name="connsiteY5" fmla="*/ 3816 h 10369"/>
                  <a:gd name="connsiteX6" fmla="*/ 8766 w 10002"/>
                  <a:gd name="connsiteY6" fmla="*/ 3816 h 10369"/>
                  <a:gd name="connsiteX7" fmla="*/ 8766 w 10002"/>
                  <a:gd name="connsiteY7" fmla="*/ 3498 h 10369"/>
                  <a:gd name="connsiteX8" fmla="*/ 7135 w 10002"/>
                  <a:gd name="connsiteY8" fmla="*/ 3498 h 10369"/>
                  <a:gd name="connsiteX9" fmla="*/ 7135 w 10002"/>
                  <a:gd name="connsiteY9" fmla="*/ 1365 h 10369"/>
                  <a:gd name="connsiteX10" fmla="*/ 4735 w 10002"/>
                  <a:gd name="connsiteY10" fmla="*/ 550 h 10369"/>
                  <a:gd name="connsiteX11" fmla="*/ 4735 w 10002"/>
                  <a:gd name="connsiteY11" fmla="*/ 5672 h 10369"/>
                  <a:gd name="connsiteX12" fmla="*/ 4355 w 10002"/>
                  <a:gd name="connsiteY12" fmla="*/ 5678 h 10369"/>
                  <a:gd name="connsiteX13" fmla="*/ 4355 w 10002"/>
                  <a:gd name="connsiteY13" fmla="*/ 1756 h 10369"/>
                  <a:gd name="connsiteX14" fmla="*/ 3548 w 10002"/>
                  <a:gd name="connsiteY14" fmla="*/ 2061 h 10369"/>
                  <a:gd name="connsiteX15" fmla="*/ 3112 w 10002"/>
                  <a:gd name="connsiteY15" fmla="*/ 2061 h 10369"/>
                  <a:gd name="connsiteX16" fmla="*/ 3112 w 10002"/>
                  <a:gd name="connsiteY16" fmla="*/ 0 h 10369"/>
                  <a:gd name="connsiteX17" fmla="*/ 2951 w 10002"/>
                  <a:gd name="connsiteY17" fmla="*/ 0 h 10369"/>
                  <a:gd name="connsiteX18" fmla="*/ 2951 w 10002"/>
                  <a:gd name="connsiteY18" fmla="*/ 2061 h 10369"/>
                  <a:gd name="connsiteX19" fmla="*/ 2581 w 10002"/>
                  <a:gd name="connsiteY19" fmla="*/ 2061 h 10369"/>
                  <a:gd name="connsiteX20" fmla="*/ 2581 w 10002"/>
                  <a:gd name="connsiteY20" fmla="*/ 2492 h 10369"/>
                  <a:gd name="connsiteX21" fmla="*/ 1916 w 10002"/>
                  <a:gd name="connsiteY21" fmla="*/ 2815 h 10369"/>
                  <a:gd name="connsiteX22" fmla="*/ 1916 w 10002"/>
                  <a:gd name="connsiteY22" fmla="*/ 4413 h 10369"/>
                  <a:gd name="connsiteX23" fmla="*/ 1560 w 10002"/>
                  <a:gd name="connsiteY23" fmla="*/ 4413 h 10369"/>
                  <a:gd name="connsiteX24" fmla="*/ 1560 w 10002"/>
                  <a:gd name="connsiteY24" fmla="*/ 4837 h 10369"/>
                  <a:gd name="connsiteX25" fmla="*/ 1916 w 10002"/>
                  <a:gd name="connsiteY25" fmla="*/ 4837 h 10369"/>
                  <a:gd name="connsiteX26" fmla="*/ 1916 w 10002"/>
                  <a:gd name="connsiteY26" fmla="*/ 5367 h 10369"/>
                  <a:gd name="connsiteX27" fmla="*/ 1560 w 10002"/>
                  <a:gd name="connsiteY27" fmla="*/ 5367 h 10369"/>
                  <a:gd name="connsiteX28" fmla="*/ 1560 w 10002"/>
                  <a:gd name="connsiteY28" fmla="*/ 5791 h 10369"/>
                  <a:gd name="connsiteX29" fmla="*/ 1916 w 10002"/>
                  <a:gd name="connsiteY29" fmla="*/ 5791 h 10369"/>
                  <a:gd name="connsiteX30" fmla="*/ 1916 w 10002"/>
                  <a:gd name="connsiteY30" fmla="*/ 7043 h 10369"/>
                  <a:gd name="connsiteX31" fmla="*/ 855 w 10002"/>
                  <a:gd name="connsiteY31" fmla="*/ 7043 h 10369"/>
                  <a:gd name="connsiteX32" fmla="*/ 855 w 10002"/>
                  <a:gd name="connsiteY32" fmla="*/ 7818 h 10369"/>
                  <a:gd name="connsiteX33" fmla="*/ 1399 w 10002"/>
                  <a:gd name="connsiteY33" fmla="*/ 7838 h 10369"/>
                  <a:gd name="connsiteX34" fmla="*/ 2136 w 10002"/>
                  <a:gd name="connsiteY34" fmla="*/ 7315 h 10369"/>
                  <a:gd name="connsiteX35" fmla="*/ 2130 w 10002"/>
                  <a:gd name="connsiteY35" fmla="*/ 7818 h 10369"/>
                  <a:gd name="connsiteX36" fmla="*/ 2809 w 10002"/>
                  <a:gd name="connsiteY36" fmla="*/ 7368 h 10369"/>
                  <a:gd name="connsiteX37" fmla="*/ 2809 w 10002"/>
                  <a:gd name="connsiteY37" fmla="*/ 7818 h 10369"/>
                  <a:gd name="connsiteX38" fmla="*/ 3480 w 10002"/>
                  <a:gd name="connsiteY38" fmla="*/ 7361 h 10369"/>
                  <a:gd name="connsiteX39" fmla="*/ 3486 w 10002"/>
                  <a:gd name="connsiteY39" fmla="*/ 7811 h 10369"/>
                  <a:gd name="connsiteX40" fmla="*/ 4132 w 10002"/>
                  <a:gd name="connsiteY40" fmla="*/ 7328 h 10369"/>
                  <a:gd name="connsiteX41" fmla="*/ 4132 w 10002"/>
                  <a:gd name="connsiteY41" fmla="*/ 8613 h 10369"/>
                  <a:gd name="connsiteX42" fmla="*/ 4207 w 10002"/>
                  <a:gd name="connsiteY42" fmla="*/ 8520 h 10369"/>
                  <a:gd name="connsiteX43" fmla="*/ 4280 w 10002"/>
                  <a:gd name="connsiteY43" fmla="*/ 8434 h 10369"/>
                  <a:gd name="connsiteX44" fmla="*/ 4370 w 10002"/>
                  <a:gd name="connsiteY44" fmla="*/ 8361 h 10369"/>
                  <a:gd name="connsiteX45" fmla="*/ 4469 w 10002"/>
                  <a:gd name="connsiteY45" fmla="*/ 8295 h 10369"/>
                  <a:gd name="connsiteX46" fmla="*/ 4569 w 10002"/>
                  <a:gd name="connsiteY46" fmla="*/ 8249 h 10369"/>
                  <a:gd name="connsiteX47" fmla="*/ 4676 w 10002"/>
                  <a:gd name="connsiteY47" fmla="*/ 8215 h 10369"/>
                  <a:gd name="connsiteX48" fmla="*/ 4788 w 10002"/>
                  <a:gd name="connsiteY48" fmla="*/ 8189 h 10369"/>
                  <a:gd name="connsiteX49" fmla="*/ 4917 w 10002"/>
                  <a:gd name="connsiteY49" fmla="*/ 8182 h 10369"/>
                  <a:gd name="connsiteX50" fmla="*/ 5093 w 10002"/>
                  <a:gd name="connsiteY50" fmla="*/ 8195 h 10369"/>
                  <a:gd name="connsiteX51" fmla="*/ 5268 w 10002"/>
                  <a:gd name="connsiteY51" fmla="*/ 8242 h 10369"/>
                  <a:gd name="connsiteX52" fmla="*/ 5408 w 10002"/>
                  <a:gd name="connsiteY52" fmla="*/ 8321 h 10369"/>
                  <a:gd name="connsiteX53" fmla="*/ 5551 w 10002"/>
                  <a:gd name="connsiteY53" fmla="*/ 8421 h 10369"/>
                  <a:gd name="connsiteX54" fmla="*/ 5672 w 10002"/>
                  <a:gd name="connsiteY54" fmla="*/ 8540 h 10369"/>
                  <a:gd name="connsiteX55" fmla="*/ 5752 w 10002"/>
                  <a:gd name="connsiteY55" fmla="*/ 8686 h 10369"/>
                  <a:gd name="connsiteX56" fmla="*/ 5826 w 10002"/>
                  <a:gd name="connsiteY56" fmla="*/ 8838 h 10369"/>
                  <a:gd name="connsiteX57" fmla="*/ 5851 w 10002"/>
                  <a:gd name="connsiteY57" fmla="*/ 9004 h 10369"/>
                  <a:gd name="connsiteX58" fmla="*/ 5885 w 10002"/>
                  <a:gd name="connsiteY58" fmla="*/ 8997 h 10369"/>
                  <a:gd name="connsiteX59" fmla="*/ 5912 w 10002"/>
                  <a:gd name="connsiteY59" fmla="*/ 8997 h 10369"/>
                  <a:gd name="connsiteX60" fmla="*/ 5939 w 10002"/>
                  <a:gd name="connsiteY60" fmla="*/ 8991 h 10369"/>
                  <a:gd name="connsiteX61" fmla="*/ 5965 w 10002"/>
                  <a:gd name="connsiteY61" fmla="*/ 8991 h 10369"/>
                  <a:gd name="connsiteX62" fmla="*/ 5999 w 10002"/>
                  <a:gd name="connsiteY62" fmla="*/ 8984 h 10369"/>
                  <a:gd name="connsiteX63" fmla="*/ 6031 w 10002"/>
                  <a:gd name="connsiteY63" fmla="*/ 8984 h 10369"/>
                  <a:gd name="connsiteX64" fmla="*/ 6059 w 10002"/>
                  <a:gd name="connsiteY64" fmla="*/ 8984 h 10369"/>
                  <a:gd name="connsiteX65" fmla="*/ 6094 w 10002"/>
                  <a:gd name="connsiteY65" fmla="*/ 8984 h 10369"/>
                  <a:gd name="connsiteX66" fmla="*/ 6234 w 10002"/>
                  <a:gd name="connsiteY66" fmla="*/ 8991 h 10369"/>
                  <a:gd name="connsiteX67" fmla="*/ 6362 w 10002"/>
                  <a:gd name="connsiteY67" fmla="*/ 9024 h 10369"/>
                  <a:gd name="connsiteX68" fmla="*/ 6489 w 10002"/>
                  <a:gd name="connsiteY68" fmla="*/ 9070 h 10369"/>
                  <a:gd name="connsiteX69" fmla="*/ 6605 w 10002"/>
                  <a:gd name="connsiteY69" fmla="*/ 9137 h 10369"/>
                  <a:gd name="connsiteX70" fmla="*/ 6711 w 10002"/>
                  <a:gd name="connsiteY70" fmla="*/ 9216 h 10369"/>
                  <a:gd name="connsiteX71" fmla="*/ 6806 w 10002"/>
                  <a:gd name="connsiteY71" fmla="*/ 9302 h 10369"/>
                  <a:gd name="connsiteX72" fmla="*/ 6881 w 10002"/>
                  <a:gd name="connsiteY72" fmla="*/ 9415 h 10369"/>
                  <a:gd name="connsiteX73" fmla="*/ 6948 w 10002"/>
                  <a:gd name="connsiteY73" fmla="*/ 9527 h 10369"/>
                  <a:gd name="connsiteX74" fmla="*/ 3112 w 10002"/>
                  <a:gd name="connsiteY74" fmla="*/ 9527 h 10369"/>
                  <a:gd name="connsiteX75" fmla="*/ 3151 w 10002"/>
                  <a:gd name="connsiteY75" fmla="*/ 9441 h 10369"/>
                  <a:gd name="connsiteX76" fmla="*/ 3205 w 10002"/>
                  <a:gd name="connsiteY76" fmla="*/ 9355 h 10369"/>
                  <a:gd name="connsiteX77" fmla="*/ 3260 w 10002"/>
                  <a:gd name="connsiteY77" fmla="*/ 9289 h 10369"/>
                  <a:gd name="connsiteX78" fmla="*/ 3331 w 10002"/>
                  <a:gd name="connsiteY78" fmla="*/ 9223 h 10369"/>
                  <a:gd name="connsiteX79" fmla="*/ 3399 w 10002"/>
                  <a:gd name="connsiteY79" fmla="*/ 9170 h 10369"/>
                  <a:gd name="connsiteX80" fmla="*/ 3480 w 10002"/>
                  <a:gd name="connsiteY80" fmla="*/ 9117 h 10369"/>
                  <a:gd name="connsiteX81" fmla="*/ 3561 w 10002"/>
                  <a:gd name="connsiteY81" fmla="*/ 9077 h 10369"/>
                  <a:gd name="connsiteX82" fmla="*/ 3656 w 10002"/>
                  <a:gd name="connsiteY82" fmla="*/ 9044 h 10369"/>
                  <a:gd name="connsiteX83" fmla="*/ 3656 w 10002"/>
                  <a:gd name="connsiteY83" fmla="*/ 8195 h 10369"/>
                  <a:gd name="connsiteX84" fmla="*/ 1541 w 10002"/>
                  <a:gd name="connsiteY84" fmla="*/ 8282 h 10369"/>
                  <a:gd name="connsiteX85" fmla="*/ 2 w 10002"/>
                  <a:gd name="connsiteY85" fmla="*/ 7088 h 10369"/>
                  <a:gd name="connsiteX86" fmla="*/ 2106 w 10002"/>
                  <a:gd name="connsiteY86" fmla="*/ 9555 h 10369"/>
                  <a:gd name="connsiteX87" fmla="*/ 6228 w 10002"/>
                  <a:gd name="connsiteY87" fmla="*/ 10294 h 10369"/>
                  <a:gd name="connsiteX88" fmla="*/ 8631 w 10002"/>
                  <a:gd name="connsiteY88" fmla="*/ 9231 h 10369"/>
                  <a:gd name="connsiteX89" fmla="*/ 9120 w 10002"/>
                  <a:gd name="connsiteY89" fmla="*/ 8935 h 10369"/>
                  <a:gd name="connsiteX0" fmla="*/ 8631 w 10002"/>
                  <a:gd name="connsiteY0" fmla="*/ 9231 h 10369"/>
                  <a:gd name="connsiteX1" fmla="*/ 10002 w 10002"/>
                  <a:gd name="connsiteY1" fmla="*/ 7381 h 10369"/>
                  <a:gd name="connsiteX2" fmla="*/ 9175 w 10002"/>
                  <a:gd name="connsiteY2" fmla="*/ 7381 h 10369"/>
                  <a:gd name="connsiteX3" fmla="*/ 9175 w 10002"/>
                  <a:gd name="connsiteY3" fmla="*/ 4128 h 10369"/>
                  <a:gd name="connsiteX4" fmla="*/ 7135 w 10002"/>
                  <a:gd name="connsiteY4" fmla="*/ 4128 h 10369"/>
                  <a:gd name="connsiteX5" fmla="*/ 7135 w 10002"/>
                  <a:gd name="connsiteY5" fmla="*/ 3816 h 10369"/>
                  <a:gd name="connsiteX6" fmla="*/ 8766 w 10002"/>
                  <a:gd name="connsiteY6" fmla="*/ 3816 h 10369"/>
                  <a:gd name="connsiteX7" fmla="*/ 8766 w 10002"/>
                  <a:gd name="connsiteY7" fmla="*/ 3498 h 10369"/>
                  <a:gd name="connsiteX8" fmla="*/ 7135 w 10002"/>
                  <a:gd name="connsiteY8" fmla="*/ 3498 h 10369"/>
                  <a:gd name="connsiteX9" fmla="*/ 7135 w 10002"/>
                  <a:gd name="connsiteY9" fmla="*/ 1365 h 10369"/>
                  <a:gd name="connsiteX10" fmla="*/ 4735 w 10002"/>
                  <a:gd name="connsiteY10" fmla="*/ 550 h 10369"/>
                  <a:gd name="connsiteX11" fmla="*/ 4735 w 10002"/>
                  <a:gd name="connsiteY11" fmla="*/ 5672 h 10369"/>
                  <a:gd name="connsiteX12" fmla="*/ 4355 w 10002"/>
                  <a:gd name="connsiteY12" fmla="*/ 5678 h 10369"/>
                  <a:gd name="connsiteX13" fmla="*/ 4355 w 10002"/>
                  <a:gd name="connsiteY13" fmla="*/ 1756 h 10369"/>
                  <a:gd name="connsiteX14" fmla="*/ 3548 w 10002"/>
                  <a:gd name="connsiteY14" fmla="*/ 2061 h 10369"/>
                  <a:gd name="connsiteX15" fmla="*/ 3112 w 10002"/>
                  <a:gd name="connsiteY15" fmla="*/ 2061 h 10369"/>
                  <a:gd name="connsiteX16" fmla="*/ 3112 w 10002"/>
                  <a:gd name="connsiteY16" fmla="*/ 0 h 10369"/>
                  <a:gd name="connsiteX17" fmla="*/ 2951 w 10002"/>
                  <a:gd name="connsiteY17" fmla="*/ 0 h 10369"/>
                  <a:gd name="connsiteX18" fmla="*/ 2951 w 10002"/>
                  <a:gd name="connsiteY18" fmla="*/ 2061 h 10369"/>
                  <a:gd name="connsiteX19" fmla="*/ 2581 w 10002"/>
                  <a:gd name="connsiteY19" fmla="*/ 2061 h 10369"/>
                  <a:gd name="connsiteX20" fmla="*/ 2581 w 10002"/>
                  <a:gd name="connsiteY20" fmla="*/ 2492 h 10369"/>
                  <a:gd name="connsiteX21" fmla="*/ 1916 w 10002"/>
                  <a:gd name="connsiteY21" fmla="*/ 2815 h 10369"/>
                  <a:gd name="connsiteX22" fmla="*/ 1916 w 10002"/>
                  <a:gd name="connsiteY22" fmla="*/ 4413 h 10369"/>
                  <a:gd name="connsiteX23" fmla="*/ 1560 w 10002"/>
                  <a:gd name="connsiteY23" fmla="*/ 4413 h 10369"/>
                  <a:gd name="connsiteX24" fmla="*/ 1560 w 10002"/>
                  <a:gd name="connsiteY24" fmla="*/ 4837 h 10369"/>
                  <a:gd name="connsiteX25" fmla="*/ 1916 w 10002"/>
                  <a:gd name="connsiteY25" fmla="*/ 4837 h 10369"/>
                  <a:gd name="connsiteX26" fmla="*/ 1916 w 10002"/>
                  <a:gd name="connsiteY26" fmla="*/ 5367 h 10369"/>
                  <a:gd name="connsiteX27" fmla="*/ 1560 w 10002"/>
                  <a:gd name="connsiteY27" fmla="*/ 5367 h 10369"/>
                  <a:gd name="connsiteX28" fmla="*/ 1560 w 10002"/>
                  <a:gd name="connsiteY28" fmla="*/ 5791 h 10369"/>
                  <a:gd name="connsiteX29" fmla="*/ 1916 w 10002"/>
                  <a:gd name="connsiteY29" fmla="*/ 5791 h 10369"/>
                  <a:gd name="connsiteX30" fmla="*/ 1916 w 10002"/>
                  <a:gd name="connsiteY30" fmla="*/ 7043 h 10369"/>
                  <a:gd name="connsiteX31" fmla="*/ 855 w 10002"/>
                  <a:gd name="connsiteY31" fmla="*/ 7043 h 10369"/>
                  <a:gd name="connsiteX32" fmla="*/ 855 w 10002"/>
                  <a:gd name="connsiteY32" fmla="*/ 7818 h 10369"/>
                  <a:gd name="connsiteX33" fmla="*/ 1399 w 10002"/>
                  <a:gd name="connsiteY33" fmla="*/ 7838 h 10369"/>
                  <a:gd name="connsiteX34" fmla="*/ 2136 w 10002"/>
                  <a:gd name="connsiteY34" fmla="*/ 7315 h 10369"/>
                  <a:gd name="connsiteX35" fmla="*/ 2130 w 10002"/>
                  <a:gd name="connsiteY35" fmla="*/ 7818 h 10369"/>
                  <a:gd name="connsiteX36" fmla="*/ 2809 w 10002"/>
                  <a:gd name="connsiteY36" fmla="*/ 7368 h 10369"/>
                  <a:gd name="connsiteX37" fmla="*/ 2809 w 10002"/>
                  <a:gd name="connsiteY37" fmla="*/ 7818 h 10369"/>
                  <a:gd name="connsiteX38" fmla="*/ 3480 w 10002"/>
                  <a:gd name="connsiteY38" fmla="*/ 7361 h 10369"/>
                  <a:gd name="connsiteX39" fmla="*/ 3486 w 10002"/>
                  <a:gd name="connsiteY39" fmla="*/ 7811 h 10369"/>
                  <a:gd name="connsiteX40" fmla="*/ 4132 w 10002"/>
                  <a:gd name="connsiteY40" fmla="*/ 7328 h 10369"/>
                  <a:gd name="connsiteX41" fmla="*/ 4132 w 10002"/>
                  <a:gd name="connsiteY41" fmla="*/ 8613 h 10369"/>
                  <a:gd name="connsiteX42" fmla="*/ 4207 w 10002"/>
                  <a:gd name="connsiteY42" fmla="*/ 8520 h 10369"/>
                  <a:gd name="connsiteX43" fmla="*/ 4280 w 10002"/>
                  <a:gd name="connsiteY43" fmla="*/ 8434 h 10369"/>
                  <a:gd name="connsiteX44" fmla="*/ 4370 w 10002"/>
                  <a:gd name="connsiteY44" fmla="*/ 8361 h 10369"/>
                  <a:gd name="connsiteX45" fmla="*/ 4469 w 10002"/>
                  <a:gd name="connsiteY45" fmla="*/ 8295 h 10369"/>
                  <a:gd name="connsiteX46" fmla="*/ 4569 w 10002"/>
                  <a:gd name="connsiteY46" fmla="*/ 8249 h 10369"/>
                  <a:gd name="connsiteX47" fmla="*/ 4676 w 10002"/>
                  <a:gd name="connsiteY47" fmla="*/ 8215 h 10369"/>
                  <a:gd name="connsiteX48" fmla="*/ 4788 w 10002"/>
                  <a:gd name="connsiteY48" fmla="*/ 8189 h 10369"/>
                  <a:gd name="connsiteX49" fmla="*/ 4917 w 10002"/>
                  <a:gd name="connsiteY49" fmla="*/ 8182 h 10369"/>
                  <a:gd name="connsiteX50" fmla="*/ 5093 w 10002"/>
                  <a:gd name="connsiteY50" fmla="*/ 8195 h 10369"/>
                  <a:gd name="connsiteX51" fmla="*/ 5268 w 10002"/>
                  <a:gd name="connsiteY51" fmla="*/ 8242 h 10369"/>
                  <a:gd name="connsiteX52" fmla="*/ 5408 w 10002"/>
                  <a:gd name="connsiteY52" fmla="*/ 8321 h 10369"/>
                  <a:gd name="connsiteX53" fmla="*/ 5551 w 10002"/>
                  <a:gd name="connsiteY53" fmla="*/ 8421 h 10369"/>
                  <a:gd name="connsiteX54" fmla="*/ 5672 w 10002"/>
                  <a:gd name="connsiteY54" fmla="*/ 8540 h 10369"/>
                  <a:gd name="connsiteX55" fmla="*/ 5752 w 10002"/>
                  <a:gd name="connsiteY55" fmla="*/ 8686 h 10369"/>
                  <a:gd name="connsiteX56" fmla="*/ 5826 w 10002"/>
                  <a:gd name="connsiteY56" fmla="*/ 8838 h 10369"/>
                  <a:gd name="connsiteX57" fmla="*/ 5851 w 10002"/>
                  <a:gd name="connsiteY57" fmla="*/ 9004 h 10369"/>
                  <a:gd name="connsiteX58" fmla="*/ 5885 w 10002"/>
                  <a:gd name="connsiteY58" fmla="*/ 8997 h 10369"/>
                  <a:gd name="connsiteX59" fmla="*/ 5912 w 10002"/>
                  <a:gd name="connsiteY59" fmla="*/ 8997 h 10369"/>
                  <a:gd name="connsiteX60" fmla="*/ 5939 w 10002"/>
                  <a:gd name="connsiteY60" fmla="*/ 8991 h 10369"/>
                  <a:gd name="connsiteX61" fmla="*/ 5965 w 10002"/>
                  <a:gd name="connsiteY61" fmla="*/ 8991 h 10369"/>
                  <a:gd name="connsiteX62" fmla="*/ 5999 w 10002"/>
                  <a:gd name="connsiteY62" fmla="*/ 8984 h 10369"/>
                  <a:gd name="connsiteX63" fmla="*/ 6031 w 10002"/>
                  <a:gd name="connsiteY63" fmla="*/ 8984 h 10369"/>
                  <a:gd name="connsiteX64" fmla="*/ 6059 w 10002"/>
                  <a:gd name="connsiteY64" fmla="*/ 8984 h 10369"/>
                  <a:gd name="connsiteX65" fmla="*/ 6094 w 10002"/>
                  <a:gd name="connsiteY65" fmla="*/ 8984 h 10369"/>
                  <a:gd name="connsiteX66" fmla="*/ 6234 w 10002"/>
                  <a:gd name="connsiteY66" fmla="*/ 8991 h 10369"/>
                  <a:gd name="connsiteX67" fmla="*/ 6362 w 10002"/>
                  <a:gd name="connsiteY67" fmla="*/ 9024 h 10369"/>
                  <a:gd name="connsiteX68" fmla="*/ 6489 w 10002"/>
                  <a:gd name="connsiteY68" fmla="*/ 9070 h 10369"/>
                  <a:gd name="connsiteX69" fmla="*/ 6605 w 10002"/>
                  <a:gd name="connsiteY69" fmla="*/ 9137 h 10369"/>
                  <a:gd name="connsiteX70" fmla="*/ 6711 w 10002"/>
                  <a:gd name="connsiteY70" fmla="*/ 9216 h 10369"/>
                  <a:gd name="connsiteX71" fmla="*/ 6806 w 10002"/>
                  <a:gd name="connsiteY71" fmla="*/ 9302 h 10369"/>
                  <a:gd name="connsiteX72" fmla="*/ 6881 w 10002"/>
                  <a:gd name="connsiteY72" fmla="*/ 9415 h 10369"/>
                  <a:gd name="connsiteX73" fmla="*/ 6948 w 10002"/>
                  <a:gd name="connsiteY73" fmla="*/ 9527 h 10369"/>
                  <a:gd name="connsiteX74" fmla="*/ 3112 w 10002"/>
                  <a:gd name="connsiteY74" fmla="*/ 9527 h 10369"/>
                  <a:gd name="connsiteX75" fmla="*/ 3151 w 10002"/>
                  <a:gd name="connsiteY75" fmla="*/ 9441 h 10369"/>
                  <a:gd name="connsiteX76" fmla="*/ 3205 w 10002"/>
                  <a:gd name="connsiteY76" fmla="*/ 9355 h 10369"/>
                  <a:gd name="connsiteX77" fmla="*/ 3260 w 10002"/>
                  <a:gd name="connsiteY77" fmla="*/ 9289 h 10369"/>
                  <a:gd name="connsiteX78" fmla="*/ 3331 w 10002"/>
                  <a:gd name="connsiteY78" fmla="*/ 9223 h 10369"/>
                  <a:gd name="connsiteX79" fmla="*/ 3399 w 10002"/>
                  <a:gd name="connsiteY79" fmla="*/ 9170 h 10369"/>
                  <a:gd name="connsiteX80" fmla="*/ 3480 w 10002"/>
                  <a:gd name="connsiteY80" fmla="*/ 9117 h 10369"/>
                  <a:gd name="connsiteX81" fmla="*/ 3561 w 10002"/>
                  <a:gd name="connsiteY81" fmla="*/ 9077 h 10369"/>
                  <a:gd name="connsiteX82" fmla="*/ 3656 w 10002"/>
                  <a:gd name="connsiteY82" fmla="*/ 9044 h 10369"/>
                  <a:gd name="connsiteX83" fmla="*/ 3656 w 10002"/>
                  <a:gd name="connsiteY83" fmla="*/ 8195 h 10369"/>
                  <a:gd name="connsiteX84" fmla="*/ 1541 w 10002"/>
                  <a:gd name="connsiteY84" fmla="*/ 8282 h 10369"/>
                  <a:gd name="connsiteX85" fmla="*/ 2 w 10002"/>
                  <a:gd name="connsiteY85" fmla="*/ 7088 h 10369"/>
                  <a:gd name="connsiteX86" fmla="*/ 2106 w 10002"/>
                  <a:gd name="connsiteY86" fmla="*/ 9555 h 10369"/>
                  <a:gd name="connsiteX87" fmla="*/ 6228 w 10002"/>
                  <a:gd name="connsiteY87" fmla="*/ 10294 h 10369"/>
                  <a:gd name="connsiteX88" fmla="*/ 8631 w 10002"/>
                  <a:gd name="connsiteY88" fmla="*/ 9231 h 10369"/>
                  <a:gd name="connsiteX0" fmla="*/ 8631 w 10002"/>
                  <a:gd name="connsiteY0" fmla="*/ 9231 h 10369"/>
                  <a:gd name="connsiteX1" fmla="*/ 10002 w 10002"/>
                  <a:gd name="connsiteY1" fmla="*/ 7381 h 10369"/>
                  <a:gd name="connsiteX2" fmla="*/ 9175 w 10002"/>
                  <a:gd name="connsiteY2" fmla="*/ 7381 h 10369"/>
                  <a:gd name="connsiteX3" fmla="*/ 9175 w 10002"/>
                  <a:gd name="connsiteY3" fmla="*/ 4128 h 10369"/>
                  <a:gd name="connsiteX4" fmla="*/ 7135 w 10002"/>
                  <a:gd name="connsiteY4" fmla="*/ 4128 h 10369"/>
                  <a:gd name="connsiteX5" fmla="*/ 7135 w 10002"/>
                  <a:gd name="connsiteY5" fmla="*/ 3816 h 10369"/>
                  <a:gd name="connsiteX6" fmla="*/ 8766 w 10002"/>
                  <a:gd name="connsiteY6" fmla="*/ 3816 h 10369"/>
                  <a:gd name="connsiteX7" fmla="*/ 8766 w 10002"/>
                  <a:gd name="connsiteY7" fmla="*/ 3498 h 10369"/>
                  <a:gd name="connsiteX8" fmla="*/ 7135 w 10002"/>
                  <a:gd name="connsiteY8" fmla="*/ 3498 h 10369"/>
                  <a:gd name="connsiteX9" fmla="*/ 7135 w 10002"/>
                  <a:gd name="connsiteY9" fmla="*/ 1365 h 10369"/>
                  <a:gd name="connsiteX10" fmla="*/ 4735 w 10002"/>
                  <a:gd name="connsiteY10" fmla="*/ 550 h 10369"/>
                  <a:gd name="connsiteX11" fmla="*/ 4735 w 10002"/>
                  <a:gd name="connsiteY11" fmla="*/ 5672 h 10369"/>
                  <a:gd name="connsiteX12" fmla="*/ 4355 w 10002"/>
                  <a:gd name="connsiteY12" fmla="*/ 5678 h 10369"/>
                  <a:gd name="connsiteX13" fmla="*/ 4355 w 10002"/>
                  <a:gd name="connsiteY13" fmla="*/ 1756 h 10369"/>
                  <a:gd name="connsiteX14" fmla="*/ 3548 w 10002"/>
                  <a:gd name="connsiteY14" fmla="*/ 2061 h 10369"/>
                  <a:gd name="connsiteX15" fmla="*/ 3112 w 10002"/>
                  <a:gd name="connsiteY15" fmla="*/ 2061 h 10369"/>
                  <a:gd name="connsiteX16" fmla="*/ 3112 w 10002"/>
                  <a:gd name="connsiteY16" fmla="*/ 0 h 10369"/>
                  <a:gd name="connsiteX17" fmla="*/ 2951 w 10002"/>
                  <a:gd name="connsiteY17" fmla="*/ 0 h 10369"/>
                  <a:gd name="connsiteX18" fmla="*/ 2951 w 10002"/>
                  <a:gd name="connsiteY18" fmla="*/ 2061 h 10369"/>
                  <a:gd name="connsiteX19" fmla="*/ 2581 w 10002"/>
                  <a:gd name="connsiteY19" fmla="*/ 2061 h 10369"/>
                  <a:gd name="connsiteX20" fmla="*/ 2581 w 10002"/>
                  <a:gd name="connsiteY20" fmla="*/ 2492 h 10369"/>
                  <a:gd name="connsiteX21" fmla="*/ 1916 w 10002"/>
                  <a:gd name="connsiteY21" fmla="*/ 2815 h 10369"/>
                  <a:gd name="connsiteX22" fmla="*/ 1916 w 10002"/>
                  <a:gd name="connsiteY22" fmla="*/ 4413 h 10369"/>
                  <a:gd name="connsiteX23" fmla="*/ 1560 w 10002"/>
                  <a:gd name="connsiteY23" fmla="*/ 4413 h 10369"/>
                  <a:gd name="connsiteX24" fmla="*/ 1560 w 10002"/>
                  <a:gd name="connsiteY24" fmla="*/ 4837 h 10369"/>
                  <a:gd name="connsiteX25" fmla="*/ 1916 w 10002"/>
                  <a:gd name="connsiteY25" fmla="*/ 4837 h 10369"/>
                  <a:gd name="connsiteX26" fmla="*/ 1916 w 10002"/>
                  <a:gd name="connsiteY26" fmla="*/ 5367 h 10369"/>
                  <a:gd name="connsiteX27" fmla="*/ 1560 w 10002"/>
                  <a:gd name="connsiteY27" fmla="*/ 5367 h 10369"/>
                  <a:gd name="connsiteX28" fmla="*/ 1560 w 10002"/>
                  <a:gd name="connsiteY28" fmla="*/ 5791 h 10369"/>
                  <a:gd name="connsiteX29" fmla="*/ 1916 w 10002"/>
                  <a:gd name="connsiteY29" fmla="*/ 5791 h 10369"/>
                  <a:gd name="connsiteX30" fmla="*/ 1916 w 10002"/>
                  <a:gd name="connsiteY30" fmla="*/ 7043 h 10369"/>
                  <a:gd name="connsiteX31" fmla="*/ 855 w 10002"/>
                  <a:gd name="connsiteY31" fmla="*/ 7043 h 10369"/>
                  <a:gd name="connsiteX32" fmla="*/ 855 w 10002"/>
                  <a:gd name="connsiteY32" fmla="*/ 7818 h 10369"/>
                  <a:gd name="connsiteX33" fmla="*/ 1399 w 10002"/>
                  <a:gd name="connsiteY33" fmla="*/ 7838 h 10369"/>
                  <a:gd name="connsiteX34" fmla="*/ 2136 w 10002"/>
                  <a:gd name="connsiteY34" fmla="*/ 7315 h 10369"/>
                  <a:gd name="connsiteX35" fmla="*/ 2130 w 10002"/>
                  <a:gd name="connsiteY35" fmla="*/ 7818 h 10369"/>
                  <a:gd name="connsiteX36" fmla="*/ 2809 w 10002"/>
                  <a:gd name="connsiteY36" fmla="*/ 7368 h 10369"/>
                  <a:gd name="connsiteX37" fmla="*/ 2809 w 10002"/>
                  <a:gd name="connsiteY37" fmla="*/ 7818 h 10369"/>
                  <a:gd name="connsiteX38" fmla="*/ 3480 w 10002"/>
                  <a:gd name="connsiteY38" fmla="*/ 7361 h 10369"/>
                  <a:gd name="connsiteX39" fmla="*/ 3486 w 10002"/>
                  <a:gd name="connsiteY39" fmla="*/ 7811 h 10369"/>
                  <a:gd name="connsiteX40" fmla="*/ 4132 w 10002"/>
                  <a:gd name="connsiteY40" fmla="*/ 7328 h 10369"/>
                  <a:gd name="connsiteX41" fmla="*/ 4132 w 10002"/>
                  <a:gd name="connsiteY41" fmla="*/ 8613 h 10369"/>
                  <a:gd name="connsiteX42" fmla="*/ 4207 w 10002"/>
                  <a:gd name="connsiteY42" fmla="*/ 8520 h 10369"/>
                  <a:gd name="connsiteX43" fmla="*/ 4280 w 10002"/>
                  <a:gd name="connsiteY43" fmla="*/ 8434 h 10369"/>
                  <a:gd name="connsiteX44" fmla="*/ 4370 w 10002"/>
                  <a:gd name="connsiteY44" fmla="*/ 8361 h 10369"/>
                  <a:gd name="connsiteX45" fmla="*/ 4469 w 10002"/>
                  <a:gd name="connsiteY45" fmla="*/ 8295 h 10369"/>
                  <a:gd name="connsiteX46" fmla="*/ 4569 w 10002"/>
                  <a:gd name="connsiteY46" fmla="*/ 8249 h 10369"/>
                  <a:gd name="connsiteX47" fmla="*/ 4676 w 10002"/>
                  <a:gd name="connsiteY47" fmla="*/ 8215 h 10369"/>
                  <a:gd name="connsiteX48" fmla="*/ 4788 w 10002"/>
                  <a:gd name="connsiteY48" fmla="*/ 8189 h 10369"/>
                  <a:gd name="connsiteX49" fmla="*/ 4917 w 10002"/>
                  <a:gd name="connsiteY49" fmla="*/ 8182 h 10369"/>
                  <a:gd name="connsiteX50" fmla="*/ 5093 w 10002"/>
                  <a:gd name="connsiteY50" fmla="*/ 8195 h 10369"/>
                  <a:gd name="connsiteX51" fmla="*/ 5268 w 10002"/>
                  <a:gd name="connsiteY51" fmla="*/ 8242 h 10369"/>
                  <a:gd name="connsiteX52" fmla="*/ 5408 w 10002"/>
                  <a:gd name="connsiteY52" fmla="*/ 8321 h 10369"/>
                  <a:gd name="connsiteX53" fmla="*/ 5551 w 10002"/>
                  <a:gd name="connsiteY53" fmla="*/ 8421 h 10369"/>
                  <a:gd name="connsiteX54" fmla="*/ 5672 w 10002"/>
                  <a:gd name="connsiteY54" fmla="*/ 8540 h 10369"/>
                  <a:gd name="connsiteX55" fmla="*/ 5752 w 10002"/>
                  <a:gd name="connsiteY55" fmla="*/ 8686 h 10369"/>
                  <a:gd name="connsiteX56" fmla="*/ 5826 w 10002"/>
                  <a:gd name="connsiteY56" fmla="*/ 8838 h 10369"/>
                  <a:gd name="connsiteX57" fmla="*/ 5851 w 10002"/>
                  <a:gd name="connsiteY57" fmla="*/ 9004 h 10369"/>
                  <a:gd name="connsiteX58" fmla="*/ 5885 w 10002"/>
                  <a:gd name="connsiteY58" fmla="*/ 8997 h 10369"/>
                  <a:gd name="connsiteX59" fmla="*/ 5912 w 10002"/>
                  <a:gd name="connsiteY59" fmla="*/ 8997 h 10369"/>
                  <a:gd name="connsiteX60" fmla="*/ 5939 w 10002"/>
                  <a:gd name="connsiteY60" fmla="*/ 8991 h 10369"/>
                  <a:gd name="connsiteX61" fmla="*/ 5965 w 10002"/>
                  <a:gd name="connsiteY61" fmla="*/ 8991 h 10369"/>
                  <a:gd name="connsiteX62" fmla="*/ 5999 w 10002"/>
                  <a:gd name="connsiteY62" fmla="*/ 8984 h 10369"/>
                  <a:gd name="connsiteX63" fmla="*/ 6031 w 10002"/>
                  <a:gd name="connsiteY63" fmla="*/ 8984 h 10369"/>
                  <a:gd name="connsiteX64" fmla="*/ 6059 w 10002"/>
                  <a:gd name="connsiteY64" fmla="*/ 8984 h 10369"/>
                  <a:gd name="connsiteX65" fmla="*/ 6094 w 10002"/>
                  <a:gd name="connsiteY65" fmla="*/ 8984 h 10369"/>
                  <a:gd name="connsiteX66" fmla="*/ 6234 w 10002"/>
                  <a:gd name="connsiteY66" fmla="*/ 8991 h 10369"/>
                  <a:gd name="connsiteX67" fmla="*/ 6362 w 10002"/>
                  <a:gd name="connsiteY67" fmla="*/ 9024 h 10369"/>
                  <a:gd name="connsiteX68" fmla="*/ 6489 w 10002"/>
                  <a:gd name="connsiteY68" fmla="*/ 9070 h 10369"/>
                  <a:gd name="connsiteX69" fmla="*/ 6605 w 10002"/>
                  <a:gd name="connsiteY69" fmla="*/ 9137 h 10369"/>
                  <a:gd name="connsiteX70" fmla="*/ 6711 w 10002"/>
                  <a:gd name="connsiteY70" fmla="*/ 9216 h 10369"/>
                  <a:gd name="connsiteX71" fmla="*/ 6806 w 10002"/>
                  <a:gd name="connsiteY71" fmla="*/ 9302 h 10369"/>
                  <a:gd name="connsiteX72" fmla="*/ 6881 w 10002"/>
                  <a:gd name="connsiteY72" fmla="*/ 9415 h 10369"/>
                  <a:gd name="connsiteX73" fmla="*/ 6948 w 10002"/>
                  <a:gd name="connsiteY73" fmla="*/ 9527 h 10369"/>
                  <a:gd name="connsiteX74" fmla="*/ 3112 w 10002"/>
                  <a:gd name="connsiteY74" fmla="*/ 9527 h 10369"/>
                  <a:gd name="connsiteX75" fmla="*/ 3151 w 10002"/>
                  <a:gd name="connsiteY75" fmla="*/ 9441 h 10369"/>
                  <a:gd name="connsiteX76" fmla="*/ 3205 w 10002"/>
                  <a:gd name="connsiteY76" fmla="*/ 9355 h 10369"/>
                  <a:gd name="connsiteX77" fmla="*/ 3260 w 10002"/>
                  <a:gd name="connsiteY77" fmla="*/ 9289 h 10369"/>
                  <a:gd name="connsiteX78" fmla="*/ 3331 w 10002"/>
                  <a:gd name="connsiteY78" fmla="*/ 9223 h 10369"/>
                  <a:gd name="connsiteX79" fmla="*/ 3399 w 10002"/>
                  <a:gd name="connsiteY79" fmla="*/ 9170 h 10369"/>
                  <a:gd name="connsiteX80" fmla="*/ 3480 w 10002"/>
                  <a:gd name="connsiteY80" fmla="*/ 9117 h 10369"/>
                  <a:gd name="connsiteX81" fmla="*/ 3561 w 10002"/>
                  <a:gd name="connsiteY81" fmla="*/ 9077 h 10369"/>
                  <a:gd name="connsiteX82" fmla="*/ 3656 w 10002"/>
                  <a:gd name="connsiteY82" fmla="*/ 9044 h 10369"/>
                  <a:gd name="connsiteX83" fmla="*/ 3656 w 10002"/>
                  <a:gd name="connsiteY83" fmla="*/ 8195 h 10369"/>
                  <a:gd name="connsiteX84" fmla="*/ 1541 w 10002"/>
                  <a:gd name="connsiteY84" fmla="*/ 8282 h 10369"/>
                  <a:gd name="connsiteX85" fmla="*/ 2 w 10002"/>
                  <a:gd name="connsiteY85" fmla="*/ 7088 h 10369"/>
                  <a:gd name="connsiteX86" fmla="*/ 2106 w 10002"/>
                  <a:gd name="connsiteY86" fmla="*/ 9555 h 10369"/>
                  <a:gd name="connsiteX87" fmla="*/ 6228 w 10002"/>
                  <a:gd name="connsiteY87" fmla="*/ 10294 h 10369"/>
                  <a:gd name="connsiteX88" fmla="*/ 8631 w 10002"/>
                  <a:gd name="connsiteY88" fmla="*/ 9231 h 10369"/>
                  <a:gd name="connsiteX0" fmla="*/ 8389 w 9760"/>
                  <a:gd name="connsiteY0" fmla="*/ 9231 h 10327"/>
                  <a:gd name="connsiteX1" fmla="*/ 9760 w 9760"/>
                  <a:gd name="connsiteY1" fmla="*/ 7381 h 10327"/>
                  <a:gd name="connsiteX2" fmla="*/ 8933 w 9760"/>
                  <a:gd name="connsiteY2" fmla="*/ 7381 h 10327"/>
                  <a:gd name="connsiteX3" fmla="*/ 8933 w 9760"/>
                  <a:gd name="connsiteY3" fmla="*/ 4128 h 10327"/>
                  <a:gd name="connsiteX4" fmla="*/ 6893 w 9760"/>
                  <a:gd name="connsiteY4" fmla="*/ 4128 h 10327"/>
                  <a:gd name="connsiteX5" fmla="*/ 6893 w 9760"/>
                  <a:gd name="connsiteY5" fmla="*/ 3816 h 10327"/>
                  <a:gd name="connsiteX6" fmla="*/ 8524 w 9760"/>
                  <a:gd name="connsiteY6" fmla="*/ 3816 h 10327"/>
                  <a:gd name="connsiteX7" fmla="*/ 8524 w 9760"/>
                  <a:gd name="connsiteY7" fmla="*/ 3498 h 10327"/>
                  <a:gd name="connsiteX8" fmla="*/ 6893 w 9760"/>
                  <a:gd name="connsiteY8" fmla="*/ 3498 h 10327"/>
                  <a:gd name="connsiteX9" fmla="*/ 6893 w 9760"/>
                  <a:gd name="connsiteY9" fmla="*/ 1365 h 10327"/>
                  <a:gd name="connsiteX10" fmla="*/ 4493 w 9760"/>
                  <a:gd name="connsiteY10" fmla="*/ 550 h 10327"/>
                  <a:gd name="connsiteX11" fmla="*/ 4493 w 9760"/>
                  <a:gd name="connsiteY11" fmla="*/ 5672 h 10327"/>
                  <a:gd name="connsiteX12" fmla="*/ 4113 w 9760"/>
                  <a:gd name="connsiteY12" fmla="*/ 5678 h 10327"/>
                  <a:gd name="connsiteX13" fmla="*/ 4113 w 9760"/>
                  <a:gd name="connsiteY13" fmla="*/ 1756 h 10327"/>
                  <a:gd name="connsiteX14" fmla="*/ 3306 w 9760"/>
                  <a:gd name="connsiteY14" fmla="*/ 2061 h 10327"/>
                  <a:gd name="connsiteX15" fmla="*/ 2870 w 9760"/>
                  <a:gd name="connsiteY15" fmla="*/ 2061 h 10327"/>
                  <a:gd name="connsiteX16" fmla="*/ 2870 w 9760"/>
                  <a:gd name="connsiteY16" fmla="*/ 0 h 10327"/>
                  <a:gd name="connsiteX17" fmla="*/ 2709 w 9760"/>
                  <a:gd name="connsiteY17" fmla="*/ 0 h 10327"/>
                  <a:gd name="connsiteX18" fmla="*/ 2709 w 9760"/>
                  <a:gd name="connsiteY18" fmla="*/ 2061 h 10327"/>
                  <a:gd name="connsiteX19" fmla="*/ 2339 w 9760"/>
                  <a:gd name="connsiteY19" fmla="*/ 2061 h 10327"/>
                  <a:gd name="connsiteX20" fmla="*/ 2339 w 9760"/>
                  <a:gd name="connsiteY20" fmla="*/ 2492 h 10327"/>
                  <a:gd name="connsiteX21" fmla="*/ 1674 w 9760"/>
                  <a:gd name="connsiteY21" fmla="*/ 2815 h 10327"/>
                  <a:gd name="connsiteX22" fmla="*/ 1674 w 9760"/>
                  <a:gd name="connsiteY22" fmla="*/ 4413 h 10327"/>
                  <a:gd name="connsiteX23" fmla="*/ 1318 w 9760"/>
                  <a:gd name="connsiteY23" fmla="*/ 4413 h 10327"/>
                  <a:gd name="connsiteX24" fmla="*/ 1318 w 9760"/>
                  <a:gd name="connsiteY24" fmla="*/ 4837 h 10327"/>
                  <a:gd name="connsiteX25" fmla="*/ 1674 w 9760"/>
                  <a:gd name="connsiteY25" fmla="*/ 4837 h 10327"/>
                  <a:gd name="connsiteX26" fmla="*/ 1674 w 9760"/>
                  <a:gd name="connsiteY26" fmla="*/ 5367 h 10327"/>
                  <a:gd name="connsiteX27" fmla="*/ 1318 w 9760"/>
                  <a:gd name="connsiteY27" fmla="*/ 5367 h 10327"/>
                  <a:gd name="connsiteX28" fmla="*/ 1318 w 9760"/>
                  <a:gd name="connsiteY28" fmla="*/ 5791 h 10327"/>
                  <a:gd name="connsiteX29" fmla="*/ 1674 w 9760"/>
                  <a:gd name="connsiteY29" fmla="*/ 5791 h 10327"/>
                  <a:gd name="connsiteX30" fmla="*/ 1674 w 9760"/>
                  <a:gd name="connsiteY30" fmla="*/ 7043 h 10327"/>
                  <a:gd name="connsiteX31" fmla="*/ 613 w 9760"/>
                  <a:gd name="connsiteY31" fmla="*/ 7043 h 10327"/>
                  <a:gd name="connsiteX32" fmla="*/ 613 w 9760"/>
                  <a:gd name="connsiteY32" fmla="*/ 7818 h 10327"/>
                  <a:gd name="connsiteX33" fmla="*/ 1157 w 9760"/>
                  <a:gd name="connsiteY33" fmla="*/ 7838 h 10327"/>
                  <a:gd name="connsiteX34" fmla="*/ 1894 w 9760"/>
                  <a:gd name="connsiteY34" fmla="*/ 7315 h 10327"/>
                  <a:gd name="connsiteX35" fmla="*/ 1888 w 9760"/>
                  <a:gd name="connsiteY35" fmla="*/ 7818 h 10327"/>
                  <a:gd name="connsiteX36" fmla="*/ 2567 w 9760"/>
                  <a:gd name="connsiteY36" fmla="*/ 7368 h 10327"/>
                  <a:gd name="connsiteX37" fmla="*/ 2567 w 9760"/>
                  <a:gd name="connsiteY37" fmla="*/ 7818 h 10327"/>
                  <a:gd name="connsiteX38" fmla="*/ 3238 w 9760"/>
                  <a:gd name="connsiteY38" fmla="*/ 7361 h 10327"/>
                  <a:gd name="connsiteX39" fmla="*/ 3244 w 9760"/>
                  <a:gd name="connsiteY39" fmla="*/ 7811 h 10327"/>
                  <a:gd name="connsiteX40" fmla="*/ 3890 w 9760"/>
                  <a:gd name="connsiteY40" fmla="*/ 7328 h 10327"/>
                  <a:gd name="connsiteX41" fmla="*/ 3890 w 9760"/>
                  <a:gd name="connsiteY41" fmla="*/ 8613 h 10327"/>
                  <a:gd name="connsiteX42" fmla="*/ 3965 w 9760"/>
                  <a:gd name="connsiteY42" fmla="*/ 8520 h 10327"/>
                  <a:gd name="connsiteX43" fmla="*/ 4038 w 9760"/>
                  <a:gd name="connsiteY43" fmla="*/ 8434 h 10327"/>
                  <a:gd name="connsiteX44" fmla="*/ 4128 w 9760"/>
                  <a:gd name="connsiteY44" fmla="*/ 8361 h 10327"/>
                  <a:gd name="connsiteX45" fmla="*/ 4227 w 9760"/>
                  <a:gd name="connsiteY45" fmla="*/ 8295 h 10327"/>
                  <a:gd name="connsiteX46" fmla="*/ 4327 w 9760"/>
                  <a:gd name="connsiteY46" fmla="*/ 8249 h 10327"/>
                  <a:gd name="connsiteX47" fmla="*/ 4434 w 9760"/>
                  <a:gd name="connsiteY47" fmla="*/ 8215 h 10327"/>
                  <a:gd name="connsiteX48" fmla="*/ 4546 w 9760"/>
                  <a:gd name="connsiteY48" fmla="*/ 8189 h 10327"/>
                  <a:gd name="connsiteX49" fmla="*/ 4675 w 9760"/>
                  <a:gd name="connsiteY49" fmla="*/ 8182 h 10327"/>
                  <a:gd name="connsiteX50" fmla="*/ 4851 w 9760"/>
                  <a:gd name="connsiteY50" fmla="*/ 8195 h 10327"/>
                  <a:gd name="connsiteX51" fmla="*/ 5026 w 9760"/>
                  <a:gd name="connsiteY51" fmla="*/ 8242 h 10327"/>
                  <a:gd name="connsiteX52" fmla="*/ 5166 w 9760"/>
                  <a:gd name="connsiteY52" fmla="*/ 8321 h 10327"/>
                  <a:gd name="connsiteX53" fmla="*/ 5309 w 9760"/>
                  <a:gd name="connsiteY53" fmla="*/ 8421 h 10327"/>
                  <a:gd name="connsiteX54" fmla="*/ 5430 w 9760"/>
                  <a:gd name="connsiteY54" fmla="*/ 8540 h 10327"/>
                  <a:gd name="connsiteX55" fmla="*/ 5510 w 9760"/>
                  <a:gd name="connsiteY55" fmla="*/ 8686 h 10327"/>
                  <a:gd name="connsiteX56" fmla="*/ 5584 w 9760"/>
                  <a:gd name="connsiteY56" fmla="*/ 8838 h 10327"/>
                  <a:gd name="connsiteX57" fmla="*/ 5609 w 9760"/>
                  <a:gd name="connsiteY57" fmla="*/ 9004 h 10327"/>
                  <a:gd name="connsiteX58" fmla="*/ 5643 w 9760"/>
                  <a:gd name="connsiteY58" fmla="*/ 8997 h 10327"/>
                  <a:gd name="connsiteX59" fmla="*/ 5670 w 9760"/>
                  <a:gd name="connsiteY59" fmla="*/ 8997 h 10327"/>
                  <a:gd name="connsiteX60" fmla="*/ 5697 w 9760"/>
                  <a:gd name="connsiteY60" fmla="*/ 8991 h 10327"/>
                  <a:gd name="connsiteX61" fmla="*/ 5723 w 9760"/>
                  <a:gd name="connsiteY61" fmla="*/ 8991 h 10327"/>
                  <a:gd name="connsiteX62" fmla="*/ 5757 w 9760"/>
                  <a:gd name="connsiteY62" fmla="*/ 8984 h 10327"/>
                  <a:gd name="connsiteX63" fmla="*/ 5789 w 9760"/>
                  <a:gd name="connsiteY63" fmla="*/ 8984 h 10327"/>
                  <a:gd name="connsiteX64" fmla="*/ 5817 w 9760"/>
                  <a:gd name="connsiteY64" fmla="*/ 8984 h 10327"/>
                  <a:gd name="connsiteX65" fmla="*/ 5852 w 9760"/>
                  <a:gd name="connsiteY65" fmla="*/ 8984 h 10327"/>
                  <a:gd name="connsiteX66" fmla="*/ 5992 w 9760"/>
                  <a:gd name="connsiteY66" fmla="*/ 8991 h 10327"/>
                  <a:gd name="connsiteX67" fmla="*/ 6120 w 9760"/>
                  <a:gd name="connsiteY67" fmla="*/ 9024 h 10327"/>
                  <a:gd name="connsiteX68" fmla="*/ 6247 w 9760"/>
                  <a:gd name="connsiteY68" fmla="*/ 9070 h 10327"/>
                  <a:gd name="connsiteX69" fmla="*/ 6363 w 9760"/>
                  <a:gd name="connsiteY69" fmla="*/ 9137 h 10327"/>
                  <a:gd name="connsiteX70" fmla="*/ 6469 w 9760"/>
                  <a:gd name="connsiteY70" fmla="*/ 9216 h 10327"/>
                  <a:gd name="connsiteX71" fmla="*/ 6564 w 9760"/>
                  <a:gd name="connsiteY71" fmla="*/ 9302 h 10327"/>
                  <a:gd name="connsiteX72" fmla="*/ 6639 w 9760"/>
                  <a:gd name="connsiteY72" fmla="*/ 9415 h 10327"/>
                  <a:gd name="connsiteX73" fmla="*/ 6706 w 9760"/>
                  <a:gd name="connsiteY73" fmla="*/ 9527 h 10327"/>
                  <a:gd name="connsiteX74" fmla="*/ 2870 w 9760"/>
                  <a:gd name="connsiteY74" fmla="*/ 9527 h 10327"/>
                  <a:gd name="connsiteX75" fmla="*/ 2909 w 9760"/>
                  <a:gd name="connsiteY75" fmla="*/ 9441 h 10327"/>
                  <a:gd name="connsiteX76" fmla="*/ 2963 w 9760"/>
                  <a:gd name="connsiteY76" fmla="*/ 9355 h 10327"/>
                  <a:gd name="connsiteX77" fmla="*/ 3018 w 9760"/>
                  <a:gd name="connsiteY77" fmla="*/ 9289 h 10327"/>
                  <a:gd name="connsiteX78" fmla="*/ 3089 w 9760"/>
                  <a:gd name="connsiteY78" fmla="*/ 9223 h 10327"/>
                  <a:gd name="connsiteX79" fmla="*/ 3157 w 9760"/>
                  <a:gd name="connsiteY79" fmla="*/ 9170 h 10327"/>
                  <a:gd name="connsiteX80" fmla="*/ 3238 w 9760"/>
                  <a:gd name="connsiteY80" fmla="*/ 9117 h 10327"/>
                  <a:gd name="connsiteX81" fmla="*/ 3319 w 9760"/>
                  <a:gd name="connsiteY81" fmla="*/ 9077 h 10327"/>
                  <a:gd name="connsiteX82" fmla="*/ 3414 w 9760"/>
                  <a:gd name="connsiteY82" fmla="*/ 9044 h 10327"/>
                  <a:gd name="connsiteX83" fmla="*/ 3414 w 9760"/>
                  <a:gd name="connsiteY83" fmla="*/ 8195 h 10327"/>
                  <a:gd name="connsiteX84" fmla="*/ 1299 w 9760"/>
                  <a:gd name="connsiteY84" fmla="*/ 8282 h 10327"/>
                  <a:gd name="connsiteX85" fmla="*/ 3 w 9760"/>
                  <a:gd name="connsiteY85" fmla="*/ 7529 h 10327"/>
                  <a:gd name="connsiteX86" fmla="*/ 1864 w 9760"/>
                  <a:gd name="connsiteY86" fmla="*/ 9555 h 10327"/>
                  <a:gd name="connsiteX87" fmla="*/ 5986 w 9760"/>
                  <a:gd name="connsiteY87" fmla="*/ 10294 h 10327"/>
                  <a:gd name="connsiteX88" fmla="*/ 8389 w 9760"/>
                  <a:gd name="connsiteY88" fmla="*/ 9231 h 10327"/>
                  <a:gd name="connsiteX0" fmla="*/ 8595 w 10000"/>
                  <a:gd name="connsiteY0" fmla="*/ 8939 h 9989"/>
                  <a:gd name="connsiteX1" fmla="*/ 10000 w 10000"/>
                  <a:gd name="connsiteY1" fmla="*/ 7147 h 9989"/>
                  <a:gd name="connsiteX2" fmla="*/ 9153 w 10000"/>
                  <a:gd name="connsiteY2" fmla="*/ 7147 h 9989"/>
                  <a:gd name="connsiteX3" fmla="*/ 9153 w 10000"/>
                  <a:gd name="connsiteY3" fmla="*/ 3997 h 9989"/>
                  <a:gd name="connsiteX4" fmla="*/ 7063 w 10000"/>
                  <a:gd name="connsiteY4" fmla="*/ 3997 h 9989"/>
                  <a:gd name="connsiteX5" fmla="*/ 7063 w 10000"/>
                  <a:gd name="connsiteY5" fmla="*/ 3695 h 9989"/>
                  <a:gd name="connsiteX6" fmla="*/ 8734 w 10000"/>
                  <a:gd name="connsiteY6" fmla="*/ 3695 h 9989"/>
                  <a:gd name="connsiteX7" fmla="*/ 8734 w 10000"/>
                  <a:gd name="connsiteY7" fmla="*/ 3387 h 9989"/>
                  <a:gd name="connsiteX8" fmla="*/ 7063 w 10000"/>
                  <a:gd name="connsiteY8" fmla="*/ 3387 h 9989"/>
                  <a:gd name="connsiteX9" fmla="*/ 7063 w 10000"/>
                  <a:gd name="connsiteY9" fmla="*/ 1322 h 9989"/>
                  <a:gd name="connsiteX10" fmla="*/ 4603 w 10000"/>
                  <a:gd name="connsiteY10" fmla="*/ 533 h 9989"/>
                  <a:gd name="connsiteX11" fmla="*/ 4603 w 10000"/>
                  <a:gd name="connsiteY11" fmla="*/ 5492 h 9989"/>
                  <a:gd name="connsiteX12" fmla="*/ 4214 w 10000"/>
                  <a:gd name="connsiteY12" fmla="*/ 5498 h 9989"/>
                  <a:gd name="connsiteX13" fmla="*/ 4214 w 10000"/>
                  <a:gd name="connsiteY13" fmla="*/ 1700 h 9989"/>
                  <a:gd name="connsiteX14" fmla="*/ 3387 w 10000"/>
                  <a:gd name="connsiteY14" fmla="*/ 1996 h 9989"/>
                  <a:gd name="connsiteX15" fmla="*/ 2941 w 10000"/>
                  <a:gd name="connsiteY15" fmla="*/ 1996 h 9989"/>
                  <a:gd name="connsiteX16" fmla="*/ 2941 w 10000"/>
                  <a:gd name="connsiteY16" fmla="*/ 0 h 9989"/>
                  <a:gd name="connsiteX17" fmla="*/ 2776 w 10000"/>
                  <a:gd name="connsiteY17" fmla="*/ 0 h 9989"/>
                  <a:gd name="connsiteX18" fmla="*/ 2776 w 10000"/>
                  <a:gd name="connsiteY18" fmla="*/ 1996 h 9989"/>
                  <a:gd name="connsiteX19" fmla="*/ 2397 w 10000"/>
                  <a:gd name="connsiteY19" fmla="*/ 1996 h 9989"/>
                  <a:gd name="connsiteX20" fmla="*/ 2397 w 10000"/>
                  <a:gd name="connsiteY20" fmla="*/ 2413 h 9989"/>
                  <a:gd name="connsiteX21" fmla="*/ 1715 w 10000"/>
                  <a:gd name="connsiteY21" fmla="*/ 2726 h 9989"/>
                  <a:gd name="connsiteX22" fmla="*/ 1715 w 10000"/>
                  <a:gd name="connsiteY22" fmla="*/ 4273 h 9989"/>
                  <a:gd name="connsiteX23" fmla="*/ 1350 w 10000"/>
                  <a:gd name="connsiteY23" fmla="*/ 4273 h 9989"/>
                  <a:gd name="connsiteX24" fmla="*/ 1350 w 10000"/>
                  <a:gd name="connsiteY24" fmla="*/ 4684 h 9989"/>
                  <a:gd name="connsiteX25" fmla="*/ 1715 w 10000"/>
                  <a:gd name="connsiteY25" fmla="*/ 4684 h 9989"/>
                  <a:gd name="connsiteX26" fmla="*/ 1715 w 10000"/>
                  <a:gd name="connsiteY26" fmla="*/ 5197 h 9989"/>
                  <a:gd name="connsiteX27" fmla="*/ 1350 w 10000"/>
                  <a:gd name="connsiteY27" fmla="*/ 5197 h 9989"/>
                  <a:gd name="connsiteX28" fmla="*/ 1350 w 10000"/>
                  <a:gd name="connsiteY28" fmla="*/ 5608 h 9989"/>
                  <a:gd name="connsiteX29" fmla="*/ 1715 w 10000"/>
                  <a:gd name="connsiteY29" fmla="*/ 5608 h 9989"/>
                  <a:gd name="connsiteX30" fmla="*/ 1715 w 10000"/>
                  <a:gd name="connsiteY30" fmla="*/ 6820 h 9989"/>
                  <a:gd name="connsiteX31" fmla="*/ 628 w 10000"/>
                  <a:gd name="connsiteY31" fmla="*/ 6820 h 9989"/>
                  <a:gd name="connsiteX32" fmla="*/ 628 w 10000"/>
                  <a:gd name="connsiteY32" fmla="*/ 7570 h 9989"/>
                  <a:gd name="connsiteX33" fmla="*/ 1185 w 10000"/>
                  <a:gd name="connsiteY33" fmla="*/ 7590 h 9989"/>
                  <a:gd name="connsiteX34" fmla="*/ 1941 w 10000"/>
                  <a:gd name="connsiteY34" fmla="*/ 7083 h 9989"/>
                  <a:gd name="connsiteX35" fmla="*/ 1934 w 10000"/>
                  <a:gd name="connsiteY35" fmla="*/ 7570 h 9989"/>
                  <a:gd name="connsiteX36" fmla="*/ 2630 w 10000"/>
                  <a:gd name="connsiteY36" fmla="*/ 7135 h 9989"/>
                  <a:gd name="connsiteX37" fmla="*/ 2630 w 10000"/>
                  <a:gd name="connsiteY37" fmla="*/ 7570 h 9989"/>
                  <a:gd name="connsiteX38" fmla="*/ 3318 w 10000"/>
                  <a:gd name="connsiteY38" fmla="*/ 7128 h 9989"/>
                  <a:gd name="connsiteX39" fmla="*/ 3324 w 10000"/>
                  <a:gd name="connsiteY39" fmla="*/ 7564 h 9989"/>
                  <a:gd name="connsiteX40" fmla="*/ 3986 w 10000"/>
                  <a:gd name="connsiteY40" fmla="*/ 7096 h 9989"/>
                  <a:gd name="connsiteX41" fmla="*/ 3986 w 10000"/>
                  <a:gd name="connsiteY41" fmla="*/ 8340 h 9989"/>
                  <a:gd name="connsiteX42" fmla="*/ 4063 w 10000"/>
                  <a:gd name="connsiteY42" fmla="*/ 8250 h 9989"/>
                  <a:gd name="connsiteX43" fmla="*/ 4137 w 10000"/>
                  <a:gd name="connsiteY43" fmla="*/ 8167 h 9989"/>
                  <a:gd name="connsiteX44" fmla="*/ 4230 w 10000"/>
                  <a:gd name="connsiteY44" fmla="*/ 8096 h 9989"/>
                  <a:gd name="connsiteX45" fmla="*/ 4331 w 10000"/>
                  <a:gd name="connsiteY45" fmla="*/ 8032 h 9989"/>
                  <a:gd name="connsiteX46" fmla="*/ 4433 w 10000"/>
                  <a:gd name="connsiteY46" fmla="*/ 7988 h 9989"/>
                  <a:gd name="connsiteX47" fmla="*/ 4543 w 10000"/>
                  <a:gd name="connsiteY47" fmla="*/ 7955 h 9989"/>
                  <a:gd name="connsiteX48" fmla="*/ 4658 w 10000"/>
                  <a:gd name="connsiteY48" fmla="*/ 7930 h 9989"/>
                  <a:gd name="connsiteX49" fmla="*/ 4790 w 10000"/>
                  <a:gd name="connsiteY49" fmla="*/ 7923 h 9989"/>
                  <a:gd name="connsiteX50" fmla="*/ 4970 w 10000"/>
                  <a:gd name="connsiteY50" fmla="*/ 7936 h 9989"/>
                  <a:gd name="connsiteX51" fmla="*/ 5150 w 10000"/>
                  <a:gd name="connsiteY51" fmla="*/ 7981 h 9989"/>
                  <a:gd name="connsiteX52" fmla="*/ 5293 w 10000"/>
                  <a:gd name="connsiteY52" fmla="*/ 8058 h 9989"/>
                  <a:gd name="connsiteX53" fmla="*/ 5440 w 10000"/>
                  <a:gd name="connsiteY53" fmla="*/ 8154 h 9989"/>
                  <a:gd name="connsiteX54" fmla="*/ 5564 w 10000"/>
                  <a:gd name="connsiteY54" fmla="*/ 8270 h 9989"/>
                  <a:gd name="connsiteX55" fmla="*/ 5645 w 10000"/>
                  <a:gd name="connsiteY55" fmla="*/ 8411 h 9989"/>
                  <a:gd name="connsiteX56" fmla="*/ 5721 w 10000"/>
                  <a:gd name="connsiteY56" fmla="*/ 8558 h 9989"/>
                  <a:gd name="connsiteX57" fmla="*/ 5747 w 10000"/>
                  <a:gd name="connsiteY57" fmla="*/ 8719 h 9989"/>
                  <a:gd name="connsiteX58" fmla="*/ 5782 w 10000"/>
                  <a:gd name="connsiteY58" fmla="*/ 8712 h 9989"/>
                  <a:gd name="connsiteX59" fmla="*/ 5809 w 10000"/>
                  <a:gd name="connsiteY59" fmla="*/ 8712 h 9989"/>
                  <a:gd name="connsiteX60" fmla="*/ 5837 w 10000"/>
                  <a:gd name="connsiteY60" fmla="*/ 8706 h 9989"/>
                  <a:gd name="connsiteX61" fmla="*/ 5864 w 10000"/>
                  <a:gd name="connsiteY61" fmla="*/ 8706 h 9989"/>
                  <a:gd name="connsiteX62" fmla="*/ 5899 w 10000"/>
                  <a:gd name="connsiteY62" fmla="*/ 8700 h 9989"/>
                  <a:gd name="connsiteX63" fmla="*/ 5931 w 10000"/>
                  <a:gd name="connsiteY63" fmla="*/ 8700 h 9989"/>
                  <a:gd name="connsiteX64" fmla="*/ 5960 w 10000"/>
                  <a:gd name="connsiteY64" fmla="*/ 8700 h 9989"/>
                  <a:gd name="connsiteX65" fmla="*/ 5996 w 10000"/>
                  <a:gd name="connsiteY65" fmla="*/ 8700 h 9989"/>
                  <a:gd name="connsiteX66" fmla="*/ 6139 w 10000"/>
                  <a:gd name="connsiteY66" fmla="*/ 8706 h 9989"/>
                  <a:gd name="connsiteX67" fmla="*/ 6270 w 10000"/>
                  <a:gd name="connsiteY67" fmla="*/ 8738 h 9989"/>
                  <a:gd name="connsiteX68" fmla="*/ 6401 w 10000"/>
                  <a:gd name="connsiteY68" fmla="*/ 8783 h 9989"/>
                  <a:gd name="connsiteX69" fmla="*/ 6519 w 10000"/>
                  <a:gd name="connsiteY69" fmla="*/ 8848 h 9989"/>
                  <a:gd name="connsiteX70" fmla="*/ 6628 w 10000"/>
                  <a:gd name="connsiteY70" fmla="*/ 8924 h 9989"/>
                  <a:gd name="connsiteX71" fmla="*/ 6725 w 10000"/>
                  <a:gd name="connsiteY71" fmla="*/ 9007 h 9989"/>
                  <a:gd name="connsiteX72" fmla="*/ 6802 w 10000"/>
                  <a:gd name="connsiteY72" fmla="*/ 9117 h 9989"/>
                  <a:gd name="connsiteX73" fmla="*/ 6871 w 10000"/>
                  <a:gd name="connsiteY73" fmla="*/ 9225 h 9989"/>
                  <a:gd name="connsiteX74" fmla="*/ 2941 w 10000"/>
                  <a:gd name="connsiteY74" fmla="*/ 9225 h 9989"/>
                  <a:gd name="connsiteX75" fmla="*/ 2981 w 10000"/>
                  <a:gd name="connsiteY75" fmla="*/ 9142 h 9989"/>
                  <a:gd name="connsiteX76" fmla="*/ 3036 w 10000"/>
                  <a:gd name="connsiteY76" fmla="*/ 9059 h 9989"/>
                  <a:gd name="connsiteX77" fmla="*/ 3092 w 10000"/>
                  <a:gd name="connsiteY77" fmla="*/ 8995 h 9989"/>
                  <a:gd name="connsiteX78" fmla="*/ 3165 w 10000"/>
                  <a:gd name="connsiteY78" fmla="*/ 8931 h 9989"/>
                  <a:gd name="connsiteX79" fmla="*/ 3235 w 10000"/>
                  <a:gd name="connsiteY79" fmla="*/ 8880 h 9989"/>
                  <a:gd name="connsiteX80" fmla="*/ 3318 w 10000"/>
                  <a:gd name="connsiteY80" fmla="*/ 8828 h 9989"/>
                  <a:gd name="connsiteX81" fmla="*/ 3401 w 10000"/>
                  <a:gd name="connsiteY81" fmla="*/ 8790 h 9989"/>
                  <a:gd name="connsiteX82" fmla="*/ 3498 w 10000"/>
                  <a:gd name="connsiteY82" fmla="*/ 8758 h 9989"/>
                  <a:gd name="connsiteX83" fmla="*/ 3498 w 10000"/>
                  <a:gd name="connsiteY83" fmla="*/ 7936 h 9989"/>
                  <a:gd name="connsiteX84" fmla="*/ 1331 w 10000"/>
                  <a:gd name="connsiteY84" fmla="*/ 8020 h 9989"/>
                  <a:gd name="connsiteX85" fmla="*/ 3 w 10000"/>
                  <a:gd name="connsiteY85" fmla="*/ 7291 h 9989"/>
                  <a:gd name="connsiteX86" fmla="*/ 2409 w 10000"/>
                  <a:gd name="connsiteY86" fmla="*/ 9442 h 9989"/>
                  <a:gd name="connsiteX87" fmla="*/ 6133 w 10000"/>
                  <a:gd name="connsiteY87" fmla="*/ 9968 h 9989"/>
                  <a:gd name="connsiteX88" fmla="*/ 8595 w 10000"/>
                  <a:gd name="connsiteY88" fmla="*/ 8939 h 9989"/>
                  <a:gd name="connsiteX0" fmla="*/ 8595 w 10000"/>
                  <a:gd name="connsiteY0" fmla="*/ 8949 h 10042"/>
                  <a:gd name="connsiteX1" fmla="*/ 10000 w 10000"/>
                  <a:gd name="connsiteY1" fmla="*/ 7155 h 10042"/>
                  <a:gd name="connsiteX2" fmla="*/ 9153 w 10000"/>
                  <a:gd name="connsiteY2" fmla="*/ 7155 h 10042"/>
                  <a:gd name="connsiteX3" fmla="*/ 9153 w 10000"/>
                  <a:gd name="connsiteY3" fmla="*/ 4001 h 10042"/>
                  <a:gd name="connsiteX4" fmla="*/ 7063 w 10000"/>
                  <a:gd name="connsiteY4" fmla="*/ 4001 h 10042"/>
                  <a:gd name="connsiteX5" fmla="*/ 7063 w 10000"/>
                  <a:gd name="connsiteY5" fmla="*/ 3699 h 10042"/>
                  <a:gd name="connsiteX6" fmla="*/ 8734 w 10000"/>
                  <a:gd name="connsiteY6" fmla="*/ 3699 h 10042"/>
                  <a:gd name="connsiteX7" fmla="*/ 8734 w 10000"/>
                  <a:gd name="connsiteY7" fmla="*/ 3391 h 10042"/>
                  <a:gd name="connsiteX8" fmla="*/ 7063 w 10000"/>
                  <a:gd name="connsiteY8" fmla="*/ 3391 h 10042"/>
                  <a:gd name="connsiteX9" fmla="*/ 7063 w 10000"/>
                  <a:gd name="connsiteY9" fmla="*/ 1323 h 10042"/>
                  <a:gd name="connsiteX10" fmla="*/ 4603 w 10000"/>
                  <a:gd name="connsiteY10" fmla="*/ 534 h 10042"/>
                  <a:gd name="connsiteX11" fmla="*/ 4603 w 10000"/>
                  <a:gd name="connsiteY11" fmla="*/ 5498 h 10042"/>
                  <a:gd name="connsiteX12" fmla="*/ 4214 w 10000"/>
                  <a:gd name="connsiteY12" fmla="*/ 5504 h 10042"/>
                  <a:gd name="connsiteX13" fmla="*/ 4214 w 10000"/>
                  <a:gd name="connsiteY13" fmla="*/ 1702 h 10042"/>
                  <a:gd name="connsiteX14" fmla="*/ 3387 w 10000"/>
                  <a:gd name="connsiteY14" fmla="*/ 1998 h 10042"/>
                  <a:gd name="connsiteX15" fmla="*/ 2941 w 10000"/>
                  <a:gd name="connsiteY15" fmla="*/ 1998 h 10042"/>
                  <a:gd name="connsiteX16" fmla="*/ 2941 w 10000"/>
                  <a:gd name="connsiteY16" fmla="*/ 0 h 10042"/>
                  <a:gd name="connsiteX17" fmla="*/ 2776 w 10000"/>
                  <a:gd name="connsiteY17" fmla="*/ 0 h 10042"/>
                  <a:gd name="connsiteX18" fmla="*/ 2776 w 10000"/>
                  <a:gd name="connsiteY18" fmla="*/ 1998 h 10042"/>
                  <a:gd name="connsiteX19" fmla="*/ 2397 w 10000"/>
                  <a:gd name="connsiteY19" fmla="*/ 1998 h 10042"/>
                  <a:gd name="connsiteX20" fmla="*/ 2397 w 10000"/>
                  <a:gd name="connsiteY20" fmla="*/ 2416 h 10042"/>
                  <a:gd name="connsiteX21" fmla="*/ 1715 w 10000"/>
                  <a:gd name="connsiteY21" fmla="*/ 2729 h 10042"/>
                  <a:gd name="connsiteX22" fmla="*/ 1715 w 10000"/>
                  <a:gd name="connsiteY22" fmla="*/ 4278 h 10042"/>
                  <a:gd name="connsiteX23" fmla="*/ 1350 w 10000"/>
                  <a:gd name="connsiteY23" fmla="*/ 4278 h 10042"/>
                  <a:gd name="connsiteX24" fmla="*/ 1350 w 10000"/>
                  <a:gd name="connsiteY24" fmla="*/ 4689 h 10042"/>
                  <a:gd name="connsiteX25" fmla="*/ 1715 w 10000"/>
                  <a:gd name="connsiteY25" fmla="*/ 4689 h 10042"/>
                  <a:gd name="connsiteX26" fmla="*/ 1715 w 10000"/>
                  <a:gd name="connsiteY26" fmla="*/ 5203 h 10042"/>
                  <a:gd name="connsiteX27" fmla="*/ 1350 w 10000"/>
                  <a:gd name="connsiteY27" fmla="*/ 5203 h 10042"/>
                  <a:gd name="connsiteX28" fmla="*/ 1350 w 10000"/>
                  <a:gd name="connsiteY28" fmla="*/ 5614 h 10042"/>
                  <a:gd name="connsiteX29" fmla="*/ 1715 w 10000"/>
                  <a:gd name="connsiteY29" fmla="*/ 5614 h 10042"/>
                  <a:gd name="connsiteX30" fmla="*/ 1715 w 10000"/>
                  <a:gd name="connsiteY30" fmla="*/ 6828 h 10042"/>
                  <a:gd name="connsiteX31" fmla="*/ 628 w 10000"/>
                  <a:gd name="connsiteY31" fmla="*/ 6828 h 10042"/>
                  <a:gd name="connsiteX32" fmla="*/ 628 w 10000"/>
                  <a:gd name="connsiteY32" fmla="*/ 7578 h 10042"/>
                  <a:gd name="connsiteX33" fmla="*/ 1185 w 10000"/>
                  <a:gd name="connsiteY33" fmla="*/ 7598 h 10042"/>
                  <a:gd name="connsiteX34" fmla="*/ 1941 w 10000"/>
                  <a:gd name="connsiteY34" fmla="*/ 7091 h 10042"/>
                  <a:gd name="connsiteX35" fmla="*/ 1934 w 10000"/>
                  <a:gd name="connsiteY35" fmla="*/ 7578 h 10042"/>
                  <a:gd name="connsiteX36" fmla="*/ 2630 w 10000"/>
                  <a:gd name="connsiteY36" fmla="*/ 7143 h 10042"/>
                  <a:gd name="connsiteX37" fmla="*/ 2630 w 10000"/>
                  <a:gd name="connsiteY37" fmla="*/ 7578 h 10042"/>
                  <a:gd name="connsiteX38" fmla="*/ 3318 w 10000"/>
                  <a:gd name="connsiteY38" fmla="*/ 7136 h 10042"/>
                  <a:gd name="connsiteX39" fmla="*/ 3324 w 10000"/>
                  <a:gd name="connsiteY39" fmla="*/ 7572 h 10042"/>
                  <a:gd name="connsiteX40" fmla="*/ 3986 w 10000"/>
                  <a:gd name="connsiteY40" fmla="*/ 7104 h 10042"/>
                  <a:gd name="connsiteX41" fmla="*/ 3986 w 10000"/>
                  <a:gd name="connsiteY41" fmla="*/ 8349 h 10042"/>
                  <a:gd name="connsiteX42" fmla="*/ 4063 w 10000"/>
                  <a:gd name="connsiteY42" fmla="*/ 8259 h 10042"/>
                  <a:gd name="connsiteX43" fmla="*/ 4137 w 10000"/>
                  <a:gd name="connsiteY43" fmla="*/ 8176 h 10042"/>
                  <a:gd name="connsiteX44" fmla="*/ 4230 w 10000"/>
                  <a:gd name="connsiteY44" fmla="*/ 8105 h 10042"/>
                  <a:gd name="connsiteX45" fmla="*/ 4331 w 10000"/>
                  <a:gd name="connsiteY45" fmla="*/ 8041 h 10042"/>
                  <a:gd name="connsiteX46" fmla="*/ 4433 w 10000"/>
                  <a:gd name="connsiteY46" fmla="*/ 7997 h 10042"/>
                  <a:gd name="connsiteX47" fmla="*/ 4543 w 10000"/>
                  <a:gd name="connsiteY47" fmla="*/ 7964 h 10042"/>
                  <a:gd name="connsiteX48" fmla="*/ 4658 w 10000"/>
                  <a:gd name="connsiteY48" fmla="*/ 7939 h 10042"/>
                  <a:gd name="connsiteX49" fmla="*/ 4790 w 10000"/>
                  <a:gd name="connsiteY49" fmla="*/ 7932 h 10042"/>
                  <a:gd name="connsiteX50" fmla="*/ 4970 w 10000"/>
                  <a:gd name="connsiteY50" fmla="*/ 7945 h 10042"/>
                  <a:gd name="connsiteX51" fmla="*/ 5150 w 10000"/>
                  <a:gd name="connsiteY51" fmla="*/ 7990 h 10042"/>
                  <a:gd name="connsiteX52" fmla="*/ 5293 w 10000"/>
                  <a:gd name="connsiteY52" fmla="*/ 8067 h 10042"/>
                  <a:gd name="connsiteX53" fmla="*/ 5440 w 10000"/>
                  <a:gd name="connsiteY53" fmla="*/ 8163 h 10042"/>
                  <a:gd name="connsiteX54" fmla="*/ 5564 w 10000"/>
                  <a:gd name="connsiteY54" fmla="*/ 8279 h 10042"/>
                  <a:gd name="connsiteX55" fmla="*/ 5645 w 10000"/>
                  <a:gd name="connsiteY55" fmla="*/ 8420 h 10042"/>
                  <a:gd name="connsiteX56" fmla="*/ 5721 w 10000"/>
                  <a:gd name="connsiteY56" fmla="*/ 8567 h 10042"/>
                  <a:gd name="connsiteX57" fmla="*/ 5747 w 10000"/>
                  <a:gd name="connsiteY57" fmla="*/ 8729 h 10042"/>
                  <a:gd name="connsiteX58" fmla="*/ 5782 w 10000"/>
                  <a:gd name="connsiteY58" fmla="*/ 8722 h 10042"/>
                  <a:gd name="connsiteX59" fmla="*/ 5809 w 10000"/>
                  <a:gd name="connsiteY59" fmla="*/ 8722 h 10042"/>
                  <a:gd name="connsiteX60" fmla="*/ 5837 w 10000"/>
                  <a:gd name="connsiteY60" fmla="*/ 8716 h 10042"/>
                  <a:gd name="connsiteX61" fmla="*/ 5864 w 10000"/>
                  <a:gd name="connsiteY61" fmla="*/ 8716 h 10042"/>
                  <a:gd name="connsiteX62" fmla="*/ 5899 w 10000"/>
                  <a:gd name="connsiteY62" fmla="*/ 8710 h 10042"/>
                  <a:gd name="connsiteX63" fmla="*/ 5931 w 10000"/>
                  <a:gd name="connsiteY63" fmla="*/ 8710 h 10042"/>
                  <a:gd name="connsiteX64" fmla="*/ 5960 w 10000"/>
                  <a:gd name="connsiteY64" fmla="*/ 8710 h 10042"/>
                  <a:gd name="connsiteX65" fmla="*/ 5996 w 10000"/>
                  <a:gd name="connsiteY65" fmla="*/ 8710 h 10042"/>
                  <a:gd name="connsiteX66" fmla="*/ 6139 w 10000"/>
                  <a:gd name="connsiteY66" fmla="*/ 8716 h 10042"/>
                  <a:gd name="connsiteX67" fmla="*/ 6270 w 10000"/>
                  <a:gd name="connsiteY67" fmla="*/ 8748 h 10042"/>
                  <a:gd name="connsiteX68" fmla="*/ 6401 w 10000"/>
                  <a:gd name="connsiteY68" fmla="*/ 8793 h 10042"/>
                  <a:gd name="connsiteX69" fmla="*/ 6519 w 10000"/>
                  <a:gd name="connsiteY69" fmla="*/ 8858 h 10042"/>
                  <a:gd name="connsiteX70" fmla="*/ 6628 w 10000"/>
                  <a:gd name="connsiteY70" fmla="*/ 8934 h 10042"/>
                  <a:gd name="connsiteX71" fmla="*/ 6725 w 10000"/>
                  <a:gd name="connsiteY71" fmla="*/ 9017 h 10042"/>
                  <a:gd name="connsiteX72" fmla="*/ 6802 w 10000"/>
                  <a:gd name="connsiteY72" fmla="*/ 9127 h 10042"/>
                  <a:gd name="connsiteX73" fmla="*/ 6871 w 10000"/>
                  <a:gd name="connsiteY73" fmla="*/ 9235 h 10042"/>
                  <a:gd name="connsiteX74" fmla="*/ 2941 w 10000"/>
                  <a:gd name="connsiteY74" fmla="*/ 9235 h 10042"/>
                  <a:gd name="connsiteX75" fmla="*/ 2981 w 10000"/>
                  <a:gd name="connsiteY75" fmla="*/ 9152 h 10042"/>
                  <a:gd name="connsiteX76" fmla="*/ 3036 w 10000"/>
                  <a:gd name="connsiteY76" fmla="*/ 9069 h 10042"/>
                  <a:gd name="connsiteX77" fmla="*/ 3092 w 10000"/>
                  <a:gd name="connsiteY77" fmla="*/ 9005 h 10042"/>
                  <a:gd name="connsiteX78" fmla="*/ 3165 w 10000"/>
                  <a:gd name="connsiteY78" fmla="*/ 8941 h 10042"/>
                  <a:gd name="connsiteX79" fmla="*/ 3235 w 10000"/>
                  <a:gd name="connsiteY79" fmla="*/ 8890 h 10042"/>
                  <a:gd name="connsiteX80" fmla="*/ 3318 w 10000"/>
                  <a:gd name="connsiteY80" fmla="*/ 8838 h 10042"/>
                  <a:gd name="connsiteX81" fmla="*/ 3401 w 10000"/>
                  <a:gd name="connsiteY81" fmla="*/ 8800 h 10042"/>
                  <a:gd name="connsiteX82" fmla="*/ 3498 w 10000"/>
                  <a:gd name="connsiteY82" fmla="*/ 8768 h 10042"/>
                  <a:gd name="connsiteX83" fmla="*/ 3498 w 10000"/>
                  <a:gd name="connsiteY83" fmla="*/ 7945 h 10042"/>
                  <a:gd name="connsiteX84" fmla="*/ 1331 w 10000"/>
                  <a:gd name="connsiteY84" fmla="*/ 8029 h 10042"/>
                  <a:gd name="connsiteX85" fmla="*/ 3 w 10000"/>
                  <a:gd name="connsiteY85" fmla="*/ 7299 h 10042"/>
                  <a:gd name="connsiteX86" fmla="*/ 2409 w 10000"/>
                  <a:gd name="connsiteY86" fmla="*/ 9452 h 10042"/>
                  <a:gd name="connsiteX87" fmla="*/ 6133 w 10000"/>
                  <a:gd name="connsiteY87" fmla="*/ 9979 h 10042"/>
                  <a:gd name="connsiteX88" fmla="*/ 8595 w 10000"/>
                  <a:gd name="connsiteY88" fmla="*/ 8949 h 10042"/>
                  <a:gd name="connsiteX0" fmla="*/ 8595 w 10000"/>
                  <a:gd name="connsiteY0" fmla="*/ 8949 h 10042"/>
                  <a:gd name="connsiteX1" fmla="*/ 10000 w 10000"/>
                  <a:gd name="connsiteY1" fmla="*/ 7155 h 10042"/>
                  <a:gd name="connsiteX2" fmla="*/ 9153 w 10000"/>
                  <a:gd name="connsiteY2" fmla="*/ 7155 h 10042"/>
                  <a:gd name="connsiteX3" fmla="*/ 9153 w 10000"/>
                  <a:gd name="connsiteY3" fmla="*/ 4001 h 10042"/>
                  <a:gd name="connsiteX4" fmla="*/ 7063 w 10000"/>
                  <a:gd name="connsiteY4" fmla="*/ 4001 h 10042"/>
                  <a:gd name="connsiteX5" fmla="*/ 7063 w 10000"/>
                  <a:gd name="connsiteY5" fmla="*/ 3699 h 10042"/>
                  <a:gd name="connsiteX6" fmla="*/ 8734 w 10000"/>
                  <a:gd name="connsiteY6" fmla="*/ 3699 h 10042"/>
                  <a:gd name="connsiteX7" fmla="*/ 8734 w 10000"/>
                  <a:gd name="connsiteY7" fmla="*/ 3391 h 10042"/>
                  <a:gd name="connsiteX8" fmla="*/ 7063 w 10000"/>
                  <a:gd name="connsiteY8" fmla="*/ 3391 h 10042"/>
                  <a:gd name="connsiteX9" fmla="*/ 7063 w 10000"/>
                  <a:gd name="connsiteY9" fmla="*/ 1323 h 10042"/>
                  <a:gd name="connsiteX10" fmla="*/ 4603 w 10000"/>
                  <a:gd name="connsiteY10" fmla="*/ 534 h 10042"/>
                  <a:gd name="connsiteX11" fmla="*/ 4603 w 10000"/>
                  <a:gd name="connsiteY11" fmla="*/ 5498 h 10042"/>
                  <a:gd name="connsiteX12" fmla="*/ 4214 w 10000"/>
                  <a:gd name="connsiteY12" fmla="*/ 5504 h 10042"/>
                  <a:gd name="connsiteX13" fmla="*/ 4214 w 10000"/>
                  <a:gd name="connsiteY13" fmla="*/ 1702 h 10042"/>
                  <a:gd name="connsiteX14" fmla="*/ 3387 w 10000"/>
                  <a:gd name="connsiteY14" fmla="*/ 1998 h 10042"/>
                  <a:gd name="connsiteX15" fmla="*/ 2941 w 10000"/>
                  <a:gd name="connsiteY15" fmla="*/ 1998 h 10042"/>
                  <a:gd name="connsiteX16" fmla="*/ 2941 w 10000"/>
                  <a:gd name="connsiteY16" fmla="*/ 0 h 10042"/>
                  <a:gd name="connsiteX17" fmla="*/ 2776 w 10000"/>
                  <a:gd name="connsiteY17" fmla="*/ 0 h 10042"/>
                  <a:gd name="connsiteX18" fmla="*/ 2776 w 10000"/>
                  <a:gd name="connsiteY18" fmla="*/ 1998 h 10042"/>
                  <a:gd name="connsiteX19" fmla="*/ 2397 w 10000"/>
                  <a:gd name="connsiteY19" fmla="*/ 1998 h 10042"/>
                  <a:gd name="connsiteX20" fmla="*/ 2397 w 10000"/>
                  <a:gd name="connsiteY20" fmla="*/ 2416 h 10042"/>
                  <a:gd name="connsiteX21" fmla="*/ 1715 w 10000"/>
                  <a:gd name="connsiteY21" fmla="*/ 2729 h 10042"/>
                  <a:gd name="connsiteX22" fmla="*/ 1715 w 10000"/>
                  <a:gd name="connsiteY22" fmla="*/ 4278 h 10042"/>
                  <a:gd name="connsiteX23" fmla="*/ 1350 w 10000"/>
                  <a:gd name="connsiteY23" fmla="*/ 4278 h 10042"/>
                  <a:gd name="connsiteX24" fmla="*/ 1350 w 10000"/>
                  <a:gd name="connsiteY24" fmla="*/ 4689 h 10042"/>
                  <a:gd name="connsiteX25" fmla="*/ 1715 w 10000"/>
                  <a:gd name="connsiteY25" fmla="*/ 4689 h 10042"/>
                  <a:gd name="connsiteX26" fmla="*/ 1715 w 10000"/>
                  <a:gd name="connsiteY26" fmla="*/ 5203 h 10042"/>
                  <a:gd name="connsiteX27" fmla="*/ 1350 w 10000"/>
                  <a:gd name="connsiteY27" fmla="*/ 5203 h 10042"/>
                  <a:gd name="connsiteX28" fmla="*/ 1350 w 10000"/>
                  <a:gd name="connsiteY28" fmla="*/ 5614 h 10042"/>
                  <a:gd name="connsiteX29" fmla="*/ 1715 w 10000"/>
                  <a:gd name="connsiteY29" fmla="*/ 5614 h 10042"/>
                  <a:gd name="connsiteX30" fmla="*/ 1715 w 10000"/>
                  <a:gd name="connsiteY30" fmla="*/ 6828 h 10042"/>
                  <a:gd name="connsiteX31" fmla="*/ 628 w 10000"/>
                  <a:gd name="connsiteY31" fmla="*/ 6828 h 10042"/>
                  <a:gd name="connsiteX32" fmla="*/ 628 w 10000"/>
                  <a:gd name="connsiteY32" fmla="*/ 7578 h 10042"/>
                  <a:gd name="connsiteX33" fmla="*/ 1185 w 10000"/>
                  <a:gd name="connsiteY33" fmla="*/ 7598 h 10042"/>
                  <a:gd name="connsiteX34" fmla="*/ 1941 w 10000"/>
                  <a:gd name="connsiteY34" fmla="*/ 7091 h 10042"/>
                  <a:gd name="connsiteX35" fmla="*/ 1934 w 10000"/>
                  <a:gd name="connsiteY35" fmla="*/ 7578 h 10042"/>
                  <a:gd name="connsiteX36" fmla="*/ 2630 w 10000"/>
                  <a:gd name="connsiteY36" fmla="*/ 7143 h 10042"/>
                  <a:gd name="connsiteX37" fmla="*/ 2630 w 10000"/>
                  <a:gd name="connsiteY37" fmla="*/ 7578 h 10042"/>
                  <a:gd name="connsiteX38" fmla="*/ 3318 w 10000"/>
                  <a:gd name="connsiteY38" fmla="*/ 7136 h 10042"/>
                  <a:gd name="connsiteX39" fmla="*/ 3324 w 10000"/>
                  <a:gd name="connsiteY39" fmla="*/ 7572 h 10042"/>
                  <a:gd name="connsiteX40" fmla="*/ 3986 w 10000"/>
                  <a:gd name="connsiteY40" fmla="*/ 7104 h 10042"/>
                  <a:gd name="connsiteX41" fmla="*/ 3986 w 10000"/>
                  <a:gd name="connsiteY41" fmla="*/ 8349 h 10042"/>
                  <a:gd name="connsiteX42" fmla="*/ 4063 w 10000"/>
                  <a:gd name="connsiteY42" fmla="*/ 8259 h 10042"/>
                  <a:gd name="connsiteX43" fmla="*/ 4137 w 10000"/>
                  <a:gd name="connsiteY43" fmla="*/ 8176 h 10042"/>
                  <a:gd name="connsiteX44" fmla="*/ 4230 w 10000"/>
                  <a:gd name="connsiteY44" fmla="*/ 8105 h 10042"/>
                  <a:gd name="connsiteX45" fmla="*/ 4331 w 10000"/>
                  <a:gd name="connsiteY45" fmla="*/ 8041 h 10042"/>
                  <a:gd name="connsiteX46" fmla="*/ 4433 w 10000"/>
                  <a:gd name="connsiteY46" fmla="*/ 7997 h 10042"/>
                  <a:gd name="connsiteX47" fmla="*/ 4543 w 10000"/>
                  <a:gd name="connsiteY47" fmla="*/ 7964 h 10042"/>
                  <a:gd name="connsiteX48" fmla="*/ 4658 w 10000"/>
                  <a:gd name="connsiteY48" fmla="*/ 7939 h 10042"/>
                  <a:gd name="connsiteX49" fmla="*/ 4790 w 10000"/>
                  <a:gd name="connsiteY49" fmla="*/ 7932 h 10042"/>
                  <a:gd name="connsiteX50" fmla="*/ 4970 w 10000"/>
                  <a:gd name="connsiteY50" fmla="*/ 7945 h 10042"/>
                  <a:gd name="connsiteX51" fmla="*/ 5150 w 10000"/>
                  <a:gd name="connsiteY51" fmla="*/ 7990 h 10042"/>
                  <a:gd name="connsiteX52" fmla="*/ 5293 w 10000"/>
                  <a:gd name="connsiteY52" fmla="*/ 8067 h 10042"/>
                  <a:gd name="connsiteX53" fmla="*/ 5440 w 10000"/>
                  <a:gd name="connsiteY53" fmla="*/ 8163 h 10042"/>
                  <a:gd name="connsiteX54" fmla="*/ 5564 w 10000"/>
                  <a:gd name="connsiteY54" fmla="*/ 8279 h 10042"/>
                  <a:gd name="connsiteX55" fmla="*/ 5645 w 10000"/>
                  <a:gd name="connsiteY55" fmla="*/ 8420 h 10042"/>
                  <a:gd name="connsiteX56" fmla="*/ 5721 w 10000"/>
                  <a:gd name="connsiteY56" fmla="*/ 8567 h 10042"/>
                  <a:gd name="connsiteX57" fmla="*/ 5747 w 10000"/>
                  <a:gd name="connsiteY57" fmla="*/ 8729 h 10042"/>
                  <a:gd name="connsiteX58" fmla="*/ 5782 w 10000"/>
                  <a:gd name="connsiteY58" fmla="*/ 8722 h 10042"/>
                  <a:gd name="connsiteX59" fmla="*/ 5809 w 10000"/>
                  <a:gd name="connsiteY59" fmla="*/ 8722 h 10042"/>
                  <a:gd name="connsiteX60" fmla="*/ 5837 w 10000"/>
                  <a:gd name="connsiteY60" fmla="*/ 8716 h 10042"/>
                  <a:gd name="connsiteX61" fmla="*/ 5864 w 10000"/>
                  <a:gd name="connsiteY61" fmla="*/ 8716 h 10042"/>
                  <a:gd name="connsiteX62" fmla="*/ 5899 w 10000"/>
                  <a:gd name="connsiteY62" fmla="*/ 8710 h 10042"/>
                  <a:gd name="connsiteX63" fmla="*/ 5931 w 10000"/>
                  <a:gd name="connsiteY63" fmla="*/ 8710 h 10042"/>
                  <a:gd name="connsiteX64" fmla="*/ 5960 w 10000"/>
                  <a:gd name="connsiteY64" fmla="*/ 8710 h 10042"/>
                  <a:gd name="connsiteX65" fmla="*/ 5996 w 10000"/>
                  <a:gd name="connsiteY65" fmla="*/ 8710 h 10042"/>
                  <a:gd name="connsiteX66" fmla="*/ 6139 w 10000"/>
                  <a:gd name="connsiteY66" fmla="*/ 8716 h 10042"/>
                  <a:gd name="connsiteX67" fmla="*/ 6270 w 10000"/>
                  <a:gd name="connsiteY67" fmla="*/ 8748 h 10042"/>
                  <a:gd name="connsiteX68" fmla="*/ 6401 w 10000"/>
                  <a:gd name="connsiteY68" fmla="*/ 8793 h 10042"/>
                  <a:gd name="connsiteX69" fmla="*/ 6519 w 10000"/>
                  <a:gd name="connsiteY69" fmla="*/ 8858 h 10042"/>
                  <a:gd name="connsiteX70" fmla="*/ 6628 w 10000"/>
                  <a:gd name="connsiteY70" fmla="*/ 8934 h 10042"/>
                  <a:gd name="connsiteX71" fmla="*/ 6725 w 10000"/>
                  <a:gd name="connsiteY71" fmla="*/ 9017 h 10042"/>
                  <a:gd name="connsiteX72" fmla="*/ 6802 w 10000"/>
                  <a:gd name="connsiteY72" fmla="*/ 9127 h 10042"/>
                  <a:gd name="connsiteX73" fmla="*/ 6871 w 10000"/>
                  <a:gd name="connsiteY73" fmla="*/ 9235 h 10042"/>
                  <a:gd name="connsiteX74" fmla="*/ 2941 w 10000"/>
                  <a:gd name="connsiteY74" fmla="*/ 9235 h 10042"/>
                  <a:gd name="connsiteX75" fmla="*/ 2981 w 10000"/>
                  <a:gd name="connsiteY75" fmla="*/ 9152 h 10042"/>
                  <a:gd name="connsiteX76" fmla="*/ 3036 w 10000"/>
                  <a:gd name="connsiteY76" fmla="*/ 9069 h 10042"/>
                  <a:gd name="connsiteX77" fmla="*/ 3092 w 10000"/>
                  <a:gd name="connsiteY77" fmla="*/ 9005 h 10042"/>
                  <a:gd name="connsiteX78" fmla="*/ 3165 w 10000"/>
                  <a:gd name="connsiteY78" fmla="*/ 8941 h 10042"/>
                  <a:gd name="connsiteX79" fmla="*/ 3235 w 10000"/>
                  <a:gd name="connsiteY79" fmla="*/ 8890 h 10042"/>
                  <a:gd name="connsiteX80" fmla="*/ 3318 w 10000"/>
                  <a:gd name="connsiteY80" fmla="*/ 8838 h 10042"/>
                  <a:gd name="connsiteX81" fmla="*/ 3401 w 10000"/>
                  <a:gd name="connsiteY81" fmla="*/ 8800 h 10042"/>
                  <a:gd name="connsiteX82" fmla="*/ 3498 w 10000"/>
                  <a:gd name="connsiteY82" fmla="*/ 8768 h 10042"/>
                  <a:gd name="connsiteX83" fmla="*/ 3498 w 10000"/>
                  <a:gd name="connsiteY83" fmla="*/ 7945 h 10042"/>
                  <a:gd name="connsiteX84" fmla="*/ 1331 w 10000"/>
                  <a:gd name="connsiteY84" fmla="*/ 8029 h 10042"/>
                  <a:gd name="connsiteX85" fmla="*/ 3 w 10000"/>
                  <a:gd name="connsiteY85" fmla="*/ 7299 h 10042"/>
                  <a:gd name="connsiteX86" fmla="*/ 2409 w 10000"/>
                  <a:gd name="connsiteY86" fmla="*/ 9452 h 10042"/>
                  <a:gd name="connsiteX87" fmla="*/ 6133 w 10000"/>
                  <a:gd name="connsiteY87" fmla="*/ 9979 h 10042"/>
                  <a:gd name="connsiteX88" fmla="*/ 8595 w 10000"/>
                  <a:gd name="connsiteY88" fmla="*/ 8949 h 10042"/>
                  <a:gd name="connsiteX0" fmla="*/ 8595 w 10000"/>
                  <a:gd name="connsiteY0" fmla="*/ 8949 h 10042"/>
                  <a:gd name="connsiteX1" fmla="*/ 10000 w 10000"/>
                  <a:gd name="connsiteY1" fmla="*/ 7155 h 10042"/>
                  <a:gd name="connsiteX2" fmla="*/ 9153 w 10000"/>
                  <a:gd name="connsiteY2" fmla="*/ 7155 h 10042"/>
                  <a:gd name="connsiteX3" fmla="*/ 9153 w 10000"/>
                  <a:gd name="connsiteY3" fmla="*/ 4001 h 10042"/>
                  <a:gd name="connsiteX4" fmla="*/ 7063 w 10000"/>
                  <a:gd name="connsiteY4" fmla="*/ 4001 h 10042"/>
                  <a:gd name="connsiteX5" fmla="*/ 7063 w 10000"/>
                  <a:gd name="connsiteY5" fmla="*/ 3699 h 10042"/>
                  <a:gd name="connsiteX6" fmla="*/ 8734 w 10000"/>
                  <a:gd name="connsiteY6" fmla="*/ 3699 h 10042"/>
                  <a:gd name="connsiteX7" fmla="*/ 8734 w 10000"/>
                  <a:gd name="connsiteY7" fmla="*/ 3391 h 10042"/>
                  <a:gd name="connsiteX8" fmla="*/ 7063 w 10000"/>
                  <a:gd name="connsiteY8" fmla="*/ 3391 h 10042"/>
                  <a:gd name="connsiteX9" fmla="*/ 7063 w 10000"/>
                  <a:gd name="connsiteY9" fmla="*/ 1323 h 10042"/>
                  <a:gd name="connsiteX10" fmla="*/ 4603 w 10000"/>
                  <a:gd name="connsiteY10" fmla="*/ 534 h 10042"/>
                  <a:gd name="connsiteX11" fmla="*/ 4603 w 10000"/>
                  <a:gd name="connsiteY11" fmla="*/ 5498 h 10042"/>
                  <a:gd name="connsiteX12" fmla="*/ 4214 w 10000"/>
                  <a:gd name="connsiteY12" fmla="*/ 5504 h 10042"/>
                  <a:gd name="connsiteX13" fmla="*/ 4214 w 10000"/>
                  <a:gd name="connsiteY13" fmla="*/ 1702 h 10042"/>
                  <a:gd name="connsiteX14" fmla="*/ 3387 w 10000"/>
                  <a:gd name="connsiteY14" fmla="*/ 1998 h 10042"/>
                  <a:gd name="connsiteX15" fmla="*/ 2941 w 10000"/>
                  <a:gd name="connsiteY15" fmla="*/ 1998 h 10042"/>
                  <a:gd name="connsiteX16" fmla="*/ 2941 w 10000"/>
                  <a:gd name="connsiteY16" fmla="*/ 0 h 10042"/>
                  <a:gd name="connsiteX17" fmla="*/ 2776 w 10000"/>
                  <a:gd name="connsiteY17" fmla="*/ 0 h 10042"/>
                  <a:gd name="connsiteX18" fmla="*/ 2776 w 10000"/>
                  <a:gd name="connsiteY18" fmla="*/ 1998 h 10042"/>
                  <a:gd name="connsiteX19" fmla="*/ 2397 w 10000"/>
                  <a:gd name="connsiteY19" fmla="*/ 1998 h 10042"/>
                  <a:gd name="connsiteX20" fmla="*/ 2397 w 10000"/>
                  <a:gd name="connsiteY20" fmla="*/ 2416 h 10042"/>
                  <a:gd name="connsiteX21" fmla="*/ 1715 w 10000"/>
                  <a:gd name="connsiteY21" fmla="*/ 2729 h 10042"/>
                  <a:gd name="connsiteX22" fmla="*/ 1715 w 10000"/>
                  <a:gd name="connsiteY22" fmla="*/ 4278 h 10042"/>
                  <a:gd name="connsiteX23" fmla="*/ 1350 w 10000"/>
                  <a:gd name="connsiteY23" fmla="*/ 4278 h 10042"/>
                  <a:gd name="connsiteX24" fmla="*/ 1350 w 10000"/>
                  <a:gd name="connsiteY24" fmla="*/ 4689 h 10042"/>
                  <a:gd name="connsiteX25" fmla="*/ 1715 w 10000"/>
                  <a:gd name="connsiteY25" fmla="*/ 4689 h 10042"/>
                  <a:gd name="connsiteX26" fmla="*/ 1715 w 10000"/>
                  <a:gd name="connsiteY26" fmla="*/ 5203 h 10042"/>
                  <a:gd name="connsiteX27" fmla="*/ 1350 w 10000"/>
                  <a:gd name="connsiteY27" fmla="*/ 5203 h 10042"/>
                  <a:gd name="connsiteX28" fmla="*/ 1350 w 10000"/>
                  <a:gd name="connsiteY28" fmla="*/ 5614 h 10042"/>
                  <a:gd name="connsiteX29" fmla="*/ 1715 w 10000"/>
                  <a:gd name="connsiteY29" fmla="*/ 5614 h 10042"/>
                  <a:gd name="connsiteX30" fmla="*/ 1715 w 10000"/>
                  <a:gd name="connsiteY30" fmla="*/ 6828 h 10042"/>
                  <a:gd name="connsiteX31" fmla="*/ 628 w 10000"/>
                  <a:gd name="connsiteY31" fmla="*/ 6828 h 10042"/>
                  <a:gd name="connsiteX32" fmla="*/ 628 w 10000"/>
                  <a:gd name="connsiteY32" fmla="*/ 7578 h 10042"/>
                  <a:gd name="connsiteX33" fmla="*/ 1185 w 10000"/>
                  <a:gd name="connsiteY33" fmla="*/ 7598 h 10042"/>
                  <a:gd name="connsiteX34" fmla="*/ 1941 w 10000"/>
                  <a:gd name="connsiteY34" fmla="*/ 7091 h 10042"/>
                  <a:gd name="connsiteX35" fmla="*/ 1934 w 10000"/>
                  <a:gd name="connsiteY35" fmla="*/ 7578 h 10042"/>
                  <a:gd name="connsiteX36" fmla="*/ 2630 w 10000"/>
                  <a:gd name="connsiteY36" fmla="*/ 7143 h 10042"/>
                  <a:gd name="connsiteX37" fmla="*/ 2630 w 10000"/>
                  <a:gd name="connsiteY37" fmla="*/ 7578 h 10042"/>
                  <a:gd name="connsiteX38" fmla="*/ 3318 w 10000"/>
                  <a:gd name="connsiteY38" fmla="*/ 7136 h 10042"/>
                  <a:gd name="connsiteX39" fmla="*/ 3324 w 10000"/>
                  <a:gd name="connsiteY39" fmla="*/ 7572 h 10042"/>
                  <a:gd name="connsiteX40" fmla="*/ 3986 w 10000"/>
                  <a:gd name="connsiteY40" fmla="*/ 7104 h 10042"/>
                  <a:gd name="connsiteX41" fmla="*/ 3986 w 10000"/>
                  <a:gd name="connsiteY41" fmla="*/ 8349 h 10042"/>
                  <a:gd name="connsiteX42" fmla="*/ 4063 w 10000"/>
                  <a:gd name="connsiteY42" fmla="*/ 8259 h 10042"/>
                  <a:gd name="connsiteX43" fmla="*/ 4137 w 10000"/>
                  <a:gd name="connsiteY43" fmla="*/ 8176 h 10042"/>
                  <a:gd name="connsiteX44" fmla="*/ 4230 w 10000"/>
                  <a:gd name="connsiteY44" fmla="*/ 8105 h 10042"/>
                  <a:gd name="connsiteX45" fmla="*/ 4331 w 10000"/>
                  <a:gd name="connsiteY45" fmla="*/ 8041 h 10042"/>
                  <a:gd name="connsiteX46" fmla="*/ 4433 w 10000"/>
                  <a:gd name="connsiteY46" fmla="*/ 7997 h 10042"/>
                  <a:gd name="connsiteX47" fmla="*/ 4543 w 10000"/>
                  <a:gd name="connsiteY47" fmla="*/ 7964 h 10042"/>
                  <a:gd name="connsiteX48" fmla="*/ 4658 w 10000"/>
                  <a:gd name="connsiteY48" fmla="*/ 7939 h 10042"/>
                  <a:gd name="connsiteX49" fmla="*/ 4790 w 10000"/>
                  <a:gd name="connsiteY49" fmla="*/ 7932 h 10042"/>
                  <a:gd name="connsiteX50" fmla="*/ 4970 w 10000"/>
                  <a:gd name="connsiteY50" fmla="*/ 7945 h 10042"/>
                  <a:gd name="connsiteX51" fmla="*/ 5150 w 10000"/>
                  <a:gd name="connsiteY51" fmla="*/ 7990 h 10042"/>
                  <a:gd name="connsiteX52" fmla="*/ 5293 w 10000"/>
                  <a:gd name="connsiteY52" fmla="*/ 8067 h 10042"/>
                  <a:gd name="connsiteX53" fmla="*/ 5440 w 10000"/>
                  <a:gd name="connsiteY53" fmla="*/ 8163 h 10042"/>
                  <a:gd name="connsiteX54" fmla="*/ 5564 w 10000"/>
                  <a:gd name="connsiteY54" fmla="*/ 8279 h 10042"/>
                  <a:gd name="connsiteX55" fmla="*/ 5645 w 10000"/>
                  <a:gd name="connsiteY55" fmla="*/ 8420 h 10042"/>
                  <a:gd name="connsiteX56" fmla="*/ 5721 w 10000"/>
                  <a:gd name="connsiteY56" fmla="*/ 8567 h 10042"/>
                  <a:gd name="connsiteX57" fmla="*/ 5747 w 10000"/>
                  <a:gd name="connsiteY57" fmla="*/ 8729 h 10042"/>
                  <a:gd name="connsiteX58" fmla="*/ 5782 w 10000"/>
                  <a:gd name="connsiteY58" fmla="*/ 8722 h 10042"/>
                  <a:gd name="connsiteX59" fmla="*/ 5809 w 10000"/>
                  <a:gd name="connsiteY59" fmla="*/ 8722 h 10042"/>
                  <a:gd name="connsiteX60" fmla="*/ 5837 w 10000"/>
                  <a:gd name="connsiteY60" fmla="*/ 8716 h 10042"/>
                  <a:gd name="connsiteX61" fmla="*/ 5864 w 10000"/>
                  <a:gd name="connsiteY61" fmla="*/ 8716 h 10042"/>
                  <a:gd name="connsiteX62" fmla="*/ 5899 w 10000"/>
                  <a:gd name="connsiteY62" fmla="*/ 8710 h 10042"/>
                  <a:gd name="connsiteX63" fmla="*/ 5931 w 10000"/>
                  <a:gd name="connsiteY63" fmla="*/ 8710 h 10042"/>
                  <a:gd name="connsiteX64" fmla="*/ 5960 w 10000"/>
                  <a:gd name="connsiteY64" fmla="*/ 8710 h 10042"/>
                  <a:gd name="connsiteX65" fmla="*/ 5996 w 10000"/>
                  <a:gd name="connsiteY65" fmla="*/ 8710 h 10042"/>
                  <a:gd name="connsiteX66" fmla="*/ 6139 w 10000"/>
                  <a:gd name="connsiteY66" fmla="*/ 8716 h 10042"/>
                  <a:gd name="connsiteX67" fmla="*/ 6270 w 10000"/>
                  <a:gd name="connsiteY67" fmla="*/ 8748 h 10042"/>
                  <a:gd name="connsiteX68" fmla="*/ 6401 w 10000"/>
                  <a:gd name="connsiteY68" fmla="*/ 8793 h 10042"/>
                  <a:gd name="connsiteX69" fmla="*/ 6519 w 10000"/>
                  <a:gd name="connsiteY69" fmla="*/ 8858 h 10042"/>
                  <a:gd name="connsiteX70" fmla="*/ 6628 w 10000"/>
                  <a:gd name="connsiteY70" fmla="*/ 8934 h 10042"/>
                  <a:gd name="connsiteX71" fmla="*/ 6725 w 10000"/>
                  <a:gd name="connsiteY71" fmla="*/ 9017 h 10042"/>
                  <a:gd name="connsiteX72" fmla="*/ 6802 w 10000"/>
                  <a:gd name="connsiteY72" fmla="*/ 9127 h 10042"/>
                  <a:gd name="connsiteX73" fmla="*/ 6871 w 10000"/>
                  <a:gd name="connsiteY73" fmla="*/ 9235 h 10042"/>
                  <a:gd name="connsiteX74" fmla="*/ 2941 w 10000"/>
                  <a:gd name="connsiteY74" fmla="*/ 9235 h 10042"/>
                  <a:gd name="connsiteX75" fmla="*/ 2981 w 10000"/>
                  <a:gd name="connsiteY75" fmla="*/ 9152 h 10042"/>
                  <a:gd name="connsiteX76" fmla="*/ 3036 w 10000"/>
                  <a:gd name="connsiteY76" fmla="*/ 9069 h 10042"/>
                  <a:gd name="connsiteX77" fmla="*/ 3092 w 10000"/>
                  <a:gd name="connsiteY77" fmla="*/ 9005 h 10042"/>
                  <a:gd name="connsiteX78" fmla="*/ 3165 w 10000"/>
                  <a:gd name="connsiteY78" fmla="*/ 8941 h 10042"/>
                  <a:gd name="connsiteX79" fmla="*/ 3235 w 10000"/>
                  <a:gd name="connsiteY79" fmla="*/ 8890 h 10042"/>
                  <a:gd name="connsiteX80" fmla="*/ 3318 w 10000"/>
                  <a:gd name="connsiteY80" fmla="*/ 8838 h 10042"/>
                  <a:gd name="connsiteX81" fmla="*/ 3401 w 10000"/>
                  <a:gd name="connsiteY81" fmla="*/ 8800 h 10042"/>
                  <a:gd name="connsiteX82" fmla="*/ 3498 w 10000"/>
                  <a:gd name="connsiteY82" fmla="*/ 8768 h 10042"/>
                  <a:gd name="connsiteX83" fmla="*/ 3498 w 10000"/>
                  <a:gd name="connsiteY83" fmla="*/ 7945 h 10042"/>
                  <a:gd name="connsiteX84" fmla="*/ 1331 w 10000"/>
                  <a:gd name="connsiteY84" fmla="*/ 8029 h 10042"/>
                  <a:gd name="connsiteX85" fmla="*/ 3 w 10000"/>
                  <a:gd name="connsiteY85" fmla="*/ 7299 h 10042"/>
                  <a:gd name="connsiteX86" fmla="*/ 2409 w 10000"/>
                  <a:gd name="connsiteY86" fmla="*/ 9452 h 10042"/>
                  <a:gd name="connsiteX87" fmla="*/ 6133 w 10000"/>
                  <a:gd name="connsiteY87" fmla="*/ 9979 h 10042"/>
                  <a:gd name="connsiteX88" fmla="*/ 8595 w 10000"/>
                  <a:gd name="connsiteY88" fmla="*/ 8949 h 10042"/>
                  <a:gd name="connsiteX0" fmla="*/ 8595 w 10047"/>
                  <a:gd name="connsiteY0" fmla="*/ 8949 h 10042"/>
                  <a:gd name="connsiteX1" fmla="*/ 10000 w 10047"/>
                  <a:gd name="connsiteY1" fmla="*/ 7155 h 10042"/>
                  <a:gd name="connsiteX2" fmla="*/ 9153 w 10047"/>
                  <a:gd name="connsiteY2" fmla="*/ 7155 h 10042"/>
                  <a:gd name="connsiteX3" fmla="*/ 9153 w 10047"/>
                  <a:gd name="connsiteY3" fmla="*/ 4001 h 10042"/>
                  <a:gd name="connsiteX4" fmla="*/ 7063 w 10047"/>
                  <a:gd name="connsiteY4" fmla="*/ 4001 h 10042"/>
                  <a:gd name="connsiteX5" fmla="*/ 7063 w 10047"/>
                  <a:gd name="connsiteY5" fmla="*/ 3699 h 10042"/>
                  <a:gd name="connsiteX6" fmla="*/ 8734 w 10047"/>
                  <a:gd name="connsiteY6" fmla="*/ 3699 h 10042"/>
                  <a:gd name="connsiteX7" fmla="*/ 8734 w 10047"/>
                  <a:gd name="connsiteY7" fmla="*/ 3391 h 10042"/>
                  <a:gd name="connsiteX8" fmla="*/ 7063 w 10047"/>
                  <a:gd name="connsiteY8" fmla="*/ 3391 h 10042"/>
                  <a:gd name="connsiteX9" fmla="*/ 7063 w 10047"/>
                  <a:gd name="connsiteY9" fmla="*/ 1323 h 10042"/>
                  <a:gd name="connsiteX10" fmla="*/ 4603 w 10047"/>
                  <a:gd name="connsiteY10" fmla="*/ 534 h 10042"/>
                  <a:gd name="connsiteX11" fmla="*/ 4603 w 10047"/>
                  <a:gd name="connsiteY11" fmla="*/ 5498 h 10042"/>
                  <a:gd name="connsiteX12" fmla="*/ 4214 w 10047"/>
                  <a:gd name="connsiteY12" fmla="*/ 5504 h 10042"/>
                  <a:gd name="connsiteX13" fmla="*/ 4214 w 10047"/>
                  <a:gd name="connsiteY13" fmla="*/ 1702 h 10042"/>
                  <a:gd name="connsiteX14" fmla="*/ 3387 w 10047"/>
                  <a:gd name="connsiteY14" fmla="*/ 1998 h 10042"/>
                  <a:gd name="connsiteX15" fmla="*/ 2941 w 10047"/>
                  <a:gd name="connsiteY15" fmla="*/ 1998 h 10042"/>
                  <a:gd name="connsiteX16" fmla="*/ 2941 w 10047"/>
                  <a:gd name="connsiteY16" fmla="*/ 0 h 10042"/>
                  <a:gd name="connsiteX17" fmla="*/ 2776 w 10047"/>
                  <a:gd name="connsiteY17" fmla="*/ 0 h 10042"/>
                  <a:gd name="connsiteX18" fmla="*/ 2776 w 10047"/>
                  <a:gd name="connsiteY18" fmla="*/ 1998 h 10042"/>
                  <a:gd name="connsiteX19" fmla="*/ 2397 w 10047"/>
                  <a:gd name="connsiteY19" fmla="*/ 1998 h 10042"/>
                  <a:gd name="connsiteX20" fmla="*/ 2397 w 10047"/>
                  <a:gd name="connsiteY20" fmla="*/ 2416 h 10042"/>
                  <a:gd name="connsiteX21" fmla="*/ 1715 w 10047"/>
                  <a:gd name="connsiteY21" fmla="*/ 2729 h 10042"/>
                  <a:gd name="connsiteX22" fmla="*/ 1715 w 10047"/>
                  <a:gd name="connsiteY22" fmla="*/ 4278 h 10042"/>
                  <a:gd name="connsiteX23" fmla="*/ 1350 w 10047"/>
                  <a:gd name="connsiteY23" fmla="*/ 4278 h 10042"/>
                  <a:gd name="connsiteX24" fmla="*/ 1350 w 10047"/>
                  <a:gd name="connsiteY24" fmla="*/ 4689 h 10042"/>
                  <a:gd name="connsiteX25" fmla="*/ 1715 w 10047"/>
                  <a:gd name="connsiteY25" fmla="*/ 4689 h 10042"/>
                  <a:gd name="connsiteX26" fmla="*/ 1715 w 10047"/>
                  <a:gd name="connsiteY26" fmla="*/ 5203 h 10042"/>
                  <a:gd name="connsiteX27" fmla="*/ 1350 w 10047"/>
                  <a:gd name="connsiteY27" fmla="*/ 5203 h 10042"/>
                  <a:gd name="connsiteX28" fmla="*/ 1350 w 10047"/>
                  <a:gd name="connsiteY28" fmla="*/ 5614 h 10042"/>
                  <a:gd name="connsiteX29" fmla="*/ 1715 w 10047"/>
                  <a:gd name="connsiteY29" fmla="*/ 5614 h 10042"/>
                  <a:gd name="connsiteX30" fmla="*/ 1715 w 10047"/>
                  <a:gd name="connsiteY30" fmla="*/ 6828 h 10042"/>
                  <a:gd name="connsiteX31" fmla="*/ 628 w 10047"/>
                  <a:gd name="connsiteY31" fmla="*/ 6828 h 10042"/>
                  <a:gd name="connsiteX32" fmla="*/ 628 w 10047"/>
                  <a:gd name="connsiteY32" fmla="*/ 7578 h 10042"/>
                  <a:gd name="connsiteX33" fmla="*/ 1185 w 10047"/>
                  <a:gd name="connsiteY33" fmla="*/ 7598 h 10042"/>
                  <a:gd name="connsiteX34" fmla="*/ 1941 w 10047"/>
                  <a:gd name="connsiteY34" fmla="*/ 7091 h 10042"/>
                  <a:gd name="connsiteX35" fmla="*/ 1934 w 10047"/>
                  <a:gd name="connsiteY35" fmla="*/ 7578 h 10042"/>
                  <a:gd name="connsiteX36" fmla="*/ 2630 w 10047"/>
                  <a:gd name="connsiteY36" fmla="*/ 7143 h 10042"/>
                  <a:gd name="connsiteX37" fmla="*/ 2630 w 10047"/>
                  <a:gd name="connsiteY37" fmla="*/ 7578 h 10042"/>
                  <a:gd name="connsiteX38" fmla="*/ 3318 w 10047"/>
                  <a:gd name="connsiteY38" fmla="*/ 7136 h 10042"/>
                  <a:gd name="connsiteX39" fmla="*/ 3324 w 10047"/>
                  <a:gd name="connsiteY39" fmla="*/ 7572 h 10042"/>
                  <a:gd name="connsiteX40" fmla="*/ 3986 w 10047"/>
                  <a:gd name="connsiteY40" fmla="*/ 7104 h 10042"/>
                  <a:gd name="connsiteX41" fmla="*/ 3986 w 10047"/>
                  <a:gd name="connsiteY41" fmla="*/ 8349 h 10042"/>
                  <a:gd name="connsiteX42" fmla="*/ 4063 w 10047"/>
                  <a:gd name="connsiteY42" fmla="*/ 8259 h 10042"/>
                  <a:gd name="connsiteX43" fmla="*/ 4137 w 10047"/>
                  <a:gd name="connsiteY43" fmla="*/ 8176 h 10042"/>
                  <a:gd name="connsiteX44" fmla="*/ 4230 w 10047"/>
                  <a:gd name="connsiteY44" fmla="*/ 8105 h 10042"/>
                  <a:gd name="connsiteX45" fmla="*/ 4331 w 10047"/>
                  <a:gd name="connsiteY45" fmla="*/ 8041 h 10042"/>
                  <a:gd name="connsiteX46" fmla="*/ 4433 w 10047"/>
                  <a:gd name="connsiteY46" fmla="*/ 7997 h 10042"/>
                  <a:gd name="connsiteX47" fmla="*/ 4543 w 10047"/>
                  <a:gd name="connsiteY47" fmla="*/ 7964 h 10042"/>
                  <a:gd name="connsiteX48" fmla="*/ 4658 w 10047"/>
                  <a:gd name="connsiteY48" fmla="*/ 7939 h 10042"/>
                  <a:gd name="connsiteX49" fmla="*/ 4790 w 10047"/>
                  <a:gd name="connsiteY49" fmla="*/ 7932 h 10042"/>
                  <a:gd name="connsiteX50" fmla="*/ 4970 w 10047"/>
                  <a:gd name="connsiteY50" fmla="*/ 7945 h 10042"/>
                  <a:gd name="connsiteX51" fmla="*/ 5150 w 10047"/>
                  <a:gd name="connsiteY51" fmla="*/ 7990 h 10042"/>
                  <a:gd name="connsiteX52" fmla="*/ 5293 w 10047"/>
                  <a:gd name="connsiteY52" fmla="*/ 8067 h 10042"/>
                  <a:gd name="connsiteX53" fmla="*/ 5440 w 10047"/>
                  <a:gd name="connsiteY53" fmla="*/ 8163 h 10042"/>
                  <a:gd name="connsiteX54" fmla="*/ 5564 w 10047"/>
                  <a:gd name="connsiteY54" fmla="*/ 8279 h 10042"/>
                  <a:gd name="connsiteX55" fmla="*/ 5645 w 10047"/>
                  <a:gd name="connsiteY55" fmla="*/ 8420 h 10042"/>
                  <a:gd name="connsiteX56" fmla="*/ 5721 w 10047"/>
                  <a:gd name="connsiteY56" fmla="*/ 8567 h 10042"/>
                  <a:gd name="connsiteX57" fmla="*/ 5747 w 10047"/>
                  <a:gd name="connsiteY57" fmla="*/ 8729 h 10042"/>
                  <a:gd name="connsiteX58" fmla="*/ 5782 w 10047"/>
                  <a:gd name="connsiteY58" fmla="*/ 8722 h 10042"/>
                  <a:gd name="connsiteX59" fmla="*/ 5809 w 10047"/>
                  <a:gd name="connsiteY59" fmla="*/ 8722 h 10042"/>
                  <a:gd name="connsiteX60" fmla="*/ 5837 w 10047"/>
                  <a:gd name="connsiteY60" fmla="*/ 8716 h 10042"/>
                  <a:gd name="connsiteX61" fmla="*/ 5864 w 10047"/>
                  <a:gd name="connsiteY61" fmla="*/ 8716 h 10042"/>
                  <a:gd name="connsiteX62" fmla="*/ 5899 w 10047"/>
                  <a:gd name="connsiteY62" fmla="*/ 8710 h 10042"/>
                  <a:gd name="connsiteX63" fmla="*/ 5931 w 10047"/>
                  <a:gd name="connsiteY63" fmla="*/ 8710 h 10042"/>
                  <a:gd name="connsiteX64" fmla="*/ 5960 w 10047"/>
                  <a:gd name="connsiteY64" fmla="*/ 8710 h 10042"/>
                  <a:gd name="connsiteX65" fmla="*/ 5996 w 10047"/>
                  <a:gd name="connsiteY65" fmla="*/ 8710 h 10042"/>
                  <a:gd name="connsiteX66" fmla="*/ 6139 w 10047"/>
                  <a:gd name="connsiteY66" fmla="*/ 8716 h 10042"/>
                  <a:gd name="connsiteX67" fmla="*/ 6270 w 10047"/>
                  <a:gd name="connsiteY67" fmla="*/ 8748 h 10042"/>
                  <a:gd name="connsiteX68" fmla="*/ 6401 w 10047"/>
                  <a:gd name="connsiteY68" fmla="*/ 8793 h 10042"/>
                  <a:gd name="connsiteX69" fmla="*/ 6519 w 10047"/>
                  <a:gd name="connsiteY69" fmla="*/ 8858 h 10042"/>
                  <a:gd name="connsiteX70" fmla="*/ 6628 w 10047"/>
                  <a:gd name="connsiteY70" fmla="*/ 8934 h 10042"/>
                  <a:gd name="connsiteX71" fmla="*/ 6725 w 10047"/>
                  <a:gd name="connsiteY71" fmla="*/ 9017 h 10042"/>
                  <a:gd name="connsiteX72" fmla="*/ 6802 w 10047"/>
                  <a:gd name="connsiteY72" fmla="*/ 9127 h 10042"/>
                  <a:gd name="connsiteX73" fmla="*/ 6871 w 10047"/>
                  <a:gd name="connsiteY73" fmla="*/ 9235 h 10042"/>
                  <a:gd name="connsiteX74" fmla="*/ 2941 w 10047"/>
                  <a:gd name="connsiteY74" fmla="*/ 9235 h 10042"/>
                  <a:gd name="connsiteX75" fmla="*/ 2981 w 10047"/>
                  <a:gd name="connsiteY75" fmla="*/ 9152 h 10042"/>
                  <a:gd name="connsiteX76" fmla="*/ 3036 w 10047"/>
                  <a:gd name="connsiteY76" fmla="*/ 9069 h 10042"/>
                  <a:gd name="connsiteX77" fmla="*/ 3092 w 10047"/>
                  <a:gd name="connsiteY77" fmla="*/ 9005 h 10042"/>
                  <a:gd name="connsiteX78" fmla="*/ 3165 w 10047"/>
                  <a:gd name="connsiteY78" fmla="*/ 8941 h 10042"/>
                  <a:gd name="connsiteX79" fmla="*/ 3235 w 10047"/>
                  <a:gd name="connsiteY79" fmla="*/ 8890 h 10042"/>
                  <a:gd name="connsiteX80" fmla="*/ 3318 w 10047"/>
                  <a:gd name="connsiteY80" fmla="*/ 8838 h 10042"/>
                  <a:gd name="connsiteX81" fmla="*/ 3401 w 10047"/>
                  <a:gd name="connsiteY81" fmla="*/ 8800 h 10042"/>
                  <a:gd name="connsiteX82" fmla="*/ 3498 w 10047"/>
                  <a:gd name="connsiteY82" fmla="*/ 8768 h 10042"/>
                  <a:gd name="connsiteX83" fmla="*/ 3498 w 10047"/>
                  <a:gd name="connsiteY83" fmla="*/ 7945 h 10042"/>
                  <a:gd name="connsiteX84" fmla="*/ 1331 w 10047"/>
                  <a:gd name="connsiteY84" fmla="*/ 8029 h 10042"/>
                  <a:gd name="connsiteX85" fmla="*/ 3 w 10047"/>
                  <a:gd name="connsiteY85" fmla="*/ 7299 h 10042"/>
                  <a:gd name="connsiteX86" fmla="*/ 2409 w 10047"/>
                  <a:gd name="connsiteY86" fmla="*/ 9452 h 10042"/>
                  <a:gd name="connsiteX87" fmla="*/ 6133 w 10047"/>
                  <a:gd name="connsiteY87" fmla="*/ 9979 h 10042"/>
                  <a:gd name="connsiteX88" fmla="*/ 8595 w 10047"/>
                  <a:gd name="connsiteY88" fmla="*/ 8949 h 10042"/>
                  <a:gd name="connsiteX0" fmla="*/ 8198 w 9650"/>
                  <a:gd name="connsiteY0" fmla="*/ 8949 h 9996"/>
                  <a:gd name="connsiteX1" fmla="*/ 9603 w 9650"/>
                  <a:gd name="connsiteY1" fmla="*/ 7155 h 9996"/>
                  <a:gd name="connsiteX2" fmla="*/ 8756 w 9650"/>
                  <a:gd name="connsiteY2" fmla="*/ 7155 h 9996"/>
                  <a:gd name="connsiteX3" fmla="*/ 8756 w 9650"/>
                  <a:gd name="connsiteY3" fmla="*/ 4001 h 9996"/>
                  <a:gd name="connsiteX4" fmla="*/ 6666 w 9650"/>
                  <a:gd name="connsiteY4" fmla="*/ 4001 h 9996"/>
                  <a:gd name="connsiteX5" fmla="*/ 6666 w 9650"/>
                  <a:gd name="connsiteY5" fmla="*/ 3699 h 9996"/>
                  <a:gd name="connsiteX6" fmla="*/ 8337 w 9650"/>
                  <a:gd name="connsiteY6" fmla="*/ 3699 h 9996"/>
                  <a:gd name="connsiteX7" fmla="*/ 8337 w 9650"/>
                  <a:gd name="connsiteY7" fmla="*/ 3391 h 9996"/>
                  <a:gd name="connsiteX8" fmla="*/ 6666 w 9650"/>
                  <a:gd name="connsiteY8" fmla="*/ 3391 h 9996"/>
                  <a:gd name="connsiteX9" fmla="*/ 6666 w 9650"/>
                  <a:gd name="connsiteY9" fmla="*/ 1323 h 9996"/>
                  <a:gd name="connsiteX10" fmla="*/ 4206 w 9650"/>
                  <a:gd name="connsiteY10" fmla="*/ 534 h 9996"/>
                  <a:gd name="connsiteX11" fmla="*/ 4206 w 9650"/>
                  <a:gd name="connsiteY11" fmla="*/ 5498 h 9996"/>
                  <a:gd name="connsiteX12" fmla="*/ 3817 w 9650"/>
                  <a:gd name="connsiteY12" fmla="*/ 5504 h 9996"/>
                  <a:gd name="connsiteX13" fmla="*/ 3817 w 9650"/>
                  <a:gd name="connsiteY13" fmla="*/ 1702 h 9996"/>
                  <a:gd name="connsiteX14" fmla="*/ 2990 w 9650"/>
                  <a:gd name="connsiteY14" fmla="*/ 1998 h 9996"/>
                  <a:gd name="connsiteX15" fmla="*/ 2544 w 9650"/>
                  <a:gd name="connsiteY15" fmla="*/ 1998 h 9996"/>
                  <a:gd name="connsiteX16" fmla="*/ 2544 w 9650"/>
                  <a:gd name="connsiteY16" fmla="*/ 0 h 9996"/>
                  <a:gd name="connsiteX17" fmla="*/ 2379 w 9650"/>
                  <a:gd name="connsiteY17" fmla="*/ 0 h 9996"/>
                  <a:gd name="connsiteX18" fmla="*/ 2379 w 9650"/>
                  <a:gd name="connsiteY18" fmla="*/ 1998 h 9996"/>
                  <a:gd name="connsiteX19" fmla="*/ 2000 w 9650"/>
                  <a:gd name="connsiteY19" fmla="*/ 1998 h 9996"/>
                  <a:gd name="connsiteX20" fmla="*/ 2000 w 9650"/>
                  <a:gd name="connsiteY20" fmla="*/ 2416 h 9996"/>
                  <a:gd name="connsiteX21" fmla="*/ 1318 w 9650"/>
                  <a:gd name="connsiteY21" fmla="*/ 2729 h 9996"/>
                  <a:gd name="connsiteX22" fmla="*/ 1318 w 9650"/>
                  <a:gd name="connsiteY22" fmla="*/ 4278 h 9996"/>
                  <a:gd name="connsiteX23" fmla="*/ 953 w 9650"/>
                  <a:gd name="connsiteY23" fmla="*/ 4278 h 9996"/>
                  <a:gd name="connsiteX24" fmla="*/ 953 w 9650"/>
                  <a:gd name="connsiteY24" fmla="*/ 4689 h 9996"/>
                  <a:gd name="connsiteX25" fmla="*/ 1318 w 9650"/>
                  <a:gd name="connsiteY25" fmla="*/ 4689 h 9996"/>
                  <a:gd name="connsiteX26" fmla="*/ 1318 w 9650"/>
                  <a:gd name="connsiteY26" fmla="*/ 5203 h 9996"/>
                  <a:gd name="connsiteX27" fmla="*/ 953 w 9650"/>
                  <a:gd name="connsiteY27" fmla="*/ 5203 h 9996"/>
                  <a:gd name="connsiteX28" fmla="*/ 953 w 9650"/>
                  <a:gd name="connsiteY28" fmla="*/ 5614 h 9996"/>
                  <a:gd name="connsiteX29" fmla="*/ 1318 w 9650"/>
                  <a:gd name="connsiteY29" fmla="*/ 5614 h 9996"/>
                  <a:gd name="connsiteX30" fmla="*/ 1318 w 9650"/>
                  <a:gd name="connsiteY30" fmla="*/ 6828 h 9996"/>
                  <a:gd name="connsiteX31" fmla="*/ 231 w 9650"/>
                  <a:gd name="connsiteY31" fmla="*/ 6828 h 9996"/>
                  <a:gd name="connsiteX32" fmla="*/ 231 w 9650"/>
                  <a:gd name="connsiteY32" fmla="*/ 7578 h 9996"/>
                  <a:gd name="connsiteX33" fmla="*/ 788 w 9650"/>
                  <a:gd name="connsiteY33" fmla="*/ 7598 h 9996"/>
                  <a:gd name="connsiteX34" fmla="*/ 1544 w 9650"/>
                  <a:gd name="connsiteY34" fmla="*/ 7091 h 9996"/>
                  <a:gd name="connsiteX35" fmla="*/ 1537 w 9650"/>
                  <a:gd name="connsiteY35" fmla="*/ 7578 h 9996"/>
                  <a:gd name="connsiteX36" fmla="*/ 2233 w 9650"/>
                  <a:gd name="connsiteY36" fmla="*/ 7143 h 9996"/>
                  <a:gd name="connsiteX37" fmla="*/ 2233 w 9650"/>
                  <a:gd name="connsiteY37" fmla="*/ 7578 h 9996"/>
                  <a:gd name="connsiteX38" fmla="*/ 2921 w 9650"/>
                  <a:gd name="connsiteY38" fmla="*/ 7136 h 9996"/>
                  <a:gd name="connsiteX39" fmla="*/ 2927 w 9650"/>
                  <a:gd name="connsiteY39" fmla="*/ 7572 h 9996"/>
                  <a:gd name="connsiteX40" fmla="*/ 3589 w 9650"/>
                  <a:gd name="connsiteY40" fmla="*/ 7104 h 9996"/>
                  <a:gd name="connsiteX41" fmla="*/ 3589 w 9650"/>
                  <a:gd name="connsiteY41" fmla="*/ 8349 h 9996"/>
                  <a:gd name="connsiteX42" fmla="*/ 3666 w 9650"/>
                  <a:gd name="connsiteY42" fmla="*/ 8259 h 9996"/>
                  <a:gd name="connsiteX43" fmla="*/ 3740 w 9650"/>
                  <a:gd name="connsiteY43" fmla="*/ 8176 h 9996"/>
                  <a:gd name="connsiteX44" fmla="*/ 3833 w 9650"/>
                  <a:gd name="connsiteY44" fmla="*/ 8105 h 9996"/>
                  <a:gd name="connsiteX45" fmla="*/ 3934 w 9650"/>
                  <a:gd name="connsiteY45" fmla="*/ 8041 h 9996"/>
                  <a:gd name="connsiteX46" fmla="*/ 4036 w 9650"/>
                  <a:gd name="connsiteY46" fmla="*/ 7997 h 9996"/>
                  <a:gd name="connsiteX47" fmla="*/ 4146 w 9650"/>
                  <a:gd name="connsiteY47" fmla="*/ 7964 h 9996"/>
                  <a:gd name="connsiteX48" fmla="*/ 4261 w 9650"/>
                  <a:gd name="connsiteY48" fmla="*/ 7939 h 9996"/>
                  <a:gd name="connsiteX49" fmla="*/ 4393 w 9650"/>
                  <a:gd name="connsiteY49" fmla="*/ 7932 h 9996"/>
                  <a:gd name="connsiteX50" fmla="*/ 4573 w 9650"/>
                  <a:gd name="connsiteY50" fmla="*/ 7945 h 9996"/>
                  <a:gd name="connsiteX51" fmla="*/ 4753 w 9650"/>
                  <a:gd name="connsiteY51" fmla="*/ 7990 h 9996"/>
                  <a:gd name="connsiteX52" fmla="*/ 4896 w 9650"/>
                  <a:gd name="connsiteY52" fmla="*/ 8067 h 9996"/>
                  <a:gd name="connsiteX53" fmla="*/ 5043 w 9650"/>
                  <a:gd name="connsiteY53" fmla="*/ 8163 h 9996"/>
                  <a:gd name="connsiteX54" fmla="*/ 5167 w 9650"/>
                  <a:gd name="connsiteY54" fmla="*/ 8279 h 9996"/>
                  <a:gd name="connsiteX55" fmla="*/ 5248 w 9650"/>
                  <a:gd name="connsiteY55" fmla="*/ 8420 h 9996"/>
                  <a:gd name="connsiteX56" fmla="*/ 5324 w 9650"/>
                  <a:gd name="connsiteY56" fmla="*/ 8567 h 9996"/>
                  <a:gd name="connsiteX57" fmla="*/ 5350 w 9650"/>
                  <a:gd name="connsiteY57" fmla="*/ 8729 h 9996"/>
                  <a:gd name="connsiteX58" fmla="*/ 5385 w 9650"/>
                  <a:gd name="connsiteY58" fmla="*/ 8722 h 9996"/>
                  <a:gd name="connsiteX59" fmla="*/ 5412 w 9650"/>
                  <a:gd name="connsiteY59" fmla="*/ 8722 h 9996"/>
                  <a:gd name="connsiteX60" fmla="*/ 5440 w 9650"/>
                  <a:gd name="connsiteY60" fmla="*/ 8716 h 9996"/>
                  <a:gd name="connsiteX61" fmla="*/ 5467 w 9650"/>
                  <a:gd name="connsiteY61" fmla="*/ 8716 h 9996"/>
                  <a:gd name="connsiteX62" fmla="*/ 5502 w 9650"/>
                  <a:gd name="connsiteY62" fmla="*/ 8710 h 9996"/>
                  <a:gd name="connsiteX63" fmla="*/ 5534 w 9650"/>
                  <a:gd name="connsiteY63" fmla="*/ 8710 h 9996"/>
                  <a:gd name="connsiteX64" fmla="*/ 5563 w 9650"/>
                  <a:gd name="connsiteY64" fmla="*/ 8710 h 9996"/>
                  <a:gd name="connsiteX65" fmla="*/ 5599 w 9650"/>
                  <a:gd name="connsiteY65" fmla="*/ 8710 h 9996"/>
                  <a:gd name="connsiteX66" fmla="*/ 5742 w 9650"/>
                  <a:gd name="connsiteY66" fmla="*/ 8716 h 9996"/>
                  <a:gd name="connsiteX67" fmla="*/ 5873 w 9650"/>
                  <a:gd name="connsiteY67" fmla="*/ 8748 h 9996"/>
                  <a:gd name="connsiteX68" fmla="*/ 6004 w 9650"/>
                  <a:gd name="connsiteY68" fmla="*/ 8793 h 9996"/>
                  <a:gd name="connsiteX69" fmla="*/ 6122 w 9650"/>
                  <a:gd name="connsiteY69" fmla="*/ 8858 h 9996"/>
                  <a:gd name="connsiteX70" fmla="*/ 6231 w 9650"/>
                  <a:gd name="connsiteY70" fmla="*/ 8934 h 9996"/>
                  <a:gd name="connsiteX71" fmla="*/ 6328 w 9650"/>
                  <a:gd name="connsiteY71" fmla="*/ 9017 h 9996"/>
                  <a:gd name="connsiteX72" fmla="*/ 6405 w 9650"/>
                  <a:gd name="connsiteY72" fmla="*/ 9127 h 9996"/>
                  <a:gd name="connsiteX73" fmla="*/ 6474 w 9650"/>
                  <a:gd name="connsiteY73" fmla="*/ 9235 h 9996"/>
                  <a:gd name="connsiteX74" fmla="*/ 2544 w 9650"/>
                  <a:gd name="connsiteY74" fmla="*/ 9235 h 9996"/>
                  <a:gd name="connsiteX75" fmla="*/ 2584 w 9650"/>
                  <a:gd name="connsiteY75" fmla="*/ 9152 h 9996"/>
                  <a:gd name="connsiteX76" fmla="*/ 2639 w 9650"/>
                  <a:gd name="connsiteY76" fmla="*/ 9069 h 9996"/>
                  <a:gd name="connsiteX77" fmla="*/ 2695 w 9650"/>
                  <a:gd name="connsiteY77" fmla="*/ 9005 h 9996"/>
                  <a:gd name="connsiteX78" fmla="*/ 2768 w 9650"/>
                  <a:gd name="connsiteY78" fmla="*/ 8941 h 9996"/>
                  <a:gd name="connsiteX79" fmla="*/ 2838 w 9650"/>
                  <a:gd name="connsiteY79" fmla="*/ 8890 h 9996"/>
                  <a:gd name="connsiteX80" fmla="*/ 2921 w 9650"/>
                  <a:gd name="connsiteY80" fmla="*/ 8838 h 9996"/>
                  <a:gd name="connsiteX81" fmla="*/ 3004 w 9650"/>
                  <a:gd name="connsiteY81" fmla="*/ 8800 h 9996"/>
                  <a:gd name="connsiteX82" fmla="*/ 3101 w 9650"/>
                  <a:gd name="connsiteY82" fmla="*/ 8768 h 9996"/>
                  <a:gd name="connsiteX83" fmla="*/ 3101 w 9650"/>
                  <a:gd name="connsiteY83" fmla="*/ 7945 h 9996"/>
                  <a:gd name="connsiteX84" fmla="*/ 934 w 9650"/>
                  <a:gd name="connsiteY84" fmla="*/ 8029 h 9996"/>
                  <a:gd name="connsiteX85" fmla="*/ 5 w 9650"/>
                  <a:gd name="connsiteY85" fmla="*/ 7679 h 9996"/>
                  <a:gd name="connsiteX86" fmla="*/ 2012 w 9650"/>
                  <a:gd name="connsiteY86" fmla="*/ 9452 h 9996"/>
                  <a:gd name="connsiteX87" fmla="*/ 5736 w 9650"/>
                  <a:gd name="connsiteY87" fmla="*/ 9979 h 9996"/>
                  <a:gd name="connsiteX88" fmla="*/ 8198 w 9650"/>
                  <a:gd name="connsiteY88" fmla="*/ 8949 h 9996"/>
                  <a:gd name="connsiteX0" fmla="*/ 8700 w 10205"/>
                  <a:gd name="connsiteY0" fmla="*/ 8953 h 10000"/>
                  <a:gd name="connsiteX1" fmla="*/ 10156 w 10205"/>
                  <a:gd name="connsiteY1" fmla="*/ 7158 h 10000"/>
                  <a:gd name="connsiteX2" fmla="*/ 9279 w 10205"/>
                  <a:gd name="connsiteY2" fmla="*/ 7158 h 10000"/>
                  <a:gd name="connsiteX3" fmla="*/ 9279 w 10205"/>
                  <a:gd name="connsiteY3" fmla="*/ 4003 h 10000"/>
                  <a:gd name="connsiteX4" fmla="*/ 7113 w 10205"/>
                  <a:gd name="connsiteY4" fmla="*/ 4003 h 10000"/>
                  <a:gd name="connsiteX5" fmla="*/ 7113 w 10205"/>
                  <a:gd name="connsiteY5" fmla="*/ 3700 h 10000"/>
                  <a:gd name="connsiteX6" fmla="*/ 8844 w 10205"/>
                  <a:gd name="connsiteY6" fmla="*/ 3700 h 10000"/>
                  <a:gd name="connsiteX7" fmla="*/ 8844 w 10205"/>
                  <a:gd name="connsiteY7" fmla="*/ 3392 h 10000"/>
                  <a:gd name="connsiteX8" fmla="*/ 7113 w 10205"/>
                  <a:gd name="connsiteY8" fmla="*/ 3392 h 10000"/>
                  <a:gd name="connsiteX9" fmla="*/ 7113 w 10205"/>
                  <a:gd name="connsiteY9" fmla="*/ 1324 h 10000"/>
                  <a:gd name="connsiteX10" fmla="*/ 4564 w 10205"/>
                  <a:gd name="connsiteY10" fmla="*/ 534 h 10000"/>
                  <a:gd name="connsiteX11" fmla="*/ 4564 w 10205"/>
                  <a:gd name="connsiteY11" fmla="*/ 5500 h 10000"/>
                  <a:gd name="connsiteX12" fmla="*/ 4160 w 10205"/>
                  <a:gd name="connsiteY12" fmla="*/ 5506 h 10000"/>
                  <a:gd name="connsiteX13" fmla="*/ 4160 w 10205"/>
                  <a:gd name="connsiteY13" fmla="*/ 1703 h 10000"/>
                  <a:gd name="connsiteX14" fmla="*/ 3303 w 10205"/>
                  <a:gd name="connsiteY14" fmla="*/ 1999 h 10000"/>
                  <a:gd name="connsiteX15" fmla="*/ 2841 w 10205"/>
                  <a:gd name="connsiteY15" fmla="*/ 1999 h 10000"/>
                  <a:gd name="connsiteX16" fmla="*/ 2841 w 10205"/>
                  <a:gd name="connsiteY16" fmla="*/ 0 h 10000"/>
                  <a:gd name="connsiteX17" fmla="*/ 2670 w 10205"/>
                  <a:gd name="connsiteY17" fmla="*/ 0 h 10000"/>
                  <a:gd name="connsiteX18" fmla="*/ 2670 w 10205"/>
                  <a:gd name="connsiteY18" fmla="*/ 1999 h 10000"/>
                  <a:gd name="connsiteX19" fmla="*/ 2278 w 10205"/>
                  <a:gd name="connsiteY19" fmla="*/ 1999 h 10000"/>
                  <a:gd name="connsiteX20" fmla="*/ 2278 w 10205"/>
                  <a:gd name="connsiteY20" fmla="*/ 2417 h 10000"/>
                  <a:gd name="connsiteX21" fmla="*/ 1571 w 10205"/>
                  <a:gd name="connsiteY21" fmla="*/ 2730 h 10000"/>
                  <a:gd name="connsiteX22" fmla="*/ 1571 w 10205"/>
                  <a:gd name="connsiteY22" fmla="*/ 4280 h 10000"/>
                  <a:gd name="connsiteX23" fmla="*/ 1193 w 10205"/>
                  <a:gd name="connsiteY23" fmla="*/ 4280 h 10000"/>
                  <a:gd name="connsiteX24" fmla="*/ 1193 w 10205"/>
                  <a:gd name="connsiteY24" fmla="*/ 4691 h 10000"/>
                  <a:gd name="connsiteX25" fmla="*/ 1571 w 10205"/>
                  <a:gd name="connsiteY25" fmla="*/ 4691 h 10000"/>
                  <a:gd name="connsiteX26" fmla="*/ 1571 w 10205"/>
                  <a:gd name="connsiteY26" fmla="*/ 5205 h 10000"/>
                  <a:gd name="connsiteX27" fmla="*/ 1193 w 10205"/>
                  <a:gd name="connsiteY27" fmla="*/ 5205 h 10000"/>
                  <a:gd name="connsiteX28" fmla="*/ 1193 w 10205"/>
                  <a:gd name="connsiteY28" fmla="*/ 5616 h 10000"/>
                  <a:gd name="connsiteX29" fmla="*/ 1571 w 10205"/>
                  <a:gd name="connsiteY29" fmla="*/ 5616 h 10000"/>
                  <a:gd name="connsiteX30" fmla="*/ 1571 w 10205"/>
                  <a:gd name="connsiteY30" fmla="*/ 6831 h 10000"/>
                  <a:gd name="connsiteX31" fmla="*/ 444 w 10205"/>
                  <a:gd name="connsiteY31" fmla="*/ 6831 h 10000"/>
                  <a:gd name="connsiteX32" fmla="*/ 444 w 10205"/>
                  <a:gd name="connsiteY32" fmla="*/ 7581 h 10000"/>
                  <a:gd name="connsiteX33" fmla="*/ 1022 w 10205"/>
                  <a:gd name="connsiteY33" fmla="*/ 7601 h 10000"/>
                  <a:gd name="connsiteX34" fmla="*/ 1805 w 10205"/>
                  <a:gd name="connsiteY34" fmla="*/ 7094 h 10000"/>
                  <a:gd name="connsiteX35" fmla="*/ 1798 w 10205"/>
                  <a:gd name="connsiteY35" fmla="*/ 7581 h 10000"/>
                  <a:gd name="connsiteX36" fmla="*/ 2519 w 10205"/>
                  <a:gd name="connsiteY36" fmla="*/ 7146 h 10000"/>
                  <a:gd name="connsiteX37" fmla="*/ 2519 w 10205"/>
                  <a:gd name="connsiteY37" fmla="*/ 7581 h 10000"/>
                  <a:gd name="connsiteX38" fmla="*/ 3232 w 10205"/>
                  <a:gd name="connsiteY38" fmla="*/ 7139 h 10000"/>
                  <a:gd name="connsiteX39" fmla="*/ 3238 w 10205"/>
                  <a:gd name="connsiteY39" fmla="*/ 7575 h 10000"/>
                  <a:gd name="connsiteX40" fmla="*/ 3924 w 10205"/>
                  <a:gd name="connsiteY40" fmla="*/ 7107 h 10000"/>
                  <a:gd name="connsiteX41" fmla="*/ 3924 w 10205"/>
                  <a:gd name="connsiteY41" fmla="*/ 8352 h 10000"/>
                  <a:gd name="connsiteX42" fmla="*/ 4004 w 10205"/>
                  <a:gd name="connsiteY42" fmla="*/ 8262 h 10000"/>
                  <a:gd name="connsiteX43" fmla="*/ 4081 w 10205"/>
                  <a:gd name="connsiteY43" fmla="*/ 8179 h 10000"/>
                  <a:gd name="connsiteX44" fmla="*/ 4177 w 10205"/>
                  <a:gd name="connsiteY44" fmla="*/ 8108 h 10000"/>
                  <a:gd name="connsiteX45" fmla="*/ 4282 w 10205"/>
                  <a:gd name="connsiteY45" fmla="*/ 8044 h 10000"/>
                  <a:gd name="connsiteX46" fmla="*/ 4387 w 10205"/>
                  <a:gd name="connsiteY46" fmla="*/ 8000 h 10000"/>
                  <a:gd name="connsiteX47" fmla="*/ 4501 w 10205"/>
                  <a:gd name="connsiteY47" fmla="*/ 7967 h 10000"/>
                  <a:gd name="connsiteX48" fmla="*/ 4621 w 10205"/>
                  <a:gd name="connsiteY48" fmla="*/ 7942 h 10000"/>
                  <a:gd name="connsiteX49" fmla="*/ 4757 w 10205"/>
                  <a:gd name="connsiteY49" fmla="*/ 7935 h 10000"/>
                  <a:gd name="connsiteX50" fmla="*/ 4944 w 10205"/>
                  <a:gd name="connsiteY50" fmla="*/ 7948 h 10000"/>
                  <a:gd name="connsiteX51" fmla="*/ 5130 w 10205"/>
                  <a:gd name="connsiteY51" fmla="*/ 7993 h 10000"/>
                  <a:gd name="connsiteX52" fmla="*/ 5279 w 10205"/>
                  <a:gd name="connsiteY52" fmla="*/ 8070 h 10000"/>
                  <a:gd name="connsiteX53" fmla="*/ 5431 w 10205"/>
                  <a:gd name="connsiteY53" fmla="*/ 8166 h 10000"/>
                  <a:gd name="connsiteX54" fmla="*/ 5559 w 10205"/>
                  <a:gd name="connsiteY54" fmla="*/ 8282 h 10000"/>
                  <a:gd name="connsiteX55" fmla="*/ 5643 w 10205"/>
                  <a:gd name="connsiteY55" fmla="*/ 8423 h 10000"/>
                  <a:gd name="connsiteX56" fmla="*/ 5722 w 10205"/>
                  <a:gd name="connsiteY56" fmla="*/ 8570 h 10000"/>
                  <a:gd name="connsiteX57" fmla="*/ 5749 w 10205"/>
                  <a:gd name="connsiteY57" fmla="*/ 8732 h 10000"/>
                  <a:gd name="connsiteX58" fmla="*/ 5785 w 10205"/>
                  <a:gd name="connsiteY58" fmla="*/ 8725 h 10000"/>
                  <a:gd name="connsiteX59" fmla="*/ 5813 w 10205"/>
                  <a:gd name="connsiteY59" fmla="*/ 8725 h 10000"/>
                  <a:gd name="connsiteX60" fmla="*/ 5842 w 10205"/>
                  <a:gd name="connsiteY60" fmla="*/ 8719 h 10000"/>
                  <a:gd name="connsiteX61" fmla="*/ 5870 w 10205"/>
                  <a:gd name="connsiteY61" fmla="*/ 8719 h 10000"/>
                  <a:gd name="connsiteX62" fmla="*/ 5907 w 10205"/>
                  <a:gd name="connsiteY62" fmla="*/ 8713 h 10000"/>
                  <a:gd name="connsiteX63" fmla="*/ 5940 w 10205"/>
                  <a:gd name="connsiteY63" fmla="*/ 8713 h 10000"/>
                  <a:gd name="connsiteX64" fmla="*/ 5970 w 10205"/>
                  <a:gd name="connsiteY64" fmla="*/ 8713 h 10000"/>
                  <a:gd name="connsiteX65" fmla="*/ 6007 w 10205"/>
                  <a:gd name="connsiteY65" fmla="*/ 8713 h 10000"/>
                  <a:gd name="connsiteX66" fmla="*/ 6155 w 10205"/>
                  <a:gd name="connsiteY66" fmla="*/ 8719 h 10000"/>
                  <a:gd name="connsiteX67" fmla="*/ 6291 w 10205"/>
                  <a:gd name="connsiteY67" fmla="*/ 8752 h 10000"/>
                  <a:gd name="connsiteX68" fmla="*/ 6427 w 10205"/>
                  <a:gd name="connsiteY68" fmla="*/ 8797 h 10000"/>
                  <a:gd name="connsiteX69" fmla="*/ 6549 w 10205"/>
                  <a:gd name="connsiteY69" fmla="*/ 8862 h 10000"/>
                  <a:gd name="connsiteX70" fmla="*/ 6662 w 10205"/>
                  <a:gd name="connsiteY70" fmla="*/ 8938 h 10000"/>
                  <a:gd name="connsiteX71" fmla="*/ 6763 w 10205"/>
                  <a:gd name="connsiteY71" fmla="*/ 9021 h 10000"/>
                  <a:gd name="connsiteX72" fmla="*/ 6842 w 10205"/>
                  <a:gd name="connsiteY72" fmla="*/ 9131 h 10000"/>
                  <a:gd name="connsiteX73" fmla="*/ 6914 w 10205"/>
                  <a:gd name="connsiteY73" fmla="*/ 9239 h 10000"/>
                  <a:gd name="connsiteX74" fmla="*/ 2841 w 10205"/>
                  <a:gd name="connsiteY74" fmla="*/ 9239 h 10000"/>
                  <a:gd name="connsiteX75" fmla="*/ 2883 w 10205"/>
                  <a:gd name="connsiteY75" fmla="*/ 9156 h 10000"/>
                  <a:gd name="connsiteX76" fmla="*/ 2940 w 10205"/>
                  <a:gd name="connsiteY76" fmla="*/ 9073 h 10000"/>
                  <a:gd name="connsiteX77" fmla="*/ 2998 w 10205"/>
                  <a:gd name="connsiteY77" fmla="*/ 9009 h 10000"/>
                  <a:gd name="connsiteX78" fmla="*/ 3073 w 10205"/>
                  <a:gd name="connsiteY78" fmla="*/ 8945 h 10000"/>
                  <a:gd name="connsiteX79" fmla="*/ 3146 w 10205"/>
                  <a:gd name="connsiteY79" fmla="*/ 8894 h 10000"/>
                  <a:gd name="connsiteX80" fmla="*/ 3232 w 10205"/>
                  <a:gd name="connsiteY80" fmla="*/ 8842 h 10000"/>
                  <a:gd name="connsiteX81" fmla="*/ 3318 w 10205"/>
                  <a:gd name="connsiteY81" fmla="*/ 8804 h 10000"/>
                  <a:gd name="connsiteX82" fmla="*/ 3418 w 10205"/>
                  <a:gd name="connsiteY82" fmla="*/ 8772 h 10000"/>
                  <a:gd name="connsiteX83" fmla="*/ 3418 w 10205"/>
                  <a:gd name="connsiteY83" fmla="*/ 7948 h 10000"/>
                  <a:gd name="connsiteX84" fmla="*/ 1173 w 10205"/>
                  <a:gd name="connsiteY84" fmla="*/ 8032 h 10000"/>
                  <a:gd name="connsiteX85" fmla="*/ 3 w 10205"/>
                  <a:gd name="connsiteY85" fmla="*/ 7682 h 10000"/>
                  <a:gd name="connsiteX86" fmla="*/ 2290 w 10205"/>
                  <a:gd name="connsiteY86" fmla="*/ 9456 h 10000"/>
                  <a:gd name="connsiteX87" fmla="*/ 6149 w 10205"/>
                  <a:gd name="connsiteY87" fmla="*/ 9983 h 10000"/>
                  <a:gd name="connsiteX88" fmla="*/ 8700 w 10205"/>
                  <a:gd name="connsiteY88" fmla="*/ 8953 h 10000"/>
                  <a:gd name="connsiteX0" fmla="*/ 8700 w 10205"/>
                  <a:gd name="connsiteY0" fmla="*/ 8953 h 10016"/>
                  <a:gd name="connsiteX1" fmla="*/ 10156 w 10205"/>
                  <a:gd name="connsiteY1" fmla="*/ 7158 h 10016"/>
                  <a:gd name="connsiteX2" fmla="*/ 9279 w 10205"/>
                  <a:gd name="connsiteY2" fmla="*/ 7158 h 10016"/>
                  <a:gd name="connsiteX3" fmla="*/ 9279 w 10205"/>
                  <a:gd name="connsiteY3" fmla="*/ 4003 h 10016"/>
                  <a:gd name="connsiteX4" fmla="*/ 7113 w 10205"/>
                  <a:gd name="connsiteY4" fmla="*/ 4003 h 10016"/>
                  <a:gd name="connsiteX5" fmla="*/ 7113 w 10205"/>
                  <a:gd name="connsiteY5" fmla="*/ 3700 h 10016"/>
                  <a:gd name="connsiteX6" fmla="*/ 8844 w 10205"/>
                  <a:gd name="connsiteY6" fmla="*/ 3700 h 10016"/>
                  <a:gd name="connsiteX7" fmla="*/ 8844 w 10205"/>
                  <a:gd name="connsiteY7" fmla="*/ 3392 h 10016"/>
                  <a:gd name="connsiteX8" fmla="*/ 7113 w 10205"/>
                  <a:gd name="connsiteY8" fmla="*/ 3392 h 10016"/>
                  <a:gd name="connsiteX9" fmla="*/ 7113 w 10205"/>
                  <a:gd name="connsiteY9" fmla="*/ 1324 h 10016"/>
                  <a:gd name="connsiteX10" fmla="*/ 4564 w 10205"/>
                  <a:gd name="connsiteY10" fmla="*/ 534 h 10016"/>
                  <a:gd name="connsiteX11" fmla="*/ 4564 w 10205"/>
                  <a:gd name="connsiteY11" fmla="*/ 5500 h 10016"/>
                  <a:gd name="connsiteX12" fmla="*/ 4160 w 10205"/>
                  <a:gd name="connsiteY12" fmla="*/ 5506 h 10016"/>
                  <a:gd name="connsiteX13" fmla="*/ 4160 w 10205"/>
                  <a:gd name="connsiteY13" fmla="*/ 1703 h 10016"/>
                  <a:gd name="connsiteX14" fmla="*/ 3303 w 10205"/>
                  <a:gd name="connsiteY14" fmla="*/ 1999 h 10016"/>
                  <a:gd name="connsiteX15" fmla="*/ 2841 w 10205"/>
                  <a:gd name="connsiteY15" fmla="*/ 1999 h 10016"/>
                  <a:gd name="connsiteX16" fmla="*/ 2841 w 10205"/>
                  <a:gd name="connsiteY16" fmla="*/ 0 h 10016"/>
                  <a:gd name="connsiteX17" fmla="*/ 2670 w 10205"/>
                  <a:gd name="connsiteY17" fmla="*/ 0 h 10016"/>
                  <a:gd name="connsiteX18" fmla="*/ 2670 w 10205"/>
                  <a:gd name="connsiteY18" fmla="*/ 1999 h 10016"/>
                  <a:gd name="connsiteX19" fmla="*/ 2278 w 10205"/>
                  <a:gd name="connsiteY19" fmla="*/ 1999 h 10016"/>
                  <a:gd name="connsiteX20" fmla="*/ 2278 w 10205"/>
                  <a:gd name="connsiteY20" fmla="*/ 2417 h 10016"/>
                  <a:gd name="connsiteX21" fmla="*/ 1571 w 10205"/>
                  <a:gd name="connsiteY21" fmla="*/ 2730 h 10016"/>
                  <a:gd name="connsiteX22" fmla="*/ 1571 w 10205"/>
                  <a:gd name="connsiteY22" fmla="*/ 4280 h 10016"/>
                  <a:gd name="connsiteX23" fmla="*/ 1193 w 10205"/>
                  <a:gd name="connsiteY23" fmla="*/ 4280 h 10016"/>
                  <a:gd name="connsiteX24" fmla="*/ 1193 w 10205"/>
                  <a:gd name="connsiteY24" fmla="*/ 4691 h 10016"/>
                  <a:gd name="connsiteX25" fmla="*/ 1571 w 10205"/>
                  <a:gd name="connsiteY25" fmla="*/ 4691 h 10016"/>
                  <a:gd name="connsiteX26" fmla="*/ 1571 w 10205"/>
                  <a:gd name="connsiteY26" fmla="*/ 5205 h 10016"/>
                  <a:gd name="connsiteX27" fmla="*/ 1193 w 10205"/>
                  <a:gd name="connsiteY27" fmla="*/ 5205 h 10016"/>
                  <a:gd name="connsiteX28" fmla="*/ 1193 w 10205"/>
                  <a:gd name="connsiteY28" fmla="*/ 5616 h 10016"/>
                  <a:gd name="connsiteX29" fmla="*/ 1571 w 10205"/>
                  <a:gd name="connsiteY29" fmla="*/ 5616 h 10016"/>
                  <a:gd name="connsiteX30" fmla="*/ 1571 w 10205"/>
                  <a:gd name="connsiteY30" fmla="*/ 6831 h 10016"/>
                  <a:gd name="connsiteX31" fmla="*/ 444 w 10205"/>
                  <a:gd name="connsiteY31" fmla="*/ 6831 h 10016"/>
                  <a:gd name="connsiteX32" fmla="*/ 444 w 10205"/>
                  <a:gd name="connsiteY32" fmla="*/ 7581 h 10016"/>
                  <a:gd name="connsiteX33" fmla="*/ 1022 w 10205"/>
                  <a:gd name="connsiteY33" fmla="*/ 7601 h 10016"/>
                  <a:gd name="connsiteX34" fmla="*/ 1805 w 10205"/>
                  <a:gd name="connsiteY34" fmla="*/ 7094 h 10016"/>
                  <a:gd name="connsiteX35" fmla="*/ 1798 w 10205"/>
                  <a:gd name="connsiteY35" fmla="*/ 7581 h 10016"/>
                  <a:gd name="connsiteX36" fmla="*/ 2519 w 10205"/>
                  <a:gd name="connsiteY36" fmla="*/ 7146 h 10016"/>
                  <a:gd name="connsiteX37" fmla="*/ 2519 w 10205"/>
                  <a:gd name="connsiteY37" fmla="*/ 7581 h 10016"/>
                  <a:gd name="connsiteX38" fmla="*/ 3232 w 10205"/>
                  <a:gd name="connsiteY38" fmla="*/ 7139 h 10016"/>
                  <a:gd name="connsiteX39" fmla="*/ 3238 w 10205"/>
                  <a:gd name="connsiteY39" fmla="*/ 7575 h 10016"/>
                  <a:gd name="connsiteX40" fmla="*/ 3924 w 10205"/>
                  <a:gd name="connsiteY40" fmla="*/ 7107 h 10016"/>
                  <a:gd name="connsiteX41" fmla="*/ 3924 w 10205"/>
                  <a:gd name="connsiteY41" fmla="*/ 8352 h 10016"/>
                  <a:gd name="connsiteX42" fmla="*/ 4004 w 10205"/>
                  <a:gd name="connsiteY42" fmla="*/ 8262 h 10016"/>
                  <a:gd name="connsiteX43" fmla="*/ 4081 w 10205"/>
                  <a:gd name="connsiteY43" fmla="*/ 8179 h 10016"/>
                  <a:gd name="connsiteX44" fmla="*/ 4177 w 10205"/>
                  <a:gd name="connsiteY44" fmla="*/ 8108 h 10016"/>
                  <a:gd name="connsiteX45" fmla="*/ 4282 w 10205"/>
                  <a:gd name="connsiteY45" fmla="*/ 8044 h 10016"/>
                  <a:gd name="connsiteX46" fmla="*/ 4387 w 10205"/>
                  <a:gd name="connsiteY46" fmla="*/ 8000 h 10016"/>
                  <a:gd name="connsiteX47" fmla="*/ 4501 w 10205"/>
                  <a:gd name="connsiteY47" fmla="*/ 7967 h 10016"/>
                  <a:gd name="connsiteX48" fmla="*/ 4621 w 10205"/>
                  <a:gd name="connsiteY48" fmla="*/ 7942 h 10016"/>
                  <a:gd name="connsiteX49" fmla="*/ 4757 w 10205"/>
                  <a:gd name="connsiteY49" fmla="*/ 7935 h 10016"/>
                  <a:gd name="connsiteX50" fmla="*/ 4944 w 10205"/>
                  <a:gd name="connsiteY50" fmla="*/ 7948 h 10016"/>
                  <a:gd name="connsiteX51" fmla="*/ 5130 w 10205"/>
                  <a:gd name="connsiteY51" fmla="*/ 7993 h 10016"/>
                  <a:gd name="connsiteX52" fmla="*/ 5279 w 10205"/>
                  <a:gd name="connsiteY52" fmla="*/ 8070 h 10016"/>
                  <a:gd name="connsiteX53" fmla="*/ 5431 w 10205"/>
                  <a:gd name="connsiteY53" fmla="*/ 8166 h 10016"/>
                  <a:gd name="connsiteX54" fmla="*/ 5559 w 10205"/>
                  <a:gd name="connsiteY54" fmla="*/ 8282 h 10016"/>
                  <a:gd name="connsiteX55" fmla="*/ 5643 w 10205"/>
                  <a:gd name="connsiteY55" fmla="*/ 8423 h 10016"/>
                  <a:gd name="connsiteX56" fmla="*/ 5722 w 10205"/>
                  <a:gd name="connsiteY56" fmla="*/ 8570 h 10016"/>
                  <a:gd name="connsiteX57" fmla="*/ 5749 w 10205"/>
                  <a:gd name="connsiteY57" fmla="*/ 8732 h 10016"/>
                  <a:gd name="connsiteX58" fmla="*/ 5785 w 10205"/>
                  <a:gd name="connsiteY58" fmla="*/ 8725 h 10016"/>
                  <a:gd name="connsiteX59" fmla="*/ 5813 w 10205"/>
                  <a:gd name="connsiteY59" fmla="*/ 8725 h 10016"/>
                  <a:gd name="connsiteX60" fmla="*/ 5842 w 10205"/>
                  <a:gd name="connsiteY60" fmla="*/ 8719 h 10016"/>
                  <a:gd name="connsiteX61" fmla="*/ 5870 w 10205"/>
                  <a:gd name="connsiteY61" fmla="*/ 8719 h 10016"/>
                  <a:gd name="connsiteX62" fmla="*/ 5907 w 10205"/>
                  <a:gd name="connsiteY62" fmla="*/ 8713 h 10016"/>
                  <a:gd name="connsiteX63" fmla="*/ 5940 w 10205"/>
                  <a:gd name="connsiteY63" fmla="*/ 8713 h 10016"/>
                  <a:gd name="connsiteX64" fmla="*/ 5970 w 10205"/>
                  <a:gd name="connsiteY64" fmla="*/ 8713 h 10016"/>
                  <a:gd name="connsiteX65" fmla="*/ 6007 w 10205"/>
                  <a:gd name="connsiteY65" fmla="*/ 8713 h 10016"/>
                  <a:gd name="connsiteX66" fmla="*/ 6155 w 10205"/>
                  <a:gd name="connsiteY66" fmla="*/ 8719 h 10016"/>
                  <a:gd name="connsiteX67" fmla="*/ 6291 w 10205"/>
                  <a:gd name="connsiteY67" fmla="*/ 8752 h 10016"/>
                  <a:gd name="connsiteX68" fmla="*/ 6427 w 10205"/>
                  <a:gd name="connsiteY68" fmla="*/ 8797 h 10016"/>
                  <a:gd name="connsiteX69" fmla="*/ 6549 w 10205"/>
                  <a:gd name="connsiteY69" fmla="*/ 8862 h 10016"/>
                  <a:gd name="connsiteX70" fmla="*/ 6662 w 10205"/>
                  <a:gd name="connsiteY70" fmla="*/ 8938 h 10016"/>
                  <a:gd name="connsiteX71" fmla="*/ 6763 w 10205"/>
                  <a:gd name="connsiteY71" fmla="*/ 9021 h 10016"/>
                  <a:gd name="connsiteX72" fmla="*/ 6842 w 10205"/>
                  <a:gd name="connsiteY72" fmla="*/ 9131 h 10016"/>
                  <a:gd name="connsiteX73" fmla="*/ 6914 w 10205"/>
                  <a:gd name="connsiteY73" fmla="*/ 9239 h 10016"/>
                  <a:gd name="connsiteX74" fmla="*/ 2841 w 10205"/>
                  <a:gd name="connsiteY74" fmla="*/ 9239 h 10016"/>
                  <a:gd name="connsiteX75" fmla="*/ 2883 w 10205"/>
                  <a:gd name="connsiteY75" fmla="*/ 9156 h 10016"/>
                  <a:gd name="connsiteX76" fmla="*/ 2940 w 10205"/>
                  <a:gd name="connsiteY76" fmla="*/ 9073 h 10016"/>
                  <a:gd name="connsiteX77" fmla="*/ 2998 w 10205"/>
                  <a:gd name="connsiteY77" fmla="*/ 9009 h 10016"/>
                  <a:gd name="connsiteX78" fmla="*/ 3073 w 10205"/>
                  <a:gd name="connsiteY78" fmla="*/ 8945 h 10016"/>
                  <a:gd name="connsiteX79" fmla="*/ 3146 w 10205"/>
                  <a:gd name="connsiteY79" fmla="*/ 8894 h 10016"/>
                  <a:gd name="connsiteX80" fmla="*/ 3232 w 10205"/>
                  <a:gd name="connsiteY80" fmla="*/ 8842 h 10016"/>
                  <a:gd name="connsiteX81" fmla="*/ 3318 w 10205"/>
                  <a:gd name="connsiteY81" fmla="*/ 8804 h 10016"/>
                  <a:gd name="connsiteX82" fmla="*/ 3418 w 10205"/>
                  <a:gd name="connsiteY82" fmla="*/ 8772 h 10016"/>
                  <a:gd name="connsiteX83" fmla="*/ 3418 w 10205"/>
                  <a:gd name="connsiteY83" fmla="*/ 7948 h 10016"/>
                  <a:gd name="connsiteX84" fmla="*/ 1173 w 10205"/>
                  <a:gd name="connsiteY84" fmla="*/ 8032 h 10016"/>
                  <a:gd name="connsiteX85" fmla="*/ 3 w 10205"/>
                  <a:gd name="connsiteY85" fmla="*/ 7682 h 10016"/>
                  <a:gd name="connsiteX86" fmla="*/ 2290 w 10205"/>
                  <a:gd name="connsiteY86" fmla="*/ 9456 h 10016"/>
                  <a:gd name="connsiteX87" fmla="*/ 6149 w 10205"/>
                  <a:gd name="connsiteY87" fmla="*/ 9983 h 10016"/>
                  <a:gd name="connsiteX88" fmla="*/ 8700 w 10205"/>
                  <a:gd name="connsiteY88" fmla="*/ 8953 h 10016"/>
                  <a:gd name="connsiteX0" fmla="*/ 8700 w 10205"/>
                  <a:gd name="connsiteY0" fmla="*/ 8953 h 10036"/>
                  <a:gd name="connsiteX1" fmla="*/ 10156 w 10205"/>
                  <a:gd name="connsiteY1" fmla="*/ 7158 h 10036"/>
                  <a:gd name="connsiteX2" fmla="*/ 9279 w 10205"/>
                  <a:gd name="connsiteY2" fmla="*/ 7158 h 10036"/>
                  <a:gd name="connsiteX3" fmla="*/ 9279 w 10205"/>
                  <a:gd name="connsiteY3" fmla="*/ 4003 h 10036"/>
                  <a:gd name="connsiteX4" fmla="*/ 7113 w 10205"/>
                  <a:gd name="connsiteY4" fmla="*/ 4003 h 10036"/>
                  <a:gd name="connsiteX5" fmla="*/ 7113 w 10205"/>
                  <a:gd name="connsiteY5" fmla="*/ 3700 h 10036"/>
                  <a:gd name="connsiteX6" fmla="*/ 8844 w 10205"/>
                  <a:gd name="connsiteY6" fmla="*/ 3700 h 10036"/>
                  <a:gd name="connsiteX7" fmla="*/ 8844 w 10205"/>
                  <a:gd name="connsiteY7" fmla="*/ 3392 h 10036"/>
                  <a:gd name="connsiteX8" fmla="*/ 7113 w 10205"/>
                  <a:gd name="connsiteY8" fmla="*/ 3392 h 10036"/>
                  <a:gd name="connsiteX9" fmla="*/ 7113 w 10205"/>
                  <a:gd name="connsiteY9" fmla="*/ 1324 h 10036"/>
                  <a:gd name="connsiteX10" fmla="*/ 4564 w 10205"/>
                  <a:gd name="connsiteY10" fmla="*/ 534 h 10036"/>
                  <a:gd name="connsiteX11" fmla="*/ 4564 w 10205"/>
                  <a:gd name="connsiteY11" fmla="*/ 5500 h 10036"/>
                  <a:gd name="connsiteX12" fmla="*/ 4160 w 10205"/>
                  <a:gd name="connsiteY12" fmla="*/ 5506 h 10036"/>
                  <a:gd name="connsiteX13" fmla="*/ 4160 w 10205"/>
                  <a:gd name="connsiteY13" fmla="*/ 1703 h 10036"/>
                  <a:gd name="connsiteX14" fmla="*/ 3303 w 10205"/>
                  <a:gd name="connsiteY14" fmla="*/ 1999 h 10036"/>
                  <a:gd name="connsiteX15" fmla="*/ 2841 w 10205"/>
                  <a:gd name="connsiteY15" fmla="*/ 1999 h 10036"/>
                  <a:gd name="connsiteX16" fmla="*/ 2841 w 10205"/>
                  <a:gd name="connsiteY16" fmla="*/ 0 h 10036"/>
                  <a:gd name="connsiteX17" fmla="*/ 2670 w 10205"/>
                  <a:gd name="connsiteY17" fmla="*/ 0 h 10036"/>
                  <a:gd name="connsiteX18" fmla="*/ 2670 w 10205"/>
                  <a:gd name="connsiteY18" fmla="*/ 1999 h 10036"/>
                  <a:gd name="connsiteX19" fmla="*/ 2278 w 10205"/>
                  <a:gd name="connsiteY19" fmla="*/ 1999 h 10036"/>
                  <a:gd name="connsiteX20" fmla="*/ 2278 w 10205"/>
                  <a:gd name="connsiteY20" fmla="*/ 2417 h 10036"/>
                  <a:gd name="connsiteX21" fmla="*/ 1571 w 10205"/>
                  <a:gd name="connsiteY21" fmla="*/ 2730 h 10036"/>
                  <a:gd name="connsiteX22" fmla="*/ 1571 w 10205"/>
                  <a:gd name="connsiteY22" fmla="*/ 4280 h 10036"/>
                  <a:gd name="connsiteX23" fmla="*/ 1193 w 10205"/>
                  <a:gd name="connsiteY23" fmla="*/ 4280 h 10036"/>
                  <a:gd name="connsiteX24" fmla="*/ 1193 w 10205"/>
                  <a:gd name="connsiteY24" fmla="*/ 4691 h 10036"/>
                  <a:gd name="connsiteX25" fmla="*/ 1571 w 10205"/>
                  <a:gd name="connsiteY25" fmla="*/ 4691 h 10036"/>
                  <a:gd name="connsiteX26" fmla="*/ 1571 w 10205"/>
                  <a:gd name="connsiteY26" fmla="*/ 5205 h 10036"/>
                  <a:gd name="connsiteX27" fmla="*/ 1193 w 10205"/>
                  <a:gd name="connsiteY27" fmla="*/ 5205 h 10036"/>
                  <a:gd name="connsiteX28" fmla="*/ 1193 w 10205"/>
                  <a:gd name="connsiteY28" fmla="*/ 5616 h 10036"/>
                  <a:gd name="connsiteX29" fmla="*/ 1571 w 10205"/>
                  <a:gd name="connsiteY29" fmla="*/ 5616 h 10036"/>
                  <a:gd name="connsiteX30" fmla="*/ 1571 w 10205"/>
                  <a:gd name="connsiteY30" fmla="*/ 6831 h 10036"/>
                  <a:gd name="connsiteX31" fmla="*/ 444 w 10205"/>
                  <a:gd name="connsiteY31" fmla="*/ 6831 h 10036"/>
                  <a:gd name="connsiteX32" fmla="*/ 444 w 10205"/>
                  <a:gd name="connsiteY32" fmla="*/ 7581 h 10036"/>
                  <a:gd name="connsiteX33" fmla="*/ 1022 w 10205"/>
                  <a:gd name="connsiteY33" fmla="*/ 7601 h 10036"/>
                  <a:gd name="connsiteX34" fmla="*/ 1805 w 10205"/>
                  <a:gd name="connsiteY34" fmla="*/ 7094 h 10036"/>
                  <a:gd name="connsiteX35" fmla="*/ 1798 w 10205"/>
                  <a:gd name="connsiteY35" fmla="*/ 7581 h 10036"/>
                  <a:gd name="connsiteX36" fmla="*/ 2519 w 10205"/>
                  <a:gd name="connsiteY36" fmla="*/ 7146 h 10036"/>
                  <a:gd name="connsiteX37" fmla="*/ 2519 w 10205"/>
                  <a:gd name="connsiteY37" fmla="*/ 7581 h 10036"/>
                  <a:gd name="connsiteX38" fmla="*/ 3232 w 10205"/>
                  <a:gd name="connsiteY38" fmla="*/ 7139 h 10036"/>
                  <a:gd name="connsiteX39" fmla="*/ 3238 w 10205"/>
                  <a:gd name="connsiteY39" fmla="*/ 7575 h 10036"/>
                  <a:gd name="connsiteX40" fmla="*/ 3924 w 10205"/>
                  <a:gd name="connsiteY40" fmla="*/ 7107 h 10036"/>
                  <a:gd name="connsiteX41" fmla="*/ 3924 w 10205"/>
                  <a:gd name="connsiteY41" fmla="*/ 8352 h 10036"/>
                  <a:gd name="connsiteX42" fmla="*/ 4004 w 10205"/>
                  <a:gd name="connsiteY42" fmla="*/ 8262 h 10036"/>
                  <a:gd name="connsiteX43" fmla="*/ 4081 w 10205"/>
                  <a:gd name="connsiteY43" fmla="*/ 8179 h 10036"/>
                  <a:gd name="connsiteX44" fmla="*/ 4177 w 10205"/>
                  <a:gd name="connsiteY44" fmla="*/ 8108 h 10036"/>
                  <a:gd name="connsiteX45" fmla="*/ 4282 w 10205"/>
                  <a:gd name="connsiteY45" fmla="*/ 8044 h 10036"/>
                  <a:gd name="connsiteX46" fmla="*/ 4387 w 10205"/>
                  <a:gd name="connsiteY46" fmla="*/ 8000 h 10036"/>
                  <a:gd name="connsiteX47" fmla="*/ 4501 w 10205"/>
                  <a:gd name="connsiteY47" fmla="*/ 7967 h 10036"/>
                  <a:gd name="connsiteX48" fmla="*/ 4621 w 10205"/>
                  <a:gd name="connsiteY48" fmla="*/ 7942 h 10036"/>
                  <a:gd name="connsiteX49" fmla="*/ 4757 w 10205"/>
                  <a:gd name="connsiteY49" fmla="*/ 7935 h 10036"/>
                  <a:gd name="connsiteX50" fmla="*/ 4944 w 10205"/>
                  <a:gd name="connsiteY50" fmla="*/ 7948 h 10036"/>
                  <a:gd name="connsiteX51" fmla="*/ 5130 w 10205"/>
                  <a:gd name="connsiteY51" fmla="*/ 7993 h 10036"/>
                  <a:gd name="connsiteX52" fmla="*/ 5279 w 10205"/>
                  <a:gd name="connsiteY52" fmla="*/ 8070 h 10036"/>
                  <a:gd name="connsiteX53" fmla="*/ 5431 w 10205"/>
                  <a:gd name="connsiteY53" fmla="*/ 8166 h 10036"/>
                  <a:gd name="connsiteX54" fmla="*/ 5559 w 10205"/>
                  <a:gd name="connsiteY54" fmla="*/ 8282 h 10036"/>
                  <a:gd name="connsiteX55" fmla="*/ 5643 w 10205"/>
                  <a:gd name="connsiteY55" fmla="*/ 8423 h 10036"/>
                  <a:gd name="connsiteX56" fmla="*/ 5722 w 10205"/>
                  <a:gd name="connsiteY56" fmla="*/ 8570 h 10036"/>
                  <a:gd name="connsiteX57" fmla="*/ 5749 w 10205"/>
                  <a:gd name="connsiteY57" fmla="*/ 8732 h 10036"/>
                  <a:gd name="connsiteX58" fmla="*/ 5785 w 10205"/>
                  <a:gd name="connsiteY58" fmla="*/ 8725 h 10036"/>
                  <a:gd name="connsiteX59" fmla="*/ 5813 w 10205"/>
                  <a:gd name="connsiteY59" fmla="*/ 8725 h 10036"/>
                  <a:gd name="connsiteX60" fmla="*/ 5842 w 10205"/>
                  <a:gd name="connsiteY60" fmla="*/ 8719 h 10036"/>
                  <a:gd name="connsiteX61" fmla="*/ 5870 w 10205"/>
                  <a:gd name="connsiteY61" fmla="*/ 8719 h 10036"/>
                  <a:gd name="connsiteX62" fmla="*/ 5907 w 10205"/>
                  <a:gd name="connsiteY62" fmla="*/ 8713 h 10036"/>
                  <a:gd name="connsiteX63" fmla="*/ 5940 w 10205"/>
                  <a:gd name="connsiteY63" fmla="*/ 8713 h 10036"/>
                  <a:gd name="connsiteX64" fmla="*/ 5970 w 10205"/>
                  <a:gd name="connsiteY64" fmla="*/ 8713 h 10036"/>
                  <a:gd name="connsiteX65" fmla="*/ 6007 w 10205"/>
                  <a:gd name="connsiteY65" fmla="*/ 8713 h 10036"/>
                  <a:gd name="connsiteX66" fmla="*/ 6155 w 10205"/>
                  <a:gd name="connsiteY66" fmla="*/ 8719 h 10036"/>
                  <a:gd name="connsiteX67" fmla="*/ 6291 w 10205"/>
                  <a:gd name="connsiteY67" fmla="*/ 8752 h 10036"/>
                  <a:gd name="connsiteX68" fmla="*/ 6427 w 10205"/>
                  <a:gd name="connsiteY68" fmla="*/ 8797 h 10036"/>
                  <a:gd name="connsiteX69" fmla="*/ 6549 w 10205"/>
                  <a:gd name="connsiteY69" fmla="*/ 8862 h 10036"/>
                  <a:gd name="connsiteX70" fmla="*/ 6662 w 10205"/>
                  <a:gd name="connsiteY70" fmla="*/ 8938 h 10036"/>
                  <a:gd name="connsiteX71" fmla="*/ 6763 w 10205"/>
                  <a:gd name="connsiteY71" fmla="*/ 9021 h 10036"/>
                  <a:gd name="connsiteX72" fmla="*/ 6842 w 10205"/>
                  <a:gd name="connsiteY72" fmla="*/ 9131 h 10036"/>
                  <a:gd name="connsiteX73" fmla="*/ 6914 w 10205"/>
                  <a:gd name="connsiteY73" fmla="*/ 9239 h 10036"/>
                  <a:gd name="connsiteX74" fmla="*/ 2841 w 10205"/>
                  <a:gd name="connsiteY74" fmla="*/ 9239 h 10036"/>
                  <a:gd name="connsiteX75" fmla="*/ 2883 w 10205"/>
                  <a:gd name="connsiteY75" fmla="*/ 9156 h 10036"/>
                  <a:gd name="connsiteX76" fmla="*/ 2940 w 10205"/>
                  <a:gd name="connsiteY76" fmla="*/ 9073 h 10036"/>
                  <a:gd name="connsiteX77" fmla="*/ 2998 w 10205"/>
                  <a:gd name="connsiteY77" fmla="*/ 9009 h 10036"/>
                  <a:gd name="connsiteX78" fmla="*/ 3073 w 10205"/>
                  <a:gd name="connsiteY78" fmla="*/ 8945 h 10036"/>
                  <a:gd name="connsiteX79" fmla="*/ 3146 w 10205"/>
                  <a:gd name="connsiteY79" fmla="*/ 8894 h 10036"/>
                  <a:gd name="connsiteX80" fmla="*/ 3232 w 10205"/>
                  <a:gd name="connsiteY80" fmla="*/ 8842 h 10036"/>
                  <a:gd name="connsiteX81" fmla="*/ 3318 w 10205"/>
                  <a:gd name="connsiteY81" fmla="*/ 8804 h 10036"/>
                  <a:gd name="connsiteX82" fmla="*/ 3418 w 10205"/>
                  <a:gd name="connsiteY82" fmla="*/ 8772 h 10036"/>
                  <a:gd name="connsiteX83" fmla="*/ 3418 w 10205"/>
                  <a:gd name="connsiteY83" fmla="*/ 7948 h 10036"/>
                  <a:gd name="connsiteX84" fmla="*/ 1173 w 10205"/>
                  <a:gd name="connsiteY84" fmla="*/ 8032 h 10036"/>
                  <a:gd name="connsiteX85" fmla="*/ 3 w 10205"/>
                  <a:gd name="connsiteY85" fmla="*/ 7682 h 10036"/>
                  <a:gd name="connsiteX86" fmla="*/ 2290 w 10205"/>
                  <a:gd name="connsiteY86" fmla="*/ 9456 h 10036"/>
                  <a:gd name="connsiteX87" fmla="*/ 6149 w 10205"/>
                  <a:gd name="connsiteY87" fmla="*/ 9983 h 10036"/>
                  <a:gd name="connsiteX88" fmla="*/ 8700 w 10205"/>
                  <a:gd name="connsiteY88" fmla="*/ 8953 h 10036"/>
                  <a:gd name="connsiteX0" fmla="*/ 8700 w 10207"/>
                  <a:gd name="connsiteY0" fmla="*/ 8953 h 10105"/>
                  <a:gd name="connsiteX1" fmla="*/ 10156 w 10207"/>
                  <a:gd name="connsiteY1" fmla="*/ 7158 h 10105"/>
                  <a:gd name="connsiteX2" fmla="*/ 9279 w 10207"/>
                  <a:gd name="connsiteY2" fmla="*/ 7158 h 10105"/>
                  <a:gd name="connsiteX3" fmla="*/ 9279 w 10207"/>
                  <a:gd name="connsiteY3" fmla="*/ 4003 h 10105"/>
                  <a:gd name="connsiteX4" fmla="*/ 7113 w 10207"/>
                  <a:gd name="connsiteY4" fmla="*/ 4003 h 10105"/>
                  <a:gd name="connsiteX5" fmla="*/ 7113 w 10207"/>
                  <a:gd name="connsiteY5" fmla="*/ 3700 h 10105"/>
                  <a:gd name="connsiteX6" fmla="*/ 8844 w 10207"/>
                  <a:gd name="connsiteY6" fmla="*/ 3700 h 10105"/>
                  <a:gd name="connsiteX7" fmla="*/ 8844 w 10207"/>
                  <a:gd name="connsiteY7" fmla="*/ 3392 h 10105"/>
                  <a:gd name="connsiteX8" fmla="*/ 7113 w 10207"/>
                  <a:gd name="connsiteY8" fmla="*/ 3392 h 10105"/>
                  <a:gd name="connsiteX9" fmla="*/ 7113 w 10207"/>
                  <a:gd name="connsiteY9" fmla="*/ 1324 h 10105"/>
                  <a:gd name="connsiteX10" fmla="*/ 4564 w 10207"/>
                  <a:gd name="connsiteY10" fmla="*/ 534 h 10105"/>
                  <a:gd name="connsiteX11" fmla="*/ 4564 w 10207"/>
                  <a:gd name="connsiteY11" fmla="*/ 5500 h 10105"/>
                  <a:gd name="connsiteX12" fmla="*/ 4160 w 10207"/>
                  <a:gd name="connsiteY12" fmla="*/ 5506 h 10105"/>
                  <a:gd name="connsiteX13" fmla="*/ 4160 w 10207"/>
                  <a:gd name="connsiteY13" fmla="*/ 1703 h 10105"/>
                  <a:gd name="connsiteX14" fmla="*/ 3303 w 10207"/>
                  <a:gd name="connsiteY14" fmla="*/ 1999 h 10105"/>
                  <a:gd name="connsiteX15" fmla="*/ 2841 w 10207"/>
                  <a:gd name="connsiteY15" fmla="*/ 1999 h 10105"/>
                  <a:gd name="connsiteX16" fmla="*/ 2841 w 10207"/>
                  <a:gd name="connsiteY16" fmla="*/ 0 h 10105"/>
                  <a:gd name="connsiteX17" fmla="*/ 2670 w 10207"/>
                  <a:gd name="connsiteY17" fmla="*/ 0 h 10105"/>
                  <a:gd name="connsiteX18" fmla="*/ 2670 w 10207"/>
                  <a:gd name="connsiteY18" fmla="*/ 1999 h 10105"/>
                  <a:gd name="connsiteX19" fmla="*/ 2278 w 10207"/>
                  <a:gd name="connsiteY19" fmla="*/ 1999 h 10105"/>
                  <a:gd name="connsiteX20" fmla="*/ 2278 w 10207"/>
                  <a:gd name="connsiteY20" fmla="*/ 2417 h 10105"/>
                  <a:gd name="connsiteX21" fmla="*/ 1571 w 10207"/>
                  <a:gd name="connsiteY21" fmla="*/ 2730 h 10105"/>
                  <a:gd name="connsiteX22" fmla="*/ 1571 w 10207"/>
                  <a:gd name="connsiteY22" fmla="*/ 4280 h 10105"/>
                  <a:gd name="connsiteX23" fmla="*/ 1193 w 10207"/>
                  <a:gd name="connsiteY23" fmla="*/ 4280 h 10105"/>
                  <a:gd name="connsiteX24" fmla="*/ 1193 w 10207"/>
                  <a:gd name="connsiteY24" fmla="*/ 4691 h 10105"/>
                  <a:gd name="connsiteX25" fmla="*/ 1571 w 10207"/>
                  <a:gd name="connsiteY25" fmla="*/ 4691 h 10105"/>
                  <a:gd name="connsiteX26" fmla="*/ 1571 w 10207"/>
                  <a:gd name="connsiteY26" fmla="*/ 5205 h 10105"/>
                  <a:gd name="connsiteX27" fmla="*/ 1193 w 10207"/>
                  <a:gd name="connsiteY27" fmla="*/ 5205 h 10105"/>
                  <a:gd name="connsiteX28" fmla="*/ 1193 w 10207"/>
                  <a:gd name="connsiteY28" fmla="*/ 5616 h 10105"/>
                  <a:gd name="connsiteX29" fmla="*/ 1571 w 10207"/>
                  <a:gd name="connsiteY29" fmla="*/ 5616 h 10105"/>
                  <a:gd name="connsiteX30" fmla="*/ 1571 w 10207"/>
                  <a:gd name="connsiteY30" fmla="*/ 6831 h 10105"/>
                  <a:gd name="connsiteX31" fmla="*/ 444 w 10207"/>
                  <a:gd name="connsiteY31" fmla="*/ 6831 h 10105"/>
                  <a:gd name="connsiteX32" fmla="*/ 444 w 10207"/>
                  <a:gd name="connsiteY32" fmla="*/ 7581 h 10105"/>
                  <a:gd name="connsiteX33" fmla="*/ 1022 w 10207"/>
                  <a:gd name="connsiteY33" fmla="*/ 7601 h 10105"/>
                  <a:gd name="connsiteX34" fmla="*/ 1805 w 10207"/>
                  <a:gd name="connsiteY34" fmla="*/ 7094 h 10105"/>
                  <a:gd name="connsiteX35" fmla="*/ 1798 w 10207"/>
                  <a:gd name="connsiteY35" fmla="*/ 7581 h 10105"/>
                  <a:gd name="connsiteX36" fmla="*/ 2519 w 10207"/>
                  <a:gd name="connsiteY36" fmla="*/ 7146 h 10105"/>
                  <a:gd name="connsiteX37" fmla="*/ 2519 w 10207"/>
                  <a:gd name="connsiteY37" fmla="*/ 7581 h 10105"/>
                  <a:gd name="connsiteX38" fmla="*/ 3232 w 10207"/>
                  <a:gd name="connsiteY38" fmla="*/ 7139 h 10105"/>
                  <a:gd name="connsiteX39" fmla="*/ 3238 w 10207"/>
                  <a:gd name="connsiteY39" fmla="*/ 7575 h 10105"/>
                  <a:gd name="connsiteX40" fmla="*/ 3924 w 10207"/>
                  <a:gd name="connsiteY40" fmla="*/ 7107 h 10105"/>
                  <a:gd name="connsiteX41" fmla="*/ 3924 w 10207"/>
                  <a:gd name="connsiteY41" fmla="*/ 8352 h 10105"/>
                  <a:gd name="connsiteX42" fmla="*/ 4004 w 10207"/>
                  <a:gd name="connsiteY42" fmla="*/ 8262 h 10105"/>
                  <a:gd name="connsiteX43" fmla="*/ 4081 w 10207"/>
                  <a:gd name="connsiteY43" fmla="*/ 8179 h 10105"/>
                  <a:gd name="connsiteX44" fmla="*/ 4177 w 10207"/>
                  <a:gd name="connsiteY44" fmla="*/ 8108 h 10105"/>
                  <a:gd name="connsiteX45" fmla="*/ 4282 w 10207"/>
                  <a:gd name="connsiteY45" fmla="*/ 8044 h 10105"/>
                  <a:gd name="connsiteX46" fmla="*/ 4387 w 10207"/>
                  <a:gd name="connsiteY46" fmla="*/ 8000 h 10105"/>
                  <a:gd name="connsiteX47" fmla="*/ 4501 w 10207"/>
                  <a:gd name="connsiteY47" fmla="*/ 7967 h 10105"/>
                  <a:gd name="connsiteX48" fmla="*/ 4621 w 10207"/>
                  <a:gd name="connsiteY48" fmla="*/ 7942 h 10105"/>
                  <a:gd name="connsiteX49" fmla="*/ 4757 w 10207"/>
                  <a:gd name="connsiteY49" fmla="*/ 7935 h 10105"/>
                  <a:gd name="connsiteX50" fmla="*/ 4944 w 10207"/>
                  <a:gd name="connsiteY50" fmla="*/ 7948 h 10105"/>
                  <a:gd name="connsiteX51" fmla="*/ 5130 w 10207"/>
                  <a:gd name="connsiteY51" fmla="*/ 7993 h 10105"/>
                  <a:gd name="connsiteX52" fmla="*/ 5279 w 10207"/>
                  <a:gd name="connsiteY52" fmla="*/ 8070 h 10105"/>
                  <a:gd name="connsiteX53" fmla="*/ 5431 w 10207"/>
                  <a:gd name="connsiteY53" fmla="*/ 8166 h 10105"/>
                  <a:gd name="connsiteX54" fmla="*/ 5559 w 10207"/>
                  <a:gd name="connsiteY54" fmla="*/ 8282 h 10105"/>
                  <a:gd name="connsiteX55" fmla="*/ 5643 w 10207"/>
                  <a:gd name="connsiteY55" fmla="*/ 8423 h 10105"/>
                  <a:gd name="connsiteX56" fmla="*/ 5722 w 10207"/>
                  <a:gd name="connsiteY56" fmla="*/ 8570 h 10105"/>
                  <a:gd name="connsiteX57" fmla="*/ 5749 w 10207"/>
                  <a:gd name="connsiteY57" fmla="*/ 8732 h 10105"/>
                  <a:gd name="connsiteX58" fmla="*/ 5785 w 10207"/>
                  <a:gd name="connsiteY58" fmla="*/ 8725 h 10105"/>
                  <a:gd name="connsiteX59" fmla="*/ 5813 w 10207"/>
                  <a:gd name="connsiteY59" fmla="*/ 8725 h 10105"/>
                  <a:gd name="connsiteX60" fmla="*/ 5842 w 10207"/>
                  <a:gd name="connsiteY60" fmla="*/ 8719 h 10105"/>
                  <a:gd name="connsiteX61" fmla="*/ 5870 w 10207"/>
                  <a:gd name="connsiteY61" fmla="*/ 8719 h 10105"/>
                  <a:gd name="connsiteX62" fmla="*/ 5907 w 10207"/>
                  <a:gd name="connsiteY62" fmla="*/ 8713 h 10105"/>
                  <a:gd name="connsiteX63" fmla="*/ 5940 w 10207"/>
                  <a:gd name="connsiteY63" fmla="*/ 8713 h 10105"/>
                  <a:gd name="connsiteX64" fmla="*/ 5970 w 10207"/>
                  <a:gd name="connsiteY64" fmla="*/ 8713 h 10105"/>
                  <a:gd name="connsiteX65" fmla="*/ 6007 w 10207"/>
                  <a:gd name="connsiteY65" fmla="*/ 8713 h 10105"/>
                  <a:gd name="connsiteX66" fmla="*/ 6155 w 10207"/>
                  <a:gd name="connsiteY66" fmla="*/ 8719 h 10105"/>
                  <a:gd name="connsiteX67" fmla="*/ 6291 w 10207"/>
                  <a:gd name="connsiteY67" fmla="*/ 8752 h 10105"/>
                  <a:gd name="connsiteX68" fmla="*/ 6427 w 10207"/>
                  <a:gd name="connsiteY68" fmla="*/ 8797 h 10105"/>
                  <a:gd name="connsiteX69" fmla="*/ 6549 w 10207"/>
                  <a:gd name="connsiteY69" fmla="*/ 8862 h 10105"/>
                  <a:gd name="connsiteX70" fmla="*/ 6662 w 10207"/>
                  <a:gd name="connsiteY70" fmla="*/ 8938 h 10105"/>
                  <a:gd name="connsiteX71" fmla="*/ 6763 w 10207"/>
                  <a:gd name="connsiteY71" fmla="*/ 9021 h 10105"/>
                  <a:gd name="connsiteX72" fmla="*/ 6842 w 10207"/>
                  <a:gd name="connsiteY72" fmla="*/ 9131 h 10105"/>
                  <a:gd name="connsiteX73" fmla="*/ 6914 w 10207"/>
                  <a:gd name="connsiteY73" fmla="*/ 9239 h 10105"/>
                  <a:gd name="connsiteX74" fmla="*/ 2841 w 10207"/>
                  <a:gd name="connsiteY74" fmla="*/ 9239 h 10105"/>
                  <a:gd name="connsiteX75" fmla="*/ 2883 w 10207"/>
                  <a:gd name="connsiteY75" fmla="*/ 9156 h 10105"/>
                  <a:gd name="connsiteX76" fmla="*/ 2940 w 10207"/>
                  <a:gd name="connsiteY76" fmla="*/ 9073 h 10105"/>
                  <a:gd name="connsiteX77" fmla="*/ 2998 w 10207"/>
                  <a:gd name="connsiteY77" fmla="*/ 9009 h 10105"/>
                  <a:gd name="connsiteX78" fmla="*/ 3073 w 10207"/>
                  <a:gd name="connsiteY78" fmla="*/ 8945 h 10105"/>
                  <a:gd name="connsiteX79" fmla="*/ 3146 w 10207"/>
                  <a:gd name="connsiteY79" fmla="*/ 8894 h 10105"/>
                  <a:gd name="connsiteX80" fmla="*/ 3232 w 10207"/>
                  <a:gd name="connsiteY80" fmla="*/ 8842 h 10105"/>
                  <a:gd name="connsiteX81" fmla="*/ 3318 w 10207"/>
                  <a:gd name="connsiteY81" fmla="*/ 8804 h 10105"/>
                  <a:gd name="connsiteX82" fmla="*/ 3418 w 10207"/>
                  <a:gd name="connsiteY82" fmla="*/ 8772 h 10105"/>
                  <a:gd name="connsiteX83" fmla="*/ 3418 w 10207"/>
                  <a:gd name="connsiteY83" fmla="*/ 7948 h 10105"/>
                  <a:gd name="connsiteX84" fmla="*/ 1173 w 10207"/>
                  <a:gd name="connsiteY84" fmla="*/ 8032 h 10105"/>
                  <a:gd name="connsiteX85" fmla="*/ 3 w 10207"/>
                  <a:gd name="connsiteY85" fmla="*/ 7682 h 10105"/>
                  <a:gd name="connsiteX86" fmla="*/ 2290 w 10207"/>
                  <a:gd name="connsiteY86" fmla="*/ 9456 h 10105"/>
                  <a:gd name="connsiteX87" fmla="*/ 5787 w 10207"/>
                  <a:gd name="connsiteY87" fmla="*/ 10078 h 10105"/>
                  <a:gd name="connsiteX88" fmla="*/ 8700 w 10207"/>
                  <a:gd name="connsiteY88" fmla="*/ 8953 h 10105"/>
                  <a:gd name="connsiteX0" fmla="*/ 8700 w 10207"/>
                  <a:gd name="connsiteY0" fmla="*/ 8953 h 10115"/>
                  <a:gd name="connsiteX1" fmla="*/ 10156 w 10207"/>
                  <a:gd name="connsiteY1" fmla="*/ 7158 h 10115"/>
                  <a:gd name="connsiteX2" fmla="*/ 9279 w 10207"/>
                  <a:gd name="connsiteY2" fmla="*/ 7158 h 10115"/>
                  <a:gd name="connsiteX3" fmla="*/ 9279 w 10207"/>
                  <a:gd name="connsiteY3" fmla="*/ 4003 h 10115"/>
                  <a:gd name="connsiteX4" fmla="*/ 7113 w 10207"/>
                  <a:gd name="connsiteY4" fmla="*/ 4003 h 10115"/>
                  <a:gd name="connsiteX5" fmla="*/ 7113 w 10207"/>
                  <a:gd name="connsiteY5" fmla="*/ 3700 h 10115"/>
                  <a:gd name="connsiteX6" fmla="*/ 8844 w 10207"/>
                  <a:gd name="connsiteY6" fmla="*/ 3700 h 10115"/>
                  <a:gd name="connsiteX7" fmla="*/ 8844 w 10207"/>
                  <a:gd name="connsiteY7" fmla="*/ 3392 h 10115"/>
                  <a:gd name="connsiteX8" fmla="*/ 7113 w 10207"/>
                  <a:gd name="connsiteY8" fmla="*/ 3392 h 10115"/>
                  <a:gd name="connsiteX9" fmla="*/ 7113 w 10207"/>
                  <a:gd name="connsiteY9" fmla="*/ 1324 h 10115"/>
                  <a:gd name="connsiteX10" fmla="*/ 4564 w 10207"/>
                  <a:gd name="connsiteY10" fmla="*/ 534 h 10115"/>
                  <a:gd name="connsiteX11" fmla="*/ 4564 w 10207"/>
                  <a:gd name="connsiteY11" fmla="*/ 5500 h 10115"/>
                  <a:gd name="connsiteX12" fmla="*/ 4160 w 10207"/>
                  <a:gd name="connsiteY12" fmla="*/ 5506 h 10115"/>
                  <a:gd name="connsiteX13" fmla="*/ 4160 w 10207"/>
                  <a:gd name="connsiteY13" fmla="*/ 1703 h 10115"/>
                  <a:gd name="connsiteX14" fmla="*/ 3303 w 10207"/>
                  <a:gd name="connsiteY14" fmla="*/ 1999 h 10115"/>
                  <a:gd name="connsiteX15" fmla="*/ 2841 w 10207"/>
                  <a:gd name="connsiteY15" fmla="*/ 1999 h 10115"/>
                  <a:gd name="connsiteX16" fmla="*/ 2841 w 10207"/>
                  <a:gd name="connsiteY16" fmla="*/ 0 h 10115"/>
                  <a:gd name="connsiteX17" fmla="*/ 2670 w 10207"/>
                  <a:gd name="connsiteY17" fmla="*/ 0 h 10115"/>
                  <a:gd name="connsiteX18" fmla="*/ 2670 w 10207"/>
                  <a:gd name="connsiteY18" fmla="*/ 1999 h 10115"/>
                  <a:gd name="connsiteX19" fmla="*/ 2278 w 10207"/>
                  <a:gd name="connsiteY19" fmla="*/ 1999 h 10115"/>
                  <a:gd name="connsiteX20" fmla="*/ 2278 w 10207"/>
                  <a:gd name="connsiteY20" fmla="*/ 2417 h 10115"/>
                  <a:gd name="connsiteX21" fmla="*/ 1571 w 10207"/>
                  <a:gd name="connsiteY21" fmla="*/ 2730 h 10115"/>
                  <a:gd name="connsiteX22" fmla="*/ 1571 w 10207"/>
                  <a:gd name="connsiteY22" fmla="*/ 4280 h 10115"/>
                  <a:gd name="connsiteX23" fmla="*/ 1193 w 10207"/>
                  <a:gd name="connsiteY23" fmla="*/ 4280 h 10115"/>
                  <a:gd name="connsiteX24" fmla="*/ 1193 w 10207"/>
                  <a:gd name="connsiteY24" fmla="*/ 4691 h 10115"/>
                  <a:gd name="connsiteX25" fmla="*/ 1571 w 10207"/>
                  <a:gd name="connsiteY25" fmla="*/ 4691 h 10115"/>
                  <a:gd name="connsiteX26" fmla="*/ 1571 w 10207"/>
                  <a:gd name="connsiteY26" fmla="*/ 5205 h 10115"/>
                  <a:gd name="connsiteX27" fmla="*/ 1193 w 10207"/>
                  <a:gd name="connsiteY27" fmla="*/ 5205 h 10115"/>
                  <a:gd name="connsiteX28" fmla="*/ 1193 w 10207"/>
                  <a:gd name="connsiteY28" fmla="*/ 5616 h 10115"/>
                  <a:gd name="connsiteX29" fmla="*/ 1571 w 10207"/>
                  <a:gd name="connsiteY29" fmla="*/ 5616 h 10115"/>
                  <a:gd name="connsiteX30" fmla="*/ 1571 w 10207"/>
                  <a:gd name="connsiteY30" fmla="*/ 6831 h 10115"/>
                  <a:gd name="connsiteX31" fmla="*/ 444 w 10207"/>
                  <a:gd name="connsiteY31" fmla="*/ 6831 h 10115"/>
                  <a:gd name="connsiteX32" fmla="*/ 444 w 10207"/>
                  <a:gd name="connsiteY32" fmla="*/ 7581 h 10115"/>
                  <a:gd name="connsiteX33" fmla="*/ 1022 w 10207"/>
                  <a:gd name="connsiteY33" fmla="*/ 7601 h 10115"/>
                  <a:gd name="connsiteX34" fmla="*/ 1805 w 10207"/>
                  <a:gd name="connsiteY34" fmla="*/ 7094 h 10115"/>
                  <a:gd name="connsiteX35" fmla="*/ 1798 w 10207"/>
                  <a:gd name="connsiteY35" fmla="*/ 7581 h 10115"/>
                  <a:gd name="connsiteX36" fmla="*/ 2519 w 10207"/>
                  <a:gd name="connsiteY36" fmla="*/ 7146 h 10115"/>
                  <a:gd name="connsiteX37" fmla="*/ 2519 w 10207"/>
                  <a:gd name="connsiteY37" fmla="*/ 7581 h 10115"/>
                  <a:gd name="connsiteX38" fmla="*/ 3232 w 10207"/>
                  <a:gd name="connsiteY38" fmla="*/ 7139 h 10115"/>
                  <a:gd name="connsiteX39" fmla="*/ 3238 w 10207"/>
                  <a:gd name="connsiteY39" fmla="*/ 7575 h 10115"/>
                  <a:gd name="connsiteX40" fmla="*/ 3924 w 10207"/>
                  <a:gd name="connsiteY40" fmla="*/ 7107 h 10115"/>
                  <a:gd name="connsiteX41" fmla="*/ 3924 w 10207"/>
                  <a:gd name="connsiteY41" fmla="*/ 8352 h 10115"/>
                  <a:gd name="connsiteX42" fmla="*/ 4004 w 10207"/>
                  <a:gd name="connsiteY42" fmla="*/ 8262 h 10115"/>
                  <a:gd name="connsiteX43" fmla="*/ 4081 w 10207"/>
                  <a:gd name="connsiteY43" fmla="*/ 8179 h 10115"/>
                  <a:gd name="connsiteX44" fmla="*/ 4177 w 10207"/>
                  <a:gd name="connsiteY44" fmla="*/ 8108 h 10115"/>
                  <a:gd name="connsiteX45" fmla="*/ 4282 w 10207"/>
                  <a:gd name="connsiteY45" fmla="*/ 8044 h 10115"/>
                  <a:gd name="connsiteX46" fmla="*/ 4387 w 10207"/>
                  <a:gd name="connsiteY46" fmla="*/ 8000 h 10115"/>
                  <a:gd name="connsiteX47" fmla="*/ 4501 w 10207"/>
                  <a:gd name="connsiteY47" fmla="*/ 7967 h 10115"/>
                  <a:gd name="connsiteX48" fmla="*/ 4621 w 10207"/>
                  <a:gd name="connsiteY48" fmla="*/ 7942 h 10115"/>
                  <a:gd name="connsiteX49" fmla="*/ 4757 w 10207"/>
                  <a:gd name="connsiteY49" fmla="*/ 7935 h 10115"/>
                  <a:gd name="connsiteX50" fmla="*/ 4944 w 10207"/>
                  <a:gd name="connsiteY50" fmla="*/ 7948 h 10115"/>
                  <a:gd name="connsiteX51" fmla="*/ 5130 w 10207"/>
                  <a:gd name="connsiteY51" fmla="*/ 7993 h 10115"/>
                  <a:gd name="connsiteX52" fmla="*/ 5279 w 10207"/>
                  <a:gd name="connsiteY52" fmla="*/ 8070 h 10115"/>
                  <a:gd name="connsiteX53" fmla="*/ 5431 w 10207"/>
                  <a:gd name="connsiteY53" fmla="*/ 8166 h 10115"/>
                  <a:gd name="connsiteX54" fmla="*/ 5559 w 10207"/>
                  <a:gd name="connsiteY54" fmla="*/ 8282 h 10115"/>
                  <a:gd name="connsiteX55" fmla="*/ 5643 w 10207"/>
                  <a:gd name="connsiteY55" fmla="*/ 8423 h 10115"/>
                  <a:gd name="connsiteX56" fmla="*/ 5722 w 10207"/>
                  <a:gd name="connsiteY56" fmla="*/ 8570 h 10115"/>
                  <a:gd name="connsiteX57" fmla="*/ 5749 w 10207"/>
                  <a:gd name="connsiteY57" fmla="*/ 8732 h 10115"/>
                  <a:gd name="connsiteX58" fmla="*/ 5785 w 10207"/>
                  <a:gd name="connsiteY58" fmla="*/ 8725 h 10115"/>
                  <a:gd name="connsiteX59" fmla="*/ 5813 w 10207"/>
                  <a:gd name="connsiteY59" fmla="*/ 8725 h 10115"/>
                  <a:gd name="connsiteX60" fmla="*/ 5842 w 10207"/>
                  <a:gd name="connsiteY60" fmla="*/ 8719 h 10115"/>
                  <a:gd name="connsiteX61" fmla="*/ 5870 w 10207"/>
                  <a:gd name="connsiteY61" fmla="*/ 8719 h 10115"/>
                  <a:gd name="connsiteX62" fmla="*/ 5907 w 10207"/>
                  <a:gd name="connsiteY62" fmla="*/ 8713 h 10115"/>
                  <a:gd name="connsiteX63" fmla="*/ 5940 w 10207"/>
                  <a:gd name="connsiteY63" fmla="*/ 8713 h 10115"/>
                  <a:gd name="connsiteX64" fmla="*/ 5970 w 10207"/>
                  <a:gd name="connsiteY64" fmla="*/ 8713 h 10115"/>
                  <a:gd name="connsiteX65" fmla="*/ 6007 w 10207"/>
                  <a:gd name="connsiteY65" fmla="*/ 8713 h 10115"/>
                  <a:gd name="connsiteX66" fmla="*/ 6155 w 10207"/>
                  <a:gd name="connsiteY66" fmla="*/ 8719 h 10115"/>
                  <a:gd name="connsiteX67" fmla="*/ 6291 w 10207"/>
                  <a:gd name="connsiteY67" fmla="*/ 8752 h 10115"/>
                  <a:gd name="connsiteX68" fmla="*/ 6427 w 10207"/>
                  <a:gd name="connsiteY68" fmla="*/ 8797 h 10115"/>
                  <a:gd name="connsiteX69" fmla="*/ 6549 w 10207"/>
                  <a:gd name="connsiteY69" fmla="*/ 8862 h 10115"/>
                  <a:gd name="connsiteX70" fmla="*/ 6662 w 10207"/>
                  <a:gd name="connsiteY70" fmla="*/ 8938 h 10115"/>
                  <a:gd name="connsiteX71" fmla="*/ 6763 w 10207"/>
                  <a:gd name="connsiteY71" fmla="*/ 9021 h 10115"/>
                  <a:gd name="connsiteX72" fmla="*/ 6842 w 10207"/>
                  <a:gd name="connsiteY72" fmla="*/ 9131 h 10115"/>
                  <a:gd name="connsiteX73" fmla="*/ 6914 w 10207"/>
                  <a:gd name="connsiteY73" fmla="*/ 9239 h 10115"/>
                  <a:gd name="connsiteX74" fmla="*/ 2841 w 10207"/>
                  <a:gd name="connsiteY74" fmla="*/ 9239 h 10115"/>
                  <a:gd name="connsiteX75" fmla="*/ 2883 w 10207"/>
                  <a:gd name="connsiteY75" fmla="*/ 9156 h 10115"/>
                  <a:gd name="connsiteX76" fmla="*/ 2940 w 10207"/>
                  <a:gd name="connsiteY76" fmla="*/ 9073 h 10115"/>
                  <a:gd name="connsiteX77" fmla="*/ 2998 w 10207"/>
                  <a:gd name="connsiteY77" fmla="*/ 9009 h 10115"/>
                  <a:gd name="connsiteX78" fmla="*/ 3073 w 10207"/>
                  <a:gd name="connsiteY78" fmla="*/ 8945 h 10115"/>
                  <a:gd name="connsiteX79" fmla="*/ 3146 w 10207"/>
                  <a:gd name="connsiteY79" fmla="*/ 8894 h 10115"/>
                  <a:gd name="connsiteX80" fmla="*/ 3232 w 10207"/>
                  <a:gd name="connsiteY80" fmla="*/ 8842 h 10115"/>
                  <a:gd name="connsiteX81" fmla="*/ 3318 w 10207"/>
                  <a:gd name="connsiteY81" fmla="*/ 8804 h 10115"/>
                  <a:gd name="connsiteX82" fmla="*/ 3418 w 10207"/>
                  <a:gd name="connsiteY82" fmla="*/ 8772 h 10115"/>
                  <a:gd name="connsiteX83" fmla="*/ 3418 w 10207"/>
                  <a:gd name="connsiteY83" fmla="*/ 7948 h 10115"/>
                  <a:gd name="connsiteX84" fmla="*/ 1173 w 10207"/>
                  <a:gd name="connsiteY84" fmla="*/ 8032 h 10115"/>
                  <a:gd name="connsiteX85" fmla="*/ 3 w 10207"/>
                  <a:gd name="connsiteY85" fmla="*/ 7682 h 10115"/>
                  <a:gd name="connsiteX86" fmla="*/ 2703 w 10207"/>
                  <a:gd name="connsiteY86" fmla="*/ 9646 h 10115"/>
                  <a:gd name="connsiteX87" fmla="*/ 5787 w 10207"/>
                  <a:gd name="connsiteY87" fmla="*/ 10078 h 10115"/>
                  <a:gd name="connsiteX88" fmla="*/ 8700 w 10207"/>
                  <a:gd name="connsiteY88" fmla="*/ 8953 h 10115"/>
                  <a:gd name="connsiteX0" fmla="*/ 8445 w 9952"/>
                  <a:gd name="connsiteY0" fmla="*/ 8953 h 10114"/>
                  <a:gd name="connsiteX1" fmla="*/ 9901 w 9952"/>
                  <a:gd name="connsiteY1" fmla="*/ 7158 h 10114"/>
                  <a:gd name="connsiteX2" fmla="*/ 9024 w 9952"/>
                  <a:gd name="connsiteY2" fmla="*/ 7158 h 10114"/>
                  <a:gd name="connsiteX3" fmla="*/ 9024 w 9952"/>
                  <a:gd name="connsiteY3" fmla="*/ 4003 h 10114"/>
                  <a:gd name="connsiteX4" fmla="*/ 6858 w 9952"/>
                  <a:gd name="connsiteY4" fmla="*/ 4003 h 10114"/>
                  <a:gd name="connsiteX5" fmla="*/ 6858 w 9952"/>
                  <a:gd name="connsiteY5" fmla="*/ 3700 h 10114"/>
                  <a:gd name="connsiteX6" fmla="*/ 8589 w 9952"/>
                  <a:gd name="connsiteY6" fmla="*/ 3700 h 10114"/>
                  <a:gd name="connsiteX7" fmla="*/ 8589 w 9952"/>
                  <a:gd name="connsiteY7" fmla="*/ 3392 h 10114"/>
                  <a:gd name="connsiteX8" fmla="*/ 6858 w 9952"/>
                  <a:gd name="connsiteY8" fmla="*/ 3392 h 10114"/>
                  <a:gd name="connsiteX9" fmla="*/ 6858 w 9952"/>
                  <a:gd name="connsiteY9" fmla="*/ 1324 h 10114"/>
                  <a:gd name="connsiteX10" fmla="*/ 4309 w 9952"/>
                  <a:gd name="connsiteY10" fmla="*/ 534 h 10114"/>
                  <a:gd name="connsiteX11" fmla="*/ 4309 w 9952"/>
                  <a:gd name="connsiteY11" fmla="*/ 5500 h 10114"/>
                  <a:gd name="connsiteX12" fmla="*/ 3905 w 9952"/>
                  <a:gd name="connsiteY12" fmla="*/ 5506 h 10114"/>
                  <a:gd name="connsiteX13" fmla="*/ 3905 w 9952"/>
                  <a:gd name="connsiteY13" fmla="*/ 1703 h 10114"/>
                  <a:gd name="connsiteX14" fmla="*/ 3048 w 9952"/>
                  <a:gd name="connsiteY14" fmla="*/ 1999 h 10114"/>
                  <a:gd name="connsiteX15" fmla="*/ 2586 w 9952"/>
                  <a:gd name="connsiteY15" fmla="*/ 1999 h 10114"/>
                  <a:gd name="connsiteX16" fmla="*/ 2586 w 9952"/>
                  <a:gd name="connsiteY16" fmla="*/ 0 h 10114"/>
                  <a:gd name="connsiteX17" fmla="*/ 2415 w 9952"/>
                  <a:gd name="connsiteY17" fmla="*/ 0 h 10114"/>
                  <a:gd name="connsiteX18" fmla="*/ 2415 w 9952"/>
                  <a:gd name="connsiteY18" fmla="*/ 1999 h 10114"/>
                  <a:gd name="connsiteX19" fmla="*/ 2023 w 9952"/>
                  <a:gd name="connsiteY19" fmla="*/ 1999 h 10114"/>
                  <a:gd name="connsiteX20" fmla="*/ 2023 w 9952"/>
                  <a:gd name="connsiteY20" fmla="*/ 2417 h 10114"/>
                  <a:gd name="connsiteX21" fmla="*/ 1316 w 9952"/>
                  <a:gd name="connsiteY21" fmla="*/ 2730 h 10114"/>
                  <a:gd name="connsiteX22" fmla="*/ 1316 w 9952"/>
                  <a:gd name="connsiteY22" fmla="*/ 4280 h 10114"/>
                  <a:gd name="connsiteX23" fmla="*/ 938 w 9952"/>
                  <a:gd name="connsiteY23" fmla="*/ 4280 h 10114"/>
                  <a:gd name="connsiteX24" fmla="*/ 938 w 9952"/>
                  <a:gd name="connsiteY24" fmla="*/ 4691 h 10114"/>
                  <a:gd name="connsiteX25" fmla="*/ 1316 w 9952"/>
                  <a:gd name="connsiteY25" fmla="*/ 4691 h 10114"/>
                  <a:gd name="connsiteX26" fmla="*/ 1316 w 9952"/>
                  <a:gd name="connsiteY26" fmla="*/ 5205 h 10114"/>
                  <a:gd name="connsiteX27" fmla="*/ 938 w 9952"/>
                  <a:gd name="connsiteY27" fmla="*/ 5205 h 10114"/>
                  <a:gd name="connsiteX28" fmla="*/ 938 w 9952"/>
                  <a:gd name="connsiteY28" fmla="*/ 5616 h 10114"/>
                  <a:gd name="connsiteX29" fmla="*/ 1316 w 9952"/>
                  <a:gd name="connsiteY29" fmla="*/ 5616 h 10114"/>
                  <a:gd name="connsiteX30" fmla="*/ 1316 w 9952"/>
                  <a:gd name="connsiteY30" fmla="*/ 6831 h 10114"/>
                  <a:gd name="connsiteX31" fmla="*/ 189 w 9952"/>
                  <a:gd name="connsiteY31" fmla="*/ 6831 h 10114"/>
                  <a:gd name="connsiteX32" fmla="*/ 189 w 9952"/>
                  <a:gd name="connsiteY32" fmla="*/ 7581 h 10114"/>
                  <a:gd name="connsiteX33" fmla="*/ 767 w 9952"/>
                  <a:gd name="connsiteY33" fmla="*/ 7601 h 10114"/>
                  <a:gd name="connsiteX34" fmla="*/ 1550 w 9952"/>
                  <a:gd name="connsiteY34" fmla="*/ 7094 h 10114"/>
                  <a:gd name="connsiteX35" fmla="*/ 1543 w 9952"/>
                  <a:gd name="connsiteY35" fmla="*/ 7581 h 10114"/>
                  <a:gd name="connsiteX36" fmla="*/ 2264 w 9952"/>
                  <a:gd name="connsiteY36" fmla="*/ 7146 h 10114"/>
                  <a:gd name="connsiteX37" fmla="*/ 2264 w 9952"/>
                  <a:gd name="connsiteY37" fmla="*/ 7581 h 10114"/>
                  <a:gd name="connsiteX38" fmla="*/ 2977 w 9952"/>
                  <a:gd name="connsiteY38" fmla="*/ 7139 h 10114"/>
                  <a:gd name="connsiteX39" fmla="*/ 2983 w 9952"/>
                  <a:gd name="connsiteY39" fmla="*/ 7575 h 10114"/>
                  <a:gd name="connsiteX40" fmla="*/ 3669 w 9952"/>
                  <a:gd name="connsiteY40" fmla="*/ 7107 h 10114"/>
                  <a:gd name="connsiteX41" fmla="*/ 3669 w 9952"/>
                  <a:gd name="connsiteY41" fmla="*/ 8352 h 10114"/>
                  <a:gd name="connsiteX42" fmla="*/ 3749 w 9952"/>
                  <a:gd name="connsiteY42" fmla="*/ 8262 h 10114"/>
                  <a:gd name="connsiteX43" fmla="*/ 3826 w 9952"/>
                  <a:gd name="connsiteY43" fmla="*/ 8179 h 10114"/>
                  <a:gd name="connsiteX44" fmla="*/ 3922 w 9952"/>
                  <a:gd name="connsiteY44" fmla="*/ 8108 h 10114"/>
                  <a:gd name="connsiteX45" fmla="*/ 4027 w 9952"/>
                  <a:gd name="connsiteY45" fmla="*/ 8044 h 10114"/>
                  <a:gd name="connsiteX46" fmla="*/ 4132 w 9952"/>
                  <a:gd name="connsiteY46" fmla="*/ 8000 h 10114"/>
                  <a:gd name="connsiteX47" fmla="*/ 4246 w 9952"/>
                  <a:gd name="connsiteY47" fmla="*/ 7967 h 10114"/>
                  <a:gd name="connsiteX48" fmla="*/ 4366 w 9952"/>
                  <a:gd name="connsiteY48" fmla="*/ 7942 h 10114"/>
                  <a:gd name="connsiteX49" fmla="*/ 4502 w 9952"/>
                  <a:gd name="connsiteY49" fmla="*/ 7935 h 10114"/>
                  <a:gd name="connsiteX50" fmla="*/ 4689 w 9952"/>
                  <a:gd name="connsiteY50" fmla="*/ 7948 h 10114"/>
                  <a:gd name="connsiteX51" fmla="*/ 4875 w 9952"/>
                  <a:gd name="connsiteY51" fmla="*/ 7993 h 10114"/>
                  <a:gd name="connsiteX52" fmla="*/ 5024 w 9952"/>
                  <a:gd name="connsiteY52" fmla="*/ 8070 h 10114"/>
                  <a:gd name="connsiteX53" fmla="*/ 5176 w 9952"/>
                  <a:gd name="connsiteY53" fmla="*/ 8166 h 10114"/>
                  <a:gd name="connsiteX54" fmla="*/ 5304 w 9952"/>
                  <a:gd name="connsiteY54" fmla="*/ 8282 h 10114"/>
                  <a:gd name="connsiteX55" fmla="*/ 5388 w 9952"/>
                  <a:gd name="connsiteY55" fmla="*/ 8423 h 10114"/>
                  <a:gd name="connsiteX56" fmla="*/ 5467 w 9952"/>
                  <a:gd name="connsiteY56" fmla="*/ 8570 h 10114"/>
                  <a:gd name="connsiteX57" fmla="*/ 5494 w 9952"/>
                  <a:gd name="connsiteY57" fmla="*/ 8732 h 10114"/>
                  <a:gd name="connsiteX58" fmla="*/ 5530 w 9952"/>
                  <a:gd name="connsiteY58" fmla="*/ 8725 h 10114"/>
                  <a:gd name="connsiteX59" fmla="*/ 5558 w 9952"/>
                  <a:gd name="connsiteY59" fmla="*/ 8725 h 10114"/>
                  <a:gd name="connsiteX60" fmla="*/ 5587 w 9952"/>
                  <a:gd name="connsiteY60" fmla="*/ 8719 h 10114"/>
                  <a:gd name="connsiteX61" fmla="*/ 5615 w 9952"/>
                  <a:gd name="connsiteY61" fmla="*/ 8719 h 10114"/>
                  <a:gd name="connsiteX62" fmla="*/ 5652 w 9952"/>
                  <a:gd name="connsiteY62" fmla="*/ 8713 h 10114"/>
                  <a:gd name="connsiteX63" fmla="*/ 5685 w 9952"/>
                  <a:gd name="connsiteY63" fmla="*/ 8713 h 10114"/>
                  <a:gd name="connsiteX64" fmla="*/ 5715 w 9952"/>
                  <a:gd name="connsiteY64" fmla="*/ 8713 h 10114"/>
                  <a:gd name="connsiteX65" fmla="*/ 5752 w 9952"/>
                  <a:gd name="connsiteY65" fmla="*/ 8713 h 10114"/>
                  <a:gd name="connsiteX66" fmla="*/ 5900 w 9952"/>
                  <a:gd name="connsiteY66" fmla="*/ 8719 h 10114"/>
                  <a:gd name="connsiteX67" fmla="*/ 6036 w 9952"/>
                  <a:gd name="connsiteY67" fmla="*/ 8752 h 10114"/>
                  <a:gd name="connsiteX68" fmla="*/ 6172 w 9952"/>
                  <a:gd name="connsiteY68" fmla="*/ 8797 h 10114"/>
                  <a:gd name="connsiteX69" fmla="*/ 6294 w 9952"/>
                  <a:gd name="connsiteY69" fmla="*/ 8862 h 10114"/>
                  <a:gd name="connsiteX70" fmla="*/ 6407 w 9952"/>
                  <a:gd name="connsiteY70" fmla="*/ 8938 h 10114"/>
                  <a:gd name="connsiteX71" fmla="*/ 6508 w 9952"/>
                  <a:gd name="connsiteY71" fmla="*/ 9021 h 10114"/>
                  <a:gd name="connsiteX72" fmla="*/ 6587 w 9952"/>
                  <a:gd name="connsiteY72" fmla="*/ 9131 h 10114"/>
                  <a:gd name="connsiteX73" fmla="*/ 6659 w 9952"/>
                  <a:gd name="connsiteY73" fmla="*/ 9239 h 10114"/>
                  <a:gd name="connsiteX74" fmla="*/ 2586 w 9952"/>
                  <a:gd name="connsiteY74" fmla="*/ 9239 h 10114"/>
                  <a:gd name="connsiteX75" fmla="*/ 2628 w 9952"/>
                  <a:gd name="connsiteY75" fmla="*/ 9156 h 10114"/>
                  <a:gd name="connsiteX76" fmla="*/ 2685 w 9952"/>
                  <a:gd name="connsiteY76" fmla="*/ 9073 h 10114"/>
                  <a:gd name="connsiteX77" fmla="*/ 2743 w 9952"/>
                  <a:gd name="connsiteY77" fmla="*/ 9009 h 10114"/>
                  <a:gd name="connsiteX78" fmla="*/ 2818 w 9952"/>
                  <a:gd name="connsiteY78" fmla="*/ 8945 h 10114"/>
                  <a:gd name="connsiteX79" fmla="*/ 2891 w 9952"/>
                  <a:gd name="connsiteY79" fmla="*/ 8894 h 10114"/>
                  <a:gd name="connsiteX80" fmla="*/ 2977 w 9952"/>
                  <a:gd name="connsiteY80" fmla="*/ 8842 h 10114"/>
                  <a:gd name="connsiteX81" fmla="*/ 3063 w 9952"/>
                  <a:gd name="connsiteY81" fmla="*/ 8804 h 10114"/>
                  <a:gd name="connsiteX82" fmla="*/ 3163 w 9952"/>
                  <a:gd name="connsiteY82" fmla="*/ 8772 h 10114"/>
                  <a:gd name="connsiteX83" fmla="*/ 3163 w 9952"/>
                  <a:gd name="connsiteY83" fmla="*/ 7948 h 10114"/>
                  <a:gd name="connsiteX84" fmla="*/ 918 w 9952"/>
                  <a:gd name="connsiteY84" fmla="*/ 8032 h 10114"/>
                  <a:gd name="connsiteX85" fmla="*/ 6 w 9952"/>
                  <a:gd name="connsiteY85" fmla="*/ 7777 h 10114"/>
                  <a:gd name="connsiteX86" fmla="*/ 2448 w 9952"/>
                  <a:gd name="connsiteY86" fmla="*/ 9646 h 10114"/>
                  <a:gd name="connsiteX87" fmla="*/ 5532 w 9952"/>
                  <a:gd name="connsiteY87" fmla="*/ 10078 h 10114"/>
                  <a:gd name="connsiteX88" fmla="*/ 8445 w 9952"/>
                  <a:gd name="connsiteY88" fmla="*/ 8953 h 10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9952" h="10114">
                    <a:moveTo>
                      <a:pt x="8445" y="8953"/>
                    </a:moveTo>
                    <a:cubicBezTo>
                      <a:pt x="9173" y="8466"/>
                      <a:pt x="10194" y="7158"/>
                      <a:pt x="9901" y="7158"/>
                    </a:cubicBezTo>
                    <a:lnTo>
                      <a:pt x="9024" y="7158"/>
                    </a:lnTo>
                    <a:lnTo>
                      <a:pt x="9024" y="4003"/>
                    </a:lnTo>
                    <a:lnTo>
                      <a:pt x="6858" y="4003"/>
                    </a:lnTo>
                    <a:lnTo>
                      <a:pt x="6858" y="3700"/>
                    </a:lnTo>
                    <a:lnTo>
                      <a:pt x="8589" y="3700"/>
                    </a:lnTo>
                    <a:lnTo>
                      <a:pt x="8589" y="3392"/>
                    </a:lnTo>
                    <a:lnTo>
                      <a:pt x="6858" y="3392"/>
                    </a:lnTo>
                    <a:lnTo>
                      <a:pt x="6858" y="1324"/>
                    </a:lnTo>
                    <a:lnTo>
                      <a:pt x="4309" y="534"/>
                    </a:lnTo>
                    <a:lnTo>
                      <a:pt x="4309" y="5500"/>
                    </a:lnTo>
                    <a:lnTo>
                      <a:pt x="3905" y="5506"/>
                    </a:lnTo>
                    <a:lnTo>
                      <a:pt x="3905" y="1703"/>
                    </a:lnTo>
                    <a:lnTo>
                      <a:pt x="3048" y="1999"/>
                    </a:lnTo>
                    <a:lnTo>
                      <a:pt x="2586" y="1999"/>
                    </a:lnTo>
                    <a:lnTo>
                      <a:pt x="2586" y="0"/>
                    </a:lnTo>
                    <a:lnTo>
                      <a:pt x="2415" y="0"/>
                    </a:lnTo>
                    <a:lnTo>
                      <a:pt x="2415" y="1999"/>
                    </a:lnTo>
                    <a:lnTo>
                      <a:pt x="2023" y="1999"/>
                    </a:lnTo>
                    <a:lnTo>
                      <a:pt x="2023" y="2417"/>
                    </a:lnTo>
                    <a:lnTo>
                      <a:pt x="1316" y="2730"/>
                    </a:lnTo>
                    <a:lnTo>
                      <a:pt x="1316" y="4280"/>
                    </a:lnTo>
                    <a:lnTo>
                      <a:pt x="938" y="4280"/>
                    </a:lnTo>
                    <a:lnTo>
                      <a:pt x="938" y="4691"/>
                    </a:lnTo>
                    <a:lnTo>
                      <a:pt x="1316" y="4691"/>
                    </a:lnTo>
                    <a:lnTo>
                      <a:pt x="1316" y="5205"/>
                    </a:lnTo>
                    <a:lnTo>
                      <a:pt x="938" y="5205"/>
                    </a:lnTo>
                    <a:lnTo>
                      <a:pt x="938" y="5616"/>
                    </a:lnTo>
                    <a:lnTo>
                      <a:pt x="1316" y="5616"/>
                    </a:lnTo>
                    <a:lnTo>
                      <a:pt x="1316" y="6831"/>
                    </a:lnTo>
                    <a:lnTo>
                      <a:pt x="189" y="6831"/>
                    </a:lnTo>
                    <a:lnTo>
                      <a:pt x="189" y="7581"/>
                    </a:lnTo>
                    <a:lnTo>
                      <a:pt x="767" y="7601"/>
                    </a:lnTo>
                    <a:lnTo>
                      <a:pt x="1550" y="7094"/>
                    </a:lnTo>
                    <a:cubicBezTo>
                      <a:pt x="1548" y="7257"/>
                      <a:pt x="1547" y="7419"/>
                      <a:pt x="1543" y="7581"/>
                    </a:cubicBezTo>
                    <a:lnTo>
                      <a:pt x="2264" y="7146"/>
                    </a:lnTo>
                    <a:lnTo>
                      <a:pt x="2264" y="7581"/>
                    </a:lnTo>
                    <a:lnTo>
                      <a:pt x="2977" y="7139"/>
                    </a:lnTo>
                    <a:cubicBezTo>
                      <a:pt x="2980" y="7283"/>
                      <a:pt x="2981" y="7429"/>
                      <a:pt x="2983" y="7575"/>
                    </a:cubicBezTo>
                    <a:lnTo>
                      <a:pt x="3669" y="7107"/>
                    </a:lnTo>
                    <a:lnTo>
                      <a:pt x="3669" y="8352"/>
                    </a:lnTo>
                    <a:cubicBezTo>
                      <a:pt x="3695" y="8322"/>
                      <a:pt x="3724" y="8292"/>
                      <a:pt x="3749" y="8262"/>
                    </a:cubicBezTo>
                    <a:cubicBezTo>
                      <a:pt x="3773" y="8234"/>
                      <a:pt x="3801" y="8207"/>
                      <a:pt x="3826" y="8179"/>
                    </a:cubicBezTo>
                    <a:cubicBezTo>
                      <a:pt x="3858" y="8156"/>
                      <a:pt x="3888" y="8131"/>
                      <a:pt x="3922" y="8108"/>
                    </a:cubicBezTo>
                    <a:cubicBezTo>
                      <a:pt x="3957" y="8087"/>
                      <a:pt x="3991" y="8065"/>
                      <a:pt x="4027" y="8044"/>
                    </a:cubicBezTo>
                    <a:cubicBezTo>
                      <a:pt x="4063" y="8030"/>
                      <a:pt x="4095" y="8014"/>
                      <a:pt x="4132" y="8000"/>
                    </a:cubicBezTo>
                    <a:lnTo>
                      <a:pt x="4246" y="7967"/>
                    </a:lnTo>
                    <a:cubicBezTo>
                      <a:pt x="4286" y="7958"/>
                      <a:pt x="4327" y="7950"/>
                      <a:pt x="4366" y="7942"/>
                    </a:cubicBezTo>
                    <a:lnTo>
                      <a:pt x="4502" y="7935"/>
                    </a:lnTo>
                    <a:lnTo>
                      <a:pt x="4689" y="7948"/>
                    </a:lnTo>
                    <a:lnTo>
                      <a:pt x="4875" y="7993"/>
                    </a:lnTo>
                    <a:cubicBezTo>
                      <a:pt x="4925" y="8018"/>
                      <a:pt x="4974" y="8044"/>
                      <a:pt x="5024" y="8070"/>
                    </a:cubicBezTo>
                    <a:cubicBezTo>
                      <a:pt x="5074" y="8101"/>
                      <a:pt x="5124" y="8134"/>
                      <a:pt x="5176" y="8166"/>
                    </a:cubicBezTo>
                    <a:cubicBezTo>
                      <a:pt x="5215" y="8205"/>
                      <a:pt x="5259" y="8243"/>
                      <a:pt x="5304" y="8282"/>
                    </a:cubicBezTo>
                    <a:cubicBezTo>
                      <a:pt x="5331" y="8329"/>
                      <a:pt x="5360" y="8376"/>
                      <a:pt x="5388" y="8423"/>
                    </a:cubicBezTo>
                    <a:cubicBezTo>
                      <a:pt x="5415" y="8472"/>
                      <a:pt x="5442" y="8521"/>
                      <a:pt x="5467" y="8570"/>
                    </a:cubicBezTo>
                    <a:cubicBezTo>
                      <a:pt x="5477" y="8623"/>
                      <a:pt x="5486" y="8679"/>
                      <a:pt x="5494" y="8732"/>
                    </a:cubicBezTo>
                    <a:cubicBezTo>
                      <a:pt x="5505" y="8730"/>
                      <a:pt x="5518" y="8727"/>
                      <a:pt x="5530" y="8725"/>
                    </a:cubicBezTo>
                    <a:lnTo>
                      <a:pt x="5558" y="8725"/>
                    </a:lnTo>
                    <a:cubicBezTo>
                      <a:pt x="5570" y="8723"/>
                      <a:pt x="5578" y="8721"/>
                      <a:pt x="5587" y="8719"/>
                    </a:cubicBezTo>
                    <a:lnTo>
                      <a:pt x="5615" y="8719"/>
                    </a:lnTo>
                    <a:cubicBezTo>
                      <a:pt x="5627" y="8717"/>
                      <a:pt x="5639" y="8714"/>
                      <a:pt x="5652" y="8713"/>
                    </a:cubicBezTo>
                    <a:lnTo>
                      <a:pt x="5685" y="8713"/>
                    </a:lnTo>
                    <a:lnTo>
                      <a:pt x="5715" y="8713"/>
                    </a:lnTo>
                    <a:lnTo>
                      <a:pt x="5752" y="8713"/>
                    </a:lnTo>
                    <a:lnTo>
                      <a:pt x="5900" y="8719"/>
                    </a:lnTo>
                    <a:lnTo>
                      <a:pt x="6036" y="8752"/>
                    </a:lnTo>
                    <a:cubicBezTo>
                      <a:pt x="6083" y="8767"/>
                      <a:pt x="6128" y="8782"/>
                      <a:pt x="6172" y="8797"/>
                    </a:cubicBezTo>
                    <a:cubicBezTo>
                      <a:pt x="6214" y="8818"/>
                      <a:pt x="6254" y="8840"/>
                      <a:pt x="6294" y="8862"/>
                    </a:cubicBezTo>
                    <a:cubicBezTo>
                      <a:pt x="6332" y="8887"/>
                      <a:pt x="6369" y="8913"/>
                      <a:pt x="6407" y="8938"/>
                    </a:cubicBezTo>
                    <a:cubicBezTo>
                      <a:pt x="6440" y="8966"/>
                      <a:pt x="6474" y="8993"/>
                      <a:pt x="6508" y="9021"/>
                    </a:cubicBezTo>
                    <a:cubicBezTo>
                      <a:pt x="6533" y="9058"/>
                      <a:pt x="6562" y="9094"/>
                      <a:pt x="6587" y="9131"/>
                    </a:cubicBezTo>
                    <a:cubicBezTo>
                      <a:pt x="6611" y="9167"/>
                      <a:pt x="6633" y="9204"/>
                      <a:pt x="6659" y="9239"/>
                    </a:cubicBezTo>
                    <a:lnTo>
                      <a:pt x="2586" y="9239"/>
                    </a:lnTo>
                    <a:cubicBezTo>
                      <a:pt x="2601" y="9211"/>
                      <a:pt x="2613" y="9184"/>
                      <a:pt x="2628" y="9156"/>
                    </a:cubicBezTo>
                    <a:cubicBezTo>
                      <a:pt x="2646" y="9128"/>
                      <a:pt x="2665" y="9101"/>
                      <a:pt x="2685" y="9073"/>
                    </a:cubicBezTo>
                    <a:cubicBezTo>
                      <a:pt x="2705" y="9051"/>
                      <a:pt x="2723" y="9030"/>
                      <a:pt x="2743" y="9009"/>
                    </a:cubicBezTo>
                    <a:cubicBezTo>
                      <a:pt x="2769" y="8988"/>
                      <a:pt x="2795" y="8966"/>
                      <a:pt x="2818" y="8945"/>
                    </a:cubicBezTo>
                    <a:lnTo>
                      <a:pt x="2891" y="8894"/>
                    </a:lnTo>
                    <a:cubicBezTo>
                      <a:pt x="2919" y="8876"/>
                      <a:pt x="2948" y="8860"/>
                      <a:pt x="2977" y="8842"/>
                    </a:cubicBezTo>
                    <a:cubicBezTo>
                      <a:pt x="3006" y="8830"/>
                      <a:pt x="3034" y="8816"/>
                      <a:pt x="3063" y="8804"/>
                    </a:cubicBezTo>
                    <a:cubicBezTo>
                      <a:pt x="3096" y="8793"/>
                      <a:pt x="3130" y="8783"/>
                      <a:pt x="3163" y="8772"/>
                    </a:cubicBezTo>
                    <a:lnTo>
                      <a:pt x="3163" y="7948"/>
                    </a:lnTo>
                    <a:lnTo>
                      <a:pt x="918" y="8032"/>
                    </a:lnTo>
                    <a:cubicBezTo>
                      <a:pt x="271" y="7854"/>
                      <a:pt x="-48" y="7519"/>
                      <a:pt x="6" y="7777"/>
                    </a:cubicBezTo>
                    <a:cubicBezTo>
                      <a:pt x="660" y="8678"/>
                      <a:pt x="1527" y="9263"/>
                      <a:pt x="2448" y="9646"/>
                    </a:cubicBezTo>
                    <a:cubicBezTo>
                      <a:pt x="3369" y="10029"/>
                      <a:pt x="4533" y="10193"/>
                      <a:pt x="5532" y="10078"/>
                    </a:cubicBezTo>
                    <a:cubicBezTo>
                      <a:pt x="6531" y="9963"/>
                      <a:pt x="7717" y="9440"/>
                      <a:pt x="8445" y="8953"/>
                    </a:cubicBez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01" name="Rectangle 433">
                <a:extLst>
                  <a:ext uri="{FF2B5EF4-FFF2-40B4-BE49-F238E27FC236}">
                    <a16:creationId xmlns:a16="http://schemas.microsoft.com/office/drawing/2014/main" id="{E32FC791-0A51-4826-8536-101084A3F882}"/>
                  </a:ext>
                </a:extLst>
              </p:cNvPr>
              <p:cNvSpPr>
                <a:spLocks noChangeArrowheads="1"/>
              </p:cNvSpPr>
              <p:nvPr/>
            </p:nvSpPr>
            <p:spPr bwMode="auto">
              <a:xfrm>
                <a:off x="5348823" y="4283277"/>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02" name="Rectangle 434">
                <a:extLst>
                  <a:ext uri="{FF2B5EF4-FFF2-40B4-BE49-F238E27FC236}">
                    <a16:creationId xmlns:a16="http://schemas.microsoft.com/office/drawing/2014/main" id="{6B4DBE35-7FD1-44F4-942E-B92E25813AC2}"/>
                  </a:ext>
                </a:extLst>
              </p:cNvPr>
              <p:cNvSpPr>
                <a:spLocks noChangeArrowheads="1"/>
              </p:cNvSpPr>
              <p:nvPr/>
            </p:nvSpPr>
            <p:spPr bwMode="auto">
              <a:xfrm>
                <a:off x="5396150" y="4283277"/>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03" name="Rectangle 435">
                <a:extLst>
                  <a:ext uri="{FF2B5EF4-FFF2-40B4-BE49-F238E27FC236}">
                    <a16:creationId xmlns:a16="http://schemas.microsoft.com/office/drawing/2014/main" id="{CC877AD1-04AD-407C-9D83-4B0F4942B426}"/>
                  </a:ext>
                </a:extLst>
              </p:cNvPr>
              <p:cNvSpPr>
                <a:spLocks noChangeArrowheads="1"/>
              </p:cNvSpPr>
              <p:nvPr/>
            </p:nvSpPr>
            <p:spPr bwMode="auto">
              <a:xfrm>
                <a:off x="5348823" y="4329653"/>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04" name="Rectangle 436">
                <a:extLst>
                  <a:ext uri="{FF2B5EF4-FFF2-40B4-BE49-F238E27FC236}">
                    <a16:creationId xmlns:a16="http://schemas.microsoft.com/office/drawing/2014/main" id="{866DE50D-50BA-4F4E-B3BC-B3F44D0244DB}"/>
                  </a:ext>
                </a:extLst>
              </p:cNvPr>
              <p:cNvSpPr>
                <a:spLocks noChangeArrowheads="1"/>
              </p:cNvSpPr>
              <p:nvPr/>
            </p:nvSpPr>
            <p:spPr bwMode="auto">
              <a:xfrm>
                <a:off x="5396150" y="4329653"/>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05" name="Rectangle 437">
                <a:extLst>
                  <a:ext uri="{FF2B5EF4-FFF2-40B4-BE49-F238E27FC236}">
                    <a16:creationId xmlns:a16="http://schemas.microsoft.com/office/drawing/2014/main" id="{6E13B67B-7CFD-43BB-994F-EE0C165754A8}"/>
                  </a:ext>
                </a:extLst>
              </p:cNvPr>
              <p:cNvSpPr>
                <a:spLocks noChangeArrowheads="1"/>
              </p:cNvSpPr>
              <p:nvPr/>
            </p:nvSpPr>
            <p:spPr bwMode="auto">
              <a:xfrm>
                <a:off x="5348823" y="4376029"/>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06" name="Rectangle 438">
                <a:extLst>
                  <a:ext uri="{FF2B5EF4-FFF2-40B4-BE49-F238E27FC236}">
                    <a16:creationId xmlns:a16="http://schemas.microsoft.com/office/drawing/2014/main" id="{52147473-1508-4DDD-82BD-3FDE3A6242A5}"/>
                  </a:ext>
                </a:extLst>
              </p:cNvPr>
              <p:cNvSpPr>
                <a:spLocks noChangeArrowheads="1"/>
              </p:cNvSpPr>
              <p:nvPr/>
            </p:nvSpPr>
            <p:spPr bwMode="auto">
              <a:xfrm>
                <a:off x="5396150" y="4376029"/>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07" name="Rectangle 439">
                <a:extLst>
                  <a:ext uri="{FF2B5EF4-FFF2-40B4-BE49-F238E27FC236}">
                    <a16:creationId xmlns:a16="http://schemas.microsoft.com/office/drawing/2014/main" id="{7ED0EE94-5346-4AAE-B4CB-F958627B7F92}"/>
                  </a:ext>
                </a:extLst>
              </p:cNvPr>
              <p:cNvSpPr>
                <a:spLocks noChangeArrowheads="1"/>
              </p:cNvSpPr>
              <p:nvPr/>
            </p:nvSpPr>
            <p:spPr bwMode="auto">
              <a:xfrm>
                <a:off x="5348823" y="4422405"/>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08" name="Rectangle 440">
                <a:extLst>
                  <a:ext uri="{FF2B5EF4-FFF2-40B4-BE49-F238E27FC236}">
                    <a16:creationId xmlns:a16="http://schemas.microsoft.com/office/drawing/2014/main" id="{B5B686BE-B229-48DE-B208-7EDDA440333E}"/>
                  </a:ext>
                </a:extLst>
              </p:cNvPr>
              <p:cNvSpPr>
                <a:spLocks noChangeArrowheads="1"/>
              </p:cNvSpPr>
              <p:nvPr/>
            </p:nvSpPr>
            <p:spPr bwMode="auto">
              <a:xfrm>
                <a:off x="5396150" y="4422405"/>
                <a:ext cx="23663" cy="23833"/>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09" name="Rectangle 441">
                <a:extLst>
                  <a:ext uri="{FF2B5EF4-FFF2-40B4-BE49-F238E27FC236}">
                    <a16:creationId xmlns:a16="http://schemas.microsoft.com/office/drawing/2014/main" id="{741E8D64-3991-4FA7-9147-0CB415A5A06A}"/>
                  </a:ext>
                </a:extLst>
              </p:cNvPr>
              <p:cNvSpPr>
                <a:spLocks noChangeArrowheads="1"/>
              </p:cNvSpPr>
              <p:nvPr/>
            </p:nvSpPr>
            <p:spPr bwMode="auto">
              <a:xfrm>
                <a:off x="5488175" y="4209204"/>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0" name="Rectangle 442">
                <a:extLst>
                  <a:ext uri="{FF2B5EF4-FFF2-40B4-BE49-F238E27FC236}">
                    <a16:creationId xmlns:a16="http://schemas.microsoft.com/office/drawing/2014/main" id="{8E28CE66-D1E3-4C97-AED8-684E5D1B586C}"/>
                  </a:ext>
                </a:extLst>
              </p:cNvPr>
              <p:cNvSpPr>
                <a:spLocks noChangeArrowheads="1"/>
              </p:cNvSpPr>
              <p:nvPr/>
            </p:nvSpPr>
            <p:spPr bwMode="auto">
              <a:xfrm>
                <a:off x="5535501" y="4209204"/>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1" name="Rectangle 443">
                <a:extLst>
                  <a:ext uri="{FF2B5EF4-FFF2-40B4-BE49-F238E27FC236}">
                    <a16:creationId xmlns:a16="http://schemas.microsoft.com/office/drawing/2014/main" id="{15FB6DB2-1EAB-41FB-B9B1-20B91F351A49}"/>
                  </a:ext>
                </a:extLst>
              </p:cNvPr>
              <p:cNvSpPr>
                <a:spLocks noChangeArrowheads="1"/>
              </p:cNvSpPr>
              <p:nvPr/>
            </p:nvSpPr>
            <p:spPr bwMode="auto">
              <a:xfrm>
                <a:off x="5488175" y="4255580"/>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2" name="Rectangle 444">
                <a:extLst>
                  <a:ext uri="{FF2B5EF4-FFF2-40B4-BE49-F238E27FC236}">
                    <a16:creationId xmlns:a16="http://schemas.microsoft.com/office/drawing/2014/main" id="{F96BCC64-C522-4BC7-B06F-33B68DA555D7}"/>
                  </a:ext>
                </a:extLst>
              </p:cNvPr>
              <p:cNvSpPr>
                <a:spLocks noChangeArrowheads="1"/>
              </p:cNvSpPr>
              <p:nvPr/>
            </p:nvSpPr>
            <p:spPr bwMode="auto">
              <a:xfrm>
                <a:off x="5535501" y="4255580"/>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3" name="Rectangle 445">
                <a:extLst>
                  <a:ext uri="{FF2B5EF4-FFF2-40B4-BE49-F238E27FC236}">
                    <a16:creationId xmlns:a16="http://schemas.microsoft.com/office/drawing/2014/main" id="{F8287E4E-16ED-425D-BF04-40893C2BBDDF}"/>
                  </a:ext>
                </a:extLst>
              </p:cNvPr>
              <p:cNvSpPr>
                <a:spLocks noChangeArrowheads="1"/>
              </p:cNvSpPr>
              <p:nvPr/>
            </p:nvSpPr>
            <p:spPr bwMode="auto">
              <a:xfrm>
                <a:off x="5488175" y="4301956"/>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4" name="Rectangle 446">
                <a:extLst>
                  <a:ext uri="{FF2B5EF4-FFF2-40B4-BE49-F238E27FC236}">
                    <a16:creationId xmlns:a16="http://schemas.microsoft.com/office/drawing/2014/main" id="{ED0C22FF-D149-48FB-B075-C0F822F3C604}"/>
                  </a:ext>
                </a:extLst>
              </p:cNvPr>
              <p:cNvSpPr>
                <a:spLocks noChangeArrowheads="1"/>
              </p:cNvSpPr>
              <p:nvPr/>
            </p:nvSpPr>
            <p:spPr bwMode="auto">
              <a:xfrm>
                <a:off x="5535501" y="4301956"/>
                <a:ext cx="23006" cy="22544"/>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5" name="Rectangle 447">
                <a:extLst>
                  <a:ext uri="{FF2B5EF4-FFF2-40B4-BE49-F238E27FC236}">
                    <a16:creationId xmlns:a16="http://schemas.microsoft.com/office/drawing/2014/main" id="{37F97ACC-9C51-4DB3-BE0A-F7F4E0A8EA8B}"/>
                  </a:ext>
                </a:extLst>
              </p:cNvPr>
              <p:cNvSpPr>
                <a:spLocks noChangeArrowheads="1"/>
              </p:cNvSpPr>
              <p:nvPr/>
            </p:nvSpPr>
            <p:spPr bwMode="auto">
              <a:xfrm>
                <a:off x="5488175" y="4351553"/>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6" name="Rectangle 448">
                <a:extLst>
                  <a:ext uri="{FF2B5EF4-FFF2-40B4-BE49-F238E27FC236}">
                    <a16:creationId xmlns:a16="http://schemas.microsoft.com/office/drawing/2014/main" id="{1EE1EFE0-A4AC-4120-BF29-910198F6ECD1}"/>
                  </a:ext>
                </a:extLst>
              </p:cNvPr>
              <p:cNvSpPr>
                <a:spLocks noChangeArrowheads="1"/>
              </p:cNvSpPr>
              <p:nvPr/>
            </p:nvSpPr>
            <p:spPr bwMode="auto">
              <a:xfrm>
                <a:off x="5535501" y="4351553"/>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7" name="Rectangle 449">
                <a:extLst>
                  <a:ext uri="{FF2B5EF4-FFF2-40B4-BE49-F238E27FC236}">
                    <a16:creationId xmlns:a16="http://schemas.microsoft.com/office/drawing/2014/main" id="{A78C9D94-0ED3-4D6A-9071-ABFD9FFE261F}"/>
                  </a:ext>
                </a:extLst>
              </p:cNvPr>
              <p:cNvSpPr>
                <a:spLocks noChangeArrowheads="1"/>
              </p:cNvSpPr>
              <p:nvPr/>
            </p:nvSpPr>
            <p:spPr bwMode="auto">
              <a:xfrm>
                <a:off x="5488175" y="4397929"/>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8" name="Rectangle 450">
                <a:extLst>
                  <a:ext uri="{FF2B5EF4-FFF2-40B4-BE49-F238E27FC236}">
                    <a16:creationId xmlns:a16="http://schemas.microsoft.com/office/drawing/2014/main" id="{87584AFF-0F5B-4A94-958B-0AC1D4DBA146}"/>
                  </a:ext>
                </a:extLst>
              </p:cNvPr>
              <p:cNvSpPr>
                <a:spLocks noChangeArrowheads="1"/>
              </p:cNvSpPr>
              <p:nvPr/>
            </p:nvSpPr>
            <p:spPr bwMode="auto">
              <a:xfrm>
                <a:off x="5535501" y="4397929"/>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19" name="Rectangle 451">
                <a:extLst>
                  <a:ext uri="{FF2B5EF4-FFF2-40B4-BE49-F238E27FC236}">
                    <a16:creationId xmlns:a16="http://schemas.microsoft.com/office/drawing/2014/main" id="{D901AB99-6170-4F9E-9313-90005FE98121}"/>
                  </a:ext>
                </a:extLst>
              </p:cNvPr>
              <p:cNvSpPr>
                <a:spLocks noChangeArrowheads="1"/>
              </p:cNvSpPr>
              <p:nvPr/>
            </p:nvSpPr>
            <p:spPr bwMode="auto">
              <a:xfrm>
                <a:off x="5488175" y="4444305"/>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20" name="Rectangle 452">
                <a:extLst>
                  <a:ext uri="{FF2B5EF4-FFF2-40B4-BE49-F238E27FC236}">
                    <a16:creationId xmlns:a16="http://schemas.microsoft.com/office/drawing/2014/main" id="{853C3EF5-889D-4EB4-98CF-B07FA8AD0A5A}"/>
                  </a:ext>
                </a:extLst>
              </p:cNvPr>
              <p:cNvSpPr>
                <a:spLocks noChangeArrowheads="1"/>
              </p:cNvSpPr>
              <p:nvPr/>
            </p:nvSpPr>
            <p:spPr bwMode="auto">
              <a:xfrm>
                <a:off x="5535501" y="4444305"/>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21" name="Rectangle 453">
                <a:extLst>
                  <a:ext uri="{FF2B5EF4-FFF2-40B4-BE49-F238E27FC236}">
                    <a16:creationId xmlns:a16="http://schemas.microsoft.com/office/drawing/2014/main" id="{289CFCCA-4620-4DE7-A695-F247EBBBEB84}"/>
                  </a:ext>
                </a:extLst>
              </p:cNvPr>
              <p:cNvSpPr>
                <a:spLocks noChangeArrowheads="1"/>
              </p:cNvSpPr>
              <p:nvPr/>
            </p:nvSpPr>
            <p:spPr bwMode="auto">
              <a:xfrm>
                <a:off x="5535501" y="4490682"/>
                <a:ext cx="23006" cy="23188"/>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22" name="Rectangle 454">
                <a:extLst>
                  <a:ext uri="{FF2B5EF4-FFF2-40B4-BE49-F238E27FC236}">
                    <a16:creationId xmlns:a16="http://schemas.microsoft.com/office/drawing/2014/main" id="{5AE300F5-407D-4042-9AA4-25A8D82168CA}"/>
                  </a:ext>
                </a:extLst>
              </p:cNvPr>
              <p:cNvSpPr>
                <a:spLocks noChangeArrowheads="1"/>
              </p:cNvSpPr>
              <p:nvPr/>
            </p:nvSpPr>
            <p:spPr bwMode="auto">
              <a:xfrm>
                <a:off x="5590717" y="4341891"/>
                <a:ext cx="9860" cy="21835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23" name="Rectangle 455">
                <a:extLst>
                  <a:ext uri="{FF2B5EF4-FFF2-40B4-BE49-F238E27FC236}">
                    <a16:creationId xmlns:a16="http://schemas.microsoft.com/office/drawing/2014/main" id="{55C1824D-6DE5-4531-9AF4-86398A4B7C06}"/>
                  </a:ext>
                </a:extLst>
              </p:cNvPr>
              <p:cNvSpPr>
                <a:spLocks noChangeArrowheads="1"/>
              </p:cNvSpPr>
              <p:nvPr/>
            </p:nvSpPr>
            <p:spPr bwMode="auto">
              <a:xfrm>
                <a:off x="5619639" y="4341891"/>
                <a:ext cx="10517" cy="21835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24" name="Rectangle 456">
                <a:extLst>
                  <a:ext uri="{FF2B5EF4-FFF2-40B4-BE49-F238E27FC236}">
                    <a16:creationId xmlns:a16="http://schemas.microsoft.com/office/drawing/2014/main" id="{B92C3836-A73D-4604-9703-FD302750F809}"/>
                  </a:ext>
                </a:extLst>
              </p:cNvPr>
              <p:cNvSpPr>
                <a:spLocks noChangeArrowheads="1"/>
              </p:cNvSpPr>
              <p:nvPr/>
            </p:nvSpPr>
            <p:spPr bwMode="auto">
              <a:xfrm>
                <a:off x="5647903" y="4341891"/>
                <a:ext cx="10517" cy="218355"/>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25" name="Rectangle 457">
                <a:extLst>
                  <a:ext uri="{FF2B5EF4-FFF2-40B4-BE49-F238E27FC236}">
                    <a16:creationId xmlns:a16="http://schemas.microsoft.com/office/drawing/2014/main" id="{829DB1A2-F7D1-4CF1-829E-BB2B703A38A3}"/>
                  </a:ext>
                </a:extLst>
              </p:cNvPr>
              <p:cNvSpPr>
                <a:spLocks noChangeArrowheads="1"/>
              </p:cNvSpPr>
              <p:nvPr/>
            </p:nvSpPr>
            <p:spPr bwMode="auto">
              <a:xfrm>
                <a:off x="5320558" y="4540279"/>
                <a:ext cx="18405" cy="17391"/>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sp>
            <p:nvSpPr>
              <p:cNvPr id="1226" name="Rectangle 459">
                <a:extLst>
                  <a:ext uri="{FF2B5EF4-FFF2-40B4-BE49-F238E27FC236}">
                    <a16:creationId xmlns:a16="http://schemas.microsoft.com/office/drawing/2014/main" id="{66324EC7-9C18-4D82-B7FC-18942613AFA1}"/>
                  </a:ext>
                </a:extLst>
              </p:cNvPr>
              <p:cNvSpPr>
                <a:spLocks noChangeArrowheads="1"/>
              </p:cNvSpPr>
              <p:nvPr/>
            </p:nvSpPr>
            <p:spPr bwMode="auto">
              <a:xfrm>
                <a:off x="5359997" y="4540279"/>
                <a:ext cx="18405" cy="17391"/>
              </a:xfrm>
              <a:prstGeom prst="rect">
                <a:avLst/>
              </a:pr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000" b="0" i="0" u="none" strike="noStrike" kern="0" cap="none" spc="0" normalizeH="0" baseline="0" noProof="0">
                  <a:ln>
                    <a:noFill/>
                  </a:ln>
                  <a:solidFill>
                    <a:srgbClr val="505050"/>
                  </a:solidFill>
                  <a:effectLst/>
                  <a:uLnTx/>
                  <a:uFillTx/>
                  <a:latin typeface="Times New Roman"/>
                </a:endParaRPr>
              </a:p>
            </p:txBody>
          </p:sp>
        </p:grpSp>
      </p:grpSp>
      <p:grpSp>
        <p:nvGrpSpPr>
          <p:cNvPr id="1227" name="Group 1226">
            <a:extLst>
              <a:ext uri="{FF2B5EF4-FFF2-40B4-BE49-F238E27FC236}">
                <a16:creationId xmlns:a16="http://schemas.microsoft.com/office/drawing/2014/main" id="{6833091A-D37F-4056-9D23-ED788664AED9}"/>
              </a:ext>
            </a:extLst>
          </p:cNvPr>
          <p:cNvGrpSpPr/>
          <p:nvPr/>
        </p:nvGrpSpPr>
        <p:grpSpPr>
          <a:xfrm>
            <a:off x="7612236" y="4735671"/>
            <a:ext cx="612775" cy="612775"/>
            <a:chOff x="9336672" y="2265179"/>
            <a:chExt cx="612775" cy="612775"/>
          </a:xfrm>
        </p:grpSpPr>
        <p:sp>
          <p:nvSpPr>
            <p:cNvPr id="1228" name="Oval 1227">
              <a:extLst>
                <a:ext uri="{FF2B5EF4-FFF2-40B4-BE49-F238E27FC236}">
                  <a16:creationId xmlns:a16="http://schemas.microsoft.com/office/drawing/2014/main" id="{480737E3-9637-4461-BA19-DBE873D81A3C}"/>
                </a:ext>
              </a:extLst>
            </p:cNvPr>
            <p:cNvSpPr/>
            <p:nvPr/>
          </p:nvSpPr>
          <p:spPr bwMode="ltGray">
            <a:xfrm>
              <a:off x="9336672"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229" name="Group 1228">
              <a:extLst>
                <a:ext uri="{FF2B5EF4-FFF2-40B4-BE49-F238E27FC236}">
                  <a16:creationId xmlns:a16="http://schemas.microsoft.com/office/drawing/2014/main" id="{22139DFC-1FDD-4ED7-A7B1-BE04E9B7DC66}"/>
                </a:ext>
              </a:extLst>
            </p:cNvPr>
            <p:cNvGrpSpPr/>
            <p:nvPr/>
          </p:nvGrpSpPr>
          <p:grpSpPr>
            <a:xfrm>
              <a:off x="9417493" y="2385109"/>
              <a:ext cx="442238" cy="412279"/>
              <a:chOff x="-820815" y="4930932"/>
              <a:chExt cx="1277144" cy="1190625"/>
            </a:xfrm>
          </p:grpSpPr>
          <p:grpSp>
            <p:nvGrpSpPr>
              <p:cNvPr id="1230" name="Group 1229">
                <a:extLst>
                  <a:ext uri="{FF2B5EF4-FFF2-40B4-BE49-F238E27FC236}">
                    <a16:creationId xmlns:a16="http://schemas.microsoft.com/office/drawing/2014/main" id="{56108C1F-44D2-47DD-9C76-A3B8BB9A7AD5}"/>
                  </a:ext>
                </a:extLst>
              </p:cNvPr>
              <p:cNvGrpSpPr/>
              <p:nvPr/>
            </p:nvGrpSpPr>
            <p:grpSpPr>
              <a:xfrm>
                <a:off x="-410446" y="5369082"/>
                <a:ext cx="866775" cy="752475"/>
                <a:chOff x="-757238" y="4447645"/>
                <a:chExt cx="866775" cy="752475"/>
              </a:xfrm>
            </p:grpSpPr>
            <p:sp>
              <p:nvSpPr>
                <p:cNvPr id="1244" name="Freeform 6">
                  <a:extLst>
                    <a:ext uri="{FF2B5EF4-FFF2-40B4-BE49-F238E27FC236}">
                      <a16:creationId xmlns:a16="http://schemas.microsoft.com/office/drawing/2014/main" id="{07C50467-CBB5-4C5F-AAE1-5177FFA5B58C}"/>
                    </a:ext>
                  </a:extLst>
                </p:cNvPr>
                <p:cNvSpPr>
                  <a:spLocks/>
                </p:cNvSpPr>
                <p:nvPr/>
              </p:nvSpPr>
              <p:spPr bwMode="auto">
                <a:xfrm>
                  <a:off x="-757238" y="4447645"/>
                  <a:ext cx="866775" cy="752475"/>
                </a:xfrm>
                <a:custGeom>
                  <a:avLst/>
                  <a:gdLst>
                    <a:gd name="T0" fmla="*/ 708 w 1092"/>
                    <a:gd name="T1" fmla="*/ 921 h 948"/>
                    <a:gd name="T2" fmla="*/ 809 w 1092"/>
                    <a:gd name="T3" fmla="*/ 879 h 948"/>
                    <a:gd name="T4" fmla="*/ 896 w 1092"/>
                    <a:gd name="T5" fmla="*/ 824 h 948"/>
                    <a:gd name="T6" fmla="*/ 970 w 1092"/>
                    <a:gd name="T7" fmla="*/ 757 h 948"/>
                    <a:gd name="T8" fmla="*/ 1028 w 1092"/>
                    <a:gd name="T9" fmla="*/ 679 h 948"/>
                    <a:gd name="T10" fmla="*/ 1068 w 1092"/>
                    <a:gd name="T11" fmla="*/ 593 h 948"/>
                    <a:gd name="T12" fmla="*/ 1089 w 1092"/>
                    <a:gd name="T13" fmla="*/ 502 h 948"/>
                    <a:gd name="T14" fmla="*/ 1089 w 1092"/>
                    <a:gd name="T15" fmla="*/ 408 h 948"/>
                    <a:gd name="T16" fmla="*/ 1067 w 1092"/>
                    <a:gd name="T17" fmla="*/ 314 h 948"/>
                    <a:gd name="T18" fmla="*/ 1024 w 1092"/>
                    <a:gd name="T19" fmla="*/ 229 h 948"/>
                    <a:gd name="T20" fmla="*/ 963 w 1092"/>
                    <a:gd name="T21" fmla="*/ 155 h 948"/>
                    <a:gd name="T22" fmla="*/ 888 w 1092"/>
                    <a:gd name="T23" fmla="*/ 94 h 948"/>
                    <a:gd name="T24" fmla="*/ 801 w 1092"/>
                    <a:gd name="T25" fmla="*/ 47 h 948"/>
                    <a:gd name="T26" fmla="*/ 704 w 1092"/>
                    <a:gd name="T27" fmla="*/ 16 h 948"/>
                    <a:gd name="T28" fmla="*/ 600 w 1092"/>
                    <a:gd name="T29" fmla="*/ 1 h 948"/>
                    <a:gd name="T30" fmla="*/ 491 w 1092"/>
                    <a:gd name="T31" fmla="*/ 4 h 948"/>
                    <a:gd name="T32" fmla="*/ 381 w 1092"/>
                    <a:gd name="T33" fmla="*/ 27 h 948"/>
                    <a:gd name="T34" fmla="*/ 282 w 1092"/>
                    <a:gd name="T35" fmla="*/ 68 h 948"/>
                    <a:gd name="T36" fmla="*/ 195 w 1092"/>
                    <a:gd name="T37" fmla="*/ 123 h 948"/>
                    <a:gd name="T38" fmla="*/ 121 w 1092"/>
                    <a:gd name="T39" fmla="*/ 190 h 948"/>
                    <a:gd name="T40" fmla="*/ 63 w 1092"/>
                    <a:gd name="T41" fmla="*/ 268 h 948"/>
                    <a:gd name="T42" fmla="*/ 24 w 1092"/>
                    <a:gd name="T43" fmla="*/ 354 h 948"/>
                    <a:gd name="T44" fmla="*/ 2 w 1092"/>
                    <a:gd name="T45" fmla="*/ 445 h 948"/>
                    <a:gd name="T46" fmla="*/ 4 w 1092"/>
                    <a:gd name="T47" fmla="*/ 539 h 948"/>
                    <a:gd name="T48" fmla="*/ 25 w 1092"/>
                    <a:gd name="T49" fmla="*/ 632 h 948"/>
                    <a:gd name="T50" fmla="*/ 68 w 1092"/>
                    <a:gd name="T51" fmla="*/ 719 h 948"/>
                    <a:gd name="T52" fmla="*/ 128 w 1092"/>
                    <a:gd name="T53" fmla="*/ 793 h 948"/>
                    <a:gd name="T54" fmla="*/ 203 w 1092"/>
                    <a:gd name="T55" fmla="*/ 854 h 948"/>
                    <a:gd name="T56" fmla="*/ 290 w 1092"/>
                    <a:gd name="T57" fmla="*/ 901 h 948"/>
                    <a:gd name="T58" fmla="*/ 387 w 1092"/>
                    <a:gd name="T59" fmla="*/ 932 h 948"/>
                    <a:gd name="T60" fmla="*/ 491 w 1092"/>
                    <a:gd name="T61" fmla="*/ 947 h 948"/>
                    <a:gd name="T62" fmla="*/ 599 w 1092"/>
                    <a:gd name="T63" fmla="*/ 94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2" h="948">
                      <a:moveTo>
                        <a:pt x="654" y="934"/>
                      </a:moveTo>
                      <a:lnTo>
                        <a:pt x="708" y="921"/>
                      </a:lnTo>
                      <a:lnTo>
                        <a:pt x="760" y="902"/>
                      </a:lnTo>
                      <a:lnTo>
                        <a:pt x="809" y="879"/>
                      </a:lnTo>
                      <a:lnTo>
                        <a:pt x="855" y="854"/>
                      </a:lnTo>
                      <a:lnTo>
                        <a:pt x="896" y="824"/>
                      </a:lnTo>
                      <a:lnTo>
                        <a:pt x="935" y="792"/>
                      </a:lnTo>
                      <a:lnTo>
                        <a:pt x="970" y="757"/>
                      </a:lnTo>
                      <a:lnTo>
                        <a:pt x="1001" y="719"/>
                      </a:lnTo>
                      <a:lnTo>
                        <a:pt x="1028" y="679"/>
                      </a:lnTo>
                      <a:lnTo>
                        <a:pt x="1051" y="637"/>
                      </a:lnTo>
                      <a:lnTo>
                        <a:pt x="1068" y="593"/>
                      </a:lnTo>
                      <a:lnTo>
                        <a:pt x="1081" y="548"/>
                      </a:lnTo>
                      <a:lnTo>
                        <a:pt x="1089" y="502"/>
                      </a:lnTo>
                      <a:lnTo>
                        <a:pt x="1092" y="455"/>
                      </a:lnTo>
                      <a:lnTo>
                        <a:pt x="1089" y="408"/>
                      </a:lnTo>
                      <a:lnTo>
                        <a:pt x="1081" y="360"/>
                      </a:lnTo>
                      <a:lnTo>
                        <a:pt x="1067" y="314"/>
                      </a:lnTo>
                      <a:lnTo>
                        <a:pt x="1047" y="271"/>
                      </a:lnTo>
                      <a:lnTo>
                        <a:pt x="1024" y="229"/>
                      </a:lnTo>
                      <a:lnTo>
                        <a:pt x="995" y="191"/>
                      </a:lnTo>
                      <a:lnTo>
                        <a:pt x="963" y="155"/>
                      </a:lnTo>
                      <a:lnTo>
                        <a:pt x="927" y="123"/>
                      </a:lnTo>
                      <a:lnTo>
                        <a:pt x="888" y="94"/>
                      </a:lnTo>
                      <a:lnTo>
                        <a:pt x="847" y="69"/>
                      </a:lnTo>
                      <a:lnTo>
                        <a:pt x="801" y="47"/>
                      </a:lnTo>
                      <a:lnTo>
                        <a:pt x="753" y="29"/>
                      </a:lnTo>
                      <a:lnTo>
                        <a:pt x="704" y="16"/>
                      </a:lnTo>
                      <a:lnTo>
                        <a:pt x="652" y="6"/>
                      </a:lnTo>
                      <a:lnTo>
                        <a:pt x="600" y="1"/>
                      </a:lnTo>
                      <a:lnTo>
                        <a:pt x="546" y="0"/>
                      </a:lnTo>
                      <a:lnTo>
                        <a:pt x="491" y="4"/>
                      </a:lnTo>
                      <a:lnTo>
                        <a:pt x="435" y="14"/>
                      </a:lnTo>
                      <a:lnTo>
                        <a:pt x="381" y="27"/>
                      </a:lnTo>
                      <a:lnTo>
                        <a:pt x="331" y="46"/>
                      </a:lnTo>
                      <a:lnTo>
                        <a:pt x="282" y="68"/>
                      </a:lnTo>
                      <a:lnTo>
                        <a:pt x="236" y="93"/>
                      </a:lnTo>
                      <a:lnTo>
                        <a:pt x="195" y="123"/>
                      </a:lnTo>
                      <a:lnTo>
                        <a:pt x="157" y="155"/>
                      </a:lnTo>
                      <a:lnTo>
                        <a:pt x="121" y="190"/>
                      </a:lnTo>
                      <a:lnTo>
                        <a:pt x="91" y="228"/>
                      </a:lnTo>
                      <a:lnTo>
                        <a:pt x="63" y="268"/>
                      </a:lnTo>
                      <a:lnTo>
                        <a:pt x="42" y="310"/>
                      </a:lnTo>
                      <a:lnTo>
                        <a:pt x="24" y="354"/>
                      </a:lnTo>
                      <a:lnTo>
                        <a:pt x="10" y="399"/>
                      </a:lnTo>
                      <a:lnTo>
                        <a:pt x="2" y="445"/>
                      </a:lnTo>
                      <a:lnTo>
                        <a:pt x="0" y="491"/>
                      </a:lnTo>
                      <a:lnTo>
                        <a:pt x="4" y="539"/>
                      </a:lnTo>
                      <a:lnTo>
                        <a:pt x="12" y="586"/>
                      </a:lnTo>
                      <a:lnTo>
                        <a:pt x="25" y="632"/>
                      </a:lnTo>
                      <a:lnTo>
                        <a:pt x="44" y="677"/>
                      </a:lnTo>
                      <a:lnTo>
                        <a:pt x="68" y="719"/>
                      </a:lnTo>
                      <a:lnTo>
                        <a:pt x="96" y="757"/>
                      </a:lnTo>
                      <a:lnTo>
                        <a:pt x="128" y="793"/>
                      </a:lnTo>
                      <a:lnTo>
                        <a:pt x="164" y="825"/>
                      </a:lnTo>
                      <a:lnTo>
                        <a:pt x="203" y="854"/>
                      </a:lnTo>
                      <a:lnTo>
                        <a:pt x="245" y="879"/>
                      </a:lnTo>
                      <a:lnTo>
                        <a:pt x="290" y="901"/>
                      </a:lnTo>
                      <a:lnTo>
                        <a:pt x="338" y="918"/>
                      </a:lnTo>
                      <a:lnTo>
                        <a:pt x="387" y="932"/>
                      </a:lnTo>
                      <a:lnTo>
                        <a:pt x="438" y="942"/>
                      </a:lnTo>
                      <a:lnTo>
                        <a:pt x="491" y="947"/>
                      </a:lnTo>
                      <a:lnTo>
                        <a:pt x="545" y="948"/>
                      </a:lnTo>
                      <a:lnTo>
                        <a:pt x="599" y="944"/>
                      </a:lnTo>
                      <a:lnTo>
                        <a:pt x="654" y="9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45" name="Freeform 7">
                  <a:extLst>
                    <a:ext uri="{FF2B5EF4-FFF2-40B4-BE49-F238E27FC236}">
                      <a16:creationId xmlns:a16="http://schemas.microsoft.com/office/drawing/2014/main" id="{20751E16-DB48-496D-8DC6-C22A6BC51606}"/>
                    </a:ext>
                  </a:extLst>
                </p:cNvPr>
                <p:cNvSpPr>
                  <a:spLocks/>
                </p:cNvSpPr>
                <p:nvPr/>
              </p:nvSpPr>
              <p:spPr bwMode="auto">
                <a:xfrm>
                  <a:off x="-714376" y="4485745"/>
                  <a:ext cx="777875" cy="674687"/>
                </a:xfrm>
                <a:custGeom>
                  <a:avLst/>
                  <a:gdLst>
                    <a:gd name="T0" fmla="*/ 637 w 981"/>
                    <a:gd name="T1" fmla="*/ 826 h 851"/>
                    <a:gd name="T2" fmla="*/ 727 w 981"/>
                    <a:gd name="T3" fmla="*/ 791 h 851"/>
                    <a:gd name="T4" fmla="*/ 806 w 981"/>
                    <a:gd name="T5" fmla="*/ 740 h 851"/>
                    <a:gd name="T6" fmla="*/ 871 w 981"/>
                    <a:gd name="T7" fmla="*/ 680 h 851"/>
                    <a:gd name="T8" fmla="*/ 923 w 981"/>
                    <a:gd name="T9" fmla="*/ 610 h 851"/>
                    <a:gd name="T10" fmla="*/ 959 w 981"/>
                    <a:gd name="T11" fmla="*/ 534 h 851"/>
                    <a:gd name="T12" fmla="*/ 978 w 981"/>
                    <a:gd name="T13" fmla="*/ 452 h 851"/>
                    <a:gd name="T14" fmla="*/ 978 w 981"/>
                    <a:gd name="T15" fmla="*/ 367 h 851"/>
                    <a:gd name="T16" fmla="*/ 958 w 981"/>
                    <a:gd name="T17" fmla="*/ 283 h 851"/>
                    <a:gd name="T18" fmla="*/ 920 w 981"/>
                    <a:gd name="T19" fmla="*/ 205 h 851"/>
                    <a:gd name="T20" fmla="*/ 865 w 981"/>
                    <a:gd name="T21" fmla="*/ 140 h 851"/>
                    <a:gd name="T22" fmla="*/ 799 w 981"/>
                    <a:gd name="T23" fmla="*/ 84 h 851"/>
                    <a:gd name="T24" fmla="*/ 720 w 981"/>
                    <a:gd name="T25" fmla="*/ 43 h 851"/>
                    <a:gd name="T26" fmla="*/ 633 w 981"/>
                    <a:gd name="T27" fmla="*/ 14 h 851"/>
                    <a:gd name="T28" fmla="*/ 539 w 981"/>
                    <a:gd name="T29" fmla="*/ 1 h 851"/>
                    <a:gd name="T30" fmla="*/ 442 w 981"/>
                    <a:gd name="T31" fmla="*/ 5 h 851"/>
                    <a:gd name="T32" fmla="*/ 344 w 981"/>
                    <a:gd name="T33" fmla="*/ 26 h 851"/>
                    <a:gd name="T34" fmla="*/ 254 w 981"/>
                    <a:gd name="T35" fmla="*/ 61 h 851"/>
                    <a:gd name="T36" fmla="*/ 175 w 981"/>
                    <a:gd name="T37" fmla="*/ 111 h 851"/>
                    <a:gd name="T38" fmla="*/ 110 w 981"/>
                    <a:gd name="T39" fmla="*/ 172 h 851"/>
                    <a:gd name="T40" fmla="*/ 58 w 981"/>
                    <a:gd name="T41" fmla="*/ 241 h 851"/>
                    <a:gd name="T42" fmla="*/ 22 w 981"/>
                    <a:gd name="T43" fmla="*/ 318 h 851"/>
                    <a:gd name="T44" fmla="*/ 3 w 981"/>
                    <a:gd name="T45" fmla="*/ 400 h 851"/>
                    <a:gd name="T46" fmla="*/ 3 w 981"/>
                    <a:gd name="T47" fmla="*/ 484 h 851"/>
                    <a:gd name="T48" fmla="*/ 23 w 981"/>
                    <a:gd name="T49" fmla="*/ 568 h 851"/>
                    <a:gd name="T50" fmla="*/ 61 w 981"/>
                    <a:gd name="T51" fmla="*/ 646 h 851"/>
                    <a:gd name="T52" fmla="*/ 116 w 981"/>
                    <a:gd name="T53" fmla="*/ 711 h 851"/>
                    <a:gd name="T54" fmla="*/ 182 w 981"/>
                    <a:gd name="T55" fmla="*/ 767 h 851"/>
                    <a:gd name="T56" fmla="*/ 261 w 981"/>
                    <a:gd name="T57" fmla="*/ 809 h 851"/>
                    <a:gd name="T58" fmla="*/ 348 w 981"/>
                    <a:gd name="T59" fmla="*/ 837 h 851"/>
                    <a:gd name="T60" fmla="*/ 442 w 981"/>
                    <a:gd name="T61" fmla="*/ 851 h 851"/>
                    <a:gd name="T62" fmla="*/ 539 w 981"/>
                    <a:gd name="T63" fmla="*/ 847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81" h="851">
                      <a:moveTo>
                        <a:pt x="589" y="839"/>
                      </a:moveTo>
                      <a:lnTo>
                        <a:pt x="637" y="826"/>
                      </a:lnTo>
                      <a:lnTo>
                        <a:pt x="683" y="810"/>
                      </a:lnTo>
                      <a:lnTo>
                        <a:pt x="727" y="791"/>
                      </a:lnTo>
                      <a:lnTo>
                        <a:pt x="768" y="767"/>
                      </a:lnTo>
                      <a:lnTo>
                        <a:pt x="806" y="740"/>
                      </a:lnTo>
                      <a:lnTo>
                        <a:pt x="840" y="711"/>
                      </a:lnTo>
                      <a:lnTo>
                        <a:pt x="871" y="680"/>
                      </a:lnTo>
                      <a:lnTo>
                        <a:pt x="899" y="646"/>
                      </a:lnTo>
                      <a:lnTo>
                        <a:pt x="923" y="610"/>
                      </a:lnTo>
                      <a:lnTo>
                        <a:pt x="944" y="573"/>
                      </a:lnTo>
                      <a:lnTo>
                        <a:pt x="959" y="534"/>
                      </a:lnTo>
                      <a:lnTo>
                        <a:pt x="970" y="492"/>
                      </a:lnTo>
                      <a:lnTo>
                        <a:pt x="978" y="452"/>
                      </a:lnTo>
                      <a:lnTo>
                        <a:pt x="981" y="409"/>
                      </a:lnTo>
                      <a:lnTo>
                        <a:pt x="978" y="367"/>
                      </a:lnTo>
                      <a:lnTo>
                        <a:pt x="970" y="324"/>
                      </a:lnTo>
                      <a:lnTo>
                        <a:pt x="958" y="283"/>
                      </a:lnTo>
                      <a:lnTo>
                        <a:pt x="940" y="243"/>
                      </a:lnTo>
                      <a:lnTo>
                        <a:pt x="920" y="205"/>
                      </a:lnTo>
                      <a:lnTo>
                        <a:pt x="894" y="171"/>
                      </a:lnTo>
                      <a:lnTo>
                        <a:pt x="865" y="140"/>
                      </a:lnTo>
                      <a:lnTo>
                        <a:pt x="833" y="111"/>
                      </a:lnTo>
                      <a:lnTo>
                        <a:pt x="799" y="84"/>
                      </a:lnTo>
                      <a:lnTo>
                        <a:pt x="761" y="61"/>
                      </a:lnTo>
                      <a:lnTo>
                        <a:pt x="720" y="43"/>
                      </a:lnTo>
                      <a:lnTo>
                        <a:pt x="678" y="27"/>
                      </a:lnTo>
                      <a:lnTo>
                        <a:pt x="633" y="14"/>
                      </a:lnTo>
                      <a:lnTo>
                        <a:pt x="587" y="6"/>
                      </a:lnTo>
                      <a:lnTo>
                        <a:pt x="539" y="1"/>
                      </a:lnTo>
                      <a:lnTo>
                        <a:pt x="491" y="0"/>
                      </a:lnTo>
                      <a:lnTo>
                        <a:pt x="442" y="5"/>
                      </a:lnTo>
                      <a:lnTo>
                        <a:pt x="392" y="13"/>
                      </a:lnTo>
                      <a:lnTo>
                        <a:pt x="344" y="26"/>
                      </a:lnTo>
                      <a:lnTo>
                        <a:pt x="298" y="42"/>
                      </a:lnTo>
                      <a:lnTo>
                        <a:pt x="254" y="61"/>
                      </a:lnTo>
                      <a:lnTo>
                        <a:pt x="213" y="85"/>
                      </a:lnTo>
                      <a:lnTo>
                        <a:pt x="175" y="111"/>
                      </a:lnTo>
                      <a:lnTo>
                        <a:pt x="141" y="140"/>
                      </a:lnTo>
                      <a:lnTo>
                        <a:pt x="110" y="172"/>
                      </a:lnTo>
                      <a:lnTo>
                        <a:pt x="82" y="205"/>
                      </a:lnTo>
                      <a:lnTo>
                        <a:pt x="58" y="241"/>
                      </a:lnTo>
                      <a:lnTo>
                        <a:pt x="38" y="279"/>
                      </a:lnTo>
                      <a:lnTo>
                        <a:pt x="22" y="318"/>
                      </a:lnTo>
                      <a:lnTo>
                        <a:pt x="11" y="359"/>
                      </a:lnTo>
                      <a:lnTo>
                        <a:pt x="3" y="400"/>
                      </a:lnTo>
                      <a:lnTo>
                        <a:pt x="0" y="442"/>
                      </a:lnTo>
                      <a:lnTo>
                        <a:pt x="3" y="484"/>
                      </a:lnTo>
                      <a:lnTo>
                        <a:pt x="11" y="527"/>
                      </a:lnTo>
                      <a:lnTo>
                        <a:pt x="23" y="568"/>
                      </a:lnTo>
                      <a:lnTo>
                        <a:pt x="41" y="608"/>
                      </a:lnTo>
                      <a:lnTo>
                        <a:pt x="61" y="646"/>
                      </a:lnTo>
                      <a:lnTo>
                        <a:pt x="87" y="680"/>
                      </a:lnTo>
                      <a:lnTo>
                        <a:pt x="116" y="711"/>
                      </a:lnTo>
                      <a:lnTo>
                        <a:pt x="148" y="740"/>
                      </a:lnTo>
                      <a:lnTo>
                        <a:pt x="182" y="767"/>
                      </a:lnTo>
                      <a:lnTo>
                        <a:pt x="220" y="790"/>
                      </a:lnTo>
                      <a:lnTo>
                        <a:pt x="261" y="809"/>
                      </a:lnTo>
                      <a:lnTo>
                        <a:pt x="303" y="825"/>
                      </a:lnTo>
                      <a:lnTo>
                        <a:pt x="348" y="837"/>
                      </a:lnTo>
                      <a:lnTo>
                        <a:pt x="394" y="846"/>
                      </a:lnTo>
                      <a:lnTo>
                        <a:pt x="442" y="851"/>
                      </a:lnTo>
                      <a:lnTo>
                        <a:pt x="490" y="851"/>
                      </a:lnTo>
                      <a:lnTo>
                        <a:pt x="539" y="847"/>
                      </a:lnTo>
                      <a:lnTo>
                        <a:pt x="589" y="839"/>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46" name="Freeform 8">
                  <a:extLst>
                    <a:ext uri="{FF2B5EF4-FFF2-40B4-BE49-F238E27FC236}">
                      <a16:creationId xmlns:a16="http://schemas.microsoft.com/office/drawing/2014/main" id="{4F0DFC52-3DE4-4476-831C-71C40D17712B}"/>
                    </a:ext>
                  </a:extLst>
                </p:cNvPr>
                <p:cNvSpPr>
                  <a:spLocks/>
                </p:cNvSpPr>
                <p:nvPr/>
              </p:nvSpPr>
              <p:spPr bwMode="auto">
                <a:xfrm>
                  <a:off x="-477838" y="4674657"/>
                  <a:ext cx="312738" cy="269875"/>
                </a:xfrm>
                <a:custGeom>
                  <a:avLst/>
                  <a:gdLst>
                    <a:gd name="T0" fmla="*/ 236 w 393"/>
                    <a:gd name="T1" fmla="*/ 334 h 339"/>
                    <a:gd name="T2" fmla="*/ 274 w 393"/>
                    <a:gd name="T3" fmla="*/ 322 h 339"/>
                    <a:gd name="T4" fmla="*/ 307 w 393"/>
                    <a:gd name="T5" fmla="*/ 305 h 339"/>
                    <a:gd name="T6" fmla="*/ 337 w 393"/>
                    <a:gd name="T7" fmla="*/ 282 h 339"/>
                    <a:gd name="T8" fmla="*/ 360 w 393"/>
                    <a:gd name="T9" fmla="*/ 257 h 339"/>
                    <a:gd name="T10" fmla="*/ 379 w 393"/>
                    <a:gd name="T11" fmla="*/ 227 h 339"/>
                    <a:gd name="T12" fmla="*/ 389 w 393"/>
                    <a:gd name="T13" fmla="*/ 194 h 339"/>
                    <a:gd name="T14" fmla="*/ 393 w 393"/>
                    <a:gd name="T15" fmla="*/ 162 h 339"/>
                    <a:gd name="T16" fmla="*/ 389 w 393"/>
                    <a:gd name="T17" fmla="*/ 128 h 339"/>
                    <a:gd name="T18" fmla="*/ 384 w 393"/>
                    <a:gd name="T19" fmla="*/ 112 h 339"/>
                    <a:gd name="T20" fmla="*/ 377 w 393"/>
                    <a:gd name="T21" fmla="*/ 95 h 339"/>
                    <a:gd name="T22" fmla="*/ 368 w 393"/>
                    <a:gd name="T23" fmla="*/ 80 h 339"/>
                    <a:gd name="T24" fmla="*/ 359 w 393"/>
                    <a:gd name="T25" fmla="*/ 68 h 339"/>
                    <a:gd name="T26" fmla="*/ 346 w 393"/>
                    <a:gd name="T27" fmla="*/ 55 h 339"/>
                    <a:gd name="T28" fmla="*/ 334 w 393"/>
                    <a:gd name="T29" fmla="*/ 44 h 339"/>
                    <a:gd name="T30" fmla="*/ 320 w 393"/>
                    <a:gd name="T31" fmla="*/ 33 h 339"/>
                    <a:gd name="T32" fmla="*/ 305 w 393"/>
                    <a:gd name="T33" fmla="*/ 24 h 339"/>
                    <a:gd name="T34" fmla="*/ 289 w 393"/>
                    <a:gd name="T35" fmla="*/ 16 h 339"/>
                    <a:gd name="T36" fmla="*/ 271 w 393"/>
                    <a:gd name="T37" fmla="*/ 9 h 339"/>
                    <a:gd name="T38" fmla="*/ 254 w 393"/>
                    <a:gd name="T39" fmla="*/ 4 h 339"/>
                    <a:gd name="T40" fmla="*/ 236 w 393"/>
                    <a:gd name="T41" fmla="*/ 1 h 339"/>
                    <a:gd name="T42" fmla="*/ 216 w 393"/>
                    <a:gd name="T43" fmla="*/ 0 h 339"/>
                    <a:gd name="T44" fmla="*/ 197 w 393"/>
                    <a:gd name="T45" fmla="*/ 0 h 339"/>
                    <a:gd name="T46" fmla="*/ 177 w 393"/>
                    <a:gd name="T47" fmla="*/ 1 h 339"/>
                    <a:gd name="T48" fmla="*/ 157 w 393"/>
                    <a:gd name="T49" fmla="*/ 4 h 339"/>
                    <a:gd name="T50" fmla="*/ 119 w 393"/>
                    <a:gd name="T51" fmla="*/ 16 h 339"/>
                    <a:gd name="T52" fmla="*/ 86 w 393"/>
                    <a:gd name="T53" fmla="*/ 33 h 339"/>
                    <a:gd name="T54" fmla="*/ 56 w 393"/>
                    <a:gd name="T55" fmla="*/ 55 h 339"/>
                    <a:gd name="T56" fmla="*/ 33 w 393"/>
                    <a:gd name="T57" fmla="*/ 80 h 339"/>
                    <a:gd name="T58" fmla="*/ 15 w 393"/>
                    <a:gd name="T59" fmla="*/ 110 h 339"/>
                    <a:gd name="T60" fmla="*/ 4 w 393"/>
                    <a:gd name="T61" fmla="*/ 141 h 339"/>
                    <a:gd name="T62" fmla="*/ 0 w 393"/>
                    <a:gd name="T63" fmla="*/ 175 h 339"/>
                    <a:gd name="T64" fmla="*/ 4 w 393"/>
                    <a:gd name="T65" fmla="*/ 209 h 339"/>
                    <a:gd name="T66" fmla="*/ 9 w 393"/>
                    <a:gd name="T67" fmla="*/ 226 h 339"/>
                    <a:gd name="T68" fmla="*/ 16 w 393"/>
                    <a:gd name="T69" fmla="*/ 242 h 339"/>
                    <a:gd name="T70" fmla="*/ 25 w 393"/>
                    <a:gd name="T71" fmla="*/ 257 h 339"/>
                    <a:gd name="T72" fmla="*/ 34 w 393"/>
                    <a:gd name="T73" fmla="*/ 271 h 339"/>
                    <a:gd name="T74" fmla="*/ 47 w 393"/>
                    <a:gd name="T75" fmla="*/ 283 h 339"/>
                    <a:gd name="T76" fmla="*/ 59 w 393"/>
                    <a:gd name="T77" fmla="*/ 295 h 339"/>
                    <a:gd name="T78" fmla="*/ 73 w 393"/>
                    <a:gd name="T79" fmla="*/ 305 h 339"/>
                    <a:gd name="T80" fmla="*/ 88 w 393"/>
                    <a:gd name="T81" fmla="*/ 314 h 339"/>
                    <a:gd name="T82" fmla="*/ 104 w 393"/>
                    <a:gd name="T83" fmla="*/ 321 h 339"/>
                    <a:gd name="T84" fmla="*/ 122 w 393"/>
                    <a:gd name="T85" fmla="*/ 328 h 339"/>
                    <a:gd name="T86" fmla="*/ 139 w 393"/>
                    <a:gd name="T87" fmla="*/ 333 h 339"/>
                    <a:gd name="T88" fmla="*/ 157 w 393"/>
                    <a:gd name="T89" fmla="*/ 336 h 339"/>
                    <a:gd name="T90" fmla="*/ 177 w 393"/>
                    <a:gd name="T91" fmla="*/ 339 h 339"/>
                    <a:gd name="T92" fmla="*/ 197 w 393"/>
                    <a:gd name="T93" fmla="*/ 339 h 339"/>
                    <a:gd name="T94" fmla="*/ 216 w 393"/>
                    <a:gd name="T95" fmla="*/ 337 h 339"/>
                    <a:gd name="T96" fmla="*/ 236 w 393"/>
                    <a:gd name="T97" fmla="*/ 33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 h="339">
                      <a:moveTo>
                        <a:pt x="236" y="334"/>
                      </a:moveTo>
                      <a:lnTo>
                        <a:pt x="274" y="322"/>
                      </a:lnTo>
                      <a:lnTo>
                        <a:pt x="307" y="305"/>
                      </a:lnTo>
                      <a:lnTo>
                        <a:pt x="337" y="282"/>
                      </a:lnTo>
                      <a:lnTo>
                        <a:pt x="360" y="257"/>
                      </a:lnTo>
                      <a:lnTo>
                        <a:pt x="379" y="227"/>
                      </a:lnTo>
                      <a:lnTo>
                        <a:pt x="389" y="194"/>
                      </a:lnTo>
                      <a:lnTo>
                        <a:pt x="393" y="162"/>
                      </a:lnTo>
                      <a:lnTo>
                        <a:pt x="389" y="128"/>
                      </a:lnTo>
                      <a:lnTo>
                        <a:pt x="384" y="112"/>
                      </a:lnTo>
                      <a:lnTo>
                        <a:pt x="377" y="95"/>
                      </a:lnTo>
                      <a:lnTo>
                        <a:pt x="368" y="80"/>
                      </a:lnTo>
                      <a:lnTo>
                        <a:pt x="359" y="68"/>
                      </a:lnTo>
                      <a:lnTo>
                        <a:pt x="346" y="55"/>
                      </a:lnTo>
                      <a:lnTo>
                        <a:pt x="334" y="44"/>
                      </a:lnTo>
                      <a:lnTo>
                        <a:pt x="320" y="33"/>
                      </a:lnTo>
                      <a:lnTo>
                        <a:pt x="305" y="24"/>
                      </a:lnTo>
                      <a:lnTo>
                        <a:pt x="289" y="16"/>
                      </a:lnTo>
                      <a:lnTo>
                        <a:pt x="271" y="9"/>
                      </a:lnTo>
                      <a:lnTo>
                        <a:pt x="254" y="4"/>
                      </a:lnTo>
                      <a:lnTo>
                        <a:pt x="236" y="1"/>
                      </a:lnTo>
                      <a:lnTo>
                        <a:pt x="216" y="0"/>
                      </a:lnTo>
                      <a:lnTo>
                        <a:pt x="197" y="0"/>
                      </a:lnTo>
                      <a:lnTo>
                        <a:pt x="177" y="1"/>
                      </a:lnTo>
                      <a:lnTo>
                        <a:pt x="157" y="4"/>
                      </a:lnTo>
                      <a:lnTo>
                        <a:pt x="119" y="16"/>
                      </a:lnTo>
                      <a:lnTo>
                        <a:pt x="86" y="33"/>
                      </a:lnTo>
                      <a:lnTo>
                        <a:pt x="56" y="55"/>
                      </a:lnTo>
                      <a:lnTo>
                        <a:pt x="33" y="80"/>
                      </a:lnTo>
                      <a:lnTo>
                        <a:pt x="15" y="110"/>
                      </a:lnTo>
                      <a:lnTo>
                        <a:pt x="4" y="141"/>
                      </a:lnTo>
                      <a:lnTo>
                        <a:pt x="0" y="175"/>
                      </a:lnTo>
                      <a:lnTo>
                        <a:pt x="4" y="209"/>
                      </a:lnTo>
                      <a:lnTo>
                        <a:pt x="9" y="226"/>
                      </a:lnTo>
                      <a:lnTo>
                        <a:pt x="16" y="242"/>
                      </a:lnTo>
                      <a:lnTo>
                        <a:pt x="25" y="257"/>
                      </a:lnTo>
                      <a:lnTo>
                        <a:pt x="34" y="271"/>
                      </a:lnTo>
                      <a:lnTo>
                        <a:pt x="47" y="283"/>
                      </a:lnTo>
                      <a:lnTo>
                        <a:pt x="59" y="295"/>
                      </a:lnTo>
                      <a:lnTo>
                        <a:pt x="73" y="305"/>
                      </a:lnTo>
                      <a:lnTo>
                        <a:pt x="88" y="314"/>
                      </a:lnTo>
                      <a:lnTo>
                        <a:pt x="104" y="321"/>
                      </a:lnTo>
                      <a:lnTo>
                        <a:pt x="122" y="328"/>
                      </a:lnTo>
                      <a:lnTo>
                        <a:pt x="139" y="333"/>
                      </a:lnTo>
                      <a:lnTo>
                        <a:pt x="157" y="336"/>
                      </a:lnTo>
                      <a:lnTo>
                        <a:pt x="177" y="339"/>
                      </a:lnTo>
                      <a:lnTo>
                        <a:pt x="197" y="339"/>
                      </a:lnTo>
                      <a:lnTo>
                        <a:pt x="216" y="337"/>
                      </a:lnTo>
                      <a:lnTo>
                        <a:pt x="236" y="3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47" name="Freeform 9">
                  <a:extLst>
                    <a:ext uri="{FF2B5EF4-FFF2-40B4-BE49-F238E27FC236}">
                      <a16:creationId xmlns:a16="http://schemas.microsoft.com/office/drawing/2014/main" id="{53DE5FFD-018A-4521-8163-3CCB17557536}"/>
                    </a:ext>
                  </a:extLst>
                </p:cNvPr>
                <p:cNvSpPr>
                  <a:spLocks/>
                </p:cNvSpPr>
                <p:nvPr/>
              </p:nvSpPr>
              <p:spPr bwMode="auto">
                <a:xfrm>
                  <a:off x="-444500" y="4703232"/>
                  <a:ext cx="247650" cy="212725"/>
                </a:xfrm>
                <a:custGeom>
                  <a:avLst/>
                  <a:gdLst>
                    <a:gd name="T0" fmla="*/ 187 w 312"/>
                    <a:gd name="T1" fmla="*/ 265 h 269"/>
                    <a:gd name="T2" fmla="*/ 217 w 312"/>
                    <a:gd name="T3" fmla="*/ 256 h 269"/>
                    <a:gd name="T4" fmla="*/ 243 w 312"/>
                    <a:gd name="T5" fmla="*/ 242 h 269"/>
                    <a:gd name="T6" fmla="*/ 267 w 312"/>
                    <a:gd name="T7" fmla="*/ 225 h 269"/>
                    <a:gd name="T8" fmla="*/ 286 w 312"/>
                    <a:gd name="T9" fmla="*/ 204 h 269"/>
                    <a:gd name="T10" fmla="*/ 299 w 312"/>
                    <a:gd name="T11" fmla="*/ 181 h 269"/>
                    <a:gd name="T12" fmla="*/ 309 w 312"/>
                    <a:gd name="T13" fmla="*/ 156 h 269"/>
                    <a:gd name="T14" fmla="*/ 312 w 312"/>
                    <a:gd name="T15" fmla="*/ 129 h 269"/>
                    <a:gd name="T16" fmla="*/ 309 w 312"/>
                    <a:gd name="T17" fmla="*/ 102 h 269"/>
                    <a:gd name="T18" fmla="*/ 305 w 312"/>
                    <a:gd name="T19" fmla="*/ 88 h 269"/>
                    <a:gd name="T20" fmla="*/ 299 w 312"/>
                    <a:gd name="T21" fmla="*/ 76 h 269"/>
                    <a:gd name="T22" fmla="*/ 293 w 312"/>
                    <a:gd name="T23" fmla="*/ 64 h 269"/>
                    <a:gd name="T24" fmla="*/ 285 w 312"/>
                    <a:gd name="T25" fmla="*/ 53 h 269"/>
                    <a:gd name="T26" fmla="*/ 275 w 312"/>
                    <a:gd name="T27" fmla="*/ 43 h 269"/>
                    <a:gd name="T28" fmla="*/ 265 w 312"/>
                    <a:gd name="T29" fmla="*/ 34 h 269"/>
                    <a:gd name="T30" fmla="*/ 253 w 312"/>
                    <a:gd name="T31" fmla="*/ 26 h 269"/>
                    <a:gd name="T32" fmla="*/ 242 w 312"/>
                    <a:gd name="T33" fmla="*/ 19 h 269"/>
                    <a:gd name="T34" fmla="*/ 229 w 312"/>
                    <a:gd name="T35" fmla="*/ 13 h 269"/>
                    <a:gd name="T36" fmla="*/ 215 w 312"/>
                    <a:gd name="T37" fmla="*/ 8 h 269"/>
                    <a:gd name="T38" fmla="*/ 200 w 312"/>
                    <a:gd name="T39" fmla="*/ 4 h 269"/>
                    <a:gd name="T40" fmla="*/ 187 w 312"/>
                    <a:gd name="T41" fmla="*/ 1 h 269"/>
                    <a:gd name="T42" fmla="*/ 172 w 312"/>
                    <a:gd name="T43" fmla="*/ 0 h 269"/>
                    <a:gd name="T44" fmla="*/ 156 w 312"/>
                    <a:gd name="T45" fmla="*/ 0 h 269"/>
                    <a:gd name="T46" fmla="*/ 141 w 312"/>
                    <a:gd name="T47" fmla="*/ 1 h 269"/>
                    <a:gd name="T48" fmla="*/ 124 w 312"/>
                    <a:gd name="T49" fmla="*/ 4 h 269"/>
                    <a:gd name="T50" fmla="*/ 94 w 312"/>
                    <a:gd name="T51" fmla="*/ 13 h 269"/>
                    <a:gd name="T52" fmla="*/ 68 w 312"/>
                    <a:gd name="T53" fmla="*/ 26 h 269"/>
                    <a:gd name="T54" fmla="*/ 45 w 312"/>
                    <a:gd name="T55" fmla="*/ 44 h 269"/>
                    <a:gd name="T56" fmla="*/ 27 w 312"/>
                    <a:gd name="T57" fmla="*/ 64 h 269"/>
                    <a:gd name="T58" fmla="*/ 12 w 312"/>
                    <a:gd name="T59" fmla="*/ 88 h 269"/>
                    <a:gd name="T60" fmla="*/ 3 w 312"/>
                    <a:gd name="T61" fmla="*/ 112 h 269"/>
                    <a:gd name="T62" fmla="*/ 0 w 312"/>
                    <a:gd name="T63" fmla="*/ 139 h 269"/>
                    <a:gd name="T64" fmla="*/ 3 w 312"/>
                    <a:gd name="T65" fmla="*/ 166 h 269"/>
                    <a:gd name="T66" fmla="*/ 13 w 312"/>
                    <a:gd name="T67" fmla="*/ 192 h 269"/>
                    <a:gd name="T68" fmla="*/ 28 w 312"/>
                    <a:gd name="T69" fmla="*/ 215 h 269"/>
                    <a:gd name="T70" fmla="*/ 47 w 312"/>
                    <a:gd name="T71" fmla="*/ 234 h 269"/>
                    <a:gd name="T72" fmla="*/ 70 w 312"/>
                    <a:gd name="T73" fmla="*/ 250 h 269"/>
                    <a:gd name="T74" fmla="*/ 97 w 312"/>
                    <a:gd name="T75" fmla="*/ 261 h 269"/>
                    <a:gd name="T76" fmla="*/ 124 w 312"/>
                    <a:gd name="T77" fmla="*/ 268 h 269"/>
                    <a:gd name="T78" fmla="*/ 156 w 312"/>
                    <a:gd name="T79" fmla="*/ 269 h 269"/>
                    <a:gd name="T80" fmla="*/ 187 w 312"/>
                    <a:gd name="T81" fmla="*/ 26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2" h="269">
                      <a:moveTo>
                        <a:pt x="187" y="265"/>
                      </a:moveTo>
                      <a:lnTo>
                        <a:pt x="217" y="256"/>
                      </a:lnTo>
                      <a:lnTo>
                        <a:pt x="243" y="242"/>
                      </a:lnTo>
                      <a:lnTo>
                        <a:pt x="267" y="225"/>
                      </a:lnTo>
                      <a:lnTo>
                        <a:pt x="286" y="204"/>
                      </a:lnTo>
                      <a:lnTo>
                        <a:pt x="299" y="181"/>
                      </a:lnTo>
                      <a:lnTo>
                        <a:pt x="309" y="156"/>
                      </a:lnTo>
                      <a:lnTo>
                        <a:pt x="312" y="129"/>
                      </a:lnTo>
                      <a:lnTo>
                        <a:pt x="309" y="102"/>
                      </a:lnTo>
                      <a:lnTo>
                        <a:pt x="305" y="88"/>
                      </a:lnTo>
                      <a:lnTo>
                        <a:pt x="299" y="76"/>
                      </a:lnTo>
                      <a:lnTo>
                        <a:pt x="293" y="64"/>
                      </a:lnTo>
                      <a:lnTo>
                        <a:pt x="285" y="53"/>
                      </a:lnTo>
                      <a:lnTo>
                        <a:pt x="275" y="43"/>
                      </a:lnTo>
                      <a:lnTo>
                        <a:pt x="265" y="34"/>
                      </a:lnTo>
                      <a:lnTo>
                        <a:pt x="253" y="26"/>
                      </a:lnTo>
                      <a:lnTo>
                        <a:pt x="242" y="19"/>
                      </a:lnTo>
                      <a:lnTo>
                        <a:pt x="229" y="13"/>
                      </a:lnTo>
                      <a:lnTo>
                        <a:pt x="215" y="8"/>
                      </a:lnTo>
                      <a:lnTo>
                        <a:pt x="200" y="4"/>
                      </a:lnTo>
                      <a:lnTo>
                        <a:pt x="187" y="1"/>
                      </a:lnTo>
                      <a:lnTo>
                        <a:pt x="172" y="0"/>
                      </a:lnTo>
                      <a:lnTo>
                        <a:pt x="156" y="0"/>
                      </a:lnTo>
                      <a:lnTo>
                        <a:pt x="141" y="1"/>
                      </a:lnTo>
                      <a:lnTo>
                        <a:pt x="124" y="4"/>
                      </a:lnTo>
                      <a:lnTo>
                        <a:pt x="94" y="13"/>
                      </a:lnTo>
                      <a:lnTo>
                        <a:pt x="68" y="26"/>
                      </a:lnTo>
                      <a:lnTo>
                        <a:pt x="45" y="44"/>
                      </a:lnTo>
                      <a:lnTo>
                        <a:pt x="27" y="64"/>
                      </a:lnTo>
                      <a:lnTo>
                        <a:pt x="12" y="88"/>
                      </a:lnTo>
                      <a:lnTo>
                        <a:pt x="3" y="112"/>
                      </a:lnTo>
                      <a:lnTo>
                        <a:pt x="0" y="139"/>
                      </a:lnTo>
                      <a:lnTo>
                        <a:pt x="3" y="166"/>
                      </a:lnTo>
                      <a:lnTo>
                        <a:pt x="13" y="192"/>
                      </a:lnTo>
                      <a:lnTo>
                        <a:pt x="28" y="215"/>
                      </a:lnTo>
                      <a:lnTo>
                        <a:pt x="47" y="234"/>
                      </a:lnTo>
                      <a:lnTo>
                        <a:pt x="70" y="250"/>
                      </a:lnTo>
                      <a:lnTo>
                        <a:pt x="97" y="261"/>
                      </a:lnTo>
                      <a:lnTo>
                        <a:pt x="124" y="268"/>
                      </a:lnTo>
                      <a:lnTo>
                        <a:pt x="156" y="269"/>
                      </a:lnTo>
                      <a:lnTo>
                        <a:pt x="187" y="265"/>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48" name="Freeform 10">
                  <a:extLst>
                    <a:ext uri="{FF2B5EF4-FFF2-40B4-BE49-F238E27FC236}">
                      <a16:creationId xmlns:a16="http://schemas.microsoft.com/office/drawing/2014/main" id="{55E56EAF-B41C-4482-A47F-E8112B94B1A2}"/>
                    </a:ext>
                  </a:extLst>
                </p:cNvPr>
                <p:cNvSpPr>
                  <a:spLocks/>
                </p:cNvSpPr>
                <p:nvPr/>
              </p:nvSpPr>
              <p:spPr bwMode="auto">
                <a:xfrm>
                  <a:off x="-376238" y="4761970"/>
                  <a:ext cx="109538" cy="95250"/>
                </a:xfrm>
                <a:custGeom>
                  <a:avLst/>
                  <a:gdLst>
                    <a:gd name="T0" fmla="*/ 83 w 139"/>
                    <a:gd name="T1" fmla="*/ 119 h 121"/>
                    <a:gd name="T2" fmla="*/ 97 w 139"/>
                    <a:gd name="T3" fmla="*/ 114 h 121"/>
                    <a:gd name="T4" fmla="*/ 109 w 139"/>
                    <a:gd name="T5" fmla="*/ 108 h 121"/>
                    <a:gd name="T6" fmla="*/ 119 w 139"/>
                    <a:gd name="T7" fmla="*/ 100 h 121"/>
                    <a:gd name="T8" fmla="*/ 128 w 139"/>
                    <a:gd name="T9" fmla="*/ 91 h 121"/>
                    <a:gd name="T10" fmla="*/ 134 w 139"/>
                    <a:gd name="T11" fmla="*/ 81 h 121"/>
                    <a:gd name="T12" fmla="*/ 137 w 139"/>
                    <a:gd name="T13" fmla="*/ 70 h 121"/>
                    <a:gd name="T14" fmla="*/ 139 w 139"/>
                    <a:gd name="T15" fmla="*/ 58 h 121"/>
                    <a:gd name="T16" fmla="*/ 137 w 139"/>
                    <a:gd name="T17" fmla="*/ 46 h 121"/>
                    <a:gd name="T18" fmla="*/ 133 w 139"/>
                    <a:gd name="T19" fmla="*/ 35 h 121"/>
                    <a:gd name="T20" fmla="*/ 127 w 139"/>
                    <a:gd name="T21" fmla="*/ 24 h 121"/>
                    <a:gd name="T22" fmla="*/ 118 w 139"/>
                    <a:gd name="T23" fmla="*/ 16 h 121"/>
                    <a:gd name="T24" fmla="*/ 108 w 139"/>
                    <a:gd name="T25" fmla="*/ 9 h 121"/>
                    <a:gd name="T26" fmla="*/ 96 w 139"/>
                    <a:gd name="T27" fmla="*/ 4 h 121"/>
                    <a:gd name="T28" fmla="*/ 83 w 139"/>
                    <a:gd name="T29" fmla="*/ 1 h 121"/>
                    <a:gd name="T30" fmla="*/ 70 w 139"/>
                    <a:gd name="T31" fmla="*/ 0 h 121"/>
                    <a:gd name="T32" fmla="*/ 56 w 139"/>
                    <a:gd name="T33" fmla="*/ 1 h 121"/>
                    <a:gd name="T34" fmla="*/ 42 w 139"/>
                    <a:gd name="T35" fmla="*/ 6 h 121"/>
                    <a:gd name="T36" fmla="*/ 30 w 139"/>
                    <a:gd name="T37" fmla="*/ 12 h 121"/>
                    <a:gd name="T38" fmla="*/ 20 w 139"/>
                    <a:gd name="T39" fmla="*/ 20 h 121"/>
                    <a:gd name="T40" fmla="*/ 12 w 139"/>
                    <a:gd name="T41" fmla="*/ 29 h 121"/>
                    <a:gd name="T42" fmla="*/ 5 w 139"/>
                    <a:gd name="T43" fmla="*/ 39 h 121"/>
                    <a:gd name="T44" fmla="*/ 2 w 139"/>
                    <a:gd name="T45" fmla="*/ 51 h 121"/>
                    <a:gd name="T46" fmla="*/ 0 w 139"/>
                    <a:gd name="T47" fmla="*/ 62 h 121"/>
                    <a:gd name="T48" fmla="*/ 2 w 139"/>
                    <a:gd name="T49" fmla="*/ 75 h 121"/>
                    <a:gd name="T50" fmla="*/ 6 w 139"/>
                    <a:gd name="T51" fmla="*/ 86 h 121"/>
                    <a:gd name="T52" fmla="*/ 13 w 139"/>
                    <a:gd name="T53" fmla="*/ 97 h 121"/>
                    <a:gd name="T54" fmla="*/ 21 w 139"/>
                    <a:gd name="T55" fmla="*/ 105 h 121"/>
                    <a:gd name="T56" fmla="*/ 32 w 139"/>
                    <a:gd name="T57" fmla="*/ 112 h 121"/>
                    <a:gd name="T58" fmla="*/ 43 w 139"/>
                    <a:gd name="T59" fmla="*/ 116 h 121"/>
                    <a:gd name="T60" fmla="*/ 56 w 139"/>
                    <a:gd name="T61" fmla="*/ 120 h 121"/>
                    <a:gd name="T62" fmla="*/ 70 w 139"/>
                    <a:gd name="T63" fmla="*/ 121 h 121"/>
                    <a:gd name="T64" fmla="*/ 83 w 139"/>
                    <a:gd name="T65" fmla="*/ 1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21">
                      <a:moveTo>
                        <a:pt x="83" y="119"/>
                      </a:moveTo>
                      <a:lnTo>
                        <a:pt x="97" y="114"/>
                      </a:lnTo>
                      <a:lnTo>
                        <a:pt x="109" y="108"/>
                      </a:lnTo>
                      <a:lnTo>
                        <a:pt x="119" y="100"/>
                      </a:lnTo>
                      <a:lnTo>
                        <a:pt x="128" y="91"/>
                      </a:lnTo>
                      <a:lnTo>
                        <a:pt x="134" y="81"/>
                      </a:lnTo>
                      <a:lnTo>
                        <a:pt x="137" y="70"/>
                      </a:lnTo>
                      <a:lnTo>
                        <a:pt x="139" y="58"/>
                      </a:lnTo>
                      <a:lnTo>
                        <a:pt x="137" y="46"/>
                      </a:lnTo>
                      <a:lnTo>
                        <a:pt x="133" y="35"/>
                      </a:lnTo>
                      <a:lnTo>
                        <a:pt x="127" y="24"/>
                      </a:lnTo>
                      <a:lnTo>
                        <a:pt x="118" y="16"/>
                      </a:lnTo>
                      <a:lnTo>
                        <a:pt x="108" y="9"/>
                      </a:lnTo>
                      <a:lnTo>
                        <a:pt x="96" y="4"/>
                      </a:lnTo>
                      <a:lnTo>
                        <a:pt x="83" y="1"/>
                      </a:lnTo>
                      <a:lnTo>
                        <a:pt x="70" y="0"/>
                      </a:lnTo>
                      <a:lnTo>
                        <a:pt x="56" y="1"/>
                      </a:lnTo>
                      <a:lnTo>
                        <a:pt x="42" y="6"/>
                      </a:lnTo>
                      <a:lnTo>
                        <a:pt x="30" y="12"/>
                      </a:lnTo>
                      <a:lnTo>
                        <a:pt x="20" y="20"/>
                      </a:lnTo>
                      <a:lnTo>
                        <a:pt x="12" y="29"/>
                      </a:lnTo>
                      <a:lnTo>
                        <a:pt x="5" y="39"/>
                      </a:lnTo>
                      <a:lnTo>
                        <a:pt x="2" y="51"/>
                      </a:lnTo>
                      <a:lnTo>
                        <a:pt x="0" y="62"/>
                      </a:lnTo>
                      <a:lnTo>
                        <a:pt x="2" y="75"/>
                      </a:lnTo>
                      <a:lnTo>
                        <a:pt x="6" y="86"/>
                      </a:lnTo>
                      <a:lnTo>
                        <a:pt x="13" y="97"/>
                      </a:lnTo>
                      <a:lnTo>
                        <a:pt x="21" y="105"/>
                      </a:lnTo>
                      <a:lnTo>
                        <a:pt x="32" y="112"/>
                      </a:lnTo>
                      <a:lnTo>
                        <a:pt x="43" y="116"/>
                      </a:lnTo>
                      <a:lnTo>
                        <a:pt x="56" y="120"/>
                      </a:lnTo>
                      <a:lnTo>
                        <a:pt x="70" y="121"/>
                      </a:lnTo>
                      <a:lnTo>
                        <a:pt x="83" y="1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49" name="Freeform 11">
                  <a:extLst>
                    <a:ext uri="{FF2B5EF4-FFF2-40B4-BE49-F238E27FC236}">
                      <a16:creationId xmlns:a16="http://schemas.microsoft.com/office/drawing/2014/main" id="{7B6A74E7-8A96-483A-96BE-207F5813AB89}"/>
                    </a:ext>
                  </a:extLst>
                </p:cNvPr>
                <p:cNvSpPr>
                  <a:spLocks/>
                </p:cNvSpPr>
                <p:nvPr/>
              </p:nvSpPr>
              <p:spPr bwMode="auto">
                <a:xfrm>
                  <a:off x="-347663" y="4785782"/>
                  <a:ext cx="52388" cy="46037"/>
                </a:xfrm>
                <a:custGeom>
                  <a:avLst/>
                  <a:gdLst>
                    <a:gd name="T0" fmla="*/ 39 w 66"/>
                    <a:gd name="T1" fmla="*/ 58 h 59"/>
                    <a:gd name="T2" fmla="*/ 52 w 66"/>
                    <a:gd name="T3" fmla="*/ 53 h 59"/>
                    <a:gd name="T4" fmla="*/ 61 w 66"/>
                    <a:gd name="T5" fmla="*/ 45 h 59"/>
                    <a:gd name="T6" fmla="*/ 66 w 66"/>
                    <a:gd name="T7" fmla="*/ 35 h 59"/>
                    <a:gd name="T8" fmla="*/ 65 w 66"/>
                    <a:gd name="T9" fmla="*/ 23 h 59"/>
                    <a:gd name="T10" fmla="*/ 62 w 66"/>
                    <a:gd name="T11" fmla="*/ 17 h 59"/>
                    <a:gd name="T12" fmla="*/ 60 w 66"/>
                    <a:gd name="T13" fmla="*/ 13 h 59"/>
                    <a:gd name="T14" fmla="*/ 56 w 66"/>
                    <a:gd name="T15" fmla="*/ 8 h 59"/>
                    <a:gd name="T16" fmla="*/ 51 w 66"/>
                    <a:gd name="T17" fmla="*/ 5 h 59"/>
                    <a:gd name="T18" fmla="*/ 45 w 66"/>
                    <a:gd name="T19" fmla="*/ 2 h 59"/>
                    <a:gd name="T20" fmla="*/ 39 w 66"/>
                    <a:gd name="T21" fmla="*/ 1 h 59"/>
                    <a:gd name="T22" fmla="*/ 33 w 66"/>
                    <a:gd name="T23" fmla="*/ 0 h 59"/>
                    <a:gd name="T24" fmla="*/ 26 w 66"/>
                    <a:gd name="T25" fmla="*/ 1 h 59"/>
                    <a:gd name="T26" fmla="*/ 14 w 66"/>
                    <a:gd name="T27" fmla="*/ 7 h 59"/>
                    <a:gd name="T28" fmla="*/ 5 w 66"/>
                    <a:gd name="T29" fmla="*/ 15 h 59"/>
                    <a:gd name="T30" fmla="*/ 0 w 66"/>
                    <a:gd name="T31" fmla="*/ 25 h 59"/>
                    <a:gd name="T32" fmla="*/ 0 w 66"/>
                    <a:gd name="T33" fmla="*/ 37 h 59"/>
                    <a:gd name="T34" fmla="*/ 3 w 66"/>
                    <a:gd name="T35" fmla="*/ 43 h 59"/>
                    <a:gd name="T36" fmla="*/ 5 w 66"/>
                    <a:gd name="T37" fmla="*/ 47 h 59"/>
                    <a:gd name="T38" fmla="*/ 9 w 66"/>
                    <a:gd name="T39" fmla="*/ 51 h 59"/>
                    <a:gd name="T40" fmla="*/ 14 w 66"/>
                    <a:gd name="T41" fmla="*/ 54 h 59"/>
                    <a:gd name="T42" fmla="*/ 20 w 66"/>
                    <a:gd name="T43" fmla="*/ 56 h 59"/>
                    <a:gd name="T44" fmla="*/ 26 w 66"/>
                    <a:gd name="T45" fmla="*/ 58 h 59"/>
                    <a:gd name="T46" fmla="*/ 33 w 66"/>
                    <a:gd name="T47" fmla="*/ 59 h 59"/>
                    <a:gd name="T48" fmla="*/ 39 w 66"/>
                    <a:gd name="T49"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9">
                      <a:moveTo>
                        <a:pt x="39" y="58"/>
                      </a:moveTo>
                      <a:lnTo>
                        <a:pt x="52" y="53"/>
                      </a:lnTo>
                      <a:lnTo>
                        <a:pt x="61" y="45"/>
                      </a:lnTo>
                      <a:lnTo>
                        <a:pt x="66" y="35"/>
                      </a:lnTo>
                      <a:lnTo>
                        <a:pt x="65" y="23"/>
                      </a:lnTo>
                      <a:lnTo>
                        <a:pt x="62" y="17"/>
                      </a:lnTo>
                      <a:lnTo>
                        <a:pt x="60" y="13"/>
                      </a:lnTo>
                      <a:lnTo>
                        <a:pt x="56" y="8"/>
                      </a:lnTo>
                      <a:lnTo>
                        <a:pt x="51" y="5"/>
                      </a:lnTo>
                      <a:lnTo>
                        <a:pt x="45" y="2"/>
                      </a:lnTo>
                      <a:lnTo>
                        <a:pt x="39" y="1"/>
                      </a:lnTo>
                      <a:lnTo>
                        <a:pt x="33" y="0"/>
                      </a:lnTo>
                      <a:lnTo>
                        <a:pt x="26" y="1"/>
                      </a:lnTo>
                      <a:lnTo>
                        <a:pt x="14" y="7"/>
                      </a:lnTo>
                      <a:lnTo>
                        <a:pt x="5" y="15"/>
                      </a:lnTo>
                      <a:lnTo>
                        <a:pt x="0" y="25"/>
                      </a:lnTo>
                      <a:lnTo>
                        <a:pt x="0" y="37"/>
                      </a:lnTo>
                      <a:lnTo>
                        <a:pt x="3" y="43"/>
                      </a:lnTo>
                      <a:lnTo>
                        <a:pt x="5" y="47"/>
                      </a:lnTo>
                      <a:lnTo>
                        <a:pt x="9" y="51"/>
                      </a:lnTo>
                      <a:lnTo>
                        <a:pt x="14" y="54"/>
                      </a:lnTo>
                      <a:lnTo>
                        <a:pt x="20" y="56"/>
                      </a:lnTo>
                      <a:lnTo>
                        <a:pt x="26" y="58"/>
                      </a:lnTo>
                      <a:lnTo>
                        <a:pt x="33" y="59"/>
                      </a:lnTo>
                      <a:lnTo>
                        <a:pt x="39" y="5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50" name="Freeform 12">
                  <a:extLst>
                    <a:ext uri="{FF2B5EF4-FFF2-40B4-BE49-F238E27FC236}">
                      <a16:creationId xmlns:a16="http://schemas.microsoft.com/office/drawing/2014/main" id="{E9D11D4F-9FC2-4DF6-AEB3-90FCFC5B68DC}"/>
                    </a:ext>
                  </a:extLst>
                </p:cNvPr>
                <p:cNvSpPr>
                  <a:spLocks/>
                </p:cNvSpPr>
                <p:nvPr/>
              </p:nvSpPr>
              <p:spPr bwMode="auto">
                <a:xfrm>
                  <a:off x="-727076" y="4836582"/>
                  <a:ext cx="263525" cy="144462"/>
                </a:xfrm>
                <a:custGeom>
                  <a:avLst/>
                  <a:gdLst>
                    <a:gd name="T0" fmla="*/ 317 w 332"/>
                    <a:gd name="T1" fmla="*/ 0 h 181"/>
                    <a:gd name="T2" fmla="*/ 0 w 332"/>
                    <a:gd name="T3" fmla="*/ 68 h 181"/>
                    <a:gd name="T4" fmla="*/ 37 w 332"/>
                    <a:gd name="T5" fmla="*/ 181 h 181"/>
                    <a:gd name="T6" fmla="*/ 332 w 332"/>
                    <a:gd name="T7" fmla="*/ 52 h 181"/>
                    <a:gd name="T8" fmla="*/ 317 w 332"/>
                    <a:gd name="T9" fmla="*/ 0 h 181"/>
                  </a:gdLst>
                  <a:ahLst/>
                  <a:cxnLst>
                    <a:cxn ang="0">
                      <a:pos x="T0" y="T1"/>
                    </a:cxn>
                    <a:cxn ang="0">
                      <a:pos x="T2" y="T3"/>
                    </a:cxn>
                    <a:cxn ang="0">
                      <a:pos x="T4" y="T5"/>
                    </a:cxn>
                    <a:cxn ang="0">
                      <a:pos x="T6" y="T7"/>
                    </a:cxn>
                    <a:cxn ang="0">
                      <a:pos x="T8" y="T9"/>
                    </a:cxn>
                  </a:cxnLst>
                  <a:rect l="0" t="0" r="r" b="b"/>
                  <a:pathLst>
                    <a:path w="332" h="181">
                      <a:moveTo>
                        <a:pt x="317" y="0"/>
                      </a:moveTo>
                      <a:lnTo>
                        <a:pt x="0" y="68"/>
                      </a:lnTo>
                      <a:lnTo>
                        <a:pt x="37" y="181"/>
                      </a:lnTo>
                      <a:lnTo>
                        <a:pt x="332" y="52"/>
                      </a:lnTo>
                      <a:lnTo>
                        <a:pt x="3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51" name="Freeform 13">
                  <a:extLst>
                    <a:ext uri="{FF2B5EF4-FFF2-40B4-BE49-F238E27FC236}">
                      <a16:creationId xmlns:a16="http://schemas.microsoft.com/office/drawing/2014/main" id="{4323E8AA-1DE7-47A3-BD9A-A6E5FDC4C12A}"/>
                    </a:ext>
                  </a:extLst>
                </p:cNvPr>
                <p:cNvSpPr>
                  <a:spLocks/>
                </p:cNvSpPr>
                <p:nvPr/>
              </p:nvSpPr>
              <p:spPr bwMode="auto">
                <a:xfrm>
                  <a:off x="-657226" y="4895320"/>
                  <a:ext cx="230188" cy="182562"/>
                </a:xfrm>
                <a:custGeom>
                  <a:avLst/>
                  <a:gdLst>
                    <a:gd name="T0" fmla="*/ 272 w 289"/>
                    <a:gd name="T1" fmla="*/ 0 h 232"/>
                    <a:gd name="T2" fmla="*/ 0 w 289"/>
                    <a:gd name="T3" fmla="*/ 178 h 232"/>
                    <a:gd name="T4" fmla="*/ 31 w 289"/>
                    <a:gd name="T5" fmla="*/ 232 h 232"/>
                    <a:gd name="T6" fmla="*/ 289 w 289"/>
                    <a:gd name="T7" fmla="*/ 13 h 232"/>
                    <a:gd name="T8" fmla="*/ 272 w 289"/>
                    <a:gd name="T9" fmla="*/ 0 h 232"/>
                  </a:gdLst>
                  <a:ahLst/>
                  <a:cxnLst>
                    <a:cxn ang="0">
                      <a:pos x="T0" y="T1"/>
                    </a:cxn>
                    <a:cxn ang="0">
                      <a:pos x="T2" y="T3"/>
                    </a:cxn>
                    <a:cxn ang="0">
                      <a:pos x="T4" y="T5"/>
                    </a:cxn>
                    <a:cxn ang="0">
                      <a:pos x="T6" y="T7"/>
                    </a:cxn>
                    <a:cxn ang="0">
                      <a:pos x="T8" y="T9"/>
                    </a:cxn>
                  </a:cxnLst>
                  <a:rect l="0" t="0" r="r" b="b"/>
                  <a:pathLst>
                    <a:path w="289" h="232">
                      <a:moveTo>
                        <a:pt x="272" y="0"/>
                      </a:moveTo>
                      <a:lnTo>
                        <a:pt x="0" y="178"/>
                      </a:lnTo>
                      <a:lnTo>
                        <a:pt x="31" y="232"/>
                      </a:lnTo>
                      <a:lnTo>
                        <a:pt x="289" y="13"/>
                      </a:lnTo>
                      <a:lnTo>
                        <a:pt x="27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52" name="Freeform 14">
                  <a:extLst>
                    <a:ext uri="{FF2B5EF4-FFF2-40B4-BE49-F238E27FC236}">
                      <a16:creationId xmlns:a16="http://schemas.microsoft.com/office/drawing/2014/main" id="{97BB0B8C-9C1D-4FB2-A593-DB0954AD701B}"/>
                    </a:ext>
                  </a:extLst>
                </p:cNvPr>
                <p:cNvSpPr>
                  <a:spLocks/>
                </p:cNvSpPr>
                <p:nvPr/>
              </p:nvSpPr>
              <p:spPr bwMode="auto">
                <a:xfrm>
                  <a:off x="-182563" y="4757207"/>
                  <a:ext cx="269875" cy="68262"/>
                </a:xfrm>
                <a:custGeom>
                  <a:avLst/>
                  <a:gdLst>
                    <a:gd name="T0" fmla="*/ 0 w 338"/>
                    <a:gd name="T1" fmla="*/ 20 h 88"/>
                    <a:gd name="T2" fmla="*/ 329 w 338"/>
                    <a:gd name="T3" fmla="*/ 0 h 88"/>
                    <a:gd name="T4" fmla="*/ 338 w 338"/>
                    <a:gd name="T5" fmla="*/ 88 h 88"/>
                    <a:gd name="T6" fmla="*/ 7 w 338"/>
                    <a:gd name="T7" fmla="*/ 50 h 88"/>
                    <a:gd name="T8" fmla="*/ 0 w 338"/>
                    <a:gd name="T9" fmla="*/ 20 h 88"/>
                  </a:gdLst>
                  <a:ahLst/>
                  <a:cxnLst>
                    <a:cxn ang="0">
                      <a:pos x="T0" y="T1"/>
                    </a:cxn>
                    <a:cxn ang="0">
                      <a:pos x="T2" y="T3"/>
                    </a:cxn>
                    <a:cxn ang="0">
                      <a:pos x="T4" y="T5"/>
                    </a:cxn>
                    <a:cxn ang="0">
                      <a:pos x="T6" y="T7"/>
                    </a:cxn>
                    <a:cxn ang="0">
                      <a:pos x="T8" y="T9"/>
                    </a:cxn>
                  </a:cxnLst>
                  <a:rect l="0" t="0" r="r" b="b"/>
                  <a:pathLst>
                    <a:path w="338" h="88">
                      <a:moveTo>
                        <a:pt x="0" y="20"/>
                      </a:moveTo>
                      <a:lnTo>
                        <a:pt x="329" y="0"/>
                      </a:lnTo>
                      <a:lnTo>
                        <a:pt x="338" y="88"/>
                      </a:lnTo>
                      <a:lnTo>
                        <a:pt x="7" y="50"/>
                      </a:ln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53" name="Freeform 15">
                  <a:extLst>
                    <a:ext uri="{FF2B5EF4-FFF2-40B4-BE49-F238E27FC236}">
                      <a16:creationId xmlns:a16="http://schemas.microsoft.com/office/drawing/2014/main" id="{E3DF218A-EF1C-4A41-87F2-1BC071D3B337}"/>
                    </a:ext>
                  </a:extLst>
                </p:cNvPr>
                <p:cNvSpPr>
                  <a:spLocks/>
                </p:cNvSpPr>
                <p:nvPr/>
              </p:nvSpPr>
              <p:spPr bwMode="auto">
                <a:xfrm>
                  <a:off x="-204788" y="4677832"/>
                  <a:ext cx="273050" cy="77787"/>
                </a:xfrm>
                <a:custGeom>
                  <a:avLst/>
                  <a:gdLst>
                    <a:gd name="T0" fmla="*/ 11 w 343"/>
                    <a:gd name="T1" fmla="*/ 98 h 98"/>
                    <a:gd name="T2" fmla="*/ 343 w 343"/>
                    <a:gd name="T3" fmla="*/ 51 h 98"/>
                    <a:gd name="T4" fmla="*/ 335 w 343"/>
                    <a:gd name="T5" fmla="*/ 0 h 98"/>
                    <a:gd name="T6" fmla="*/ 0 w 343"/>
                    <a:gd name="T7" fmla="*/ 81 h 98"/>
                    <a:gd name="T8" fmla="*/ 11 w 343"/>
                    <a:gd name="T9" fmla="*/ 98 h 98"/>
                  </a:gdLst>
                  <a:ahLst/>
                  <a:cxnLst>
                    <a:cxn ang="0">
                      <a:pos x="T0" y="T1"/>
                    </a:cxn>
                    <a:cxn ang="0">
                      <a:pos x="T2" y="T3"/>
                    </a:cxn>
                    <a:cxn ang="0">
                      <a:pos x="T4" y="T5"/>
                    </a:cxn>
                    <a:cxn ang="0">
                      <a:pos x="T6" y="T7"/>
                    </a:cxn>
                    <a:cxn ang="0">
                      <a:pos x="T8" y="T9"/>
                    </a:cxn>
                  </a:cxnLst>
                  <a:rect l="0" t="0" r="r" b="b"/>
                  <a:pathLst>
                    <a:path w="343" h="98">
                      <a:moveTo>
                        <a:pt x="11" y="98"/>
                      </a:moveTo>
                      <a:lnTo>
                        <a:pt x="343" y="51"/>
                      </a:lnTo>
                      <a:lnTo>
                        <a:pt x="335" y="0"/>
                      </a:lnTo>
                      <a:lnTo>
                        <a:pt x="0" y="81"/>
                      </a:lnTo>
                      <a:lnTo>
                        <a:pt x="11"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54" name="Freeform 16">
                  <a:extLst>
                    <a:ext uri="{FF2B5EF4-FFF2-40B4-BE49-F238E27FC236}">
                      <a16:creationId xmlns:a16="http://schemas.microsoft.com/office/drawing/2014/main" id="{CD1AEF74-A0A0-4963-A885-CC293E3E3290}"/>
                    </a:ext>
                  </a:extLst>
                </p:cNvPr>
                <p:cNvSpPr>
                  <a:spLocks/>
                </p:cNvSpPr>
                <p:nvPr/>
              </p:nvSpPr>
              <p:spPr bwMode="auto">
                <a:xfrm>
                  <a:off x="-496888" y="4488920"/>
                  <a:ext cx="142875" cy="214312"/>
                </a:xfrm>
                <a:custGeom>
                  <a:avLst/>
                  <a:gdLst>
                    <a:gd name="T0" fmla="*/ 179 w 179"/>
                    <a:gd name="T1" fmla="*/ 269 h 269"/>
                    <a:gd name="T2" fmla="*/ 99 w 179"/>
                    <a:gd name="T3" fmla="*/ 0 h 269"/>
                    <a:gd name="T4" fmla="*/ 0 w 179"/>
                    <a:gd name="T5" fmla="*/ 18 h 269"/>
                    <a:gd name="T6" fmla="*/ 160 w 179"/>
                    <a:gd name="T7" fmla="*/ 266 h 269"/>
                    <a:gd name="T8" fmla="*/ 179 w 179"/>
                    <a:gd name="T9" fmla="*/ 269 h 269"/>
                  </a:gdLst>
                  <a:ahLst/>
                  <a:cxnLst>
                    <a:cxn ang="0">
                      <a:pos x="T0" y="T1"/>
                    </a:cxn>
                    <a:cxn ang="0">
                      <a:pos x="T2" y="T3"/>
                    </a:cxn>
                    <a:cxn ang="0">
                      <a:pos x="T4" y="T5"/>
                    </a:cxn>
                    <a:cxn ang="0">
                      <a:pos x="T6" y="T7"/>
                    </a:cxn>
                    <a:cxn ang="0">
                      <a:pos x="T8" y="T9"/>
                    </a:cxn>
                  </a:cxnLst>
                  <a:rect l="0" t="0" r="r" b="b"/>
                  <a:pathLst>
                    <a:path w="179" h="269">
                      <a:moveTo>
                        <a:pt x="179" y="269"/>
                      </a:moveTo>
                      <a:lnTo>
                        <a:pt x="99" y="0"/>
                      </a:lnTo>
                      <a:lnTo>
                        <a:pt x="0" y="18"/>
                      </a:lnTo>
                      <a:lnTo>
                        <a:pt x="160" y="266"/>
                      </a:lnTo>
                      <a:lnTo>
                        <a:pt x="179" y="2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55" name="Freeform 17">
                  <a:extLst>
                    <a:ext uri="{FF2B5EF4-FFF2-40B4-BE49-F238E27FC236}">
                      <a16:creationId xmlns:a16="http://schemas.microsoft.com/office/drawing/2014/main" id="{2715FFC4-E7F8-4E3A-8E4D-FD116ED8E6C1}"/>
                    </a:ext>
                  </a:extLst>
                </p:cNvPr>
                <p:cNvSpPr>
                  <a:spLocks/>
                </p:cNvSpPr>
                <p:nvPr/>
              </p:nvSpPr>
              <p:spPr bwMode="auto">
                <a:xfrm>
                  <a:off x="-338138" y="4930245"/>
                  <a:ext cx="74613" cy="247650"/>
                </a:xfrm>
                <a:custGeom>
                  <a:avLst/>
                  <a:gdLst>
                    <a:gd name="T0" fmla="*/ 43 w 92"/>
                    <a:gd name="T1" fmla="*/ 11 h 313"/>
                    <a:gd name="T2" fmla="*/ 0 w 92"/>
                    <a:gd name="T3" fmla="*/ 313 h 313"/>
                    <a:gd name="T4" fmla="*/ 92 w 92"/>
                    <a:gd name="T5" fmla="*/ 309 h 313"/>
                    <a:gd name="T6" fmla="*/ 60 w 92"/>
                    <a:gd name="T7" fmla="*/ 0 h 313"/>
                    <a:gd name="T8" fmla="*/ 43 w 92"/>
                    <a:gd name="T9" fmla="*/ 11 h 313"/>
                  </a:gdLst>
                  <a:ahLst/>
                  <a:cxnLst>
                    <a:cxn ang="0">
                      <a:pos x="T0" y="T1"/>
                    </a:cxn>
                    <a:cxn ang="0">
                      <a:pos x="T2" y="T3"/>
                    </a:cxn>
                    <a:cxn ang="0">
                      <a:pos x="T4" y="T5"/>
                    </a:cxn>
                    <a:cxn ang="0">
                      <a:pos x="T6" y="T7"/>
                    </a:cxn>
                    <a:cxn ang="0">
                      <a:pos x="T8" y="T9"/>
                    </a:cxn>
                  </a:cxnLst>
                  <a:rect l="0" t="0" r="r" b="b"/>
                  <a:pathLst>
                    <a:path w="92" h="313">
                      <a:moveTo>
                        <a:pt x="43" y="11"/>
                      </a:moveTo>
                      <a:lnTo>
                        <a:pt x="0" y="313"/>
                      </a:lnTo>
                      <a:lnTo>
                        <a:pt x="92" y="309"/>
                      </a:lnTo>
                      <a:lnTo>
                        <a:pt x="60" y="0"/>
                      </a:lnTo>
                      <a:lnTo>
                        <a:pt x="43"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231" name="Group 1230">
                <a:extLst>
                  <a:ext uri="{FF2B5EF4-FFF2-40B4-BE49-F238E27FC236}">
                    <a16:creationId xmlns:a16="http://schemas.microsoft.com/office/drawing/2014/main" id="{8D56EB7E-1D8E-48D4-9CD8-EEEF2FE7D38B}"/>
                  </a:ext>
                </a:extLst>
              </p:cNvPr>
              <p:cNvGrpSpPr/>
              <p:nvPr/>
            </p:nvGrpSpPr>
            <p:grpSpPr>
              <a:xfrm>
                <a:off x="-820815" y="4930932"/>
                <a:ext cx="866775" cy="752475"/>
                <a:chOff x="-757238" y="4447645"/>
                <a:chExt cx="866775" cy="752475"/>
              </a:xfrm>
            </p:grpSpPr>
            <p:sp>
              <p:nvSpPr>
                <p:cNvPr id="1232" name="Freeform 6">
                  <a:extLst>
                    <a:ext uri="{FF2B5EF4-FFF2-40B4-BE49-F238E27FC236}">
                      <a16:creationId xmlns:a16="http://schemas.microsoft.com/office/drawing/2014/main" id="{0F58B02F-0CDC-4C00-8B09-89627FDEF3C2}"/>
                    </a:ext>
                  </a:extLst>
                </p:cNvPr>
                <p:cNvSpPr>
                  <a:spLocks/>
                </p:cNvSpPr>
                <p:nvPr/>
              </p:nvSpPr>
              <p:spPr bwMode="auto">
                <a:xfrm>
                  <a:off x="-757238" y="4447645"/>
                  <a:ext cx="866775" cy="752475"/>
                </a:xfrm>
                <a:custGeom>
                  <a:avLst/>
                  <a:gdLst>
                    <a:gd name="T0" fmla="*/ 708 w 1092"/>
                    <a:gd name="T1" fmla="*/ 921 h 948"/>
                    <a:gd name="T2" fmla="*/ 809 w 1092"/>
                    <a:gd name="T3" fmla="*/ 879 h 948"/>
                    <a:gd name="T4" fmla="*/ 896 w 1092"/>
                    <a:gd name="T5" fmla="*/ 824 h 948"/>
                    <a:gd name="T6" fmla="*/ 970 w 1092"/>
                    <a:gd name="T7" fmla="*/ 757 h 948"/>
                    <a:gd name="T8" fmla="*/ 1028 w 1092"/>
                    <a:gd name="T9" fmla="*/ 679 h 948"/>
                    <a:gd name="T10" fmla="*/ 1068 w 1092"/>
                    <a:gd name="T11" fmla="*/ 593 h 948"/>
                    <a:gd name="T12" fmla="*/ 1089 w 1092"/>
                    <a:gd name="T13" fmla="*/ 502 h 948"/>
                    <a:gd name="T14" fmla="*/ 1089 w 1092"/>
                    <a:gd name="T15" fmla="*/ 408 h 948"/>
                    <a:gd name="T16" fmla="*/ 1067 w 1092"/>
                    <a:gd name="T17" fmla="*/ 314 h 948"/>
                    <a:gd name="T18" fmla="*/ 1024 w 1092"/>
                    <a:gd name="T19" fmla="*/ 229 h 948"/>
                    <a:gd name="T20" fmla="*/ 963 w 1092"/>
                    <a:gd name="T21" fmla="*/ 155 h 948"/>
                    <a:gd name="T22" fmla="*/ 888 w 1092"/>
                    <a:gd name="T23" fmla="*/ 94 h 948"/>
                    <a:gd name="T24" fmla="*/ 801 w 1092"/>
                    <a:gd name="T25" fmla="*/ 47 h 948"/>
                    <a:gd name="T26" fmla="*/ 704 w 1092"/>
                    <a:gd name="T27" fmla="*/ 16 h 948"/>
                    <a:gd name="T28" fmla="*/ 600 w 1092"/>
                    <a:gd name="T29" fmla="*/ 1 h 948"/>
                    <a:gd name="T30" fmla="*/ 491 w 1092"/>
                    <a:gd name="T31" fmla="*/ 4 h 948"/>
                    <a:gd name="T32" fmla="*/ 381 w 1092"/>
                    <a:gd name="T33" fmla="*/ 27 h 948"/>
                    <a:gd name="T34" fmla="*/ 282 w 1092"/>
                    <a:gd name="T35" fmla="*/ 68 h 948"/>
                    <a:gd name="T36" fmla="*/ 195 w 1092"/>
                    <a:gd name="T37" fmla="*/ 123 h 948"/>
                    <a:gd name="T38" fmla="*/ 121 w 1092"/>
                    <a:gd name="T39" fmla="*/ 190 h 948"/>
                    <a:gd name="T40" fmla="*/ 63 w 1092"/>
                    <a:gd name="T41" fmla="*/ 268 h 948"/>
                    <a:gd name="T42" fmla="*/ 24 w 1092"/>
                    <a:gd name="T43" fmla="*/ 354 h 948"/>
                    <a:gd name="T44" fmla="*/ 2 w 1092"/>
                    <a:gd name="T45" fmla="*/ 445 h 948"/>
                    <a:gd name="T46" fmla="*/ 4 w 1092"/>
                    <a:gd name="T47" fmla="*/ 539 h 948"/>
                    <a:gd name="T48" fmla="*/ 25 w 1092"/>
                    <a:gd name="T49" fmla="*/ 632 h 948"/>
                    <a:gd name="T50" fmla="*/ 68 w 1092"/>
                    <a:gd name="T51" fmla="*/ 719 h 948"/>
                    <a:gd name="T52" fmla="*/ 128 w 1092"/>
                    <a:gd name="T53" fmla="*/ 793 h 948"/>
                    <a:gd name="T54" fmla="*/ 203 w 1092"/>
                    <a:gd name="T55" fmla="*/ 854 h 948"/>
                    <a:gd name="T56" fmla="*/ 290 w 1092"/>
                    <a:gd name="T57" fmla="*/ 901 h 948"/>
                    <a:gd name="T58" fmla="*/ 387 w 1092"/>
                    <a:gd name="T59" fmla="*/ 932 h 948"/>
                    <a:gd name="T60" fmla="*/ 491 w 1092"/>
                    <a:gd name="T61" fmla="*/ 947 h 948"/>
                    <a:gd name="T62" fmla="*/ 599 w 1092"/>
                    <a:gd name="T63" fmla="*/ 944 h 9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92" h="948">
                      <a:moveTo>
                        <a:pt x="654" y="934"/>
                      </a:moveTo>
                      <a:lnTo>
                        <a:pt x="708" y="921"/>
                      </a:lnTo>
                      <a:lnTo>
                        <a:pt x="760" y="902"/>
                      </a:lnTo>
                      <a:lnTo>
                        <a:pt x="809" y="879"/>
                      </a:lnTo>
                      <a:lnTo>
                        <a:pt x="855" y="854"/>
                      </a:lnTo>
                      <a:lnTo>
                        <a:pt x="896" y="824"/>
                      </a:lnTo>
                      <a:lnTo>
                        <a:pt x="935" y="792"/>
                      </a:lnTo>
                      <a:lnTo>
                        <a:pt x="970" y="757"/>
                      </a:lnTo>
                      <a:lnTo>
                        <a:pt x="1001" y="719"/>
                      </a:lnTo>
                      <a:lnTo>
                        <a:pt x="1028" y="679"/>
                      </a:lnTo>
                      <a:lnTo>
                        <a:pt x="1051" y="637"/>
                      </a:lnTo>
                      <a:lnTo>
                        <a:pt x="1068" y="593"/>
                      </a:lnTo>
                      <a:lnTo>
                        <a:pt x="1081" y="548"/>
                      </a:lnTo>
                      <a:lnTo>
                        <a:pt x="1089" y="502"/>
                      </a:lnTo>
                      <a:lnTo>
                        <a:pt x="1092" y="455"/>
                      </a:lnTo>
                      <a:lnTo>
                        <a:pt x="1089" y="408"/>
                      </a:lnTo>
                      <a:lnTo>
                        <a:pt x="1081" y="360"/>
                      </a:lnTo>
                      <a:lnTo>
                        <a:pt x="1067" y="314"/>
                      </a:lnTo>
                      <a:lnTo>
                        <a:pt x="1047" y="271"/>
                      </a:lnTo>
                      <a:lnTo>
                        <a:pt x="1024" y="229"/>
                      </a:lnTo>
                      <a:lnTo>
                        <a:pt x="995" y="191"/>
                      </a:lnTo>
                      <a:lnTo>
                        <a:pt x="963" y="155"/>
                      </a:lnTo>
                      <a:lnTo>
                        <a:pt x="927" y="123"/>
                      </a:lnTo>
                      <a:lnTo>
                        <a:pt x="888" y="94"/>
                      </a:lnTo>
                      <a:lnTo>
                        <a:pt x="847" y="69"/>
                      </a:lnTo>
                      <a:lnTo>
                        <a:pt x="801" y="47"/>
                      </a:lnTo>
                      <a:lnTo>
                        <a:pt x="753" y="29"/>
                      </a:lnTo>
                      <a:lnTo>
                        <a:pt x="704" y="16"/>
                      </a:lnTo>
                      <a:lnTo>
                        <a:pt x="652" y="6"/>
                      </a:lnTo>
                      <a:lnTo>
                        <a:pt x="600" y="1"/>
                      </a:lnTo>
                      <a:lnTo>
                        <a:pt x="546" y="0"/>
                      </a:lnTo>
                      <a:lnTo>
                        <a:pt x="491" y="4"/>
                      </a:lnTo>
                      <a:lnTo>
                        <a:pt x="435" y="14"/>
                      </a:lnTo>
                      <a:lnTo>
                        <a:pt x="381" y="27"/>
                      </a:lnTo>
                      <a:lnTo>
                        <a:pt x="331" y="46"/>
                      </a:lnTo>
                      <a:lnTo>
                        <a:pt x="282" y="68"/>
                      </a:lnTo>
                      <a:lnTo>
                        <a:pt x="236" y="93"/>
                      </a:lnTo>
                      <a:lnTo>
                        <a:pt x="195" y="123"/>
                      </a:lnTo>
                      <a:lnTo>
                        <a:pt x="157" y="155"/>
                      </a:lnTo>
                      <a:lnTo>
                        <a:pt x="121" y="190"/>
                      </a:lnTo>
                      <a:lnTo>
                        <a:pt x="91" y="228"/>
                      </a:lnTo>
                      <a:lnTo>
                        <a:pt x="63" y="268"/>
                      </a:lnTo>
                      <a:lnTo>
                        <a:pt x="42" y="310"/>
                      </a:lnTo>
                      <a:lnTo>
                        <a:pt x="24" y="354"/>
                      </a:lnTo>
                      <a:lnTo>
                        <a:pt x="10" y="399"/>
                      </a:lnTo>
                      <a:lnTo>
                        <a:pt x="2" y="445"/>
                      </a:lnTo>
                      <a:lnTo>
                        <a:pt x="0" y="491"/>
                      </a:lnTo>
                      <a:lnTo>
                        <a:pt x="4" y="539"/>
                      </a:lnTo>
                      <a:lnTo>
                        <a:pt x="12" y="586"/>
                      </a:lnTo>
                      <a:lnTo>
                        <a:pt x="25" y="632"/>
                      </a:lnTo>
                      <a:lnTo>
                        <a:pt x="44" y="677"/>
                      </a:lnTo>
                      <a:lnTo>
                        <a:pt x="68" y="719"/>
                      </a:lnTo>
                      <a:lnTo>
                        <a:pt x="96" y="757"/>
                      </a:lnTo>
                      <a:lnTo>
                        <a:pt x="128" y="793"/>
                      </a:lnTo>
                      <a:lnTo>
                        <a:pt x="164" y="825"/>
                      </a:lnTo>
                      <a:lnTo>
                        <a:pt x="203" y="854"/>
                      </a:lnTo>
                      <a:lnTo>
                        <a:pt x="245" y="879"/>
                      </a:lnTo>
                      <a:lnTo>
                        <a:pt x="290" y="901"/>
                      </a:lnTo>
                      <a:lnTo>
                        <a:pt x="338" y="918"/>
                      </a:lnTo>
                      <a:lnTo>
                        <a:pt x="387" y="932"/>
                      </a:lnTo>
                      <a:lnTo>
                        <a:pt x="438" y="942"/>
                      </a:lnTo>
                      <a:lnTo>
                        <a:pt x="491" y="947"/>
                      </a:lnTo>
                      <a:lnTo>
                        <a:pt x="545" y="948"/>
                      </a:lnTo>
                      <a:lnTo>
                        <a:pt x="599" y="944"/>
                      </a:lnTo>
                      <a:lnTo>
                        <a:pt x="654" y="9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33" name="Freeform 7">
                  <a:extLst>
                    <a:ext uri="{FF2B5EF4-FFF2-40B4-BE49-F238E27FC236}">
                      <a16:creationId xmlns:a16="http://schemas.microsoft.com/office/drawing/2014/main" id="{E4AEA1C8-3276-404C-A824-8CF9A84BF0E3}"/>
                    </a:ext>
                  </a:extLst>
                </p:cNvPr>
                <p:cNvSpPr>
                  <a:spLocks/>
                </p:cNvSpPr>
                <p:nvPr/>
              </p:nvSpPr>
              <p:spPr bwMode="auto">
                <a:xfrm>
                  <a:off x="-714376" y="4485745"/>
                  <a:ext cx="777875" cy="674687"/>
                </a:xfrm>
                <a:custGeom>
                  <a:avLst/>
                  <a:gdLst>
                    <a:gd name="T0" fmla="*/ 637 w 981"/>
                    <a:gd name="T1" fmla="*/ 826 h 851"/>
                    <a:gd name="T2" fmla="*/ 727 w 981"/>
                    <a:gd name="T3" fmla="*/ 791 h 851"/>
                    <a:gd name="T4" fmla="*/ 806 w 981"/>
                    <a:gd name="T5" fmla="*/ 740 h 851"/>
                    <a:gd name="T6" fmla="*/ 871 w 981"/>
                    <a:gd name="T7" fmla="*/ 680 h 851"/>
                    <a:gd name="T8" fmla="*/ 923 w 981"/>
                    <a:gd name="T9" fmla="*/ 610 h 851"/>
                    <a:gd name="T10" fmla="*/ 959 w 981"/>
                    <a:gd name="T11" fmla="*/ 534 h 851"/>
                    <a:gd name="T12" fmla="*/ 978 w 981"/>
                    <a:gd name="T13" fmla="*/ 452 h 851"/>
                    <a:gd name="T14" fmla="*/ 978 w 981"/>
                    <a:gd name="T15" fmla="*/ 367 h 851"/>
                    <a:gd name="T16" fmla="*/ 958 w 981"/>
                    <a:gd name="T17" fmla="*/ 283 h 851"/>
                    <a:gd name="T18" fmla="*/ 920 w 981"/>
                    <a:gd name="T19" fmla="*/ 205 h 851"/>
                    <a:gd name="T20" fmla="*/ 865 w 981"/>
                    <a:gd name="T21" fmla="*/ 140 h 851"/>
                    <a:gd name="T22" fmla="*/ 799 w 981"/>
                    <a:gd name="T23" fmla="*/ 84 h 851"/>
                    <a:gd name="T24" fmla="*/ 720 w 981"/>
                    <a:gd name="T25" fmla="*/ 43 h 851"/>
                    <a:gd name="T26" fmla="*/ 633 w 981"/>
                    <a:gd name="T27" fmla="*/ 14 h 851"/>
                    <a:gd name="T28" fmla="*/ 539 w 981"/>
                    <a:gd name="T29" fmla="*/ 1 h 851"/>
                    <a:gd name="T30" fmla="*/ 442 w 981"/>
                    <a:gd name="T31" fmla="*/ 5 h 851"/>
                    <a:gd name="T32" fmla="*/ 344 w 981"/>
                    <a:gd name="T33" fmla="*/ 26 h 851"/>
                    <a:gd name="T34" fmla="*/ 254 w 981"/>
                    <a:gd name="T35" fmla="*/ 61 h 851"/>
                    <a:gd name="T36" fmla="*/ 175 w 981"/>
                    <a:gd name="T37" fmla="*/ 111 h 851"/>
                    <a:gd name="T38" fmla="*/ 110 w 981"/>
                    <a:gd name="T39" fmla="*/ 172 h 851"/>
                    <a:gd name="T40" fmla="*/ 58 w 981"/>
                    <a:gd name="T41" fmla="*/ 241 h 851"/>
                    <a:gd name="T42" fmla="*/ 22 w 981"/>
                    <a:gd name="T43" fmla="*/ 318 h 851"/>
                    <a:gd name="T44" fmla="*/ 3 w 981"/>
                    <a:gd name="T45" fmla="*/ 400 h 851"/>
                    <a:gd name="T46" fmla="*/ 3 w 981"/>
                    <a:gd name="T47" fmla="*/ 484 h 851"/>
                    <a:gd name="T48" fmla="*/ 23 w 981"/>
                    <a:gd name="T49" fmla="*/ 568 h 851"/>
                    <a:gd name="T50" fmla="*/ 61 w 981"/>
                    <a:gd name="T51" fmla="*/ 646 h 851"/>
                    <a:gd name="T52" fmla="*/ 116 w 981"/>
                    <a:gd name="T53" fmla="*/ 711 h 851"/>
                    <a:gd name="T54" fmla="*/ 182 w 981"/>
                    <a:gd name="T55" fmla="*/ 767 h 851"/>
                    <a:gd name="T56" fmla="*/ 261 w 981"/>
                    <a:gd name="T57" fmla="*/ 809 h 851"/>
                    <a:gd name="T58" fmla="*/ 348 w 981"/>
                    <a:gd name="T59" fmla="*/ 837 h 851"/>
                    <a:gd name="T60" fmla="*/ 442 w 981"/>
                    <a:gd name="T61" fmla="*/ 851 h 851"/>
                    <a:gd name="T62" fmla="*/ 539 w 981"/>
                    <a:gd name="T63" fmla="*/ 847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81" h="851">
                      <a:moveTo>
                        <a:pt x="589" y="839"/>
                      </a:moveTo>
                      <a:lnTo>
                        <a:pt x="637" y="826"/>
                      </a:lnTo>
                      <a:lnTo>
                        <a:pt x="683" y="810"/>
                      </a:lnTo>
                      <a:lnTo>
                        <a:pt x="727" y="791"/>
                      </a:lnTo>
                      <a:lnTo>
                        <a:pt x="768" y="767"/>
                      </a:lnTo>
                      <a:lnTo>
                        <a:pt x="806" y="740"/>
                      </a:lnTo>
                      <a:lnTo>
                        <a:pt x="840" y="711"/>
                      </a:lnTo>
                      <a:lnTo>
                        <a:pt x="871" y="680"/>
                      </a:lnTo>
                      <a:lnTo>
                        <a:pt x="899" y="646"/>
                      </a:lnTo>
                      <a:lnTo>
                        <a:pt x="923" y="610"/>
                      </a:lnTo>
                      <a:lnTo>
                        <a:pt x="944" y="573"/>
                      </a:lnTo>
                      <a:lnTo>
                        <a:pt x="959" y="534"/>
                      </a:lnTo>
                      <a:lnTo>
                        <a:pt x="970" y="492"/>
                      </a:lnTo>
                      <a:lnTo>
                        <a:pt x="978" y="452"/>
                      </a:lnTo>
                      <a:lnTo>
                        <a:pt x="981" y="409"/>
                      </a:lnTo>
                      <a:lnTo>
                        <a:pt x="978" y="367"/>
                      </a:lnTo>
                      <a:lnTo>
                        <a:pt x="970" y="324"/>
                      </a:lnTo>
                      <a:lnTo>
                        <a:pt x="958" y="283"/>
                      </a:lnTo>
                      <a:lnTo>
                        <a:pt x="940" y="243"/>
                      </a:lnTo>
                      <a:lnTo>
                        <a:pt x="920" y="205"/>
                      </a:lnTo>
                      <a:lnTo>
                        <a:pt x="894" y="171"/>
                      </a:lnTo>
                      <a:lnTo>
                        <a:pt x="865" y="140"/>
                      </a:lnTo>
                      <a:lnTo>
                        <a:pt x="833" y="111"/>
                      </a:lnTo>
                      <a:lnTo>
                        <a:pt x="799" y="84"/>
                      </a:lnTo>
                      <a:lnTo>
                        <a:pt x="761" y="61"/>
                      </a:lnTo>
                      <a:lnTo>
                        <a:pt x="720" y="43"/>
                      </a:lnTo>
                      <a:lnTo>
                        <a:pt x="678" y="27"/>
                      </a:lnTo>
                      <a:lnTo>
                        <a:pt x="633" y="14"/>
                      </a:lnTo>
                      <a:lnTo>
                        <a:pt x="587" y="6"/>
                      </a:lnTo>
                      <a:lnTo>
                        <a:pt x="539" y="1"/>
                      </a:lnTo>
                      <a:lnTo>
                        <a:pt x="491" y="0"/>
                      </a:lnTo>
                      <a:lnTo>
                        <a:pt x="442" y="5"/>
                      </a:lnTo>
                      <a:lnTo>
                        <a:pt x="392" y="13"/>
                      </a:lnTo>
                      <a:lnTo>
                        <a:pt x="344" y="26"/>
                      </a:lnTo>
                      <a:lnTo>
                        <a:pt x="298" y="42"/>
                      </a:lnTo>
                      <a:lnTo>
                        <a:pt x="254" y="61"/>
                      </a:lnTo>
                      <a:lnTo>
                        <a:pt x="213" y="85"/>
                      </a:lnTo>
                      <a:lnTo>
                        <a:pt x="175" y="111"/>
                      </a:lnTo>
                      <a:lnTo>
                        <a:pt x="141" y="140"/>
                      </a:lnTo>
                      <a:lnTo>
                        <a:pt x="110" y="172"/>
                      </a:lnTo>
                      <a:lnTo>
                        <a:pt x="82" y="205"/>
                      </a:lnTo>
                      <a:lnTo>
                        <a:pt x="58" y="241"/>
                      </a:lnTo>
                      <a:lnTo>
                        <a:pt x="38" y="279"/>
                      </a:lnTo>
                      <a:lnTo>
                        <a:pt x="22" y="318"/>
                      </a:lnTo>
                      <a:lnTo>
                        <a:pt x="11" y="359"/>
                      </a:lnTo>
                      <a:lnTo>
                        <a:pt x="3" y="400"/>
                      </a:lnTo>
                      <a:lnTo>
                        <a:pt x="0" y="442"/>
                      </a:lnTo>
                      <a:lnTo>
                        <a:pt x="3" y="484"/>
                      </a:lnTo>
                      <a:lnTo>
                        <a:pt x="11" y="527"/>
                      </a:lnTo>
                      <a:lnTo>
                        <a:pt x="23" y="568"/>
                      </a:lnTo>
                      <a:lnTo>
                        <a:pt x="41" y="608"/>
                      </a:lnTo>
                      <a:lnTo>
                        <a:pt x="61" y="646"/>
                      </a:lnTo>
                      <a:lnTo>
                        <a:pt x="87" y="680"/>
                      </a:lnTo>
                      <a:lnTo>
                        <a:pt x="116" y="711"/>
                      </a:lnTo>
                      <a:lnTo>
                        <a:pt x="148" y="740"/>
                      </a:lnTo>
                      <a:lnTo>
                        <a:pt x="182" y="767"/>
                      </a:lnTo>
                      <a:lnTo>
                        <a:pt x="220" y="790"/>
                      </a:lnTo>
                      <a:lnTo>
                        <a:pt x="261" y="809"/>
                      </a:lnTo>
                      <a:lnTo>
                        <a:pt x="303" y="825"/>
                      </a:lnTo>
                      <a:lnTo>
                        <a:pt x="348" y="837"/>
                      </a:lnTo>
                      <a:lnTo>
                        <a:pt x="394" y="846"/>
                      </a:lnTo>
                      <a:lnTo>
                        <a:pt x="442" y="851"/>
                      </a:lnTo>
                      <a:lnTo>
                        <a:pt x="490" y="851"/>
                      </a:lnTo>
                      <a:lnTo>
                        <a:pt x="539" y="847"/>
                      </a:lnTo>
                      <a:lnTo>
                        <a:pt x="589" y="839"/>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34" name="Freeform 8">
                  <a:extLst>
                    <a:ext uri="{FF2B5EF4-FFF2-40B4-BE49-F238E27FC236}">
                      <a16:creationId xmlns:a16="http://schemas.microsoft.com/office/drawing/2014/main" id="{64F5BADE-00A3-4B5B-A2F8-879C9A0EBF86}"/>
                    </a:ext>
                  </a:extLst>
                </p:cNvPr>
                <p:cNvSpPr>
                  <a:spLocks/>
                </p:cNvSpPr>
                <p:nvPr/>
              </p:nvSpPr>
              <p:spPr bwMode="auto">
                <a:xfrm>
                  <a:off x="-477838" y="4674657"/>
                  <a:ext cx="312738" cy="269875"/>
                </a:xfrm>
                <a:custGeom>
                  <a:avLst/>
                  <a:gdLst>
                    <a:gd name="T0" fmla="*/ 236 w 393"/>
                    <a:gd name="T1" fmla="*/ 334 h 339"/>
                    <a:gd name="T2" fmla="*/ 274 w 393"/>
                    <a:gd name="T3" fmla="*/ 322 h 339"/>
                    <a:gd name="T4" fmla="*/ 307 w 393"/>
                    <a:gd name="T5" fmla="*/ 305 h 339"/>
                    <a:gd name="T6" fmla="*/ 337 w 393"/>
                    <a:gd name="T7" fmla="*/ 282 h 339"/>
                    <a:gd name="T8" fmla="*/ 360 w 393"/>
                    <a:gd name="T9" fmla="*/ 257 h 339"/>
                    <a:gd name="T10" fmla="*/ 379 w 393"/>
                    <a:gd name="T11" fmla="*/ 227 h 339"/>
                    <a:gd name="T12" fmla="*/ 389 w 393"/>
                    <a:gd name="T13" fmla="*/ 194 h 339"/>
                    <a:gd name="T14" fmla="*/ 393 w 393"/>
                    <a:gd name="T15" fmla="*/ 162 h 339"/>
                    <a:gd name="T16" fmla="*/ 389 w 393"/>
                    <a:gd name="T17" fmla="*/ 128 h 339"/>
                    <a:gd name="T18" fmla="*/ 384 w 393"/>
                    <a:gd name="T19" fmla="*/ 112 h 339"/>
                    <a:gd name="T20" fmla="*/ 377 w 393"/>
                    <a:gd name="T21" fmla="*/ 95 h 339"/>
                    <a:gd name="T22" fmla="*/ 368 w 393"/>
                    <a:gd name="T23" fmla="*/ 80 h 339"/>
                    <a:gd name="T24" fmla="*/ 359 w 393"/>
                    <a:gd name="T25" fmla="*/ 68 h 339"/>
                    <a:gd name="T26" fmla="*/ 346 w 393"/>
                    <a:gd name="T27" fmla="*/ 55 h 339"/>
                    <a:gd name="T28" fmla="*/ 334 w 393"/>
                    <a:gd name="T29" fmla="*/ 44 h 339"/>
                    <a:gd name="T30" fmla="*/ 320 w 393"/>
                    <a:gd name="T31" fmla="*/ 33 h 339"/>
                    <a:gd name="T32" fmla="*/ 305 w 393"/>
                    <a:gd name="T33" fmla="*/ 24 h 339"/>
                    <a:gd name="T34" fmla="*/ 289 w 393"/>
                    <a:gd name="T35" fmla="*/ 16 h 339"/>
                    <a:gd name="T36" fmla="*/ 271 w 393"/>
                    <a:gd name="T37" fmla="*/ 9 h 339"/>
                    <a:gd name="T38" fmla="*/ 254 w 393"/>
                    <a:gd name="T39" fmla="*/ 4 h 339"/>
                    <a:gd name="T40" fmla="*/ 236 w 393"/>
                    <a:gd name="T41" fmla="*/ 1 h 339"/>
                    <a:gd name="T42" fmla="*/ 216 w 393"/>
                    <a:gd name="T43" fmla="*/ 0 h 339"/>
                    <a:gd name="T44" fmla="*/ 197 w 393"/>
                    <a:gd name="T45" fmla="*/ 0 h 339"/>
                    <a:gd name="T46" fmla="*/ 177 w 393"/>
                    <a:gd name="T47" fmla="*/ 1 h 339"/>
                    <a:gd name="T48" fmla="*/ 157 w 393"/>
                    <a:gd name="T49" fmla="*/ 4 h 339"/>
                    <a:gd name="T50" fmla="*/ 119 w 393"/>
                    <a:gd name="T51" fmla="*/ 16 h 339"/>
                    <a:gd name="T52" fmla="*/ 86 w 393"/>
                    <a:gd name="T53" fmla="*/ 33 h 339"/>
                    <a:gd name="T54" fmla="*/ 56 w 393"/>
                    <a:gd name="T55" fmla="*/ 55 h 339"/>
                    <a:gd name="T56" fmla="*/ 33 w 393"/>
                    <a:gd name="T57" fmla="*/ 80 h 339"/>
                    <a:gd name="T58" fmla="*/ 15 w 393"/>
                    <a:gd name="T59" fmla="*/ 110 h 339"/>
                    <a:gd name="T60" fmla="*/ 4 w 393"/>
                    <a:gd name="T61" fmla="*/ 141 h 339"/>
                    <a:gd name="T62" fmla="*/ 0 w 393"/>
                    <a:gd name="T63" fmla="*/ 175 h 339"/>
                    <a:gd name="T64" fmla="*/ 4 w 393"/>
                    <a:gd name="T65" fmla="*/ 209 h 339"/>
                    <a:gd name="T66" fmla="*/ 9 w 393"/>
                    <a:gd name="T67" fmla="*/ 226 h 339"/>
                    <a:gd name="T68" fmla="*/ 16 w 393"/>
                    <a:gd name="T69" fmla="*/ 242 h 339"/>
                    <a:gd name="T70" fmla="*/ 25 w 393"/>
                    <a:gd name="T71" fmla="*/ 257 h 339"/>
                    <a:gd name="T72" fmla="*/ 34 w 393"/>
                    <a:gd name="T73" fmla="*/ 271 h 339"/>
                    <a:gd name="T74" fmla="*/ 47 w 393"/>
                    <a:gd name="T75" fmla="*/ 283 h 339"/>
                    <a:gd name="T76" fmla="*/ 59 w 393"/>
                    <a:gd name="T77" fmla="*/ 295 h 339"/>
                    <a:gd name="T78" fmla="*/ 73 w 393"/>
                    <a:gd name="T79" fmla="*/ 305 h 339"/>
                    <a:gd name="T80" fmla="*/ 88 w 393"/>
                    <a:gd name="T81" fmla="*/ 314 h 339"/>
                    <a:gd name="T82" fmla="*/ 104 w 393"/>
                    <a:gd name="T83" fmla="*/ 321 h 339"/>
                    <a:gd name="T84" fmla="*/ 122 w 393"/>
                    <a:gd name="T85" fmla="*/ 328 h 339"/>
                    <a:gd name="T86" fmla="*/ 139 w 393"/>
                    <a:gd name="T87" fmla="*/ 333 h 339"/>
                    <a:gd name="T88" fmla="*/ 157 w 393"/>
                    <a:gd name="T89" fmla="*/ 336 h 339"/>
                    <a:gd name="T90" fmla="*/ 177 w 393"/>
                    <a:gd name="T91" fmla="*/ 339 h 339"/>
                    <a:gd name="T92" fmla="*/ 197 w 393"/>
                    <a:gd name="T93" fmla="*/ 339 h 339"/>
                    <a:gd name="T94" fmla="*/ 216 w 393"/>
                    <a:gd name="T95" fmla="*/ 337 h 339"/>
                    <a:gd name="T96" fmla="*/ 236 w 393"/>
                    <a:gd name="T97" fmla="*/ 33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 h="339">
                      <a:moveTo>
                        <a:pt x="236" y="334"/>
                      </a:moveTo>
                      <a:lnTo>
                        <a:pt x="274" y="322"/>
                      </a:lnTo>
                      <a:lnTo>
                        <a:pt x="307" y="305"/>
                      </a:lnTo>
                      <a:lnTo>
                        <a:pt x="337" y="282"/>
                      </a:lnTo>
                      <a:lnTo>
                        <a:pt x="360" y="257"/>
                      </a:lnTo>
                      <a:lnTo>
                        <a:pt x="379" y="227"/>
                      </a:lnTo>
                      <a:lnTo>
                        <a:pt x="389" y="194"/>
                      </a:lnTo>
                      <a:lnTo>
                        <a:pt x="393" y="162"/>
                      </a:lnTo>
                      <a:lnTo>
                        <a:pt x="389" y="128"/>
                      </a:lnTo>
                      <a:lnTo>
                        <a:pt x="384" y="112"/>
                      </a:lnTo>
                      <a:lnTo>
                        <a:pt x="377" y="95"/>
                      </a:lnTo>
                      <a:lnTo>
                        <a:pt x="368" y="80"/>
                      </a:lnTo>
                      <a:lnTo>
                        <a:pt x="359" y="68"/>
                      </a:lnTo>
                      <a:lnTo>
                        <a:pt x="346" y="55"/>
                      </a:lnTo>
                      <a:lnTo>
                        <a:pt x="334" y="44"/>
                      </a:lnTo>
                      <a:lnTo>
                        <a:pt x="320" y="33"/>
                      </a:lnTo>
                      <a:lnTo>
                        <a:pt x="305" y="24"/>
                      </a:lnTo>
                      <a:lnTo>
                        <a:pt x="289" y="16"/>
                      </a:lnTo>
                      <a:lnTo>
                        <a:pt x="271" y="9"/>
                      </a:lnTo>
                      <a:lnTo>
                        <a:pt x="254" y="4"/>
                      </a:lnTo>
                      <a:lnTo>
                        <a:pt x="236" y="1"/>
                      </a:lnTo>
                      <a:lnTo>
                        <a:pt x="216" y="0"/>
                      </a:lnTo>
                      <a:lnTo>
                        <a:pt x="197" y="0"/>
                      </a:lnTo>
                      <a:lnTo>
                        <a:pt x="177" y="1"/>
                      </a:lnTo>
                      <a:lnTo>
                        <a:pt x="157" y="4"/>
                      </a:lnTo>
                      <a:lnTo>
                        <a:pt x="119" y="16"/>
                      </a:lnTo>
                      <a:lnTo>
                        <a:pt x="86" y="33"/>
                      </a:lnTo>
                      <a:lnTo>
                        <a:pt x="56" y="55"/>
                      </a:lnTo>
                      <a:lnTo>
                        <a:pt x="33" y="80"/>
                      </a:lnTo>
                      <a:lnTo>
                        <a:pt x="15" y="110"/>
                      </a:lnTo>
                      <a:lnTo>
                        <a:pt x="4" y="141"/>
                      </a:lnTo>
                      <a:lnTo>
                        <a:pt x="0" y="175"/>
                      </a:lnTo>
                      <a:lnTo>
                        <a:pt x="4" y="209"/>
                      </a:lnTo>
                      <a:lnTo>
                        <a:pt x="9" y="226"/>
                      </a:lnTo>
                      <a:lnTo>
                        <a:pt x="16" y="242"/>
                      </a:lnTo>
                      <a:lnTo>
                        <a:pt x="25" y="257"/>
                      </a:lnTo>
                      <a:lnTo>
                        <a:pt x="34" y="271"/>
                      </a:lnTo>
                      <a:lnTo>
                        <a:pt x="47" y="283"/>
                      </a:lnTo>
                      <a:lnTo>
                        <a:pt x="59" y="295"/>
                      </a:lnTo>
                      <a:lnTo>
                        <a:pt x="73" y="305"/>
                      </a:lnTo>
                      <a:lnTo>
                        <a:pt x="88" y="314"/>
                      </a:lnTo>
                      <a:lnTo>
                        <a:pt x="104" y="321"/>
                      </a:lnTo>
                      <a:lnTo>
                        <a:pt x="122" y="328"/>
                      </a:lnTo>
                      <a:lnTo>
                        <a:pt x="139" y="333"/>
                      </a:lnTo>
                      <a:lnTo>
                        <a:pt x="157" y="336"/>
                      </a:lnTo>
                      <a:lnTo>
                        <a:pt x="177" y="339"/>
                      </a:lnTo>
                      <a:lnTo>
                        <a:pt x="197" y="339"/>
                      </a:lnTo>
                      <a:lnTo>
                        <a:pt x="216" y="337"/>
                      </a:lnTo>
                      <a:lnTo>
                        <a:pt x="236" y="33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35" name="Freeform 9">
                  <a:extLst>
                    <a:ext uri="{FF2B5EF4-FFF2-40B4-BE49-F238E27FC236}">
                      <a16:creationId xmlns:a16="http://schemas.microsoft.com/office/drawing/2014/main" id="{907BD9D9-0F6E-4B9B-A201-003A235D4205}"/>
                    </a:ext>
                  </a:extLst>
                </p:cNvPr>
                <p:cNvSpPr>
                  <a:spLocks/>
                </p:cNvSpPr>
                <p:nvPr/>
              </p:nvSpPr>
              <p:spPr bwMode="auto">
                <a:xfrm>
                  <a:off x="-444500" y="4703232"/>
                  <a:ext cx="247650" cy="212725"/>
                </a:xfrm>
                <a:custGeom>
                  <a:avLst/>
                  <a:gdLst>
                    <a:gd name="T0" fmla="*/ 187 w 312"/>
                    <a:gd name="T1" fmla="*/ 265 h 269"/>
                    <a:gd name="T2" fmla="*/ 217 w 312"/>
                    <a:gd name="T3" fmla="*/ 256 h 269"/>
                    <a:gd name="T4" fmla="*/ 243 w 312"/>
                    <a:gd name="T5" fmla="*/ 242 h 269"/>
                    <a:gd name="T6" fmla="*/ 267 w 312"/>
                    <a:gd name="T7" fmla="*/ 225 h 269"/>
                    <a:gd name="T8" fmla="*/ 286 w 312"/>
                    <a:gd name="T9" fmla="*/ 204 h 269"/>
                    <a:gd name="T10" fmla="*/ 299 w 312"/>
                    <a:gd name="T11" fmla="*/ 181 h 269"/>
                    <a:gd name="T12" fmla="*/ 309 w 312"/>
                    <a:gd name="T13" fmla="*/ 156 h 269"/>
                    <a:gd name="T14" fmla="*/ 312 w 312"/>
                    <a:gd name="T15" fmla="*/ 129 h 269"/>
                    <a:gd name="T16" fmla="*/ 309 w 312"/>
                    <a:gd name="T17" fmla="*/ 102 h 269"/>
                    <a:gd name="T18" fmla="*/ 305 w 312"/>
                    <a:gd name="T19" fmla="*/ 88 h 269"/>
                    <a:gd name="T20" fmla="*/ 299 w 312"/>
                    <a:gd name="T21" fmla="*/ 76 h 269"/>
                    <a:gd name="T22" fmla="*/ 293 w 312"/>
                    <a:gd name="T23" fmla="*/ 64 h 269"/>
                    <a:gd name="T24" fmla="*/ 285 w 312"/>
                    <a:gd name="T25" fmla="*/ 53 h 269"/>
                    <a:gd name="T26" fmla="*/ 275 w 312"/>
                    <a:gd name="T27" fmla="*/ 43 h 269"/>
                    <a:gd name="T28" fmla="*/ 265 w 312"/>
                    <a:gd name="T29" fmla="*/ 34 h 269"/>
                    <a:gd name="T30" fmla="*/ 253 w 312"/>
                    <a:gd name="T31" fmla="*/ 26 h 269"/>
                    <a:gd name="T32" fmla="*/ 242 w 312"/>
                    <a:gd name="T33" fmla="*/ 19 h 269"/>
                    <a:gd name="T34" fmla="*/ 229 w 312"/>
                    <a:gd name="T35" fmla="*/ 13 h 269"/>
                    <a:gd name="T36" fmla="*/ 215 w 312"/>
                    <a:gd name="T37" fmla="*/ 8 h 269"/>
                    <a:gd name="T38" fmla="*/ 200 w 312"/>
                    <a:gd name="T39" fmla="*/ 4 h 269"/>
                    <a:gd name="T40" fmla="*/ 187 w 312"/>
                    <a:gd name="T41" fmla="*/ 1 h 269"/>
                    <a:gd name="T42" fmla="*/ 172 w 312"/>
                    <a:gd name="T43" fmla="*/ 0 h 269"/>
                    <a:gd name="T44" fmla="*/ 156 w 312"/>
                    <a:gd name="T45" fmla="*/ 0 h 269"/>
                    <a:gd name="T46" fmla="*/ 141 w 312"/>
                    <a:gd name="T47" fmla="*/ 1 h 269"/>
                    <a:gd name="T48" fmla="*/ 124 w 312"/>
                    <a:gd name="T49" fmla="*/ 4 h 269"/>
                    <a:gd name="T50" fmla="*/ 94 w 312"/>
                    <a:gd name="T51" fmla="*/ 13 h 269"/>
                    <a:gd name="T52" fmla="*/ 68 w 312"/>
                    <a:gd name="T53" fmla="*/ 26 h 269"/>
                    <a:gd name="T54" fmla="*/ 45 w 312"/>
                    <a:gd name="T55" fmla="*/ 44 h 269"/>
                    <a:gd name="T56" fmla="*/ 27 w 312"/>
                    <a:gd name="T57" fmla="*/ 64 h 269"/>
                    <a:gd name="T58" fmla="*/ 12 w 312"/>
                    <a:gd name="T59" fmla="*/ 88 h 269"/>
                    <a:gd name="T60" fmla="*/ 3 w 312"/>
                    <a:gd name="T61" fmla="*/ 112 h 269"/>
                    <a:gd name="T62" fmla="*/ 0 w 312"/>
                    <a:gd name="T63" fmla="*/ 139 h 269"/>
                    <a:gd name="T64" fmla="*/ 3 w 312"/>
                    <a:gd name="T65" fmla="*/ 166 h 269"/>
                    <a:gd name="T66" fmla="*/ 13 w 312"/>
                    <a:gd name="T67" fmla="*/ 192 h 269"/>
                    <a:gd name="T68" fmla="*/ 28 w 312"/>
                    <a:gd name="T69" fmla="*/ 215 h 269"/>
                    <a:gd name="T70" fmla="*/ 47 w 312"/>
                    <a:gd name="T71" fmla="*/ 234 h 269"/>
                    <a:gd name="T72" fmla="*/ 70 w 312"/>
                    <a:gd name="T73" fmla="*/ 250 h 269"/>
                    <a:gd name="T74" fmla="*/ 97 w 312"/>
                    <a:gd name="T75" fmla="*/ 261 h 269"/>
                    <a:gd name="T76" fmla="*/ 124 w 312"/>
                    <a:gd name="T77" fmla="*/ 268 h 269"/>
                    <a:gd name="T78" fmla="*/ 156 w 312"/>
                    <a:gd name="T79" fmla="*/ 269 h 269"/>
                    <a:gd name="T80" fmla="*/ 187 w 312"/>
                    <a:gd name="T81" fmla="*/ 265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2" h="269">
                      <a:moveTo>
                        <a:pt x="187" y="265"/>
                      </a:moveTo>
                      <a:lnTo>
                        <a:pt x="217" y="256"/>
                      </a:lnTo>
                      <a:lnTo>
                        <a:pt x="243" y="242"/>
                      </a:lnTo>
                      <a:lnTo>
                        <a:pt x="267" y="225"/>
                      </a:lnTo>
                      <a:lnTo>
                        <a:pt x="286" y="204"/>
                      </a:lnTo>
                      <a:lnTo>
                        <a:pt x="299" y="181"/>
                      </a:lnTo>
                      <a:lnTo>
                        <a:pt x="309" y="156"/>
                      </a:lnTo>
                      <a:lnTo>
                        <a:pt x="312" y="129"/>
                      </a:lnTo>
                      <a:lnTo>
                        <a:pt x="309" y="102"/>
                      </a:lnTo>
                      <a:lnTo>
                        <a:pt x="305" y="88"/>
                      </a:lnTo>
                      <a:lnTo>
                        <a:pt x="299" y="76"/>
                      </a:lnTo>
                      <a:lnTo>
                        <a:pt x="293" y="64"/>
                      </a:lnTo>
                      <a:lnTo>
                        <a:pt x="285" y="53"/>
                      </a:lnTo>
                      <a:lnTo>
                        <a:pt x="275" y="43"/>
                      </a:lnTo>
                      <a:lnTo>
                        <a:pt x="265" y="34"/>
                      </a:lnTo>
                      <a:lnTo>
                        <a:pt x="253" y="26"/>
                      </a:lnTo>
                      <a:lnTo>
                        <a:pt x="242" y="19"/>
                      </a:lnTo>
                      <a:lnTo>
                        <a:pt x="229" y="13"/>
                      </a:lnTo>
                      <a:lnTo>
                        <a:pt x="215" y="8"/>
                      </a:lnTo>
                      <a:lnTo>
                        <a:pt x="200" y="4"/>
                      </a:lnTo>
                      <a:lnTo>
                        <a:pt x="187" y="1"/>
                      </a:lnTo>
                      <a:lnTo>
                        <a:pt x="172" y="0"/>
                      </a:lnTo>
                      <a:lnTo>
                        <a:pt x="156" y="0"/>
                      </a:lnTo>
                      <a:lnTo>
                        <a:pt x="141" y="1"/>
                      </a:lnTo>
                      <a:lnTo>
                        <a:pt x="124" y="4"/>
                      </a:lnTo>
                      <a:lnTo>
                        <a:pt x="94" y="13"/>
                      </a:lnTo>
                      <a:lnTo>
                        <a:pt x="68" y="26"/>
                      </a:lnTo>
                      <a:lnTo>
                        <a:pt x="45" y="44"/>
                      </a:lnTo>
                      <a:lnTo>
                        <a:pt x="27" y="64"/>
                      </a:lnTo>
                      <a:lnTo>
                        <a:pt x="12" y="88"/>
                      </a:lnTo>
                      <a:lnTo>
                        <a:pt x="3" y="112"/>
                      </a:lnTo>
                      <a:lnTo>
                        <a:pt x="0" y="139"/>
                      </a:lnTo>
                      <a:lnTo>
                        <a:pt x="3" y="166"/>
                      </a:lnTo>
                      <a:lnTo>
                        <a:pt x="13" y="192"/>
                      </a:lnTo>
                      <a:lnTo>
                        <a:pt x="28" y="215"/>
                      </a:lnTo>
                      <a:lnTo>
                        <a:pt x="47" y="234"/>
                      </a:lnTo>
                      <a:lnTo>
                        <a:pt x="70" y="250"/>
                      </a:lnTo>
                      <a:lnTo>
                        <a:pt x="97" y="261"/>
                      </a:lnTo>
                      <a:lnTo>
                        <a:pt x="124" y="268"/>
                      </a:lnTo>
                      <a:lnTo>
                        <a:pt x="156" y="269"/>
                      </a:lnTo>
                      <a:lnTo>
                        <a:pt x="187" y="265"/>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36" name="Freeform 10">
                  <a:extLst>
                    <a:ext uri="{FF2B5EF4-FFF2-40B4-BE49-F238E27FC236}">
                      <a16:creationId xmlns:a16="http://schemas.microsoft.com/office/drawing/2014/main" id="{56FEEA1C-0F83-461A-B042-11ED651B257E}"/>
                    </a:ext>
                  </a:extLst>
                </p:cNvPr>
                <p:cNvSpPr>
                  <a:spLocks/>
                </p:cNvSpPr>
                <p:nvPr/>
              </p:nvSpPr>
              <p:spPr bwMode="auto">
                <a:xfrm>
                  <a:off x="-376238" y="4761970"/>
                  <a:ext cx="109538" cy="95250"/>
                </a:xfrm>
                <a:custGeom>
                  <a:avLst/>
                  <a:gdLst>
                    <a:gd name="T0" fmla="*/ 83 w 139"/>
                    <a:gd name="T1" fmla="*/ 119 h 121"/>
                    <a:gd name="T2" fmla="*/ 97 w 139"/>
                    <a:gd name="T3" fmla="*/ 114 h 121"/>
                    <a:gd name="T4" fmla="*/ 109 w 139"/>
                    <a:gd name="T5" fmla="*/ 108 h 121"/>
                    <a:gd name="T6" fmla="*/ 119 w 139"/>
                    <a:gd name="T7" fmla="*/ 100 h 121"/>
                    <a:gd name="T8" fmla="*/ 128 w 139"/>
                    <a:gd name="T9" fmla="*/ 91 h 121"/>
                    <a:gd name="T10" fmla="*/ 134 w 139"/>
                    <a:gd name="T11" fmla="*/ 81 h 121"/>
                    <a:gd name="T12" fmla="*/ 137 w 139"/>
                    <a:gd name="T13" fmla="*/ 70 h 121"/>
                    <a:gd name="T14" fmla="*/ 139 w 139"/>
                    <a:gd name="T15" fmla="*/ 58 h 121"/>
                    <a:gd name="T16" fmla="*/ 137 w 139"/>
                    <a:gd name="T17" fmla="*/ 46 h 121"/>
                    <a:gd name="T18" fmla="*/ 133 w 139"/>
                    <a:gd name="T19" fmla="*/ 35 h 121"/>
                    <a:gd name="T20" fmla="*/ 127 w 139"/>
                    <a:gd name="T21" fmla="*/ 24 h 121"/>
                    <a:gd name="T22" fmla="*/ 118 w 139"/>
                    <a:gd name="T23" fmla="*/ 16 h 121"/>
                    <a:gd name="T24" fmla="*/ 108 w 139"/>
                    <a:gd name="T25" fmla="*/ 9 h 121"/>
                    <a:gd name="T26" fmla="*/ 96 w 139"/>
                    <a:gd name="T27" fmla="*/ 4 h 121"/>
                    <a:gd name="T28" fmla="*/ 83 w 139"/>
                    <a:gd name="T29" fmla="*/ 1 h 121"/>
                    <a:gd name="T30" fmla="*/ 70 w 139"/>
                    <a:gd name="T31" fmla="*/ 0 h 121"/>
                    <a:gd name="T32" fmla="*/ 56 w 139"/>
                    <a:gd name="T33" fmla="*/ 1 h 121"/>
                    <a:gd name="T34" fmla="*/ 42 w 139"/>
                    <a:gd name="T35" fmla="*/ 6 h 121"/>
                    <a:gd name="T36" fmla="*/ 30 w 139"/>
                    <a:gd name="T37" fmla="*/ 12 h 121"/>
                    <a:gd name="T38" fmla="*/ 20 w 139"/>
                    <a:gd name="T39" fmla="*/ 20 h 121"/>
                    <a:gd name="T40" fmla="*/ 12 w 139"/>
                    <a:gd name="T41" fmla="*/ 29 h 121"/>
                    <a:gd name="T42" fmla="*/ 5 w 139"/>
                    <a:gd name="T43" fmla="*/ 39 h 121"/>
                    <a:gd name="T44" fmla="*/ 2 w 139"/>
                    <a:gd name="T45" fmla="*/ 51 h 121"/>
                    <a:gd name="T46" fmla="*/ 0 w 139"/>
                    <a:gd name="T47" fmla="*/ 62 h 121"/>
                    <a:gd name="T48" fmla="*/ 2 w 139"/>
                    <a:gd name="T49" fmla="*/ 75 h 121"/>
                    <a:gd name="T50" fmla="*/ 6 w 139"/>
                    <a:gd name="T51" fmla="*/ 86 h 121"/>
                    <a:gd name="T52" fmla="*/ 13 w 139"/>
                    <a:gd name="T53" fmla="*/ 97 h 121"/>
                    <a:gd name="T54" fmla="*/ 21 w 139"/>
                    <a:gd name="T55" fmla="*/ 105 h 121"/>
                    <a:gd name="T56" fmla="*/ 32 w 139"/>
                    <a:gd name="T57" fmla="*/ 112 h 121"/>
                    <a:gd name="T58" fmla="*/ 43 w 139"/>
                    <a:gd name="T59" fmla="*/ 116 h 121"/>
                    <a:gd name="T60" fmla="*/ 56 w 139"/>
                    <a:gd name="T61" fmla="*/ 120 h 121"/>
                    <a:gd name="T62" fmla="*/ 70 w 139"/>
                    <a:gd name="T63" fmla="*/ 121 h 121"/>
                    <a:gd name="T64" fmla="*/ 83 w 139"/>
                    <a:gd name="T65" fmla="*/ 119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 h="121">
                      <a:moveTo>
                        <a:pt x="83" y="119"/>
                      </a:moveTo>
                      <a:lnTo>
                        <a:pt x="97" y="114"/>
                      </a:lnTo>
                      <a:lnTo>
                        <a:pt x="109" y="108"/>
                      </a:lnTo>
                      <a:lnTo>
                        <a:pt x="119" y="100"/>
                      </a:lnTo>
                      <a:lnTo>
                        <a:pt x="128" y="91"/>
                      </a:lnTo>
                      <a:lnTo>
                        <a:pt x="134" y="81"/>
                      </a:lnTo>
                      <a:lnTo>
                        <a:pt x="137" y="70"/>
                      </a:lnTo>
                      <a:lnTo>
                        <a:pt x="139" y="58"/>
                      </a:lnTo>
                      <a:lnTo>
                        <a:pt x="137" y="46"/>
                      </a:lnTo>
                      <a:lnTo>
                        <a:pt x="133" y="35"/>
                      </a:lnTo>
                      <a:lnTo>
                        <a:pt x="127" y="24"/>
                      </a:lnTo>
                      <a:lnTo>
                        <a:pt x="118" y="16"/>
                      </a:lnTo>
                      <a:lnTo>
                        <a:pt x="108" y="9"/>
                      </a:lnTo>
                      <a:lnTo>
                        <a:pt x="96" y="4"/>
                      </a:lnTo>
                      <a:lnTo>
                        <a:pt x="83" y="1"/>
                      </a:lnTo>
                      <a:lnTo>
                        <a:pt x="70" y="0"/>
                      </a:lnTo>
                      <a:lnTo>
                        <a:pt x="56" y="1"/>
                      </a:lnTo>
                      <a:lnTo>
                        <a:pt x="42" y="6"/>
                      </a:lnTo>
                      <a:lnTo>
                        <a:pt x="30" y="12"/>
                      </a:lnTo>
                      <a:lnTo>
                        <a:pt x="20" y="20"/>
                      </a:lnTo>
                      <a:lnTo>
                        <a:pt x="12" y="29"/>
                      </a:lnTo>
                      <a:lnTo>
                        <a:pt x="5" y="39"/>
                      </a:lnTo>
                      <a:lnTo>
                        <a:pt x="2" y="51"/>
                      </a:lnTo>
                      <a:lnTo>
                        <a:pt x="0" y="62"/>
                      </a:lnTo>
                      <a:lnTo>
                        <a:pt x="2" y="75"/>
                      </a:lnTo>
                      <a:lnTo>
                        <a:pt x="6" y="86"/>
                      </a:lnTo>
                      <a:lnTo>
                        <a:pt x="13" y="97"/>
                      </a:lnTo>
                      <a:lnTo>
                        <a:pt x="21" y="105"/>
                      </a:lnTo>
                      <a:lnTo>
                        <a:pt x="32" y="112"/>
                      </a:lnTo>
                      <a:lnTo>
                        <a:pt x="43" y="116"/>
                      </a:lnTo>
                      <a:lnTo>
                        <a:pt x="56" y="120"/>
                      </a:lnTo>
                      <a:lnTo>
                        <a:pt x="70" y="121"/>
                      </a:lnTo>
                      <a:lnTo>
                        <a:pt x="83" y="1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37" name="Freeform 11">
                  <a:extLst>
                    <a:ext uri="{FF2B5EF4-FFF2-40B4-BE49-F238E27FC236}">
                      <a16:creationId xmlns:a16="http://schemas.microsoft.com/office/drawing/2014/main" id="{3E6C1B08-2475-4238-BC65-5DB605785C79}"/>
                    </a:ext>
                  </a:extLst>
                </p:cNvPr>
                <p:cNvSpPr>
                  <a:spLocks/>
                </p:cNvSpPr>
                <p:nvPr/>
              </p:nvSpPr>
              <p:spPr bwMode="auto">
                <a:xfrm>
                  <a:off x="-347663" y="4785782"/>
                  <a:ext cx="52388" cy="46037"/>
                </a:xfrm>
                <a:custGeom>
                  <a:avLst/>
                  <a:gdLst>
                    <a:gd name="T0" fmla="*/ 39 w 66"/>
                    <a:gd name="T1" fmla="*/ 58 h 59"/>
                    <a:gd name="T2" fmla="*/ 52 w 66"/>
                    <a:gd name="T3" fmla="*/ 53 h 59"/>
                    <a:gd name="T4" fmla="*/ 61 w 66"/>
                    <a:gd name="T5" fmla="*/ 45 h 59"/>
                    <a:gd name="T6" fmla="*/ 66 w 66"/>
                    <a:gd name="T7" fmla="*/ 35 h 59"/>
                    <a:gd name="T8" fmla="*/ 65 w 66"/>
                    <a:gd name="T9" fmla="*/ 23 h 59"/>
                    <a:gd name="T10" fmla="*/ 62 w 66"/>
                    <a:gd name="T11" fmla="*/ 17 h 59"/>
                    <a:gd name="T12" fmla="*/ 60 w 66"/>
                    <a:gd name="T13" fmla="*/ 13 h 59"/>
                    <a:gd name="T14" fmla="*/ 56 w 66"/>
                    <a:gd name="T15" fmla="*/ 8 h 59"/>
                    <a:gd name="T16" fmla="*/ 51 w 66"/>
                    <a:gd name="T17" fmla="*/ 5 h 59"/>
                    <a:gd name="T18" fmla="*/ 45 w 66"/>
                    <a:gd name="T19" fmla="*/ 2 h 59"/>
                    <a:gd name="T20" fmla="*/ 39 w 66"/>
                    <a:gd name="T21" fmla="*/ 1 h 59"/>
                    <a:gd name="T22" fmla="*/ 33 w 66"/>
                    <a:gd name="T23" fmla="*/ 0 h 59"/>
                    <a:gd name="T24" fmla="*/ 26 w 66"/>
                    <a:gd name="T25" fmla="*/ 1 h 59"/>
                    <a:gd name="T26" fmla="*/ 14 w 66"/>
                    <a:gd name="T27" fmla="*/ 7 h 59"/>
                    <a:gd name="T28" fmla="*/ 5 w 66"/>
                    <a:gd name="T29" fmla="*/ 15 h 59"/>
                    <a:gd name="T30" fmla="*/ 0 w 66"/>
                    <a:gd name="T31" fmla="*/ 25 h 59"/>
                    <a:gd name="T32" fmla="*/ 0 w 66"/>
                    <a:gd name="T33" fmla="*/ 37 h 59"/>
                    <a:gd name="T34" fmla="*/ 3 w 66"/>
                    <a:gd name="T35" fmla="*/ 43 h 59"/>
                    <a:gd name="T36" fmla="*/ 5 w 66"/>
                    <a:gd name="T37" fmla="*/ 47 h 59"/>
                    <a:gd name="T38" fmla="*/ 9 w 66"/>
                    <a:gd name="T39" fmla="*/ 51 h 59"/>
                    <a:gd name="T40" fmla="*/ 14 w 66"/>
                    <a:gd name="T41" fmla="*/ 54 h 59"/>
                    <a:gd name="T42" fmla="*/ 20 w 66"/>
                    <a:gd name="T43" fmla="*/ 56 h 59"/>
                    <a:gd name="T44" fmla="*/ 26 w 66"/>
                    <a:gd name="T45" fmla="*/ 58 h 59"/>
                    <a:gd name="T46" fmla="*/ 33 w 66"/>
                    <a:gd name="T47" fmla="*/ 59 h 59"/>
                    <a:gd name="T48" fmla="*/ 39 w 66"/>
                    <a:gd name="T49"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59">
                      <a:moveTo>
                        <a:pt x="39" y="58"/>
                      </a:moveTo>
                      <a:lnTo>
                        <a:pt x="52" y="53"/>
                      </a:lnTo>
                      <a:lnTo>
                        <a:pt x="61" y="45"/>
                      </a:lnTo>
                      <a:lnTo>
                        <a:pt x="66" y="35"/>
                      </a:lnTo>
                      <a:lnTo>
                        <a:pt x="65" y="23"/>
                      </a:lnTo>
                      <a:lnTo>
                        <a:pt x="62" y="17"/>
                      </a:lnTo>
                      <a:lnTo>
                        <a:pt x="60" y="13"/>
                      </a:lnTo>
                      <a:lnTo>
                        <a:pt x="56" y="8"/>
                      </a:lnTo>
                      <a:lnTo>
                        <a:pt x="51" y="5"/>
                      </a:lnTo>
                      <a:lnTo>
                        <a:pt x="45" y="2"/>
                      </a:lnTo>
                      <a:lnTo>
                        <a:pt x="39" y="1"/>
                      </a:lnTo>
                      <a:lnTo>
                        <a:pt x="33" y="0"/>
                      </a:lnTo>
                      <a:lnTo>
                        <a:pt x="26" y="1"/>
                      </a:lnTo>
                      <a:lnTo>
                        <a:pt x="14" y="7"/>
                      </a:lnTo>
                      <a:lnTo>
                        <a:pt x="5" y="15"/>
                      </a:lnTo>
                      <a:lnTo>
                        <a:pt x="0" y="25"/>
                      </a:lnTo>
                      <a:lnTo>
                        <a:pt x="0" y="37"/>
                      </a:lnTo>
                      <a:lnTo>
                        <a:pt x="3" y="43"/>
                      </a:lnTo>
                      <a:lnTo>
                        <a:pt x="5" y="47"/>
                      </a:lnTo>
                      <a:lnTo>
                        <a:pt x="9" y="51"/>
                      </a:lnTo>
                      <a:lnTo>
                        <a:pt x="14" y="54"/>
                      </a:lnTo>
                      <a:lnTo>
                        <a:pt x="20" y="56"/>
                      </a:lnTo>
                      <a:lnTo>
                        <a:pt x="26" y="58"/>
                      </a:lnTo>
                      <a:lnTo>
                        <a:pt x="33" y="59"/>
                      </a:lnTo>
                      <a:lnTo>
                        <a:pt x="39" y="5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38" name="Freeform 12">
                  <a:extLst>
                    <a:ext uri="{FF2B5EF4-FFF2-40B4-BE49-F238E27FC236}">
                      <a16:creationId xmlns:a16="http://schemas.microsoft.com/office/drawing/2014/main" id="{6D48C533-D345-48E2-8090-29A58B5AA83E}"/>
                    </a:ext>
                  </a:extLst>
                </p:cNvPr>
                <p:cNvSpPr>
                  <a:spLocks/>
                </p:cNvSpPr>
                <p:nvPr/>
              </p:nvSpPr>
              <p:spPr bwMode="auto">
                <a:xfrm>
                  <a:off x="-727076" y="4836582"/>
                  <a:ext cx="263525" cy="144462"/>
                </a:xfrm>
                <a:custGeom>
                  <a:avLst/>
                  <a:gdLst>
                    <a:gd name="T0" fmla="*/ 317 w 332"/>
                    <a:gd name="T1" fmla="*/ 0 h 181"/>
                    <a:gd name="T2" fmla="*/ 0 w 332"/>
                    <a:gd name="T3" fmla="*/ 68 h 181"/>
                    <a:gd name="T4" fmla="*/ 37 w 332"/>
                    <a:gd name="T5" fmla="*/ 181 h 181"/>
                    <a:gd name="T6" fmla="*/ 332 w 332"/>
                    <a:gd name="T7" fmla="*/ 52 h 181"/>
                    <a:gd name="T8" fmla="*/ 317 w 332"/>
                    <a:gd name="T9" fmla="*/ 0 h 181"/>
                  </a:gdLst>
                  <a:ahLst/>
                  <a:cxnLst>
                    <a:cxn ang="0">
                      <a:pos x="T0" y="T1"/>
                    </a:cxn>
                    <a:cxn ang="0">
                      <a:pos x="T2" y="T3"/>
                    </a:cxn>
                    <a:cxn ang="0">
                      <a:pos x="T4" y="T5"/>
                    </a:cxn>
                    <a:cxn ang="0">
                      <a:pos x="T6" y="T7"/>
                    </a:cxn>
                    <a:cxn ang="0">
                      <a:pos x="T8" y="T9"/>
                    </a:cxn>
                  </a:cxnLst>
                  <a:rect l="0" t="0" r="r" b="b"/>
                  <a:pathLst>
                    <a:path w="332" h="181">
                      <a:moveTo>
                        <a:pt x="317" y="0"/>
                      </a:moveTo>
                      <a:lnTo>
                        <a:pt x="0" y="68"/>
                      </a:lnTo>
                      <a:lnTo>
                        <a:pt x="37" y="181"/>
                      </a:lnTo>
                      <a:lnTo>
                        <a:pt x="332" y="52"/>
                      </a:lnTo>
                      <a:lnTo>
                        <a:pt x="3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39" name="Freeform 13">
                  <a:extLst>
                    <a:ext uri="{FF2B5EF4-FFF2-40B4-BE49-F238E27FC236}">
                      <a16:creationId xmlns:a16="http://schemas.microsoft.com/office/drawing/2014/main" id="{1FA26086-0E09-4B87-B59D-0F25F319CE2B}"/>
                    </a:ext>
                  </a:extLst>
                </p:cNvPr>
                <p:cNvSpPr>
                  <a:spLocks/>
                </p:cNvSpPr>
                <p:nvPr/>
              </p:nvSpPr>
              <p:spPr bwMode="auto">
                <a:xfrm>
                  <a:off x="-657226" y="4895320"/>
                  <a:ext cx="230188" cy="182562"/>
                </a:xfrm>
                <a:custGeom>
                  <a:avLst/>
                  <a:gdLst>
                    <a:gd name="T0" fmla="*/ 272 w 289"/>
                    <a:gd name="T1" fmla="*/ 0 h 232"/>
                    <a:gd name="T2" fmla="*/ 0 w 289"/>
                    <a:gd name="T3" fmla="*/ 178 h 232"/>
                    <a:gd name="T4" fmla="*/ 31 w 289"/>
                    <a:gd name="T5" fmla="*/ 232 h 232"/>
                    <a:gd name="T6" fmla="*/ 289 w 289"/>
                    <a:gd name="T7" fmla="*/ 13 h 232"/>
                    <a:gd name="T8" fmla="*/ 272 w 289"/>
                    <a:gd name="T9" fmla="*/ 0 h 232"/>
                  </a:gdLst>
                  <a:ahLst/>
                  <a:cxnLst>
                    <a:cxn ang="0">
                      <a:pos x="T0" y="T1"/>
                    </a:cxn>
                    <a:cxn ang="0">
                      <a:pos x="T2" y="T3"/>
                    </a:cxn>
                    <a:cxn ang="0">
                      <a:pos x="T4" y="T5"/>
                    </a:cxn>
                    <a:cxn ang="0">
                      <a:pos x="T6" y="T7"/>
                    </a:cxn>
                    <a:cxn ang="0">
                      <a:pos x="T8" y="T9"/>
                    </a:cxn>
                  </a:cxnLst>
                  <a:rect l="0" t="0" r="r" b="b"/>
                  <a:pathLst>
                    <a:path w="289" h="232">
                      <a:moveTo>
                        <a:pt x="272" y="0"/>
                      </a:moveTo>
                      <a:lnTo>
                        <a:pt x="0" y="178"/>
                      </a:lnTo>
                      <a:lnTo>
                        <a:pt x="31" y="232"/>
                      </a:lnTo>
                      <a:lnTo>
                        <a:pt x="289" y="13"/>
                      </a:lnTo>
                      <a:lnTo>
                        <a:pt x="27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40" name="Freeform 14">
                  <a:extLst>
                    <a:ext uri="{FF2B5EF4-FFF2-40B4-BE49-F238E27FC236}">
                      <a16:creationId xmlns:a16="http://schemas.microsoft.com/office/drawing/2014/main" id="{DFC2139C-A13D-4760-AD4C-24BA02D0F9A3}"/>
                    </a:ext>
                  </a:extLst>
                </p:cNvPr>
                <p:cNvSpPr>
                  <a:spLocks/>
                </p:cNvSpPr>
                <p:nvPr/>
              </p:nvSpPr>
              <p:spPr bwMode="auto">
                <a:xfrm>
                  <a:off x="-182563" y="4757207"/>
                  <a:ext cx="269875" cy="68262"/>
                </a:xfrm>
                <a:custGeom>
                  <a:avLst/>
                  <a:gdLst>
                    <a:gd name="T0" fmla="*/ 0 w 338"/>
                    <a:gd name="T1" fmla="*/ 20 h 88"/>
                    <a:gd name="T2" fmla="*/ 329 w 338"/>
                    <a:gd name="T3" fmla="*/ 0 h 88"/>
                    <a:gd name="T4" fmla="*/ 338 w 338"/>
                    <a:gd name="T5" fmla="*/ 88 h 88"/>
                    <a:gd name="T6" fmla="*/ 7 w 338"/>
                    <a:gd name="T7" fmla="*/ 50 h 88"/>
                    <a:gd name="T8" fmla="*/ 0 w 338"/>
                    <a:gd name="T9" fmla="*/ 20 h 88"/>
                  </a:gdLst>
                  <a:ahLst/>
                  <a:cxnLst>
                    <a:cxn ang="0">
                      <a:pos x="T0" y="T1"/>
                    </a:cxn>
                    <a:cxn ang="0">
                      <a:pos x="T2" y="T3"/>
                    </a:cxn>
                    <a:cxn ang="0">
                      <a:pos x="T4" y="T5"/>
                    </a:cxn>
                    <a:cxn ang="0">
                      <a:pos x="T6" y="T7"/>
                    </a:cxn>
                    <a:cxn ang="0">
                      <a:pos x="T8" y="T9"/>
                    </a:cxn>
                  </a:cxnLst>
                  <a:rect l="0" t="0" r="r" b="b"/>
                  <a:pathLst>
                    <a:path w="338" h="88">
                      <a:moveTo>
                        <a:pt x="0" y="20"/>
                      </a:moveTo>
                      <a:lnTo>
                        <a:pt x="329" y="0"/>
                      </a:lnTo>
                      <a:lnTo>
                        <a:pt x="338" y="88"/>
                      </a:lnTo>
                      <a:lnTo>
                        <a:pt x="7" y="50"/>
                      </a:lnTo>
                      <a:lnTo>
                        <a:pt x="0"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41" name="Freeform 15">
                  <a:extLst>
                    <a:ext uri="{FF2B5EF4-FFF2-40B4-BE49-F238E27FC236}">
                      <a16:creationId xmlns:a16="http://schemas.microsoft.com/office/drawing/2014/main" id="{AB368251-1ED0-4596-8403-C92E2D1B4897}"/>
                    </a:ext>
                  </a:extLst>
                </p:cNvPr>
                <p:cNvSpPr>
                  <a:spLocks/>
                </p:cNvSpPr>
                <p:nvPr/>
              </p:nvSpPr>
              <p:spPr bwMode="auto">
                <a:xfrm>
                  <a:off x="-204788" y="4677832"/>
                  <a:ext cx="273050" cy="77787"/>
                </a:xfrm>
                <a:custGeom>
                  <a:avLst/>
                  <a:gdLst>
                    <a:gd name="T0" fmla="*/ 11 w 343"/>
                    <a:gd name="T1" fmla="*/ 98 h 98"/>
                    <a:gd name="T2" fmla="*/ 343 w 343"/>
                    <a:gd name="T3" fmla="*/ 51 h 98"/>
                    <a:gd name="T4" fmla="*/ 335 w 343"/>
                    <a:gd name="T5" fmla="*/ 0 h 98"/>
                    <a:gd name="T6" fmla="*/ 0 w 343"/>
                    <a:gd name="T7" fmla="*/ 81 h 98"/>
                    <a:gd name="T8" fmla="*/ 11 w 343"/>
                    <a:gd name="T9" fmla="*/ 98 h 98"/>
                  </a:gdLst>
                  <a:ahLst/>
                  <a:cxnLst>
                    <a:cxn ang="0">
                      <a:pos x="T0" y="T1"/>
                    </a:cxn>
                    <a:cxn ang="0">
                      <a:pos x="T2" y="T3"/>
                    </a:cxn>
                    <a:cxn ang="0">
                      <a:pos x="T4" y="T5"/>
                    </a:cxn>
                    <a:cxn ang="0">
                      <a:pos x="T6" y="T7"/>
                    </a:cxn>
                    <a:cxn ang="0">
                      <a:pos x="T8" y="T9"/>
                    </a:cxn>
                  </a:cxnLst>
                  <a:rect l="0" t="0" r="r" b="b"/>
                  <a:pathLst>
                    <a:path w="343" h="98">
                      <a:moveTo>
                        <a:pt x="11" y="98"/>
                      </a:moveTo>
                      <a:lnTo>
                        <a:pt x="343" y="51"/>
                      </a:lnTo>
                      <a:lnTo>
                        <a:pt x="335" y="0"/>
                      </a:lnTo>
                      <a:lnTo>
                        <a:pt x="0" y="81"/>
                      </a:lnTo>
                      <a:lnTo>
                        <a:pt x="11" y="9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42" name="Freeform 16">
                  <a:extLst>
                    <a:ext uri="{FF2B5EF4-FFF2-40B4-BE49-F238E27FC236}">
                      <a16:creationId xmlns:a16="http://schemas.microsoft.com/office/drawing/2014/main" id="{8BBC57DD-8F04-4F5B-A22E-DFEF4667C41C}"/>
                    </a:ext>
                  </a:extLst>
                </p:cNvPr>
                <p:cNvSpPr>
                  <a:spLocks/>
                </p:cNvSpPr>
                <p:nvPr/>
              </p:nvSpPr>
              <p:spPr bwMode="auto">
                <a:xfrm>
                  <a:off x="-496888" y="4488920"/>
                  <a:ext cx="142875" cy="214312"/>
                </a:xfrm>
                <a:custGeom>
                  <a:avLst/>
                  <a:gdLst>
                    <a:gd name="T0" fmla="*/ 179 w 179"/>
                    <a:gd name="T1" fmla="*/ 269 h 269"/>
                    <a:gd name="T2" fmla="*/ 99 w 179"/>
                    <a:gd name="T3" fmla="*/ 0 h 269"/>
                    <a:gd name="T4" fmla="*/ 0 w 179"/>
                    <a:gd name="T5" fmla="*/ 18 h 269"/>
                    <a:gd name="T6" fmla="*/ 160 w 179"/>
                    <a:gd name="T7" fmla="*/ 266 h 269"/>
                    <a:gd name="T8" fmla="*/ 179 w 179"/>
                    <a:gd name="T9" fmla="*/ 269 h 269"/>
                  </a:gdLst>
                  <a:ahLst/>
                  <a:cxnLst>
                    <a:cxn ang="0">
                      <a:pos x="T0" y="T1"/>
                    </a:cxn>
                    <a:cxn ang="0">
                      <a:pos x="T2" y="T3"/>
                    </a:cxn>
                    <a:cxn ang="0">
                      <a:pos x="T4" y="T5"/>
                    </a:cxn>
                    <a:cxn ang="0">
                      <a:pos x="T6" y="T7"/>
                    </a:cxn>
                    <a:cxn ang="0">
                      <a:pos x="T8" y="T9"/>
                    </a:cxn>
                  </a:cxnLst>
                  <a:rect l="0" t="0" r="r" b="b"/>
                  <a:pathLst>
                    <a:path w="179" h="269">
                      <a:moveTo>
                        <a:pt x="179" y="269"/>
                      </a:moveTo>
                      <a:lnTo>
                        <a:pt x="99" y="0"/>
                      </a:lnTo>
                      <a:lnTo>
                        <a:pt x="0" y="18"/>
                      </a:lnTo>
                      <a:lnTo>
                        <a:pt x="160" y="266"/>
                      </a:lnTo>
                      <a:lnTo>
                        <a:pt x="179" y="2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43" name="Freeform 17">
                  <a:extLst>
                    <a:ext uri="{FF2B5EF4-FFF2-40B4-BE49-F238E27FC236}">
                      <a16:creationId xmlns:a16="http://schemas.microsoft.com/office/drawing/2014/main" id="{DD31AF36-93AF-4364-B805-5EF8BE4C66C3}"/>
                    </a:ext>
                  </a:extLst>
                </p:cNvPr>
                <p:cNvSpPr>
                  <a:spLocks/>
                </p:cNvSpPr>
                <p:nvPr/>
              </p:nvSpPr>
              <p:spPr bwMode="auto">
                <a:xfrm>
                  <a:off x="-338138" y="4930245"/>
                  <a:ext cx="74613" cy="247650"/>
                </a:xfrm>
                <a:custGeom>
                  <a:avLst/>
                  <a:gdLst>
                    <a:gd name="T0" fmla="*/ 43 w 92"/>
                    <a:gd name="T1" fmla="*/ 11 h 313"/>
                    <a:gd name="T2" fmla="*/ 0 w 92"/>
                    <a:gd name="T3" fmla="*/ 313 h 313"/>
                    <a:gd name="T4" fmla="*/ 92 w 92"/>
                    <a:gd name="T5" fmla="*/ 309 h 313"/>
                    <a:gd name="T6" fmla="*/ 60 w 92"/>
                    <a:gd name="T7" fmla="*/ 0 h 313"/>
                    <a:gd name="T8" fmla="*/ 43 w 92"/>
                    <a:gd name="T9" fmla="*/ 11 h 313"/>
                  </a:gdLst>
                  <a:ahLst/>
                  <a:cxnLst>
                    <a:cxn ang="0">
                      <a:pos x="T0" y="T1"/>
                    </a:cxn>
                    <a:cxn ang="0">
                      <a:pos x="T2" y="T3"/>
                    </a:cxn>
                    <a:cxn ang="0">
                      <a:pos x="T4" y="T5"/>
                    </a:cxn>
                    <a:cxn ang="0">
                      <a:pos x="T6" y="T7"/>
                    </a:cxn>
                    <a:cxn ang="0">
                      <a:pos x="T8" y="T9"/>
                    </a:cxn>
                  </a:cxnLst>
                  <a:rect l="0" t="0" r="r" b="b"/>
                  <a:pathLst>
                    <a:path w="92" h="313">
                      <a:moveTo>
                        <a:pt x="43" y="11"/>
                      </a:moveTo>
                      <a:lnTo>
                        <a:pt x="0" y="313"/>
                      </a:lnTo>
                      <a:lnTo>
                        <a:pt x="92" y="309"/>
                      </a:lnTo>
                      <a:lnTo>
                        <a:pt x="60" y="0"/>
                      </a:lnTo>
                      <a:lnTo>
                        <a:pt x="43"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grpSp>
        <p:nvGrpSpPr>
          <p:cNvPr id="1256" name="Group 1255">
            <a:extLst>
              <a:ext uri="{FF2B5EF4-FFF2-40B4-BE49-F238E27FC236}">
                <a16:creationId xmlns:a16="http://schemas.microsoft.com/office/drawing/2014/main" id="{5CE9C030-2334-4BD2-B183-8FE4A205A8EB}"/>
              </a:ext>
            </a:extLst>
          </p:cNvPr>
          <p:cNvGrpSpPr/>
          <p:nvPr/>
        </p:nvGrpSpPr>
        <p:grpSpPr>
          <a:xfrm>
            <a:off x="1747436" y="1619749"/>
            <a:ext cx="612000" cy="612000"/>
            <a:chOff x="592807" y="2258092"/>
            <a:chExt cx="612000" cy="612000"/>
          </a:xfrm>
        </p:grpSpPr>
        <p:grpSp>
          <p:nvGrpSpPr>
            <p:cNvPr id="1257" name="Group 1256">
              <a:extLst>
                <a:ext uri="{FF2B5EF4-FFF2-40B4-BE49-F238E27FC236}">
                  <a16:creationId xmlns:a16="http://schemas.microsoft.com/office/drawing/2014/main" id="{CD185049-6FD7-4027-85DF-D3E4038E27F0}"/>
                </a:ext>
              </a:extLst>
            </p:cNvPr>
            <p:cNvGrpSpPr/>
            <p:nvPr/>
          </p:nvGrpSpPr>
          <p:grpSpPr>
            <a:xfrm>
              <a:off x="592807" y="2258092"/>
              <a:ext cx="612000" cy="612000"/>
              <a:chOff x="9322641" y="5907019"/>
              <a:chExt cx="612000" cy="612000"/>
            </a:xfrm>
          </p:grpSpPr>
          <p:sp>
            <p:nvSpPr>
              <p:cNvPr id="1259" name="Oval 1258">
                <a:extLst>
                  <a:ext uri="{FF2B5EF4-FFF2-40B4-BE49-F238E27FC236}">
                    <a16:creationId xmlns:a16="http://schemas.microsoft.com/office/drawing/2014/main" id="{947486BC-9607-4BDA-B332-FF8E639143E2}"/>
                  </a:ext>
                </a:extLst>
              </p:cNvPr>
              <p:cNvSpPr/>
              <p:nvPr/>
            </p:nvSpPr>
            <p:spPr bwMode="ltGray">
              <a:xfrm>
                <a:off x="9322641" y="5907019"/>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260" name="Freeform 5014">
                <a:extLst>
                  <a:ext uri="{FF2B5EF4-FFF2-40B4-BE49-F238E27FC236}">
                    <a16:creationId xmlns:a16="http://schemas.microsoft.com/office/drawing/2014/main" id="{10CEE348-358F-40CB-9274-D956E7C8E1E1}"/>
                  </a:ext>
                </a:extLst>
              </p:cNvPr>
              <p:cNvSpPr>
                <a:spLocks noEditPoints="1"/>
              </p:cNvSpPr>
              <p:nvPr/>
            </p:nvSpPr>
            <p:spPr bwMode="auto">
              <a:xfrm>
                <a:off x="9411821" y="6045356"/>
                <a:ext cx="433640" cy="334866"/>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sp>
          <p:nvSpPr>
            <p:cNvPr id="1258" name="TextBox 1257">
              <a:extLst>
                <a:ext uri="{FF2B5EF4-FFF2-40B4-BE49-F238E27FC236}">
                  <a16:creationId xmlns:a16="http://schemas.microsoft.com/office/drawing/2014/main" id="{B3FCD803-46B9-41DA-987D-31CA0D34C435}"/>
                </a:ext>
              </a:extLst>
            </p:cNvPr>
            <p:cNvSpPr txBox="1"/>
            <p:nvPr/>
          </p:nvSpPr>
          <p:spPr>
            <a:xfrm>
              <a:off x="830010" y="2422783"/>
              <a:ext cx="192957" cy="161979"/>
            </a:xfrm>
            <a:prstGeom prst="rect">
              <a:avLst/>
            </a:prstGeom>
            <a:noFill/>
          </p:spPr>
          <p:txBody>
            <a:bodyPr wrap="square" lIns="0" tIns="0" rIns="0" bIns="0" rtlCol="0">
              <a:noAutofit/>
            </a:bodyPr>
            <a:lstStyle/>
            <a:p>
              <a:pPr marL="0" marR="0" lvl="0" indent="-274320" defTabSz="457200" eaLnBrk="1" fontAlgn="auto" latinLnBrk="0" hangingPunct="1">
                <a:lnSpc>
                  <a:spcPct val="100000"/>
                </a:lnSpc>
                <a:spcBef>
                  <a:spcPts val="0"/>
                </a:spcBef>
                <a:spcAft>
                  <a:spcPts val="900"/>
                </a:spcAft>
                <a:buClrTx/>
                <a:buSzTx/>
                <a:buFontTx/>
                <a:buNone/>
                <a:tabLst/>
                <a:defRPr/>
              </a:pPr>
              <a:r>
                <a:rPr kumimoji="0" lang="en-GB" sz="1000" b="1" i="0" u="none" strike="noStrike" kern="0" cap="none" spc="0" normalizeH="0" baseline="0" noProof="0">
                  <a:ln>
                    <a:noFill/>
                  </a:ln>
                  <a:solidFill>
                    <a:srgbClr val="505050"/>
                  </a:solidFill>
                  <a:effectLst/>
                  <a:uLnTx/>
                  <a:uFillTx/>
                  <a:latin typeface="Georgia" pitchFamily="18" charset="0"/>
                </a:rPr>
                <a:t>@</a:t>
              </a:r>
            </a:p>
          </p:txBody>
        </p:sp>
      </p:grpSp>
      <p:grpSp>
        <p:nvGrpSpPr>
          <p:cNvPr id="1261" name="Group 1260">
            <a:extLst>
              <a:ext uri="{FF2B5EF4-FFF2-40B4-BE49-F238E27FC236}">
                <a16:creationId xmlns:a16="http://schemas.microsoft.com/office/drawing/2014/main" id="{A1E627F3-18C3-4ED2-A1AA-74CD06AE5FC7}"/>
              </a:ext>
            </a:extLst>
          </p:cNvPr>
          <p:cNvGrpSpPr/>
          <p:nvPr/>
        </p:nvGrpSpPr>
        <p:grpSpPr>
          <a:xfrm>
            <a:off x="1747436" y="3169353"/>
            <a:ext cx="612775" cy="612775"/>
            <a:chOff x="592807" y="3807696"/>
            <a:chExt cx="612775" cy="612775"/>
          </a:xfrm>
        </p:grpSpPr>
        <p:sp>
          <p:nvSpPr>
            <p:cNvPr id="1262" name="Oval 1261">
              <a:extLst>
                <a:ext uri="{FF2B5EF4-FFF2-40B4-BE49-F238E27FC236}">
                  <a16:creationId xmlns:a16="http://schemas.microsoft.com/office/drawing/2014/main" id="{E19FCB27-1150-4D76-BEDC-F57EB3AD30DC}"/>
                </a:ext>
              </a:extLst>
            </p:cNvPr>
            <p:cNvSpPr/>
            <p:nvPr/>
          </p:nvSpPr>
          <p:spPr bwMode="ltGray">
            <a:xfrm>
              <a:off x="592807" y="3807696"/>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263" name="Group 62">
              <a:extLst>
                <a:ext uri="{FF2B5EF4-FFF2-40B4-BE49-F238E27FC236}">
                  <a16:creationId xmlns:a16="http://schemas.microsoft.com/office/drawing/2014/main" id="{A72997C9-8C04-49D7-B714-CEFF9D01E580}"/>
                </a:ext>
              </a:extLst>
            </p:cNvPr>
            <p:cNvGrpSpPr>
              <a:grpSpLocks noChangeAspect="1"/>
            </p:cNvGrpSpPr>
            <p:nvPr/>
          </p:nvGrpSpPr>
          <p:grpSpPr bwMode="auto">
            <a:xfrm>
              <a:off x="726249" y="3881955"/>
              <a:ext cx="356266" cy="475465"/>
              <a:chOff x="3198" y="2311"/>
              <a:chExt cx="534" cy="713"/>
            </a:xfrm>
            <a:solidFill>
              <a:srgbClr val="3C3C3E"/>
            </a:solidFill>
          </p:grpSpPr>
          <p:sp>
            <p:nvSpPr>
              <p:cNvPr id="1264" name="Freeform 63">
                <a:extLst>
                  <a:ext uri="{FF2B5EF4-FFF2-40B4-BE49-F238E27FC236}">
                    <a16:creationId xmlns:a16="http://schemas.microsoft.com/office/drawing/2014/main" id="{934C5922-832B-4DF7-BC89-ABFEF946F7E4}"/>
                  </a:ext>
                </a:extLst>
              </p:cNvPr>
              <p:cNvSpPr>
                <a:spLocks noChangeAspect="1"/>
              </p:cNvSpPr>
              <p:nvPr/>
            </p:nvSpPr>
            <p:spPr bwMode="auto">
              <a:xfrm>
                <a:off x="3198" y="2478"/>
                <a:ext cx="534" cy="546"/>
              </a:xfrm>
              <a:custGeom>
                <a:avLst/>
                <a:gdLst>
                  <a:gd name="T0" fmla="*/ 198 w 1068"/>
                  <a:gd name="T1" fmla="*/ 36 h 1092"/>
                  <a:gd name="T2" fmla="*/ 223 w 1068"/>
                  <a:gd name="T3" fmla="*/ 75 h 1092"/>
                  <a:gd name="T4" fmla="*/ 238 w 1068"/>
                  <a:gd name="T5" fmla="*/ 111 h 1092"/>
                  <a:gd name="T6" fmla="*/ 247 w 1068"/>
                  <a:gd name="T7" fmla="*/ 141 h 1092"/>
                  <a:gd name="T8" fmla="*/ 251 w 1068"/>
                  <a:gd name="T9" fmla="*/ 160 h 1092"/>
                  <a:gd name="T10" fmla="*/ 250 w 1068"/>
                  <a:gd name="T11" fmla="*/ 182 h 1092"/>
                  <a:gd name="T12" fmla="*/ 235 w 1068"/>
                  <a:gd name="T13" fmla="*/ 219 h 1092"/>
                  <a:gd name="T14" fmla="*/ 209 w 1068"/>
                  <a:gd name="T15" fmla="*/ 241 h 1092"/>
                  <a:gd name="T16" fmla="*/ 180 w 1068"/>
                  <a:gd name="T17" fmla="*/ 253 h 1092"/>
                  <a:gd name="T18" fmla="*/ 155 w 1068"/>
                  <a:gd name="T19" fmla="*/ 258 h 1092"/>
                  <a:gd name="T20" fmla="*/ 144 w 1068"/>
                  <a:gd name="T21" fmla="*/ 258 h 1092"/>
                  <a:gd name="T22" fmla="*/ 119 w 1068"/>
                  <a:gd name="T23" fmla="*/ 257 h 1092"/>
                  <a:gd name="T24" fmla="*/ 97 w 1068"/>
                  <a:gd name="T25" fmla="*/ 253 h 1092"/>
                  <a:gd name="T26" fmla="*/ 77 w 1068"/>
                  <a:gd name="T27" fmla="*/ 247 h 1092"/>
                  <a:gd name="T28" fmla="*/ 60 w 1068"/>
                  <a:gd name="T29" fmla="*/ 238 h 1092"/>
                  <a:gd name="T30" fmla="*/ 45 w 1068"/>
                  <a:gd name="T31" fmla="*/ 227 h 1092"/>
                  <a:gd name="T32" fmla="*/ 25 w 1068"/>
                  <a:gd name="T33" fmla="*/ 203 h 1092"/>
                  <a:gd name="T34" fmla="*/ 17 w 1068"/>
                  <a:gd name="T35" fmla="*/ 176 h 1092"/>
                  <a:gd name="T36" fmla="*/ 14 w 1068"/>
                  <a:gd name="T37" fmla="*/ 164 h 1092"/>
                  <a:gd name="T38" fmla="*/ 25 w 1068"/>
                  <a:gd name="T39" fmla="*/ 118 h 1092"/>
                  <a:gd name="T40" fmla="*/ 45 w 1068"/>
                  <a:gd name="T41" fmla="*/ 79 h 1092"/>
                  <a:gd name="T42" fmla="*/ 70 w 1068"/>
                  <a:gd name="T43" fmla="*/ 47 h 1092"/>
                  <a:gd name="T44" fmla="*/ 92 w 1068"/>
                  <a:gd name="T45" fmla="*/ 24 h 1092"/>
                  <a:gd name="T46" fmla="*/ 105 w 1068"/>
                  <a:gd name="T47" fmla="*/ 13 h 1092"/>
                  <a:gd name="T48" fmla="*/ 96 w 1068"/>
                  <a:gd name="T49" fmla="*/ 2 h 1092"/>
                  <a:gd name="T50" fmla="*/ 81 w 1068"/>
                  <a:gd name="T51" fmla="*/ 14 h 1092"/>
                  <a:gd name="T52" fmla="*/ 58 w 1068"/>
                  <a:gd name="T53" fmla="*/ 38 h 1092"/>
                  <a:gd name="T54" fmla="*/ 33 w 1068"/>
                  <a:gd name="T55" fmla="*/ 72 h 1092"/>
                  <a:gd name="T56" fmla="*/ 10 w 1068"/>
                  <a:gd name="T57" fmla="*/ 114 h 1092"/>
                  <a:gd name="T58" fmla="*/ 0 w 1068"/>
                  <a:gd name="T59" fmla="*/ 163 h 1092"/>
                  <a:gd name="T60" fmla="*/ 1 w 1068"/>
                  <a:gd name="T61" fmla="*/ 178 h 1092"/>
                  <a:gd name="T62" fmla="*/ 12 w 1068"/>
                  <a:gd name="T63" fmla="*/ 210 h 1092"/>
                  <a:gd name="T64" fmla="*/ 35 w 1068"/>
                  <a:gd name="T65" fmla="*/ 238 h 1092"/>
                  <a:gd name="T66" fmla="*/ 51 w 1068"/>
                  <a:gd name="T67" fmla="*/ 251 h 1092"/>
                  <a:gd name="T68" fmla="*/ 71 w 1068"/>
                  <a:gd name="T69" fmla="*/ 261 h 1092"/>
                  <a:gd name="T70" fmla="*/ 92 w 1068"/>
                  <a:gd name="T71" fmla="*/ 268 h 1092"/>
                  <a:gd name="T72" fmla="*/ 117 w 1068"/>
                  <a:gd name="T73" fmla="*/ 272 h 1092"/>
                  <a:gd name="T74" fmla="*/ 144 w 1068"/>
                  <a:gd name="T75" fmla="*/ 273 h 1092"/>
                  <a:gd name="T76" fmla="*/ 156 w 1068"/>
                  <a:gd name="T77" fmla="*/ 273 h 1092"/>
                  <a:gd name="T78" fmla="*/ 183 w 1068"/>
                  <a:gd name="T79" fmla="*/ 268 h 1092"/>
                  <a:gd name="T80" fmla="*/ 217 w 1068"/>
                  <a:gd name="T81" fmla="*/ 254 h 1092"/>
                  <a:gd name="T82" fmla="*/ 247 w 1068"/>
                  <a:gd name="T83" fmla="*/ 228 h 1092"/>
                  <a:gd name="T84" fmla="*/ 266 w 1068"/>
                  <a:gd name="T85" fmla="*/ 185 h 1092"/>
                  <a:gd name="T86" fmla="*/ 267 w 1068"/>
                  <a:gd name="T87" fmla="*/ 165 h 1092"/>
                  <a:gd name="T88" fmla="*/ 266 w 1068"/>
                  <a:gd name="T89" fmla="*/ 154 h 1092"/>
                  <a:gd name="T90" fmla="*/ 261 w 1068"/>
                  <a:gd name="T91" fmla="*/ 131 h 1092"/>
                  <a:gd name="T92" fmla="*/ 249 w 1068"/>
                  <a:gd name="T93" fmla="*/ 96 h 1092"/>
                  <a:gd name="T94" fmla="*/ 229 w 1068"/>
                  <a:gd name="T95" fmla="*/ 55 h 1092"/>
                  <a:gd name="T96" fmla="*/ 198 w 1068"/>
                  <a:gd name="T97" fmla="*/ 13 h 10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68"/>
                  <a:gd name="T148" fmla="*/ 0 h 1092"/>
                  <a:gd name="T149" fmla="*/ 1068 w 1068"/>
                  <a:gd name="T150" fmla="*/ 1092 h 10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68" h="1092">
                    <a:moveTo>
                      <a:pt x="701" y="41"/>
                    </a:moveTo>
                    <a:lnTo>
                      <a:pt x="749" y="92"/>
                    </a:lnTo>
                    <a:lnTo>
                      <a:pt x="792" y="144"/>
                    </a:lnTo>
                    <a:lnTo>
                      <a:pt x="830" y="196"/>
                    </a:lnTo>
                    <a:lnTo>
                      <a:pt x="863" y="248"/>
                    </a:lnTo>
                    <a:lnTo>
                      <a:pt x="892" y="300"/>
                    </a:lnTo>
                    <a:lnTo>
                      <a:pt x="916" y="349"/>
                    </a:lnTo>
                    <a:lnTo>
                      <a:pt x="938" y="399"/>
                    </a:lnTo>
                    <a:lnTo>
                      <a:pt x="955" y="445"/>
                    </a:lnTo>
                    <a:lnTo>
                      <a:pt x="969" y="489"/>
                    </a:lnTo>
                    <a:lnTo>
                      <a:pt x="982" y="528"/>
                    </a:lnTo>
                    <a:lnTo>
                      <a:pt x="991" y="565"/>
                    </a:lnTo>
                    <a:lnTo>
                      <a:pt x="997" y="596"/>
                    </a:lnTo>
                    <a:lnTo>
                      <a:pt x="1002" y="622"/>
                    </a:lnTo>
                    <a:lnTo>
                      <a:pt x="1006" y="642"/>
                    </a:lnTo>
                    <a:lnTo>
                      <a:pt x="1007" y="657"/>
                    </a:lnTo>
                    <a:lnTo>
                      <a:pt x="1008" y="664"/>
                    </a:lnTo>
                    <a:lnTo>
                      <a:pt x="1002" y="728"/>
                    </a:lnTo>
                    <a:lnTo>
                      <a:pt x="989" y="786"/>
                    </a:lnTo>
                    <a:lnTo>
                      <a:pt x="968" y="835"/>
                    </a:lnTo>
                    <a:lnTo>
                      <a:pt x="940" y="877"/>
                    </a:lnTo>
                    <a:lnTo>
                      <a:pt x="909" y="913"/>
                    </a:lnTo>
                    <a:lnTo>
                      <a:pt x="873" y="943"/>
                    </a:lnTo>
                    <a:lnTo>
                      <a:pt x="837" y="967"/>
                    </a:lnTo>
                    <a:lnTo>
                      <a:pt x="797" y="986"/>
                    </a:lnTo>
                    <a:lnTo>
                      <a:pt x="758" y="1002"/>
                    </a:lnTo>
                    <a:lnTo>
                      <a:pt x="720" y="1013"/>
                    </a:lnTo>
                    <a:lnTo>
                      <a:pt x="685" y="1021"/>
                    </a:lnTo>
                    <a:lnTo>
                      <a:pt x="652" y="1027"/>
                    </a:lnTo>
                    <a:lnTo>
                      <a:pt x="623" y="1030"/>
                    </a:lnTo>
                    <a:lnTo>
                      <a:pt x="602" y="1031"/>
                    </a:lnTo>
                    <a:lnTo>
                      <a:pt x="587" y="1032"/>
                    </a:lnTo>
                    <a:lnTo>
                      <a:pt x="579" y="1032"/>
                    </a:lnTo>
                    <a:lnTo>
                      <a:pt x="544" y="1032"/>
                    </a:lnTo>
                    <a:lnTo>
                      <a:pt x="512" y="1030"/>
                    </a:lnTo>
                    <a:lnTo>
                      <a:pt x="479" y="1028"/>
                    </a:lnTo>
                    <a:lnTo>
                      <a:pt x="448" y="1024"/>
                    </a:lnTo>
                    <a:lnTo>
                      <a:pt x="418" y="1019"/>
                    </a:lnTo>
                    <a:lnTo>
                      <a:pt x="390" y="1013"/>
                    </a:lnTo>
                    <a:lnTo>
                      <a:pt x="362" y="1006"/>
                    </a:lnTo>
                    <a:lnTo>
                      <a:pt x="335" y="998"/>
                    </a:lnTo>
                    <a:lnTo>
                      <a:pt x="310" y="989"/>
                    </a:lnTo>
                    <a:lnTo>
                      <a:pt x="286" y="978"/>
                    </a:lnTo>
                    <a:lnTo>
                      <a:pt x="263" y="968"/>
                    </a:lnTo>
                    <a:lnTo>
                      <a:pt x="241" y="955"/>
                    </a:lnTo>
                    <a:lnTo>
                      <a:pt x="219" y="941"/>
                    </a:lnTo>
                    <a:lnTo>
                      <a:pt x="200" y="928"/>
                    </a:lnTo>
                    <a:lnTo>
                      <a:pt x="181" y="911"/>
                    </a:lnTo>
                    <a:lnTo>
                      <a:pt x="164" y="895"/>
                    </a:lnTo>
                    <a:lnTo>
                      <a:pt x="129" y="855"/>
                    </a:lnTo>
                    <a:lnTo>
                      <a:pt x="103" y="813"/>
                    </a:lnTo>
                    <a:lnTo>
                      <a:pt x="84" y="774"/>
                    </a:lnTo>
                    <a:lnTo>
                      <a:pt x="72" y="737"/>
                    </a:lnTo>
                    <a:lnTo>
                      <a:pt x="65" y="705"/>
                    </a:lnTo>
                    <a:lnTo>
                      <a:pt x="60" y="680"/>
                    </a:lnTo>
                    <a:lnTo>
                      <a:pt x="59" y="663"/>
                    </a:lnTo>
                    <a:lnTo>
                      <a:pt x="59" y="657"/>
                    </a:lnTo>
                    <a:lnTo>
                      <a:pt x="66" y="595"/>
                    </a:lnTo>
                    <a:lnTo>
                      <a:pt x="80" y="533"/>
                    </a:lnTo>
                    <a:lnTo>
                      <a:pt x="101" y="475"/>
                    </a:lnTo>
                    <a:lnTo>
                      <a:pt x="125" y="419"/>
                    </a:lnTo>
                    <a:lnTo>
                      <a:pt x="152" y="366"/>
                    </a:lnTo>
                    <a:lnTo>
                      <a:pt x="183" y="316"/>
                    </a:lnTo>
                    <a:lnTo>
                      <a:pt x="216" y="270"/>
                    </a:lnTo>
                    <a:lnTo>
                      <a:pt x="249" y="227"/>
                    </a:lnTo>
                    <a:lnTo>
                      <a:pt x="283" y="188"/>
                    </a:lnTo>
                    <a:lnTo>
                      <a:pt x="314" y="154"/>
                    </a:lnTo>
                    <a:lnTo>
                      <a:pt x="344" y="123"/>
                    </a:lnTo>
                    <a:lnTo>
                      <a:pt x="371" y="99"/>
                    </a:lnTo>
                    <a:lnTo>
                      <a:pt x="393" y="78"/>
                    </a:lnTo>
                    <a:lnTo>
                      <a:pt x="412" y="63"/>
                    </a:lnTo>
                    <a:lnTo>
                      <a:pt x="423" y="54"/>
                    </a:lnTo>
                    <a:lnTo>
                      <a:pt x="428" y="51"/>
                    </a:lnTo>
                    <a:lnTo>
                      <a:pt x="391" y="3"/>
                    </a:lnTo>
                    <a:lnTo>
                      <a:pt x="384" y="8"/>
                    </a:lnTo>
                    <a:lnTo>
                      <a:pt x="370" y="20"/>
                    </a:lnTo>
                    <a:lnTo>
                      <a:pt x="350" y="37"/>
                    </a:lnTo>
                    <a:lnTo>
                      <a:pt x="326" y="59"/>
                    </a:lnTo>
                    <a:lnTo>
                      <a:pt x="297" y="85"/>
                    </a:lnTo>
                    <a:lnTo>
                      <a:pt x="266" y="117"/>
                    </a:lnTo>
                    <a:lnTo>
                      <a:pt x="233" y="154"/>
                    </a:lnTo>
                    <a:lnTo>
                      <a:pt x="197" y="196"/>
                    </a:lnTo>
                    <a:lnTo>
                      <a:pt x="163" y="241"/>
                    </a:lnTo>
                    <a:lnTo>
                      <a:pt x="129" y="290"/>
                    </a:lnTo>
                    <a:lnTo>
                      <a:pt x="97" y="343"/>
                    </a:lnTo>
                    <a:lnTo>
                      <a:pt x="68" y="400"/>
                    </a:lnTo>
                    <a:lnTo>
                      <a:pt x="43" y="459"/>
                    </a:lnTo>
                    <a:lnTo>
                      <a:pt x="22" y="522"/>
                    </a:lnTo>
                    <a:lnTo>
                      <a:pt x="8" y="586"/>
                    </a:lnTo>
                    <a:lnTo>
                      <a:pt x="0" y="654"/>
                    </a:lnTo>
                    <a:lnTo>
                      <a:pt x="0" y="664"/>
                    </a:lnTo>
                    <a:lnTo>
                      <a:pt x="1" y="684"/>
                    </a:lnTo>
                    <a:lnTo>
                      <a:pt x="6" y="714"/>
                    </a:lnTo>
                    <a:lnTo>
                      <a:pt x="15" y="752"/>
                    </a:lnTo>
                    <a:lnTo>
                      <a:pt x="29" y="795"/>
                    </a:lnTo>
                    <a:lnTo>
                      <a:pt x="50" y="841"/>
                    </a:lnTo>
                    <a:lnTo>
                      <a:pt x="80" y="890"/>
                    </a:lnTo>
                    <a:lnTo>
                      <a:pt x="120" y="937"/>
                    </a:lnTo>
                    <a:lnTo>
                      <a:pt x="140" y="955"/>
                    </a:lnTo>
                    <a:lnTo>
                      <a:pt x="160" y="974"/>
                    </a:lnTo>
                    <a:lnTo>
                      <a:pt x="183" y="990"/>
                    </a:lnTo>
                    <a:lnTo>
                      <a:pt x="206" y="1005"/>
                    </a:lnTo>
                    <a:lnTo>
                      <a:pt x="231" y="1019"/>
                    </a:lnTo>
                    <a:lnTo>
                      <a:pt x="257" y="1031"/>
                    </a:lnTo>
                    <a:lnTo>
                      <a:pt x="284" y="1043"/>
                    </a:lnTo>
                    <a:lnTo>
                      <a:pt x="311" y="1053"/>
                    </a:lnTo>
                    <a:lnTo>
                      <a:pt x="341" y="1062"/>
                    </a:lnTo>
                    <a:lnTo>
                      <a:pt x="371" y="1070"/>
                    </a:lnTo>
                    <a:lnTo>
                      <a:pt x="403" y="1077"/>
                    </a:lnTo>
                    <a:lnTo>
                      <a:pt x="436" y="1083"/>
                    </a:lnTo>
                    <a:lnTo>
                      <a:pt x="470" y="1087"/>
                    </a:lnTo>
                    <a:lnTo>
                      <a:pt x="505" y="1090"/>
                    </a:lnTo>
                    <a:lnTo>
                      <a:pt x="542" y="1091"/>
                    </a:lnTo>
                    <a:lnTo>
                      <a:pt x="579" y="1092"/>
                    </a:lnTo>
                    <a:lnTo>
                      <a:pt x="584" y="1092"/>
                    </a:lnTo>
                    <a:lnTo>
                      <a:pt x="600" y="1091"/>
                    </a:lnTo>
                    <a:lnTo>
                      <a:pt x="625" y="1090"/>
                    </a:lnTo>
                    <a:lnTo>
                      <a:pt x="656" y="1085"/>
                    </a:lnTo>
                    <a:lnTo>
                      <a:pt x="693" y="1080"/>
                    </a:lnTo>
                    <a:lnTo>
                      <a:pt x="733" y="1070"/>
                    </a:lnTo>
                    <a:lnTo>
                      <a:pt x="777" y="1057"/>
                    </a:lnTo>
                    <a:lnTo>
                      <a:pt x="822" y="1039"/>
                    </a:lnTo>
                    <a:lnTo>
                      <a:pt x="868" y="1017"/>
                    </a:lnTo>
                    <a:lnTo>
                      <a:pt x="911" y="989"/>
                    </a:lnTo>
                    <a:lnTo>
                      <a:pt x="952" y="954"/>
                    </a:lnTo>
                    <a:lnTo>
                      <a:pt x="989" y="913"/>
                    </a:lnTo>
                    <a:lnTo>
                      <a:pt x="1021" y="863"/>
                    </a:lnTo>
                    <a:lnTo>
                      <a:pt x="1045" y="805"/>
                    </a:lnTo>
                    <a:lnTo>
                      <a:pt x="1061" y="740"/>
                    </a:lnTo>
                    <a:lnTo>
                      <a:pt x="1068" y="664"/>
                    </a:lnTo>
                    <a:lnTo>
                      <a:pt x="1068" y="661"/>
                    </a:lnTo>
                    <a:lnTo>
                      <a:pt x="1068" y="660"/>
                    </a:lnTo>
                    <a:lnTo>
                      <a:pt x="1067" y="653"/>
                    </a:lnTo>
                    <a:lnTo>
                      <a:pt x="1066" y="639"/>
                    </a:lnTo>
                    <a:lnTo>
                      <a:pt x="1062" y="619"/>
                    </a:lnTo>
                    <a:lnTo>
                      <a:pt x="1058" y="591"/>
                    </a:lnTo>
                    <a:lnTo>
                      <a:pt x="1051" y="559"/>
                    </a:lnTo>
                    <a:lnTo>
                      <a:pt x="1042" y="521"/>
                    </a:lnTo>
                    <a:lnTo>
                      <a:pt x="1030" y="478"/>
                    </a:lnTo>
                    <a:lnTo>
                      <a:pt x="1015" y="432"/>
                    </a:lnTo>
                    <a:lnTo>
                      <a:pt x="997" y="384"/>
                    </a:lnTo>
                    <a:lnTo>
                      <a:pt x="975" y="332"/>
                    </a:lnTo>
                    <a:lnTo>
                      <a:pt x="948" y="278"/>
                    </a:lnTo>
                    <a:lnTo>
                      <a:pt x="917" y="222"/>
                    </a:lnTo>
                    <a:lnTo>
                      <a:pt x="881" y="167"/>
                    </a:lnTo>
                    <a:lnTo>
                      <a:pt x="841" y="111"/>
                    </a:lnTo>
                    <a:lnTo>
                      <a:pt x="795" y="54"/>
                    </a:lnTo>
                    <a:lnTo>
                      <a:pt x="743" y="0"/>
                    </a:lnTo>
                    <a:lnTo>
                      <a:pt x="701" y="41"/>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65" name="Freeform 64">
                <a:extLst>
                  <a:ext uri="{FF2B5EF4-FFF2-40B4-BE49-F238E27FC236}">
                    <a16:creationId xmlns:a16="http://schemas.microsoft.com/office/drawing/2014/main" id="{360425B7-B100-44A7-8AE2-CEDA003E5D63}"/>
                  </a:ext>
                </a:extLst>
              </p:cNvPr>
              <p:cNvSpPr>
                <a:spLocks noChangeAspect="1"/>
              </p:cNvSpPr>
              <p:nvPr/>
            </p:nvSpPr>
            <p:spPr bwMode="auto">
              <a:xfrm>
                <a:off x="3371" y="2470"/>
                <a:ext cx="222" cy="45"/>
              </a:xfrm>
              <a:custGeom>
                <a:avLst/>
                <a:gdLst>
                  <a:gd name="T0" fmla="*/ 102 w 443"/>
                  <a:gd name="T1" fmla="*/ 1 h 90"/>
                  <a:gd name="T2" fmla="*/ 91 w 443"/>
                  <a:gd name="T3" fmla="*/ 3 h 90"/>
                  <a:gd name="T4" fmla="*/ 81 w 443"/>
                  <a:gd name="T5" fmla="*/ 5 h 90"/>
                  <a:gd name="T6" fmla="*/ 71 w 443"/>
                  <a:gd name="T7" fmla="*/ 6 h 90"/>
                  <a:gd name="T8" fmla="*/ 63 w 443"/>
                  <a:gd name="T9" fmla="*/ 7 h 90"/>
                  <a:gd name="T10" fmla="*/ 54 w 443"/>
                  <a:gd name="T11" fmla="*/ 7 h 90"/>
                  <a:gd name="T12" fmla="*/ 47 w 443"/>
                  <a:gd name="T13" fmla="*/ 7 h 90"/>
                  <a:gd name="T14" fmla="*/ 40 w 443"/>
                  <a:gd name="T15" fmla="*/ 7 h 90"/>
                  <a:gd name="T16" fmla="*/ 34 w 443"/>
                  <a:gd name="T17" fmla="*/ 6 h 90"/>
                  <a:gd name="T18" fmla="*/ 29 w 443"/>
                  <a:gd name="T19" fmla="*/ 6 h 90"/>
                  <a:gd name="T20" fmla="*/ 24 w 443"/>
                  <a:gd name="T21" fmla="*/ 5 h 90"/>
                  <a:gd name="T22" fmla="*/ 20 w 443"/>
                  <a:gd name="T23" fmla="*/ 4 h 90"/>
                  <a:gd name="T24" fmla="*/ 17 w 443"/>
                  <a:gd name="T25" fmla="*/ 3 h 90"/>
                  <a:gd name="T26" fmla="*/ 14 w 443"/>
                  <a:gd name="T27" fmla="*/ 3 h 90"/>
                  <a:gd name="T28" fmla="*/ 12 w 443"/>
                  <a:gd name="T29" fmla="*/ 1 h 90"/>
                  <a:gd name="T30" fmla="*/ 11 w 443"/>
                  <a:gd name="T31" fmla="*/ 1 h 90"/>
                  <a:gd name="T32" fmla="*/ 11 w 443"/>
                  <a:gd name="T33" fmla="*/ 1 h 90"/>
                  <a:gd name="T34" fmla="*/ 10 w 443"/>
                  <a:gd name="T35" fmla="*/ 1 h 90"/>
                  <a:gd name="T36" fmla="*/ 8 w 443"/>
                  <a:gd name="T37" fmla="*/ 0 h 90"/>
                  <a:gd name="T38" fmla="*/ 7 w 443"/>
                  <a:gd name="T39" fmla="*/ 0 h 90"/>
                  <a:gd name="T40" fmla="*/ 6 w 443"/>
                  <a:gd name="T41" fmla="*/ 1 h 90"/>
                  <a:gd name="T42" fmla="*/ 4 w 443"/>
                  <a:gd name="T43" fmla="*/ 1 h 90"/>
                  <a:gd name="T44" fmla="*/ 3 w 443"/>
                  <a:gd name="T45" fmla="*/ 1 h 90"/>
                  <a:gd name="T46" fmla="*/ 2 w 443"/>
                  <a:gd name="T47" fmla="*/ 3 h 90"/>
                  <a:gd name="T48" fmla="*/ 1 w 443"/>
                  <a:gd name="T49" fmla="*/ 4 h 90"/>
                  <a:gd name="T50" fmla="*/ 0 w 443"/>
                  <a:gd name="T51" fmla="*/ 6 h 90"/>
                  <a:gd name="T52" fmla="*/ 1 w 443"/>
                  <a:gd name="T53" fmla="*/ 10 h 90"/>
                  <a:gd name="T54" fmla="*/ 2 w 443"/>
                  <a:gd name="T55" fmla="*/ 12 h 90"/>
                  <a:gd name="T56" fmla="*/ 4 w 443"/>
                  <a:gd name="T57" fmla="*/ 14 h 90"/>
                  <a:gd name="T58" fmla="*/ 5 w 443"/>
                  <a:gd name="T59" fmla="*/ 14 h 90"/>
                  <a:gd name="T60" fmla="*/ 6 w 443"/>
                  <a:gd name="T61" fmla="*/ 15 h 90"/>
                  <a:gd name="T62" fmla="*/ 8 w 443"/>
                  <a:gd name="T63" fmla="*/ 15 h 90"/>
                  <a:gd name="T64" fmla="*/ 11 w 443"/>
                  <a:gd name="T65" fmla="*/ 17 h 90"/>
                  <a:gd name="T66" fmla="*/ 15 w 443"/>
                  <a:gd name="T67" fmla="*/ 18 h 90"/>
                  <a:gd name="T68" fmla="*/ 20 w 443"/>
                  <a:gd name="T69" fmla="*/ 19 h 90"/>
                  <a:gd name="T70" fmla="*/ 25 w 443"/>
                  <a:gd name="T71" fmla="*/ 20 h 90"/>
                  <a:gd name="T72" fmla="*/ 31 w 443"/>
                  <a:gd name="T73" fmla="*/ 21 h 90"/>
                  <a:gd name="T74" fmla="*/ 37 w 443"/>
                  <a:gd name="T75" fmla="*/ 22 h 90"/>
                  <a:gd name="T76" fmla="*/ 45 w 443"/>
                  <a:gd name="T77" fmla="*/ 23 h 90"/>
                  <a:gd name="T78" fmla="*/ 53 w 443"/>
                  <a:gd name="T79" fmla="*/ 23 h 90"/>
                  <a:gd name="T80" fmla="*/ 62 w 443"/>
                  <a:gd name="T81" fmla="*/ 22 h 90"/>
                  <a:gd name="T82" fmla="*/ 72 w 443"/>
                  <a:gd name="T83" fmla="*/ 21 h 90"/>
                  <a:gd name="T84" fmla="*/ 82 w 443"/>
                  <a:gd name="T85" fmla="*/ 20 h 90"/>
                  <a:gd name="T86" fmla="*/ 94 w 443"/>
                  <a:gd name="T87" fmla="*/ 18 h 90"/>
                  <a:gd name="T88" fmla="*/ 106 w 443"/>
                  <a:gd name="T89" fmla="*/ 14 h 90"/>
                  <a:gd name="T90" fmla="*/ 108 w 443"/>
                  <a:gd name="T91" fmla="*/ 13 h 90"/>
                  <a:gd name="T92" fmla="*/ 110 w 443"/>
                  <a:gd name="T93" fmla="*/ 11 h 90"/>
                  <a:gd name="T94" fmla="*/ 111 w 443"/>
                  <a:gd name="T95" fmla="*/ 9 h 90"/>
                  <a:gd name="T96" fmla="*/ 111 w 443"/>
                  <a:gd name="T97" fmla="*/ 6 h 90"/>
                  <a:gd name="T98" fmla="*/ 111 w 443"/>
                  <a:gd name="T99" fmla="*/ 4 h 90"/>
                  <a:gd name="T100" fmla="*/ 110 w 443"/>
                  <a:gd name="T101" fmla="*/ 3 h 90"/>
                  <a:gd name="T102" fmla="*/ 109 w 443"/>
                  <a:gd name="T103" fmla="*/ 1 h 90"/>
                  <a:gd name="T104" fmla="*/ 108 w 443"/>
                  <a:gd name="T105" fmla="*/ 1 h 90"/>
                  <a:gd name="T106" fmla="*/ 106 w 443"/>
                  <a:gd name="T107" fmla="*/ 1 h 90"/>
                  <a:gd name="T108" fmla="*/ 105 w 443"/>
                  <a:gd name="T109" fmla="*/ 0 h 90"/>
                  <a:gd name="T110" fmla="*/ 103 w 443"/>
                  <a:gd name="T111" fmla="*/ 0 h 90"/>
                  <a:gd name="T112" fmla="*/ 102 w 443"/>
                  <a:gd name="T113" fmla="*/ 1 h 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3"/>
                  <a:gd name="T172" fmla="*/ 0 h 90"/>
                  <a:gd name="T173" fmla="*/ 443 w 443"/>
                  <a:gd name="T174" fmla="*/ 90 h 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3" h="90">
                    <a:moveTo>
                      <a:pt x="406" y="1"/>
                    </a:moveTo>
                    <a:lnTo>
                      <a:pt x="363" y="11"/>
                    </a:lnTo>
                    <a:lnTo>
                      <a:pt x="322" y="19"/>
                    </a:lnTo>
                    <a:lnTo>
                      <a:pt x="284" y="25"/>
                    </a:lnTo>
                    <a:lnTo>
                      <a:pt x="249" y="29"/>
                    </a:lnTo>
                    <a:lnTo>
                      <a:pt x="216" y="30"/>
                    </a:lnTo>
                    <a:lnTo>
                      <a:pt x="186" y="30"/>
                    </a:lnTo>
                    <a:lnTo>
                      <a:pt x="159" y="29"/>
                    </a:lnTo>
                    <a:lnTo>
                      <a:pt x="135" y="26"/>
                    </a:lnTo>
                    <a:lnTo>
                      <a:pt x="114" y="23"/>
                    </a:lnTo>
                    <a:lnTo>
                      <a:pt x="95" y="19"/>
                    </a:lnTo>
                    <a:lnTo>
                      <a:pt x="79" y="16"/>
                    </a:lnTo>
                    <a:lnTo>
                      <a:pt x="67" y="11"/>
                    </a:lnTo>
                    <a:lnTo>
                      <a:pt x="56" y="9"/>
                    </a:lnTo>
                    <a:lnTo>
                      <a:pt x="48" y="6"/>
                    </a:lnTo>
                    <a:lnTo>
                      <a:pt x="44" y="4"/>
                    </a:lnTo>
                    <a:lnTo>
                      <a:pt x="42" y="3"/>
                    </a:lnTo>
                    <a:lnTo>
                      <a:pt x="37" y="1"/>
                    </a:lnTo>
                    <a:lnTo>
                      <a:pt x="31" y="0"/>
                    </a:lnTo>
                    <a:lnTo>
                      <a:pt x="26" y="0"/>
                    </a:lnTo>
                    <a:lnTo>
                      <a:pt x="21" y="1"/>
                    </a:lnTo>
                    <a:lnTo>
                      <a:pt x="15" y="3"/>
                    </a:lnTo>
                    <a:lnTo>
                      <a:pt x="10" y="7"/>
                    </a:lnTo>
                    <a:lnTo>
                      <a:pt x="7" y="11"/>
                    </a:lnTo>
                    <a:lnTo>
                      <a:pt x="3" y="16"/>
                    </a:lnTo>
                    <a:lnTo>
                      <a:pt x="0" y="27"/>
                    </a:lnTo>
                    <a:lnTo>
                      <a:pt x="1" y="38"/>
                    </a:lnTo>
                    <a:lnTo>
                      <a:pt x="6" y="48"/>
                    </a:lnTo>
                    <a:lnTo>
                      <a:pt x="15" y="56"/>
                    </a:lnTo>
                    <a:lnTo>
                      <a:pt x="17" y="57"/>
                    </a:lnTo>
                    <a:lnTo>
                      <a:pt x="23" y="60"/>
                    </a:lnTo>
                    <a:lnTo>
                      <a:pt x="32" y="63"/>
                    </a:lnTo>
                    <a:lnTo>
                      <a:pt x="44" y="68"/>
                    </a:lnTo>
                    <a:lnTo>
                      <a:pt x="59" y="71"/>
                    </a:lnTo>
                    <a:lnTo>
                      <a:pt x="77" y="76"/>
                    </a:lnTo>
                    <a:lnTo>
                      <a:pt x="98" y="80"/>
                    </a:lnTo>
                    <a:lnTo>
                      <a:pt x="122" y="84"/>
                    </a:lnTo>
                    <a:lnTo>
                      <a:pt x="148" y="87"/>
                    </a:lnTo>
                    <a:lnTo>
                      <a:pt x="178" y="89"/>
                    </a:lnTo>
                    <a:lnTo>
                      <a:pt x="212" y="90"/>
                    </a:lnTo>
                    <a:lnTo>
                      <a:pt x="248" y="87"/>
                    </a:lnTo>
                    <a:lnTo>
                      <a:pt x="287" y="84"/>
                    </a:lnTo>
                    <a:lnTo>
                      <a:pt x="328" y="78"/>
                    </a:lnTo>
                    <a:lnTo>
                      <a:pt x="373" y="70"/>
                    </a:lnTo>
                    <a:lnTo>
                      <a:pt x="421" y="59"/>
                    </a:lnTo>
                    <a:lnTo>
                      <a:pt x="432" y="53"/>
                    </a:lnTo>
                    <a:lnTo>
                      <a:pt x="440" y="45"/>
                    </a:lnTo>
                    <a:lnTo>
                      <a:pt x="443" y="33"/>
                    </a:lnTo>
                    <a:lnTo>
                      <a:pt x="443" y="22"/>
                    </a:lnTo>
                    <a:lnTo>
                      <a:pt x="441" y="16"/>
                    </a:lnTo>
                    <a:lnTo>
                      <a:pt x="438" y="11"/>
                    </a:lnTo>
                    <a:lnTo>
                      <a:pt x="434" y="7"/>
                    </a:lnTo>
                    <a:lnTo>
                      <a:pt x="430" y="3"/>
                    </a:lnTo>
                    <a:lnTo>
                      <a:pt x="424" y="1"/>
                    </a:lnTo>
                    <a:lnTo>
                      <a:pt x="418" y="0"/>
                    </a:lnTo>
                    <a:lnTo>
                      <a:pt x="412" y="0"/>
                    </a:lnTo>
                    <a:lnTo>
                      <a:pt x="406" y="1"/>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66" name="Freeform 65">
                <a:extLst>
                  <a:ext uri="{FF2B5EF4-FFF2-40B4-BE49-F238E27FC236}">
                    <a16:creationId xmlns:a16="http://schemas.microsoft.com/office/drawing/2014/main" id="{983592CD-7007-4560-A4F8-74939174AF61}"/>
                  </a:ext>
                </a:extLst>
              </p:cNvPr>
              <p:cNvSpPr>
                <a:spLocks noChangeAspect="1"/>
              </p:cNvSpPr>
              <p:nvPr/>
            </p:nvSpPr>
            <p:spPr bwMode="auto">
              <a:xfrm>
                <a:off x="3282" y="2311"/>
                <a:ext cx="436" cy="180"/>
              </a:xfrm>
              <a:custGeom>
                <a:avLst/>
                <a:gdLst>
                  <a:gd name="T0" fmla="*/ 70 w 872"/>
                  <a:gd name="T1" fmla="*/ 14 h 359"/>
                  <a:gd name="T2" fmla="*/ 67 w 872"/>
                  <a:gd name="T3" fmla="*/ 14 h 359"/>
                  <a:gd name="T4" fmla="*/ 61 w 872"/>
                  <a:gd name="T5" fmla="*/ 13 h 359"/>
                  <a:gd name="T6" fmla="*/ 56 w 872"/>
                  <a:gd name="T7" fmla="*/ 11 h 359"/>
                  <a:gd name="T8" fmla="*/ 50 w 872"/>
                  <a:gd name="T9" fmla="*/ 8 h 359"/>
                  <a:gd name="T10" fmla="*/ 36 w 872"/>
                  <a:gd name="T11" fmla="*/ 6 h 359"/>
                  <a:gd name="T12" fmla="*/ 18 w 872"/>
                  <a:gd name="T13" fmla="*/ 8 h 359"/>
                  <a:gd name="T14" fmla="*/ 9 w 872"/>
                  <a:gd name="T15" fmla="*/ 13 h 359"/>
                  <a:gd name="T16" fmla="*/ 10 w 872"/>
                  <a:gd name="T17" fmla="*/ 26 h 359"/>
                  <a:gd name="T18" fmla="*/ 38 w 872"/>
                  <a:gd name="T19" fmla="*/ 54 h 359"/>
                  <a:gd name="T20" fmla="*/ 48 w 872"/>
                  <a:gd name="T21" fmla="*/ 82 h 359"/>
                  <a:gd name="T22" fmla="*/ 63 w 872"/>
                  <a:gd name="T23" fmla="*/ 90 h 359"/>
                  <a:gd name="T24" fmla="*/ 61 w 872"/>
                  <a:gd name="T25" fmla="*/ 74 h 359"/>
                  <a:gd name="T26" fmla="*/ 49 w 872"/>
                  <a:gd name="T27" fmla="*/ 42 h 359"/>
                  <a:gd name="T28" fmla="*/ 31 w 872"/>
                  <a:gd name="T29" fmla="*/ 21 h 359"/>
                  <a:gd name="T30" fmla="*/ 35 w 872"/>
                  <a:gd name="T31" fmla="*/ 21 h 359"/>
                  <a:gd name="T32" fmla="*/ 40 w 872"/>
                  <a:gd name="T33" fmla="*/ 21 h 359"/>
                  <a:gd name="T34" fmla="*/ 46 w 872"/>
                  <a:gd name="T35" fmla="*/ 23 h 359"/>
                  <a:gd name="T36" fmla="*/ 52 w 872"/>
                  <a:gd name="T37" fmla="*/ 25 h 359"/>
                  <a:gd name="T38" fmla="*/ 56 w 872"/>
                  <a:gd name="T39" fmla="*/ 26 h 359"/>
                  <a:gd name="T40" fmla="*/ 65 w 872"/>
                  <a:gd name="T41" fmla="*/ 29 h 359"/>
                  <a:gd name="T42" fmla="*/ 74 w 872"/>
                  <a:gd name="T43" fmla="*/ 28 h 359"/>
                  <a:gd name="T44" fmla="*/ 85 w 872"/>
                  <a:gd name="T45" fmla="*/ 21 h 359"/>
                  <a:gd name="T46" fmla="*/ 101 w 872"/>
                  <a:gd name="T47" fmla="*/ 16 h 359"/>
                  <a:gd name="T48" fmla="*/ 117 w 872"/>
                  <a:gd name="T49" fmla="*/ 18 h 359"/>
                  <a:gd name="T50" fmla="*/ 133 w 872"/>
                  <a:gd name="T51" fmla="*/ 31 h 359"/>
                  <a:gd name="T52" fmla="*/ 149 w 872"/>
                  <a:gd name="T53" fmla="*/ 33 h 359"/>
                  <a:gd name="T54" fmla="*/ 163 w 872"/>
                  <a:gd name="T55" fmla="*/ 29 h 359"/>
                  <a:gd name="T56" fmla="*/ 150 w 872"/>
                  <a:gd name="T57" fmla="*/ 46 h 359"/>
                  <a:gd name="T58" fmla="*/ 141 w 872"/>
                  <a:gd name="T59" fmla="*/ 67 h 359"/>
                  <a:gd name="T60" fmla="*/ 152 w 872"/>
                  <a:gd name="T61" fmla="*/ 85 h 359"/>
                  <a:gd name="T62" fmla="*/ 167 w 872"/>
                  <a:gd name="T63" fmla="*/ 47 h 359"/>
                  <a:gd name="T64" fmla="*/ 188 w 872"/>
                  <a:gd name="T65" fmla="*/ 26 h 359"/>
                  <a:gd name="T66" fmla="*/ 218 w 872"/>
                  <a:gd name="T67" fmla="*/ 6 h 359"/>
                  <a:gd name="T68" fmla="*/ 186 w 872"/>
                  <a:gd name="T69" fmla="*/ 8 h 359"/>
                  <a:gd name="T70" fmla="*/ 177 w 872"/>
                  <a:gd name="T71" fmla="*/ 9 h 359"/>
                  <a:gd name="T72" fmla="*/ 166 w 872"/>
                  <a:gd name="T73" fmla="*/ 11 h 359"/>
                  <a:gd name="T74" fmla="*/ 153 w 872"/>
                  <a:gd name="T75" fmla="*/ 17 h 359"/>
                  <a:gd name="T76" fmla="*/ 143 w 872"/>
                  <a:gd name="T77" fmla="*/ 18 h 359"/>
                  <a:gd name="T78" fmla="*/ 134 w 872"/>
                  <a:gd name="T79" fmla="*/ 13 h 359"/>
                  <a:gd name="T80" fmla="*/ 123 w 872"/>
                  <a:gd name="T81" fmla="*/ 5 h 359"/>
                  <a:gd name="T82" fmla="*/ 111 w 872"/>
                  <a:gd name="T83" fmla="*/ 1 h 359"/>
                  <a:gd name="T84" fmla="*/ 100 w 872"/>
                  <a:gd name="T85" fmla="*/ 1 h 359"/>
                  <a:gd name="T86" fmla="*/ 88 w 872"/>
                  <a:gd name="T87" fmla="*/ 4 h 359"/>
                  <a:gd name="T88" fmla="*/ 76 w 872"/>
                  <a:gd name="T89" fmla="*/ 9 h 3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72"/>
                  <a:gd name="T136" fmla="*/ 0 h 359"/>
                  <a:gd name="T137" fmla="*/ 872 w 872"/>
                  <a:gd name="T138" fmla="*/ 359 h 3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72" h="359">
                    <a:moveTo>
                      <a:pt x="289" y="45"/>
                    </a:moveTo>
                    <a:lnTo>
                      <a:pt x="283" y="49"/>
                    </a:lnTo>
                    <a:lnTo>
                      <a:pt x="278" y="53"/>
                    </a:lnTo>
                    <a:lnTo>
                      <a:pt x="273" y="55"/>
                    </a:lnTo>
                    <a:lnTo>
                      <a:pt x="270" y="55"/>
                    </a:lnTo>
                    <a:lnTo>
                      <a:pt x="265" y="55"/>
                    </a:lnTo>
                    <a:lnTo>
                      <a:pt x="261" y="54"/>
                    </a:lnTo>
                    <a:lnTo>
                      <a:pt x="255" y="53"/>
                    </a:lnTo>
                    <a:lnTo>
                      <a:pt x="247" y="49"/>
                    </a:lnTo>
                    <a:lnTo>
                      <a:pt x="241" y="47"/>
                    </a:lnTo>
                    <a:lnTo>
                      <a:pt x="234" y="44"/>
                    </a:lnTo>
                    <a:lnTo>
                      <a:pt x="227" y="41"/>
                    </a:lnTo>
                    <a:lnTo>
                      <a:pt x="219" y="38"/>
                    </a:lnTo>
                    <a:lnTo>
                      <a:pt x="210" y="34"/>
                    </a:lnTo>
                    <a:lnTo>
                      <a:pt x="200" y="32"/>
                    </a:lnTo>
                    <a:lnTo>
                      <a:pt x="188" y="29"/>
                    </a:lnTo>
                    <a:lnTo>
                      <a:pt x="177" y="26"/>
                    </a:lnTo>
                    <a:lnTo>
                      <a:pt x="143" y="23"/>
                    </a:lnTo>
                    <a:lnTo>
                      <a:pt x="114" y="23"/>
                    </a:lnTo>
                    <a:lnTo>
                      <a:pt x="90" y="26"/>
                    </a:lnTo>
                    <a:lnTo>
                      <a:pt x="69" y="31"/>
                    </a:lnTo>
                    <a:lnTo>
                      <a:pt x="53" y="38"/>
                    </a:lnTo>
                    <a:lnTo>
                      <a:pt x="42" y="45"/>
                    </a:lnTo>
                    <a:lnTo>
                      <a:pt x="34" y="49"/>
                    </a:lnTo>
                    <a:lnTo>
                      <a:pt x="30" y="53"/>
                    </a:lnTo>
                    <a:lnTo>
                      <a:pt x="0" y="82"/>
                    </a:lnTo>
                    <a:lnTo>
                      <a:pt x="37" y="101"/>
                    </a:lnTo>
                    <a:lnTo>
                      <a:pt x="87" y="135"/>
                    </a:lnTo>
                    <a:lnTo>
                      <a:pt x="125" y="174"/>
                    </a:lnTo>
                    <a:lnTo>
                      <a:pt x="152" y="215"/>
                    </a:lnTo>
                    <a:lnTo>
                      <a:pt x="172" y="257"/>
                    </a:lnTo>
                    <a:lnTo>
                      <a:pt x="183" y="295"/>
                    </a:lnTo>
                    <a:lnTo>
                      <a:pt x="189" y="327"/>
                    </a:lnTo>
                    <a:lnTo>
                      <a:pt x="193" y="349"/>
                    </a:lnTo>
                    <a:lnTo>
                      <a:pt x="193" y="359"/>
                    </a:lnTo>
                    <a:lnTo>
                      <a:pt x="253" y="358"/>
                    </a:lnTo>
                    <a:lnTo>
                      <a:pt x="253" y="348"/>
                    </a:lnTo>
                    <a:lnTo>
                      <a:pt x="250" y="326"/>
                    </a:lnTo>
                    <a:lnTo>
                      <a:pt x="245" y="295"/>
                    </a:lnTo>
                    <a:lnTo>
                      <a:pt x="234" y="257"/>
                    </a:lnTo>
                    <a:lnTo>
                      <a:pt x="218" y="213"/>
                    </a:lnTo>
                    <a:lnTo>
                      <a:pt x="194" y="168"/>
                    </a:lnTo>
                    <a:lnTo>
                      <a:pt x="160" y="124"/>
                    </a:lnTo>
                    <a:lnTo>
                      <a:pt x="118" y="83"/>
                    </a:lnTo>
                    <a:lnTo>
                      <a:pt x="124" y="83"/>
                    </a:lnTo>
                    <a:lnTo>
                      <a:pt x="128" y="82"/>
                    </a:lnTo>
                    <a:lnTo>
                      <a:pt x="134" y="82"/>
                    </a:lnTo>
                    <a:lnTo>
                      <a:pt x="140" y="82"/>
                    </a:lnTo>
                    <a:lnTo>
                      <a:pt x="145" y="83"/>
                    </a:lnTo>
                    <a:lnTo>
                      <a:pt x="152" y="83"/>
                    </a:lnTo>
                    <a:lnTo>
                      <a:pt x="158" y="84"/>
                    </a:lnTo>
                    <a:lnTo>
                      <a:pt x="165" y="85"/>
                    </a:lnTo>
                    <a:lnTo>
                      <a:pt x="175" y="87"/>
                    </a:lnTo>
                    <a:lnTo>
                      <a:pt x="183" y="90"/>
                    </a:lnTo>
                    <a:lnTo>
                      <a:pt x="193" y="92"/>
                    </a:lnTo>
                    <a:lnTo>
                      <a:pt x="200" y="94"/>
                    </a:lnTo>
                    <a:lnTo>
                      <a:pt x="207" y="97"/>
                    </a:lnTo>
                    <a:lnTo>
                      <a:pt x="212" y="99"/>
                    </a:lnTo>
                    <a:lnTo>
                      <a:pt x="218" y="101"/>
                    </a:lnTo>
                    <a:lnTo>
                      <a:pt x="224" y="104"/>
                    </a:lnTo>
                    <a:lnTo>
                      <a:pt x="236" y="108"/>
                    </a:lnTo>
                    <a:lnTo>
                      <a:pt x="247" y="112"/>
                    </a:lnTo>
                    <a:lnTo>
                      <a:pt x="258" y="115"/>
                    </a:lnTo>
                    <a:lnTo>
                      <a:pt x="270" y="115"/>
                    </a:lnTo>
                    <a:lnTo>
                      <a:pt x="281" y="114"/>
                    </a:lnTo>
                    <a:lnTo>
                      <a:pt x="294" y="109"/>
                    </a:lnTo>
                    <a:lnTo>
                      <a:pt x="309" y="104"/>
                    </a:lnTo>
                    <a:lnTo>
                      <a:pt x="324" y="93"/>
                    </a:lnTo>
                    <a:lnTo>
                      <a:pt x="340" y="83"/>
                    </a:lnTo>
                    <a:lnTo>
                      <a:pt x="360" y="74"/>
                    </a:lnTo>
                    <a:lnTo>
                      <a:pt x="380" y="66"/>
                    </a:lnTo>
                    <a:lnTo>
                      <a:pt x="403" y="61"/>
                    </a:lnTo>
                    <a:lnTo>
                      <a:pt x="427" y="60"/>
                    </a:lnTo>
                    <a:lnTo>
                      <a:pt x="450" y="63"/>
                    </a:lnTo>
                    <a:lnTo>
                      <a:pt x="470" y="72"/>
                    </a:lnTo>
                    <a:lnTo>
                      <a:pt x="490" y="89"/>
                    </a:lnTo>
                    <a:lnTo>
                      <a:pt x="511" y="108"/>
                    </a:lnTo>
                    <a:lnTo>
                      <a:pt x="531" y="122"/>
                    </a:lnTo>
                    <a:lnTo>
                      <a:pt x="553" y="130"/>
                    </a:lnTo>
                    <a:lnTo>
                      <a:pt x="575" y="132"/>
                    </a:lnTo>
                    <a:lnTo>
                      <a:pt x="595" y="131"/>
                    </a:lnTo>
                    <a:lnTo>
                      <a:pt x="614" y="128"/>
                    </a:lnTo>
                    <a:lnTo>
                      <a:pt x="633" y="122"/>
                    </a:lnTo>
                    <a:lnTo>
                      <a:pt x="649" y="115"/>
                    </a:lnTo>
                    <a:lnTo>
                      <a:pt x="632" y="135"/>
                    </a:lnTo>
                    <a:lnTo>
                      <a:pt x="615" y="158"/>
                    </a:lnTo>
                    <a:lnTo>
                      <a:pt x="599" y="181"/>
                    </a:lnTo>
                    <a:lnTo>
                      <a:pt x="585" y="207"/>
                    </a:lnTo>
                    <a:lnTo>
                      <a:pt x="572" y="236"/>
                    </a:lnTo>
                    <a:lnTo>
                      <a:pt x="561" y="266"/>
                    </a:lnTo>
                    <a:lnTo>
                      <a:pt x="552" y="297"/>
                    </a:lnTo>
                    <a:lnTo>
                      <a:pt x="546" y="332"/>
                    </a:lnTo>
                    <a:lnTo>
                      <a:pt x="606" y="339"/>
                    </a:lnTo>
                    <a:lnTo>
                      <a:pt x="619" y="282"/>
                    </a:lnTo>
                    <a:lnTo>
                      <a:pt x="640" y="232"/>
                    </a:lnTo>
                    <a:lnTo>
                      <a:pt x="667" y="188"/>
                    </a:lnTo>
                    <a:lnTo>
                      <a:pt x="697" y="152"/>
                    </a:lnTo>
                    <a:lnTo>
                      <a:pt x="726" y="123"/>
                    </a:lnTo>
                    <a:lnTo>
                      <a:pt x="750" y="101"/>
                    </a:lnTo>
                    <a:lnTo>
                      <a:pt x="767" y="89"/>
                    </a:lnTo>
                    <a:lnTo>
                      <a:pt x="774" y="84"/>
                    </a:lnTo>
                    <a:lnTo>
                      <a:pt x="872" y="24"/>
                    </a:lnTo>
                    <a:lnTo>
                      <a:pt x="757" y="29"/>
                    </a:lnTo>
                    <a:lnTo>
                      <a:pt x="752" y="29"/>
                    </a:lnTo>
                    <a:lnTo>
                      <a:pt x="744" y="30"/>
                    </a:lnTo>
                    <a:lnTo>
                      <a:pt x="734" y="31"/>
                    </a:lnTo>
                    <a:lnTo>
                      <a:pt x="720" y="32"/>
                    </a:lnTo>
                    <a:lnTo>
                      <a:pt x="706" y="34"/>
                    </a:lnTo>
                    <a:lnTo>
                      <a:pt x="691" y="37"/>
                    </a:lnTo>
                    <a:lnTo>
                      <a:pt x="676" y="40"/>
                    </a:lnTo>
                    <a:lnTo>
                      <a:pt x="663" y="44"/>
                    </a:lnTo>
                    <a:lnTo>
                      <a:pt x="640" y="54"/>
                    </a:lnTo>
                    <a:lnTo>
                      <a:pt x="625" y="61"/>
                    </a:lnTo>
                    <a:lnTo>
                      <a:pt x="610" y="67"/>
                    </a:lnTo>
                    <a:lnTo>
                      <a:pt x="596" y="70"/>
                    </a:lnTo>
                    <a:lnTo>
                      <a:pt x="582" y="72"/>
                    </a:lnTo>
                    <a:lnTo>
                      <a:pt x="569" y="71"/>
                    </a:lnTo>
                    <a:lnTo>
                      <a:pt x="558" y="68"/>
                    </a:lnTo>
                    <a:lnTo>
                      <a:pt x="545" y="61"/>
                    </a:lnTo>
                    <a:lnTo>
                      <a:pt x="534" y="49"/>
                    </a:lnTo>
                    <a:lnTo>
                      <a:pt x="521" y="37"/>
                    </a:lnTo>
                    <a:lnTo>
                      <a:pt x="507" y="25"/>
                    </a:lnTo>
                    <a:lnTo>
                      <a:pt x="493" y="17"/>
                    </a:lnTo>
                    <a:lnTo>
                      <a:pt x="478" y="10"/>
                    </a:lnTo>
                    <a:lnTo>
                      <a:pt x="462" y="5"/>
                    </a:lnTo>
                    <a:lnTo>
                      <a:pt x="447" y="1"/>
                    </a:lnTo>
                    <a:lnTo>
                      <a:pt x="431" y="0"/>
                    </a:lnTo>
                    <a:lnTo>
                      <a:pt x="415" y="0"/>
                    </a:lnTo>
                    <a:lnTo>
                      <a:pt x="398" y="1"/>
                    </a:lnTo>
                    <a:lnTo>
                      <a:pt x="382" y="3"/>
                    </a:lnTo>
                    <a:lnTo>
                      <a:pt x="365" y="8"/>
                    </a:lnTo>
                    <a:lnTo>
                      <a:pt x="349" y="13"/>
                    </a:lnTo>
                    <a:lnTo>
                      <a:pt x="333" y="19"/>
                    </a:lnTo>
                    <a:lnTo>
                      <a:pt x="318" y="28"/>
                    </a:lnTo>
                    <a:lnTo>
                      <a:pt x="303" y="36"/>
                    </a:lnTo>
                    <a:lnTo>
                      <a:pt x="289" y="45"/>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67" name="Freeform 70">
                <a:extLst>
                  <a:ext uri="{FF2B5EF4-FFF2-40B4-BE49-F238E27FC236}">
                    <a16:creationId xmlns:a16="http://schemas.microsoft.com/office/drawing/2014/main" id="{6820BBA8-D49D-4DF2-878D-95C9C978B7F3}"/>
                  </a:ext>
                </a:extLst>
              </p:cNvPr>
              <p:cNvSpPr>
                <a:spLocks noChangeAspect="1"/>
              </p:cNvSpPr>
              <p:nvPr/>
            </p:nvSpPr>
            <p:spPr bwMode="auto">
              <a:xfrm>
                <a:off x="3391" y="2579"/>
                <a:ext cx="184" cy="335"/>
              </a:xfrm>
              <a:custGeom>
                <a:avLst/>
                <a:gdLst>
                  <a:gd name="T0" fmla="*/ 16 w 369"/>
                  <a:gd name="T1" fmla="*/ 110 h 668"/>
                  <a:gd name="T2" fmla="*/ 24 w 369"/>
                  <a:gd name="T3" fmla="*/ 115 h 668"/>
                  <a:gd name="T4" fmla="*/ 31 w 369"/>
                  <a:gd name="T5" fmla="*/ 119 h 668"/>
                  <a:gd name="T6" fmla="*/ 40 w 369"/>
                  <a:gd name="T7" fmla="*/ 121 h 668"/>
                  <a:gd name="T8" fmla="*/ 47 w 369"/>
                  <a:gd name="T9" fmla="*/ 121 h 668"/>
                  <a:gd name="T10" fmla="*/ 52 w 369"/>
                  <a:gd name="T11" fmla="*/ 120 h 668"/>
                  <a:gd name="T12" fmla="*/ 56 w 369"/>
                  <a:gd name="T13" fmla="*/ 116 h 668"/>
                  <a:gd name="T14" fmla="*/ 59 w 369"/>
                  <a:gd name="T15" fmla="*/ 112 h 668"/>
                  <a:gd name="T16" fmla="*/ 59 w 369"/>
                  <a:gd name="T17" fmla="*/ 106 h 668"/>
                  <a:gd name="T18" fmla="*/ 55 w 369"/>
                  <a:gd name="T19" fmla="*/ 101 h 668"/>
                  <a:gd name="T20" fmla="*/ 47 w 369"/>
                  <a:gd name="T21" fmla="*/ 98 h 668"/>
                  <a:gd name="T22" fmla="*/ 38 w 369"/>
                  <a:gd name="T23" fmla="*/ 95 h 668"/>
                  <a:gd name="T24" fmla="*/ 28 w 369"/>
                  <a:gd name="T25" fmla="*/ 91 h 668"/>
                  <a:gd name="T26" fmla="*/ 19 w 369"/>
                  <a:gd name="T27" fmla="*/ 86 h 668"/>
                  <a:gd name="T28" fmla="*/ 12 w 369"/>
                  <a:gd name="T29" fmla="*/ 78 h 668"/>
                  <a:gd name="T30" fmla="*/ 7 w 369"/>
                  <a:gd name="T31" fmla="*/ 67 h 668"/>
                  <a:gd name="T32" fmla="*/ 7 w 369"/>
                  <a:gd name="T33" fmla="*/ 52 h 668"/>
                  <a:gd name="T34" fmla="*/ 12 w 369"/>
                  <a:gd name="T35" fmla="*/ 39 h 668"/>
                  <a:gd name="T36" fmla="*/ 21 w 369"/>
                  <a:gd name="T37" fmla="*/ 28 h 668"/>
                  <a:gd name="T38" fmla="*/ 34 w 369"/>
                  <a:gd name="T39" fmla="*/ 22 h 668"/>
                  <a:gd name="T40" fmla="*/ 41 w 369"/>
                  <a:gd name="T41" fmla="*/ 0 h 668"/>
                  <a:gd name="T42" fmla="*/ 57 w 369"/>
                  <a:gd name="T43" fmla="*/ 20 h 668"/>
                  <a:gd name="T44" fmla="*/ 65 w 369"/>
                  <a:gd name="T45" fmla="*/ 22 h 668"/>
                  <a:gd name="T46" fmla="*/ 72 w 369"/>
                  <a:gd name="T47" fmla="*/ 23 h 668"/>
                  <a:gd name="T48" fmla="*/ 80 w 369"/>
                  <a:gd name="T49" fmla="*/ 26 h 668"/>
                  <a:gd name="T50" fmla="*/ 87 w 369"/>
                  <a:gd name="T51" fmla="*/ 30 h 668"/>
                  <a:gd name="T52" fmla="*/ 72 w 369"/>
                  <a:gd name="T53" fmla="*/ 53 h 668"/>
                  <a:gd name="T54" fmla="*/ 67 w 369"/>
                  <a:gd name="T55" fmla="*/ 50 h 668"/>
                  <a:gd name="T56" fmla="*/ 62 w 369"/>
                  <a:gd name="T57" fmla="*/ 48 h 668"/>
                  <a:gd name="T58" fmla="*/ 56 w 369"/>
                  <a:gd name="T59" fmla="*/ 46 h 668"/>
                  <a:gd name="T60" fmla="*/ 51 w 369"/>
                  <a:gd name="T61" fmla="*/ 46 h 668"/>
                  <a:gd name="T62" fmla="*/ 46 w 369"/>
                  <a:gd name="T63" fmla="*/ 47 h 668"/>
                  <a:gd name="T64" fmla="*/ 42 w 369"/>
                  <a:gd name="T65" fmla="*/ 50 h 668"/>
                  <a:gd name="T66" fmla="*/ 39 w 369"/>
                  <a:gd name="T67" fmla="*/ 53 h 668"/>
                  <a:gd name="T68" fmla="*/ 40 w 369"/>
                  <a:gd name="T69" fmla="*/ 58 h 668"/>
                  <a:gd name="T70" fmla="*/ 43 w 369"/>
                  <a:gd name="T71" fmla="*/ 63 h 668"/>
                  <a:gd name="T72" fmla="*/ 48 w 369"/>
                  <a:gd name="T73" fmla="*/ 66 h 668"/>
                  <a:gd name="T74" fmla="*/ 53 w 369"/>
                  <a:gd name="T75" fmla="*/ 68 h 668"/>
                  <a:gd name="T76" fmla="*/ 63 w 369"/>
                  <a:gd name="T77" fmla="*/ 71 h 668"/>
                  <a:gd name="T78" fmla="*/ 75 w 369"/>
                  <a:gd name="T79" fmla="*/ 77 h 668"/>
                  <a:gd name="T80" fmla="*/ 85 w 369"/>
                  <a:gd name="T81" fmla="*/ 86 h 668"/>
                  <a:gd name="T82" fmla="*/ 91 w 369"/>
                  <a:gd name="T83" fmla="*/ 98 h 668"/>
                  <a:gd name="T84" fmla="*/ 91 w 369"/>
                  <a:gd name="T85" fmla="*/ 114 h 668"/>
                  <a:gd name="T86" fmla="*/ 86 w 369"/>
                  <a:gd name="T87" fmla="*/ 128 h 668"/>
                  <a:gd name="T88" fmla="*/ 77 w 369"/>
                  <a:gd name="T89" fmla="*/ 138 h 668"/>
                  <a:gd name="T90" fmla="*/ 64 w 369"/>
                  <a:gd name="T91" fmla="*/ 144 h 668"/>
                  <a:gd name="T92" fmla="*/ 57 w 369"/>
                  <a:gd name="T93" fmla="*/ 168 h 668"/>
                  <a:gd name="T94" fmla="*/ 41 w 369"/>
                  <a:gd name="T95" fmla="*/ 148 h 668"/>
                  <a:gd name="T96" fmla="*/ 36 w 369"/>
                  <a:gd name="T97" fmla="*/ 147 h 668"/>
                  <a:gd name="T98" fmla="*/ 30 w 369"/>
                  <a:gd name="T99" fmla="*/ 147 h 668"/>
                  <a:gd name="T100" fmla="*/ 25 w 369"/>
                  <a:gd name="T101" fmla="*/ 145 h 668"/>
                  <a:gd name="T102" fmla="*/ 20 w 369"/>
                  <a:gd name="T103" fmla="*/ 143 h 668"/>
                  <a:gd name="T104" fmla="*/ 14 w 369"/>
                  <a:gd name="T105" fmla="*/ 141 h 668"/>
                  <a:gd name="T106" fmla="*/ 9 w 369"/>
                  <a:gd name="T107" fmla="*/ 139 h 668"/>
                  <a:gd name="T108" fmla="*/ 4 w 369"/>
                  <a:gd name="T109" fmla="*/ 136 h 668"/>
                  <a:gd name="T110" fmla="*/ 0 w 369"/>
                  <a:gd name="T111" fmla="*/ 132 h 6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9"/>
                  <a:gd name="T169" fmla="*/ 0 h 668"/>
                  <a:gd name="T170" fmla="*/ 369 w 369"/>
                  <a:gd name="T171" fmla="*/ 668 h 6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9" h="668">
                    <a:moveTo>
                      <a:pt x="55" y="426"/>
                    </a:moveTo>
                    <a:lnTo>
                      <a:pt x="67" y="436"/>
                    </a:lnTo>
                    <a:lnTo>
                      <a:pt x="81" y="447"/>
                    </a:lnTo>
                    <a:lnTo>
                      <a:pt x="96" y="456"/>
                    </a:lnTo>
                    <a:lnTo>
                      <a:pt x="111" y="465"/>
                    </a:lnTo>
                    <a:lnTo>
                      <a:pt x="127" y="472"/>
                    </a:lnTo>
                    <a:lnTo>
                      <a:pt x="144" y="478"/>
                    </a:lnTo>
                    <a:lnTo>
                      <a:pt x="160" y="481"/>
                    </a:lnTo>
                    <a:lnTo>
                      <a:pt x="176" y="483"/>
                    </a:lnTo>
                    <a:lnTo>
                      <a:pt x="188" y="481"/>
                    </a:lnTo>
                    <a:lnTo>
                      <a:pt x="198" y="479"/>
                    </a:lnTo>
                    <a:lnTo>
                      <a:pt x="209" y="476"/>
                    </a:lnTo>
                    <a:lnTo>
                      <a:pt x="219" y="470"/>
                    </a:lnTo>
                    <a:lnTo>
                      <a:pt x="227" y="463"/>
                    </a:lnTo>
                    <a:lnTo>
                      <a:pt x="234" y="455"/>
                    </a:lnTo>
                    <a:lnTo>
                      <a:pt x="238" y="445"/>
                    </a:lnTo>
                    <a:lnTo>
                      <a:pt x="240" y="433"/>
                    </a:lnTo>
                    <a:lnTo>
                      <a:pt x="237" y="420"/>
                    </a:lnTo>
                    <a:lnTo>
                      <a:pt x="230" y="410"/>
                    </a:lnTo>
                    <a:lnTo>
                      <a:pt x="220" y="402"/>
                    </a:lnTo>
                    <a:lnTo>
                      <a:pt x="207" y="394"/>
                    </a:lnTo>
                    <a:lnTo>
                      <a:pt x="191" y="388"/>
                    </a:lnTo>
                    <a:lnTo>
                      <a:pt x="173" y="382"/>
                    </a:lnTo>
                    <a:lnTo>
                      <a:pt x="153" y="377"/>
                    </a:lnTo>
                    <a:lnTo>
                      <a:pt x="134" y="370"/>
                    </a:lnTo>
                    <a:lnTo>
                      <a:pt x="114" y="362"/>
                    </a:lnTo>
                    <a:lnTo>
                      <a:pt x="96" y="352"/>
                    </a:lnTo>
                    <a:lnTo>
                      <a:pt x="77" y="341"/>
                    </a:lnTo>
                    <a:lnTo>
                      <a:pt x="62" y="327"/>
                    </a:lnTo>
                    <a:lnTo>
                      <a:pt x="48" y="311"/>
                    </a:lnTo>
                    <a:lnTo>
                      <a:pt x="38" y="290"/>
                    </a:lnTo>
                    <a:lnTo>
                      <a:pt x="31" y="266"/>
                    </a:lnTo>
                    <a:lnTo>
                      <a:pt x="29" y="237"/>
                    </a:lnTo>
                    <a:lnTo>
                      <a:pt x="31" y="208"/>
                    </a:lnTo>
                    <a:lnTo>
                      <a:pt x="39" y="179"/>
                    </a:lnTo>
                    <a:lnTo>
                      <a:pt x="51" y="154"/>
                    </a:lnTo>
                    <a:lnTo>
                      <a:pt x="67" y="131"/>
                    </a:lnTo>
                    <a:lnTo>
                      <a:pt x="86" y="112"/>
                    </a:lnTo>
                    <a:lnTo>
                      <a:pt x="109" y="97"/>
                    </a:lnTo>
                    <a:lnTo>
                      <a:pt x="137" y="85"/>
                    </a:lnTo>
                    <a:lnTo>
                      <a:pt x="166" y="80"/>
                    </a:lnTo>
                    <a:lnTo>
                      <a:pt x="166" y="0"/>
                    </a:lnTo>
                    <a:lnTo>
                      <a:pt x="228" y="0"/>
                    </a:lnTo>
                    <a:lnTo>
                      <a:pt x="228" y="80"/>
                    </a:lnTo>
                    <a:lnTo>
                      <a:pt x="244" y="83"/>
                    </a:lnTo>
                    <a:lnTo>
                      <a:pt x="260" y="85"/>
                    </a:lnTo>
                    <a:lnTo>
                      <a:pt x="275" y="88"/>
                    </a:lnTo>
                    <a:lnTo>
                      <a:pt x="291" y="92"/>
                    </a:lnTo>
                    <a:lnTo>
                      <a:pt x="306" y="98"/>
                    </a:lnTo>
                    <a:lnTo>
                      <a:pt x="321" y="103"/>
                    </a:lnTo>
                    <a:lnTo>
                      <a:pt x="335" y="110"/>
                    </a:lnTo>
                    <a:lnTo>
                      <a:pt x="349" y="118"/>
                    </a:lnTo>
                    <a:lnTo>
                      <a:pt x="301" y="216"/>
                    </a:lnTo>
                    <a:lnTo>
                      <a:pt x="291" y="209"/>
                    </a:lnTo>
                    <a:lnTo>
                      <a:pt x="281" y="203"/>
                    </a:lnTo>
                    <a:lnTo>
                      <a:pt x="271" y="197"/>
                    </a:lnTo>
                    <a:lnTo>
                      <a:pt x="260" y="192"/>
                    </a:lnTo>
                    <a:lnTo>
                      <a:pt x="250" y="189"/>
                    </a:lnTo>
                    <a:lnTo>
                      <a:pt x="238" y="185"/>
                    </a:lnTo>
                    <a:lnTo>
                      <a:pt x="227" y="184"/>
                    </a:lnTo>
                    <a:lnTo>
                      <a:pt x="215" y="183"/>
                    </a:lnTo>
                    <a:lnTo>
                      <a:pt x="204" y="183"/>
                    </a:lnTo>
                    <a:lnTo>
                      <a:pt x="194" y="185"/>
                    </a:lnTo>
                    <a:lnTo>
                      <a:pt x="184" y="188"/>
                    </a:lnTo>
                    <a:lnTo>
                      <a:pt x="175" y="191"/>
                    </a:lnTo>
                    <a:lnTo>
                      <a:pt x="168" y="197"/>
                    </a:lnTo>
                    <a:lnTo>
                      <a:pt x="162" y="204"/>
                    </a:lnTo>
                    <a:lnTo>
                      <a:pt x="159" y="212"/>
                    </a:lnTo>
                    <a:lnTo>
                      <a:pt x="158" y="221"/>
                    </a:lnTo>
                    <a:lnTo>
                      <a:pt x="160" y="231"/>
                    </a:lnTo>
                    <a:lnTo>
                      <a:pt x="165" y="241"/>
                    </a:lnTo>
                    <a:lnTo>
                      <a:pt x="173" y="249"/>
                    </a:lnTo>
                    <a:lnTo>
                      <a:pt x="182" y="256"/>
                    </a:lnTo>
                    <a:lnTo>
                      <a:pt x="192" y="261"/>
                    </a:lnTo>
                    <a:lnTo>
                      <a:pt x="204" y="266"/>
                    </a:lnTo>
                    <a:lnTo>
                      <a:pt x="214" y="269"/>
                    </a:lnTo>
                    <a:lnTo>
                      <a:pt x="223" y="273"/>
                    </a:lnTo>
                    <a:lnTo>
                      <a:pt x="252" y="282"/>
                    </a:lnTo>
                    <a:lnTo>
                      <a:pt x="279" y="294"/>
                    </a:lnTo>
                    <a:lnTo>
                      <a:pt x="303" y="306"/>
                    </a:lnTo>
                    <a:lnTo>
                      <a:pt x="325" y="321"/>
                    </a:lnTo>
                    <a:lnTo>
                      <a:pt x="343" y="340"/>
                    </a:lnTo>
                    <a:lnTo>
                      <a:pt x="357" y="362"/>
                    </a:lnTo>
                    <a:lnTo>
                      <a:pt x="365" y="388"/>
                    </a:lnTo>
                    <a:lnTo>
                      <a:pt x="369" y="420"/>
                    </a:lnTo>
                    <a:lnTo>
                      <a:pt x="366" y="454"/>
                    </a:lnTo>
                    <a:lnTo>
                      <a:pt x="358" y="483"/>
                    </a:lnTo>
                    <a:lnTo>
                      <a:pt x="347" y="508"/>
                    </a:lnTo>
                    <a:lnTo>
                      <a:pt x="331" y="530"/>
                    </a:lnTo>
                    <a:lnTo>
                      <a:pt x="311" y="548"/>
                    </a:lnTo>
                    <a:lnTo>
                      <a:pt x="287" y="563"/>
                    </a:lnTo>
                    <a:lnTo>
                      <a:pt x="259" y="575"/>
                    </a:lnTo>
                    <a:lnTo>
                      <a:pt x="228" y="584"/>
                    </a:lnTo>
                    <a:lnTo>
                      <a:pt x="228" y="668"/>
                    </a:lnTo>
                    <a:lnTo>
                      <a:pt x="166" y="668"/>
                    </a:lnTo>
                    <a:lnTo>
                      <a:pt x="166" y="589"/>
                    </a:lnTo>
                    <a:lnTo>
                      <a:pt x="154" y="589"/>
                    </a:lnTo>
                    <a:lnTo>
                      <a:pt x="144" y="587"/>
                    </a:lnTo>
                    <a:lnTo>
                      <a:pt x="132" y="586"/>
                    </a:lnTo>
                    <a:lnTo>
                      <a:pt x="122" y="584"/>
                    </a:lnTo>
                    <a:lnTo>
                      <a:pt x="111" y="582"/>
                    </a:lnTo>
                    <a:lnTo>
                      <a:pt x="100" y="579"/>
                    </a:lnTo>
                    <a:lnTo>
                      <a:pt x="90" y="576"/>
                    </a:lnTo>
                    <a:lnTo>
                      <a:pt x="80" y="571"/>
                    </a:lnTo>
                    <a:lnTo>
                      <a:pt x="69" y="568"/>
                    </a:lnTo>
                    <a:lnTo>
                      <a:pt x="58" y="563"/>
                    </a:lnTo>
                    <a:lnTo>
                      <a:pt x="47" y="559"/>
                    </a:lnTo>
                    <a:lnTo>
                      <a:pt x="37" y="553"/>
                    </a:lnTo>
                    <a:lnTo>
                      <a:pt x="28" y="548"/>
                    </a:lnTo>
                    <a:lnTo>
                      <a:pt x="17" y="541"/>
                    </a:lnTo>
                    <a:lnTo>
                      <a:pt x="8" y="534"/>
                    </a:lnTo>
                    <a:lnTo>
                      <a:pt x="0" y="527"/>
                    </a:lnTo>
                    <a:lnTo>
                      <a:pt x="55" y="426"/>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grpSp>
      </p:grpSp>
      <p:grpSp>
        <p:nvGrpSpPr>
          <p:cNvPr id="1268" name="Group 1267">
            <a:extLst>
              <a:ext uri="{FF2B5EF4-FFF2-40B4-BE49-F238E27FC236}">
                <a16:creationId xmlns:a16="http://schemas.microsoft.com/office/drawing/2014/main" id="{92712998-C2F2-46BF-92F4-AFD7D39B92A4}"/>
              </a:ext>
            </a:extLst>
          </p:cNvPr>
          <p:cNvGrpSpPr/>
          <p:nvPr/>
        </p:nvGrpSpPr>
        <p:grpSpPr>
          <a:xfrm>
            <a:off x="2476221" y="3169353"/>
            <a:ext cx="612775" cy="612775"/>
            <a:chOff x="1321592" y="3807696"/>
            <a:chExt cx="612775" cy="612775"/>
          </a:xfrm>
        </p:grpSpPr>
        <p:sp>
          <p:nvSpPr>
            <p:cNvPr id="1269" name="Oval 1268">
              <a:extLst>
                <a:ext uri="{FF2B5EF4-FFF2-40B4-BE49-F238E27FC236}">
                  <a16:creationId xmlns:a16="http://schemas.microsoft.com/office/drawing/2014/main" id="{6799D928-0EBF-45B6-BFC6-8DDB66879C96}"/>
                </a:ext>
              </a:extLst>
            </p:cNvPr>
            <p:cNvSpPr/>
            <p:nvPr/>
          </p:nvSpPr>
          <p:spPr bwMode="ltGray">
            <a:xfrm>
              <a:off x="1321592" y="3807696"/>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270" name="Group 73">
              <a:extLst>
                <a:ext uri="{FF2B5EF4-FFF2-40B4-BE49-F238E27FC236}">
                  <a16:creationId xmlns:a16="http://schemas.microsoft.com/office/drawing/2014/main" id="{7EE56A32-E535-4C58-B498-2F18A9B043DA}"/>
                </a:ext>
              </a:extLst>
            </p:cNvPr>
            <p:cNvGrpSpPr>
              <a:grpSpLocks noChangeAspect="1"/>
            </p:cNvGrpSpPr>
            <p:nvPr/>
          </p:nvGrpSpPr>
          <p:grpSpPr bwMode="auto">
            <a:xfrm>
              <a:off x="1447693" y="3881954"/>
              <a:ext cx="356266" cy="475466"/>
              <a:chOff x="2471" y="1570"/>
              <a:chExt cx="534" cy="713"/>
            </a:xfrm>
            <a:solidFill>
              <a:srgbClr val="3C3C3E"/>
            </a:solidFill>
          </p:grpSpPr>
          <p:sp>
            <p:nvSpPr>
              <p:cNvPr id="1271" name="Freeform 74">
                <a:extLst>
                  <a:ext uri="{FF2B5EF4-FFF2-40B4-BE49-F238E27FC236}">
                    <a16:creationId xmlns:a16="http://schemas.microsoft.com/office/drawing/2014/main" id="{71ADCAE2-EF7B-484A-B272-CE8AF41CE2FC}"/>
                  </a:ext>
                </a:extLst>
              </p:cNvPr>
              <p:cNvSpPr>
                <a:spLocks noChangeAspect="1"/>
              </p:cNvSpPr>
              <p:nvPr/>
            </p:nvSpPr>
            <p:spPr bwMode="auto">
              <a:xfrm>
                <a:off x="2471" y="1737"/>
                <a:ext cx="534" cy="546"/>
              </a:xfrm>
              <a:custGeom>
                <a:avLst/>
                <a:gdLst>
                  <a:gd name="T0" fmla="*/ 198 w 1068"/>
                  <a:gd name="T1" fmla="*/ 36 h 1092"/>
                  <a:gd name="T2" fmla="*/ 223 w 1068"/>
                  <a:gd name="T3" fmla="*/ 75 h 1092"/>
                  <a:gd name="T4" fmla="*/ 238 w 1068"/>
                  <a:gd name="T5" fmla="*/ 111 h 1092"/>
                  <a:gd name="T6" fmla="*/ 247 w 1068"/>
                  <a:gd name="T7" fmla="*/ 141 h 1092"/>
                  <a:gd name="T8" fmla="*/ 251 w 1068"/>
                  <a:gd name="T9" fmla="*/ 160 h 1092"/>
                  <a:gd name="T10" fmla="*/ 250 w 1068"/>
                  <a:gd name="T11" fmla="*/ 182 h 1092"/>
                  <a:gd name="T12" fmla="*/ 235 w 1068"/>
                  <a:gd name="T13" fmla="*/ 219 h 1092"/>
                  <a:gd name="T14" fmla="*/ 209 w 1068"/>
                  <a:gd name="T15" fmla="*/ 241 h 1092"/>
                  <a:gd name="T16" fmla="*/ 180 w 1068"/>
                  <a:gd name="T17" fmla="*/ 253 h 1092"/>
                  <a:gd name="T18" fmla="*/ 155 w 1068"/>
                  <a:gd name="T19" fmla="*/ 258 h 1092"/>
                  <a:gd name="T20" fmla="*/ 144 w 1068"/>
                  <a:gd name="T21" fmla="*/ 258 h 1092"/>
                  <a:gd name="T22" fmla="*/ 119 w 1068"/>
                  <a:gd name="T23" fmla="*/ 257 h 1092"/>
                  <a:gd name="T24" fmla="*/ 97 w 1068"/>
                  <a:gd name="T25" fmla="*/ 253 h 1092"/>
                  <a:gd name="T26" fmla="*/ 77 w 1068"/>
                  <a:gd name="T27" fmla="*/ 247 h 1092"/>
                  <a:gd name="T28" fmla="*/ 60 w 1068"/>
                  <a:gd name="T29" fmla="*/ 238 h 1092"/>
                  <a:gd name="T30" fmla="*/ 45 w 1068"/>
                  <a:gd name="T31" fmla="*/ 227 h 1092"/>
                  <a:gd name="T32" fmla="*/ 25 w 1068"/>
                  <a:gd name="T33" fmla="*/ 203 h 1092"/>
                  <a:gd name="T34" fmla="*/ 17 w 1068"/>
                  <a:gd name="T35" fmla="*/ 176 h 1092"/>
                  <a:gd name="T36" fmla="*/ 14 w 1068"/>
                  <a:gd name="T37" fmla="*/ 164 h 1092"/>
                  <a:gd name="T38" fmla="*/ 25 w 1068"/>
                  <a:gd name="T39" fmla="*/ 118 h 1092"/>
                  <a:gd name="T40" fmla="*/ 45 w 1068"/>
                  <a:gd name="T41" fmla="*/ 79 h 1092"/>
                  <a:gd name="T42" fmla="*/ 70 w 1068"/>
                  <a:gd name="T43" fmla="*/ 47 h 1092"/>
                  <a:gd name="T44" fmla="*/ 92 w 1068"/>
                  <a:gd name="T45" fmla="*/ 24 h 1092"/>
                  <a:gd name="T46" fmla="*/ 105 w 1068"/>
                  <a:gd name="T47" fmla="*/ 13 h 1092"/>
                  <a:gd name="T48" fmla="*/ 96 w 1068"/>
                  <a:gd name="T49" fmla="*/ 2 h 1092"/>
                  <a:gd name="T50" fmla="*/ 81 w 1068"/>
                  <a:gd name="T51" fmla="*/ 14 h 1092"/>
                  <a:gd name="T52" fmla="*/ 58 w 1068"/>
                  <a:gd name="T53" fmla="*/ 38 h 1092"/>
                  <a:gd name="T54" fmla="*/ 33 w 1068"/>
                  <a:gd name="T55" fmla="*/ 72 h 1092"/>
                  <a:gd name="T56" fmla="*/ 10 w 1068"/>
                  <a:gd name="T57" fmla="*/ 114 h 1092"/>
                  <a:gd name="T58" fmla="*/ 0 w 1068"/>
                  <a:gd name="T59" fmla="*/ 163 h 1092"/>
                  <a:gd name="T60" fmla="*/ 1 w 1068"/>
                  <a:gd name="T61" fmla="*/ 178 h 1092"/>
                  <a:gd name="T62" fmla="*/ 12 w 1068"/>
                  <a:gd name="T63" fmla="*/ 210 h 1092"/>
                  <a:gd name="T64" fmla="*/ 35 w 1068"/>
                  <a:gd name="T65" fmla="*/ 238 h 1092"/>
                  <a:gd name="T66" fmla="*/ 51 w 1068"/>
                  <a:gd name="T67" fmla="*/ 251 h 1092"/>
                  <a:gd name="T68" fmla="*/ 71 w 1068"/>
                  <a:gd name="T69" fmla="*/ 261 h 1092"/>
                  <a:gd name="T70" fmla="*/ 92 w 1068"/>
                  <a:gd name="T71" fmla="*/ 268 h 1092"/>
                  <a:gd name="T72" fmla="*/ 117 w 1068"/>
                  <a:gd name="T73" fmla="*/ 272 h 1092"/>
                  <a:gd name="T74" fmla="*/ 144 w 1068"/>
                  <a:gd name="T75" fmla="*/ 273 h 1092"/>
                  <a:gd name="T76" fmla="*/ 156 w 1068"/>
                  <a:gd name="T77" fmla="*/ 273 h 1092"/>
                  <a:gd name="T78" fmla="*/ 183 w 1068"/>
                  <a:gd name="T79" fmla="*/ 268 h 1092"/>
                  <a:gd name="T80" fmla="*/ 217 w 1068"/>
                  <a:gd name="T81" fmla="*/ 254 h 1092"/>
                  <a:gd name="T82" fmla="*/ 247 w 1068"/>
                  <a:gd name="T83" fmla="*/ 228 h 1092"/>
                  <a:gd name="T84" fmla="*/ 266 w 1068"/>
                  <a:gd name="T85" fmla="*/ 185 h 1092"/>
                  <a:gd name="T86" fmla="*/ 267 w 1068"/>
                  <a:gd name="T87" fmla="*/ 165 h 1092"/>
                  <a:gd name="T88" fmla="*/ 266 w 1068"/>
                  <a:gd name="T89" fmla="*/ 154 h 1092"/>
                  <a:gd name="T90" fmla="*/ 261 w 1068"/>
                  <a:gd name="T91" fmla="*/ 131 h 1092"/>
                  <a:gd name="T92" fmla="*/ 249 w 1068"/>
                  <a:gd name="T93" fmla="*/ 96 h 1092"/>
                  <a:gd name="T94" fmla="*/ 229 w 1068"/>
                  <a:gd name="T95" fmla="*/ 55 h 1092"/>
                  <a:gd name="T96" fmla="*/ 198 w 1068"/>
                  <a:gd name="T97" fmla="*/ 13 h 10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68"/>
                  <a:gd name="T148" fmla="*/ 0 h 1092"/>
                  <a:gd name="T149" fmla="*/ 1068 w 1068"/>
                  <a:gd name="T150" fmla="*/ 1092 h 10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68" h="1092">
                    <a:moveTo>
                      <a:pt x="701" y="41"/>
                    </a:moveTo>
                    <a:lnTo>
                      <a:pt x="749" y="92"/>
                    </a:lnTo>
                    <a:lnTo>
                      <a:pt x="792" y="144"/>
                    </a:lnTo>
                    <a:lnTo>
                      <a:pt x="830" y="196"/>
                    </a:lnTo>
                    <a:lnTo>
                      <a:pt x="863" y="248"/>
                    </a:lnTo>
                    <a:lnTo>
                      <a:pt x="892" y="300"/>
                    </a:lnTo>
                    <a:lnTo>
                      <a:pt x="916" y="349"/>
                    </a:lnTo>
                    <a:lnTo>
                      <a:pt x="938" y="399"/>
                    </a:lnTo>
                    <a:lnTo>
                      <a:pt x="955" y="445"/>
                    </a:lnTo>
                    <a:lnTo>
                      <a:pt x="969" y="489"/>
                    </a:lnTo>
                    <a:lnTo>
                      <a:pt x="982" y="528"/>
                    </a:lnTo>
                    <a:lnTo>
                      <a:pt x="991" y="565"/>
                    </a:lnTo>
                    <a:lnTo>
                      <a:pt x="997" y="596"/>
                    </a:lnTo>
                    <a:lnTo>
                      <a:pt x="1002" y="622"/>
                    </a:lnTo>
                    <a:lnTo>
                      <a:pt x="1006" y="642"/>
                    </a:lnTo>
                    <a:lnTo>
                      <a:pt x="1007" y="657"/>
                    </a:lnTo>
                    <a:lnTo>
                      <a:pt x="1008" y="664"/>
                    </a:lnTo>
                    <a:lnTo>
                      <a:pt x="1002" y="728"/>
                    </a:lnTo>
                    <a:lnTo>
                      <a:pt x="989" y="786"/>
                    </a:lnTo>
                    <a:lnTo>
                      <a:pt x="968" y="835"/>
                    </a:lnTo>
                    <a:lnTo>
                      <a:pt x="940" y="877"/>
                    </a:lnTo>
                    <a:lnTo>
                      <a:pt x="909" y="913"/>
                    </a:lnTo>
                    <a:lnTo>
                      <a:pt x="873" y="943"/>
                    </a:lnTo>
                    <a:lnTo>
                      <a:pt x="837" y="967"/>
                    </a:lnTo>
                    <a:lnTo>
                      <a:pt x="797" y="986"/>
                    </a:lnTo>
                    <a:lnTo>
                      <a:pt x="758" y="1002"/>
                    </a:lnTo>
                    <a:lnTo>
                      <a:pt x="720" y="1013"/>
                    </a:lnTo>
                    <a:lnTo>
                      <a:pt x="685" y="1021"/>
                    </a:lnTo>
                    <a:lnTo>
                      <a:pt x="652" y="1027"/>
                    </a:lnTo>
                    <a:lnTo>
                      <a:pt x="623" y="1030"/>
                    </a:lnTo>
                    <a:lnTo>
                      <a:pt x="602" y="1031"/>
                    </a:lnTo>
                    <a:lnTo>
                      <a:pt x="587" y="1032"/>
                    </a:lnTo>
                    <a:lnTo>
                      <a:pt x="579" y="1032"/>
                    </a:lnTo>
                    <a:lnTo>
                      <a:pt x="544" y="1032"/>
                    </a:lnTo>
                    <a:lnTo>
                      <a:pt x="512" y="1030"/>
                    </a:lnTo>
                    <a:lnTo>
                      <a:pt x="479" y="1028"/>
                    </a:lnTo>
                    <a:lnTo>
                      <a:pt x="448" y="1024"/>
                    </a:lnTo>
                    <a:lnTo>
                      <a:pt x="418" y="1019"/>
                    </a:lnTo>
                    <a:lnTo>
                      <a:pt x="390" y="1013"/>
                    </a:lnTo>
                    <a:lnTo>
                      <a:pt x="362" y="1006"/>
                    </a:lnTo>
                    <a:lnTo>
                      <a:pt x="335" y="998"/>
                    </a:lnTo>
                    <a:lnTo>
                      <a:pt x="310" y="989"/>
                    </a:lnTo>
                    <a:lnTo>
                      <a:pt x="286" y="978"/>
                    </a:lnTo>
                    <a:lnTo>
                      <a:pt x="263" y="968"/>
                    </a:lnTo>
                    <a:lnTo>
                      <a:pt x="241" y="955"/>
                    </a:lnTo>
                    <a:lnTo>
                      <a:pt x="219" y="941"/>
                    </a:lnTo>
                    <a:lnTo>
                      <a:pt x="200" y="928"/>
                    </a:lnTo>
                    <a:lnTo>
                      <a:pt x="181" y="911"/>
                    </a:lnTo>
                    <a:lnTo>
                      <a:pt x="164" y="895"/>
                    </a:lnTo>
                    <a:lnTo>
                      <a:pt x="129" y="855"/>
                    </a:lnTo>
                    <a:lnTo>
                      <a:pt x="103" y="813"/>
                    </a:lnTo>
                    <a:lnTo>
                      <a:pt x="84" y="774"/>
                    </a:lnTo>
                    <a:lnTo>
                      <a:pt x="72" y="737"/>
                    </a:lnTo>
                    <a:lnTo>
                      <a:pt x="65" y="705"/>
                    </a:lnTo>
                    <a:lnTo>
                      <a:pt x="60" y="680"/>
                    </a:lnTo>
                    <a:lnTo>
                      <a:pt x="59" y="663"/>
                    </a:lnTo>
                    <a:lnTo>
                      <a:pt x="59" y="657"/>
                    </a:lnTo>
                    <a:lnTo>
                      <a:pt x="66" y="595"/>
                    </a:lnTo>
                    <a:lnTo>
                      <a:pt x="80" y="533"/>
                    </a:lnTo>
                    <a:lnTo>
                      <a:pt x="101" y="475"/>
                    </a:lnTo>
                    <a:lnTo>
                      <a:pt x="125" y="419"/>
                    </a:lnTo>
                    <a:lnTo>
                      <a:pt x="152" y="366"/>
                    </a:lnTo>
                    <a:lnTo>
                      <a:pt x="183" y="316"/>
                    </a:lnTo>
                    <a:lnTo>
                      <a:pt x="216" y="270"/>
                    </a:lnTo>
                    <a:lnTo>
                      <a:pt x="249" y="227"/>
                    </a:lnTo>
                    <a:lnTo>
                      <a:pt x="283" y="188"/>
                    </a:lnTo>
                    <a:lnTo>
                      <a:pt x="314" y="154"/>
                    </a:lnTo>
                    <a:lnTo>
                      <a:pt x="344" y="123"/>
                    </a:lnTo>
                    <a:lnTo>
                      <a:pt x="371" y="99"/>
                    </a:lnTo>
                    <a:lnTo>
                      <a:pt x="393" y="78"/>
                    </a:lnTo>
                    <a:lnTo>
                      <a:pt x="412" y="63"/>
                    </a:lnTo>
                    <a:lnTo>
                      <a:pt x="423" y="54"/>
                    </a:lnTo>
                    <a:lnTo>
                      <a:pt x="428" y="51"/>
                    </a:lnTo>
                    <a:lnTo>
                      <a:pt x="391" y="3"/>
                    </a:lnTo>
                    <a:lnTo>
                      <a:pt x="384" y="8"/>
                    </a:lnTo>
                    <a:lnTo>
                      <a:pt x="370" y="20"/>
                    </a:lnTo>
                    <a:lnTo>
                      <a:pt x="350" y="37"/>
                    </a:lnTo>
                    <a:lnTo>
                      <a:pt x="326" y="59"/>
                    </a:lnTo>
                    <a:lnTo>
                      <a:pt x="297" y="85"/>
                    </a:lnTo>
                    <a:lnTo>
                      <a:pt x="266" y="117"/>
                    </a:lnTo>
                    <a:lnTo>
                      <a:pt x="233" y="154"/>
                    </a:lnTo>
                    <a:lnTo>
                      <a:pt x="197" y="196"/>
                    </a:lnTo>
                    <a:lnTo>
                      <a:pt x="163" y="241"/>
                    </a:lnTo>
                    <a:lnTo>
                      <a:pt x="129" y="290"/>
                    </a:lnTo>
                    <a:lnTo>
                      <a:pt x="97" y="343"/>
                    </a:lnTo>
                    <a:lnTo>
                      <a:pt x="68" y="400"/>
                    </a:lnTo>
                    <a:lnTo>
                      <a:pt x="43" y="459"/>
                    </a:lnTo>
                    <a:lnTo>
                      <a:pt x="22" y="522"/>
                    </a:lnTo>
                    <a:lnTo>
                      <a:pt x="8" y="586"/>
                    </a:lnTo>
                    <a:lnTo>
                      <a:pt x="0" y="654"/>
                    </a:lnTo>
                    <a:lnTo>
                      <a:pt x="0" y="664"/>
                    </a:lnTo>
                    <a:lnTo>
                      <a:pt x="1" y="684"/>
                    </a:lnTo>
                    <a:lnTo>
                      <a:pt x="6" y="714"/>
                    </a:lnTo>
                    <a:lnTo>
                      <a:pt x="15" y="752"/>
                    </a:lnTo>
                    <a:lnTo>
                      <a:pt x="29" y="795"/>
                    </a:lnTo>
                    <a:lnTo>
                      <a:pt x="50" y="841"/>
                    </a:lnTo>
                    <a:lnTo>
                      <a:pt x="80" y="890"/>
                    </a:lnTo>
                    <a:lnTo>
                      <a:pt x="120" y="937"/>
                    </a:lnTo>
                    <a:lnTo>
                      <a:pt x="140" y="955"/>
                    </a:lnTo>
                    <a:lnTo>
                      <a:pt x="160" y="974"/>
                    </a:lnTo>
                    <a:lnTo>
                      <a:pt x="183" y="990"/>
                    </a:lnTo>
                    <a:lnTo>
                      <a:pt x="206" y="1005"/>
                    </a:lnTo>
                    <a:lnTo>
                      <a:pt x="231" y="1019"/>
                    </a:lnTo>
                    <a:lnTo>
                      <a:pt x="257" y="1031"/>
                    </a:lnTo>
                    <a:lnTo>
                      <a:pt x="284" y="1043"/>
                    </a:lnTo>
                    <a:lnTo>
                      <a:pt x="311" y="1053"/>
                    </a:lnTo>
                    <a:lnTo>
                      <a:pt x="341" y="1062"/>
                    </a:lnTo>
                    <a:lnTo>
                      <a:pt x="371" y="1070"/>
                    </a:lnTo>
                    <a:lnTo>
                      <a:pt x="403" y="1077"/>
                    </a:lnTo>
                    <a:lnTo>
                      <a:pt x="436" y="1083"/>
                    </a:lnTo>
                    <a:lnTo>
                      <a:pt x="470" y="1087"/>
                    </a:lnTo>
                    <a:lnTo>
                      <a:pt x="505" y="1090"/>
                    </a:lnTo>
                    <a:lnTo>
                      <a:pt x="542" y="1091"/>
                    </a:lnTo>
                    <a:lnTo>
                      <a:pt x="579" y="1092"/>
                    </a:lnTo>
                    <a:lnTo>
                      <a:pt x="584" y="1092"/>
                    </a:lnTo>
                    <a:lnTo>
                      <a:pt x="600" y="1091"/>
                    </a:lnTo>
                    <a:lnTo>
                      <a:pt x="625" y="1090"/>
                    </a:lnTo>
                    <a:lnTo>
                      <a:pt x="656" y="1085"/>
                    </a:lnTo>
                    <a:lnTo>
                      <a:pt x="693" y="1080"/>
                    </a:lnTo>
                    <a:lnTo>
                      <a:pt x="733" y="1070"/>
                    </a:lnTo>
                    <a:lnTo>
                      <a:pt x="777" y="1057"/>
                    </a:lnTo>
                    <a:lnTo>
                      <a:pt x="822" y="1039"/>
                    </a:lnTo>
                    <a:lnTo>
                      <a:pt x="868" y="1017"/>
                    </a:lnTo>
                    <a:lnTo>
                      <a:pt x="911" y="989"/>
                    </a:lnTo>
                    <a:lnTo>
                      <a:pt x="952" y="954"/>
                    </a:lnTo>
                    <a:lnTo>
                      <a:pt x="989" y="913"/>
                    </a:lnTo>
                    <a:lnTo>
                      <a:pt x="1021" y="863"/>
                    </a:lnTo>
                    <a:lnTo>
                      <a:pt x="1045" y="805"/>
                    </a:lnTo>
                    <a:lnTo>
                      <a:pt x="1061" y="740"/>
                    </a:lnTo>
                    <a:lnTo>
                      <a:pt x="1068" y="664"/>
                    </a:lnTo>
                    <a:lnTo>
                      <a:pt x="1068" y="661"/>
                    </a:lnTo>
                    <a:lnTo>
                      <a:pt x="1068" y="660"/>
                    </a:lnTo>
                    <a:lnTo>
                      <a:pt x="1067" y="653"/>
                    </a:lnTo>
                    <a:lnTo>
                      <a:pt x="1066" y="639"/>
                    </a:lnTo>
                    <a:lnTo>
                      <a:pt x="1062" y="619"/>
                    </a:lnTo>
                    <a:lnTo>
                      <a:pt x="1058" y="591"/>
                    </a:lnTo>
                    <a:lnTo>
                      <a:pt x="1051" y="559"/>
                    </a:lnTo>
                    <a:lnTo>
                      <a:pt x="1042" y="521"/>
                    </a:lnTo>
                    <a:lnTo>
                      <a:pt x="1030" y="478"/>
                    </a:lnTo>
                    <a:lnTo>
                      <a:pt x="1015" y="432"/>
                    </a:lnTo>
                    <a:lnTo>
                      <a:pt x="997" y="384"/>
                    </a:lnTo>
                    <a:lnTo>
                      <a:pt x="975" y="332"/>
                    </a:lnTo>
                    <a:lnTo>
                      <a:pt x="948" y="278"/>
                    </a:lnTo>
                    <a:lnTo>
                      <a:pt x="917" y="222"/>
                    </a:lnTo>
                    <a:lnTo>
                      <a:pt x="881" y="167"/>
                    </a:lnTo>
                    <a:lnTo>
                      <a:pt x="841" y="111"/>
                    </a:lnTo>
                    <a:lnTo>
                      <a:pt x="795" y="54"/>
                    </a:lnTo>
                    <a:lnTo>
                      <a:pt x="743" y="0"/>
                    </a:lnTo>
                    <a:lnTo>
                      <a:pt x="701" y="41"/>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72" name="Freeform 75">
                <a:extLst>
                  <a:ext uri="{FF2B5EF4-FFF2-40B4-BE49-F238E27FC236}">
                    <a16:creationId xmlns:a16="http://schemas.microsoft.com/office/drawing/2014/main" id="{99F70612-3ACC-4DB4-9D37-113DB7FC6C4C}"/>
                  </a:ext>
                </a:extLst>
              </p:cNvPr>
              <p:cNvSpPr>
                <a:spLocks noChangeAspect="1"/>
              </p:cNvSpPr>
              <p:nvPr/>
            </p:nvSpPr>
            <p:spPr bwMode="auto">
              <a:xfrm>
                <a:off x="2644" y="1729"/>
                <a:ext cx="222" cy="45"/>
              </a:xfrm>
              <a:custGeom>
                <a:avLst/>
                <a:gdLst>
                  <a:gd name="T0" fmla="*/ 102 w 443"/>
                  <a:gd name="T1" fmla="*/ 1 h 90"/>
                  <a:gd name="T2" fmla="*/ 91 w 443"/>
                  <a:gd name="T3" fmla="*/ 3 h 90"/>
                  <a:gd name="T4" fmla="*/ 81 w 443"/>
                  <a:gd name="T5" fmla="*/ 5 h 90"/>
                  <a:gd name="T6" fmla="*/ 71 w 443"/>
                  <a:gd name="T7" fmla="*/ 6 h 90"/>
                  <a:gd name="T8" fmla="*/ 63 w 443"/>
                  <a:gd name="T9" fmla="*/ 7 h 90"/>
                  <a:gd name="T10" fmla="*/ 54 w 443"/>
                  <a:gd name="T11" fmla="*/ 7 h 90"/>
                  <a:gd name="T12" fmla="*/ 47 w 443"/>
                  <a:gd name="T13" fmla="*/ 7 h 90"/>
                  <a:gd name="T14" fmla="*/ 40 w 443"/>
                  <a:gd name="T15" fmla="*/ 7 h 90"/>
                  <a:gd name="T16" fmla="*/ 34 w 443"/>
                  <a:gd name="T17" fmla="*/ 6 h 90"/>
                  <a:gd name="T18" fmla="*/ 29 w 443"/>
                  <a:gd name="T19" fmla="*/ 6 h 90"/>
                  <a:gd name="T20" fmla="*/ 24 w 443"/>
                  <a:gd name="T21" fmla="*/ 5 h 90"/>
                  <a:gd name="T22" fmla="*/ 20 w 443"/>
                  <a:gd name="T23" fmla="*/ 4 h 90"/>
                  <a:gd name="T24" fmla="*/ 17 w 443"/>
                  <a:gd name="T25" fmla="*/ 3 h 90"/>
                  <a:gd name="T26" fmla="*/ 14 w 443"/>
                  <a:gd name="T27" fmla="*/ 3 h 90"/>
                  <a:gd name="T28" fmla="*/ 12 w 443"/>
                  <a:gd name="T29" fmla="*/ 1 h 90"/>
                  <a:gd name="T30" fmla="*/ 11 w 443"/>
                  <a:gd name="T31" fmla="*/ 1 h 90"/>
                  <a:gd name="T32" fmla="*/ 11 w 443"/>
                  <a:gd name="T33" fmla="*/ 1 h 90"/>
                  <a:gd name="T34" fmla="*/ 10 w 443"/>
                  <a:gd name="T35" fmla="*/ 1 h 90"/>
                  <a:gd name="T36" fmla="*/ 8 w 443"/>
                  <a:gd name="T37" fmla="*/ 0 h 90"/>
                  <a:gd name="T38" fmla="*/ 7 w 443"/>
                  <a:gd name="T39" fmla="*/ 0 h 90"/>
                  <a:gd name="T40" fmla="*/ 6 w 443"/>
                  <a:gd name="T41" fmla="*/ 1 h 90"/>
                  <a:gd name="T42" fmla="*/ 4 w 443"/>
                  <a:gd name="T43" fmla="*/ 1 h 90"/>
                  <a:gd name="T44" fmla="*/ 3 w 443"/>
                  <a:gd name="T45" fmla="*/ 1 h 90"/>
                  <a:gd name="T46" fmla="*/ 2 w 443"/>
                  <a:gd name="T47" fmla="*/ 3 h 90"/>
                  <a:gd name="T48" fmla="*/ 1 w 443"/>
                  <a:gd name="T49" fmla="*/ 4 h 90"/>
                  <a:gd name="T50" fmla="*/ 0 w 443"/>
                  <a:gd name="T51" fmla="*/ 6 h 90"/>
                  <a:gd name="T52" fmla="*/ 1 w 443"/>
                  <a:gd name="T53" fmla="*/ 10 h 90"/>
                  <a:gd name="T54" fmla="*/ 2 w 443"/>
                  <a:gd name="T55" fmla="*/ 12 h 90"/>
                  <a:gd name="T56" fmla="*/ 4 w 443"/>
                  <a:gd name="T57" fmla="*/ 14 h 90"/>
                  <a:gd name="T58" fmla="*/ 5 w 443"/>
                  <a:gd name="T59" fmla="*/ 14 h 90"/>
                  <a:gd name="T60" fmla="*/ 6 w 443"/>
                  <a:gd name="T61" fmla="*/ 15 h 90"/>
                  <a:gd name="T62" fmla="*/ 8 w 443"/>
                  <a:gd name="T63" fmla="*/ 15 h 90"/>
                  <a:gd name="T64" fmla="*/ 11 w 443"/>
                  <a:gd name="T65" fmla="*/ 17 h 90"/>
                  <a:gd name="T66" fmla="*/ 15 w 443"/>
                  <a:gd name="T67" fmla="*/ 18 h 90"/>
                  <a:gd name="T68" fmla="*/ 20 w 443"/>
                  <a:gd name="T69" fmla="*/ 19 h 90"/>
                  <a:gd name="T70" fmla="*/ 25 w 443"/>
                  <a:gd name="T71" fmla="*/ 20 h 90"/>
                  <a:gd name="T72" fmla="*/ 31 w 443"/>
                  <a:gd name="T73" fmla="*/ 21 h 90"/>
                  <a:gd name="T74" fmla="*/ 37 w 443"/>
                  <a:gd name="T75" fmla="*/ 22 h 90"/>
                  <a:gd name="T76" fmla="*/ 45 w 443"/>
                  <a:gd name="T77" fmla="*/ 23 h 90"/>
                  <a:gd name="T78" fmla="*/ 53 w 443"/>
                  <a:gd name="T79" fmla="*/ 23 h 90"/>
                  <a:gd name="T80" fmla="*/ 62 w 443"/>
                  <a:gd name="T81" fmla="*/ 22 h 90"/>
                  <a:gd name="T82" fmla="*/ 72 w 443"/>
                  <a:gd name="T83" fmla="*/ 21 h 90"/>
                  <a:gd name="T84" fmla="*/ 82 w 443"/>
                  <a:gd name="T85" fmla="*/ 20 h 90"/>
                  <a:gd name="T86" fmla="*/ 94 w 443"/>
                  <a:gd name="T87" fmla="*/ 18 h 90"/>
                  <a:gd name="T88" fmla="*/ 106 w 443"/>
                  <a:gd name="T89" fmla="*/ 14 h 90"/>
                  <a:gd name="T90" fmla="*/ 108 w 443"/>
                  <a:gd name="T91" fmla="*/ 13 h 90"/>
                  <a:gd name="T92" fmla="*/ 110 w 443"/>
                  <a:gd name="T93" fmla="*/ 11 h 90"/>
                  <a:gd name="T94" fmla="*/ 111 w 443"/>
                  <a:gd name="T95" fmla="*/ 9 h 90"/>
                  <a:gd name="T96" fmla="*/ 111 w 443"/>
                  <a:gd name="T97" fmla="*/ 6 h 90"/>
                  <a:gd name="T98" fmla="*/ 111 w 443"/>
                  <a:gd name="T99" fmla="*/ 4 h 90"/>
                  <a:gd name="T100" fmla="*/ 110 w 443"/>
                  <a:gd name="T101" fmla="*/ 3 h 90"/>
                  <a:gd name="T102" fmla="*/ 109 w 443"/>
                  <a:gd name="T103" fmla="*/ 1 h 90"/>
                  <a:gd name="T104" fmla="*/ 108 w 443"/>
                  <a:gd name="T105" fmla="*/ 1 h 90"/>
                  <a:gd name="T106" fmla="*/ 106 w 443"/>
                  <a:gd name="T107" fmla="*/ 1 h 90"/>
                  <a:gd name="T108" fmla="*/ 105 w 443"/>
                  <a:gd name="T109" fmla="*/ 0 h 90"/>
                  <a:gd name="T110" fmla="*/ 103 w 443"/>
                  <a:gd name="T111" fmla="*/ 0 h 90"/>
                  <a:gd name="T112" fmla="*/ 102 w 443"/>
                  <a:gd name="T113" fmla="*/ 1 h 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3"/>
                  <a:gd name="T172" fmla="*/ 0 h 90"/>
                  <a:gd name="T173" fmla="*/ 443 w 443"/>
                  <a:gd name="T174" fmla="*/ 90 h 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3" h="90">
                    <a:moveTo>
                      <a:pt x="406" y="1"/>
                    </a:moveTo>
                    <a:lnTo>
                      <a:pt x="363" y="11"/>
                    </a:lnTo>
                    <a:lnTo>
                      <a:pt x="322" y="19"/>
                    </a:lnTo>
                    <a:lnTo>
                      <a:pt x="284" y="25"/>
                    </a:lnTo>
                    <a:lnTo>
                      <a:pt x="249" y="29"/>
                    </a:lnTo>
                    <a:lnTo>
                      <a:pt x="216" y="30"/>
                    </a:lnTo>
                    <a:lnTo>
                      <a:pt x="186" y="30"/>
                    </a:lnTo>
                    <a:lnTo>
                      <a:pt x="159" y="29"/>
                    </a:lnTo>
                    <a:lnTo>
                      <a:pt x="135" y="26"/>
                    </a:lnTo>
                    <a:lnTo>
                      <a:pt x="114" y="23"/>
                    </a:lnTo>
                    <a:lnTo>
                      <a:pt x="95" y="19"/>
                    </a:lnTo>
                    <a:lnTo>
                      <a:pt x="79" y="16"/>
                    </a:lnTo>
                    <a:lnTo>
                      <a:pt x="67" y="11"/>
                    </a:lnTo>
                    <a:lnTo>
                      <a:pt x="56" y="9"/>
                    </a:lnTo>
                    <a:lnTo>
                      <a:pt x="48" y="6"/>
                    </a:lnTo>
                    <a:lnTo>
                      <a:pt x="44" y="4"/>
                    </a:lnTo>
                    <a:lnTo>
                      <a:pt x="42" y="3"/>
                    </a:lnTo>
                    <a:lnTo>
                      <a:pt x="37" y="1"/>
                    </a:lnTo>
                    <a:lnTo>
                      <a:pt x="31" y="0"/>
                    </a:lnTo>
                    <a:lnTo>
                      <a:pt x="26" y="0"/>
                    </a:lnTo>
                    <a:lnTo>
                      <a:pt x="21" y="1"/>
                    </a:lnTo>
                    <a:lnTo>
                      <a:pt x="15" y="3"/>
                    </a:lnTo>
                    <a:lnTo>
                      <a:pt x="10" y="7"/>
                    </a:lnTo>
                    <a:lnTo>
                      <a:pt x="7" y="11"/>
                    </a:lnTo>
                    <a:lnTo>
                      <a:pt x="3" y="16"/>
                    </a:lnTo>
                    <a:lnTo>
                      <a:pt x="0" y="27"/>
                    </a:lnTo>
                    <a:lnTo>
                      <a:pt x="1" y="38"/>
                    </a:lnTo>
                    <a:lnTo>
                      <a:pt x="6" y="48"/>
                    </a:lnTo>
                    <a:lnTo>
                      <a:pt x="15" y="56"/>
                    </a:lnTo>
                    <a:lnTo>
                      <a:pt x="17" y="57"/>
                    </a:lnTo>
                    <a:lnTo>
                      <a:pt x="23" y="60"/>
                    </a:lnTo>
                    <a:lnTo>
                      <a:pt x="32" y="63"/>
                    </a:lnTo>
                    <a:lnTo>
                      <a:pt x="44" y="68"/>
                    </a:lnTo>
                    <a:lnTo>
                      <a:pt x="59" y="71"/>
                    </a:lnTo>
                    <a:lnTo>
                      <a:pt x="77" y="76"/>
                    </a:lnTo>
                    <a:lnTo>
                      <a:pt x="98" y="80"/>
                    </a:lnTo>
                    <a:lnTo>
                      <a:pt x="122" y="84"/>
                    </a:lnTo>
                    <a:lnTo>
                      <a:pt x="148" y="87"/>
                    </a:lnTo>
                    <a:lnTo>
                      <a:pt x="178" y="89"/>
                    </a:lnTo>
                    <a:lnTo>
                      <a:pt x="212" y="90"/>
                    </a:lnTo>
                    <a:lnTo>
                      <a:pt x="248" y="87"/>
                    </a:lnTo>
                    <a:lnTo>
                      <a:pt x="287" y="84"/>
                    </a:lnTo>
                    <a:lnTo>
                      <a:pt x="328" y="78"/>
                    </a:lnTo>
                    <a:lnTo>
                      <a:pt x="373" y="70"/>
                    </a:lnTo>
                    <a:lnTo>
                      <a:pt x="421" y="59"/>
                    </a:lnTo>
                    <a:lnTo>
                      <a:pt x="432" y="53"/>
                    </a:lnTo>
                    <a:lnTo>
                      <a:pt x="440" y="45"/>
                    </a:lnTo>
                    <a:lnTo>
                      <a:pt x="443" y="33"/>
                    </a:lnTo>
                    <a:lnTo>
                      <a:pt x="443" y="22"/>
                    </a:lnTo>
                    <a:lnTo>
                      <a:pt x="441" y="16"/>
                    </a:lnTo>
                    <a:lnTo>
                      <a:pt x="438" y="11"/>
                    </a:lnTo>
                    <a:lnTo>
                      <a:pt x="434" y="7"/>
                    </a:lnTo>
                    <a:lnTo>
                      <a:pt x="430" y="3"/>
                    </a:lnTo>
                    <a:lnTo>
                      <a:pt x="424" y="1"/>
                    </a:lnTo>
                    <a:lnTo>
                      <a:pt x="418" y="0"/>
                    </a:lnTo>
                    <a:lnTo>
                      <a:pt x="412" y="0"/>
                    </a:lnTo>
                    <a:lnTo>
                      <a:pt x="406" y="1"/>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73" name="Freeform 76">
                <a:extLst>
                  <a:ext uri="{FF2B5EF4-FFF2-40B4-BE49-F238E27FC236}">
                    <a16:creationId xmlns:a16="http://schemas.microsoft.com/office/drawing/2014/main" id="{EFA0609D-9315-404F-9164-4556EEAA5180}"/>
                  </a:ext>
                </a:extLst>
              </p:cNvPr>
              <p:cNvSpPr>
                <a:spLocks noChangeAspect="1"/>
              </p:cNvSpPr>
              <p:nvPr/>
            </p:nvSpPr>
            <p:spPr bwMode="auto">
              <a:xfrm>
                <a:off x="2555" y="1570"/>
                <a:ext cx="436" cy="180"/>
              </a:xfrm>
              <a:custGeom>
                <a:avLst/>
                <a:gdLst>
                  <a:gd name="T0" fmla="*/ 70 w 872"/>
                  <a:gd name="T1" fmla="*/ 14 h 359"/>
                  <a:gd name="T2" fmla="*/ 67 w 872"/>
                  <a:gd name="T3" fmla="*/ 14 h 359"/>
                  <a:gd name="T4" fmla="*/ 61 w 872"/>
                  <a:gd name="T5" fmla="*/ 13 h 359"/>
                  <a:gd name="T6" fmla="*/ 56 w 872"/>
                  <a:gd name="T7" fmla="*/ 11 h 359"/>
                  <a:gd name="T8" fmla="*/ 50 w 872"/>
                  <a:gd name="T9" fmla="*/ 8 h 359"/>
                  <a:gd name="T10" fmla="*/ 36 w 872"/>
                  <a:gd name="T11" fmla="*/ 6 h 359"/>
                  <a:gd name="T12" fmla="*/ 18 w 872"/>
                  <a:gd name="T13" fmla="*/ 8 h 359"/>
                  <a:gd name="T14" fmla="*/ 9 w 872"/>
                  <a:gd name="T15" fmla="*/ 13 h 359"/>
                  <a:gd name="T16" fmla="*/ 10 w 872"/>
                  <a:gd name="T17" fmla="*/ 26 h 359"/>
                  <a:gd name="T18" fmla="*/ 38 w 872"/>
                  <a:gd name="T19" fmla="*/ 54 h 359"/>
                  <a:gd name="T20" fmla="*/ 48 w 872"/>
                  <a:gd name="T21" fmla="*/ 82 h 359"/>
                  <a:gd name="T22" fmla="*/ 63 w 872"/>
                  <a:gd name="T23" fmla="*/ 90 h 359"/>
                  <a:gd name="T24" fmla="*/ 61 w 872"/>
                  <a:gd name="T25" fmla="*/ 74 h 359"/>
                  <a:gd name="T26" fmla="*/ 49 w 872"/>
                  <a:gd name="T27" fmla="*/ 42 h 359"/>
                  <a:gd name="T28" fmla="*/ 31 w 872"/>
                  <a:gd name="T29" fmla="*/ 21 h 359"/>
                  <a:gd name="T30" fmla="*/ 35 w 872"/>
                  <a:gd name="T31" fmla="*/ 21 h 359"/>
                  <a:gd name="T32" fmla="*/ 40 w 872"/>
                  <a:gd name="T33" fmla="*/ 21 h 359"/>
                  <a:gd name="T34" fmla="*/ 46 w 872"/>
                  <a:gd name="T35" fmla="*/ 23 h 359"/>
                  <a:gd name="T36" fmla="*/ 52 w 872"/>
                  <a:gd name="T37" fmla="*/ 25 h 359"/>
                  <a:gd name="T38" fmla="*/ 56 w 872"/>
                  <a:gd name="T39" fmla="*/ 26 h 359"/>
                  <a:gd name="T40" fmla="*/ 65 w 872"/>
                  <a:gd name="T41" fmla="*/ 29 h 359"/>
                  <a:gd name="T42" fmla="*/ 74 w 872"/>
                  <a:gd name="T43" fmla="*/ 28 h 359"/>
                  <a:gd name="T44" fmla="*/ 85 w 872"/>
                  <a:gd name="T45" fmla="*/ 21 h 359"/>
                  <a:gd name="T46" fmla="*/ 101 w 872"/>
                  <a:gd name="T47" fmla="*/ 16 h 359"/>
                  <a:gd name="T48" fmla="*/ 117 w 872"/>
                  <a:gd name="T49" fmla="*/ 18 h 359"/>
                  <a:gd name="T50" fmla="*/ 133 w 872"/>
                  <a:gd name="T51" fmla="*/ 31 h 359"/>
                  <a:gd name="T52" fmla="*/ 149 w 872"/>
                  <a:gd name="T53" fmla="*/ 33 h 359"/>
                  <a:gd name="T54" fmla="*/ 163 w 872"/>
                  <a:gd name="T55" fmla="*/ 29 h 359"/>
                  <a:gd name="T56" fmla="*/ 150 w 872"/>
                  <a:gd name="T57" fmla="*/ 46 h 359"/>
                  <a:gd name="T58" fmla="*/ 141 w 872"/>
                  <a:gd name="T59" fmla="*/ 67 h 359"/>
                  <a:gd name="T60" fmla="*/ 152 w 872"/>
                  <a:gd name="T61" fmla="*/ 85 h 359"/>
                  <a:gd name="T62" fmla="*/ 167 w 872"/>
                  <a:gd name="T63" fmla="*/ 47 h 359"/>
                  <a:gd name="T64" fmla="*/ 188 w 872"/>
                  <a:gd name="T65" fmla="*/ 26 h 359"/>
                  <a:gd name="T66" fmla="*/ 218 w 872"/>
                  <a:gd name="T67" fmla="*/ 6 h 359"/>
                  <a:gd name="T68" fmla="*/ 186 w 872"/>
                  <a:gd name="T69" fmla="*/ 8 h 359"/>
                  <a:gd name="T70" fmla="*/ 177 w 872"/>
                  <a:gd name="T71" fmla="*/ 9 h 359"/>
                  <a:gd name="T72" fmla="*/ 166 w 872"/>
                  <a:gd name="T73" fmla="*/ 11 h 359"/>
                  <a:gd name="T74" fmla="*/ 153 w 872"/>
                  <a:gd name="T75" fmla="*/ 17 h 359"/>
                  <a:gd name="T76" fmla="*/ 143 w 872"/>
                  <a:gd name="T77" fmla="*/ 18 h 359"/>
                  <a:gd name="T78" fmla="*/ 134 w 872"/>
                  <a:gd name="T79" fmla="*/ 13 h 359"/>
                  <a:gd name="T80" fmla="*/ 123 w 872"/>
                  <a:gd name="T81" fmla="*/ 5 h 359"/>
                  <a:gd name="T82" fmla="*/ 111 w 872"/>
                  <a:gd name="T83" fmla="*/ 1 h 359"/>
                  <a:gd name="T84" fmla="*/ 100 w 872"/>
                  <a:gd name="T85" fmla="*/ 1 h 359"/>
                  <a:gd name="T86" fmla="*/ 88 w 872"/>
                  <a:gd name="T87" fmla="*/ 4 h 359"/>
                  <a:gd name="T88" fmla="*/ 76 w 872"/>
                  <a:gd name="T89" fmla="*/ 9 h 3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72"/>
                  <a:gd name="T136" fmla="*/ 0 h 359"/>
                  <a:gd name="T137" fmla="*/ 872 w 872"/>
                  <a:gd name="T138" fmla="*/ 359 h 3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72" h="359">
                    <a:moveTo>
                      <a:pt x="289" y="45"/>
                    </a:moveTo>
                    <a:lnTo>
                      <a:pt x="283" y="49"/>
                    </a:lnTo>
                    <a:lnTo>
                      <a:pt x="278" y="53"/>
                    </a:lnTo>
                    <a:lnTo>
                      <a:pt x="273" y="55"/>
                    </a:lnTo>
                    <a:lnTo>
                      <a:pt x="270" y="55"/>
                    </a:lnTo>
                    <a:lnTo>
                      <a:pt x="265" y="55"/>
                    </a:lnTo>
                    <a:lnTo>
                      <a:pt x="261" y="54"/>
                    </a:lnTo>
                    <a:lnTo>
                      <a:pt x="255" y="53"/>
                    </a:lnTo>
                    <a:lnTo>
                      <a:pt x="247" y="49"/>
                    </a:lnTo>
                    <a:lnTo>
                      <a:pt x="241" y="47"/>
                    </a:lnTo>
                    <a:lnTo>
                      <a:pt x="234" y="44"/>
                    </a:lnTo>
                    <a:lnTo>
                      <a:pt x="227" y="41"/>
                    </a:lnTo>
                    <a:lnTo>
                      <a:pt x="219" y="38"/>
                    </a:lnTo>
                    <a:lnTo>
                      <a:pt x="210" y="34"/>
                    </a:lnTo>
                    <a:lnTo>
                      <a:pt x="200" y="32"/>
                    </a:lnTo>
                    <a:lnTo>
                      <a:pt x="188" y="29"/>
                    </a:lnTo>
                    <a:lnTo>
                      <a:pt x="177" y="26"/>
                    </a:lnTo>
                    <a:lnTo>
                      <a:pt x="143" y="23"/>
                    </a:lnTo>
                    <a:lnTo>
                      <a:pt x="114" y="23"/>
                    </a:lnTo>
                    <a:lnTo>
                      <a:pt x="90" y="26"/>
                    </a:lnTo>
                    <a:lnTo>
                      <a:pt x="69" y="31"/>
                    </a:lnTo>
                    <a:lnTo>
                      <a:pt x="53" y="38"/>
                    </a:lnTo>
                    <a:lnTo>
                      <a:pt x="42" y="45"/>
                    </a:lnTo>
                    <a:lnTo>
                      <a:pt x="34" y="49"/>
                    </a:lnTo>
                    <a:lnTo>
                      <a:pt x="30" y="53"/>
                    </a:lnTo>
                    <a:lnTo>
                      <a:pt x="0" y="82"/>
                    </a:lnTo>
                    <a:lnTo>
                      <a:pt x="37" y="101"/>
                    </a:lnTo>
                    <a:lnTo>
                      <a:pt x="87" y="135"/>
                    </a:lnTo>
                    <a:lnTo>
                      <a:pt x="125" y="174"/>
                    </a:lnTo>
                    <a:lnTo>
                      <a:pt x="152" y="215"/>
                    </a:lnTo>
                    <a:lnTo>
                      <a:pt x="172" y="257"/>
                    </a:lnTo>
                    <a:lnTo>
                      <a:pt x="183" y="295"/>
                    </a:lnTo>
                    <a:lnTo>
                      <a:pt x="189" y="327"/>
                    </a:lnTo>
                    <a:lnTo>
                      <a:pt x="193" y="349"/>
                    </a:lnTo>
                    <a:lnTo>
                      <a:pt x="193" y="359"/>
                    </a:lnTo>
                    <a:lnTo>
                      <a:pt x="253" y="358"/>
                    </a:lnTo>
                    <a:lnTo>
                      <a:pt x="253" y="348"/>
                    </a:lnTo>
                    <a:lnTo>
                      <a:pt x="250" y="326"/>
                    </a:lnTo>
                    <a:lnTo>
                      <a:pt x="245" y="295"/>
                    </a:lnTo>
                    <a:lnTo>
                      <a:pt x="234" y="257"/>
                    </a:lnTo>
                    <a:lnTo>
                      <a:pt x="218" y="213"/>
                    </a:lnTo>
                    <a:lnTo>
                      <a:pt x="194" y="168"/>
                    </a:lnTo>
                    <a:lnTo>
                      <a:pt x="160" y="124"/>
                    </a:lnTo>
                    <a:lnTo>
                      <a:pt x="118" y="83"/>
                    </a:lnTo>
                    <a:lnTo>
                      <a:pt x="124" y="83"/>
                    </a:lnTo>
                    <a:lnTo>
                      <a:pt x="128" y="82"/>
                    </a:lnTo>
                    <a:lnTo>
                      <a:pt x="134" y="82"/>
                    </a:lnTo>
                    <a:lnTo>
                      <a:pt x="140" y="82"/>
                    </a:lnTo>
                    <a:lnTo>
                      <a:pt x="145" y="83"/>
                    </a:lnTo>
                    <a:lnTo>
                      <a:pt x="152" y="83"/>
                    </a:lnTo>
                    <a:lnTo>
                      <a:pt x="158" y="84"/>
                    </a:lnTo>
                    <a:lnTo>
                      <a:pt x="165" y="85"/>
                    </a:lnTo>
                    <a:lnTo>
                      <a:pt x="175" y="87"/>
                    </a:lnTo>
                    <a:lnTo>
                      <a:pt x="183" y="90"/>
                    </a:lnTo>
                    <a:lnTo>
                      <a:pt x="193" y="92"/>
                    </a:lnTo>
                    <a:lnTo>
                      <a:pt x="200" y="94"/>
                    </a:lnTo>
                    <a:lnTo>
                      <a:pt x="207" y="97"/>
                    </a:lnTo>
                    <a:lnTo>
                      <a:pt x="212" y="99"/>
                    </a:lnTo>
                    <a:lnTo>
                      <a:pt x="218" y="101"/>
                    </a:lnTo>
                    <a:lnTo>
                      <a:pt x="224" y="104"/>
                    </a:lnTo>
                    <a:lnTo>
                      <a:pt x="236" y="108"/>
                    </a:lnTo>
                    <a:lnTo>
                      <a:pt x="247" y="112"/>
                    </a:lnTo>
                    <a:lnTo>
                      <a:pt x="258" y="115"/>
                    </a:lnTo>
                    <a:lnTo>
                      <a:pt x="270" y="115"/>
                    </a:lnTo>
                    <a:lnTo>
                      <a:pt x="281" y="114"/>
                    </a:lnTo>
                    <a:lnTo>
                      <a:pt x="294" y="109"/>
                    </a:lnTo>
                    <a:lnTo>
                      <a:pt x="309" y="104"/>
                    </a:lnTo>
                    <a:lnTo>
                      <a:pt x="324" y="93"/>
                    </a:lnTo>
                    <a:lnTo>
                      <a:pt x="340" y="83"/>
                    </a:lnTo>
                    <a:lnTo>
                      <a:pt x="360" y="74"/>
                    </a:lnTo>
                    <a:lnTo>
                      <a:pt x="380" y="66"/>
                    </a:lnTo>
                    <a:lnTo>
                      <a:pt x="403" y="61"/>
                    </a:lnTo>
                    <a:lnTo>
                      <a:pt x="427" y="60"/>
                    </a:lnTo>
                    <a:lnTo>
                      <a:pt x="450" y="63"/>
                    </a:lnTo>
                    <a:lnTo>
                      <a:pt x="470" y="72"/>
                    </a:lnTo>
                    <a:lnTo>
                      <a:pt x="490" y="89"/>
                    </a:lnTo>
                    <a:lnTo>
                      <a:pt x="511" y="108"/>
                    </a:lnTo>
                    <a:lnTo>
                      <a:pt x="531" y="122"/>
                    </a:lnTo>
                    <a:lnTo>
                      <a:pt x="553" y="130"/>
                    </a:lnTo>
                    <a:lnTo>
                      <a:pt x="575" y="132"/>
                    </a:lnTo>
                    <a:lnTo>
                      <a:pt x="595" y="131"/>
                    </a:lnTo>
                    <a:lnTo>
                      <a:pt x="614" y="128"/>
                    </a:lnTo>
                    <a:lnTo>
                      <a:pt x="633" y="122"/>
                    </a:lnTo>
                    <a:lnTo>
                      <a:pt x="649" y="115"/>
                    </a:lnTo>
                    <a:lnTo>
                      <a:pt x="632" y="135"/>
                    </a:lnTo>
                    <a:lnTo>
                      <a:pt x="615" y="158"/>
                    </a:lnTo>
                    <a:lnTo>
                      <a:pt x="599" y="181"/>
                    </a:lnTo>
                    <a:lnTo>
                      <a:pt x="585" y="207"/>
                    </a:lnTo>
                    <a:lnTo>
                      <a:pt x="572" y="236"/>
                    </a:lnTo>
                    <a:lnTo>
                      <a:pt x="561" y="266"/>
                    </a:lnTo>
                    <a:lnTo>
                      <a:pt x="552" y="297"/>
                    </a:lnTo>
                    <a:lnTo>
                      <a:pt x="546" y="332"/>
                    </a:lnTo>
                    <a:lnTo>
                      <a:pt x="606" y="339"/>
                    </a:lnTo>
                    <a:lnTo>
                      <a:pt x="619" y="282"/>
                    </a:lnTo>
                    <a:lnTo>
                      <a:pt x="640" y="232"/>
                    </a:lnTo>
                    <a:lnTo>
                      <a:pt x="667" y="188"/>
                    </a:lnTo>
                    <a:lnTo>
                      <a:pt x="697" y="152"/>
                    </a:lnTo>
                    <a:lnTo>
                      <a:pt x="726" y="123"/>
                    </a:lnTo>
                    <a:lnTo>
                      <a:pt x="750" y="101"/>
                    </a:lnTo>
                    <a:lnTo>
                      <a:pt x="767" y="89"/>
                    </a:lnTo>
                    <a:lnTo>
                      <a:pt x="774" y="84"/>
                    </a:lnTo>
                    <a:lnTo>
                      <a:pt x="872" y="24"/>
                    </a:lnTo>
                    <a:lnTo>
                      <a:pt x="757" y="29"/>
                    </a:lnTo>
                    <a:lnTo>
                      <a:pt x="752" y="29"/>
                    </a:lnTo>
                    <a:lnTo>
                      <a:pt x="744" y="30"/>
                    </a:lnTo>
                    <a:lnTo>
                      <a:pt x="734" y="31"/>
                    </a:lnTo>
                    <a:lnTo>
                      <a:pt x="720" y="32"/>
                    </a:lnTo>
                    <a:lnTo>
                      <a:pt x="706" y="34"/>
                    </a:lnTo>
                    <a:lnTo>
                      <a:pt x="691" y="37"/>
                    </a:lnTo>
                    <a:lnTo>
                      <a:pt x="676" y="40"/>
                    </a:lnTo>
                    <a:lnTo>
                      <a:pt x="663" y="44"/>
                    </a:lnTo>
                    <a:lnTo>
                      <a:pt x="640" y="54"/>
                    </a:lnTo>
                    <a:lnTo>
                      <a:pt x="625" y="61"/>
                    </a:lnTo>
                    <a:lnTo>
                      <a:pt x="610" y="67"/>
                    </a:lnTo>
                    <a:lnTo>
                      <a:pt x="596" y="70"/>
                    </a:lnTo>
                    <a:lnTo>
                      <a:pt x="582" y="72"/>
                    </a:lnTo>
                    <a:lnTo>
                      <a:pt x="569" y="71"/>
                    </a:lnTo>
                    <a:lnTo>
                      <a:pt x="558" y="68"/>
                    </a:lnTo>
                    <a:lnTo>
                      <a:pt x="545" y="61"/>
                    </a:lnTo>
                    <a:lnTo>
                      <a:pt x="534" y="49"/>
                    </a:lnTo>
                    <a:lnTo>
                      <a:pt x="521" y="37"/>
                    </a:lnTo>
                    <a:lnTo>
                      <a:pt x="507" y="25"/>
                    </a:lnTo>
                    <a:lnTo>
                      <a:pt x="493" y="17"/>
                    </a:lnTo>
                    <a:lnTo>
                      <a:pt x="478" y="10"/>
                    </a:lnTo>
                    <a:lnTo>
                      <a:pt x="462" y="5"/>
                    </a:lnTo>
                    <a:lnTo>
                      <a:pt x="447" y="1"/>
                    </a:lnTo>
                    <a:lnTo>
                      <a:pt x="431" y="0"/>
                    </a:lnTo>
                    <a:lnTo>
                      <a:pt x="415" y="0"/>
                    </a:lnTo>
                    <a:lnTo>
                      <a:pt x="398" y="1"/>
                    </a:lnTo>
                    <a:lnTo>
                      <a:pt x="382" y="3"/>
                    </a:lnTo>
                    <a:lnTo>
                      <a:pt x="365" y="8"/>
                    </a:lnTo>
                    <a:lnTo>
                      <a:pt x="349" y="13"/>
                    </a:lnTo>
                    <a:lnTo>
                      <a:pt x="333" y="19"/>
                    </a:lnTo>
                    <a:lnTo>
                      <a:pt x="318" y="28"/>
                    </a:lnTo>
                    <a:lnTo>
                      <a:pt x="303" y="36"/>
                    </a:lnTo>
                    <a:lnTo>
                      <a:pt x="289" y="45"/>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74" name="Freeform 83">
                <a:extLst>
                  <a:ext uri="{FF2B5EF4-FFF2-40B4-BE49-F238E27FC236}">
                    <a16:creationId xmlns:a16="http://schemas.microsoft.com/office/drawing/2014/main" id="{48E4D409-8764-42AB-BDB5-785D61254814}"/>
                  </a:ext>
                </a:extLst>
              </p:cNvPr>
              <p:cNvSpPr>
                <a:spLocks noChangeAspect="1"/>
              </p:cNvSpPr>
              <p:nvPr/>
            </p:nvSpPr>
            <p:spPr bwMode="auto">
              <a:xfrm>
                <a:off x="2626" y="1917"/>
                <a:ext cx="206" cy="238"/>
              </a:xfrm>
              <a:custGeom>
                <a:avLst/>
                <a:gdLst>
                  <a:gd name="T0" fmla="*/ 320 w 101"/>
                  <a:gd name="T1" fmla="*/ 256 h 118"/>
                  <a:gd name="T2" fmla="*/ 304 w 101"/>
                  <a:gd name="T3" fmla="*/ 313 h 118"/>
                  <a:gd name="T4" fmla="*/ 208 w 101"/>
                  <a:gd name="T5" fmla="*/ 313 h 118"/>
                  <a:gd name="T6" fmla="*/ 292 w 101"/>
                  <a:gd name="T7" fmla="*/ 375 h 118"/>
                  <a:gd name="T8" fmla="*/ 420 w 101"/>
                  <a:gd name="T9" fmla="*/ 329 h 118"/>
                  <a:gd name="T10" fmla="*/ 420 w 101"/>
                  <a:gd name="T11" fmla="*/ 448 h 118"/>
                  <a:gd name="T12" fmla="*/ 300 w 101"/>
                  <a:gd name="T13" fmla="*/ 480 h 118"/>
                  <a:gd name="T14" fmla="*/ 128 w 101"/>
                  <a:gd name="T15" fmla="*/ 428 h 118"/>
                  <a:gd name="T16" fmla="*/ 59 w 101"/>
                  <a:gd name="T17" fmla="*/ 313 h 118"/>
                  <a:gd name="T18" fmla="*/ 0 w 101"/>
                  <a:gd name="T19" fmla="*/ 313 h 118"/>
                  <a:gd name="T20" fmla="*/ 16 w 101"/>
                  <a:gd name="T21" fmla="*/ 256 h 118"/>
                  <a:gd name="T22" fmla="*/ 49 w 101"/>
                  <a:gd name="T23" fmla="*/ 256 h 118"/>
                  <a:gd name="T24" fmla="*/ 49 w 101"/>
                  <a:gd name="T25" fmla="*/ 240 h 118"/>
                  <a:gd name="T26" fmla="*/ 49 w 101"/>
                  <a:gd name="T27" fmla="*/ 220 h 118"/>
                  <a:gd name="T28" fmla="*/ 8 w 101"/>
                  <a:gd name="T29" fmla="*/ 220 h 118"/>
                  <a:gd name="T30" fmla="*/ 24 w 101"/>
                  <a:gd name="T31" fmla="*/ 163 h 118"/>
                  <a:gd name="T32" fmla="*/ 59 w 101"/>
                  <a:gd name="T33" fmla="*/ 163 h 118"/>
                  <a:gd name="T34" fmla="*/ 292 w 101"/>
                  <a:gd name="T35" fmla="*/ 0 h 118"/>
                  <a:gd name="T36" fmla="*/ 416 w 101"/>
                  <a:gd name="T37" fmla="*/ 28 h 118"/>
                  <a:gd name="T38" fmla="*/ 388 w 101"/>
                  <a:gd name="T39" fmla="*/ 147 h 118"/>
                  <a:gd name="T40" fmla="*/ 296 w 101"/>
                  <a:gd name="T41" fmla="*/ 105 h 118"/>
                  <a:gd name="T42" fmla="*/ 212 w 101"/>
                  <a:gd name="T43" fmla="*/ 163 h 118"/>
                  <a:gd name="T44" fmla="*/ 328 w 101"/>
                  <a:gd name="T45" fmla="*/ 163 h 118"/>
                  <a:gd name="T46" fmla="*/ 312 w 101"/>
                  <a:gd name="T47" fmla="*/ 220 h 118"/>
                  <a:gd name="T48" fmla="*/ 200 w 101"/>
                  <a:gd name="T49" fmla="*/ 220 h 118"/>
                  <a:gd name="T50" fmla="*/ 200 w 101"/>
                  <a:gd name="T51" fmla="*/ 240 h 118"/>
                  <a:gd name="T52" fmla="*/ 200 w 101"/>
                  <a:gd name="T53" fmla="*/ 256 h 118"/>
                  <a:gd name="T54" fmla="*/ 320 w 101"/>
                  <a:gd name="T55" fmla="*/ 256 h 11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1"/>
                  <a:gd name="T85" fmla="*/ 0 h 118"/>
                  <a:gd name="T86" fmla="*/ 101 w 101"/>
                  <a:gd name="T87" fmla="*/ 118 h 11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1" h="118">
                    <a:moveTo>
                      <a:pt x="77" y="63"/>
                    </a:moveTo>
                    <a:cubicBezTo>
                      <a:pt x="73" y="77"/>
                      <a:pt x="73" y="77"/>
                      <a:pt x="73" y="77"/>
                    </a:cubicBezTo>
                    <a:cubicBezTo>
                      <a:pt x="50" y="77"/>
                      <a:pt x="50" y="77"/>
                      <a:pt x="50" y="77"/>
                    </a:cubicBezTo>
                    <a:cubicBezTo>
                      <a:pt x="53" y="87"/>
                      <a:pt x="59" y="92"/>
                      <a:pt x="70" y="92"/>
                    </a:cubicBezTo>
                    <a:cubicBezTo>
                      <a:pt x="81" y="92"/>
                      <a:pt x="92" y="88"/>
                      <a:pt x="101" y="81"/>
                    </a:cubicBezTo>
                    <a:cubicBezTo>
                      <a:pt x="101" y="110"/>
                      <a:pt x="101" y="110"/>
                      <a:pt x="101" y="110"/>
                    </a:cubicBezTo>
                    <a:cubicBezTo>
                      <a:pt x="93" y="115"/>
                      <a:pt x="83" y="118"/>
                      <a:pt x="72" y="118"/>
                    </a:cubicBezTo>
                    <a:cubicBezTo>
                      <a:pt x="53" y="118"/>
                      <a:pt x="39" y="114"/>
                      <a:pt x="31" y="105"/>
                    </a:cubicBezTo>
                    <a:cubicBezTo>
                      <a:pt x="22" y="97"/>
                      <a:pt x="16" y="87"/>
                      <a:pt x="14" y="77"/>
                    </a:cubicBezTo>
                    <a:cubicBezTo>
                      <a:pt x="0" y="77"/>
                      <a:pt x="0" y="77"/>
                      <a:pt x="0" y="77"/>
                    </a:cubicBezTo>
                    <a:cubicBezTo>
                      <a:pt x="4" y="63"/>
                      <a:pt x="4" y="63"/>
                      <a:pt x="4" y="63"/>
                    </a:cubicBezTo>
                    <a:cubicBezTo>
                      <a:pt x="12" y="63"/>
                      <a:pt x="12" y="63"/>
                      <a:pt x="12" y="63"/>
                    </a:cubicBezTo>
                    <a:cubicBezTo>
                      <a:pt x="12" y="62"/>
                      <a:pt x="12" y="60"/>
                      <a:pt x="12" y="59"/>
                    </a:cubicBezTo>
                    <a:cubicBezTo>
                      <a:pt x="12" y="56"/>
                      <a:pt x="12" y="55"/>
                      <a:pt x="12" y="54"/>
                    </a:cubicBezTo>
                    <a:cubicBezTo>
                      <a:pt x="2" y="54"/>
                      <a:pt x="2" y="54"/>
                      <a:pt x="2" y="54"/>
                    </a:cubicBezTo>
                    <a:cubicBezTo>
                      <a:pt x="6" y="40"/>
                      <a:pt x="6" y="40"/>
                      <a:pt x="6" y="40"/>
                    </a:cubicBezTo>
                    <a:cubicBezTo>
                      <a:pt x="14" y="40"/>
                      <a:pt x="14" y="40"/>
                      <a:pt x="14" y="40"/>
                    </a:cubicBezTo>
                    <a:cubicBezTo>
                      <a:pt x="21" y="13"/>
                      <a:pt x="40" y="0"/>
                      <a:pt x="70" y="0"/>
                    </a:cubicBezTo>
                    <a:cubicBezTo>
                      <a:pt x="80" y="0"/>
                      <a:pt x="90" y="2"/>
                      <a:pt x="100" y="7"/>
                    </a:cubicBezTo>
                    <a:cubicBezTo>
                      <a:pt x="93" y="36"/>
                      <a:pt x="93" y="36"/>
                      <a:pt x="93" y="36"/>
                    </a:cubicBezTo>
                    <a:cubicBezTo>
                      <a:pt x="86" y="29"/>
                      <a:pt x="79" y="26"/>
                      <a:pt x="71" y="26"/>
                    </a:cubicBezTo>
                    <a:cubicBezTo>
                      <a:pt x="61" y="26"/>
                      <a:pt x="54" y="31"/>
                      <a:pt x="51" y="40"/>
                    </a:cubicBezTo>
                    <a:cubicBezTo>
                      <a:pt x="79" y="40"/>
                      <a:pt x="79" y="40"/>
                      <a:pt x="79" y="40"/>
                    </a:cubicBezTo>
                    <a:cubicBezTo>
                      <a:pt x="75" y="54"/>
                      <a:pt x="75" y="54"/>
                      <a:pt x="75" y="54"/>
                    </a:cubicBezTo>
                    <a:cubicBezTo>
                      <a:pt x="48" y="54"/>
                      <a:pt x="48" y="54"/>
                      <a:pt x="48" y="54"/>
                    </a:cubicBezTo>
                    <a:cubicBezTo>
                      <a:pt x="48" y="55"/>
                      <a:pt x="48" y="57"/>
                      <a:pt x="48" y="59"/>
                    </a:cubicBezTo>
                    <a:cubicBezTo>
                      <a:pt x="48" y="63"/>
                      <a:pt x="48" y="63"/>
                      <a:pt x="48" y="63"/>
                    </a:cubicBezTo>
                    <a:lnTo>
                      <a:pt x="77" y="63"/>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grpSp>
      </p:grpSp>
      <p:grpSp>
        <p:nvGrpSpPr>
          <p:cNvPr id="1275" name="Group 1274">
            <a:extLst>
              <a:ext uri="{FF2B5EF4-FFF2-40B4-BE49-F238E27FC236}">
                <a16:creationId xmlns:a16="http://schemas.microsoft.com/office/drawing/2014/main" id="{DF70D992-FF1A-4443-AA0C-B3A0EBDC59B5}"/>
              </a:ext>
            </a:extLst>
          </p:cNvPr>
          <p:cNvGrpSpPr/>
          <p:nvPr/>
        </p:nvGrpSpPr>
        <p:grpSpPr>
          <a:xfrm>
            <a:off x="3205006" y="3169353"/>
            <a:ext cx="612000" cy="612000"/>
            <a:chOff x="2050377" y="3807696"/>
            <a:chExt cx="612000" cy="612000"/>
          </a:xfrm>
        </p:grpSpPr>
        <p:sp>
          <p:nvSpPr>
            <p:cNvPr id="1276" name="Oval 1275">
              <a:extLst>
                <a:ext uri="{FF2B5EF4-FFF2-40B4-BE49-F238E27FC236}">
                  <a16:creationId xmlns:a16="http://schemas.microsoft.com/office/drawing/2014/main" id="{C7FBEDD8-D012-49FE-BAD2-40A845AF9564}"/>
                </a:ext>
              </a:extLst>
            </p:cNvPr>
            <p:cNvSpPr/>
            <p:nvPr/>
          </p:nvSpPr>
          <p:spPr bwMode="ltGray">
            <a:xfrm>
              <a:off x="2050377" y="3807696"/>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277" name="Group 84">
              <a:extLst>
                <a:ext uri="{FF2B5EF4-FFF2-40B4-BE49-F238E27FC236}">
                  <a16:creationId xmlns:a16="http://schemas.microsoft.com/office/drawing/2014/main" id="{B61FA528-E401-4A0B-9FF8-7F56D16EE6C9}"/>
                </a:ext>
              </a:extLst>
            </p:cNvPr>
            <p:cNvGrpSpPr>
              <a:grpSpLocks noChangeAspect="1"/>
            </p:cNvGrpSpPr>
            <p:nvPr/>
          </p:nvGrpSpPr>
          <p:grpSpPr bwMode="auto">
            <a:xfrm>
              <a:off x="2173743" y="3881955"/>
              <a:ext cx="356266" cy="475465"/>
              <a:chOff x="3106" y="1570"/>
              <a:chExt cx="534" cy="713"/>
            </a:xfrm>
            <a:solidFill>
              <a:srgbClr val="3C3C3E"/>
            </a:solidFill>
          </p:grpSpPr>
          <p:sp>
            <p:nvSpPr>
              <p:cNvPr id="1278" name="Freeform 85">
                <a:extLst>
                  <a:ext uri="{FF2B5EF4-FFF2-40B4-BE49-F238E27FC236}">
                    <a16:creationId xmlns:a16="http://schemas.microsoft.com/office/drawing/2014/main" id="{1DEF1572-08FE-4FF8-BF27-D5E99BD96511}"/>
                  </a:ext>
                </a:extLst>
              </p:cNvPr>
              <p:cNvSpPr>
                <a:spLocks noChangeAspect="1"/>
              </p:cNvSpPr>
              <p:nvPr/>
            </p:nvSpPr>
            <p:spPr bwMode="auto">
              <a:xfrm>
                <a:off x="3106" y="1737"/>
                <a:ext cx="534" cy="546"/>
              </a:xfrm>
              <a:custGeom>
                <a:avLst/>
                <a:gdLst>
                  <a:gd name="T0" fmla="*/ 198 w 1068"/>
                  <a:gd name="T1" fmla="*/ 36 h 1092"/>
                  <a:gd name="T2" fmla="*/ 223 w 1068"/>
                  <a:gd name="T3" fmla="*/ 75 h 1092"/>
                  <a:gd name="T4" fmla="*/ 238 w 1068"/>
                  <a:gd name="T5" fmla="*/ 111 h 1092"/>
                  <a:gd name="T6" fmla="*/ 247 w 1068"/>
                  <a:gd name="T7" fmla="*/ 141 h 1092"/>
                  <a:gd name="T8" fmla="*/ 251 w 1068"/>
                  <a:gd name="T9" fmla="*/ 160 h 1092"/>
                  <a:gd name="T10" fmla="*/ 250 w 1068"/>
                  <a:gd name="T11" fmla="*/ 182 h 1092"/>
                  <a:gd name="T12" fmla="*/ 235 w 1068"/>
                  <a:gd name="T13" fmla="*/ 219 h 1092"/>
                  <a:gd name="T14" fmla="*/ 209 w 1068"/>
                  <a:gd name="T15" fmla="*/ 241 h 1092"/>
                  <a:gd name="T16" fmla="*/ 180 w 1068"/>
                  <a:gd name="T17" fmla="*/ 253 h 1092"/>
                  <a:gd name="T18" fmla="*/ 155 w 1068"/>
                  <a:gd name="T19" fmla="*/ 258 h 1092"/>
                  <a:gd name="T20" fmla="*/ 144 w 1068"/>
                  <a:gd name="T21" fmla="*/ 258 h 1092"/>
                  <a:gd name="T22" fmla="*/ 119 w 1068"/>
                  <a:gd name="T23" fmla="*/ 257 h 1092"/>
                  <a:gd name="T24" fmla="*/ 97 w 1068"/>
                  <a:gd name="T25" fmla="*/ 253 h 1092"/>
                  <a:gd name="T26" fmla="*/ 77 w 1068"/>
                  <a:gd name="T27" fmla="*/ 247 h 1092"/>
                  <a:gd name="T28" fmla="*/ 60 w 1068"/>
                  <a:gd name="T29" fmla="*/ 238 h 1092"/>
                  <a:gd name="T30" fmla="*/ 45 w 1068"/>
                  <a:gd name="T31" fmla="*/ 227 h 1092"/>
                  <a:gd name="T32" fmla="*/ 25 w 1068"/>
                  <a:gd name="T33" fmla="*/ 203 h 1092"/>
                  <a:gd name="T34" fmla="*/ 17 w 1068"/>
                  <a:gd name="T35" fmla="*/ 176 h 1092"/>
                  <a:gd name="T36" fmla="*/ 14 w 1068"/>
                  <a:gd name="T37" fmla="*/ 164 h 1092"/>
                  <a:gd name="T38" fmla="*/ 25 w 1068"/>
                  <a:gd name="T39" fmla="*/ 118 h 1092"/>
                  <a:gd name="T40" fmla="*/ 45 w 1068"/>
                  <a:gd name="T41" fmla="*/ 79 h 1092"/>
                  <a:gd name="T42" fmla="*/ 70 w 1068"/>
                  <a:gd name="T43" fmla="*/ 47 h 1092"/>
                  <a:gd name="T44" fmla="*/ 92 w 1068"/>
                  <a:gd name="T45" fmla="*/ 24 h 1092"/>
                  <a:gd name="T46" fmla="*/ 105 w 1068"/>
                  <a:gd name="T47" fmla="*/ 13 h 1092"/>
                  <a:gd name="T48" fmla="*/ 96 w 1068"/>
                  <a:gd name="T49" fmla="*/ 2 h 1092"/>
                  <a:gd name="T50" fmla="*/ 81 w 1068"/>
                  <a:gd name="T51" fmla="*/ 14 h 1092"/>
                  <a:gd name="T52" fmla="*/ 58 w 1068"/>
                  <a:gd name="T53" fmla="*/ 38 h 1092"/>
                  <a:gd name="T54" fmla="*/ 33 w 1068"/>
                  <a:gd name="T55" fmla="*/ 72 h 1092"/>
                  <a:gd name="T56" fmla="*/ 10 w 1068"/>
                  <a:gd name="T57" fmla="*/ 114 h 1092"/>
                  <a:gd name="T58" fmla="*/ 0 w 1068"/>
                  <a:gd name="T59" fmla="*/ 163 h 1092"/>
                  <a:gd name="T60" fmla="*/ 1 w 1068"/>
                  <a:gd name="T61" fmla="*/ 178 h 1092"/>
                  <a:gd name="T62" fmla="*/ 12 w 1068"/>
                  <a:gd name="T63" fmla="*/ 210 h 1092"/>
                  <a:gd name="T64" fmla="*/ 35 w 1068"/>
                  <a:gd name="T65" fmla="*/ 238 h 1092"/>
                  <a:gd name="T66" fmla="*/ 51 w 1068"/>
                  <a:gd name="T67" fmla="*/ 251 h 1092"/>
                  <a:gd name="T68" fmla="*/ 71 w 1068"/>
                  <a:gd name="T69" fmla="*/ 261 h 1092"/>
                  <a:gd name="T70" fmla="*/ 92 w 1068"/>
                  <a:gd name="T71" fmla="*/ 268 h 1092"/>
                  <a:gd name="T72" fmla="*/ 117 w 1068"/>
                  <a:gd name="T73" fmla="*/ 272 h 1092"/>
                  <a:gd name="T74" fmla="*/ 144 w 1068"/>
                  <a:gd name="T75" fmla="*/ 273 h 1092"/>
                  <a:gd name="T76" fmla="*/ 156 w 1068"/>
                  <a:gd name="T77" fmla="*/ 273 h 1092"/>
                  <a:gd name="T78" fmla="*/ 183 w 1068"/>
                  <a:gd name="T79" fmla="*/ 268 h 1092"/>
                  <a:gd name="T80" fmla="*/ 217 w 1068"/>
                  <a:gd name="T81" fmla="*/ 254 h 1092"/>
                  <a:gd name="T82" fmla="*/ 247 w 1068"/>
                  <a:gd name="T83" fmla="*/ 228 h 1092"/>
                  <a:gd name="T84" fmla="*/ 266 w 1068"/>
                  <a:gd name="T85" fmla="*/ 185 h 1092"/>
                  <a:gd name="T86" fmla="*/ 267 w 1068"/>
                  <a:gd name="T87" fmla="*/ 165 h 1092"/>
                  <a:gd name="T88" fmla="*/ 266 w 1068"/>
                  <a:gd name="T89" fmla="*/ 154 h 1092"/>
                  <a:gd name="T90" fmla="*/ 261 w 1068"/>
                  <a:gd name="T91" fmla="*/ 131 h 1092"/>
                  <a:gd name="T92" fmla="*/ 249 w 1068"/>
                  <a:gd name="T93" fmla="*/ 96 h 1092"/>
                  <a:gd name="T94" fmla="*/ 229 w 1068"/>
                  <a:gd name="T95" fmla="*/ 55 h 1092"/>
                  <a:gd name="T96" fmla="*/ 198 w 1068"/>
                  <a:gd name="T97" fmla="*/ 13 h 10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68"/>
                  <a:gd name="T148" fmla="*/ 0 h 1092"/>
                  <a:gd name="T149" fmla="*/ 1068 w 1068"/>
                  <a:gd name="T150" fmla="*/ 1092 h 10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68" h="1092">
                    <a:moveTo>
                      <a:pt x="701" y="41"/>
                    </a:moveTo>
                    <a:lnTo>
                      <a:pt x="749" y="92"/>
                    </a:lnTo>
                    <a:lnTo>
                      <a:pt x="792" y="144"/>
                    </a:lnTo>
                    <a:lnTo>
                      <a:pt x="830" y="196"/>
                    </a:lnTo>
                    <a:lnTo>
                      <a:pt x="863" y="248"/>
                    </a:lnTo>
                    <a:lnTo>
                      <a:pt x="892" y="300"/>
                    </a:lnTo>
                    <a:lnTo>
                      <a:pt x="916" y="349"/>
                    </a:lnTo>
                    <a:lnTo>
                      <a:pt x="938" y="399"/>
                    </a:lnTo>
                    <a:lnTo>
                      <a:pt x="955" y="445"/>
                    </a:lnTo>
                    <a:lnTo>
                      <a:pt x="969" y="489"/>
                    </a:lnTo>
                    <a:lnTo>
                      <a:pt x="982" y="528"/>
                    </a:lnTo>
                    <a:lnTo>
                      <a:pt x="991" y="565"/>
                    </a:lnTo>
                    <a:lnTo>
                      <a:pt x="997" y="596"/>
                    </a:lnTo>
                    <a:lnTo>
                      <a:pt x="1002" y="622"/>
                    </a:lnTo>
                    <a:lnTo>
                      <a:pt x="1006" y="642"/>
                    </a:lnTo>
                    <a:lnTo>
                      <a:pt x="1007" y="657"/>
                    </a:lnTo>
                    <a:lnTo>
                      <a:pt x="1008" y="664"/>
                    </a:lnTo>
                    <a:lnTo>
                      <a:pt x="1002" y="728"/>
                    </a:lnTo>
                    <a:lnTo>
                      <a:pt x="989" y="786"/>
                    </a:lnTo>
                    <a:lnTo>
                      <a:pt x="968" y="835"/>
                    </a:lnTo>
                    <a:lnTo>
                      <a:pt x="940" y="877"/>
                    </a:lnTo>
                    <a:lnTo>
                      <a:pt x="909" y="913"/>
                    </a:lnTo>
                    <a:lnTo>
                      <a:pt x="873" y="943"/>
                    </a:lnTo>
                    <a:lnTo>
                      <a:pt x="837" y="967"/>
                    </a:lnTo>
                    <a:lnTo>
                      <a:pt x="797" y="986"/>
                    </a:lnTo>
                    <a:lnTo>
                      <a:pt x="758" y="1002"/>
                    </a:lnTo>
                    <a:lnTo>
                      <a:pt x="720" y="1013"/>
                    </a:lnTo>
                    <a:lnTo>
                      <a:pt x="685" y="1021"/>
                    </a:lnTo>
                    <a:lnTo>
                      <a:pt x="652" y="1027"/>
                    </a:lnTo>
                    <a:lnTo>
                      <a:pt x="623" y="1030"/>
                    </a:lnTo>
                    <a:lnTo>
                      <a:pt x="602" y="1031"/>
                    </a:lnTo>
                    <a:lnTo>
                      <a:pt x="587" y="1032"/>
                    </a:lnTo>
                    <a:lnTo>
                      <a:pt x="579" y="1032"/>
                    </a:lnTo>
                    <a:lnTo>
                      <a:pt x="544" y="1032"/>
                    </a:lnTo>
                    <a:lnTo>
                      <a:pt x="512" y="1030"/>
                    </a:lnTo>
                    <a:lnTo>
                      <a:pt x="479" y="1028"/>
                    </a:lnTo>
                    <a:lnTo>
                      <a:pt x="448" y="1024"/>
                    </a:lnTo>
                    <a:lnTo>
                      <a:pt x="418" y="1019"/>
                    </a:lnTo>
                    <a:lnTo>
                      <a:pt x="390" y="1013"/>
                    </a:lnTo>
                    <a:lnTo>
                      <a:pt x="362" y="1006"/>
                    </a:lnTo>
                    <a:lnTo>
                      <a:pt x="335" y="998"/>
                    </a:lnTo>
                    <a:lnTo>
                      <a:pt x="310" y="989"/>
                    </a:lnTo>
                    <a:lnTo>
                      <a:pt x="286" y="978"/>
                    </a:lnTo>
                    <a:lnTo>
                      <a:pt x="263" y="968"/>
                    </a:lnTo>
                    <a:lnTo>
                      <a:pt x="241" y="955"/>
                    </a:lnTo>
                    <a:lnTo>
                      <a:pt x="219" y="941"/>
                    </a:lnTo>
                    <a:lnTo>
                      <a:pt x="200" y="928"/>
                    </a:lnTo>
                    <a:lnTo>
                      <a:pt x="181" y="911"/>
                    </a:lnTo>
                    <a:lnTo>
                      <a:pt x="164" y="895"/>
                    </a:lnTo>
                    <a:lnTo>
                      <a:pt x="129" y="855"/>
                    </a:lnTo>
                    <a:lnTo>
                      <a:pt x="103" y="813"/>
                    </a:lnTo>
                    <a:lnTo>
                      <a:pt x="84" y="774"/>
                    </a:lnTo>
                    <a:lnTo>
                      <a:pt x="72" y="737"/>
                    </a:lnTo>
                    <a:lnTo>
                      <a:pt x="65" y="705"/>
                    </a:lnTo>
                    <a:lnTo>
                      <a:pt x="60" y="680"/>
                    </a:lnTo>
                    <a:lnTo>
                      <a:pt x="59" y="663"/>
                    </a:lnTo>
                    <a:lnTo>
                      <a:pt x="59" y="657"/>
                    </a:lnTo>
                    <a:lnTo>
                      <a:pt x="66" y="595"/>
                    </a:lnTo>
                    <a:lnTo>
                      <a:pt x="80" y="533"/>
                    </a:lnTo>
                    <a:lnTo>
                      <a:pt x="101" y="475"/>
                    </a:lnTo>
                    <a:lnTo>
                      <a:pt x="125" y="419"/>
                    </a:lnTo>
                    <a:lnTo>
                      <a:pt x="152" y="366"/>
                    </a:lnTo>
                    <a:lnTo>
                      <a:pt x="183" y="316"/>
                    </a:lnTo>
                    <a:lnTo>
                      <a:pt x="216" y="270"/>
                    </a:lnTo>
                    <a:lnTo>
                      <a:pt x="249" y="227"/>
                    </a:lnTo>
                    <a:lnTo>
                      <a:pt x="283" y="188"/>
                    </a:lnTo>
                    <a:lnTo>
                      <a:pt x="314" y="154"/>
                    </a:lnTo>
                    <a:lnTo>
                      <a:pt x="344" y="123"/>
                    </a:lnTo>
                    <a:lnTo>
                      <a:pt x="371" y="99"/>
                    </a:lnTo>
                    <a:lnTo>
                      <a:pt x="393" y="78"/>
                    </a:lnTo>
                    <a:lnTo>
                      <a:pt x="412" y="63"/>
                    </a:lnTo>
                    <a:lnTo>
                      <a:pt x="423" y="54"/>
                    </a:lnTo>
                    <a:lnTo>
                      <a:pt x="428" y="51"/>
                    </a:lnTo>
                    <a:lnTo>
                      <a:pt x="391" y="3"/>
                    </a:lnTo>
                    <a:lnTo>
                      <a:pt x="384" y="8"/>
                    </a:lnTo>
                    <a:lnTo>
                      <a:pt x="370" y="20"/>
                    </a:lnTo>
                    <a:lnTo>
                      <a:pt x="350" y="37"/>
                    </a:lnTo>
                    <a:lnTo>
                      <a:pt x="326" y="59"/>
                    </a:lnTo>
                    <a:lnTo>
                      <a:pt x="297" y="85"/>
                    </a:lnTo>
                    <a:lnTo>
                      <a:pt x="266" y="117"/>
                    </a:lnTo>
                    <a:lnTo>
                      <a:pt x="233" y="154"/>
                    </a:lnTo>
                    <a:lnTo>
                      <a:pt x="197" y="196"/>
                    </a:lnTo>
                    <a:lnTo>
                      <a:pt x="163" y="241"/>
                    </a:lnTo>
                    <a:lnTo>
                      <a:pt x="129" y="290"/>
                    </a:lnTo>
                    <a:lnTo>
                      <a:pt x="97" y="343"/>
                    </a:lnTo>
                    <a:lnTo>
                      <a:pt x="68" y="400"/>
                    </a:lnTo>
                    <a:lnTo>
                      <a:pt x="43" y="459"/>
                    </a:lnTo>
                    <a:lnTo>
                      <a:pt x="22" y="522"/>
                    </a:lnTo>
                    <a:lnTo>
                      <a:pt x="8" y="586"/>
                    </a:lnTo>
                    <a:lnTo>
                      <a:pt x="0" y="654"/>
                    </a:lnTo>
                    <a:lnTo>
                      <a:pt x="0" y="664"/>
                    </a:lnTo>
                    <a:lnTo>
                      <a:pt x="1" y="684"/>
                    </a:lnTo>
                    <a:lnTo>
                      <a:pt x="6" y="714"/>
                    </a:lnTo>
                    <a:lnTo>
                      <a:pt x="15" y="752"/>
                    </a:lnTo>
                    <a:lnTo>
                      <a:pt x="29" y="795"/>
                    </a:lnTo>
                    <a:lnTo>
                      <a:pt x="50" y="841"/>
                    </a:lnTo>
                    <a:lnTo>
                      <a:pt x="80" y="890"/>
                    </a:lnTo>
                    <a:lnTo>
                      <a:pt x="120" y="937"/>
                    </a:lnTo>
                    <a:lnTo>
                      <a:pt x="140" y="955"/>
                    </a:lnTo>
                    <a:lnTo>
                      <a:pt x="160" y="974"/>
                    </a:lnTo>
                    <a:lnTo>
                      <a:pt x="183" y="990"/>
                    </a:lnTo>
                    <a:lnTo>
                      <a:pt x="206" y="1005"/>
                    </a:lnTo>
                    <a:lnTo>
                      <a:pt x="231" y="1019"/>
                    </a:lnTo>
                    <a:lnTo>
                      <a:pt x="257" y="1031"/>
                    </a:lnTo>
                    <a:lnTo>
                      <a:pt x="284" y="1043"/>
                    </a:lnTo>
                    <a:lnTo>
                      <a:pt x="311" y="1053"/>
                    </a:lnTo>
                    <a:lnTo>
                      <a:pt x="341" y="1062"/>
                    </a:lnTo>
                    <a:lnTo>
                      <a:pt x="371" y="1070"/>
                    </a:lnTo>
                    <a:lnTo>
                      <a:pt x="403" y="1077"/>
                    </a:lnTo>
                    <a:lnTo>
                      <a:pt x="436" y="1083"/>
                    </a:lnTo>
                    <a:lnTo>
                      <a:pt x="470" y="1087"/>
                    </a:lnTo>
                    <a:lnTo>
                      <a:pt x="505" y="1090"/>
                    </a:lnTo>
                    <a:lnTo>
                      <a:pt x="542" y="1091"/>
                    </a:lnTo>
                    <a:lnTo>
                      <a:pt x="579" y="1092"/>
                    </a:lnTo>
                    <a:lnTo>
                      <a:pt x="584" y="1092"/>
                    </a:lnTo>
                    <a:lnTo>
                      <a:pt x="600" y="1091"/>
                    </a:lnTo>
                    <a:lnTo>
                      <a:pt x="625" y="1090"/>
                    </a:lnTo>
                    <a:lnTo>
                      <a:pt x="656" y="1085"/>
                    </a:lnTo>
                    <a:lnTo>
                      <a:pt x="693" y="1080"/>
                    </a:lnTo>
                    <a:lnTo>
                      <a:pt x="733" y="1070"/>
                    </a:lnTo>
                    <a:lnTo>
                      <a:pt x="777" y="1057"/>
                    </a:lnTo>
                    <a:lnTo>
                      <a:pt x="822" y="1039"/>
                    </a:lnTo>
                    <a:lnTo>
                      <a:pt x="868" y="1017"/>
                    </a:lnTo>
                    <a:lnTo>
                      <a:pt x="911" y="989"/>
                    </a:lnTo>
                    <a:lnTo>
                      <a:pt x="952" y="954"/>
                    </a:lnTo>
                    <a:lnTo>
                      <a:pt x="989" y="913"/>
                    </a:lnTo>
                    <a:lnTo>
                      <a:pt x="1021" y="863"/>
                    </a:lnTo>
                    <a:lnTo>
                      <a:pt x="1045" y="805"/>
                    </a:lnTo>
                    <a:lnTo>
                      <a:pt x="1061" y="740"/>
                    </a:lnTo>
                    <a:lnTo>
                      <a:pt x="1068" y="664"/>
                    </a:lnTo>
                    <a:lnTo>
                      <a:pt x="1068" y="661"/>
                    </a:lnTo>
                    <a:lnTo>
                      <a:pt x="1068" y="660"/>
                    </a:lnTo>
                    <a:lnTo>
                      <a:pt x="1067" y="653"/>
                    </a:lnTo>
                    <a:lnTo>
                      <a:pt x="1066" y="639"/>
                    </a:lnTo>
                    <a:lnTo>
                      <a:pt x="1062" y="619"/>
                    </a:lnTo>
                    <a:lnTo>
                      <a:pt x="1058" y="591"/>
                    </a:lnTo>
                    <a:lnTo>
                      <a:pt x="1051" y="559"/>
                    </a:lnTo>
                    <a:lnTo>
                      <a:pt x="1042" y="521"/>
                    </a:lnTo>
                    <a:lnTo>
                      <a:pt x="1030" y="478"/>
                    </a:lnTo>
                    <a:lnTo>
                      <a:pt x="1015" y="432"/>
                    </a:lnTo>
                    <a:lnTo>
                      <a:pt x="997" y="384"/>
                    </a:lnTo>
                    <a:lnTo>
                      <a:pt x="975" y="332"/>
                    </a:lnTo>
                    <a:lnTo>
                      <a:pt x="948" y="278"/>
                    </a:lnTo>
                    <a:lnTo>
                      <a:pt x="917" y="222"/>
                    </a:lnTo>
                    <a:lnTo>
                      <a:pt x="881" y="167"/>
                    </a:lnTo>
                    <a:lnTo>
                      <a:pt x="841" y="111"/>
                    </a:lnTo>
                    <a:lnTo>
                      <a:pt x="795" y="54"/>
                    </a:lnTo>
                    <a:lnTo>
                      <a:pt x="743" y="0"/>
                    </a:lnTo>
                    <a:lnTo>
                      <a:pt x="701" y="41"/>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79" name="Freeform 86">
                <a:extLst>
                  <a:ext uri="{FF2B5EF4-FFF2-40B4-BE49-F238E27FC236}">
                    <a16:creationId xmlns:a16="http://schemas.microsoft.com/office/drawing/2014/main" id="{3016D899-3C7B-493B-8978-F9A52B204C7D}"/>
                  </a:ext>
                </a:extLst>
              </p:cNvPr>
              <p:cNvSpPr>
                <a:spLocks noChangeAspect="1"/>
              </p:cNvSpPr>
              <p:nvPr/>
            </p:nvSpPr>
            <p:spPr bwMode="auto">
              <a:xfrm>
                <a:off x="3279" y="1729"/>
                <a:ext cx="222" cy="45"/>
              </a:xfrm>
              <a:custGeom>
                <a:avLst/>
                <a:gdLst>
                  <a:gd name="T0" fmla="*/ 102 w 443"/>
                  <a:gd name="T1" fmla="*/ 1 h 90"/>
                  <a:gd name="T2" fmla="*/ 91 w 443"/>
                  <a:gd name="T3" fmla="*/ 3 h 90"/>
                  <a:gd name="T4" fmla="*/ 81 w 443"/>
                  <a:gd name="T5" fmla="*/ 5 h 90"/>
                  <a:gd name="T6" fmla="*/ 71 w 443"/>
                  <a:gd name="T7" fmla="*/ 6 h 90"/>
                  <a:gd name="T8" fmla="*/ 63 w 443"/>
                  <a:gd name="T9" fmla="*/ 7 h 90"/>
                  <a:gd name="T10" fmla="*/ 54 w 443"/>
                  <a:gd name="T11" fmla="*/ 7 h 90"/>
                  <a:gd name="T12" fmla="*/ 47 w 443"/>
                  <a:gd name="T13" fmla="*/ 7 h 90"/>
                  <a:gd name="T14" fmla="*/ 40 w 443"/>
                  <a:gd name="T15" fmla="*/ 7 h 90"/>
                  <a:gd name="T16" fmla="*/ 34 w 443"/>
                  <a:gd name="T17" fmla="*/ 6 h 90"/>
                  <a:gd name="T18" fmla="*/ 29 w 443"/>
                  <a:gd name="T19" fmla="*/ 6 h 90"/>
                  <a:gd name="T20" fmla="*/ 24 w 443"/>
                  <a:gd name="T21" fmla="*/ 5 h 90"/>
                  <a:gd name="T22" fmla="*/ 20 w 443"/>
                  <a:gd name="T23" fmla="*/ 4 h 90"/>
                  <a:gd name="T24" fmla="*/ 17 w 443"/>
                  <a:gd name="T25" fmla="*/ 3 h 90"/>
                  <a:gd name="T26" fmla="*/ 14 w 443"/>
                  <a:gd name="T27" fmla="*/ 3 h 90"/>
                  <a:gd name="T28" fmla="*/ 12 w 443"/>
                  <a:gd name="T29" fmla="*/ 1 h 90"/>
                  <a:gd name="T30" fmla="*/ 11 w 443"/>
                  <a:gd name="T31" fmla="*/ 1 h 90"/>
                  <a:gd name="T32" fmla="*/ 11 w 443"/>
                  <a:gd name="T33" fmla="*/ 1 h 90"/>
                  <a:gd name="T34" fmla="*/ 10 w 443"/>
                  <a:gd name="T35" fmla="*/ 1 h 90"/>
                  <a:gd name="T36" fmla="*/ 8 w 443"/>
                  <a:gd name="T37" fmla="*/ 0 h 90"/>
                  <a:gd name="T38" fmla="*/ 7 w 443"/>
                  <a:gd name="T39" fmla="*/ 0 h 90"/>
                  <a:gd name="T40" fmla="*/ 6 w 443"/>
                  <a:gd name="T41" fmla="*/ 1 h 90"/>
                  <a:gd name="T42" fmla="*/ 4 w 443"/>
                  <a:gd name="T43" fmla="*/ 1 h 90"/>
                  <a:gd name="T44" fmla="*/ 3 w 443"/>
                  <a:gd name="T45" fmla="*/ 1 h 90"/>
                  <a:gd name="T46" fmla="*/ 2 w 443"/>
                  <a:gd name="T47" fmla="*/ 3 h 90"/>
                  <a:gd name="T48" fmla="*/ 1 w 443"/>
                  <a:gd name="T49" fmla="*/ 4 h 90"/>
                  <a:gd name="T50" fmla="*/ 0 w 443"/>
                  <a:gd name="T51" fmla="*/ 6 h 90"/>
                  <a:gd name="T52" fmla="*/ 1 w 443"/>
                  <a:gd name="T53" fmla="*/ 10 h 90"/>
                  <a:gd name="T54" fmla="*/ 2 w 443"/>
                  <a:gd name="T55" fmla="*/ 12 h 90"/>
                  <a:gd name="T56" fmla="*/ 4 w 443"/>
                  <a:gd name="T57" fmla="*/ 14 h 90"/>
                  <a:gd name="T58" fmla="*/ 5 w 443"/>
                  <a:gd name="T59" fmla="*/ 14 h 90"/>
                  <a:gd name="T60" fmla="*/ 6 w 443"/>
                  <a:gd name="T61" fmla="*/ 15 h 90"/>
                  <a:gd name="T62" fmla="*/ 8 w 443"/>
                  <a:gd name="T63" fmla="*/ 15 h 90"/>
                  <a:gd name="T64" fmla="*/ 11 w 443"/>
                  <a:gd name="T65" fmla="*/ 17 h 90"/>
                  <a:gd name="T66" fmla="*/ 15 w 443"/>
                  <a:gd name="T67" fmla="*/ 18 h 90"/>
                  <a:gd name="T68" fmla="*/ 20 w 443"/>
                  <a:gd name="T69" fmla="*/ 19 h 90"/>
                  <a:gd name="T70" fmla="*/ 25 w 443"/>
                  <a:gd name="T71" fmla="*/ 20 h 90"/>
                  <a:gd name="T72" fmla="*/ 31 w 443"/>
                  <a:gd name="T73" fmla="*/ 21 h 90"/>
                  <a:gd name="T74" fmla="*/ 37 w 443"/>
                  <a:gd name="T75" fmla="*/ 22 h 90"/>
                  <a:gd name="T76" fmla="*/ 45 w 443"/>
                  <a:gd name="T77" fmla="*/ 23 h 90"/>
                  <a:gd name="T78" fmla="*/ 53 w 443"/>
                  <a:gd name="T79" fmla="*/ 23 h 90"/>
                  <a:gd name="T80" fmla="*/ 62 w 443"/>
                  <a:gd name="T81" fmla="*/ 22 h 90"/>
                  <a:gd name="T82" fmla="*/ 72 w 443"/>
                  <a:gd name="T83" fmla="*/ 21 h 90"/>
                  <a:gd name="T84" fmla="*/ 82 w 443"/>
                  <a:gd name="T85" fmla="*/ 20 h 90"/>
                  <a:gd name="T86" fmla="*/ 94 w 443"/>
                  <a:gd name="T87" fmla="*/ 18 h 90"/>
                  <a:gd name="T88" fmla="*/ 106 w 443"/>
                  <a:gd name="T89" fmla="*/ 14 h 90"/>
                  <a:gd name="T90" fmla="*/ 108 w 443"/>
                  <a:gd name="T91" fmla="*/ 13 h 90"/>
                  <a:gd name="T92" fmla="*/ 110 w 443"/>
                  <a:gd name="T93" fmla="*/ 11 h 90"/>
                  <a:gd name="T94" fmla="*/ 111 w 443"/>
                  <a:gd name="T95" fmla="*/ 9 h 90"/>
                  <a:gd name="T96" fmla="*/ 111 w 443"/>
                  <a:gd name="T97" fmla="*/ 6 h 90"/>
                  <a:gd name="T98" fmla="*/ 111 w 443"/>
                  <a:gd name="T99" fmla="*/ 4 h 90"/>
                  <a:gd name="T100" fmla="*/ 110 w 443"/>
                  <a:gd name="T101" fmla="*/ 3 h 90"/>
                  <a:gd name="T102" fmla="*/ 109 w 443"/>
                  <a:gd name="T103" fmla="*/ 1 h 90"/>
                  <a:gd name="T104" fmla="*/ 108 w 443"/>
                  <a:gd name="T105" fmla="*/ 1 h 90"/>
                  <a:gd name="T106" fmla="*/ 106 w 443"/>
                  <a:gd name="T107" fmla="*/ 1 h 90"/>
                  <a:gd name="T108" fmla="*/ 105 w 443"/>
                  <a:gd name="T109" fmla="*/ 0 h 90"/>
                  <a:gd name="T110" fmla="*/ 103 w 443"/>
                  <a:gd name="T111" fmla="*/ 0 h 90"/>
                  <a:gd name="T112" fmla="*/ 102 w 443"/>
                  <a:gd name="T113" fmla="*/ 1 h 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3"/>
                  <a:gd name="T172" fmla="*/ 0 h 90"/>
                  <a:gd name="T173" fmla="*/ 443 w 443"/>
                  <a:gd name="T174" fmla="*/ 90 h 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3" h="90">
                    <a:moveTo>
                      <a:pt x="406" y="1"/>
                    </a:moveTo>
                    <a:lnTo>
                      <a:pt x="363" y="11"/>
                    </a:lnTo>
                    <a:lnTo>
                      <a:pt x="322" y="19"/>
                    </a:lnTo>
                    <a:lnTo>
                      <a:pt x="284" y="25"/>
                    </a:lnTo>
                    <a:lnTo>
                      <a:pt x="249" y="29"/>
                    </a:lnTo>
                    <a:lnTo>
                      <a:pt x="216" y="30"/>
                    </a:lnTo>
                    <a:lnTo>
                      <a:pt x="186" y="30"/>
                    </a:lnTo>
                    <a:lnTo>
                      <a:pt x="159" y="29"/>
                    </a:lnTo>
                    <a:lnTo>
                      <a:pt x="135" y="26"/>
                    </a:lnTo>
                    <a:lnTo>
                      <a:pt x="114" y="23"/>
                    </a:lnTo>
                    <a:lnTo>
                      <a:pt x="95" y="19"/>
                    </a:lnTo>
                    <a:lnTo>
                      <a:pt x="79" y="16"/>
                    </a:lnTo>
                    <a:lnTo>
                      <a:pt x="67" y="11"/>
                    </a:lnTo>
                    <a:lnTo>
                      <a:pt x="56" y="9"/>
                    </a:lnTo>
                    <a:lnTo>
                      <a:pt x="48" y="6"/>
                    </a:lnTo>
                    <a:lnTo>
                      <a:pt x="44" y="4"/>
                    </a:lnTo>
                    <a:lnTo>
                      <a:pt x="42" y="3"/>
                    </a:lnTo>
                    <a:lnTo>
                      <a:pt x="37" y="1"/>
                    </a:lnTo>
                    <a:lnTo>
                      <a:pt x="31" y="0"/>
                    </a:lnTo>
                    <a:lnTo>
                      <a:pt x="26" y="0"/>
                    </a:lnTo>
                    <a:lnTo>
                      <a:pt x="21" y="1"/>
                    </a:lnTo>
                    <a:lnTo>
                      <a:pt x="15" y="3"/>
                    </a:lnTo>
                    <a:lnTo>
                      <a:pt x="10" y="7"/>
                    </a:lnTo>
                    <a:lnTo>
                      <a:pt x="7" y="11"/>
                    </a:lnTo>
                    <a:lnTo>
                      <a:pt x="3" y="16"/>
                    </a:lnTo>
                    <a:lnTo>
                      <a:pt x="0" y="27"/>
                    </a:lnTo>
                    <a:lnTo>
                      <a:pt x="1" y="38"/>
                    </a:lnTo>
                    <a:lnTo>
                      <a:pt x="6" y="48"/>
                    </a:lnTo>
                    <a:lnTo>
                      <a:pt x="15" y="56"/>
                    </a:lnTo>
                    <a:lnTo>
                      <a:pt x="17" y="57"/>
                    </a:lnTo>
                    <a:lnTo>
                      <a:pt x="23" y="60"/>
                    </a:lnTo>
                    <a:lnTo>
                      <a:pt x="32" y="63"/>
                    </a:lnTo>
                    <a:lnTo>
                      <a:pt x="44" y="68"/>
                    </a:lnTo>
                    <a:lnTo>
                      <a:pt x="59" y="71"/>
                    </a:lnTo>
                    <a:lnTo>
                      <a:pt x="77" y="76"/>
                    </a:lnTo>
                    <a:lnTo>
                      <a:pt x="98" y="80"/>
                    </a:lnTo>
                    <a:lnTo>
                      <a:pt x="122" y="84"/>
                    </a:lnTo>
                    <a:lnTo>
                      <a:pt x="148" y="87"/>
                    </a:lnTo>
                    <a:lnTo>
                      <a:pt x="178" y="89"/>
                    </a:lnTo>
                    <a:lnTo>
                      <a:pt x="212" y="90"/>
                    </a:lnTo>
                    <a:lnTo>
                      <a:pt x="248" y="87"/>
                    </a:lnTo>
                    <a:lnTo>
                      <a:pt x="287" y="84"/>
                    </a:lnTo>
                    <a:lnTo>
                      <a:pt x="328" y="78"/>
                    </a:lnTo>
                    <a:lnTo>
                      <a:pt x="373" y="70"/>
                    </a:lnTo>
                    <a:lnTo>
                      <a:pt x="421" y="59"/>
                    </a:lnTo>
                    <a:lnTo>
                      <a:pt x="432" y="53"/>
                    </a:lnTo>
                    <a:lnTo>
                      <a:pt x="440" y="45"/>
                    </a:lnTo>
                    <a:lnTo>
                      <a:pt x="443" y="33"/>
                    </a:lnTo>
                    <a:lnTo>
                      <a:pt x="443" y="22"/>
                    </a:lnTo>
                    <a:lnTo>
                      <a:pt x="441" y="16"/>
                    </a:lnTo>
                    <a:lnTo>
                      <a:pt x="438" y="11"/>
                    </a:lnTo>
                    <a:lnTo>
                      <a:pt x="434" y="7"/>
                    </a:lnTo>
                    <a:lnTo>
                      <a:pt x="430" y="3"/>
                    </a:lnTo>
                    <a:lnTo>
                      <a:pt x="424" y="1"/>
                    </a:lnTo>
                    <a:lnTo>
                      <a:pt x="418" y="0"/>
                    </a:lnTo>
                    <a:lnTo>
                      <a:pt x="412" y="0"/>
                    </a:lnTo>
                    <a:lnTo>
                      <a:pt x="406" y="1"/>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80" name="Freeform 87">
                <a:extLst>
                  <a:ext uri="{FF2B5EF4-FFF2-40B4-BE49-F238E27FC236}">
                    <a16:creationId xmlns:a16="http://schemas.microsoft.com/office/drawing/2014/main" id="{86390C4A-6A57-4B33-8AD8-39DDAF85BED1}"/>
                  </a:ext>
                </a:extLst>
              </p:cNvPr>
              <p:cNvSpPr>
                <a:spLocks noChangeAspect="1"/>
              </p:cNvSpPr>
              <p:nvPr/>
            </p:nvSpPr>
            <p:spPr bwMode="auto">
              <a:xfrm>
                <a:off x="3190" y="1570"/>
                <a:ext cx="436" cy="180"/>
              </a:xfrm>
              <a:custGeom>
                <a:avLst/>
                <a:gdLst>
                  <a:gd name="T0" fmla="*/ 70 w 872"/>
                  <a:gd name="T1" fmla="*/ 14 h 359"/>
                  <a:gd name="T2" fmla="*/ 67 w 872"/>
                  <a:gd name="T3" fmla="*/ 14 h 359"/>
                  <a:gd name="T4" fmla="*/ 61 w 872"/>
                  <a:gd name="T5" fmla="*/ 13 h 359"/>
                  <a:gd name="T6" fmla="*/ 56 w 872"/>
                  <a:gd name="T7" fmla="*/ 11 h 359"/>
                  <a:gd name="T8" fmla="*/ 50 w 872"/>
                  <a:gd name="T9" fmla="*/ 8 h 359"/>
                  <a:gd name="T10" fmla="*/ 36 w 872"/>
                  <a:gd name="T11" fmla="*/ 6 h 359"/>
                  <a:gd name="T12" fmla="*/ 18 w 872"/>
                  <a:gd name="T13" fmla="*/ 8 h 359"/>
                  <a:gd name="T14" fmla="*/ 9 w 872"/>
                  <a:gd name="T15" fmla="*/ 13 h 359"/>
                  <a:gd name="T16" fmla="*/ 10 w 872"/>
                  <a:gd name="T17" fmla="*/ 26 h 359"/>
                  <a:gd name="T18" fmla="*/ 38 w 872"/>
                  <a:gd name="T19" fmla="*/ 54 h 359"/>
                  <a:gd name="T20" fmla="*/ 48 w 872"/>
                  <a:gd name="T21" fmla="*/ 82 h 359"/>
                  <a:gd name="T22" fmla="*/ 63 w 872"/>
                  <a:gd name="T23" fmla="*/ 90 h 359"/>
                  <a:gd name="T24" fmla="*/ 61 w 872"/>
                  <a:gd name="T25" fmla="*/ 74 h 359"/>
                  <a:gd name="T26" fmla="*/ 49 w 872"/>
                  <a:gd name="T27" fmla="*/ 42 h 359"/>
                  <a:gd name="T28" fmla="*/ 31 w 872"/>
                  <a:gd name="T29" fmla="*/ 21 h 359"/>
                  <a:gd name="T30" fmla="*/ 35 w 872"/>
                  <a:gd name="T31" fmla="*/ 21 h 359"/>
                  <a:gd name="T32" fmla="*/ 40 w 872"/>
                  <a:gd name="T33" fmla="*/ 21 h 359"/>
                  <a:gd name="T34" fmla="*/ 46 w 872"/>
                  <a:gd name="T35" fmla="*/ 23 h 359"/>
                  <a:gd name="T36" fmla="*/ 52 w 872"/>
                  <a:gd name="T37" fmla="*/ 25 h 359"/>
                  <a:gd name="T38" fmla="*/ 56 w 872"/>
                  <a:gd name="T39" fmla="*/ 26 h 359"/>
                  <a:gd name="T40" fmla="*/ 65 w 872"/>
                  <a:gd name="T41" fmla="*/ 29 h 359"/>
                  <a:gd name="T42" fmla="*/ 74 w 872"/>
                  <a:gd name="T43" fmla="*/ 28 h 359"/>
                  <a:gd name="T44" fmla="*/ 85 w 872"/>
                  <a:gd name="T45" fmla="*/ 21 h 359"/>
                  <a:gd name="T46" fmla="*/ 101 w 872"/>
                  <a:gd name="T47" fmla="*/ 16 h 359"/>
                  <a:gd name="T48" fmla="*/ 117 w 872"/>
                  <a:gd name="T49" fmla="*/ 18 h 359"/>
                  <a:gd name="T50" fmla="*/ 133 w 872"/>
                  <a:gd name="T51" fmla="*/ 31 h 359"/>
                  <a:gd name="T52" fmla="*/ 149 w 872"/>
                  <a:gd name="T53" fmla="*/ 33 h 359"/>
                  <a:gd name="T54" fmla="*/ 163 w 872"/>
                  <a:gd name="T55" fmla="*/ 29 h 359"/>
                  <a:gd name="T56" fmla="*/ 150 w 872"/>
                  <a:gd name="T57" fmla="*/ 46 h 359"/>
                  <a:gd name="T58" fmla="*/ 141 w 872"/>
                  <a:gd name="T59" fmla="*/ 67 h 359"/>
                  <a:gd name="T60" fmla="*/ 152 w 872"/>
                  <a:gd name="T61" fmla="*/ 85 h 359"/>
                  <a:gd name="T62" fmla="*/ 167 w 872"/>
                  <a:gd name="T63" fmla="*/ 47 h 359"/>
                  <a:gd name="T64" fmla="*/ 188 w 872"/>
                  <a:gd name="T65" fmla="*/ 26 h 359"/>
                  <a:gd name="T66" fmla="*/ 218 w 872"/>
                  <a:gd name="T67" fmla="*/ 6 h 359"/>
                  <a:gd name="T68" fmla="*/ 186 w 872"/>
                  <a:gd name="T69" fmla="*/ 8 h 359"/>
                  <a:gd name="T70" fmla="*/ 177 w 872"/>
                  <a:gd name="T71" fmla="*/ 9 h 359"/>
                  <a:gd name="T72" fmla="*/ 166 w 872"/>
                  <a:gd name="T73" fmla="*/ 11 h 359"/>
                  <a:gd name="T74" fmla="*/ 153 w 872"/>
                  <a:gd name="T75" fmla="*/ 17 h 359"/>
                  <a:gd name="T76" fmla="*/ 143 w 872"/>
                  <a:gd name="T77" fmla="*/ 18 h 359"/>
                  <a:gd name="T78" fmla="*/ 134 w 872"/>
                  <a:gd name="T79" fmla="*/ 13 h 359"/>
                  <a:gd name="T80" fmla="*/ 123 w 872"/>
                  <a:gd name="T81" fmla="*/ 5 h 359"/>
                  <a:gd name="T82" fmla="*/ 111 w 872"/>
                  <a:gd name="T83" fmla="*/ 1 h 359"/>
                  <a:gd name="T84" fmla="*/ 100 w 872"/>
                  <a:gd name="T85" fmla="*/ 1 h 359"/>
                  <a:gd name="T86" fmla="*/ 88 w 872"/>
                  <a:gd name="T87" fmla="*/ 4 h 359"/>
                  <a:gd name="T88" fmla="*/ 76 w 872"/>
                  <a:gd name="T89" fmla="*/ 9 h 3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72"/>
                  <a:gd name="T136" fmla="*/ 0 h 359"/>
                  <a:gd name="T137" fmla="*/ 872 w 872"/>
                  <a:gd name="T138" fmla="*/ 359 h 3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72" h="359">
                    <a:moveTo>
                      <a:pt x="289" y="45"/>
                    </a:moveTo>
                    <a:lnTo>
                      <a:pt x="283" y="49"/>
                    </a:lnTo>
                    <a:lnTo>
                      <a:pt x="278" y="53"/>
                    </a:lnTo>
                    <a:lnTo>
                      <a:pt x="273" y="55"/>
                    </a:lnTo>
                    <a:lnTo>
                      <a:pt x="270" y="55"/>
                    </a:lnTo>
                    <a:lnTo>
                      <a:pt x="265" y="55"/>
                    </a:lnTo>
                    <a:lnTo>
                      <a:pt x="261" y="54"/>
                    </a:lnTo>
                    <a:lnTo>
                      <a:pt x="255" y="53"/>
                    </a:lnTo>
                    <a:lnTo>
                      <a:pt x="247" y="49"/>
                    </a:lnTo>
                    <a:lnTo>
                      <a:pt x="241" y="47"/>
                    </a:lnTo>
                    <a:lnTo>
                      <a:pt x="234" y="44"/>
                    </a:lnTo>
                    <a:lnTo>
                      <a:pt x="227" y="41"/>
                    </a:lnTo>
                    <a:lnTo>
                      <a:pt x="219" y="38"/>
                    </a:lnTo>
                    <a:lnTo>
                      <a:pt x="210" y="34"/>
                    </a:lnTo>
                    <a:lnTo>
                      <a:pt x="200" y="32"/>
                    </a:lnTo>
                    <a:lnTo>
                      <a:pt x="188" y="29"/>
                    </a:lnTo>
                    <a:lnTo>
                      <a:pt x="177" y="26"/>
                    </a:lnTo>
                    <a:lnTo>
                      <a:pt x="143" y="23"/>
                    </a:lnTo>
                    <a:lnTo>
                      <a:pt x="114" y="23"/>
                    </a:lnTo>
                    <a:lnTo>
                      <a:pt x="90" y="26"/>
                    </a:lnTo>
                    <a:lnTo>
                      <a:pt x="69" y="31"/>
                    </a:lnTo>
                    <a:lnTo>
                      <a:pt x="53" y="38"/>
                    </a:lnTo>
                    <a:lnTo>
                      <a:pt x="42" y="45"/>
                    </a:lnTo>
                    <a:lnTo>
                      <a:pt x="34" y="49"/>
                    </a:lnTo>
                    <a:lnTo>
                      <a:pt x="30" y="53"/>
                    </a:lnTo>
                    <a:lnTo>
                      <a:pt x="0" y="82"/>
                    </a:lnTo>
                    <a:lnTo>
                      <a:pt x="37" y="101"/>
                    </a:lnTo>
                    <a:lnTo>
                      <a:pt x="87" y="135"/>
                    </a:lnTo>
                    <a:lnTo>
                      <a:pt x="125" y="174"/>
                    </a:lnTo>
                    <a:lnTo>
                      <a:pt x="152" y="215"/>
                    </a:lnTo>
                    <a:lnTo>
                      <a:pt x="172" y="257"/>
                    </a:lnTo>
                    <a:lnTo>
                      <a:pt x="183" y="295"/>
                    </a:lnTo>
                    <a:lnTo>
                      <a:pt x="189" y="327"/>
                    </a:lnTo>
                    <a:lnTo>
                      <a:pt x="193" y="349"/>
                    </a:lnTo>
                    <a:lnTo>
                      <a:pt x="193" y="359"/>
                    </a:lnTo>
                    <a:lnTo>
                      <a:pt x="253" y="358"/>
                    </a:lnTo>
                    <a:lnTo>
                      <a:pt x="253" y="348"/>
                    </a:lnTo>
                    <a:lnTo>
                      <a:pt x="250" y="326"/>
                    </a:lnTo>
                    <a:lnTo>
                      <a:pt x="245" y="295"/>
                    </a:lnTo>
                    <a:lnTo>
                      <a:pt x="234" y="257"/>
                    </a:lnTo>
                    <a:lnTo>
                      <a:pt x="218" y="213"/>
                    </a:lnTo>
                    <a:lnTo>
                      <a:pt x="194" y="168"/>
                    </a:lnTo>
                    <a:lnTo>
                      <a:pt x="160" y="124"/>
                    </a:lnTo>
                    <a:lnTo>
                      <a:pt x="118" y="83"/>
                    </a:lnTo>
                    <a:lnTo>
                      <a:pt x="124" y="83"/>
                    </a:lnTo>
                    <a:lnTo>
                      <a:pt x="128" y="82"/>
                    </a:lnTo>
                    <a:lnTo>
                      <a:pt x="134" y="82"/>
                    </a:lnTo>
                    <a:lnTo>
                      <a:pt x="140" y="82"/>
                    </a:lnTo>
                    <a:lnTo>
                      <a:pt x="145" y="83"/>
                    </a:lnTo>
                    <a:lnTo>
                      <a:pt x="152" y="83"/>
                    </a:lnTo>
                    <a:lnTo>
                      <a:pt x="158" y="84"/>
                    </a:lnTo>
                    <a:lnTo>
                      <a:pt x="165" y="85"/>
                    </a:lnTo>
                    <a:lnTo>
                      <a:pt x="175" y="87"/>
                    </a:lnTo>
                    <a:lnTo>
                      <a:pt x="183" y="90"/>
                    </a:lnTo>
                    <a:lnTo>
                      <a:pt x="193" y="92"/>
                    </a:lnTo>
                    <a:lnTo>
                      <a:pt x="200" y="94"/>
                    </a:lnTo>
                    <a:lnTo>
                      <a:pt x="207" y="97"/>
                    </a:lnTo>
                    <a:lnTo>
                      <a:pt x="212" y="99"/>
                    </a:lnTo>
                    <a:lnTo>
                      <a:pt x="218" y="101"/>
                    </a:lnTo>
                    <a:lnTo>
                      <a:pt x="224" y="104"/>
                    </a:lnTo>
                    <a:lnTo>
                      <a:pt x="236" y="108"/>
                    </a:lnTo>
                    <a:lnTo>
                      <a:pt x="247" y="112"/>
                    </a:lnTo>
                    <a:lnTo>
                      <a:pt x="258" y="115"/>
                    </a:lnTo>
                    <a:lnTo>
                      <a:pt x="270" y="115"/>
                    </a:lnTo>
                    <a:lnTo>
                      <a:pt x="281" y="114"/>
                    </a:lnTo>
                    <a:lnTo>
                      <a:pt x="294" y="109"/>
                    </a:lnTo>
                    <a:lnTo>
                      <a:pt x="309" y="104"/>
                    </a:lnTo>
                    <a:lnTo>
                      <a:pt x="324" y="93"/>
                    </a:lnTo>
                    <a:lnTo>
                      <a:pt x="340" y="83"/>
                    </a:lnTo>
                    <a:lnTo>
                      <a:pt x="360" y="74"/>
                    </a:lnTo>
                    <a:lnTo>
                      <a:pt x="380" y="66"/>
                    </a:lnTo>
                    <a:lnTo>
                      <a:pt x="403" y="61"/>
                    </a:lnTo>
                    <a:lnTo>
                      <a:pt x="427" y="60"/>
                    </a:lnTo>
                    <a:lnTo>
                      <a:pt x="450" y="63"/>
                    </a:lnTo>
                    <a:lnTo>
                      <a:pt x="470" y="72"/>
                    </a:lnTo>
                    <a:lnTo>
                      <a:pt x="490" y="89"/>
                    </a:lnTo>
                    <a:lnTo>
                      <a:pt x="511" y="108"/>
                    </a:lnTo>
                    <a:lnTo>
                      <a:pt x="531" y="122"/>
                    </a:lnTo>
                    <a:lnTo>
                      <a:pt x="553" y="130"/>
                    </a:lnTo>
                    <a:lnTo>
                      <a:pt x="575" y="132"/>
                    </a:lnTo>
                    <a:lnTo>
                      <a:pt x="595" y="131"/>
                    </a:lnTo>
                    <a:lnTo>
                      <a:pt x="614" y="128"/>
                    </a:lnTo>
                    <a:lnTo>
                      <a:pt x="633" y="122"/>
                    </a:lnTo>
                    <a:lnTo>
                      <a:pt x="649" y="115"/>
                    </a:lnTo>
                    <a:lnTo>
                      <a:pt x="632" y="135"/>
                    </a:lnTo>
                    <a:lnTo>
                      <a:pt x="615" y="158"/>
                    </a:lnTo>
                    <a:lnTo>
                      <a:pt x="599" y="181"/>
                    </a:lnTo>
                    <a:lnTo>
                      <a:pt x="585" y="207"/>
                    </a:lnTo>
                    <a:lnTo>
                      <a:pt x="572" y="236"/>
                    </a:lnTo>
                    <a:lnTo>
                      <a:pt x="561" y="266"/>
                    </a:lnTo>
                    <a:lnTo>
                      <a:pt x="552" y="297"/>
                    </a:lnTo>
                    <a:lnTo>
                      <a:pt x="546" y="332"/>
                    </a:lnTo>
                    <a:lnTo>
                      <a:pt x="606" y="339"/>
                    </a:lnTo>
                    <a:lnTo>
                      <a:pt x="619" y="282"/>
                    </a:lnTo>
                    <a:lnTo>
                      <a:pt x="640" y="232"/>
                    </a:lnTo>
                    <a:lnTo>
                      <a:pt x="667" y="188"/>
                    </a:lnTo>
                    <a:lnTo>
                      <a:pt x="697" y="152"/>
                    </a:lnTo>
                    <a:lnTo>
                      <a:pt x="726" y="123"/>
                    </a:lnTo>
                    <a:lnTo>
                      <a:pt x="750" y="101"/>
                    </a:lnTo>
                    <a:lnTo>
                      <a:pt x="767" y="89"/>
                    </a:lnTo>
                    <a:lnTo>
                      <a:pt x="774" y="84"/>
                    </a:lnTo>
                    <a:lnTo>
                      <a:pt x="872" y="24"/>
                    </a:lnTo>
                    <a:lnTo>
                      <a:pt x="757" y="29"/>
                    </a:lnTo>
                    <a:lnTo>
                      <a:pt x="752" y="29"/>
                    </a:lnTo>
                    <a:lnTo>
                      <a:pt x="744" y="30"/>
                    </a:lnTo>
                    <a:lnTo>
                      <a:pt x="734" y="31"/>
                    </a:lnTo>
                    <a:lnTo>
                      <a:pt x="720" y="32"/>
                    </a:lnTo>
                    <a:lnTo>
                      <a:pt x="706" y="34"/>
                    </a:lnTo>
                    <a:lnTo>
                      <a:pt x="691" y="37"/>
                    </a:lnTo>
                    <a:lnTo>
                      <a:pt x="676" y="40"/>
                    </a:lnTo>
                    <a:lnTo>
                      <a:pt x="663" y="44"/>
                    </a:lnTo>
                    <a:lnTo>
                      <a:pt x="640" y="54"/>
                    </a:lnTo>
                    <a:lnTo>
                      <a:pt x="625" y="61"/>
                    </a:lnTo>
                    <a:lnTo>
                      <a:pt x="610" y="67"/>
                    </a:lnTo>
                    <a:lnTo>
                      <a:pt x="596" y="70"/>
                    </a:lnTo>
                    <a:lnTo>
                      <a:pt x="582" y="72"/>
                    </a:lnTo>
                    <a:lnTo>
                      <a:pt x="569" y="71"/>
                    </a:lnTo>
                    <a:lnTo>
                      <a:pt x="558" y="68"/>
                    </a:lnTo>
                    <a:lnTo>
                      <a:pt x="545" y="61"/>
                    </a:lnTo>
                    <a:lnTo>
                      <a:pt x="534" y="49"/>
                    </a:lnTo>
                    <a:lnTo>
                      <a:pt x="521" y="37"/>
                    </a:lnTo>
                    <a:lnTo>
                      <a:pt x="507" y="25"/>
                    </a:lnTo>
                    <a:lnTo>
                      <a:pt x="493" y="17"/>
                    </a:lnTo>
                    <a:lnTo>
                      <a:pt x="478" y="10"/>
                    </a:lnTo>
                    <a:lnTo>
                      <a:pt x="462" y="5"/>
                    </a:lnTo>
                    <a:lnTo>
                      <a:pt x="447" y="1"/>
                    </a:lnTo>
                    <a:lnTo>
                      <a:pt x="431" y="0"/>
                    </a:lnTo>
                    <a:lnTo>
                      <a:pt x="415" y="0"/>
                    </a:lnTo>
                    <a:lnTo>
                      <a:pt x="398" y="1"/>
                    </a:lnTo>
                    <a:lnTo>
                      <a:pt x="382" y="3"/>
                    </a:lnTo>
                    <a:lnTo>
                      <a:pt x="365" y="8"/>
                    </a:lnTo>
                    <a:lnTo>
                      <a:pt x="349" y="13"/>
                    </a:lnTo>
                    <a:lnTo>
                      <a:pt x="333" y="19"/>
                    </a:lnTo>
                    <a:lnTo>
                      <a:pt x="318" y="28"/>
                    </a:lnTo>
                    <a:lnTo>
                      <a:pt x="303" y="36"/>
                    </a:lnTo>
                    <a:lnTo>
                      <a:pt x="289" y="45"/>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81" name="Freeform 94">
                <a:extLst>
                  <a:ext uri="{FF2B5EF4-FFF2-40B4-BE49-F238E27FC236}">
                    <a16:creationId xmlns:a16="http://schemas.microsoft.com/office/drawing/2014/main" id="{226A56BE-A541-4A82-8D5D-457E325126E1}"/>
                  </a:ext>
                </a:extLst>
              </p:cNvPr>
              <p:cNvSpPr>
                <a:spLocks noChangeAspect="1"/>
              </p:cNvSpPr>
              <p:nvPr/>
            </p:nvSpPr>
            <p:spPr bwMode="auto">
              <a:xfrm>
                <a:off x="3273" y="1886"/>
                <a:ext cx="210" cy="254"/>
              </a:xfrm>
              <a:custGeom>
                <a:avLst/>
                <a:gdLst>
                  <a:gd name="T0" fmla="*/ 201 w 98"/>
                  <a:gd name="T1" fmla="*/ 237 h 118"/>
                  <a:gd name="T2" fmla="*/ 313 w 98"/>
                  <a:gd name="T3" fmla="*/ 237 h 118"/>
                  <a:gd name="T4" fmla="*/ 313 w 98"/>
                  <a:gd name="T5" fmla="*/ 321 h 118"/>
                  <a:gd name="T6" fmla="*/ 216 w 98"/>
                  <a:gd name="T7" fmla="*/ 321 h 118"/>
                  <a:gd name="T8" fmla="*/ 206 w 98"/>
                  <a:gd name="T9" fmla="*/ 375 h 118"/>
                  <a:gd name="T10" fmla="*/ 180 w 98"/>
                  <a:gd name="T11" fmla="*/ 418 h 118"/>
                  <a:gd name="T12" fmla="*/ 216 w 98"/>
                  <a:gd name="T13" fmla="*/ 413 h 118"/>
                  <a:gd name="T14" fmla="*/ 261 w 98"/>
                  <a:gd name="T15" fmla="*/ 418 h 118"/>
                  <a:gd name="T16" fmla="*/ 326 w 98"/>
                  <a:gd name="T17" fmla="*/ 426 h 118"/>
                  <a:gd name="T18" fmla="*/ 362 w 98"/>
                  <a:gd name="T19" fmla="*/ 422 h 118"/>
                  <a:gd name="T20" fmla="*/ 399 w 98"/>
                  <a:gd name="T21" fmla="*/ 407 h 118"/>
                  <a:gd name="T22" fmla="*/ 450 w 98"/>
                  <a:gd name="T23" fmla="*/ 519 h 118"/>
                  <a:gd name="T24" fmla="*/ 386 w 98"/>
                  <a:gd name="T25" fmla="*/ 542 h 118"/>
                  <a:gd name="T26" fmla="*/ 330 w 98"/>
                  <a:gd name="T27" fmla="*/ 547 h 118"/>
                  <a:gd name="T28" fmla="*/ 253 w 98"/>
                  <a:gd name="T29" fmla="*/ 538 h 118"/>
                  <a:gd name="T30" fmla="*/ 180 w 98"/>
                  <a:gd name="T31" fmla="*/ 519 h 118"/>
                  <a:gd name="T32" fmla="*/ 152 w 98"/>
                  <a:gd name="T33" fmla="*/ 514 h 118"/>
                  <a:gd name="T34" fmla="*/ 51 w 98"/>
                  <a:gd name="T35" fmla="*/ 547 h 118"/>
                  <a:gd name="T36" fmla="*/ 0 w 98"/>
                  <a:gd name="T37" fmla="*/ 446 h 118"/>
                  <a:gd name="T38" fmla="*/ 77 w 98"/>
                  <a:gd name="T39" fmla="*/ 338 h 118"/>
                  <a:gd name="T40" fmla="*/ 77 w 98"/>
                  <a:gd name="T41" fmla="*/ 321 h 118"/>
                  <a:gd name="T42" fmla="*/ 0 w 98"/>
                  <a:gd name="T43" fmla="*/ 321 h 118"/>
                  <a:gd name="T44" fmla="*/ 0 w 98"/>
                  <a:gd name="T45" fmla="*/ 237 h 118"/>
                  <a:gd name="T46" fmla="*/ 56 w 98"/>
                  <a:gd name="T47" fmla="*/ 237 h 118"/>
                  <a:gd name="T48" fmla="*/ 41 w 98"/>
                  <a:gd name="T49" fmla="*/ 181 h 118"/>
                  <a:gd name="T50" fmla="*/ 36 w 98"/>
                  <a:gd name="T51" fmla="*/ 149 h 118"/>
                  <a:gd name="T52" fmla="*/ 60 w 98"/>
                  <a:gd name="T53" fmla="*/ 69 h 118"/>
                  <a:gd name="T54" fmla="*/ 124 w 98"/>
                  <a:gd name="T55" fmla="*/ 19 h 118"/>
                  <a:gd name="T56" fmla="*/ 229 w 98"/>
                  <a:gd name="T57" fmla="*/ 0 h 118"/>
                  <a:gd name="T58" fmla="*/ 326 w 98"/>
                  <a:gd name="T59" fmla="*/ 13 h 118"/>
                  <a:gd name="T60" fmla="*/ 390 w 98"/>
                  <a:gd name="T61" fmla="*/ 60 h 118"/>
                  <a:gd name="T62" fmla="*/ 422 w 98"/>
                  <a:gd name="T63" fmla="*/ 140 h 118"/>
                  <a:gd name="T64" fmla="*/ 285 w 98"/>
                  <a:gd name="T65" fmla="*/ 161 h 118"/>
                  <a:gd name="T66" fmla="*/ 261 w 98"/>
                  <a:gd name="T67" fmla="*/ 108 h 118"/>
                  <a:gd name="T68" fmla="*/ 229 w 98"/>
                  <a:gd name="T69" fmla="*/ 97 h 118"/>
                  <a:gd name="T70" fmla="*/ 197 w 98"/>
                  <a:gd name="T71" fmla="*/ 112 h 118"/>
                  <a:gd name="T72" fmla="*/ 184 w 98"/>
                  <a:gd name="T73" fmla="*/ 149 h 118"/>
                  <a:gd name="T74" fmla="*/ 189 w 98"/>
                  <a:gd name="T75" fmla="*/ 177 h 118"/>
                  <a:gd name="T76" fmla="*/ 201 w 98"/>
                  <a:gd name="T77" fmla="*/ 237 h 11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8"/>
                  <a:gd name="T118" fmla="*/ 0 h 118"/>
                  <a:gd name="T119" fmla="*/ 98 w 98"/>
                  <a:gd name="T120" fmla="*/ 118 h 11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8" h="118">
                    <a:moveTo>
                      <a:pt x="44" y="51"/>
                    </a:moveTo>
                    <a:cubicBezTo>
                      <a:pt x="68" y="51"/>
                      <a:pt x="68" y="51"/>
                      <a:pt x="68" y="51"/>
                    </a:cubicBezTo>
                    <a:cubicBezTo>
                      <a:pt x="68" y="69"/>
                      <a:pt x="68" y="69"/>
                      <a:pt x="68" y="69"/>
                    </a:cubicBezTo>
                    <a:cubicBezTo>
                      <a:pt x="47" y="69"/>
                      <a:pt x="47" y="69"/>
                      <a:pt x="47" y="69"/>
                    </a:cubicBezTo>
                    <a:cubicBezTo>
                      <a:pt x="47" y="74"/>
                      <a:pt x="46" y="78"/>
                      <a:pt x="45" y="81"/>
                    </a:cubicBezTo>
                    <a:cubicBezTo>
                      <a:pt x="44" y="84"/>
                      <a:pt x="42" y="87"/>
                      <a:pt x="39" y="90"/>
                    </a:cubicBezTo>
                    <a:cubicBezTo>
                      <a:pt x="42" y="89"/>
                      <a:pt x="45" y="89"/>
                      <a:pt x="47" y="89"/>
                    </a:cubicBezTo>
                    <a:cubicBezTo>
                      <a:pt x="49" y="89"/>
                      <a:pt x="53" y="89"/>
                      <a:pt x="57" y="90"/>
                    </a:cubicBezTo>
                    <a:cubicBezTo>
                      <a:pt x="63" y="92"/>
                      <a:pt x="68" y="92"/>
                      <a:pt x="71" y="92"/>
                    </a:cubicBezTo>
                    <a:cubicBezTo>
                      <a:pt x="74" y="92"/>
                      <a:pt x="77" y="92"/>
                      <a:pt x="79" y="91"/>
                    </a:cubicBezTo>
                    <a:cubicBezTo>
                      <a:pt x="81" y="91"/>
                      <a:pt x="84" y="90"/>
                      <a:pt x="87" y="88"/>
                    </a:cubicBezTo>
                    <a:cubicBezTo>
                      <a:pt x="98" y="112"/>
                      <a:pt x="98" y="112"/>
                      <a:pt x="98" y="112"/>
                    </a:cubicBezTo>
                    <a:cubicBezTo>
                      <a:pt x="93" y="114"/>
                      <a:pt x="88" y="116"/>
                      <a:pt x="84" y="117"/>
                    </a:cubicBezTo>
                    <a:cubicBezTo>
                      <a:pt x="80" y="118"/>
                      <a:pt x="76" y="118"/>
                      <a:pt x="72" y="118"/>
                    </a:cubicBezTo>
                    <a:cubicBezTo>
                      <a:pt x="67" y="118"/>
                      <a:pt x="61" y="118"/>
                      <a:pt x="55" y="116"/>
                    </a:cubicBezTo>
                    <a:cubicBezTo>
                      <a:pt x="46" y="114"/>
                      <a:pt x="41" y="112"/>
                      <a:pt x="39" y="112"/>
                    </a:cubicBezTo>
                    <a:cubicBezTo>
                      <a:pt x="37" y="112"/>
                      <a:pt x="35" y="111"/>
                      <a:pt x="33" y="111"/>
                    </a:cubicBezTo>
                    <a:cubicBezTo>
                      <a:pt x="26" y="111"/>
                      <a:pt x="19" y="114"/>
                      <a:pt x="11" y="118"/>
                    </a:cubicBezTo>
                    <a:cubicBezTo>
                      <a:pt x="0" y="96"/>
                      <a:pt x="0" y="96"/>
                      <a:pt x="0" y="96"/>
                    </a:cubicBezTo>
                    <a:cubicBezTo>
                      <a:pt x="11" y="88"/>
                      <a:pt x="17" y="81"/>
                      <a:pt x="17" y="73"/>
                    </a:cubicBezTo>
                    <a:cubicBezTo>
                      <a:pt x="17" y="72"/>
                      <a:pt x="17" y="71"/>
                      <a:pt x="17" y="69"/>
                    </a:cubicBezTo>
                    <a:cubicBezTo>
                      <a:pt x="0" y="69"/>
                      <a:pt x="0" y="69"/>
                      <a:pt x="0" y="69"/>
                    </a:cubicBezTo>
                    <a:cubicBezTo>
                      <a:pt x="0" y="51"/>
                      <a:pt x="0" y="51"/>
                      <a:pt x="0" y="51"/>
                    </a:cubicBezTo>
                    <a:cubicBezTo>
                      <a:pt x="12" y="51"/>
                      <a:pt x="12" y="51"/>
                      <a:pt x="12" y="51"/>
                    </a:cubicBezTo>
                    <a:cubicBezTo>
                      <a:pt x="10" y="44"/>
                      <a:pt x="9" y="40"/>
                      <a:pt x="9" y="39"/>
                    </a:cubicBezTo>
                    <a:cubicBezTo>
                      <a:pt x="8" y="37"/>
                      <a:pt x="8" y="35"/>
                      <a:pt x="8" y="32"/>
                    </a:cubicBezTo>
                    <a:cubicBezTo>
                      <a:pt x="8" y="26"/>
                      <a:pt x="10" y="20"/>
                      <a:pt x="13" y="15"/>
                    </a:cubicBezTo>
                    <a:cubicBezTo>
                      <a:pt x="17" y="10"/>
                      <a:pt x="21" y="6"/>
                      <a:pt x="27" y="4"/>
                    </a:cubicBezTo>
                    <a:cubicBezTo>
                      <a:pt x="33" y="1"/>
                      <a:pt x="40" y="0"/>
                      <a:pt x="50" y="0"/>
                    </a:cubicBezTo>
                    <a:cubicBezTo>
                      <a:pt x="59" y="0"/>
                      <a:pt x="66" y="1"/>
                      <a:pt x="71" y="3"/>
                    </a:cubicBezTo>
                    <a:cubicBezTo>
                      <a:pt x="77" y="5"/>
                      <a:pt x="81" y="8"/>
                      <a:pt x="85" y="13"/>
                    </a:cubicBezTo>
                    <a:cubicBezTo>
                      <a:pt x="88" y="18"/>
                      <a:pt x="91" y="23"/>
                      <a:pt x="92" y="30"/>
                    </a:cubicBezTo>
                    <a:cubicBezTo>
                      <a:pt x="62" y="35"/>
                      <a:pt x="62" y="35"/>
                      <a:pt x="62" y="35"/>
                    </a:cubicBezTo>
                    <a:cubicBezTo>
                      <a:pt x="61" y="29"/>
                      <a:pt x="59" y="25"/>
                      <a:pt x="57" y="23"/>
                    </a:cubicBezTo>
                    <a:cubicBezTo>
                      <a:pt x="55" y="22"/>
                      <a:pt x="53" y="21"/>
                      <a:pt x="50" y="21"/>
                    </a:cubicBezTo>
                    <a:cubicBezTo>
                      <a:pt x="47" y="21"/>
                      <a:pt x="45" y="22"/>
                      <a:pt x="43" y="24"/>
                    </a:cubicBezTo>
                    <a:cubicBezTo>
                      <a:pt x="41" y="26"/>
                      <a:pt x="40" y="29"/>
                      <a:pt x="40" y="32"/>
                    </a:cubicBezTo>
                    <a:cubicBezTo>
                      <a:pt x="40" y="34"/>
                      <a:pt x="40" y="36"/>
                      <a:pt x="41" y="38"/>
                    </a:cubicBezTo>
                    <a:cubicBezTo>
                      <a:pt x="41" y="40"/>
                      <a:pt x="42" y="44"/>
                      <a:pt x="44" y="51"/>
                    </a:cubicBez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grpSp>
      </p:grpSp>
      <p:grpSp>
        <p:nvGrpSpPr>
          <p:cNvPr id="1282" name="Group 1281">
            <a:extLst>
              <a:ext uri="{FF2B5EF4-FFF2-40B4-BE49-F238E27FC236}">
                <a16:creationId xmlns:a16="http://schemas.microsoft.com/office/drawing/2014/main" id="{750C5802-46B0-43DB-B9BF-A22BFF5891A5}"/>
              </a:ext>
            </a:extLst>
          </p:cNvPr>
          <p:cNvGrpSpPr/>
          <p:nvPr/>
        </p:nvGrpSpPr>
        <p:grpSpPr>
          <a:xfrm>
            <a:off x="3933016" y="3169353"/>
            <a:ext cx="612000" cy="612000"/>
            <a:chOff x="2778387" y="3807696"/>
            <a:chExt cx="612000" cy="612000"/>
          </a:xfrm>
        </p:grpSpPr>
        <p:sp>
          <p:nvSpPr>
            <p:cNvPr id="1283" name="Oval 1282">
              <a:extLst>
                <a:ext uri="{FF2B5EF4-FFF2-40B4-BE49-F238E27FC236}">
                  <a16:creationId xmlns:a16="http://schemas.microsoft.com/office/drawing/2014/main" id="{4AD30E5F-8E61-4B7D-AA41-F03984FED736}"/>
                </a:ext>
              </a:extLst>
            </p:cNvPr>
            <p:cNvSpPr/>
            <p:nvPr/>
          </p:nvSpPr>
          <p:spPr bwMode="ltGray">
            <a:xfrm>
              <a:off x="2778387" y="3807696"/>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284" name="Group 1283">
              <a:extLst>
                <a:ext uri="{FF2B5EF4-FFF2-40B4-BE49-F238E27FC236}">
                  <a16:creationId xmlns:a16="http://schemas.microsoft.com/office/drawing/2014/main" id="{BD5F198F-F27D-4A2E-AAC7-4749CFE11C43}"/>
                </a:ext>
              </a:extLst>
            </p:cNvPr>
            <p:cNvGrpSpPr/>
            <p:nvPr/>
          </p:nvGrpSpPr>
          <p:grpSpPr>
            <a:xfrm>
              <a:off x="2893929" y="3892425"/>
              <a:ext cx="400032" cy="434777"/>
              <a:chOff x="9446642" y="3130441"/>
              <a:chExt cx="400032" cy="434777"/>
            </a:xfrm>
          </p:grpSpPr>
          <p:grpSp>
            <p:nvGrpSpPr>
              <p:cNvPr id="1285" name="Group 84">
                <a:extLst>
                  <a:ext uri="{FF2B5EF4-FFF2-40B4-BE49-F238E27FC236}">
                    <a16:creationId xmlns:a16="http://schemas.microsoft.com/office/drawing/2014/main" id="{7B520944-3C63-46B6-90AF-8F9B643E81E0}"/>
                  </a:ext>
                </a:extLst>
              </p:cNvPr>
              <p:cNvGrpSpPr>
                <a:grpSpLocks noChangeAspect="1"/>
              </p:cNvGrpSpPr>
              <p:nvPr/>
            </p:nvGrpSpPr>
            <p:grpSpPr bwMode="auto">
              <a:xfrm>
                <a:off x="9446642" y="3130441"/>
                <a:ext cx="301302" cy="402111"/>
                <a:chOff x="3106" y="1570"/>
                <a:chExt cx="534" cy="713"/>
              </a:xfrm>
              <a:solidFill>
                <a:srgbClr val="3C3C3E"/>
              </a:solidFill>
            </p:grpSpPr>
            <p:sp>
              <p:nvSpPr>
                <p:cNvPr id="1290" name="Freeform 85">
                  <a:extLst>
                    <a:ext uri="{FF2B5EF4-FFF2-40B4-BE49-F238E27FC236}">
                      <a16:creationId xmlns:a16="http://schemas.microsoft.com/office/drawing/2014/main" id="{2140A8B3-C048-43EC-90C4-DA13F18DE7E4}"/>
                    </a:ext>
                  </a:extLst>
                </p:cNvPr>
                <p:cNvSpPr>
                  <a:spLocks noChangeAspect="1"/>
                </p:cNvSpPr>
                <p:nvPr/>
              </p:nvSpPr>
              <p:spPr bwMode="auto">
                <a:xfrm>
                  <a:off x="3106" y="1737"/>
                  <a:ext cx="534" cy="546"/>
                </a:xfrm>
                <a:custGeom>
                  <a:avLst/>
                  <a:gdLst>
                    <a:gd name="T0" fmla="*/ 198 w 1068"/>
                    <a:gd name="T1" fmla="*/ 36 h 1092"/>
                    <a:gd name="T2" fmla="*/ 223 w 1068"/>
                    <a:gd name="T3" fmla="*/ 75 h 1092"/>
                    <a:gd name="T4" fmla="*/ 238 w 1068"/>
                    <a:gd name="T5" fmla="*/ 111 h 1092"/>
                    <a:gd name="T6" fmla="*/ 247 w 1068"/>
                    <a:gd name="T7" fmla="*/ 141 h 1092"/>
                    <a:gd name="T8" fmla="*/ 251 w 1068"/>
                    <a:gd name="T9" fmla="*/ 160 h 1092"/>
                    <a:gd name="T10" fmla="*/ 250 w 1068"/>
                    <a:gd name="T11" fmla="*/ 182 h 1092"/>
                    <a:gd name="T12" fmla="*/ 235 w 1068"/>
                    <a:gd name="T13" fmla="*/ 219 h 1092"/>
                    <a:gd name="T14" fmla="*/ 209 w 1068"/>
                    <a:gd name="T15" fmla="*/ 241 h 1092"/>
                    <a:gd name="T16" fmla="*/ 180 w 1068"/>
                    <a:gd name="T17" fmla="*/ 253 h 1092"/>
                    <a:gd name="T18" fmla="*/ 155 w 1068"/>
                    <a:gd name="T19" fmla="*/ 258 h 1092"/>
                    <a:gd name="T20" fmla="*/ 144 w 1068"/>
                    <a:gd name="T21" fmla="*/ 258 h 1092"/>
                    <a:gd name="T22" fmla="*/ 119 w 1068"/>
                    <a:gd name="T23" fmla="*/ 257 h 1092"/>
                    <a:gd name="T24" fmla="*/ 97 w 1068"/>
                    <a:gd name="T25" fmla="*/ 253 h 1092"/>
                    <a:gd name="T26" fmla="*/ 77 w 1068"/>
                    <a:gd name="T27" fmla="*/ 247 h 1092"/>
                    <a:gd name="T28" fmla="*/ 60 w 1068"/>
                    <a:gd name="T29" fmla="*/ 238 h 1092"/>
                    <a:gd name="T30" fmla="*/ 45 w 1068"/>
                    <a:gd name="T31" fmla="*/ 227 h 1092"/>
                    <a:gd name="T32" fmla="*/ 25 w 1068"/>
                    <a:gd name="T33" fmla="*/ 203 h 1092"/>
                    <a:gd name="T34" fmla="*/ 17 w 1068"/>
                    <a:gd name="T35" fmla="*/ 176 h 1092"/>
                    <a:gd name="T36" fmla="*/ 14 w 1068"/>
                    <a:gd name="T37" fmla="*/ 164 h 1092"/>
                    <a:gd name="T38" fmla="*/ 25 w 1068"/>
                    <a:gd name="T39" fmla="*/ 118 h 1092"/>
                    <a:gd name="T40" fmla="*/ 45 w 1068"/>
                    <a:gd name="T41" fmla="*/ 79 h 1092"/>
                    <a:gd name="T42" fmla="*/ 70 w 1068"/>
                    <a:gd name="T43" fmla="*/ 47 h 1092"/>
                    <a:gd name="T44" fmla="*/ 92 w 1068"/>
                    <a:gd name="T45" fmla="*/ 24 h 1092"/>
                    <a:gd name="T46" fmla="*/ 105 w 1068"/>
                    <a:gd name="T47" fmla="*/ 13 h 1092"/>
                    <a:gd name="T48" fmla="*/ 96 w 1068"/>
                    <a:gd name="T49" fmla="*/ 2 h 1092"/>
                    <a:gd name="T50" fmla="*/ 81 w 1068"/>
                    <a:gd name="T51" fmla="*/ 14 h 1092"/>
                    <a:gd name="T52" fmla="*/ 58 w 1068"/>
                    <a:gd name="T53" fmla="*/ 38 h 1092"/>
                    <a:gd name="T54" fmla="*/ 33 w 1068"/>
                    <a:gd name="T55" fmla="*/ 72 h 1092"/>
                    <a:gd name="T56" fmla="*/ 10 w 1068"/>
                    <a:gd name="T57" fmla="*/ 114 h 1092"/>
                    <a:gd name="T58" fmla="*/ 0 w 1068"/>
                    <a:gd name="T59" fmla="*/ 163 h 1092"/>
                    <a:gd name="T60" fmla="*/ 1 w 1068"/>
                    <a:gd name="T61" fmla="*/ 178 h 1092"/>
                    <a:gd name="T62" fmla="*/ 12 w 1068"/>
                    <a:gd name="T63" fmla="*/ 210 h 1092"/>
                    <a:gd name="T64" fmla="*/ 35 w 1068"/>
                    <a:gd name="T65" fmla="*/ 238 h 1092"/>
                    <a:gd name="T66" fmla="*/ 51 w 1068"/>
                    <a:gd name="T67" fmla="*/ 251 h 1092"/>
                    <a:gd name="T68" fmla="*/ 71 w 1068"/>
                    <a:gd name="T69" fmla="*/ 261 h 1092"/>
                    <a:gd name="T70" fmla="*/ 92 w 1068"/>
                    <a:gd name="T71" fmla="*/ 268 h 1092"/>
                    <a:gd name="T72" fmla="*/ 117 w 1068"/>
                    <a:gd name="T73" fmla="*/ 272 h 1092"/>
                    <a:gd name="T74" fmla="*/ 144 w 1068"/>
                    <a:gd name="T75" fmla="*/ 273 h 1092"/>
                    <a:gd name="T76" fmla="*/ 156 w 1068"/>
                    <a:gd name="T77" fmla="*/ 273 h 1092"/>
                    <a:gd name="T78" fmla="*/ 183 w 1068"/>
                    <a:gd name="T79" fmla="*/ 268 h 1092"/>
                    <a:gd name="T80" fmla="*/ 217 w 1068"/>
                    <a:gd name="T81" fmla="*/ 254 h 1092"/>
                    <a:gd name="T82" fmla="*/ 247 w 1068"/>
                    <a:gd name="T83" fmla="*/ 228 h 1092"/>
                    <a:gd name="T84" fmla="*/ 266 w 1068"/>
                    <a:gd name="T85" fmla="*/ 185 h 1092"/>
                    <a:gd name="T86" fmla="*/ 267 w 1068"/>
                    <a:gd name="T87" fmla="*/ 165 h 1092"/>
                    <a:gd name="T88" fmla="*/ 266 w 1068"/>
                    <a:gd name="T89" fmla="*/ 154 h 1092"/>
                    <a:gd name="T90" fmla="*/ 261 w 1068"/>
                    <a:gd name="T91" fmla="*/ 131 h 1092"/>
                    <a:gd name="T92" fmla="*/ 249 w 1068"/>
                    <a:gd name="T93" fmla="*/ 96 h 1092"/>
                    <a:gd name="T94" fmla="*/ 229 w 1068"/>
                    <a:gd name="T95" fmla="*/ 55 h 1092"/>
                    <a:gd name="T96" fmla="*/ 198 w 1068"/>
                    <a:gd name="T97" fmla="*/ 13 h 10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68"/>
                    <a:gd name="T148" fmla="*/ 0 h 1092"/>
                    <a:gd name="T149" fmla="*/ 1068 w 1068"/>
                    <a:gd name="T150" fmla="*/ 1092 h 10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68" h="1092">
                      <a:moveTo>
                        <a:pt x="701" y="41"/>
                      </a:moveTo>
                      <a:lnTo>
                        <a:pt x="749" y="92"/>
                      </a:lnTo>
                      <a:lnTo>
                        <a:pt x="792" y="144"/>
                      </a:lnTo>
                      <a:lnTo>
                        <a:pt x="830" y="196"/>
                      </a:lnTo>
                      <a:lnTo>
                        <a:pt x="863" y="248"/>
                      </a:lnTo>
                      <a:lnTo>
                        <a:pt x="892" y="300"/>
                      </a:lnTo>
                      <a:lnTo>
                        <a:pt x="916" y="349"/>
                      </a:lnTo>
                      <a:lnTo>
                        <a:pt x="938" y="399"/>
                      </a:lnTo>
                      <a:lnTo>
                        <a:pt x="955" y="445"/>
                      </a:lnTo>
                      <a:lnTo>
                        <a:pt x="969" y="489"/>
                      </a:lnTo>
                      <a:lnTo>
                        <a:pt x="982" y="528"/>
                      </a:lnTo>
                      <a:lnTo>
                        <a:pt x="991" y="565"/>
                      </a:lnTo>
                      <a:lnTo>
                        <a:pt x="997" y="596"/>
                      </a:lnTo>
                      <a:lnTo>
                        <a:pt x="1002" y="622"/>
                      </a:lnTo>
                      <a:lnTo>
                        <a:pt x="1006" y="642"/>
                      </a:lnTo>
                      <a:lnTo>
                        <a:pt x="1007" y="657"/>
                      </a:lnTo>
                      <a:lnTo>
                        <a:pt x="1008" y="664"/>
                      </a:lnTo>
                      <a:lnTo>
                        <a:pt x="1002" y="728"/>
                      </a:lnTo>
                      <a:lnTo>
                        <a:pt x="989" y="786"/>
                      </a:lnTo>
                      <a:lnTo>
                        <a:pt x="968" y="835"/>
                      </a:lnTo>
                      <a:lnTo>
                        <a:pt x="940" y="877"/>
                      </a:lnTo>
                      <a:lnTo>
                        <a:pt x="909" y="913"/>
                      </a:lnTo>
                      <a:lnTo>
                        <a:pt x="873" y="943"/>
                      </a:lnTo>
                      <a:lnTo>
                        <a:pt x="837" y="967"/>
                      </a:lnTo>
                      <a:lnTo>
                        <a:pt x="797" y="986"/>
                      </a:lnTo>
                      <a:lnTo>
                        <a:pt x="758" y="1002"/>
                      </a:lnTo>
                      <a:lnTo>
                        <a:pt x="720" y="1013"/>
                      </a:lnTo>
                      <a:lnTo>
                        <a:pt x="685" y="1021"/>
                      </a:lnTo>
                      <a:lnTo>
                        <a:pt x="652" y="1027"/>
                      </a:lnTo>
                      <a:lnTo>
                        <a:pt x="623" y="1030"/>
                      </a:lnTo>
                      <a:lnTo>
                        <a:pt x="602" y="1031"/>
                      </a:lnTo>
                      <a:lnTo>
                        <a:pt x="587" y="1032"/>
                      </a:lnTo>
                      <a:lnTo>
                        <a:pt x="579" y="1032"/>
                      </a:lnTo>
                      <a:lnTo>
                        <a:pt x="544" y="1032"/>
                      </a:lnTo>
                      <a:lnTo>
                        <a:pt x="512" y="1030"/>
                      </a:lnTo>
                      <a:lnTo>
                        <a:pt x="479" y="1028"/>
                      </a:lnTo>
                      <a:lnTo>
                        <a:pt x="448" y="1024"/>
                      </a:lnTo>
                      <a:lnTo>
                        <a:pt x="418" y="1019"/>
                      </a:lnTo>
                      <a:lnTo>
                        <a:pt x="390" y="1013"/>
                      </a:lnTo>
                      <a:lnTo>
                        <a:pt x="362" y="1006"/>
                      </a:lnTo>
                      <a:lnTo>
                        <a:pt x="335" y="998"/>
                      </a:lnTo>
                      <a:lnTo>
                        <a:pt x="310" y="989"/>
                      </a:lnTo>
                      <a:lnTo>
                        <a:pt x="286" y="978"/>
                      </a:lnTo>
                      <a:lnTo>
                        <a:pt x="263" y="968"/>
                      </a:lnTo>
                      <a:lnTo>
                        <a:pt x="241" y="955"/>
                      </a:lnTo>
                      <a:lnTo>
                        <a:pt x="219" y="941"/>
                      </a:lnTo>
                      <a:lnTo>
                        <a:pt x="200" y="928"/>
                      </a:lnTo>
                      <a:lnTo>
                        <a:pt x="181" y="911"/>
                      </a:lnTo>
                      <a:lnTo>
                        <a:pt x="164" y="895"/>
                      </a:lnTo>
                      <a:lnTo>
                        <a:pt x="129" y="855"/>
                      </a:lnTo>
                      <a:lnTo>
                        <a:pt x="103" y="813"/>
                      </a:lnTo>
                      <a:lnTo>
                        <a:pt x="84" y="774"/>
                      </a:lnTo>
                      <a:lnTo>
                        <a:pt x="72" y="737"/>
                      </a:lnTo>
                      <a:lnTo>
                        <a:pt x="65" y="705"/>
                      </a:lnTo>
                      <a:lnTo>
                        <a:pt x="60" y="680"/>
                      </a:lnTo>
                      <a:lnTo>
                        <a:pt x="59" y="663"/>
                      </a:lnTo>
                      <a:lnTo>
                        <a:pt x="59" y="657"/>
                      </a:lnTo>
                      <a:lnTo>
                        <a:pt x="66" y="595"/>
                      </a:lnTo>
                      <a:lnTo>
                        <a:pt x="80" y="533"/>
                      </a:lnTo>
                      <a:lnTo>
                        <a:pt x="101" y="475"/>
                      </a:lnTo>
                      <a:lnTo>
                        <a:pt x="125" y="419"/>
                      </a:lnTo>
                      <a:lnTo>
                        <a:pt x="152" y="366"/>
                      </a:lnTo>
                      <a:lnTo>
                        <a:pt x="183" y="316"/>
                      </a:lnTo>
                      <a:lnTo>
                        <a:pt x="216" y="270"/>
                      </a:lnTo>
                      <a:lnTo>
                        <a:pt x="249" y="227"/>
                      </a:lnTo>
                      <a:lnTo>
                        <a:pt x="283" y="188"/>
                      </a:lnTo>
                      <a:lnTo>
                        <a:pt x="314" y="154"/>
                      </a:lnTo>
                      <a:lnTo>
                        <a:pt x="344" y="123"/>
                      </a:lnTo>
                      <a:lnTo>
                        <a:pt x="371" y="99"/>
                      </a:lnTo>
                      <a:lnTo>
                        <a:pt x="393" y="78"/>
                      </a:lnTo>
                      <a:lnTo>
                        <a:pt x="412" y="63"/>
                      </a:lnTo>
                      <a:lnTo>
                        <a:pt x="423" y="54"/>
                      </a:lnTo>
                      <a:lnTo>
                        <a:pt x="428" y="51"/>
                      </a:lnTo>
                      <a:lnTo>
                        <a:pt x="391" y="3"/>
                      </a:lnTo>
                      <a:lnTo>
                        <a:pt x="384" y="8"/>
                      </a:lnTo>
                      <a:lnTo>
                        <a:pt x="370" y="20"/>
                      </a:lnTo>
                      <a:lnTo>
                        <a:pt x="350" y="37"/>
                      </a:lnTo>
                      <a:lnTo>
                        <a:pt x="326" y="59"/>
                      </a:lnTo>
                      <a:lnTo>
                        <a:pt x="297" y="85"/>
                      </a:lnTo>
                      <a:lnTo>
                        <a:pt x="266" y="117"/>
                      </a:lnTo>
                      <a:lnTo>
                        <a:pt x="233" y="154"/>
                      </a:lnTo>
                      <a:lnTo>
                        <a:pt x="197" y="196"/>
                      </a:lnTo>
                      <a:lnTo>
                        <a:pt x="163" y="241"/>
                      </a:lnTo>
                      <a:lnTo>
                        <a:pt x="129" y="290"/>
                      </a:lnTo>
                      <a:lnTo>
                        <a:pt x="97" y="343"/>
                      </a:lnTo>
                      <a:lnTo>
                        <a:pt x="68" y="400"/>
                      </a:lnTo>
                      <a:lnTo>
                        <a:pt x="43" y="459"/>
                      </a:lnTo>
                      <a:lnTo>
                        <a:pt x="22" y="522"/>
                      </a:lnTo>
                      <a:lnTo>
                        <a:pt x="8" y="586"/>
                      </a:lnTo>
                      <a:lnTo>
                        <a:pt x="0" y="654"/>
                      </a:lnTo>
                      <a:lnTo>
                        <a:pt x="0" y="664"/>
                      </a:lnTo>
                      <a:lnTo>
                        <a:pt x="1" y="684"/>
                      </a:lnTo>
                      <a:lnTo>
                        <a:pt x="6" y="714"/>
                      </a:lnTo>
                      <a:lnTo>
                        <a:pt x="15" y="752"/>
                      </a:lnTo>
                      <a:lnTo>
                        <a:pt x="29" y="795"/>
                      </a:lnTo>
                      <a:lnTo>
                        <a:pt x="50" y="841"/>
                      </a:lnTo>
                      <a:lnTo>
                        <a:pt x="80" y="890"/>
                      </a:lnTo>
                      <a:lnTo>
                        <a:pt x="120" y="937"/>
                      </a:lnTo>
                      <a:lnTo>
                        <a:pt x="140" y="955"/>
                      </a:lnTo>
                      <a:lnTo>
                        <a:pt x="160" y="974"/>
                      </a:lnTo>
                      <a:lnTo>
                        <a:pt x="183" y="990"/>
                      </a:lnTo>
                      <a:lnTo>
                        <a:pt x="206" y="1005"/>
                      </a:lnTo>
                      <a:lnTo>
                        <a:pt x="231" y="1019"/>
                      </a:lnTo>
                      <a:lnTo>
                        <a:pt x="257" y="1031"/>
                      </a:lnTo>
                      <a:lnTo>
                        <a:pt x="284" y="1043"/>
                      </a:lnTo>
                      <a:lnTo>
                        <a:pt x="311" y="1053"/>
                      </a:lnTo>
                      <a:lnTo>
                        <a:pt x="341" y="1062"/>
                      </a:lnTo>
                      <a:lnTo>
                        <a:pt x="371" y="1070"/>
                      </a:lnTo>
                      <a:lnTo>
                        <a:pt x="403" y="1077"/>
                      </a:lnTo>
                      <a:lnTo>
                        <a:pt x="436" y="1083"/>
                      </a:lnTo>
                      <a:lnTo>
                        <a:pt x="470" y="1087"/>
                      </a:lnTo>
                      <a:lnTo>
                        <a:pt x="505" y="1090"/>
                      </a:lnTo>
                      <a:lnTo>
                        <a:pt x="542" y="1091"/>
                      </a:lnTo>
                      <a:lnTo>
                        <a:pt x="579" y="1092"/>
                      </a:lnTo>
                      <a:lnTo>
                        <a:pt x="584" y="1092"/>
                      </a:lnTo>
                      <a:lnTo>
                        <a:pt x="600" y="1091"/>
                      </a:lnTo>
                      <a:lnTo>
                        <a:pt x="625" y="1090"/>
                      </a:lnTo>
                      <a:lnTo>
                        <a:pt x="656" y="1085"/>
                      </a:lnTo>
                      <a:lnTo>
                        <a:pt x="693" y="1080"/>
                      </a:lnTo>
                      <a:lnTo>
                        <a:pt x="733" y="1070"/>
                      </a:lnTo>
                      <a:lnTo>
                        <a:pt x="777" y="1057"/>
                      </a:lnTo>
                      <a:lnTo>
                        <a:pt x="822" y="1039"/>
                      </a:lnTo>
                      <a:lnTo>
                        <a:pt x="868" y="1017"/>
                      </a:lnTo>
                      <a:lnTo>
                        <a:pt x="911" y="989"/>
                      </a:lnTo>
                      <a:lnTo>
                        <a:pt x="952" y="954"/>
                      </a:lnTo>
                      <a:lnTo>
                        <a:pt x="989" y="913"/>
                      </a:lnTo>
                      <a:lnTo>
                        <a:pt x="1021" y="863"/>
                      </a:lnTo>
                      <a:lnTo>
                        <a:pt x="1045" y="805"/>
                      </a:lnTo>
                      <a:lnTo>
                        <a:pt x="1061" y="740"/>
                      </a:lnTo>
                      <a:lnTo>
                        <a:pt x="1068" y="664"/>
                      </a:lnTo>
                      <a:lnTo>
                        <a:pt x="1068" y="661"/>
                      </a:lnTo>
                      <a:lnTo>
                        <a:pt x="1068" y="660"/>
                      </a:lnTo>
                      <a:lnTo>
                        <a:pt x="1067" y="653"/>
                      </a:lnTo>
                      <a:lnTo>
                        <a:pt x="1066" y="639"/>
                      </a:lnTo>
                      <a:lnTo>
                        <a:pt x="1062" y="619"/>
                      </a:lnTo>
                      <a:lnTo>
                        <a:pt x="1058" y="591"/>
                      </a:lnTo>
                      <a:lnTo>
                        <a:pt x="1051" y="559"/>
                      </a:lnTo>
                      <a:lnTo>
                        <a:pt x="1042" y="521"/>
                      </a:lnTo>
                      <a:lnTo>
                        <a:pt x="1030" y="478"/>
                      </a:lnTo>
                      <a:lnTo>
                        <a:pt x="1015" y="432"/>
                      </a:lnTo>
                      <a:lnTo>
                        <a:pt x="997" y="384"/>
                      </a:lnTo>
                      <a:lnTo>
                        <a:pt x="975" y="332"/>
                      </a:lnTo>
                      <a:lnTo>
                        <a:pt x="948" y="278"/>
                      </a:lnTo>
                      <a:lnTo>
                        <a:pt x="917" y="222"/>
                      </a:lnTo>
                      <a:lnTo>
                        <a:pt x="881" y="167"/>
                      </a:lnTo>
                      <a:lnTo>
                        <a:pt x="841" y="111"/>
                      </a:lnTo>
                      <a:lnTo>
                        <a:pt x="795" y="54"/>
                      </a:lnTo>
                      <a:lnTo>
                        <a:pt x="743" y="0"/>
                      </a:lnTo>
                      <a:lnTo>
                        <a:pt x="701" y="41"/>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91" name="Freeform 86">
                  <a:extLst>
                    <a:ext uri="{FF2B5EF4-FFF2-40B4-BE49-F238E27FC236}">
                      <a16:creationId xmlns:a16="http://schemas.microsoft.com/office/drawing/2014/main" id="{02C21240-A614-433A-939F-BE0F7C2F0E25}"/>
                    </a:ext>
                  </a:extLst>
                </p:cNvPr>
                <p:cNvSpPr>
                  <a:spLocks noChangeAspect="1"/>
                </p:cNvSpPr>
                <p:nvPr/>
              </p:nvSpPr>
              <p:spPr bwMode="auto">
                <a:xfrm>
                  <a:off x="3279" y="1729"/>
                  <a:ext cx="222" cy="45"/>
                </a:xfrm>
                <a:custGeom>
                  <a:avLst/>
                  <a:gdLst>
                    <a:gd name="T0" fmla="*/ 102 w 443"/>
                    <a:gd name="T1" fmla="*/ 1 h 90"/>
                    <a:gd name="T2" fmla="*/ 91 w 443"/>
                    <a:gd name="T3" fmla="*/ 3 h 90"/>
                    <a:gd name="T4" fmla="*/ 81 w 443"/>
                    <a:gd name="T5" fmla="*/ 5 h 90"/>
                    <a:gd name="T6" fmla="*/ 71 w 443"/>
                    <a:gd name="T7" fmla="*/ 6 h 90"/>
                    <a:gd name="T8" fmla="*/ 63 w 443"/>
                    <a:gd name="T9" fmla="*/ 7 h 90"/>
                    <a:gd name="T10" fmla="*/ 54 w 443"/>
                    <a:gd name="T11" fmla="*/ 7 h 90"/>
                    <a:gd name="T12" fmla="*/ 47 w 443"/>
                    <a:gd name="T13" fmla="*/ 7 h 90"/>
                    <a:gd name="T14" fmla="*/ 40 w 443"/>
                    <a:gd name="T15" fmla="*/ 7 h 90"/>
                    <a:gd name="T16" fmla="*/ 34 w 443"/>
                    <a:gd name="T17" fmla="*/ 6 h 90"/>
                    <a:gd name="T18" fmla="*/ 29 w 443"/>
                    <a:gd name="T19" fmla="*/ 6 h 90"/>
                    <a:gd name="T20" fmla="*/ 24 w 443"/>
                    <a:gd name="T21" fmla="*/ 5 h 90"/>
                    <a:gd name="T22" fmla="*/ 20 w 443"/>
                    <a:gd name="T23" fmla="*/ 4 h 90"/>
                    <a:gd name="T24" fmla="*/ 17 w 443"/>
                    <a:gd name="T25" fmla="*/ 3 h 90"/>
                    <a:gd name="T26" fmla="*/ 14 w 443"/>
                    <a:gd name="T27" fmla="*/ 3 h 90"/>
                    <a:gd name="T28" fmla="*/ 12 w 443"/>
                    <a:gd name="T29" fmla="*/ 1 h 90"/>
                    <a:gd name="T30" fmla="*/ 11 w 443"/>
                    <a:gd name="T31" fmla="*/ 1 h 90"/>
                    <a:gd name="T32" fmla="*/ 11 w 443"/>
                    <a:gd name="T33" fmla="*/ 1 h 90"/>
                    <a:gd name="T34" fmla="*/ 10 w 443"/>
                    <a:gd name="T35" fmla="*/ 1 h 90"/>
                    <a:gd name="T36" fmla="*/ 8 w 443"/>
                    <a:gd name="T37" fmla="*/ 0 h 90"/>
                    <a:gd name="T38" fmla="*/ 7 w 443"/>
                    <a:gd name="T39" fmla="*/ 0 h 90"/>
                    <a:gd name="T40" fmla="*/ 6 w 443"/>
                    <a:gd name="T41" fmla="*/ 1 h 90"/>
                    <a:gd name="T42" fmla="*/ 4 w 443"/>
                    <a:gd name="T43" fmla="*/ 1 h 90"/>
                    <a:gd name="T44" fmla="*/ 3 w 443"/>
                    <a:gd name="T45" fmla="*/ 1 h 90"/>
                    <a:gd name="T46" fmla="*/ 2 w 443"/>
                    <a:gd name="T47" fmla="*/ 3 h 90"/>
                    <a:gd name="T48" fmla="*/ 1 w 443"/>
                    <a:gd name="T49" fmla="*/ 4 h 90"/>
                    <a:gd name="T50" fmla="*/ 0 w 443"/>
                    <a:gd name="T51" fmla="*/ 6 h 90"/>
                    <a:gd name="T52" fmla="*/ 1 w 443"/>
                    <a:gd name="T53" fmla="*/ 10 h 90"/>
                    <a:gd name="T54" fmla="*/ 2 w 443"/>
                    <a:gd name="T55" fmla="*/ 12 h 90"/>
                    <a:gd name="T56" fmla="*/ 4 w 443"/>
                    <a:gd name="T57" fmla="*/ 14 h 90"/>
                    <a:gd name="T58" fmla="*/ 5 w 443"/>
                    <a:gd name="T59" fmla="*/ 14 h 90"/>
                    <a:gd name="T60" fmla="*/ 6 w 443"/>
                    <a:gd name="T61" fmla="*/ 15 h 90"/>
                    <a:gd name="T62" fmla="*/ 8 w 443"/>
                    <a:gd name="T63" fmla="*/ 15 h 90"/>
                    <a:gd name="T64" fmla="*/ 11 w 443"/>
                    <a:gd name="T65" fmla="*/ 17 h 90"/>
                    <a:gd name="T66" fmla="*/ 15 w 443"/>
                    <a:gd name="T67" fmla="*/ 18 h 90"/>
                    <a:gd name="T68" fmla="*/ 20 w 443"/>
                    <a:gd name="T69" fmla="*/ 19 h 90"/>
                    <a:gd name="T70" fmla="*/ 25 w 443"/>
                    <a:gd name="T71" fmla="*/ 20 h 90"/>
                    <a:gd name="T72" fmla="*/ 31 w 443"/>
                    <a:gd name="T73" fmla="*/ 21 h 90"/>
                    <a:gd name="T74" fmla="*/ 37 w 443"/>
                    <a:gd name="T75" fmla="*/ 22 h 90"/>
                    <a:gd name="T76" fmla="*/ 45 w 443"/>
                    <a:gd name="T77" fmla="*/ 23 h 90"/>
                    <a:gd name="T78" fmla="*/ 53 w 443"/>
                    <a:gd name="T79" fmla="*/ 23 h 90"/>
                    <a:gd name="T80" fmla="*/ 62 w 443"/>
                    <a:gd name="T81" fmla="*/ 22 h 90"/>
                    <a:gd name="T82" fmla="*/ 72 w 443"/>
                    <a:gd name="T83" fmla="*/ 21 h 90"/>
                    <a:gd name="T84" fmla="*/ 82 w 443"/>
                    <a:gd name="T85" fmla="*/ 20 h 90"/>
                    <a:gd name="T86" fmla="*/ 94 w 443"/>
                    <a:gd name="T87" fmla="*/ 18 h 90"/>
                    <a:gd name="T88" fmla="*/ 106 w 443"/>
                    <a:gd name="T89" fmla="*/ 14 h 90"/>
                    <a:gd name="T90" fmla="*/ 108 w 443"/>
                    <a:gd name="T91" fmla="*/ 13 h 90"/>
                    <a:gd name="T92" fmla="*/ 110 w 443"/>
                    <a:gd name="T93" fmla="*/ 11 h 90"/>
                    <a:gd name="T94" fmla="*/ 111 w 443"/>
                    <a:gd name="T95" fmla="*/ 9 h 90"/>
                    <a:gd name="T96" fmla="*/ 111 w 443"/>
                    <a:gd name="T97" fmla="*/ 6 h 90"/>
                    <a:gd name="T98" fmla="*/ 111 w 443"/>
                    <a:gd name="T99" fmla="*/ 4 h 90"/>
                    <a:gd name="T100" fmla="*/ 110 w 443"/>
                    <a:gd name="T101" fmla="*/ 3 h 90"/>
                    <a:gd name="T102" fmla="*/ 109 w 443"/>
                    <a:gd name="T103" fmla="*/ 1 h 90"/>
                    <a:gd name="T104" fmla="*/ 108 w 443"/>
                    <a:gd name="T105" fmla="*/ 1 h 90"/>
                    <a:gd name="T106" fmla="*/ 106 w 443"/>
                    <a:gd name="T107" fmla="*/ 1 h 90"/>
                    <a:gd name="T108" fmla="*/ 105 w 443"/>
                    <a:gd name="T109" fmla="*/ 0 h 90"/>
                    <a:gd name="T110" fmla="*/ 103 w 443"/>
                    <a:gd name="T111" fmla="*/ 0 h 90"/>
                    <a:gd name="T112" fmla="*/ 102 w 443"/>
                    <a:gd name="T113" fmla="*/ 1 h 9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43"/>
                    <a:gd name="T172" fmla="*/ 0 h 90"/>
                    <a:gd name="T173" fmla="*/ 443 w 443"/>
                    <a:gd name="T174" fmla="*/ 90 h 9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43" h="90">
                      <a:moveTo>
                        <a:pt x="406" y="1"/>
                      </a:moveTo>
                      <a:lnTo>
                        <a:pt x="363" y="11"/>
                      </a:lnTo>
                      <a:lnTo>
                        <a:pt x="322" y="19"/>
                      </a:lnTo>
                      <a:lnTo>
                        <a:pt x="284" y="25"/>
                      </a:lnTo>
                      <a:lnTo>
                        <a:pt x="249" y="29"/>
                      </a:lnTo>
                      <a:lnTo>
                        <a:pt x="216" y="30"/>
                      </a:lnTo>
                      <a:lnTo>
                        <a:pt x="186" y="30"/>
                      </a:lnTo>
                      <a:lnTo>
                        <a:pt x="159" y="29"/>
                      </a:lnTo>
                      <a:lnTo>
                        <a:pt x="135" y="26"/>
                      </a:lnTo>
                      <a:lnTo>
                        <a:pt x="114" y="23"/>
                      </a:lnTo>
                      <a:lnTo>
                        <a:pt x="95" y="19"/>
                      </a:lnTo>
                      <a:lnTo>
                        <a:pt x="79" y="16"/>
                      </a:lnTo>
                      <a:lnTo>
                        <a:pt x="67" y="11"/>
                      </a:lnTo>
                      <a:lnTo>
                        <a:pt x="56" y="9"/>
                      </a:lnTo>
                      <a:lnTo>
                        <a:pt x="48" y="6"/>
                      </a:lnTo>
                      <a:lnTo>
                        <a:pt x="44" y="4"/>
                      </a:lnTo>
                      <a:lnTo>
                        <a:pt x="42" y="3"/>
                      </a:lnTo>
                      <a:lnTo>
                        <a:pt x="37" y="1"/>
                      </a:lnTo>
                      <a:lnTo>
                        <a:pt x="31" y="0"/>
                      </a:lnTo>
                      <a:lnTo>
                        <a:pt x="26" y="0"/>
                      </a:lnTo>
                      <a:lnTo>
                        <a:pt x="21" y="1"/>
                      </a:lnTo>
                      <a:lnTo>
                        <a:pt x="15" y="3"/>
                      </a:lnTo>
                      <a:lnTo>
                        <a:pt x="10" y="7"/>
                      </a:lnTo>
                      <a:lnTo>
                        <a:pt x="7" y="11"/>
                      </a:lnTo>
                      <a:lnTo>
                        <a:pt x="3" y="16"/>
                      </a:lnTo>
                      <a:lnTo>
                        <a:pt x="0" y="27"/>
                      </a:lnTo>
                      <a:lnTo>
                        <a:pt x="1" y="38"/>
                      </a:lnTo>
                      <a:lnTo>
                        <a:pt x="6" y="48"/>
                      </a:lnTo>
                      <a:lnTo>
                        <a:pt x="15" y="56"/>
                      </a:lnTo>
                      <a:lnTo>
                        <a:pt x="17" y="57"/>
                      </a:lnTo>
                      <a:lnTo>
                        <a:pt x="23" y="60"/>
                      </a:lnTo>
                      <a:lnTo>
                        <a:pt x="32" y="63"/>
                      </a:lnTo>
                      <a:lnTo>
                        <a:pt x="44" y="68"/>
                      </a:lnTo>
                      <a:lnTo>
                        <a:pt x="59" y="71"/>
                      </a:lnTo>
                      <a:lnTo>
                        <a:pt x="77" y="76"/>
                      </a:lnTo>
                      <a:lnTo>
                        <a:pt x="98" y="80"/>
                      </a:lnTo>
                      <a:lnTo>
                        <a:pt x="122" y="84"/>
                      </a:lnTo>
                      <a:lnTo>
                        <a:pt x="148" y="87"/>
                      </a:lnTo>
                      <a:lnTo>
                        <a:pt x="178" y="89"/>
                      </a:lnTo>
                      <a:lnTo>
                        <a:pt x="212" y="90"/>
                      </a:lnTo>
                      <a:lnTo>
                        <a:pt x="248" y="87"/>
                      </a:lnTo>
                      <a:lnTo>
                        <a:pt x="287" y="84"/>
                      </a:lnTo>
                      <a:lnTo>
                        <a:pt x="328" y="78"/>
                      </a:lnTo>
                      <a:lnTo>
                        <a:pt x="373" y="70"/>
                      </a:lnTo>
                      <a:lnTo>
                        <a:pt x="421" y="59"/>
                      </a:lnTo>
                      <a:lnTo>
                        <a:pt x="432" y="53"/>
                      </a:lnTo>
                      <a:lnTo>
                        <a:pt x="440" y="45"/>
                      </a:lnTo>
                      <a:lnTo>
                        <a:pt x="443" y="33"/>
                      </a:lnTo>
                      <a:lnTo>
                        <a:pt x="443" y="22"/>
                      </a:lnTo>
                      <a:lnTo>
                        <a:pt x="441" y="16"/>
                      </a:lnTo>
                      <a:lnTo>
                        <a:pt x="438" y="11"/>
                      </a:lnTo>
                      <a:lnTo>
                        <a:pt x="434" y="7"/>
                      </a:lnTo>
                      <a:lnTo>
                        <a:pt x="430" y="3"/>
                      </a:lnTo>
                      <a:lnTo>
                        <a:pt x="424" y="1"/>
                      </a:lnTo>
                      <a:lnTo>
                        <a:pt x="418" y="0"/>
                      </a:lnTo>
                      <a:lnTo>
                        <a:pt x="412" y="0"/>
                      </a:lnTo>
                      <a:lnTo>
                        <a:pt x="406" y="1"/>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sp>
              <p:nvSpPr>
                <p:cNvPr id="1292" name="Freeform 87">
                  <a:extLst>
                    <a:ext uri="{FF2B5EF4-FFF2-40B4-BE49-F238E27FC236}">
                      <a16:creationId xmlns:a16="http://schemas.microsoft.com/office/drawing/2014/main" id="{388033B5-CDB7-4992-98C0-13A94EB9418B}"/>
                    </a:ext>
                  </a:extLst>
                </p:cNvPr>
                <p:cNvSpPr>
                  <a:spLocks noChangeAspect="1"/>
                </p:cNvSpPr>
                <p:nvPr/>
              </p:nvSpPr>
              <p:spPr bwMode="auto">
                <a:xfrm>
                  <a:off x="3190" y="1570"/>
                  <a:ext cx="436" cy="180"/>
                </a:xfrm>
                <a:custGeom>
                  <a:avLst/>
                  <a:gdLst>
                    <a:gd name="T0" fmla="*/ 70 w 872"/>
                    <a:gd name="T1" fmla="*/ 14 h 359"/>
                    <a:gd name="T2" fmla="*/ 67 w 872"/>
                    <a:gd name="T3" fmla="*/ 14 h 359"/>
                    <a:gd name="T4" fmla="*/ 61 w 872"/>
                    <a:gd name="T5" fmla="*/ 13 h 359"/>
                    <a:gd name="T6" fmla="*/ 56 w 872"/>
                    <a:gd name="T7" fmla="*/ 11 h 359"/>
                    <a:gd name="T8" fmla="*/ 50 w 872"/>
                    <a:gd name="T9" fmla="*/ 8 h 359"/>
                    <a:gd name="T10" fmla="*/ 36 w 872"/>
                    <a:gd name="T11" fmla="*/ 6 h 359"/>
                    <a:gd name="T12" fmla="*/ 18 w 872"/>
                    <a:gd name="T13" fmla="*/ 8 h 359"/>
                    <a:gd name="T14" fmla="*/ 9 w 872"/>
                    <a:gd name="T15" fmla="*/ 13 h 359"/>
                    <a:gd name="T16" fmla="*/ 10 w 872"/>
                    <a:gd name="T17" fmla="*/ 26 h 359"/>
                    <a:gd name="T18" fmla="*/ 38 w 872"/>
                    <a:gd name="T19" fmla="*/ 54 h 359"/>
                    <a:gd name="T20" fmla="*/ 48 w 872"/>
                    <a:gd name="T21" fmla="*/ 82 h 359"/>
                    <a:gd name="T22" fmla="*/ 63 w 872"/>
                    <a:gd name="T23" fmla="*/ 90 h 359"/>
                    <a:gd name="T24" fmla="*/ 61 w 872"/>
                    <a:gd name="T25" fmla="*/ 74 h 359"/>
                    <a:gd name="T26" fmla="*/ 49 w 872"/>
                    <a:gd name="T27" fmla="*/ 42 h 359"/>
                    <a:gd name="T28" fmla="*/ 31 w 872"/>
                    <a:gd name="T29" fmla="*/ 21 h 359"/>
                    <a:gd name="T30" fmla="*/ 35 w 872"/>
                    <a:gd name="T31" fmla="*/ 21 h 359"/>
                    <a:gd name="T32" fmla="*/ 40 w 872"/>
                    <a:gd name="T33" fmla="*/ 21 h 359"/>
                    <a:gd name="T34" fmla="*/ 46 w 872"/>
                    <a:gd name="T35" fmla="*/ 23 h 359"/>
                    <a:gd name="T36" fmla="*/ 52 w 872"/>
                    <a:gd name="T37" fmla="*/ 25 h 359"/>
                    <a:gd name="T38" fmla="*/ 56 w 872"/>
                    <a:gd name="T39" fmla="*/ 26 h 359"/>
                    <a:gd name="T40" fmla="*/ 65 w 872"/>
                    <a:gd name="T41" fmla="*/ 29 h 359"/>
                    <a:gd name="T42" fmla="*/ 74 w 872"/>
                    <a:gd name="T43" fmla="*/ 28 h 359"/>
                    <a:gd name="T44" fmla="*/ 85 w 872"/>
                    <a:gd name="T45" fmla="*/ 21 h 359"/>
                    <a:gd name="T46" fmla="*/ 101 w 872"/>
                    <a:gd name="T47" fmla="*/ 16 h 359"/>
                    <a:gd name="T48" fmla="*/ 117 w 872"/>
                    <a:gd name="T49" fmla="*/ 18 h 359"/>
                    <a:gd name="T50" fmla="*/ 133 w 872"/>
                    <a:gd name="T51" fmla="*/ 31 h 359"/>
                    <a:gd name="T52" fmla="*/ 149 w 872"/>
                    <a:gd name="T53" fmla="*/ 33 h 359"/>
                    <a:gd name="T54" fmla="*/ 163 w 872"/>
                    <a:gd name="T55" fmla="*/ 29 h 359"/>
                    <a:gd name="T56" fmla="*/ 150 w 872"/>
                    <a:gd name="T57" fmla="*/ 46 h 359"/>
                    <a:gd name="T58" fmla="*/ 141 w 872"/>
                    <a:gd name="T59" fmla="*/ 67 h 359"/>
                    <a:gd name="T60" fmla="*/ 152 w 872"/>
                    <a:gd name="T61" fmla="*/ 85 h 359"/>
                    <a:gd name="T62" fmla="*/ 167 w 872"/>
                    <a:gd name="T63" fmla="*/ 47 h 359"/>
                    <a:gd name="T64" fmla="*/ 188 w 872"/>
                    <a:gd name="T65" fmla="*/ 26 h 359"/>
                    <a:gd name="T66" fmla="*/ 218 w 872"/>
                    <a:gd name="T67" fmla="*/ 6 h 359"/>
                    <a:gd name="T68" fmla="*/ 186 w 872"/>
                    <a:gd name="T69" fmla="*/ 8 h 359"/>
                    <a:gd name="T70" fmla="*/ 177 w 872"/>
                    <a:gd name="T71" fmla="*/ 9 h 359"/>
                    <a:gd name="T72" fmla="*/ 166 w 872"/>
                    <a:gd name="T73" fmla="*/ 11 h 359"/>
                    <a:gd name="T74" fmla="*/ 153 w 872"/>
                    <a:gd name="T75" fmla="*/ 17 h 359"/>
                    <a:gd name="T76" fmla="*/ 143 w 872"/>
                    <a:gd name="T77" fmla="*/ 18 h 359"/>
                    <a:gd name="T78" fmla="*/ 134 w 872"/>
                    <a:gd name="T79" fmla="*/ 13 h 359"/>
                    <a:gd name="T80" fmla="*/ 123 w 872"/>
                    <a:gd name="T81" fmla="*/ 5 h 359"/>
                    <a:gd name="T82" fmla="*/ 111 w 872"/>
                    <a:gd name="T83" fmla="*/ 1 h 359"/>
                    <a:gd name="T84" fmla="*/ 100 w 872"/>
                    <a:gd name="T85" fmla="*/ 1 h 359"/>
                    <a:gd name="T86" fmla="*/ 88 w 872"/>
                    <a:gd name="T87" fmla="*/ 4 h 359"/>
                    <a:gd name="T88" fmla="*/ 76 w 872"/>
                    <a:gd name="T89" fmla="*/ 9 h 359"/>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72"/>
                    <a:gd name="T136" fmla="*/ 0 h 359"/>
                    <a:gd name="T137" fmla="*/ 872 w 872"/>
                    <a:gd name="T138" fmla="*/ 359 h 359"/>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72" h="359">
                      <a:moveTo>
                        <a:pt x="289" y="45"/>
                      </a:moveTo>
                      <a:lnTo>
                        <a:pt x="283" y="49"/>
                      </a:lnTo>
                      <a:lnTo>
                        <a:pt x="278" y="53"/>
                      </a:lnTo>
                      <a:lnTo>
                        <a:pt x="273" y="55"/>
                      </a:lnTo>
                      <a:lnTo>
                        <a:pt x="270" y="55"/>
                      </a:lnTo>
                      <a:lnTo>
                        <a:pt x="265" y="55"/>
                      </a:lnTo>
                      <a:lnTo>
                        <a:pt x="261" y="54"/>
                      </a:lnTo>
                      <a:lnTo>
                        <a:pt x="255" y="53"/>
                      </a:lnTo>
                      <a:lnTo>
                        <a:pt x="247" y="49"/>
                      </a:lnTo>
                      <a:lnTo>
                        <a:pt x="241" y="47"/>
                      </a:lnTo>
                      <a:lnTo>
                        <a:pt x="234" y="44"/>
                      </a:lnTo>
                      <a:lnTo>
                        <a:pt x="227" y="41"/>
                      </a:lnTo>
                      <a:lnTo>
                        <a:pt x="219" y="38"/>
                      </a:lnTo>
                      <a:lnTo>
                        <a:pt x="210" y="34"/>
                      </a:lnTo>
                      <a:lnTo>
                        <a:pt x="200" y="32"/>
                      </a:lnTo>
                      <a:lnTo>
                        <a:pt x="188" y="29"/>
                      </a:lnTo>
                      <a:lnTo>
                        <a:pt x="177" y="26"/>
                      </a:lnTo>
                      <a:lnTo>
                        <a:pt x="143" y="23"/>
                      </a:lnTo>
                      <a:lnTo>
                        <a:pt x="114" y="23"/>
                      </a:lnTo>
                      <a:lnTo>
                        <a:pt x="90" y="26"/>
                      </a:lnTo>
                      <a:lnTo>
                        <a:pt x="69" y="31"/>
                      </a:lnTo>
                      <a:lnTo>
                        <a:pt x="53" y="38"/>
                      </a:lnTo>
                      <a:lnTo>
                        <a:pt x="42" y="45"/>
                      </a:lnTo>
                      <a:lnTo>
                        <a:pt x="34" y="49"/>
                      </a:lnTo>
                      <a:lnTo>
                        <a:pt x="30" y="53"/>
                      </a:lnTo>
                      <a:lnTo>
                        <a:pt x="0" y="82"/>
                      </a:lnTo>
                      <a:lnTo>
                        <a:pt x="37" y="101"/>
                      </a:lnTo>
                      <a:lnTo>
                        <a:pt x="87" y="135"/>
                      </a:lnTo>
                      <a:lnTo>
                        <a:pt x="125" y="174"/>
                      </a:lnTo>
                      <a:lnTo>
                        <a:pt x="152" y="215"/>
                      </a:lnTo>
                      <a:lnTo>
                        <a:pt x="172" y="257"/>
                      </a:lnTo>
                      <a:lnTo>
                        <a:pt x="183" y="295"/>
                      </a:lnTo>
                      <a:lnTo>
                        <a:pt x="189" y="327"/>
                      </a:lnTo>
                      <a:lnTo>
                        <a:pt x="193" y="349"/>
                      </a:lnTo>
                      <a:lnTo>
                        <a:pt x="193" y="359"/>
                      </a:lnTo>
                      <a:lnTo>
                        <a:pt x="253" y="358"/>
                      </a:lnTo>
                      <a:lnTo>
                        <a:pt x="253" y="348"/>
                      </a:lnTo>
                      <a:lnTo>
                        <a:pt x="250" y="326"/>
                      </a:lnTo>
                      <a:lnTo>
                        <a:pt x="245" y="295"/>
                      </a:lnTo>
                      <a:lnTo>
                        <a:pt x="234" y="257"/>
                      </a:lnTo>
                      <a:lnTo>
                        <a:pt x="218" y="213"/>
                      </a:lnTo>
                      <a:lnTo>
                        <a:pt x="194" y="168"/>
                      </a:lnTo>
                      <a:lnTo>
                        <a:pt x="160" y="124"/>
                      </a:lnTo>
                      <a:lnTo>
                        <a:pt x="118" y="83"/>
                      </a:lnTo>
                      <a:lnTo>
                        <a:pt x="124" y="83"/>
                      </a:lnTo>
                      <a:lnTo>
                        <a:pt x="128" y="82"/>
                      </a:lnTo>
                      <a:lnTo>
                        <a:pt x="134" y="82"/>
                      </a:lnTo>
                      <a:lnTo>
                        <a:pt x="140" y="82"/>
                      </a:lnTo>
                      <a:lnTo>
                        <a:pt x="145" y="83"/>
                      </a:lnTo>
                      <a:lnTo>
                        <a:pt x="152" y="83"/>
                      </a:lnTo>
                      <a:lnTo>
                        <a:pt x="158" y="84"/>
                      </a:lnTo>
                      <a:lnTo>
                        <a:pt x="165" y="85"/>
                      </a:lnTo>
                      <a:lnTo>
                        <a:pt x="175" y="87"/>
                      </a:lnTo>
                      <a:lnTo>
                        <a:pt x="183" y="90"/>
                      </a:lnTo>
                      <a:lnTo>
                        <a:pt x="193" y="92"/>
                      </a:lnTo>
                      <a:lnTo>
                        <a:pt x="200" y="94"/>
                      </a:lnTo>
                      <a:lnTo>
                        <a:pt x="207" y="97"/>
                      </a:lnTo>
                      <a:lnTo>
                        <a:pt x="212" y="99"/>
                      </a:lnTo>
                      <a:lnTo>
                        <a:pt x="218" y="101"/>
                      </a:lnTo>
                      <a:lnTo>
                        <a:pt x="224" y="104"/>
                      </a:lnTo>
                      <a:lnTo>
                        <a:pt x="236" y="108"/>
                      </a:lnTo>
                      <a:lnTo>
                        <a:pt x="247" y="112"/>
                      </a:lnTo>
                      <a:lnTo>
                        <a:pt x="258" y="115"/>
                      </a:lnTo>
                      <a:lnTo>
                        <a:pt x="270" y="115"/>
                      </a:lnTo>
                      <a:lnTo>
                        <a:pt x="281" y="114"/>
                      </a:lnTo>
                      <a:lnTo>
                        <a:pt x="294" y="109"/>
                      </a:lnTo>
                      <a:lnTo>
                        <a:pt x="309" y="104"/>
                      </a:lnTo>
                      <a:lnTo>
                        <a:pt x="324" y="93"/>
                      </a:lnTo>
                      <a:lnTo>
                        <a:pt x="340" y="83"/>
                      </a:lnTo>
                      <a:lnTo>
                        <a:pt x="360" y="74"/>
                      </a:lnTo>
                      <a:lnTo>
                        <a:pt x="380" y="66"/>
                      </a:lnTo>
                      <a:lnTo>
                        <a:pt x="403" y="61"/>
                      </a:lnTo>
                      <a:lnTo>
                        <a:pt x="427" y="60"/>
                      </a:lnTo>
                      <a:lnTo>
                        <a:pt x="450" y="63"/>
                      </a:lnTo>
                      <a:lnTo>
                        <a:pt x="470" y="72"/>
                      </a:lnTo>
                      <a:lnTo>
                        <a:pt x="490" y="89"/>
                      </a:lnTo>
                      <a:lnTo>
                        <a:pt x="511" y="108"/>
                      </a:lnTo>
                      <a:lnTo>
                        <a:pt x="531" y="122"/>
                      </a:lnTo>
                      <a:lnTo>
                        <a:pt x="553" y="130"/>
                      </a:lnTo>
                      <a:lnTo>
                        <a:pt x="575" y="132"/>
                      </a:lnTo>
                      <a:lnTo>
                        <a:pt x="595" y="131"/>
                      </a:lnTo>
                      <a:lnTo>
                        <a:pt x="614" y="128"/>
                      </a:lnTo>
                      <a:lnTo>
                        <a:pt x="633" y="122"/>
                      </a:lnTo>
                      <a:lnTo>
                        <a:pt x="649" y="115"/>
                      </a:lnTo>
                      <a:lnTo>
                        <a:pt x="632" y="135"/>
                      </a:lnTo>
                      <a:lnTo>
                        <a:pt x="615" y="158"/>
                      </a:lnTo>
                      <a:lnTo>
                        <a:pt x="599" y="181"/>
                      </a:lnTo>
                      <a:lnTo>
                        <a:pt x="585" y="207"/>
                      </a:lnTo>
                      <a:lnTo>
                        <a:pt x="572" y="236"/>
                      </a:lnTo>
                      <a:lnTo>
                        <a:pt x="561" y="266"/>
                      </a:lnTo>
                      <a:lnTo>
                        <a:pt x="552" y="297"/>
                      </a:lnTo>
                      <a:lnTo>
                        <a:pt x="546" y="332"/>
                      </a:lnTo>
                      <a:lnTo>
                        <a:pt x="606" y="339"/>
                      </a:lnTo>
                      <a:lnTo>
                        <a:pt x="619" y="282"/>
                      </a:lnTo>
                      <a:lnTo>
                        <a:pt x="640" y="232"/>
                      </a:lnTo>
                      <a:lnTo>
                        <a:pt x="667" y="188"/>
                      </a:lnTo>
                      <a:lnTo>
                        <a:pt x="697" y="152"/>
                      </a:lnTo>
                      <a:lnTo>
                        <a:pt x="726" y="123"/>
                      </a:lnTo>
                      <a:lnTo>
                        <a:pt x="750" y="101"/>
                      </a:lnTo>
                      <a:lnTo>
                        <a:pt x="767" y="89"/>
                      </a:lnTo>
                      <a:lnTo>
                        <a:pt x="774" y="84"/>
                      </a:lnTo>
                      <a:lnTo>
                        <a:pt x="872" y="24"/>
                      </a:lnTo>
                      <a:lnTo>
                        <a:pt x="757" y="29"/>
                      </a:lnTo>
                      <a:lnTo>
                        <a:pt x="752" y="29"/>
                      </a:lnTo>
                      <a:lnTo>
                        <a:pt x="744" y="30"/>
                      </a:lnTo>
                      <a:lnTo>
                        <a:pt x="734" y="31"/>
                      </a:lnTo>
                      <a:lnTo>
                        <a:pt x="720" y="32"/>
                      </a:lnTo>
                      <a:lnTo>
                        <a:pt x="706" y="34"/>
                      </a:lnTo>
                      <a:lnTo>
                        <a:pt x="691" y="37"/>
                      </a:lnTo>
                      <a:lnTo>
                        <a:pt x="676" y="40"/>
                      </a:lnTo>
                      <a:lnTo>
                        <a:pt x="663" y="44"/>
                      </a:lnTo>
                      <a:lnTo>
                        <a:pt x="640" y="54"/>
                      </a:lnTo>
                      <a:lnTo>
                        <a:pt x="625" y="61"/>
                      </a:lnTo>
                      <a:lnTo>
                        <a:pt x="610" y="67"/>
                      </a:lnTo>
                      <a:lnTo>
                        <a:pt x="596" y="70"/>
                      </a:lnTo>
                      <a:lnTo>
                        <a:pt x="582" y="72"/>
                      </a:lnTo>
                      <a:lnTo>
                        <a:pt x="569" y="71"/>
                      </a:lnTo>
                      <a:lnTo>
                        <a:pt x="558" y="68"/>
                      </a:lnTo>
                      <a:lnTo>
                        <a:pt x="545" y="61"/>
                      </a:lnTo>
                      <a:lnTo>
                        <a:pt x="534" y="49"/>
                      </a:lnTo>
                      <a:lnTo>
                        <a:pt x="521" y="37"/>
                      </a:lnTo>
                      <a:lnTo>
                        <a:pt x="507" y="25"/>
                      </a:lnTo>
                      <a:lnTo>
                        <a:pt x="493" y="17"/>
                      </a:lnTo>
                      <a:lnTo>
                        <a:pt x="478" y="10"/>
                      </a:lnTo>
                      <a:lnTo>
                        <a:pt x="462" y="5"/>
                      </a:lnTo>
                      <a:lnTo>
                        <a:pt x="447" y="1"/>
                      </a:lnTo>
                      <a:lnTo>
                        <a:pt x="431" y="0"/>
                      </a:lnTo>
                      <a:lnTo>
                        <a:pt x="415" y="0"/>
                      </a:lnTo>
                      <a:lnTo>
                        <a:pt x="398" y="1"/>
                      </a:lnTo>
                      <a:lnTo>
                        <a:pt x="382" y="3"/>
                      </a:lnTo>
                      <a:lnTo>
                        <a:pt x="365" y="8"/>
                      </a:lnTo>
                      <a:lnTo>
                        <a:pt x="349" y="13"/>
                      </a:lnTo>
                      <a:lnTo>
                        <a:pt x="333" y="19"/>
                      </a:lnTo>
                      <a:lnTo>
                        <a:pt x="318" y="28"/>
                      </a:lnTo>
                      <a:lnTo>
                        <a:pt x="303" y="36"/>
                      </a:lnTo>
                      <a:lnTo>
                        <a:pt x="289" y="45"/>
                      </a:lnTo>
                      <a:close/>
                    </a:path>
                  </a:pathLst>
                </a:custGeom>
                <a:solidFill>
                  <a:srgbClr val="505050"/>
                </a:solidFill>
                <a:ln w="9525">
                  <a:noFill/>
                  <a:round/>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ysClr val="windowText" lastClr="000000"/>
                    </a:solidFill>
                    <a:effectLst/>
                    <a:uLnTx/>
                    <a:uFillTx/>
                    <a:latin typeface="Times New Roman"/>
                  </a:endParaRPr>
                </a:p>
              </p:txBody>
            </p:sp>
          </p:grpSp>
          <p:grpSp>
            <p:nvGrpSpPr>
              <p:cNvPr id="1286" name="Group 258">
                <a:extLst>
                  <a:ext uri="{FF2B5EF4-FFF2-40B4-BE49-F238E27FC236}">
                    <a16:creationId xmlns:a16="http://schemas.microsoft.com/office/drawing/2014/main" id="{BB32B801-F76A-4C37-9472-96A43ED05D47}"/>
                  </a:ext>
                </a:extLst>
              </p:cNvPr>
              <p:cNvGrpSpPr>
                <a:grpSpLocks/>
              </p:cNvGrpSpPr>
              <p:nvPr/>
            </p:nvGrpSpPr>
            <p:grpSpPr bwMode="auto">
              <a:xfrm>
                <a:off x="9607712" y="3350110"/>
                <a:ext cx="238962" cy="215108"/>
                <a:chOff x="3091" y="3229"/>
                <a:chExt cx="348" cy="268"/>
              </a:xfrm>
            </p:grpSpPr>
            <p:sp>
              <p:nvSpPr>
                <p:cNvPr id="1287" name="AutoShape 259">
                  <a:extLst>
                    <a:ext uri="{FF2B5EF4-FFF2-40B4-BE49-F238E27FC236}">
                      <a16:creationId xmlns:a16="http://schemas.microsoft.com/office/drawing/2014/main" id="{BB3F3666-53F0-4682-9304-FF7C88688F68}"/>
                    </a:ext>
                  </a:extLst>
                </p:cNvPr>
                <p:cNvSpPr>
                  <a:spLocks noChangeArrowheads="1"/>
                </p:cNvSpPr>
                <p:nvPr/>
              </p:nvSpPr>
              <p:spPr bwMode="auto">
                <a:xfrm>
                  <a:off x="3091" y="3382"/>
                  <a:ext cx="288" cy="115"/>
                </a:xfrm>
                <a:prstGeom prst="can">
                  <a:avLst>
                    <a:gd name="adj" fmla="val 50000"/>
                  </a:avLst>
                </a:prstGeom>
                <a:solidFill>
                  <a:sysClr val="window" lastClr="FFFFFF"/>
                </a:solidFill>
                <a:ln w="6350">
                  <a:solidFill>
                    <a:srgbClr val="505050"/>
                  </a:solid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288" name="AutoShape 260">
                  <a:extLst>
                    <a:ext uri="{FF2B5EF4-FFF2-40B4-BE49-F238E27FC236}">
                      <a16:creationId xmlns:a16="http://schemas.microsoft.com/office/drawing/2014/main" id="{87412DAF-9A10-49F9-A536-02CD15A7B945}"/>
                    </a:ext>
                  </a:extLst>
                </p:cNvPr>
                <p:cNvSpPr>
                  <a:spLocks noChangeArrowheads="1"/>
                </p:cNvSpPr>
                <p:nvPr/>
              </p:nvSpPr>
              <p:spPr bwMode="auto">
                <a:xfrm>
                  <a:off x="3136" y="3315"/>
                  <a:ext cx="288" cy="114"/>
                </a:xfrm>
                <a:prstGeom prst="can">
                  <a:avLst>
                    <a:gd name="adj" fmla="val 50000"/>
                  </a:avLst>
                </a:prstGeom>
                <a:solidFill>
                  <a:sysClr val="window" lastClr="FFFFFF"/>
                </a:solidFill>
                <a:ln w="6350">
                  <a:solidFill>
                    <a:srgbClr val="505050"/>
                  </a:solid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289" name="AutoShape 261">
                  <a:extLst>
                    <a:ext uri="{FF2B5EF4-FFF2-40B4-BE49-F238E27FC236}">
                      <a16:creationId xmlns:a16="http://schemas.microsoft.com/office/drawing/2014/main" id="{8237B179-2E42-4AC5-9209-278161EF8786}"/>
                    </a:ext>
                  </a:extLst>
                </p:cNvPr>
                <p:cNvSpPr>
                  <a:spLocks noChangeArrowheads="1"/>
                </p:cNvSpPr>
                <p:nvPr/>
              </p:nvSpPr>
              <p:spPr bwMode="auto">
                <a:xfrm>
                  <a:off x="3151" y="3229"/>
                  <a:ext cx="288" cy="114"/>
                </a:xfrm>
                <a:prstGeom prst="can">
                  <a:avLst>
                    <a:gd name="adj" fmla="val 50000"/>
                  </a:avLst>
                </a:prstGeom>
                <a:solidFill>
                  <a:sysClr val="window" lastClr="FFFFFF"/>
                </a:solidFill>
                <a:ln w="6350">
                  <a:solidFill>
                    <a:srgbClr val="505050"/>
                  </a:solid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grpSp>
      </p:grpSp>
      <p:grpSp>
        <p:nvGrpSpPr>
          <p:cNvPr id="1293" name="Group 1292">
            <a:extLst>
              <a:ext uri="{FF2B5EF4-FFF2-40B4-BE49-F238E27FC236}">
                <a16:creationId xmlns:a16="http://schemas.microsoft.com/office/drawing/2014/main" id="{C35897C8-8555-4C3C-9F2F-22622D43F849}"/>
              </a:ext>
            </a:extLst>
          </p:cNvPr>
          <p:cNvGrpSpPr/>
          <p:nvPr/>
        </p:nvGrpSpPr>
        <p:grpSpPr>
          <a:xfrm>
            <a:off x="6117820" y="4718957"/>
            <a:ext cx="612775" cy="612775"/>
            <a:chOff x="4963191" y="5357300"/>
            <a:chExt cx="612775" cy="612775"/>
          </a:xfrm>
        </p:grpSpPr>
        <p:sp>
          <p:nvSpPr>
            <p:cNvPr id="1294" name="Oval 1293">
              <a:extLst>
                <a:ext uri="{FF2B5EF4-FFF2-40B4-BE49-F238E27FC236}">
                  <a16:creationId xmlns:a16="http://schemas.microsoft.com/office/drawing/2014/main" id="{F7D51070-3A0F-450A-9866-B46D54E245EF}"/>
                </a:ext>
              </a:extLst>
            </p:cNvPr>
            <p:cNvSpPr/>
            <p:nvPr/>
          </p:nvSpPr>
          <p:spPr bwMode="ltGray">
            <a:xfrm>
              <a:off x="4963191" y="5357300"/>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295" name="Group 1294">
              <a:extLst>
                <a:ext uri="{FF2B5EF4-FFF2-40B4-BE49-F238E27FC236}">
                  <a16:creationId xmlns:a16="http://schemas.microsoft.com/office/drawing/2014/main" id="{8BDAC6A0-190B-429E-92AF-5EA0D930481A}"/>
                </a:ext>
              </a:extLst>
            </p:cNvPr>
            <p:cNvGrpSpPr/>
            <p:nvPr/>
          </p:nvGrpSpPr>
          <p:grpSpPr>
            <a:xfrm>
              <a:off x="5076580" y="5420692"/>
              <a:ext cx="392933" cy="486540"/>
              <a:chOff x="7280756" y="1468275"/>
              <a:chExt cx="392933" cy="486540"/>
            </a:xfrm>
          </p:grpSpPr>
          <p:sp>
            <p:nvSpPr>
              <p:cNvPr id="1296" name="Freeform 24">
                <a:extLst>
                  <a:ext uri="{FF2B5EF4-FFF2-40B4-BE49-F238E27FC236}">
                    <a16:creationId xmlns:a16="http://schemas.microsoft.com/office/drawing/2014/main" id="{3C6D6771-669B-4C46-A41B-86BCDEEFAE44}"/>
                  </a:ext>
                </a:extLst>
              </p:cNvPr>
              <p:cNvSpPr>
                <a:spLocks/>
              </p:cNvSpPr>
              <p:nvPr/>
            </p:nvSpPr>
            <p:spPr bwMode="auto">
              <a:xfrm>
                <a:off x="7308512" y="1721885"/>
                <a:ext cx="20137" cy="58777"/>
              </a:xfrm>
              <a:custGeom>
                <a:avLst/>
                <a:gdLst>
                  <a:gd name="T0" fmla="*/ 42 w 75"/>
                  <a:gd name="T1" fmla="*/ 216 h 216"/>
                  <a:gd name="T2" fmla="*/ 54 w 75"/>
                  <a:gd name="T3" fmla="*/ 213 h 216"/>
                  <a:gd name="T4" fmla="*/ 66 w 75"/>
                  <a:gd name="T5" fmla="*/ 206 h 216"/>
                  <a:gd name="T6" fmla="*/ 73 w 75"/>
                  <a:gd name="T7" fmla="*/ 196 h 216"/>
                  <a:gd name="T8" fmla="*/ 75 w 75"/>
                  <a:gd name="T9" fmla="*/ 183 h 216"/>
                  <a:gd name="T10" fmla="*/ 75 w 75"/>
                  <a:gd name="T11" fmla="*/ 33 h 216"/>
                  <a:gd name="T12" fmla="*/ 73 w 75"/>
                  <a:gd name="T13" fmla="*/ 21 h 216"/>
                  <a:gd name="T14" fmla="*/ 66 w 75"/>
                  <a:gd name="T15" fmla="*/ 9 h 216"/>
                  <a:gd name="T16" fmla="*/ 54 w 75"/>
                  <a:gd name="T17" fmla="*/ 2 h 216"/>
                  <a:gd name="T18" fmla="*/ 42 w 75"/>
                  <a:gd name="T19" fmla="*/ 0 h 216"/>
                  <a:gd name="T20" fmla="*/ 34 w 75"/>
                  <a:gd name="T21" fmla="*/ 0 h 216"/>
                  <a:gd name="T22" fmla="*/ 21 w 75"/>
                  <a:gd name="T23" fmla="*/ 2 h 216"/>
                  <a:gd name="T24" fmla="*/ 11 w 75"/>
                  <a:gd name="T25" fmla="*/ 9 h 216"/>
                  <a:gd name="T26" fmla="*/ 3 w 75"/>
                  <a:gd name="T27" fmla="*/ 21 h 216"/>
                  <a:gd name="T28" fmla="*/ 0 w 75"/>
                  <a:gd name="T29" fmla="*/ 33 h 216"/>
                  <a:gd name="T30" fmla="*/ 0 w 75"/>
                  <a:gd name="T31" fmla="*/ 183 h 216"/>
                  <a:gd name="T32" fmla="*/ 3 w 75"/>
                  <a:gd name="T33" fmla="*/ 196 h 216"/>
                  <a:gd name="T34" fmla="*/ 11 w 75"/>
                  <a:gd name="T35" fmla="*/ 206 h 216"/>
                  <a:gd name="T36" fmla="*/ 21 w 75"/>
                  <a:gd name="T37" fmla="*/ 213 h 216"/>
                  <a:gd name="T38" fmla="*/ 34 w 75"/>
                  <a:gd name="T39" fmla="*/ 216 h 216"/>
                  <a:gd name="T40" fmla="*/ 42 w 75"/>
                  <a:gd name="T41"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5" h="216">
                    <a:moveTo>
                      <a:pt x="42" y="216"/>
                    </a:moveTo>
                    <a:lnTo>
                      <a:pt x="54" y="213"/>
                    </a:lnTo>
                    <a:lnTo>
                      <a:pt x="66" y="206"/>
                    </a:lnTo>
                    <a:lnTo>
                      <a:pt x="73" y="196"/>
                    </a:lnTo>
                    <a:lnTo>
                      <a:pt x="75" y="183"/>
                    </a:lnTo>
                    <a:lnTo>
                      <a:pt x="75" y="33"/>
                    </a:lnTo>
                    <a:lnTo>
                      <a:pt x="73" y="21"/>
                    </a:lnTo>
                    <a:lnTo>
                      <a:pt x="66" y="9"/>
                    </a:lnTo>
                    <a:lnTo>
                      <a:pt x="54" y="2"/>
                    </a:lnTo>
                    <a:lnTo>
                      <a:pt x="42" y="0"/>
                    </a:lnTo>
                    <a:lnTo>
                      <a:pt x="34" y="0"/>
                    </a:lnTo>
                    <a:lnTo>
                      <a:pt x="21" y="2"/>
                    </a:lnTo>
                    <a:lnTo>
                      <a:pt x="11" y="9"/>
                    </a:lnTo>
                    <a:lnTo>
                      <a:pt x="3" y="21"/>
                    </a:lnTo>
                    <a:lnTo>
                      <a:pt x="0" y="33"/>
                    </a:lnTo>
                    <a:lnTo>
                      <a:pt x="0" y="183"/>
                    </a:lnTo>
                    <a:lnTo>
                      <a:pt x="3" y="196"/>
                    </a:lnTo>
                    <a:lnTo>
                      <a:pt x="11" y="206"/>
                    </a:lnTo>
                    <a:lnTo>
                      <a:pt x="21" y="213"/>
                    </a:lnTo>
                    <a:lnTo>
                      <a:pt x="34" y="216"/>
                    </a:lnTo>
                    <a:lnTo>
                      <a:pt x="42" y="2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97" name="Freeform 25">
                <a:extLst>
                  <a:ext uri="{FF2B5EF4-FFF2-40B4-BE49-F238E27FC236}">
                    <a16:creationId xmlns:a16="http://schemas.microsoft.com/office/drawing/2014/main" id="{F7B5900F-C6C8-4F18-8E2A-709FB70BD808}"/>
                  </a:ext>
                </a:extLst>
              </p:cNvPr>
              <p:cNvSpPr>
                <a:spLocks/>
              </p:cNvSpPr>
              <p:nvPr/>
            </p:nvSpPr>
            <p:spPr bwMode="auto">
              <a:xfrm>
                <a:off x="7294362" y="1742566"/>
                <a:ext cx="23946" cy="17960"/>
              </a:xfrm>
              <a:custGeom>
                <a:avLst/>
                <a:gdLst>
                  <a:gd name="T0" fmla="*/ 54 w 87"/>
                  <a:gd name="T1" fmla="*/ 67 h 67"/>
                  <a:gd name="T2" fmla="*/ 66 w 87"/>
                  <a:gd name="T3" fmla="*/ 65 h 67"/>
                  <a:gd name="T4" fmla="*/ 78 w 87"/>
                  <a:gd name="T5" fmla="*/ 57 h 67"/>
                  <a:gd name="T6" fmla="*/ 85 w 87"/>
                  <a:gd name="T7" fmla="*/ 46 h 67"/>
                  <a:gd name="T8" fmla="*/ 87 w 87"/>
                  <a:gd name="T9" fmla="*/ 34 h 67"/>
                  <a:gd name="T10" fmla="*/ 87 w 87"/>
                  <a:gd name="T11" fmla="*/ 34 h 67"/>
                  <a:gd name="T12" fmla="*/ 85 w 87"/>
                  <a:gd name="T13" fmla="*/ 21 h 67"/>
                  <a:gd name="T14" fmla="*/ 78 w 87"/>
                  <a:gd name="T15" fmla="*/ 9 h 67"/>
                  <a:gd name="T16" fmla="*/ 66 w 87"/>
                  <a:gd name="T17" fmla="*/ 2 h 67"/>
                  <a:gd name="T18" fmla="*/ 54 w 87"/>
                  <a:gd name="T19" fmla="*/ 0 h 67"/>
                  <a:gd name="T20" fmla="*/ 33 w 87"/>
                  <a:gd name="T21" fmla="*/ 0 h 67"/>
                  <a:gd name="T22" fmla="*/ 20 w 87"/>
                  <a:gd name="T23" fmla="*/ 2 h 67"/>
                  <a:gd name="T24" fmla="*/ 10 w 87"/>
                  <a:gd name="T25" fmla="*/ 9 h 67"/>
                  <a:gd name="T26" fmla="*/ 2 w 87"/>
                  <a:gd name="T27" fmla="*/ 21 h 67"/>
                  <a:gd name="T28" fmla="*/ 0 w 87"/>
                  <a:gd name="T29" fmla="*/ 34 h 67"/>
                  <a:gd name="T30" fmla="*/ 0 w 87"/>
                  <a:gd name="T31" fmla="*/ 34 h 67"/>
                  <a:gd name="T32" fmla="*/ 2 w 87"/>
                  <a:gd name="T33" fmla="*/ 46 h 67"/>
                  <a:gd name="T34" fmla="*/ 10 w 87"/>
                  <a:gd name="T35" fmla="*/ 57 h 67"/>
                  <a:gd name="T36" fmla="*/ 20 w 87"/>
                  <a:gd name="T37" fmla="*/ 65 h 67"/>
                  <a:gd name="T38" fmla="*/ 33 w 87"/>
                  <a:gd name="T39" fmla="*/ 67 h 67"/>
                  <a:gd name="T40" fmla="*/ 54 w 87"/>
                  <a:gd name="T4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7" h="67">
                    <a:moveTo>
                      <a:pt x="54" y="67"/>
                    </a:moveTo>
                    <a:lnTo>
                      <a:pt x="66" y="65"/>
                    </a:lnTo>
                    <a:lnTo>
                      <a:pt x="78" y="57"/>
                    </a:lnTo>
                    <a:lnTo>
                      <a:pt x="85" y="46"/>
                    </a:lnTo>
                    <a:lnTo>
                      <a:pt x="87" y="34"/>
                    </a:lnTo>
                    <a:lnTo>
                      <a:pt x="87" y="34"/>
                    </a:lnTo>
                    <a:lnTo>
                      <a:pt x="85" y="21"/>
                    </a:lnTo>
                    <a:lnTo>
                      <a:pt x="78" y="9"/>
                    </a:lnTo>
                    <a:lnTo>
                      <a:pt x="66" y="2"/>
                    </a:lnTo>
                    <a:lnTo>
                      <a:pt x="54" y="0"/>
                    </a:lnTo>
                    <a:lnTo>
                      <a:pt x="33" y="0"/>
                    </a:lnTo>
                    <a:lnTo>
                      <a:pt x="20" y="2"/>
                    </a:lnTo>
                    <a:lnTo>
                      <a:pt x="10" y="9"/>
                    </a:lnTo>
                    <a:lnTo>
                      <a:pt x="2" y="21"/>
                    </a:lnTo>
                    <a:lnTo>
                      <a:pt x="0" y="34"/>
                    </a:lnTo>
                    <a:lnTo>
                      <a:pt x="0" y="34"/>
                    </a:lnTo>
                    <a:lnTo>
                      <a:pt x="2" y="46"/>
                    </a:lnTo>
                    <a:lnTo>
                      <a:pt x="10" y="57"/>
                    </a:lnTo>
                    <a:lnTo>
                      <a:pt x="20" y="65"/>
                    </a:lnTo>
                    <a:lnTo>
                      <a:pt x="33" y="67"/>
                    </a:lnTo>
                    <a:lnTo>
                      <a:pt x="54" y="6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98" name="Freeform 26">
                <a:extLst>
                  <a:ext uri="{FF2B5EF4-FFF2-40B4-BE49-F238E27FC236}">
                    <a16:creationId xmlns:a16="http://schemas.microsoft.com/office/drawing/2014/main" id="{89CE83E0-B2B4-405A-BD9B-BFBFB7CC2D7D}"/>
                  </a:ext>
                </a:extLst>
              </p:cNvPr>
              <p:cNvSpPr>
                <a:spLocks/>
              </p:cNvSpPr>
              <p:nvPr/>
            </p:nvSpPr>
            <p:spPr bwMode="auto">
              <a:xfrm>
                <a:off x="7326471" y="1668007"/>
                <a:ext cx="57688" cy="159459"/>
              </a:xfrm>
              <a:custGeom>
                <a:avLst/>
                <a:gdLst>
                  <a:gd name="T0" fmla="*/ 106 w 213"/>
                  <a:gd name="T1" fmla="*/ 585 h 585"/>
                  <a:gd name="T2" fmla="*/ 131 w 213"/>
                  <a:gd name="T3" fmla="*/ 580 h 585"/>
                  <a:gd name="T4" fmla="*/ 152 w 213"/>
                  <a:gd name="T5" fmla="*/ 562 h 585"/>
                  <a:gd name="T6" fmla="*/ 171 w 213"/>
                  <a:gd name="T7" fmla="*/ 536 h 585"/>
                  <a:gd name="T8" fmla="*/ 185 w 213"/>
                  <a:gd name="T9" fmla="*/ 499 h 585"/>
                  <a:gd name="T10" fmla="*/ 198 w 213"/>
                  <a:gd name="T11" fmla="*/ 456 h 585"/>
                  <a:gd name="T12" fmla="*/ 206 w 213"/>
                  <a:gd name="T13" fmla="*/ 407 h 585"/>
                  <a:gd name="T14" fmla="*/ 212 w 213"/>
                  <a:gd name="T15" fmla="*/ 351 h 585"/>
                  <a:gd name="T16" fmla="*/ 213 w 213"/>
                  <a:gd name="T17" fmla="*/ 293 h 585"/>
                  <a:gd name="T18" fmla="*/ 212 w 213"/>
                  <a:gd name="T19" fmla="*/ 234 h 585"/>
                  <a:gd name="T20" fmla="*/ 206 w 213"/>
                  <a:gd name="T21" fmla="*/ 179 h 585"/>
                  <a:gd name="T22" fmla="*/ 198 w 213"/>
                  <a:gd name="T23" fmla="*/ 129 h 585"/>
                  <a:gd name="T24" fmla="*/ 185 w 213"/>
                  <a:gd name="T25" fmla="*/ 85 h 585"/>
                  <a:gd name="T26" fmla="*/ 171 w 213"/>
                  <a:gd name="T27" fmla="*/ 50 h 585"/>
                  <a:gd name="T28" fmla="*/ 152 w 213"/>
                  <a:gd name="T29" fmla="*/ 23 h 585"/>
                  <a:gd name="T30" fmla="*/ 131 w 213"/>
                  <a:gd name="T31" fmla="*/ 6 h 585"/>
                  <a:gd name="T32" fmla="*/ 106 w 213"/>
                  <a:gd name="T33" fmla="*/ 0 h 585"/>
                  <a:gd name="T34" fmla="*/ 82 w 213"/>
                  <a:gd name="T35" fmla="*/ 6 h 585"/>
                  <a:gd name="T36" fmla="*/ 60 w 213"/>
                  <a:gd name="T37" fmla="*/ 23 h 585"/>
                  <a:gd name="T38" fmla="*/ 43 w 213"/>
                  <a:gd name="T39" fmla="*/ 50 h 585"/>
                  <a:gd name="T40" fmla="*/ 28 w 213"/>
                  <a:gd name="T41" fmla="*/ 85 h 585"/>
                  <a:gd name="T42" fmla="*/ 15 w 213"/>
                  <a:gd name="T43" fmla="*/ 129 h 585"/>
                  <a:gd name="T44" fmla="*/ 7 w 213"/>
                  <a:gd name="T45" fmla="*/ 179 h 585"/>
                  <a:gd name="T46" fmla="*/ 1 w 213"/>
                  <a:gd name="T47" fmla="*/ 234 h 585"/>
                  <a:gd name="T48" fmla="*/ 0 w 213"/>
                  <a:gd name="T49" fmla="*/ 293 h 585"/>
                  <a:gd name="T50" fmla="*/ 1 w 213"/>
                  <a:gd name="T51" fmla="*/ 351 h 585"/>
                  <a:gd name="T52" fmla="*/ 7 w 213"/>
                  <a:gd name="T53" fmla="*/ 407 h 585"/>
                  <a:gd name="T54" fmla="*/ 15 w 213"/>
                  <a:gd name="T55" fmla="*/ 456 h 585"/>
                  <a:gd name="T56" fmla="*/ 28 w 213"/>
                  <a:gd name="T57" fmla="*/ 499 h 585"/>
                  <a:gd name="T58" fmla="*/ 43 w 213"/>
                  <a:gd name="T59" fmla="*/ 536 h 585"/>
                  <a:gd name="T60" fmla="*/ 60 w 213"/>
                  <a:gd name="T61" fmla="*/ 562 h 585"/>
                  <a:gd name="T62" fmla="*/ 82 w 213"/>
                  <a:gd name="T63" fmla="*/ 580 h 585"/>
                  <a:gd name="T64" fmla="*/ 106 w 213"/>
                  <a:gd name="T65"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585">
                    <a:moveTo>
                      <a:pt x="106" y="585"/>
                    </a:moveTo>
                    <a:lnTo>
                      <a:pt x="131" y="580"/>
                    </a:lnTo>
                    <a:lnTo>
                      <a:pt x="152" y="562"/>
                    </a:lnTo>
                    <a:lnTo>
                      <a:pt x="171" y="536"/>
                    </a:lnTo>
                    <a:lnTo>
                      <a:pt x="185" y="499"/>
                    </a:lnTo>
                    <a:lnTo>
                      <a:pt x="198" y="456"/>
                    </a:lnTo>
                    <a:lnTo>
                      <a:pt x="206" y="407"/>
                    </a:lnTo>
                    <a:lnTo>
                      <a:pt x="212" y="351"/>
                    </a:lnTo>
                    <a:lnTo>
                      <a:pt x="213" y="293"/>
                    </a:lnTo>
                    <a:lnTo>
                      <a:pt x="212" y="234"/>
                    </a:lnTo>
                    <a:lnTo>
                      <a:pt x="206" y="179"/>
                    </a:lnTo>
                    <a:lnTo>
                      <a:pt x="198" y="129"/>
                    </a:lnTo>
                    <a:lnTo>
                      <a:pt x="185" y="85"/>
                    </a:lnTo>
                    <a:lnTo>
                      <a:pt x="171" y="50"/>
                    </a:lnTo>
                    <a:lnTo>
                      <a:pt x="152" y="23"/>
                    </a:lnTo>
                    <a:lnTo>
                      <a:pt x="131" y="6"/>
                    </a:lnTo>
                    <a:lnTo>
                      <a:pt x="106" y="0"/>
                    </a:lnTo>
                    <a:lnTo>
                      <a:pt x="82" y="6"/>
                    </a:lnTo>
                    <a:lnTo>
                      <a:pt x="60" y="23"/>
                    </a:lnTo>
                    <a:lnTo>
                      <a:pt x="43" y="50"/>
                    </a:lnTo>
                    <a:lnTo>
                      <a:pt x="28" y="85"/>
                    </a:lnTo>
                    <a:lnTo>
                      <a:pt x="15" y="129"/>
                    </a:lnTo>
                    <a:lnTo>
                      <a:pt x="7" y="179"/>
                    </a:lnTo>
                    <a:lnTo>
                      <a:pt x="1" y="234"/>
                    </a:lnTo>
                    <a:lnTo>
                      <a:pt x="0" y="293"/>
                    </a:lnTo>
                    <a:lnTo>
                      <a:pt x="1" y="351"/>
                    </a:lnTo>
                    <a:lnTo>
                      <a:pt x="7" y="407"/>
                    </a:lnTo>
                    <a:lnTo>
                      <a:pt x="15" y="456"/>
                    </a:lnTo>
                    <a:lnTo>
                      <a:pt x="28" y="499"/>
                    </a:lnTo>
                    <a:lnTo>
                      <a:pt x="43" y="536"/>
                    </a:lnTo>
                    <a:lnTo>
                      <a:pt x="60" y="562"/>
                    </a:lnTo>
                    <a:lnTo>
                      <a:pt x="82" y="580"/>
                    </a:lnTo>
                    <a:lnTo>
                      <a:pt x="106" y="58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299" name="Freeform 27">
                <a:extLst>
                  <a:ext uri="{FF2B5EF4-FFF2-40B4-BE49-F238E27FC236}">
                    <a16:creationId xmlns:a16="http://schemas.microsoft.com/office/drawing/2014/main" id="{B86BF535-BAE5-4DBC-B029-FBD5E8FBADFF}"/>
                  </a:ext>
                </a:extLst>
              </p:cNvPr>
              <p:cNvSpPr>
                <a:spLocks/>
              </p:cNvSpPr>
              <p:nvPr/>
            </p:nvSpPr>
            <p:spPr bwMode="auto">
              <a:xfrm>
                <a:off x="7628518" y="1721341"/>
                <a:ext cx="20137" cy="58777"/>
              </a:xfrm>
              <a:custGeom>
                <a:avLst/>
                <a:gdLst>
                  <a:gd name="T0" fmla="*/ 32 w 73"/>
                  <a:gd name="T1" fmla="*/ 215 h 215"/>
                  <a:gd name="T2" fmla="*/ 19 w 73"/>
                  <a:gd name="T3" fmla="*/ 213 h 215"/>
                  <a:gd name="T4" fmla="*/ 9 w 73"/>
                  <a:gd name="T5" fmla="*/ 205 h 215"/>
                  <a:gd name="T6" fmla="*/ 2 w 73"/>
                  <a:gd name="T7" fmla="*/ 195 h 215"/>
                  <a:gd name="T8" fmla="*/ 0 w 73"/>
                  <a:gd name="T9" fmla="*/ 182 h 215"/>
                  <a:gd name="T10" fmla="*/ 0 w 73"/>
                  <a:gd name="T11" fmla="*/ 33 h 215"/>
                  <a:gd name="T12" fmla="*/ 2 w 73"/>
                  <a:gd name="T13" fmla="*/ 21 h 215"/>
                  <a:gd name="T14" fmla="*/ 9 w 73"/>
                  <a:gd name="T15" fmla="*/ 9 h 215"/>
                  <a:gd name="T16" fmla="*/ 19 w 73"/>
                  <a:gd name="T17" fmla="*/ 2 h 215"/>
                  <a:gd name="T18" fmla="*/ 32 w 73"/>
                  <a:gd name="T19" fmla="*/ 0 h 215"/>
                  <a:gd name="T20" fmla="*/ 40 w 73"/>
                  <a:gd name="T21" fmla="*/ 0 h 215"/>
                  <a:gd name="T22" fmla="*/ 53 w 73"/>
                  <a:gd name="T23" fmla="*/ 2 h 215"/>
                  <a:gd name="T24" fmla="*/ 64 w 73"/>
                  <a:gd name="T25" fmla="*/ 9 h 215"/>
                  <a:gd name="T26" fmla="*/ 71 w 73"/>
                  <a:gd name="T27" fmla="*/ 21 h 215"/>
                  <a:gd name="T28" fmla="*/ 73 w 73"/>
                  <a:gd name="T29" fmla="*/ 33 h 215"/>
                  <a:gd name="T30" fmla="*/ 73 w 73"/>
                  <a:gd name="T31" fmla="*/ 182 h 215"/>
                  <a:gd name="T32" fmla="*/ 71 w 73"/>
                  <a:gd name="T33" fmla="*/ 195 h 215"/>
                  <a:gd name="T34" fmla="*/ 64 w 73"/>
                  <a:gd name="T35" fmla="*/ 205 h 215"/>
                  <a:gd name="T36" fmla="*/ 53 w 73"/>
                  <a:gd name="T37" fmla="*/ 213 h 215"/>
                  <a:gd name="T38" fmla="*/ 40 w 73"/>
                  <a:gd name="T39" fmla="*/ 215 h 215"/>
                  <a:gd name="T40" fmla="*/ 32 w 73"/>
                  <a:gd name="T41" fmla="*/ 215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3" h="215">
                    <a:moveTo>
                      <a:pt x="32" y="215"/>
                    </a:moveTo>
                    <a:lnTo>
                      <a:pt x="19" y="213"/>
                    </a:lnTo>
                    <a:lnTo>
                      <a:pt x="9" y="205"/>
                    </a:lnTo>
                    <a:lnTo>
                      <a:pt x="2" y="195"/>
                    </a:lnTo>
                    <a:lnTo>
                      <a:pt x="0" y="182"/>
                    </a:lnTo>
                    <a:lnTo>
                      <a:pt x="0" y="33"/>
                    </a:lnTo>
                    <a:lnTo>
                      <a:pt x="2" y="21"/>
                    </a:lnTo>
                    <a:lnTo>
                      <a:pt x="9" y="9"/>
                    </a:lnTo>
                    <a:lnTo>
                      <a:pt x="19" y="2"/>
                    </a:lnTo>
                    <a:lnTo>
                      <a:pt x="32" y="0"/>
                    </a:lnTo>
                    <a:lnTo>
                      <a:pt x="40" y="0"/>
                    </a:lnTo>
                    <a:lnTo>
                      <a:pt x="53" y="2"/>
                    </a:lnTo>
                    <a:lnTo>
                      <a:pt x="64" y="9"/>
                    </a:lnTo>
                    <a:lnTo>
                      <a:pt x="71" y="21"/>
                    </a:lnTo>
                    <a:lnTo>
                      <a:pt x="73" y="33"/>
                    </a:lnTo>
                    <a:lnTo>
                      <a:pt x="73" y="182"/>
                    </a:lnTo>
                    <a:lnTo>
                      <a:pt x="71" y="195"/>
                    </a:lnTo>
                    <a:lnTo>
                      <a:pt x="64" y="205"/>
                    </a:lnTo>
                    <a:lnTo>
                      <a:pt x="53" y="213"/>
                    </a:lnTo>
                    <a:lnTo>
                      <a:pt x="40" y="215"/>
                    </a:lnTo>
                    <a:lnTo>
                      <a:pt x="32" y="2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00" name="Freeform 28">
                <a:extLst>
                  <a:ext uri="{FF2B5EF4-FFF2-40B4-BE49-F238E27FC236}">
                    <a16:creationId xmlns:a16="http://schemas.microsoft.com/office/drawing/2014/main" id="{D516BC99-946A-41CB-8DEE-BA8E658F6CFF}"/>
                  </a:ext>
                </a:extLst>
              </p:cNvPr>
              <p:cNvSpPr>
                <a:spLocks/>
              </p:cNvSpPr>
              <p:nvPr/>
            </p:nvSpPr>
            <p:spPr bwMode="auto">
              <a:xfrm>
                <a:off x="7634505" y="1742022"/>
                <a:ext cx="23946" cy="18504"/>
              </a:xfrm>
              <a:custGeom>
                <a:avLst/>
                <a:gdLst>
                  <a:gd name="T0" fmla="*/ 32 w 86"/>
                  <a:gd name="T1" fmla="*/ 67 h 67"/>
                  <a:gd name="T2" fmla="*/ 19 w 86"/>
                  <a:gd name="T3" fmla="*/ 64 h 67"/>
                  <a:gd name="T4" fmla="*/ 9 w 86"/>
                  <a:gd name="T5" fmla="*/ 56 h 67"/>
                  <a:gd name="T6" fmla="*/ 2 w 86"/>
                  <a:gd name="T7" fmla="*/ 46 h 67"/>
                  <a:gd name="T8" fmla="*/ 0 w 86"/>
                  <a:gd name="T9" fmla="*/ 33 h 67"/>
                  <a:gd name="T10" fmla="*/ 0 w 86"/>
                  <a:gd name="T11" fmla="*/ 33 h 67"/>
                  <a:gd name="T12" fmla="*/ 2 w 86"/>
                  <a:gd name="T13" fmla="*/ 21 h 67"/>
                  <a:gd name="T14" fmla="*/ 9 w 86"/>
                  <a:gd name="T15" fmla="*/ 9 h 67"/>
                  <a:gd name="T16" fmla="*/ 19 w 86"/>
                  <a:gd name="T17" fmla="*/ 2 h 67"/>
                  <a:gd name="T18" fmla="*/ 32 w 86"/>
                  <a:gd name="T19" fmla="*/ 0 h 67"/>
                  <a:gd name="T20" fmla="*/ 53 w 86"/>
                  <a:gd name="T21" fmla="*/ 0 h 67"/>
                  <a:gd name="T22" fmla="*/ 65 w 86"/>
                  <a:gd name="T23" fmla="*/ 2 h 67"/>
                  <a:gd name="T24" fmla="*/ 77 w 86"/>
                  <a:gd name="T25" fmla="*/ 9 h 67"/>
                  <a:gd name="T26" fmla="*/ 84 w 86"/>
                  <a:gd name="T27" fmla="*/ 21 h 67"/>
                  <a:gd name="T28" fmla="*/ 86 w 86"/>
                  <a:gd name="T29" fmla="*/ 33 h 67"/>
                  <a:gd name="T30" fmla="*/ 86 w 86"/>
                  <a:gd name="T31" fmla="*/ 33 h 67"/>
                  <a:gd name="T32" fmla="*/ 84 w 86"/>
                  <a:gd name="T33" fmla="*/ 46 h 67"/>
                  <a:gd name="T34" fmla="*/ 77 w 86"/>
                  <a:gd name="T35" fmla="*/ 56 h 67"/>
                  <a:gd name="T36" fmla="*/ 65 w 86"/>
                  <a:gd name="T37" fmla="*/ 64 h 67"/>
                  <a:gd name="T38" fmla="*/ 53 w 86"/>
                  <a:gd name="T39" fmla="*/ 67 h 67"/>
                  <a:gd name="T40" fmla="*/ 32 w 86"/>
                  <a:gd name="T4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6" h="67">
                    <a:moveTo>
                      <a:pt x="32" y="67"/>
                    </a:moveTo>
                    <a:lnTo>
                      <a:pt x="19" y="64"/>
                    </a:lnTo>
                    <a:lnTo>
                      <a:pt x="9" y="56"/>
                    </a:lnTo>
                    <a:lnTo>
                      <a:pt x="2" y="46"/>
                    </a:lnTo>
                    <a:lnTo>
                      <a:pt x="0" y="33"/>
                    </a:lnTo>
                    <a:lnTo>
                      <a:pt x="0" y="33"/>
                    </a:lnTo>
                    <a:lnTo>
                      <a:pt x="2" y="21"/>
                    </a:lnTo>
                    <a:lnTo>
                      <a:pt x="9" y="9"/>
                    </a:lnTo>
                    <a:lnTo>
                      <a:pt x="19" y="2"/>
                    </a:lnTo>
                    <a:lnTo>
                      <a:pt x="32" y="0"/>
                    </a:lnTo>
                    <a:lnTo>
                      <a:pt x="53" y="0"/>
                    </a:lnTo>
                    <a:lnTo>
                      <a:pt x="65" y="2"/>
                    </a:lnTo>
                    <a:lnTo>
                      <a:pt x="77" y="9"/>
                    </a:lnTo>
                    <a:lnTo>
                      <a:pt x="84" y="21"/>
                    </a:lnTo>
                    <a:lnTo>
                      <a:pt x="86" y="33"/>
                    </a:lnTo>
                    <a:lnTo>
                      <a:pt x="86" y="33"/>
                    </a:lnTo>
                    <a:lnTo>
                      <a:pt x="84" y="46"/>
                    </a:lnTo>
                    <a:lnTo>
                      <a:pt x="77" y="56"/>
                    </a:lnTo>
                    <a:lnTo>
                      <a:pt x="65" y="64"/>
                    </a:lnTo>
                    <a:lnTo>
                      <a:pt x="53" y="67"/>
                    </a:lnTo>
                    <a:lnTo>
                      <a:pt x="32"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01" name="Freeform 29">
                <a:extLst>
                  <a:ext uri="{FF2B5EF4-FFF2-40B4-BE49-F238E27FC236}">
                    <a16:creationId xmlns:a16="http://schemas.microsoft.com/office/drawing/2014/main" id="{EE3CBC8E-FC57-414A-871E-8005FC8B86F2}"/>
                  </a:ext>
                </a:extLst>
              </p:cNvPr>
              <p:cNvSpPr>
                <a:spLocks/>
              </p:cNvSpPr>
              <p:nvPr/>
            </p:nvSpPr>
            <p:spPr bwMode="auto">
              <a:xfrm>
                <a:off x="7573007" y="1668007"/>
                <a:ext cx="58233" cy="159459"/>
              </a:xfrm>
              <a:custGeom>
                <a:avLst/>
                <a:gdLst>
                  <a:gd name="T0" fmla="*/ 106 w 213"/>
                  <a:gd name="T1" fmla="*/ 585 h 585"/>
                  <a:gd name="T2" fmla="*/ 82 w 213"/>
                  <a:gd name="T3" fmla="*/ 579 h 585"/>
                  <a:gd name="T4" fmla="*/ 60 w 213"/>
                  <a:gd name="T5" fmla="*/ 562 h 585"/>
                  <a:gd name="T6" fmla="*/ 42 w 213"/>
                  <a:gd name="T7" fmla="*/ 536 h 585"/>
                  <a:gd name="T8" fmla="*/ 27 w 213"/>
                  <a:gd name="T9" fmla="*/ 499 h 585"/>
                  <a:gd name="T10" fmla="*/ 15 w 213"/>
                  <a:gd name="T11" fmla="*/ 456 h 585"/>
                  <a:gd name="T12" fmla="*/ 7 w 213"/>
                  <a:gd name="T13" fmla="*/ 407 h 585"/>
                  <a:gd name="T14" fmla="*/ 1 w 213"/>
                  <a:gd name="T15" fmla="*/ 351 h 585"/>
                  <a:gd name="T16" fmla="*/ 0 w 213"/>
                  <a:gd name="T17" fmla="*/ 293 h 585"/>
                  <a:gd name="T18" fmla="*/ 1 w 213"/>
                  <a:gd name="T19" fmla="*/ 234 h 585"/>
                  <a:gd name="T20" fmla="*/ 7 w 213"/>
                  <a:gd name="T21" fmla="*/ 178 h 585"/>
                  <a:gd name="T22" fmla="*/ 15 w 213"/>
                  <a:gd name="T23" fmla="*/ 129 h 585"/>
                  <a:gd name="T24" fmla="*/ 27 w 213"/>
                  <a:gd name="T25" fmla="*/ 85 h 585"/>
                  <a:gd name="T26" fmla="*/ 42 w 213"/>
                  <a:gd name="T27" fmla="*/ 49 h 585"/>
                  <a:gd name="T28" fmla="*/ 60 w 213"/>
                  <a:gd name="T29" fmla="*/ 23 h 585"/>
                  <a:gd name="T30" fmla="*/ 82 w 213"/>
                  <a:gd name="T31" fmla="*/ 6 h 585"/>
                  <a:gd name="T32" fmla="*/ 106 w 213"/>
                  <a:gd name="T33" fmla="*/ 0 h 585"/>
                  <a:gd name="T34" fmla="*/ 130 w 213"/>
                  <a:gd name="T35" fmla="*/ 6 h 585"/>
                  <a:gd name="T36" fmla="*/ 152 w 213"/>
                  <a:gd name="T37" fmla="*/ 23 h 585"/>
                  <a:gd name="T38" fmla="*/ 170 w 213"/>
                  <a:gd name="T39" fmla="*/ 49 h 585"/>
                  <a:gd name="T40" fmla="*/ 185 w 213"/>
                  <a:gd name="T41" fmla="*/ 85 h 585"/>
                  <a:gd name="T42" fmla="*/ 197 w 213"/>
                  <a:gd name="T43" fmla="*/ 129 h 585"/>
                  <a:gd name="T44" fmla="*/ 206 w 213"/>
                  <a:gd name="T45" fmla="*/ 178 h 585"/>
                  <a:gd name="T46" fmla="*/ 211 w 213"/>
                  <a:gd name="T47" fmla="*/ 234 h 585"/>
                  <a:gd name="T48" fmla="*/ 213 w 213"/>
                  <a:gd name="T49" fmla="*/ 293 h 585"/>
                  <a:gd name="T50" fmla="*/ 211 w 213"/>
                  <a:gd name="T51" fmla="*/ 351 h 585"/>
                  <a:gd name="T52" fmla="*/ 206 w 213"/>
                  <a:gd name="T53" fmla="*/ 407 h 585"/>
                  <a:gd name="T54" fmla="*/ 197 w 213"/>
                  <a:gd name="T55" fmla="*/ 456 h 585"/>
                  <a:gd name="T56" fmla="*/ 185 w 213"/>
                  <a:gd name="T57" fmla="*/ 499 h 585"/>
                  <a:gd name="T58" fmla="*/ 170 w 213"/>
                  <a:gd name="T59" fmla="*/ 536 h 585"/>
                  <a:gd name="T60" fmla="*/ 152 w 213"/>
                  <a:gd name="T61" fmla="*/ 562 h 585"/>
                  <a:gd name="T62" fmla="*/ 130 w 213"/>
                  <a:gd name="T63" fmla="*/ 579 h 585"/>
                  <a:gd name="T64" fmla="*/ 106 w 213"/>
                  <a:gd name="T65" fmla="*/ 585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3" h="585">
                    <a:moveTo>
                      <a:pt x="106" y="585"/>
                    </a:moveTo>
                    <a:lnTo>
                      <a:pt x="82" y="579"/>
                    </a:lnTo>
                    <a:lnTo>
                      <a:pt x="60" y="562"/>
                    </a:lnTo>
                    <a:lnTo>
                      <a:pt x="42" y="536"/>
                    </a:lnTo>
                    <a:lnTo>
                      <a:pt x="27" y="499"/>
                    </a:lnTo>
                    <a:lnTo>
                      <a:pt x="15" y="456"/>
                    </a:lnTo>
                    <a:lnTo>
                      <a:pt x="7" y="407"/>
                    </a:lnTo>
                    <a:lnTo>
                      <a:pt x="1" y="351"/>
                    </a:lnTo>
                    <a:lnTo>
                      <a:pt x="0" y="293"/>
                    </a:lnTo>
                    <a:lnTo>
                      <a:pt x="1" y="234"/>
                    </a:lnTo>
                    <a:lnTo>
                      <a:pt x="7" y="178"/>
                    </a:lnTo>
                    <a:lnTo>
                      <a:pt x="15" y="129"/>
                    </a:lnTo>
                    <a:lnTo>
                      <a:pt x="27" y="85"/>
                    </a:lnTo>
                    <a:lnTo>
                      <a:pt x="42" y="49"/>
                    </a:lnTo>
                    <a:lnTo>
                      <a:pt x="60" y="23"/>
                    </a:lnTo>
                    <a:lnTo>
                      <a:pt x="82" y="6"/>
                    </a:lnTo>
                    <a:lnTo>
                      <a:pt x="106" y="0"/>
                    </a:lnTo>
                    <a:lnTo>
                      <a:pt x="130" y="6"/>
                    </a:lnTo>
                    <a:lnTo>
                      <a:pt x="152" y="23"/>
                    </a:lnTo>
                    <a:lnTo>
                      <a:pt x="170" y="49"/>
                    </a:lnTo>
                    <a:lnTo>
                      <a:pt x="185" y="85"/>
                    </a:lnTo>
                    <a:lnTo>
                      <a:pt x="197" y="129"/>
                    </a:lnTo>
                    <a:lnTo>
                      <a:pt x="206" y="178"/>
                    </a:lnTo>
                    <a:lnTo>
                      <a:pt x="211" y="234"/>
                    </a:lnTo>
                    <a:lnTo>
                      <a:pt x="213" y="293"/>
                    </a:lnTo>
                    <a:lnTo>
                      <a:pt x="211" y="351"/>
                    </a:lnTo>
                    <a:lnTo>
                      <a:pt x="206" y="407"/>
                    </a:lnTo>
                    <a:lnTo>
                      <a:pt x="197" y="456"/>
                    </a:lnTo>
                    <a:lnTo>
                      <a:pt x="185" y="499"/>
                    </a:lnTo>
                    <a:lnTo>
                      <a:pt x="170" y="536"/>
                    </a:lnTo>
                    <a:lnTo>
                      <a:pt x="152" y="562"/>
                    </a:lnTo>
                    <a:lnTo>
                      <a:pt x="130" y="579"/>
                    </a:lnTo>
                    <a:lnTo>
                      <a:pt x="106" y="58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02" name="Freeform 30">
                <a:extLst>
                  <a:ext uri="{FF2B5EF4-FFF2-40B4-BE49-F238E27FC236}">
                    <a16:creationId xmlns:a16="http://schemas.microsoft.com/office/drawing/2014/main" id="{35E4C7E6-1371-49B3-A485-3A99C1D3CC08}"/>
                  </a:ext>
                </a:extLst>
              </p:cNvPr>
              <p:cNvSpPr>
                <a:spLocks/>
              </p:cNvSpPr>
              <p:nvPr/>
            </p:nvSpPr>
            <p:spPr bwMode="auto">
              <a:xfrm>
                <a:off x="7280756" y="1468275"/>
                <a:ext cx="392933" cy="285176"/>
              </a:xfrm>
              <a:custGeom>
                <a:avLst/>
                <a:gdLst>
                  <a:gd name="T0" fmla="*/ 49 w 1445"/>
                  <a:gd name="T1" fmla="*/ 658 h 1046"/>
                  <a:gd name="T2" fmla="*/ 76 w 1445"/>
                  <a:gd name="T3" fmla="*/ 527 h 1046"/>
                  <a:gd name="T4" fmla="*/ 128 w 1445"/>
                  <a:gd name="T5" fmla="*/ 404 h 1046"/>
                  <a:gd name="T6" fmla="*/ 200 w 1445"/>
                  <a:gd name="T7" fmla="*/ 297 h 1046"/>
                  <a:gd name="T8" fmla="*/ 293 w 1445"/>
                  <a:gd name="T9" fmla="*/ 205 h 1046"/>
                  <a:gd name="T10" fmla="*/ 400 w 1445"/>
                  <a:gd name="T11" fmla="*/ 132 h 1046"/>
                  <a:gd name="T12" fmla="*/ 522 w 1445"/>
                  <a:gd name="T13" fmla="*/ 81 h 1046"/>
                  <a:gd name="T14" fmla="*/ 653 w 1445"/>
                  <a:gd name="T15" fmla="*/ 54 h 1046"/>
                  <a:gd name="T16" fmla="*/ 791 w 1445"/>
                  <a:gd name="T17" fmla="*/ 54 h 1046"/>
                  <a:gd name="T18" fmla="*/ 923 w 1445"/>
                  <a:gd name="T19" fmla="*/ 81 h 1046"/>
                  <a:gd name="T20" fmla="*/ 1045 w 1445"/>
                  <a:gd name="T21" fmla="*/ 132 h 1046"/>
                  <a:gd name="T22" fmla="*/ 1152 w 1445"/>
                  <a:gd name="T23" fmla="*/ 205 h 1046"/>
                  <a:gd name="T24" fmla="*/ 1244 w 1445"/>
                  <a:gd name="T25" fmla="*/ 297 h 1046"/>
                  <a:gd name="T26" fmla="*/ 1317 w 1445"/>
                  <a:gd name="T27" fmla="*/ 404 h 1046"/>
                  <a:gd name="T28" fmla="*/ 1369 w 1445"/>
                  <a:gd name="T29" fmla="*/ 527 h 1046"/>
                  <a:gd name="T30" fmla="*/ 1395 w 1445"/>
                  <a:gd name="T31" fmla="*/ 658 h 1046"/>
                  <a:gd name="T32" fmla="*/ 1397 w 1445"/>
                  <a:gd name="T33" fmla="*/ 770 h 1046"/>
                  <a:gd name="T34" fmla="*/ 1387 w 1445"/>
                  <a:gd name="T35" fmla="*/ 854 h 1046"/>
                  <a:gd name="T36" fmla="*/ 1366 w 1445"/>
                  <a:gd name="T37" fmla="*/ 933 h 1046"/>
                  <a:gd name="T38" fmla="*/ 1336 w 1445"/>
                  <a:gd name="T39" fmla="*/ 1009 h 1046"/>
                  <a:gd name="T40" fmla="*/ 1369 w 1445"/>
                  <a:gd name="T41" fmla="*/ 1046 h 1046"/>
                  <a:gd name="T42" fmla="*/ 1401 w 1445"/>
                  <a:gd name="T43" fmla="*/ 971 h 1046"/>
                  <a:gd name="T44" fmla="*/ 1425 w 1445"/>
                  <a:gd name="T45" fmla="*/ 892 h 1046"/>
                  <a:gd name="T46" fmla="*/ 1440 w 1445"/>
                  <a:gd name="T47" fmla="*/ 809 h 1046"/>
                  <a:gd name="T48" fmla="*/ 1445 w 1445"/>
                  <a:gd name="T49" fmla="*/ 724 h 1046"/>
                  <a:gd name="T50" fmla="*/ 1430 w 1445"/>
                  <a:gd name="T51" fmla="*/ 577 h 1046"/>
                  <a:gd name="T52" fmla="*/ 1388 w 1445"/>
                  <a:gd name="T53" fmla="*/ 441 h 1046"/>
                  <a:gd name="T54" fmla="*/ 1321 w 1445"/>
                  <a:gd name="T55" fmla="*/ 319 h 1046"/>
                  <a:gd name="T56" fmla="*/ 1234 w 1445"/>
                  <a:gd name="T57" fmla="*/ 212 h 1046"/>
                  <a:gd name="T58" fmla="*/ 1127 w 1445"/>
                  <a:gd name="T59" fmla="*/ 123 h 1046"/>
                  <a:gd name="T60" fmla="*/ 1003 w 1445"/>
                  <a:gd name="T61" fmla="*/ 56 h 1046"/>
                  <a:gd name="T62" fmla="*/ 869 w 1445"/>
                  <a:gd name="T63" fmla="*/ 15 h 1046"/>
                  <a:gd name="T64" fmla="*/ 722 w 1445"/>
                  <a:gd name="T65" fmla="*/ 0 h 1046"/>
                  <a:gd name="T66" fmla="*/ 577 w 1445"/>
                  <a:gd name="T67" fmla="*/ 15 h 1046"/>
                  <a:gd name="T68" fmla="*/ 441 w 1445"/>
                  <a:gd name="T69" fmla="*/ 56 h 1046"/>
                  <a:gd name="T70" fmla="*/ 319 w 1445"/>
                  <a:gd name="T71" fmla="*/ 123 h 1046"/>
                  <a:gd name="T72" fmla="*/ 212 w 1445"/>
                  <a:gd name="T73" fmla="*/ 212 h 1046"/>
                  <a:gd name="T74" fmla="*/ 123 w 1445"/>
                  <a:gd name="T75" fmla="*/ 319 h 1046"/>
                  <a:gd name="T76" fmla="*/ 56 w 1445"/>
                  <a:gd name="T77" fmla="*/ 441 h 1046"/>
                  <a:gd name="T78" fmla="*/ 15 w 1445"/>
                  <a:gd name="T79" fmla="*/ 577 h 1046"/>
                  <a:gd name="T80" fmla="*/ 0 w 1445"/>
                  <a:gd name="T81" fmla="*/ 724 h 1046"/>
                  <a:gd name="T82" fmla="*/ 5 w 1445"/>
                  <a:gd name="T83" fmla="*/ 809 h 1046"/>
                  <a:gd name="T84" fmla="*/ 20 w 1445"/>
                  <a:gd name="T85" fmla="*/ 892 h 1046"/>
                  <a:gd name="T86" fmla="*/ 44 w 1445"/>
                  <a:gd name="T87" fmla="*/ 971 h 1046"/>
                  <a:gd name="T88" fmla="*/ 76 w 1445"/>
                  <a:gd name="T89" fmla="*/ 1046 h 1046"/>
                  <a:gd name="T90" fmla="*/ 108 w 1445"/>
                  <a:gd name="T91" fmla="*/ 1009 h 1046"/>
                  <a:gd name="T92" fmla="*/ 79 w 1445"/>
                  <a:gd name="T93" fmla="*/ 933 h 1046"/>
                  <a:gd name="T94" fmla="*/ 59 w 1445"/>
                  <a:gd name="T95" fmla="*/ 854 h 1046"/>
                  <a:gd name="T96" fmla="*/ 47 w 1445"/>
                  <a:gd name="T97" fmla="*/ 770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45" h="1046">
                    <a:moveTo>
                      <a:pt x="46" y="727"/>
                    </a:moveTo>
                    <a:lnTo>
                      <a:pt x="49" y="658"/>
                    </a:lnTo>
                    <a:lnTo>
                      <a:pt x="60" y="591"/>
                    </a:lnTo>
                    <a:lnTo>
                      <a:pt x="76" y="527"/>
                    </a:lnTo>
                    <a:lnTo>
                      <a:pt x="99" y="464"/>
                    </a:lnTo>
                    <a:lnTo>
                      <a:pt x="128" y="404"/>
                    </a:lnTo>
                    <a:lnTo>
                      <a:pt x="161" y="349"/>
                    </a:lnTo>
                    <a:lnTo>
                      <a:pt x="200" y="297"/>
                    </a:lnTo>
                    <a:lnTo>
                      <a:pt x="244" y="249"/>
                    </a:lnTo>
                    <a:lnTo>
                      <a:pt x="293" y="205"/>
                    </a:lnTo>
                    <a:lnTo>
                      <a:pt x="344" y="166"/>
                    </a:lnTo>
                    <a:lnTo>
                      <a:pt x="400" y="132"/>
                    </a:lnTo>
                    <a:lnTo>
                      <a:pt x="460" y="104"/>
                    </a:lnTo>
                    <a:lnTo>
                      <a:pt x="522" y="81"/>
                    </a:lnTo>
                    <a:lnTo>
                      <a:pt x="586" y="64"/>
                    </a:lnTo>
                    <a:lnTo>
                      <a:pt x="653" y="54"/>
                    </a:lnTo>
                    <a:lnTo>
                      <a:pt x="722" y="51"/>
                    </a:lnTo>
                    <a:lnTo>
                      <a:pt x="791" y="54"/>
                    </a:lnTo>
                    <a:lnTo>
                      <a:pt x="858" y="64"/>
                    </a:lnTo>
                    <a:lnTo>
                      <a:pt x="923" y="81"/>
                    </a:lnTo>
                    <a:lnTo>
                      <a:pt x="985" y="104"/>
                    </a:lnTo>
                    <a:lnTo>
                      <a:pt x="1045" y="132"/>
                    </a:lnTo>
                    <a:lnTo>
                      <a:pt x="1100" y="166"/>
                    </a:lnTo>
                    <a:lnTo>
                      <a:pt x="1152" y="205"/>
                    </a:lnTo>
                    <a:lnTo>
                      <a:pt x="1200" y="249"/>
                    </a:lnTo>
                    <a:lnTo>
                      <a:pt x="1244" y="297"/>
                    </a:lnTo>
                    <a:lnTo>
                      <a:pt x="1283" y="349"/>
                    </a:lnTo>
                    <a:lnTo>
                      <a:pt x="1317" y="404"/>
                    </a:lnTo>
                    <a:lnTo>
                      <a:pt x="1346" y="464"/>
                    </a:lnTo>
                    <a:lnTo>
                      <a:pt x="1369" y="527"/>
                    </a:lnTo>
                    <a:lnTo>
                      <a:pt x="1385" y="591"/>
                    </a:lnTo>
                    <a:lnTo>
                      <a:pt x="1395" y="658"/>
                    </a:lnTo>
                    <a:lnTo>
                      <a:pt x="1399" y="727"/>
                    </a:lnTo>
                    <a:lnTo>
                      <a:pt x="1397" y="770"/>
                    </a:lnTo>
                    <a:lnTo>
                      <a:pt x="1393" y="812"/>
                    </a:lnTo>
                    <a:lnTo>
                      <a:pt x="1387" y="854"/>
                    </a:lnTo>
                    <a:lnTo>
                      <a:pt x="1378" y="894"/>
                    </a:lnTo>
                    <a:lnTo>
                      <a:pt x="1366" y="933"/>
                    </a:lnTo>
                    <a:lnTo>
                      <a:pt x="1352" y="973"/>
                    </a:lnTo>
                    <a:lnTo>
                      <a:pt x="1336" y="1009"/>
                    </a:lnTo>
                    <a:lnTo>
                      <a:pt x="1318" y="1046"/>
                    </a:lnTo>
                    <a:lnTo>
                      <a:pt x="1369" y="1046"/>
                    </a:lnTo>
                    <a:lnTo>
                      <a:pt x="1386" y="1009"/>
                    </a:lnTo>
                    <a:lnTo>
                      <a:pt x="1401" y="971"/>
                    </a:lnTo>
                    <a:lnTo>
                      <a:pt x="1415" y="932"/>
                    </a:lnTo>
                    <a:lnTo>
                      <a:pt x="1425" y="892"/>
                    </a:lnTo>
                    <a:lnTo>
                      <a:pt x="1433" y="850"/>
                    </a:lnTo>
                    <a:lnTo>
                      <a:pt x="1440" y="809"/>
                    </a:lnTo>
                    <a:lnTo>
                      <a:pt x="1443" y="766"/>
                    </a:lnTo>
                    <a:lnTo>
                      <a:pt x="1445" y="724"/>
                    </a:lnTo>
                    <a:lnTo>
                      <a:pt x="1441" y="650"/>
                    </a:lnTo>
                    <a:lnTo>
                      <a:pt x="1430" y="577"/>
                    </a:lnTo>
                    <a:lnTo>
                      <a:pt x="1412" y="508"/>
                    </a:lnTo>
                    <a:lnTo>
                      <a:pt x="1388" y="441"/>
                    </a:lnTo>
                    <a:lnTo>
                      <a:pt x="1357" y="379"/>
                    </a:lnTo>
                    <a:lnTo>
                      <a:pt x="1321" y="319"/>
                    </a:lnTo>
                    <a:lnTo>
                      <a:pt x="1280" y="263"/>
                    </a:lnTo>
                    <a:lnTo>
                      <a:pt x="1234" y="212"/>
                    </a:lnTo>
                    <a:lnTo>
                      <a:pt x="1182" y="165"/>
                    </a:lnTo>
                    <a:lnTo>
                      <a:pt x="1127" y="123"/>
                    </a:lnTo>
                    <a:lnTo>
                      <a:pt x="1067" y="87"/>
                    </a:lnTo>
                    <a:lnTo>
                      <a:pt x="1003" y="56"/>
                    </a:lnTo>
                    <a:lnTo>
                      <a:pt x="938" y="32"/>
                    </a:lnTo>
                    <a:lnTo>
                      <a:pt x="869" y="15"/>
                    </a:lnTo>
                    <a:lnTo>
                      <a:pt x="796" y="3"/>
                    </a:lnTo>
                    <a:lnTo>
                      <a:pt x="722" y="0"/>
                    </a:lnTo>
                    <a:lnTo>
                      <a:pt x="649" y="3"/>
                    </a:lnTo>
                    <a:lnTo>
                      <a:pt x="577" y="15"/>
                    </a:lnTo>
                    <a:lnTo>
                      <a:pt x="508" y="32"/>
                    </a:lnTo>
                    <a:lnTo>
                      <a:pt x="441" y="56"/>
                    </a:lnTo>
                    <a:lnTo>
                      <a:pt x="378" y="87"/>
                    </a:lnTo>
                    <a:lnTo>
                      <a:pt x="319" y="123"/>
                    </a:lnTo>
                    <a:lnTo>
                      <a:pt x="263" y="165"/>
                    </a:lnTo>
                    <a:lnTo>
                      <a:pt x="212" y="212"/>
                    </a:lnTo>
                    <a:lnTo>
                      <a:pt x="165" y="263"/>
                    </a:lnTo>
                    <a:lnTo>
                      <a:pt x="123" y="319"/>
                    </a:lnTo>
                    <a:lnTo>
                      <a:pt x="88" y="379"/>
                    </a:lnTo>
                    <a:lnTo>
                      <a:pt x="56" y="441"/>
                    </a:lnTo>
                    <a:lnTo>
                      <a:pt x="32" y="508"/>
                    </a:lnTo>
                    <a:lnTo>
                      <a:pt x="15" y="577"/>
                    </a:lnTo>
                    <a:lnTo>
                      <a:pt x="3" y="650"/>
                    </a:lnTo>
                    <a:lnTo>
                      <a:pt x="0" y="724"/>
                    </a:lnTo>
                    <a:lnTo>
                      <a:pt x="1" y="766"/>
                    </a:lnTo>
                    <a:lnTo>
                      <a:pt x="5" y="809"/>
                    </a:lnTo>
                    <a:lnTo>
                      <a:pt x="11" y="850"/>
                    </a:lnTo>
                    <a:lnTo>
                      <a:pt x="20" y="892"/>
                    </a:lnTo>
                    <a:lnTo>
                      <a:pt x="31" y="932"/>
                    </a:lnTo>
                    <a:lnTo>
                      <a:pt x="44" y="971"/>
                    </a:lnTo>
                    <a:lnTo>
                      <a:pt x="59" y="1009"/>
                    </a:lnTo>
                    <a:lnTo>
                      <a:pt x="76" y="1046"/>
                    </a:lnTo>
                    <a:lnTo>
                      <a:pt x="127" y="1046"/>
                    </a:lnTo>
                    <a:lnTo>
                      <a:pt x="108" y="1009"/>
                    </a:lnTo>
                    <a:lnTo>
                      <a:pt x="93" y="973"/>
                    </a:lnTo>
                    <a:lnTo>
                      <a:pt x="79" y="933"/>
                    </a:lnTo>
                    <a:lnTo>
                      <a:pt x="68" y="894"/>
                    </a:lnTo>
                    <a:lnTo>
                      <a:pt x="59" y="854"/>
                    </a:lnTo>
                    <a:lnTo>
                      <a:pt x="52" y="812"/>
                    </a:lnTo>
                    <a:lnTo>
                      <a:pt x="47" y="770"/>
                    </a:lnTo>
                    <a:lnTo>
                      <a:pt x="46" y="72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03" name="Freeform 31">
                <a:extLst>
                  <a:ext uri="{FF2B5EF4-FFF2-40B4-BE49-F238E27FC236}">
                    <a16:creationId xmlns:a16="http://schemas.microsoft.com/office/drawing/2014/main" id="{3AFE7AA8-6ADC-4805-B801-368B96C5BFF9}"/>
                  </a:ext>
                </a:extLst>
              </p:cNvPr>
              <p:cNvSpPr>
                <a:spLocks/>
              </p:cNvSpPr>
              <p:nvPr/>
            </p:nvSpPr>
            <p:spPr bwMode="auto">
              <a:xfrm>
                <a:off x="7484297" y="1712089"/>
                <a:ext cx="134969" cy="232386"/>
              </a:xfrm>
              <a:custGeom>
                <a:avLst/>
                <a:gdLst>
                  <a:gd name="T0" fmla="*/ 474 w 494"/>
                  <a:gd name="T1" fmla="*/ 0 h 853"/>
                  <a:gd name="T2" fmla="*/ 427 w 494"/>
                  <a:gd name="T3" fmla="*/ 20 h 853"/>
                  <a:gd name="T4" fmla="*/ 438 w 494"/>
                  <a:gd name="T5" fmla="*/ 80 h 853"/>
                  <a:gd name="T6" fmla="*/ 443 w 494"/>
                  <a:gd name="T7" fmla="*/ 139 h 853"/>
                  <a:gd name="T8" fmla="*/ 443 w 494"/>
                  <a:gd name="T9" fmla="*/ 199 h 853"/>
                  <a:gd name="T10" fmla="*/ 439 w 494"/>
                  <a:gd name="T11" fmla="*/ 257 h 853"/>
                  <a:gd name="T12" fmla="*/ 428 w 494"/>
                  <a:gd name="T13" fmla="*/ 315 h 853"/>
                  <a:gd name="T14" fmla="*/ 413 w 494"/>
                  <a:gd name="T15" fmla="*/ 371 h 853"/>
                  <a:gd name="T16" fmla="*/ 394 w 494"/>
                  <a:gd name="T17" fmla="*/ 426 h 853"/>
                  <a:gd name="T18" fmla="*/ 368 w 494"/>
                  <a:gd name="T19" fmla="*/ 479 h 853"/>
                  <a:gd name="T20" fmla="*/ 340 w 494"/>
                  <a:gd name="T21" fmla="*/ 529 h 853"/>
                  <a:gd name="T22" fmla="*/ 306 w 494"/>
                  <a:gd name="T23" fmla="*/ 578 h 853"/>
                  <a:gd name="T24" fmla="*/ 269 w 494"/>
                  <a:gd name="T25" fmla="*/ 624 h 853"/>
                  <a:gd name="T26" fmla="*/ 228 w 494"/>
                  <a:gd name="T27" fmla="*/ 665 h 853"/>
                  <a:gd name="T28" fmla="*/ 182 w 494"/>
                  <a:gd name="T29" fmla="*/ 704 h 853"/>
                  <a:gd name="T30" fmla="*/ 132 w 494"/>
                  <a:gd name="T31" fmla="*/ 739 h 853"/>
                  <a:gd name="T32" fmla="*/ 79 w 494"/>
                  <a:gd name="T33" fmla="*/ 769 h 853"/>
                  <a:gd name="T34" fmla="*/ 23 w 494"/>
                  <a:gd name="T35" fmla="*/ 795 h 853"/>
                  <a:gd name="T36" fmla="*/ 17 w 494"/>
                  <a:gd name="T37" fmla="*/ 798 h 853"/>
                  <a:gd name="T38" fmla="*/ 11 w 494"/>
                  <a:gd name="T39" fmla="*/ 799 h 853"/>
                  <a:gd name="T40" fmla="*/ 6 w 494"/>
                  <a:gd name="T41" fmla="*/ 801 h 853"/>
                  <a:gd name="T42" fmla="*/ 0 w 494"/>
                  <a:gd name="T43" fmla="*/ 804 h 853"/>
                  <a:gd name="T44" fmla="*/ 0 w 494"/>
                  <a:gd name="T45" fmla="*/ 853 h 853"/>
                  <a:gd name="T46" fmla="*/ 6 w 494"/>
                  <a:gd name="T47" fmla="*/ 851 h 853"/>
                  <a:gd name="T48" fmla="*/ 11 w 494"/>
                  <a:gd name="T49" fmla="*/ 850 h 853"/>
                  <a:gd name="T50" fmla="*/ 16 w 494"/>
                  <a:gd name="T51" fmla="*/ 847 h 853"/>
                  <a:gd name="T52" fmla="*/ 22 w 494"/>
                  <a:gd name="T53" fmla="*/ 845 h 853"/>
                  <a:gd name="T54" fmla="*/ 27 w 494"/>
                  <a:gd name="T55" fmla="*/ 844 h 853"/>
                  <a:gd name="T56" fmla="*/ 32 w 494"/>
                  <a:gd name="T57" fmla="*/ 842 h 853"/>
                  <a:gd name="T58" fmla="*/ 38 w 494"/>
                  <a:gd name="T59" fmla="*/ 839 h 853"/>
                  <a:gd name="T60" fmla="*/ 44 w 494"/>
                  <a:gd name="T61" fmla="*/ 837 h 853"/>
                  <a:gd name="T62" fmla="*/ 105 w 494"/>
                  <a:gd name="T63" fmla="*/ 809 h 853"/>
                  <a:gd name="T64" fmla="*/ 162 w 494"/>
                  <a:gd name="T65" fmla="*/ 776 h 853"/>
                  <a:gd name="T66" fmla="*/ 215 w 494"/>
                  <a:gd name="T67" fmla="*/ 739 h 853"/>
                  <a:gd name="T68" fmla="*/ 264 w 494"/>
                  <a:gd name="T69" fmla="*/ 696 h 853"/>
                  <a:gd name="T70" fmla="*/ 309 w 494"/>
                  <a:gd name="T71" fmla="*/ 651 h 853"/>
                  <a:gd name="T72" fmla="*/ 349 w 494"/>
                  <a:gd name="T73" fmla="*/ 602 h 853"/>
                  <a:gd name="T74" fmla="*/ 385 w 494"/>
                  <a:gd name="T75" fmla="*/ 550 h 853"/>
                  <a:gd name="T76" fmla="*/ 416 w 494"/>
                  <a:gd name="T77" fmla="*/ 496 h 853"/>
                  <a:gd name="T78" fmla="*/ 441 w 494"/>
                  <a:gd name="T79" fmla="*/ 438 h 853"/>
                  <a:gd name="T80" fmla="*/ 463 w 494"/>
                  <a:gd name="T81" fmla="*/ 379 h 853"/>
                  <a:gd name="T82" fmla="*/ 478 w 494"/>
                  <a:gd name="T83" fmla="*/ 318 h 853"/>
                  <a:gd name="T84" fmla="*/ 488 w 494"/>
                  <a:gd name="T85" fmla="*/ 256 h 853"/>
                  <a:gd name="T86" fmla="*/ 494 w 494"/>
                  <a:gd name="T87" fmla="*/ 193 h 853"/>
                  <a:gd name="T88" fmla="*/ 493 w 494"/>
                  <a:gd name="T89" fmla="*/ 128 h 853"/>
                  <a:gd name="T90" fmla="*/ 487 w 494"/>
                  <a:gd name="T91" fmla="*/ 65 h 853"/>
                  <a:gd name="T92" fmla="*/ 474 w 494"/>
                  <a:gd name="T93" fmla="*/ 0 h 8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94" h="853">
                    <a:moveTo>
                      <a:pt x="474" y="0"/>
                    </a:moveTo>
                    <a:lnTo>
                      <a:pt x="427" y="20"/>
                    </a:lnTo>
                    <a:lnTo>
                      <a:pt x="438" y="80"/>
                    </a:lnTo>
                    <a:lnTo>
                      <a:pt x="443" y="139"/>
                    </a:lnTo>
                    <a:lnTo>
                      <a:pt x="443" y="199"/>
                    </a:lnTo>
                    <a:lnTo>
                      <a:pt x="439" y="257"/>
                    </a:lnTo>
                    <a:lnTo>
                      <a:pt x="428" y="315"/>
                    </a:lnTo>
                    <a:lnTo>
                      <a:pt x="413" y="371"/>
                    </a:lnTo>
                    <a:lnTo>
                      <a:pt x="394" y="426"/>
                    </a:lnTo>
                    <a:lnTo>
                      <a:pt x="368" y="479"/>
                    </a:lnTo>
                    <a:lnTo>
                      <a:pt x="340" y="529"/>
                    </a:lnTo>
                    <a:lnTo>
                      <a:pt x="306" y="578"/>
                    </a:lnTo>
                    <a:lnTo>
                      <a:pt x="269" y="624"/>
                    </a:lnTo>
                    <a:lnTo>
                      <a:pt x="228" y="665"/>
                    </a:lnTo>
                    <a:lnTo>
                      <a:pt x="182" y="704"/>
                    </a:lnTo>
                    <a:lnTo>
                      <a:pt x="132" y="739"/>
                    </a:lnTo>
                    <a:lnTo>
                      <a:pt x="79" y="769"/>
                    </a:lnTo>
                    <a:lnTo>
                      <a:pt x="23" y="795"/>
                    </a:lnTo>
                    <a:lnTo>
                      <a:pt x="17" y="798"/>
                    </a:lnTo>
                    <a:lnTo>
                      <a:pt x="11" y="799"/>
                    </a:lnTo>
                    <a:lnTo>
                      <a:pt x="6" y="801"/>
                    </a:lnTo>
                    <a:lnTo>
                      <a:pt x="0" y="804"/>
                    </a:lnTo>
                    <a:lnTo>
                      <a:pt x="0" y="853"/>
                    </a:lnTo>
                    <a:lnTo>
                      <a:pt x="6" y="851"/>
                    </a:lnTo>
                    <a:lnTo>
                      <a:pt x="11" y="850"/>
                    </a:lnTo>
                    <a:lnTo>
                      <a:pt x="16" y="847"/>
                    </a:lnTo>
                    <a:lnTo>
                      <a:pt x="22" y="845"/>
                    </a:lnTo>
                    <a:lnTo>
                      <a:pt x="27" y="844"/>
                    </a:lnTo>
                    <a:lnTo>
                      <a:pt x="32" y="842"/>
                    </a:lnTo>
                    <a:lnTo>
                      <a:pt x="38" y="839"/>
                    </a:lnTo>
                    <a:lnTo>
                      <a:pt x="44" y="837"/>
                    </a:lnTo>
                    <a:lnTo>
                      <a:pt x="105" y="809"/>
                    </a:lnTo>
                    <a:lnTo>
                      <a:pt x="162" y="776"/>
                    </a:lnTo>
                    <a:lnTo>
                      <a:pt x="215" y="739"/>
                    </a:lnTo>
                    <a:lnTo>
                      <a:pt x="264" y="696"/>
                    </a:lnTo>
                    <a:lnTo>
                      <a:pt x="309" y="651"/>
                    </a:lnTo>
                    <a:lnTo>
                      <a:pt x="349" y="602"/>
                    </a:lnTo>
                    <a:lnTo>
                      <a:pt x="385" y="550"/>
                    </a:lnTo>
                    <a:lnTo>
                      <a:pt x="416" y="496"/>
                    </a:lnTo>
                    <a:lnTo>
                      <a:pt x="441" y="438"/>
                    </a:lnTo>
                    <a:lnTo>
                      <a:pt x="463" y="379"/>
                    </a:lnTo>
                    <a:lnTo>
                      <a:pt x="478" y="318"/>
                    </a:lnTo>
                    <a:lnTo>
                      <a:pt x="488" y="256"/>
                    </a:lnTo>
                    <a:lnTo>
                      <a:pt x="494" y="193"/>
                    </a:lnTo>
                    <a:lnTo>
                      <a:pt x="493" y="128"/>
                    </a:lnTo>
                    <a:lnTo>
                      <a:pt x="487" y="65"/>
                    </a:lnTo>
                    <a:lnTo>
                      <a:pt x="474"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04" name="Freeform 32">
                <a:extLst>
                  <a:ext uri="{FF2B5EF4-FFF2-40B4-BE49-F238E27FC236}">
                    <a16:creationId xmlns:a16="http://schemas.microsoft.com/office/drawing/2014/main" id="{6CB2603C-8066-4E5E-87D4-6B63ED444C9C}"/>
                  </a:ext>
                </a:extLst>
              </p:cNvPr>
              <p:cNvSpPr>
                <a:spLocks/>
              </p:cNvSpPr>
              <p:nvPr/>
            </p:nvSpPr>
            <p:spPr bwMode="auto">
              <a:xfrm>
                <a:off x="7440215" y="1903658"/>
                <a:ext cx="76736" cy="51157"/>
              </a:xfrm>
              <a:custGeom>
                <a:avLst/>
                <a:gdLst>
                  <a:gd name="T0" fmla="*/ 141 w 281"/>
                  <a:gd name="T1" fmla="*/ 188 h 188"/>
                  <a:gd name="T2" fmla="*/ 169 w 281"/>
                  <a:gd name="T3" fmla="*/ 186 h 188"/>
                  <a:gd name="T4" fmla="*/ 195 w 281"/>
                  <a:gd name="T5" fmla="*/ 181 h 188"/>
                  <a:gd name="T6" fmla="*/ 219 w 281"/>
                  <a:gd name="T7" fmla="*/ 172 h 188"/>
                  <a:gd name="T8" fmla="*/ 240 w 281"/>
                  <a:gd name="T9" fmla="*/ 160 h 188"/>
                  <a:gd name="T10" fmla="*/ 257 w 281"/>
                  <a:gd name="T11" fmla="*/ 147 h 188"/>
                  <a:gd name="T12" fmla="*/ 270 w 281"/>
                  <a:gd name="T13" fmla="*/ 130 h 188"/>
                  <a:gd name="T14" fmla="*/ 279 w 281"/>
                  <a:gd name="T15" fmla="*/ 112 h 188"/>
                  <a:gd name="T16" fmla="*/ 281 w 281"/>
                  <a:gd name="T17" fmla="*/ 94 h 188"/>
                  <a:gd name="T18" fmla="*/ 279 w 281"/>
                  <a:gd name="T19" fmla="*/ 75 h 188"/>
                  <a:gd name="T20" fmla="*/ 270 w 281"/>
                  <a:gd name="T21" fmla="*/ 58 h 188"/>
                  <a:gd name="T22" fmla="*/ 257 w 281"/>
                  <a:gd name="T23" fmla="*/ 42 h 188"/>
                  <a:gd name="T24" fmla="*/ 240 w 281"/>
                  <a:gd name="T25" fmla="*/ 28 h 188"/>
                  <a:gd name="T26" fmla="*/ 219 w 281"/>
                  <a:gd name="T27" fmla="*/ 16 h 188"/>
                  <a:gd name="T28" fmla="*/ 195 w 281"/>
                  <a:gd name="T29" fmla="*/ 7 h 188"/>
                  <a:gd name="T30" fmla="*/ 169 w 281"/>
                  <a:gd name="T31" fmla="*/ 3 h 188"/>
                  <a:gd name="T32" fmla="*/ 141 w 281"/>
                  <a:gd name="T33" fmla="*/ 0 h 188"/>
                  <a:gd name="T34" fmla="*/ 112 w 281"/>
                  <a:gd name="T35" fmla="*/ 3 h 188"/>
                  <a:gd name="T36" fmla="*/ 86 w 281"/>
                  <a:gd name="T37" fmla="*/ 7 h 188"/>
                  <a:gd name="T38" fmla="*/ 63 w 281"/>
                  <a:gd name="T39" fmla="*/ 16 h 188"/>
                  <a:gd name="T40" fmla="*/ 42 w 281"/>
                  <a:gd name="T41" fmla="*/ 28 h 188"/>
                  <a:gd name="T42" fmla="*/ 25 w 281"/>
                  <a:gd name="T43" fmla="*/ 42 h 188"/>
                  <a:gd name="T44" fmla="*/ 12 w 281"/>
                  <a:gd name="T45" fmla="*/ 58 h 188"/>
                  <a:gd name="T46" fmla="*/ 3 w 281"/>
                  <a:gd name="T47" fmla="*/ 75 h 188"/>
                  <a:gd name="T48" fmla="*/ 0 w 281"/>
                  <a:gd name="T49" fmla="*/ 94 h 188"/>
                  <a:gd name="T50" fmla="*/ 3 w 281"/>
                  <a:gd name="T51" fmla="*/ 112 h 188"/>
                  <a:gd name="T52" fmla="*/ 12 w 281"/>
                  <a:gd name="T53" fmla="*/ 130 h 188"/>
                  <a:gd name="T54" fmla="*/ 25 w 281"/>
                  <a:gd name="T55" fmla="*/ 147 h 188"/>
                  <a:gd name="T56" fmla="*/ 42 w 281"/>
                  <a:gd name="T57" fmla="*/ 160 h 188"/>
                  <a:gd name="T58" fmla="*/ 63 w 281"/>
                  <a:gd name="T59" fmla="*/ 172 h 188"/>
                  <a:gd name="T60" fmla="*/ 86 w 281"/>
                  <a:gd name="T61" fmla="*/ 181 h 188"/>
                  <a:gd name="T62" fmla="*/ 112 w 281"/>
                  <a:gd name="T63" fmla="*/ 186 h 188"/>
                  <a:gd name="T64" fmla="*/ 141 w 281"/>
                  <a:gd name="T65" fmla="*/ 18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1" h="188">
                    <a:moveTo>
                      <a:pt x="141" y="188"/>
                    </a:moveTo>
                    <a:lnTo>
                      <a:pt x="169" y="186"/>
                    </a:lnTo>
                    <a:lnTo>
                      <a:pt x="195" y="181"/>
                    </a:lnTo>
                    <a:lnTo>
                      <a:pt x="219" y="172"/>
                    </a:lnTo>
                    <a:lnTo>
                      <a:pt x="240" y="160"/>
                    </a:lnTo>
                    <a:lnTo>
                      <a:pt x="257" y="147"/>
                    </a:lnTo>
                    <a:lnTo>
                      <a:pt x="270" y="130"/>
                    </a:lnTo>
                    <a:lnTo>
                      <a:pt x="279" y="112"/>
                    </a:lnTo>
                    <a:lnTo>
                      <a:pt x="281" y="94"/>
                    </a:lnTo>
                    <a:lnTo>
                      <a:pt x="279" y="75"/>
                    </a:lnTo>
                    <a:lnTo>
                      <a:pt x="270" y="58"/>
                    </a:lnTo>
                    <a:lnTo>
                      <a:pt x="257" y="42"/>
                    </a:lnTo>
                    <a:lnTo>
                      <a:pt x="240" y="28"/>
                    </a:lnTo>
                    <a:lnTo>
                      <a:pt x="219" y="16"/>
                    </a:lnTo>
                    <a:lnTo>
                      <a:pt x="195" y="7"/>
                    </a:lnTo>
                    <a:lnTo>
                      <a:pt x="169" y="3"/>
                    </a:lnTo>
                    <a:lnTo>
                      <a:pt x="141" y="0"/>
                    </a:lnTo>
                    <a:lnTo>
                      <a:pt x="112" y="3"/>
                    </a:lnTo>
                    <a:lnTo>
                      <a:pt x="86" y="7"/>
                    </a:lnTo>
                    <a:lnTo>
                      <a:pt x="63" y="16"/>
                    </a:lnTo>
                    <a:lnTo>
                      <a:pt x="42" y="28"/>
                    </a:lnTo>
                    <a:lnTo>
                      <a:pt x="25" y="42"/>
                    </a:lnTo>
                    <a:lnTo>
                      <a:pt x="12" y="58"/>
                    </a:lnTo>
                    <a:lnTo>
                      <a:pt x="3" y="75"/>
                    </a:lnTo>
                    <a:lnTo>
                      <a:pt x="0" y="94"/>
                    </a:lnTo>
                    <a:lnTo>
                      <a:pt x="3" y="112"/>
                    </a:lnTo>
                    <a:lnTo>
                      <a:pt x="12" y="130"/>
                    </a:lnTo>
                    <a:lnTo>
                      <a:pt x="25" y="147"/>
                    </a:lnTo>
                    <a:lnTo>
                      <a:pt x="42" y="160"/>
                    </a:lnTo>
                    <a:lnTo>
                      <a:pt x="63" y="172"/>
                    </a:lnTo>
                    <a:lnTo>
                      <a:pt x="86" y="181"/>
                    </a:lnTo>
                    <a:lnTo>
                      <a:pt x="112" y="186"/>
                    </a:lnTo>
                    <a:lnTo>
                      <a:pt x="141" y="18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305" name="Group 1304">
            <a:extLst>
              <a:ext uri="{FF2B5EF4-FFF2-40B4-BE49-F238E27FC236}">
                <a16:creationId xmlns:a16="http://schemas.microsoft.com/office/drawing/2014/main" id="{57CB93F5-EB65-4018-AFEA-16A7E9F0F752}"/>
              </a:ext>
            </a:extLst>
          </p:cNvPr>
          <p:cNvGrpSpPr/>
          <p:nvPr/>
        </p:nvGrpSpPr>
        <p:grpSpPr>
          <a:xfrm>
            <a:off x="3931853" y="5492984"/>
            <a:ext cx="612000" cy="612000"/>
            <a:chOff x="2777224" y="6131327"/>
            <a:chExt cx="612000" cy="612000"/>
          </a:xfrm>
        </p:grpSpPr>
        <p:sp>
          <p:nvSpPr>
            <p:cNvPr id="1306" name="Oval 1305">
              <a:extLst>
                <a:ext uri="{FF2B5EF4-FFF2-40B4-BE49-F238E27FC236}">
                  <a16:creationId xmlns:a16="http://schemas.microsoft.com/office/drawing/2014/main" id="{534EA835-4E41-4D16-BD39-5CDE2788A28E}"/>
                </a:ext>
              </a:extLst>
            </p:cNvPr>
            <p:cNvSpPr/>
            <p:nvPr/>
          </p:nvSpPr>
          <p:spPr bwMode="ltGray">
            <a:xfrm>
              <a:off x="2777224" y="6131327"/>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307" name="Group 1306">
              <a:extLst>
                <a:ext uri="{FF2B5EF4-FFF2-40B4-BE49-F238E27FC236}">
                  <a16:creationId xmlns:a16="http://schemas.microsoft.com/office/drawing/2014/main" id="{F3B4A325-055C-40F3-9E5B-ABFA18EF5ADB}"/>
                </a:ext>
              </a:extLst>
            </p:cNvPr>
            <p:cNvGrpSpPr/>
            <p:nvPr/>
          </p:nvGrpSpPr>
          <p:grpSpPr>
            <a:xfrm>
              <a:off x="2987878" y="6211145"/>
              <a:ext cx="196732" cy="445140"/>
              <a:chOff x="5413385" y="3546446"/>
              <a:chExt cx="688976" cy="1558912"/>
            </a:xfrm>
          </p:grpSpPr>
          <p:sp>
            <p:nvSpPr>
              <p:cNvPr id="1308" name="Rectangle 230">
                <a:extLst>
                  <a:ext uri="{FF2B5EF4-FFF2-40B4-BE49-F238E27FC236}">
                    <a16:creationId xmlns:a16="http://schemas.microsoft.com/office/drawing/2014/main" id="{826010FB-0A72-44B9-8764-78F74E19A115}"/>
                  </a:ext>
                </a:extLst>
              </p:cNvPr>
              <p:cNvSpPr>
                <a:spLocks noChangeArrowheads="1"/>
              </p:cNvSpPr>
              <p:nvPr/>
            </p:nvSpPr>
            <p:spPr bwMode="auto">
              <a:xfrm>
                <a:off x="5413385" y="3546446"/>
                <a:ext cx="688976" cy="1558912"/>
              </a:xfrm>
              <a:prstGeom prst="rect">
                <a:avLst/>
              </a:pr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09" name="Rectangle 231">
                <a:extLst>
                  <a:ext uri="{FF2B5EF4-FFF2-40B4-BE49-F238E27FC236}">
                    <a16:creationId xmlns:a16="http://schemas.microsoft.com/office/drawing/2014/main" id="{56680CFB-47B8-4C65-9320-33BF011D997C}"/>
                  </a:ext>
                </a:extLst>
              </p:cNvPr>
              <p:cNvSpPr>
                <a:spLocks noChangeArrowheads="1"/>
              </p:cNvSpPr>
              <p:nvPr/>
            </p:nvSpPr>
            <p:spPr bwMode="auto">
              <a:xfrm>
                <a:off x="5502286" y="3633760"/>
                <a:ext cx="519114" cy="395286"/>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10" name="Rectangle 232">
                <a:extLst>
                  <a:ext uri="{FF2B5EF4-FFF2-40B4-BE49-F238E27FC236}">
                    <a16:creationId xmlns:a16="http://schemas.microsoft.com/office/drawing/2014/main" id="{5CBE098F-CF3D-4070-90C4-3AB15A5CFA60}"/>
                  </a:ext>
                </a:extLst>
              </p:cNvPr>
              <p:cNvSpPr>
                <a:spLocks noChangeArrowheads="1"/>
              </p:cNvSpPr>
              <p:nvPr/>
            </p:nvSpPr>
            <p:spPr bwMode="auto">
              <a:xfrm>
                <a:off x="5497527" y="4575141"/>
                <a:ext cx="520700" cy="393696"/>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11" name="Rectangle 233">
                <a:extLst>
                  <a:ext uri="{FF2B5EF4-FFF2-40B4-BE49-F238E27FC236}">
                    <a16:creationId xmlns:a16="http://schemas.microsoft.com/office/drawing/2014/main" id="{752AC960-E8D9-4E4F-841B-B2ACC99C7CED}"/>
                  </a:ext>
                </a:extLst>
              </p:cNvPr>
              <p:cNvSpPr>
                <a:spLocks noChangeArrowheads="1"/>
              </p:cNvSpPr>
              <p:nvPr/>
            </p:nvSpPr>
            <p:spPr bwMode="auto">
              <a:xfrm>
                <a:off x="5502286" y="4102071"/>
                <a:ext cx="519114" cy="395286"/>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12" name="Rectangle 237">
                <a:extLst>
                  <a:ext uri="{FF2B5EF4-FFF2-40B4-BE49-F238E27FC236}">
                    <a16:creationId xmlns:a16="http://schemas.microsoft.com/office/drawing/2014/main" id="{3DA60FEE-0856-4C94-9D25-244F466315EB}"/>
                  </a:ext>
                </a:extLst>
              </p:cNvPr>
              <p:cNvSpPr>
                <a:spLocks noChangeArrowheads="1"/>
              </p:cNvSpPr>
              <p:nvPr/>
            </p:nvSpPr>
            <p:spPr bwMode="auto">
              <a:xfrm>
                <a:off x="5676908" y="3824262"/>
                <a:ext cx="169863" cy="88900"/>
              </a:xfrm>
              <a:prstGeom prst="rect">
                <a:avLst/>
              </a:prstGeom>
              <a:solidFill>
                <a:srgbClr val="505050"/>
              </a:solidFill>
              <a:ln>
                <a:solidFill>
                  <a:srgbClr val="505050"/>
                </a:solid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13" name="Rectangle 238">
                <a:extLst>
                  <a:ext uri="{FF2B5EF4-FFF2-40B4-BE49-F238E27FC236}">
                    <a16:creationId xmlns:a16="http://schemas.microsoft.com/office/drawing/2014/main" id="{1E80871F-AFFB-49CF-B539-8EB5079D3C93}"/>
                  </a:ext>
                </a:extLst>
              </p:cNvPr>
              <p:cNvSpPr>
                <a:spLocks noChangeArrowheads="1"/>
              </p:cNvSpPr>
              <p:nvPr/>
            </p:nvSpPr>
            <p:spPr bwMode="auto">
              <a:xfrm>
                <a:off x="5680095" y="4762464"/>
                <a:ext cx="169863" cy="88900"/>
              </a:xfrm>
              <a:prstGeom prst="rect">
                <a:avLst/>
              </a:prstGeom>
              <a:solidFill>
                <a:srgbClr val="505050"/>
              </a:solidFill>
              <a:ln>
                <a:solidFill>
                  <a:srgbClr val="505050"/>
                </a:solid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14" name="Rectangle 239">
                <a:extLst>
                  <a:ext uri="{FF2B5EF4-FFF2-40B4-BE49-F238E27FC236}">
                    <a16:creationId xmlns:a16="http://schemas.microsoft.com/office/drawing/2014/main" id="{9AFD9D27-72A8-434E-9B69-131784DA986B}"/>
                  </a:ext>
                </a:extLst>
              </p:cNvPr>
              <p:cNvSpPr>
                <a:spLocks noChangeArrowheads="1"/>
              </p:cNvSpPr>
              <p:nvPr/>
            </p:nvSpPr>
            <p:spPr bwMode="auto">
              <a:xfrm>
                <a:off x="5681681" y="4295743"/>
                <a:ext cx="169863" cy="88900"/>
              </a:xfrm>
              <a:prstGeom prst="rect">
                <a:avLst/>
              </a:prstGeom>
              <a:solidFill>
                <a:srgbClr val="505050"/>
              </a:solidFill>
              <a:ln>
                <a:solidFill>
                  <a:srgbClr val="505050"/>
                </a:solid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15" name="Rectangle 240">
                <a:extLst>
                  <a:ext uri="{FF2B5EF4-FFF2-40B4-BE49-F238E27FC236}">
                    <a16:creationId xmlns:a16="http://schemas.microsoft.com/office/drawing/2014/main" id="{2812AD3E-7690-4B85-A6F3-11C254599FE9}"/>
                  </a:ext>
                </a:extLst>
              </p:cNvPr>
              <p:cNvSpPr>
                <a:spLocks noChangeArrowheads="1"/>
              </p:cNvSpPr>
              <p:nvPr/>
            </p:nvSpPr>
            <p:spPr bwMode="auto">
              <a:xfrm>
                <a:off x="5708665" y="3838547"/>
                <a:ext cx="106363" cy="57150"/>
              </a:xfrm>
              <a:prstGeom prst="rect">
                <a:avLst/>
              </a:prstGeom>
              <a:solidFill>
                <a:srgbClr val="505050"/>
              </a:solidFill>
              <a:ln>
                <a:solidFill>
                  <a:srgbClr val="505050"/>
                </a:solid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16" name="Rectangle 241">
                <a:extLst>
                  <a:ext uri="{FF2B5EF4-FFF2-40B4-BE49-F238E27FC236}">
                    <a16:creationId xmlns:a16="http://schemas.microsoft.com/office/drawing/2014/main" id="{EB2773A1-240A-40C6-A30C-CED73677967B}"/>
                  </a:ext>
                </a:extLst>
              </p:cNvPr>
              <p:cNvSpPr>
                <a:spLocks noChangeArrowheads="1"/>
              </p:cNvSpPr>
              <p:nvPr/>
            </p:nvSpPr>
            <p:spPr bwMode="auto">
              <a:xfrm>
                <a:off x="5711838" y="4778339"/>
                <a:ext cx="106363" cy="55564"/>
              </a:xfrm>
              <a:prstGeom prst="rect">
                <a:avLst/>
              </a:pr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17" name="Rectangle 242">
                <a:extLst>
                  <a:ext uri="{FF2B5EF4-FFF2-40B4-BE49-F238E27FC236}">
                    <a16:creationId xmlns:a16="http://schemas.microsoft.com/office/drawing/2014/main" id="{D38AD8B0-E5CD-41B3-AA8A-1AD831FBEB3F}"/>
                  </a:ext>
                </a:extLst>
              </p:cNvPr>
              <p:cNvSpPr>
                <a:spLocks noChangeArrowheads="1"/>
              </p:cNvSpPr>
              <p:nvPr/>
            </p:nvSpPr>
            <p:spPr bwMode="auto">
              <a:xfrm>
                <a:off x="5711824" y="4313239"/>
                <a:ext cx="107949" cy="53974"/>
              </a:xfrm>
              <a:prstGeom prst="rect">
                <a:avLst/>
              </a:prstGeom>
              <a:solidFill>
                <a:srgbClr val="505050"/>
              </a:solidFill>
              <a:ln>
                <a:solidFill>
                  <a:srgbClr val="505050"/>
                </a:solid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318" name="Group 1317">
            <a:extLst>
              <a:ext uri="{FF2B5EF4-FFF2-40B4-BE49-F238E27FC236}">
                <a16:creationId xmlns:a16="http://schemas.microsoft.com/office/drawing/2014/main" id="{56318F76-E0D8-444A-AB51-3E35FA206261}"/>
              </a:ext>
            </a:extLst>
          </p:cNvPr>
          <p:cNvGrpSpPr/>
          <p:nvPr/>
        </p:nvGrpSpPr>
        <p:grpSpPr>
          <a:xfrm>
            <a:off x="4661026" y="3168578"/>
            <a:ext cx="612775" cy="612775"/>
            <a:chOff x="3506397" y="3806921"/>
            <a:chExt cx="612775" cy="612775"/>
          </a:xfrm>
        </p:grpSpPr>
        <p:sp>
          <p:nvSpPr>
            <p:cNvPr id="1319" name="Oval 1318">
              <a:extLst>
                <a:ext uri="{FF2B5EF4-FFF2-40B4-BE49-F238E27FC236}">
                  <a16:creationId xmlns:a16="http://schemas.microsoft.com/office/drawing/2014/main" id="{EE005CC4-CB42-41D6-9CF6-5B31219E457A}"/>
                </a:ext>
              </a:extLst>
            </p:cNvPr>
            <p:cNvSpPr/>
            <p:nvPr/>
          </p:nvSpPr>
          <p:spPr bwMode="ltGray">
            <a:xfrm>
              <a:off x="3506397"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320" name="Group 258">
              <a:extLst>
                <a:ext uri="{FF2B5EF4-FFF2-40B4-BE49-F238E27FC236}">
                  <a16:creationId xmlns:a16="http://schemas.microsoft.com/office/drawing/2014/main" id="{C7A191F9-4881-49D2-BB08-428420D336AB}"/>
                </a:ext>
              </a:extLst>
            </p:cNvPr>
            <p:cNvGrpSpPr>
              <a:grpSpLocks/>
            </p:cNvGrpSpPr>
            <p:nvPr/>
          </p:nvGrpSpPr>
          <p:grpSpPr bwMode="auto">
            <a:xfrm>
              <a:off x="3611593" y="3927551"/>
              <a:ext cx="405481" cy="365004"/>
              <a:chOff x="3100" y="3217"/>
              <a:chExt cx="348" cy="268"/>
            </a:xfrm>
          </p:grpSpPr>
          <p:sp>
            <p:nvSpPr>
              <p:cNvPr id="1322" name="AutoShape 259">
                <a:extLst>
                  <a:ext uri="{FF2B5EF4-FFF2-40B4-BE49-F238E27FC236}">
                    <a16:creationId xmlns:a16="http://schemas.microsoft.com/office/drawing/2014/main" id="{8FD9A46B-B56B-4885-8A1B-71EBAC0D26FC}"/>
                  </a:ext>
                </a:extLst>
              </p:cNvPr>
              <p:cNvSpPr>
                <a:spLocks noChangeArrowheads="1"/>
              </p:cNvSpPr>
              <p:nvPr/>
            </p:nvSpPr>
            <p:spPr bwMode="auto">
              <a:xfrm>
                <a:off x="3100" y="3370"/>
                <a:ext cx="288" cy="115"/>
              </a:xfrm>
              <a:prstGeom prst="can">
                <a:avLst>
                  <a:gd name="adj" fmla="val 50000"/>
                </a:avLst>
              </a:prstGeom>
              <a:solidFill>
                <a:sysClr val="window" lastClr="FFFFFF"/>
              </a:solidFill>
              <a:ln w="12700">
                <a:solidFill>
                  <a:srgbClr val="505050"/>
                </a:solid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323" name="AutoShape 260">
                <a:extLst>
                  <a:ext uri="{FF2B5EF4-FFF2-40B4-BE49-F238E27FC236}">
                    <a16:creationId xmlns:a16="http://schemas.microsoft.com/office/drawing/2014/main" id="{056F48FC-C94C-4B3E-8940-E6B8727609F3}"/>
                  </a:ext>
                </a:extLst>
              </p:cNvPr>
              <p:cNvSpPr>
                <a:spLocks noChangeArrowheads="1"/>
              </p:cNvSpPr>
              <p:nvPr/>
            </p:nvSpPr>
            <p:spPr bwMode="auto">
              <a:xfrm>
                <a:off x="3145" y="3303"/>
                <a:ext cx="288" cy="114"/>
              </a:xfrm>
              <a:prstGeom prst="can">
                <a:avLst>
                  <a:gd name="adj" fmla="val 50000"/>
                </a:avLst>
              </a:prstGeom>
              <a:solidFill>
                <a:sysClr val="window" lastClr="FFFFFF"/>
              </a:solidFill>
              <a:ln w="12700">
                <a:solidFill>
                  <a:srgbClr val="505050"/>
                </a:solid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324" name="AutoShape 261">
                <a:extLst>
                  <a:ext uri="{FF2B5EF4-FFF2-40B4-BE49-F238E27FC236}">
                    <a16:creationId xmlns:a16="http://schemas.microsoft.com/office/drawing/2014/main" id="{8967891E-87BD-45F1-92E8-098E228374D7}"/>
                  </a:ext>
                </a:extLst>
              </p:cNvPr>
              <p:cNvSpPr>
                <a:spLocks noChangeArrowheads="1"/>
              </p:cNvSpPr>
              <p:nvPr/>
            </p:nvSpPr>
            <p:spPr bwMode="auto">
              <a:xfrm>
                <a:off x="3160" y="3217"/>
                <a:ext cx="288" cy="114"/>
              </a:xfrm>
              <a:prstGeom prst="can">
                <a:avLst>
                  <a:gd name="adj" fmla="val 50000"/>
                </a:avLst>
              </a:prstGeom>
              <a:solidFill>
                <a:sysClr val="window" lastClr="FFFFFF"/>
              </a:solidFill>
              <a:ln w="12700">
                <a:solidFill>
                  <a:srgbClr val="505050"/>
                </a:solid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sp>
          <p:nvSpPr>
            <p:cNvPr id="1321" name="AutoShape 168">
              <a:extLst>
                <a:ext uri="{FF2B5EF4-FFF2-40B4-BE49-F238E27FC236}">
                  <a16:creationId xmlns:a16="http://schemas.microsoft.com/office/drawing/2014/main" id="{1BE97299-474F-4F11-8585-0089402439FA}"/>
                </a:ext>
              </a:extLst>
            </p:cNvPr>
            <p:cNvSpPr>
              <a:spLocks noChangeAspect="1" noChangeArrowheads="1" noTextEdit="1"/>
            </p:cNvSpPr>
            <p:nvPr/>
          </p:nvSpPr>
          <p:spPr bwMode="auto">
            <a:xfrm>
              <a:off x="3529573" y="3813445"/>
              <a:ext cx="545089" cy="562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325" name="Group 1324">
            <a:extLst>
              <a:ext uri="{FF2B5EF4-FFF2-40B4-BE49-F238E27FC236}">
                <a16:creationId xmlns:a16="http://schemas.microsoft.com/office/drawing/2014/main" id="{DF8F5FCD-D837-4414-BABF-920CB1214BF5}"/>
              </a:ext>
            </a:extLst>
          </p:cNvPr>
          <p:cNvGrpSpPr/>
          <p:nvPr/>
        </p:nvGrpSpPr>
        <p:grpSpPr>
          <a:xfrm>
            <a:off x="7575648" y="5492984"/>
            <a:ext cx="612775" cy="612775"/>
            <a:chOff x="6421019" y="6131327"/>
            <a:chExt cx="612775" cy="612775"/>
          </a:xfrm>
        </p:grpSpPr>
        <p:sp>
          <p:nvSpPr>
            <p:cNvPr id="1326" name="Oval 1325">
              <a:extLst>
                <a:ext uri="{FF2B5EF4-FFF2-40B4-BE49-F238E27FC236}">
                  <a16:creationId xmlns:a16="http://schemas.microsoft.com/office/drawing/2014/main" id="{C882ADBB-EECA-4411-BA97-9894314F4459}"/>
                </a:ext>
              </a:extLst>
            </p:cNvPr>
            <p:cNvSpPr/>
            <p:nvPr/>
          </p:nvSpPr>
          <p:spPr bwMode="ltGray">
            <a:xfrm>
              <a:off x="6421019" y="6131327"/>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327" name="Group 1326">
              <a:extLst>
                <a:ext uri="{FF2B5EF4-FFF2-40B4-BE49-F238E27FC236}">
                  <a16:creationId xmlns:a16="http://schemas.microsoft.com/office/drawing/2014/main" id="{4D2EC172-67E1-4364-BCCD-90C561401A35}"/>
                </a:ext>
              </a:extLst>
            </p:cNvPr>
            <p:cNvGrpSpPr/>
            <p:nvPr/>
          </p:nvGrpSpPr>
          <p:grpSpPr>
            <a:xfrm>
              <a:off x="6461071" y="6239598"/>
              <a:ext cx="470103" cy="369162"/>
              <a:chOff x="3549767" y="3928803"/>
              <a:chExt cx="470103" cy="369162"/>
            </a:xfrm>
          </p:grpSpPr>
          <p:sp>
            <p:nvSpPr>
              <p:cNvPr id="1328" name="Rectangle 171">
                <a:extLst>
                  <a:ext uri="{FF2B5EF4-FFF2-40B4-BE49-F238E27FC236}">
                    <a16:creationId xmlns:a16="http://schemas.microsoft.com/office/drawing/2014/main" id="{4B9FB1DA-E30E-4C25-8A41-1A225BB094F7}"/>
                  </a:ext>
                </a:extLst>
              </p:cNvPr>
              <p:cNvSpPr>
                <a:spLocks noChangeArrowheads="1"/>
              </p:cNvSpPr>
              <p:nvPr/>
            </p:nvSpPr>
            <p:spPr bwMode="auto">
              <a:xfrm>
                <a:off x="3687240" y="3979756"/>
                <a:ext cx="332630" cy="318209"/>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29" name="Rectangle 172">
                <a:extLst>
                  <a:ext uri="{FF2B5EF4-FFF2-40B4-BE49-F238E27FC236}">
                    <a16:creationId xmlns:a16="http://schemas.microsoft.com/office/drawing/2014/main" id="{CA615445-5C03-4BFF-9D0D-B376E49C2A3B}"/>
                  </a:ext>
                </a:extLst>
              </p:cNvPr>
              <p:cNvSpPr>
                <a:spLocks noChangeArrowheads="1"/>
              </p:cNvSpPr>
              <p:nvPr/>
            </p:nvSpPr>
            <p:spPr bwMode="auto">
              <a:xfrm>
                <a:off x="3935272" y="3995138"/>
                <a:ext cx="69218" cy="287445"/>
              </a:xfrm>
              <a:prstGeom prst="rect">
                <a:avLst/>
              </a:prstGeom>
              <a:solidFill>
                <a:sysClr val="window" lastClr="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0" name="Rectangle 173">
                <a:extLst>
                  <a:ext uri="{FF2B5EF4-FFF2-40B4-BE49-F238E27FC236}">
                    <a16:creationId xmlns:a16="http://schemas.microsoft.com/office/drawing/2014/main" id="{B6137155-D308-494C-BA48-52A4289D5F4B}"/>
                  </a:ext>
                </a:extLst>
              </p:cNvPr>
              <p:cNvSpPr>
                <a:spLocks noChangeArrowheads="1"/>
              </p:cNvSpPr>
              <p:nvPr/>
            </p:nvSpPr>
            <p:spPr bwMode="auto">
              <a:xfrm>
                <a:off x="3702624" y="3995138"/>
                <a:ext cx="217268" cy="287445"/>
              </a:xfrm>
              <a:prstGeom prst="rect">
                <a:avLst/>
              </a:pr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1" name="Freeform 174">
                <a:extLst>
                  <a:ext uri="{FF2B5EF4-FFF2-40B4-BE49-F238E27FC236}">
                    <a16:creationId xmlns:a16="http://schemas.microsoft.com/office/drawing/2014/main" id="{DB0B8679-AB6D-4966-BA29-E37B0D5B5334}"/>
                  </a:ext>
                </a:extLst>
              </p:cNvPr>
              <p:cNvSpPr>
                <a:spLocks/>
              </p:cNvSpPr>
              <p:nvPr/>
            </p:nvSpPr>
            <p:spPr bwMode="auto">
              <a:xfrm>
                <a:off x="3649748" y="3998022"/>
                <a:ext cx="70179" cy="90367"/>
              </a:xfrm>
              <a:custGeom>
                <a:avLst/>
                <a:gdLst>
                  <a:gd name="T0" fmla="*/ 123 w 145"/>
                  <a:gd name="T1" fmla="*/ 2 h 189"/>
                  <a:gd name="T2" fmla="*/ 97 w 145"/>
                  <a:gd name="T3" fmla="*/ 0 h 189"/>
                  <a:gd name="T4" fmla="*/ 0 w 145"/>
                  <a:gd name="T5" fmla="*/ 189 h 189"/>
                  <a:gd name="T6" fmla="*/ 145 w 145"/>
                  <a:gd name="T7" fmla="*/ 189 h 189"/>
                  <a:gd name="T8" fmla="*/ 123 w 145"/>
                  <a:gd name="T9" fmla="*/ 2 h 189"/>
                </a:gdLst>
                <a:ahLst/>
                <a:cxnLst>
                  <a:cxn ang="0">
                    <a:pos x="T0" y="T1"/>
                  </a:cxn>
                  <a:cxn ang="0">
                    <a:pos x="T2" y="T3"/>
                  </a:cxn>
                  <a:cxn ang="0">
                    <a:pos x="T4" y="T5"/>
                  </a:cxn>
                  <a:cxn ang="0">
                    <a:pos x="T6" y="T7"/>
                  </a:cxn>
                  <a:cxn ang="0">
                    <a:pos x="T8" y="T9"/>
                  </a:cxn>
                </a:cxnLst>
                <a:rect l="0" t="0" r="r" b="b"/>
                <a:pathLst>
                  <a:path w="145" h="189">
                    <a:moveTo>
                      <a:pt x="123" y="2"/>
                    </a:moveTo>
                    <a:lnTo>
                      <a:pt x="97" y="0"/>
                    </a:lnTo>
                    <a:lnTo>
                      <a:pt x="0" y="189"/>
                    </a:lnTo>
                    <a:lnTo>
                      <a:pt x="145" y="189"/>
                    </a:lnTo>
                    <a:lnTo>
                      <a:pt x="123" y="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2" name="Freeform 175">
                <a:extLst>
                  <a:ext uri="{FF2B5EF4-FFF2-40B4-BE49-F238E27FC236}">
                    <a16:creationId xmlns:a16="http://schemas.microsoft.com/office/drawing/2014/main" id="{030BBE72-0521-43A2-817A-442859DA060A}"/>
                  </a:ext>
                </a:extLst>
              </p:cNvPr>
              <p:cNvSpPr>
                <a:spLocks/>
              </p:cNvSpPr>
              <p:nvPr/>
            </p:nvSpPr>
            <p:spPr bwMode="auto">
              <a:xfrm>
                <a:off x="3636289" y="3985524"/>
                <a:ext cx="66333" cy="112478"/>
              </a:xfrm>
              <a:custGeom>
                <a:avLst/>
                <a:gdLst>
                  <a:gd name="T0" fmla="*/ 2 w 138"/>
                  <a:gd name="T1" fmla="*/ 232 h 232"/>
                  <a:gd name="T2" fmla="*/ 13 w 138"/>
                  <a:gd name="T3" fmla="*/ 231 h 232"/>
                  <a:gd name="T4" fmla="*/ 25 w 138"/>
                  <a:gd name="T5" fmla="*/ 228 h 232"/>
                  <a:gd name="T6" fmla="*/ 35 w 138"/>
                  <a:gd name="T7" fmla="*/ 224 h 232"/>
                  <a:gd name="T8" fmla="*/ 47 w 138"/>
                  <a:gd name="T9" fmla="*/ 220 h 232"/>
                  <a:gd name="T10" fmla="*/ 57 w 138"/>
                  <a:gd name="T11" fmla="*/ 213 h 232"/>
                  <a:gd name="T12" fmla="*/ 66 w 138"/>
                  <a:gd name="T13" fmla="*/ 206 h 232"/>
                  <a:gd name="T14" fmla="*/ 75 w 138"/>
                  <a:gd name="T15" fmla="*/ 197 h 232"/>
                  <a:gd name="T16" fmla="*/ 85 w 138"/>
                  <a:gd name="T17" fmla="*/ 187 h 232"/>
                  <a:gd name="T18" fmla="*/ 98 w 138"/>
                  <a:gd name="T19" fmla="*/ 169 h 232"/>
                  <a:gd name="T20" fmla="*/ 110 w 138"/>
                  <a:gd name="T21" fmla="*/ 148 h 232"/>
                  <a:gd name="T22" fmla="*/ 119 w 138"/>
                  <a:gd name="T23" fmla="*/ 125 h 232"/>
                  <a:gd name="T24" fmla="*/ 127 w 138"/>
                  <a:gd name="T25" fmla="*/ 101 h 232"/>
                  <a:gd name="T26" fmla="*/ 133 w 138"/>
                  <a:gd name="T27" fmla="*/ 77 h 232"/>
                  <a:gd name="T28" fmla="*/ 136 w 138"/>
                  <a:gd name="T29" fmla="*/ 51 h 232"/>
                  <a:gd name="T30" fmla="*/ 138 w 138"/>
                  <a:gd name="T31" fmla="*/ 25 h 232"/>
                  <a:gd name="T32" fmla="*/ 136 w 138"/>
                  <a:gd name="T33" fmla="*/ 0 h 232"/>
                  <a:gd name="T34" fmla="*/ 105 w 138"/>
                  <a:gd name="T35" fmla="*/ 3 h 232"/>
                  <a:gd name="T36" fmla="*/ 106 w 138"/>
                  <a:gd name="T37" fmla="*/ 25 h 232"/>
                  <a:gd name="T38" fmla="*/ 105 w 138"/>
                  <a:gd name="T39" fmla="*/ 48 h 232"/>
                  <a:gd name="T40" fmla="*/ 102 w 138"/>
                  <a:gd name="T41" fmla="*/ 70 h 232"/>
                  <a:gd name="T42" fmla="*/ 97 w 138"/>
                  <a:gd name="T43" fmla="*/ 92 h 232"/>
                  <a:gd name="T44" fmla="*/ 90 w 138"/>
                  <a:gd name="T45" fmla="*/ 114 h 232"/>
                  <a:gd name="T46" fmla="*/ 82 w 138"/>
                  <a:gd name="T47" fmla="*/ 133 h 232"/>
                  <a:gd name="T48" fmla="*/ 72 w 138"/>
                  <a:gd name="T49" fmla="*/ 151 h 232"/>
                  <a:gd name="T50" fmla="*/ 60 w 138"/>
                  <a:gd name="T51" fmla="*/ 167 h 232"/>
                  <a:gd name="T52" fmla="*/ 53 w 138"/>
                  <a:gd name="T53" fmla="*/ 175 h 232"/>
                  <a:gd name="T54" fmla="*/ 47 w 138"/>
                  <a:gd name="T55" fmla="*/ 182 h 232"/>
                  <a:gd name="T56" fmla="*/ 40 w 138"/>
                  <a:gd name="T57" fmla="*/ 187 h 232"/>
                  <a:gd name="T58" fmla="*/ 33 w 138"/>
                  <a:gd name="T59" fmla="*/ 192 h 232"/>
                  <a:gd name="T60" fmla="*/ 25 w 138"/>
                  <a:gd name="T61" fmla="*/ 196 h 232"/>
                  <a:gd name="T62" fmla="*/ 17 w 138"/>
                  <a:gd name="T63" fmla="*/ 199 h 232"/>
                  <a:gd name="T64" fmla="*/ 8 w 138"/>
                  <a:gd name="T65" fmla="*/ 200 h 232"/>
                  <a:gd name="T66" fmla="*/ 0 w 138"/>
                  <a:gd name="T67" fmla="*/ 201 h 232"/>
                  <a:gd name="T68" fmla="*/ 2 w 138"/>
                  <a:gd name="T69"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232">
                    <a:moveTo>
                      <a:pt x="2" y="232"/>
                    </a:moveTo>
                    <a:lnTo>
                      <a:pt x="13" y="231"/>
                    </a:lnTo>
                    <a:lnTo>
                      <a:pt x="25" y="228"/>
                    </a:lnTo>
                    <a:lnTo>
                      <a:pt x="35" y="224"/>
                    </a:lnTo>
                    <a:lnTo>
                      <a:pt x="47" y="220"/>
                    </a:lnTo>
                    <a:lnTo>
                      <a:pt x="57" y="213"/>
                    </a:lnTo>
                    <a:lnTo>
                      <a:pt x="66" y="206"/>
                    </a:lnTo>
                    <a:lnTo>
                      <a:pt x="75" y="197"/>
                    </a:lnTo>
                    <a:lnTo>
                      <a:pt x="85" y="187"/>
                    </a:lnTo>
                    <a:lnTo>
                      <a:pt x="98" y="169"/>
                    </a:lnTo>
                    <a:lnTo>
                      <a:pt x="110" y="148"/>
                    </a:lnTo>
                    <a:lnTo>
                      <a:pt x="119" y="125"/>
                    </a:lnTo>
                    <a:lnTo>
                      <a:pt x="127" y="101"/>
                    </a:lnTo>
                    <a:lnTo>
                      <a:pt x="133" y="77"/>
                    </a:lnTo>
                    <a:lnTo>
                      <a:pt x="136" y="51"/>
                    </a:lnTo>
                    <a:lnTo>
                      <a:pt x="138" y="25"/>
                    </a:lnTo>
                    <a:lnTo>
                      <a:pt x="136" y="0"/>
                    </a:lnTo>
                    <a:lnTo>
                      <a:pt x="105" y="3"/>
                    </a:lnTo>
                    <a:lnTo>
                      <a:pt x="106" y="25"/>
                    </a:lnTo>
                    <a:lnTo>
                      <a:pt x="105" y="48"/>
                    </a:lnTo>
                    <a:lnTo>
                      <a:pt x="102" y="70"/>
                    </a:lnTo>
                    <a:lnTo>
                      <a:pt x="97" y="92"/>
                    </a:lnTo>
                    <a:lnTo>
                      <a:pt x="90" y="114"/>
                    </a:lnTo>
                    <a:lnTo>
                      <a:pt x="82" y="133"/>
                    </a:lnTo>
                    <a:lnTo>
                      <a:pt x="72" y="151"/>
                    </a:lnTo>
                    <a:lnTo>
                      <a:pt x="60" y="167"/>
                    </a:lnTo>
                    <a:lnTo>
                      <a:pt x="53" y="175"/>
                    </a:lnTo>
                    <a:lnTo>
                      <a:pt x="47" y="182"/>
                    </a:lnTo>
                    <a:lnTo>
                      <a:pt x="40" y="187"/>
                    </a:lnTo>
                    <a:lnTo>
                      <a:pt x="33" y="192"/>
                    </a:lnTo>
                    <a:lnTo>
                      <a:pt x="25" y="196"/>
                    </a:lnTo>
                    <a:lnTo>
                      <a:pt x="17" y="199"/>
                    </a:lnTo>
                    <a:lnTo>
                      <a:pt x="8" y="200"/>
                    </a:lnTo>
                    <a:lnTo>
                      <a:pt x="0" y="201"/>
                    </a:lnTo>
                    <a:lnTo>
                      <a:pt x="2" y="23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3" name="Freeform 176">
                <a:extLst>
                  <a:ext uri="{FF2B5EF4-FFF2-40B4-BE49-F238E27FC236}">
                    <a16:creationId xmlns:a16="http://schemas.microsoft.com/office/drawing/2014/main" id="{5365D7C6-573A-4C99-94CF-3BECE4818C3B}"/>
                  </a:ext>
                </a:extLst>
              </p:cNvPr>
              <p:cNvSpPr>
                <a:spLocks/>
              </p:cNvSpPr>
              <p:nvPr/>
            </p:nvSpPr>
            <p:spPr bwMode="auto">
              <a:xfrm>
                <a:off x="3718005" y="3928805"/>
                <a:ext cx="90368" cy="105749"/>
              </a:xfrm>
              <a:custGeom>
                <a:avLst/>
                <a:gdLst>
                  <a:gd name="T0" fmla="*/ 187 w 189"/>
                  <a:gd name="T1" fmla="*/ 87 h 220"/>
                  <a:gd name="T2" fmla="*/ 169 w 189"/>
                  <a:gd name="T3" fmla="*/ 44 h 220"/>
                  <a:gd name="T4" fmla="*/ 148 w 189"/>
                  <a:gd name="T5" fmla="*/ 21 h 220"/>
                  <a:gd name="T6" fmla="*/ 135 w 189"/>
                  <a:gd name="T7" fmla="*/ 11 h 220"/>
                  <a:gd name="T8" fmla="*/ 119 w 189"/>
                  <a:gd name="T9" fmla="*/ 4 h 220"/>
                  <a:gd name="T10" fmla="*/ 102 w 189"/>
                  <a:gd name="T11" fmla="*/ 0 h 220"/>
                  <a:gd name="T12" fmla="*/ 76 w 189"/>
                  <a:gd name="T13" fmla="*/ 3 h 220"/>
                  <a:gd name="T14" fmla="*/ 41 w 189"/>
                  <a:gd name="T15" fmla="*/ 19 h 220"/>
                  <a:gd name="T16" fmla="*/ 16 w 189"/>
                  <a:gd name="T17" fmla="*/ 49 h 220"/>
                  <a:gd name="T18" fmla="*/ 2 w 189"/>
                  <a:gd name="T19" fmla="*/ 88 h 220"/>
                  <a:gd name="T20" fmla="*/ 2 w 189"/>
                  <a:gd name="T21" fmla="*/ 134 h 220"/>
                  <a:gd name="T22" fmla="*/ 18 w 189"/>
                  <a:gd name="T23" fmla="*/ 176 h 220"/>
                  <a:gd name="T24" fmla="*/ 39 w 189"/>
                  <a:gd name="T25" fmla="*/ 199 h 220"/>
                  <a:gd name="T26" fmla="*/ 54 w 189"/>
                  <a:gd name="T27" fmla="*/ 209 h 220"/>
                  <a:gd name="T28" fmla="*/ 69 w 189"/>
                  <a:gd name="T29" fmla="*/ 216 h 220"/>
                  <a:gd name="T30" fmla="*/ 86 w 189"/>
                  <a:gd name="T31" fmla="*/ 220 h 220"/>
                  <a:gd name="T32" fmla="*/ 94 w 189"/>
                  <a:gd name="T33" fmla="*/ 189 h 220"/>
                  <a:gd name="T34" fmla="*/ 83 w 189"/>
                  <a:gd name="T35" fmla="*/ 188 h 220"/>
                  <a:gd name="T36" fmla="*/ 74 w 189"/>
                  <a:gd name="T37" fmla="*/ 185 h 220"/>
                  <a:gd name="T38" fmla="*/ 63 w 189"/>
                  <a:gd name="T39" fmla="*/ 179 h 220"/>
                  <a:gd name="T40" fmla="*/ 55 w 189"/>
                  <a:gd name="T41" fmla="*/ 172 h 220"/>
                  <a:gd name="T42" fmla="*/ 38 w 189"/>
                  <a:gd name="T43" fmla="*/ 144 h 220"/>
                  <a:gd name="T44" fmla="*/ 31 w 189"/>
                  <a:gd name="T45" fmla="*/ 110 h 220"/>
                  <a:gd name="T46" fmla="*/ 38 w 189"/>
                  <a:gd name="T47" fmla="*/ 76 h 220"/>
                  <a:gd name="T48" fmla="*/ 55 w 189"/>
                  <a:gd name="T49" fmla="*/ 49 h 220"/>
                  <a:gd name="T50" fmla="*/ 63 w 189"/>
                  <a:gd name="T51" fmla="*/ 41 h 220"/>
                  <a:gd name="T52" fmla="*/ 74 w 189"/>
                  <a:gd name="T53" fmla="*/ 36 h 220"/>
                  <a:gd name="T54" fmla="*/ 83 w 189"/>
                  <a:gd name="T55" fmla="*/ 33 h 220"/>
                  <a:gd name="T56" fmla="*/ 94 w 189"/>
                  <a:gd name="T57" fmla="*/ 32 h 220"/>
                  <a:gd name="T58" fmla="*/ 105 w 189"/>
                  <a:gd name="T59" fmla="*/ 33 h 220"/>
                  <a:gd name="T60" fmla="*/ 115 w 189"/>
                  <a:gd name="T61" fmla="*/ 36 h 220"/>
                  <a:gd name="T62" fmla="*/ 124 w 189"/>
                  <a:gd name="T63" fmla="*/ 41 h 220"/>
                  <a:gd name="T64" fmla="*/ 134 w 189"/>
                  <a:gd name="T65" fmla="*/ 49 h 220"/>
                  <a:gd name="T66" fmla="*/ 151 w 189"/>
                  <a:gd name="T67" fmla="*/ 76 h 220"/>
                  <a:gd name="T68" fmla="*/ 158 w 189"/>
                  <a:gd name="T69" fmla="*/ 1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9" h="220">
                    <a:moveTo>
                      <a:pt x="189" y="110"/>
                    </a:moveTo>
                    <a:lnTo>
                      <a:pt x="187" y="87"/>
                    </a:lnTo>
                    <a:lnTo>
                      <a:pt x="180" y="65"/>
                    </a:lnTo>
                    <a:lnTo>
                      <a:pt x="169" y="44"/>
                    </a:lnTo>
                    <a:lnTo>
                      <a:pt x="155" y="27"/>
                    </a:lnTo>
                    <a:lnTo>
                      <a:pt x="148" y="21"/>
                    </a:lnTo>
                    <a:lnTo>
                      <a:pt x="142" y="15"/>
                    </a:lnTo>
                    <a:lnTo>
                      <a:pt x="135" y="11"/>
                    </a:lnTo>
                    <a:lnTo>
                      <a:pt x="127" y="7"/>
                    </a:lnTo>
                    <a:lnTo>
                      <a:pt x="119" y="4"/>
                    </a:lnTo>
                    <a:lnTo>
                      <a:pt x="110" y="2"/>
                    </a:lnTo>
                    <a:lnTo>
                      <a:pt x="102" y="0"/>
                    </a:lnTo>
                    <a:lnTo>
                      <a:pt x="94" y="0"/>
                    </a:lnTo>
                    <a:lnTo>
                      <a:pt x="76" y="3"/>
                    </a:lnTo>
                    <a:lnTo>
                      <a:pt x="57" y="10"/>
                    </a:lnTo>
                    <a:lnTo>
                      <a:pt x="41" y="19"/>
                    </a:lnTo>
                    <a:lnTo>
                      <a:pt x="27" y="33"/>
                    </a:lnTo>
                    <a:lnTo>
                      <a:pt x="16" y="49"/>
                    </a:lnTo>
                    <a:lnTo>
                      <a:pt x="7" y="67"/>
                    </a:lnTo>
                    <a:lnTo>
                      <a:pt x="2" y="88"/>
                    </a:lnTo>
                    <a:lnTo>
                      <a:pt x="0" y="110"/>
                    </a:lnTo>
                    <a:lnTo>
                      <a:pt x="2" y="134"/>
                    </a:lnTo>
                    <a:lnTo>
                      <a:pt x="8" y="156"/>
                    </a:lnTo>
                    <a:lnTo>
                      <a:pt x="18" y="176"/>
                    </a:lnTo>
                    <a:lnTo>
                      <a:pt x="33" y="194"/>
                    </a:lnTo>
                    <a:lnTo>
                      <a:pt x="39" y="199"/>
                    </a:lnTo>
                    <a:lnTo>
                      <a:pt x="46" y="204"/>
                    </a:lnTo>
                    <a:lnTo>
                      <a:pt x="54" y="209"/>
                    </a:lnTo>
                    <a:lnTo>
                      <a:pt x="61" y="213"/>
                    </a:lnTo>
                    <a:lnTo>
                      <a:pt x="69" y="216"/>
                    </a:lnTo>
                    <a:lnTo>
                      <a:pt x="77" y="218"/>
                    </a:lnTo>
                    <a:lnTo>
                      <a:pt x="86" y="220"/>
                    </a:lnTo>
                    <a:lnTo>
                      <a:pt x="94" y="220"/>
                    </a:lnTo>
                    <a:lnTo>
                      <a:pt x="94" y="189"/>
                    </a:lnTo>
                    <a:lnTo>
                      <a:pt x="89" y="189"/>
                    </a:lnTo>
                    <a:lnTo>
                      <a:pt x="83" y="188"/>
                    </a:lnTo>
                    <a:lnTo>
                      <a:pt x="78" y="187"/>
                    </a:lnTo>
                    <a:lnTo>
                      <a:pt x="74" y="185"/>
                    </a:lnTo>
                    <a:lnTo>
                      <a:pt x="68" y="182"/>
                    </a:lnTo>
                    <a:lnTo>
                      <a:pt x="63" y="179"/>
                    </a:lnTo>
                    <a:lnTo>
                      <a:pt x="60" y="175"/>
                    </a:lnTo>
                    <a:lnTo>
                      <a:pt x="55" y="172"/>
                    </a:lnTo>
                    <a:lnTo>
                      <a:pt x="45" y="159"/>
                    </a:lnTo>
                    <a:lnTo>
                      <a:pt x="38" y="144"/>
                    </a:lnTo>
                    <a:lnTo>
                      <a:pt x="32" y="127"/>
                    </a:lnTo>
                    <a:lnTo>
                      <a:pt x="31" y="110"/>
                    </a:lnTo>
                    <a:lnTo>
                      <a:pt x="32" y="92"/>
                    </a:lnTo>
                    <a:lnTo>
                      <a:pt x="38" y="76"/>
                    </a:lnTo>
                    <a:lnTo>
                      <a:pt x="45" y="61"/>
                    </a:lnTo>
                    <a:lnTo>
                      <a:pt x="55" y="49"/>
                    </a:lnTo>
                    <a:lnTo>
                      <a:pt x="60" y="44"/>
                    </a:lnTo>
                    <a:lnTo>
                      <a:pt x="63" y="41"/>
                    </a:lnTo>
                    <a:lnTo>
                      <a:pt x="68" y="38"/>
                    </a:lnTo>
                    <a:lnTo>
                      <a:pt x="74" y="36"/>
                    </a:lnTo>
                    <a:lnTo>
                      <a:pt x="78" y="34"/>
                    </a:lnTo>
                    <a:lnTo>
                      <a:pt x="83" y="33"/>
                    </a:lnTo>
                    <a:lnTo>
                      <a:pt x="89" y="32"/>
                    </a:lnTo>
                    <a:lnTo>
                      <a:pt x="94" y="32"/>
                    </a:lnTo>
                    <a:lnTo>
                      <a:pt x="99" y="32"/>
                    </a:lnTo>
                    <a:lnTo>
                      <a:pt x="105" y="33"/>
                    </a:lnTo>
                    <a:lnTo>
                      <a:pt x="109" y="34"/>
                    </a:lnTo>
                    <a:lnTo>
                      <a:pt x="115" y="36"/>
                    </a:lnTo>
                    <a:lnTo>
                      <a:pt x="120" y="38"/>
                    </a:lnTo>
                    <a:lnTo>
                      <a:pt x="124" y="41"/>
                    </a:lnTo>
                    <a:lnTo>
                      <a:pt x="129" y="44"/>
                    </a:lnTo>
                    <a:lnTo>
                      <a:pt x="134" y="49"/>
                    </a:lnTo>
                    <a:lnTo>
                      <a:pt x="144" y="61"/>
                    </a:lnTo>
                    <a:lnTo>
                      <a:pt x="151" y="76"/>
                    </a:lnTo>
                    <a:lnTo>
                      <a:pt x="157" y="92"/>
                    </a:lnTo>
                    <a:lnTo>
                      <a:pt x="158" y="110"/>
                    </a:lnTo>
                    <a:lnTo>
                      <a:pt x="189" y="1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4" name="Freeform 177">
                <a:extLst>
                  <a:ext uri="{FF2B5EF4-FFF2-40B4-BE49-F238E27FC236}">
                    <a16:creationId xmlns:a16="http://schemas.microsoft.com/office/drawing/2014/main" id="{894FC1D3-7D0A-4188-B349-514903263247}"/>
                  </a:ext>
                </a:extLst>
              </p:cNvPr>
              <p:cNvSpPr>
                <a:spLocks/>
              </p:cNvSpPr>
              <p:nvPr/>
            </p:nvSpPr>
            <p:spPr bwMode="auto">
              <a:xfrm>
                <a:off x="3830483" y="3928803"/>
                <a:ext cx="89406" cy="105749"/>
              </a:xfrm>
              <a:custGeom>
                <a:avLst/>
                <a:gdLst>
                  <a:gd name="T0" fmla="*/ 184 w 186"/>
                  <a:gd name="T1" fmla="*/ 87 h 220"/>
                  <a:gd name="T2" fmla="*/ 168 w 186"/>
                  <a:gd name="T3" fmla="*/ 44 h 220"/>
                  <a:gd name="T4" fmla="*/ 147 w 186"/>
                  <a:gd name="T5" fmla="*/ 21 h 220"/>
                  <a:gd name="T6" fmla="*/ 133 w 186"/>
                  <a:gd name="T7" fmla="*/ 11 h 220"/>
                  <a:gd name="T8" fmla="*/ 117 w 186"/>
                  <a:gd name="T9" fmla="*/ 4 h 220"/>
                  <a:gd name="T10" fmla="*/ 101 w 186"/>
                  <a:gd name="T11" fmla="*/ 0 h 220"/>
                  <a:gd name="T12" fmla="*/ 75 w 186"/>
                  <a:gd name="T13" fmla="*/ 3 h 220"/>
                  <a:gd name="T14" fmla="*/ 41 w 186"/>
                  <a:gd name="T15" fmla="*/ 19 h 220"/>
                  <a:gd name="T16" fmla="*/ 16 w 186"/>
                  <a:gd name="T17" fmla="*/ 49 h 220"/>
                  <a:gd name="T18" fmla="*/ 2 w 186"/>
                  <a:gd name="T19" fmla="*/ 88 h 220"/>
                  <a:gd name="T20" fmla="*/ 2 w 186"/>
                  <a:gd name="T21" fmla="*/ 134 h 220"/>
                  <a:gd name="T22" fmla="*/ 17 w 186"/>
                  <a:gd name="T23" fmla="*/ 176 h 220"/>
                  <a:gd name="T24" fmla="*/ 38 w 186"/>
                  <a:gd name="T25" fmla="*/ 199 h 220"/>
                  <a:gd name="T26" fmla="*/ 52 w 186"/>
                  <a:gd name="T27" fmla="*/ 209 h 220"/>
                  <a:gd name="T28" fmla="*/ 68 w 186"/>
                  <a:gd name="T29" fmla="*/ 216 h 220"/>
                  <a:gd name="T30" fmla="*/ 85 w 186"/>
                  <a:gd name="T31" fmla="*/ 220 h 220"/>
                  <a:gd name="T32" fmla="*/ 93 w 186"/>
                  <a:gd name="T33" fmla="*/ 189 h 220"/>
                  <a:gd name="T34" fmla="*/ 82 w 186"/>
                  <a:gd name="T35" fmla="*/ 188 h 220"/>
                  <a:gd name="T36" fmla="*/ 71 w 186"/>
                  <a:gd name="T37" fmla="*/ 185 h 220"/>
                  <a:gd name="T38" fmla="*/ 62 w 186"/>
                  <a:gd name="T39" fmla="*/ 179 h 220"/>
                  <a:gd name="T40" fmla="*/ 53 w 186"/>
                  <a:gd name="T41" fmla="*/ 172 h 220"/>
                  <a:gd name="T42" fmla="*/ 36 w 186"/>
                  <a:gd name="T43" fmla="*/ 144 h 220"/>
                  <a:gd name="T44" fmla="*/ 30 w 186"/>
                  <a:gd name="T45" fmla="*/ 110 h 220"/>
                  <a:gd name="T46" fmla="*/ 36 w 186"/>
                  <a:gd name="T47" fmla="*/ 76 h 220"/>
                  <a:gd name="T48" fmla="*/ 53 w 186"/>
                  <a:gd name="T49" fmla="*/ 49 h 220"/>
                  <a:gd name="T50" fmla="*/ 62 w 186"/>
                  <a:gd name="T51" fmla="*/ 41 h 220"/>
                  <a:gd name="T52" fmla="*/ 71 w 186"/>
                  <a:gd name="T53" fmla="*/ 36 h 220"/>
                  <a:gd name="T54" fmla="*/ 82 w 186"/>
                  <a:gd name="T55" fmla="*/ 33 h 220"/>
                  <a:gd name="T56" fmla="*/ 93 w 186"/>
                  <a:gd name="T57" fmla="*/ 32 h 220"/>
                  <a:gd name="T58" fmla="*/ 103 w 186"/>
                  <a:gd name="T59" fmla="*/ 33 h 220"/>
                  <a:gd name="T60" fmla="*/ 114 w 186"/>
                  <a:gd name="T61" fmla="*/ 36 h 220"/>
                  <a:gd name="T62" fmla="*/ 123 w 186"/>
                  <a:gd name="T63" fmla="*/ 41 h 220"/>
                  <a:gd name="T64" fmla="*/ 132 w 186"/>
                  <a:gd name="T65" fmla="*/ 49 h 220"/>
                  <a:gd name="T66" fmla="*/ 150 w 186"/>
                  <a:gd name="T67" fmla="*/ 76 h 220"/>
                  <a:gd name="T68" fmla="*/ 157 w 186"/>
                  <a:gd name="T69" fmla="*/ 11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6" h="220">
                    <a:moveTo>
                      <a:pt x="186" y="110"/>
                    </a:moveTo>
                    <a:lnTo>
                      <a:pt x="184" y="87"/>
                    </a:lnTo>
                    <a:lnTo>
                      <a:pt x="178" y="65"/>
                    </a:lnTo>
                    <a:lnTo>
                      <a:pt x="168" y="44"/>
                    </a:lnTo>
                    <a:lnTo>
                      <a:pt x="154" y="27"/>
                    </a:lnTo>
                    <a:lnTo>
                      <a:pt x="147" y="21"/>
                    </a:lnTo>
                    <a:lnTo>
                      <a:pt x="140" y="15"/>
                    </a:lnTo>
                    <a:lnTo>
                      <a:pt x="133" y="11"/>
                    </a:lnTo>
                    <a:lnTo>
                      <a:pt x="125" y="7"/>
                    </a:lnTo>
                    <a:lnTo>
                      <a:pt x="117" y="4"/>
                    </a:lnTo>
                    <a:lnTo>
                      <a:pt x="109" y="2"/>
                    </a:lnTo>
                    <a:lnTo>
                      <a:pt x="101" y="0"/>
                    </a:lnTo>
                    <a:lnTo>
                      <a:pt x="93" y="0"/>
                    </a:lnTo>
                    <a:lnTo>
                      <a:pt x="75" y="3"/>
                    </a:lnTo>
                    <a:lnTo>
                      <a:pt x="56" y="10"/>
                    </a:lnTo>
                    <a:lnTo>
                      <a:pt x="41" y="19"/>
                    </a:lnTo>
                    <a:lnTo>
                      <a:pt x="27" y="33"/>
                    </a:lnTo>
                    <a:lnTo>
                      <a:pt x="16" y="49"/>
                    </a:lnTo>
                    <a:lnTo>
                      <a:pt x="7" y="67"/>
                    </a:lnTo>
                    <a:lnTo>
                      <a:pt x="2" y="88"/>
                    </a:lnTo>
                    <a:lnTo>
                      <a:pt x="0" y="110"/>
                    </a:lnTo>
                    <a:lnTo>
                      <a:pt x="2" y="134"/>
                    </a:lnTo>
                    <a:lnTo>
                      <a:pt x="8" y="156"/>
                    </a:lnTo>
                    <a:lnTo>
                      <a:pt x="17" y="176"/>
                    </a:lnTo>
                    <a:lnTo>
                      <a:pt x="31" y="194"/>
                    </a:lnTo>
                    <a:lnTo>
                      <a:pt x="38" y="199"/>
                    </a:lnTo>
                    <a:lnTo>
                      <a:pt x="45" y="204"/>
                    </a:lnTo>
                    <a:lnTo>
                      <a:pt x="52" y="209"/>
                    </a:lnTo>
                    <a:lnTo>
                      <a:pt x="60" y="213"/>
                    </a:lnTo>
                    <a:lnTo>
                      <a:pt x="68" y="216"/>
                    </a:lnTo>
                    <a:lnTo>
                      <a:pt x="76" y="218"/>
                    </a:lnTo>
                    <a:lnTo>
                      <a:pt x="85" y="220"/>
                    </a:lnTo>
                    <a:lnTo>
                      <a:pt x="93" y="220"/>
                    </a:lnTo>
                    <a:lnTo>
                      <a:pt x="93" y="189"/>
                    </a:lnTo>
                    <a:lnTo>
                      <a:pt x="87" y="189"/>
                    </a:lnTo>
                    <a:lnTo>
                      <a:pt x="82" y="188"/>
                    </a:lnTo>
                    <a:lnTo>
                      <a:pt x="77" y="187"/>
                    </a:lnTo>
                    <a:lnTo>
                      <a:pt x="71" y="185"/>
                    </a:lnTo>
                    <a:lnTo>
                      <a:pt x="67" y="182"/>
                    </a:lnTo>
                    <a:lnTo>
                      <a:pt x="62" y="179"/>
                    </a:lnTo>
                    <a:lnTo>
                      <a:pt x="57" y="175"/>
                    </a:lnTo>
                    <a:lnTo>
                      <a:pt x="53" y="172"/>
                    </a:lnTo>
                    <a:lnTo>
                      <a:pt x="42" y="159"/>
                    </a:lnTo>
                    <a:lnTo>
                      <a:pt x="36" y="144"/>
                    </a:lnTo>
                    <a:lnTo>
                      <a:pt x="31" y="127"/>
                    </a:lnTo>
                    <a:lnTo>
                      <a:pt x="30" y="110"/>
                    </a:lnTo>
                    <a:lnTo>
                      <a:pt x="31" y="92"/>
                    </a:lnTo>
                    <a:lnTo>
                      <a:pt x="36" y="76"/>
                    </a:lnTo>
                    <a:lnTo>
                      <a:pt x="42" y="61"/>
                    </a:lnTo>
                    <a:lnTo>
                      <a:pt x="53" y="49"/>
                    </a:lnTo>
                    <a:lnTo>
                      <a:pt x="57" y="44"/>
                    </a:lnTo>
                    <a:lnTo>
                      <a:pt x="62" y="41"/>
                    </a:lnTo>
                    <a:lnTo>
                      <a:pt x="67" y="38"/>
                    </a:lnTo>
                    <a:lnTo>
                      <a:pt x="71" y="36"/>
                    </a:lnTo>
                    <a:lnTo>
                      <a:pt x="77" y="34"/>
                    </a:lnTo>
                    <a:lnTo>
                      <a:pt x="82" y="33"/>
                    </a:lnTo>
                    <a:lnTo>
                      <a:pt x="87" y="32"/>
                    </a:lnTo>
                    <a:lnTo>
                      <a:pt x="93" y="32"/>
                    </a:lnTo>
                    <a:lnTo>
                      <a:pt x="98" y="32"/>
                    </a:lnTo>
                    <a:lnTo>
                      <a:pt x="103" y="33"/>
                    </a:lnTo>
                    <a:lnTo>
                      <a:pt x="108" y="34"/>
                    </a:lnTo>
                    <a:lnTo>
                      <a:pt x="114" y="36"/>
                    </a:lnTo>
                    <a:lnTo>
                      <a:pt x="118" y="38"/>
                    </a:lnTo>
                    <a:lnTo>
                      <a:pt x="123" y="41"/>
                    </a:lnTo>
                    <a:lnTo>
                      <a:pt x="128" y="44"/>
                    </a:lnTo>
                    <a:lnTo>
                      <a:pt x="132" y="49"/>
                    </a:lnTo>
                    <a:lnTo>
                      <a:pt x="143" y="61"/>
                    </a:lnTo>
                    <a:lnTo>
                      <a:pt x="150" y="76"/>
                    </a:lnTo>
                    <a:lnTo>
                      <a:pt x="155" y="92"/>
                    </a:lnTo>
                    <a:lnTo>
                      <a:pt x="157" y="110"/>
                    </a:lnTo>
                    <a:lnTo>
                      <a:pt x="186" y="1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5" name="Freeform 178">
                <a:extLst>
                  <a:ext uri="{FF2B5EF4-FFF2-40B4-BE49-F238E27FC236}">
                    <a16:creationId xmlns:a16="http://schemas.microsoft.com/office/drawing/2014/main" id="{7B63A982-FECD-44ED-BB46-1F564A145D96}"/>
                  </a:ext>
                </a:extLst>
              </p:cNvPr>
              <p:cNvSpPr>
                <a:spLocks/>
              </p:cNvSpPr>
              <p:nvPr/>
            </p:nvSpPr>
            <p:spPr bwMode="auto">
              <a:xfrm>
                <a:off x="3549767" y="3991291"/>
                <a:ext cx="381659" cy="176890"/>
              </a:xfrm>
              <a:custGeom>
                <a:avLst/>
                <a:gdLst>
                  <a:gd name="T0" fmla="*/ 763 w 793"/>
                  <a:gd name="T1" fmla="*/ 0 h 369"/>
                  <a:gd name="T2" fmla="*/ 760 w 793"/>
                  <a:gd name="T3" fmla="*/ 76 h 369"/>
                  <a:gd name="T4" fmla="*/ 754 w 793"/>
                  <a:gd name="T5" fmla="*/ 144 h 369"/>
                  <a:gd name="T6" fmla="*/ 744 w 793"/>
                  <a:gd name="T7" fmla="*/ 202 h 369"/>
                  <a:gd name="T8" fmla="*/ 730 w 793"/>
                  <a:gd name="T9" fmla="*/ 250 h 369"/>
                  <a:gd name="T10" fmla="*/ 713 w 793"/>
                  <a:gd name="T11" fmla="*/ 288 h 369"/>
                  <a:gd name="T12" fmla="*/ 692 w 793"/>
                  <a:gd name="T13" fmla="*/ 316 h 369"/>
                  <a:gd name="T14" fmla="*/ 668 w 793"/>
                  <a:gd name="T15" fmla="*/ 332 h 369"/>
                  <a:gd name="T16" fmla="*/ 642 w 793"/>
                  <a:gd name="T17" fmla="*/ 338 h 369"/>
                  <a:gd name="T18" fmla="*/ 622 w 793"/>
                  <a:gd name="T19" fmla="*/ 335 h 369"/>
                  <a:gd name="T20" fmla="*/ 602 w 793"/>
                  <a:gd name="T21" fmla="*/ 328 h 369"/>
                  <a:gd name="T22" fmla="*/ 584 w 793"/>
                  <a:gd name="T23" fmla="*/ 316 h 369"/>
                  <a:gd name="T24" fmla="*/ 567 w 793"/>
                  <a:gd name="T25" fmla="*/ 300 h 369"/>
                  <a:gd name="T26" fmla="*/ 549 w 793"/>
                  <a:gd name="T27" fmla="*/ 279 h 369"/>
                  <a:gd name="T28" fmla="*/ 534 w 793"/>
                  <a:gd name="T29" fmla="*/ 255 h 369"/>
                  <a:gd name="T30" fmla="*/ 521 w 793"/>
                  <a:gd name="T31" fmla="*/ 226 h 369"/>
                  <a:gd name="T32" fmla="*/ 508 w 793"/>
                  <a:gd name="T33" fmla="*/ 194 h 369"/>
                  <a:gd name="T34" fmla="*/ 504 w 793"/>
                  <a:gd name="T35" fmla="*/ 183 h 369"/>
                  <a:gd name="T36" fmla="*/ 0 w 793"/>
                  <a:gd name="T37" fmla="*/ 183 h 369"/>
                  <a:gd name="T38" fmla="*/ 8 w 793"/>
                  <a:gd name="T39" fmla="*/ 204 h 369"/>
                  <a:gd name="T40" fmla="*/ 22 w 793"/>
                  <a:gd name="T41" fmla="*/ 241 h 369"/>
                  <a:gd name="T42" fmla="*/ 37 w 793"/>
                  <a:gd name="T43" fmla="*/ 273 h 369"/>
                  <a:gd name="T44" fmla="*/ 53 w 793"/>
                  <a:gd name="T45" fmla="*/ 301 h 369"/>
                  <a:gd name="T46" fmla="*/ 70 w 793"/>
                  <a:gd name="T47" fmla="*/ 323 h 369"/>
                  <a:gd name="T48" fmla="*/ 88 w 793"/>
                  <a:gd name="T49" fmla="*/ 341 h 369"/>
                  <a:gd name="T50" fmla="*/ 108 w 793"/>
                  <a:gd name="T51" fmla="*/ 355 h 369"/>
                  <a:gd name="T52" fmla="*/ 128 w 793"/>
                  <a:gd name="T53" fmla="*/ 364 h 369"/>
                  <a:gd name="T54" fmla="*/ 149 w 793"/>
                  <a:gd name="T55" fmla="*/ 369 h 369"/>
                  <a:gd name="T56" fmla="*/ 149 w 793"/>
                  <a:gd name="T57" fmla="*/ 369 h 369"/>
                  <a:gd name="T58" fmla="*/ 635 w 793"/>
                  <a:gd name="T59" fmla="*/ 369 h 369"/>
                  <a:gd name="T60" fmla="*/ 635 w 793"/>
                  <a:gd name="T61" fmla="*/ 369 h 369"/>
                  <a:gd name="T62" fmla="*/ 637 w 793"/>
                  <a:gd name="T63" fmla="*/ 369 h 369"/>
                  <a:gd name="T64" fmla="*/ 638 w 793"/>
                  <a:gd name="T65" fmla="*/ 369 h 369"/>
                  <a:gd name="T66" fmla="*/ 640 w 793"/>
                  <a:gd name="T67" fmla="*/ 369 h 369"/>
                  <a:gd name="T68" fmla="*/ 642 w 793"/>
                  <a:gd name="T69" fmla="*/ 369 h 369"/>
                  <a:gd name="T70" fmla="*/ 652 w 793"/>
                  <a:gd name="T71" fmla="*/ 369 h 369"/>
                  <a:gd name="T72" fmla="*/ 662 w 793"/>
                  <a:gd name="T73" fmla="*/ 366 h 369"/>
                  <a:gd name="T74" fmla="*/ 672 w 793"/>
                  <a:gd name="T75" fmla="*/ 364 h 369"/>
                  <a:gd name="T76" fmla="*/ 681 w 793"/>
                  <a:gd name="T77" fmla="*/ 361 h 369"/>
                  <a:gd name="T78" fmla="*/ 690 w 793"/>
                  <a:gd name="T79" fmla="*/ 356 h 369"/>
                  <a:gd name="T80" fmla="*/ 699 w 793"/>
                  <a:gd name="T81" fmla="*/ 351 h 369"/>
                  <a:gd name="T82" fmla="*/ 707 w 793"/>
                  <a:gd name="T83" fmla="*/ 344 h 369"/>
                  <a:gd name="T84" fmla="*/ 715 w 793"/>
                  <a:gd name="T85" fmla="*/ 338 h 369"/>
                  <a:gd name="T86" fmla="*/ 737 w 793"/>
                  <a:gd name="T87" fmla="*/ 310 h 369"/>
                  <a:gd name="T88" fmla="*/ 754 w 793"/>
                  <a:gd name="T89" fmla="*/ 274 h 369"/>
                  <a:gd name="T90" fmla="*/ 768 w 793"/>
                  <a:gd name="T91" fmla="*/ 234 h 369"/>
                  <a:gd name="T92" fmla="*/ 779 w 793"/>
                  <a:gd name="T93" fmla="*/ 189 h 369"/>
                  <a:gd name="T94" fmla="*/ 786 w 793"/>
                  <a:gd name="T95" fmla="*/ 142 h 369"/>
                  <a:gd name="T96" fmla="*/ 789 w 793"/>
                  <a:gd name="T97" fmla="*/ 94 h 369"/>
                  <a:gd name="T98" fmla="*/ 791 w 793"/>
                  <a:gd name="T99" fmla="*/ 46 h 369"/>
                  <a:gd name="T100" fmla="*/ 793 w 793"/>
                  <a:gd name="T101" fmla="*/ 0 h 369"/>
                  <a:gd name="T102" fmla="*/ 763 w 793"/>
                  <a:gd name="T103" fmla="*/ 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93" h="369">
                    <a:moveTo>
                      <a:pt x="763" y="0"/>
                    </a:moveTo>
                    <a:lnTo>
                      <a:pt x="760" y="76"/>
                    </a:lnTo>
                    <a:lnTo>
                      <a:pt x="754" y="144"/>
                    </a:lnTo>
                    <a:lnTo>
                      <a:pt x="744" y="202"/>
                    </a:lnTo>
                    <a:lnTo>
                      <a:pt x="730" y="250"/>
                    </a:lnTo>
                    <a:lnTo>
                      <a:pt x="713" y="288"/>
                    </a:lnTo>
                    <a:lnTo>
                      <a:pt x="692" y="316"/>
                    </a:lnTo>
                    <a:lnTo>
                      <a:pt x="668" y="332"/>
                    </a:lnTo>
                    <a:lnTo>
                      <a:pt x="642" y="338"/>
                    </a:lnTo>
                    <a:lnTo>
                      <a:pt x="622" y="335"/>
                    </a:lnTo>
                    <a:lnTo>
                      <a:pt x="602" y="328"/>
                    </a:lnTo>
                    <a:lnTo>
                      <a:pt x="584" y="316"/>
                    </a:lnTo>
                    <a:lnTo>
                      <a:pt x="567" y="300"/>
                    </a:lnTo>
                    <a:lnTo>
                      <a:pt x="549" y="279"/>
                    </a:lnTo>
                    <a:lnTo>
                      <a:pt x="534" y="255"/>
                    </a:lnTo>
                    <a:lnTo>
                      <a:pt x="521" y="226"/>
                    </a:lnTo>
                    <a:lnTo>
                      <a:pt x="508" y="194"/>
                    </a:lnTo>
                    <a:lnTo>
                      <a:pt x="504" y="183"/>
                    </a:lnTo>
                    <a:lnTo>
                      <a:pt x="0" y="183"/>
                    </a:lnTo>
                    <a:lnTo>
                      <a:pt x="8" y="204"/>
                    </a:lnTo>
                    <a:lnTo>
                      <a:pt x="22" y="241"/>
                    </a:lnTo>
                    <a:lnTo>
                      <a:pt x="37" y="273"/>
                    </a:lnTo>
                    <a:lnTo>
                      <a:pt x="53" y="301"/>
                    </a:lnTo>
                    <a:lnTo>
                      <a:pt x="70" y="323"/>
                    </a:lnTo>
                    <a:lnTo>
                      <a:pt x="88" y="341"/>
                    </a:lnTo>
                    <a:lnTo>
                      <a:pt x="108" y="355"/>
                    </a:lnTo>
                    <a:lnTo>
                      <a:pt x="128" y="364"/>
                    </a:lnTo>
                    <a:lnTo>
                      <a:pt x="149" y="369"/>
                    </a:lnTo>
                    <a:lnTo>
                      <a:pt x="149" y="369"/>
                    </a:lnTo>
                    <a:lnTo>
                      <a:pt x="635" y="369"/>
                    </a:lnTo>
                    <a:lnTo>
                      <a:pt x="635" y="369"/>
                    </a:lnTo>
                    <a:lnTo>
                      <a:pt x="637" y="369"/>
                    </a:lnTo>
                    <a:lnTo>
                      <a:pt x="638" y="369"/>
                    </a:lnTo>
                    <a:lnTo>
                      <a:pt x="640" y="369"/>
                    </a:lnTo>
                    <a:lnTo>
                      <a:pt x="642" y="369"/>
                    </a:lnTo>
                    <a:lnTo>
                      <a:pt x="652" y="369"/>
                    </a:lnTo>
                    <a:lnTo>
                      <a:pt x="662" y="366"/>
                    </a:lnTo>
                    <a:lnTo>
                      <a:pt x="672" y="364"/>
                    </a:lnTo>
                    <a:lnTo>
                      <a:pt x="681" y="361"/>
                    </a:lnTo>
                    <a:lnTo>
                      <a:pt x="690" y="356"/>
                    </a:lnTo>
                    <a:lnTo>
                      <a:pt x="699" y="351"/>
                    </a:lnTo>
                    <a:lnTo>
                      <a:pt x="707" y="344"/>
                    </a:lnTo>
                    <a:lnTo>
                      <a:pt x="715" y="338"/>
                    </a:lnTo>
                    <a:lnTo>
                      <a:pt x="737" y="310"/>
                    </a:lnTo>
                    <a:lnTo>
                      <a:pt x="754" y="274"/>
                    </a:lnTo>
                    <a:lnTo>
                      <a:pt x="768" y="234"/>
                    </a:lnTo>
                    <a:lnTo>
                      <a:pt x="779" y="189"/>
                    </a:lnTo>
                    <a:lnTo>
                      <a:pt x="786" y="142"/>
                    </a:lnTo>
                    <a:lnTo>
                      <a:pt x="789" y="94"/>
                    </a:lnTo>
                    <a:lnTo>
                      <a:pt x="791" y="46"/>
                    </a:lnTo>
                    <a:lnTo>
                      <a:pt x="793" y="0"/>
                    </a:lnTo>
                    <a:lnTo>
                      <a:pt x="763"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6" name="Freeform 179">
                <a:extLst>
                  <a:ext uri="{FF2B5EF4-FFF2-40B4-BE49-F238E27FC236}">
                    <a16:creationId xmlns:a16="http://schemas.microsoft.com/office/drawing/2014/main" id="{54FB138F-0348-4810-B0E9-FE01127C235D}"/>
                  </a:ext>
                </a:extLst>
              </p:cNvPr>
              <p:cNvSpPr>
                <a:spLocks/>
              </p:cNvSpPr>
              <p:nvPr/>
            </p:nvSpPr>
            <p:spPr bwMode="auto">
              <a:xfrm>
                <a:off x="3569953" y="4094156"/>
                <a:ext cx="251875" cy="59604"/>
              </a:xfrm>
              <a:custGeom>
                <a:avLst/>
                <a:gdLst>
                  <a:gd name="T0" fmla="*/ 118 w 524"/>
                  <a:gd name="T1" fmla="*/ 126 h 126"/>
                  <a:gd name="T2" fmla="*/ 100 w 524"/>
                  <a:gd name="T3" fmla="*/ 123 h 126"/>
                  <a:gd name="T4" fmla="*/ 84 w 524"/>
                  <a:gd name="T5" fmla="*/ 118 h 126"/>
                  <a:gd name="T6" fmla="*/ 69 w 524"/>
                  <a:gd name="T7" fmla="*/ 108 h 126"/>
                  <a:gd name="T8" fmla="*/ 54 w 524"/>
                  <a:gd name="T9" fmla="*/ 95 h 126"/>
                  <a:gd name="T10" fmla="*/ 39 w 524"/>
                  <a:gd name="T11" fmla="*/ 77 h 126"/>
                  <a:gd name="T12" fmla="*/ 27 w 524"/>
                  <a:gd name="T13" fmla="*/ 55 h 126"/>
                  <a:gd name="T14" fmla="*/ 13 w 524"/>
                  <a:gd name="T15" fmla="*/ 30 h 126"/>
                  <a:gd name="T16" fmla="*/ 0 w 524"/>
                  <a:gd name="T17" fmla="*/ 0 h 126"/>
                  <a:gd name="T18" fmla="*/ 443 w 524"/>
                  <a:gd name="T19" fmla="*/ 0 h 126"/>
                  <a:gd name="T20" fmla="*/ 451 w 524"/>
                  <a:gd name="T21" fmla="*/ 21 h 126"/>
                  <a:gd name="T22" fmla="*/ 460 w 524"/>
                  <a:gd name="T23" fmla="*/ 41 h 126"/>
                  <a:gd name="T24" fmla="*/ 469 w 524"/>
                  <a:gd name="T25" fmla="*/ 58 h 126"/>
                  <a:gd name="T26" fmla="*/ 480 w 524"/>
                  <a:gd name="T27" fmla="*/ 75 h 126"/>
                  <a:gd name="T28" fmla="*/ 490 w 524"/>
                  <a:gd name="T29" fmla="*/ 90 h 126"/>
                  <a:gd name="T30" fmla="*/ 501 w 524"/>
                  <a:gd name="T31" fmla="*/ 104 h 126"/>
                  <a:gd name="T32" fmla="*/ 513 w 524"/>
                  <a:gd name="T33" fmla="*/ 115 h 126"/>
                  <a:gd name="T34" fmla="*/ 524 w 524"/>
                  <a:gd name="T35" fmla="*/ 126 h 126"/>
                  <a:gd name="T36" fmla="*/ 118 w 524"/>
                  <a:gd name="T37"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4" h="126">
                    <a:moveTo>
                      <a:pt x="118" y="126"/>
                    </a:moveTo>
                    <a:lnTo>
                      <a:pt x="100" y="123"/>
                    </a:lnTo>
                    <a:lnTo>
                      <a:pt x="84" y="118"/>
                    </a:lnTo>
                    <a:lnTo>
                      <a:pt x="69" y="108"/>
                    </a:lnTo>
                    <a:lnTo>
                      <a:pt x="54" y="95"/>
                    </a:lnTo>
                    <a:lnTo>
                      <a:pt x="39" y="77"/>
                    </a:lnTo>
                    <a:lnTo>
                      <a:pt x="27" y="55"/>
                    </a:lnTo>
                    <a:lnTo>
                      <a:pt x="13" y="30"/>
                    </a:lnTo>
                    <a:lnTo>
                      <a:pt x="0" y="0"/>
                    </a:lnTo>
                    <a:lnTo>
                      <a:pt x="443" y="0"/>
                    </a:lnTo>
                    <a:lnTo>
                      <a:pt x="451" y="21"/>
                    </a:lnTo>
                    <a:lnTo>
                      <a:pt x="460" y="41"/>
                    </a:lnTo>
                    <a:lnTo>
                      <a:pt x="469" y="58"/>
                    </a:lnTo>
                    <a:lnTo>
                      <a:pt x="480" y="75"/>
                    </a:lnTo>
                    <a:lnTo>
                      <a:pt x="490" y="90"/>
                    </a:lnTo>
                    <a:lnTo>
                      <a:pt x="501" y="104"/>
                    </a:lnTo>
                    <a:lnTo>
                      <a:pt x="513" y="115"/>
                    </a:lnTo>
                    <a:lnTo>
                      <a:pt x="524" y="126"/>
                    </a:lnTo>
                    <a:lnTo>
                      <a:pt x="118" y="126"/>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7" name="Freeform 180">
                <a:extLst>
                  <a:ext uri="{FF2B5EF4-FFF2-40B4-BE49-F238E27FC236}">
                    <a16:creationId xmlns:a16="http://schemas.microsoft.com/office/drawing/2014/main" id="{BE97120B-D765-4853-B3A1-B9402472B8BB}"/>
                  </a:ext>
                </a:extLst>
              </p:cNvPr>
              <p:cNvSpPr>
                <a:spLocks/>
              </p:cNvSpPr>
              <p:nvPr/>
            </p:nvSpPr>
            <p:spPr bwMode="auto">
              <a:xfrm>
                <a:off x="3742998" y="4005711"/>
                <a:ext cx="35570" cy="42300"/>
              </a:xfrm>
              <a:custGeom>
                <a:avLst/>
                <a:gdLst>
                  <a:gd name="T0" fmla="*/ 38 w 75"/>
                  <a:gd name="T1" fmla="*/ 88 h 88"/>
                  <a:gd name="T2" fmla="*/ 45 w 75"/>
                  <a:gd name="T3" fmla="*/ 87 h 88"/>
                  <a:gd name="T4" fmla="*/ 52 w 75"/>
                  <a:gd name="T5" fmla="*/ 84 h 88"/>
                  <a:gd name="T6" fmla="*/ 58 w 75"/>
                  <a:gd name="T7" fmla="*/ 81 h 88"/>
                  <a:gd name="T8" fmla="*/ 63 w 75"/>
                  <a:gd name="T9" fmla="*/ 75 h 88"/>
                  <a:gd name="T10" fmla="*/ 68 w 75"/>
                  <a:gd name="T11" fmla="*/ 68 h 88"/>
                  <a:gd name="T12" fmla="*/ 71 w 75"/>
                  <a:gd name="T13" fmla="*/ 61 h 88"/>
                  <a:gd name="T14" fmla="*/ 73 w 75"/>
                  <a:gd name="T15" fmla="*/ 53 h 88"/>
                  <a:gd name="T16" fmla="*/ 75 w 75"/>
                  <a:gd name="T17" fmla="*/ 44 h 88"/>
                  <a:gd name="T18" fmla="*/ 73 w 75"/>
                  <a:gd name="T19" fmla="*/ 35 h 88"/>
                  <a:gd name="T20" fmla="*/ 71 w 75"/>
                  <a:gd name="T21" fmla="*/ 27 h 88"/>
                  <a:gd name="T22" fmla="*/ 68 w 75"/>
                  <a:gd name="T23" fmla="*/ 20 h 88"/>
                  <a:gd name="T24" fmla="*/ 63 w 75"/>
                  <a:gd name="T25" fmla="*/ 13 h 88"/>
                  <a:gd name="T26" fmla="*/ 58 w 75"/>
                  <a:gd name="T27" fmla="*/ 7 h 88"/>
                  <a:gd name="T28" fmla="*/ 52 w 75"/>
                  <a:gd name="T29" fmla="*/ 4 h 88"/>
                  <a:gd name="T30" fmla="*/ 45 w 75"/>
                  <a:gd name="T31" fmla="*/ 2 h 88"/>
                  <a:gd name="T32" fmla="*/ 38 w 75"/>
                  <a:gd name="T33" fmla="*/ 0 h 88"/>
                  <a:gd name="T34" fmla="*/ 30 w 75"/>
                  <a:gd name="T35" fmla="*/ 2 h 88"/>
                  <a:gd name="T36" fmla="*/ 23 w 75"/>
                  <a:gd name="T37" fmla="*/ 4 h 88"/>
                  <a:gd name="T38" fmla="*/ 17 w 75"/>
                  <a:gd name="T39" fmla="*/ 7 h 88"/>
                  <a:gd name="T40" fmla="*/ 11 w 75"/>
                  <a:gd name="T41" fmla="*/ 13 h 88"/>
                  <a:gd name="T42" fmla="*/ 7 w 75"/>
                  <a:gd name="T43" fmla="*/ 20 h 88"/>
                  <a:gd name="T44" fmla="*/ 3 w 75"/>
                  <a:gd name="T45" fmla="*/ 27 h 88"/>
                  <a:gd name="T46" fmla="*/ 1 w 75"/>
                  <a:gd name="T47" fmla="*/ 35 h 88"/>
                  <a:gd name="T48" fmla="*/ 0 w 75"/>
                  <a:gd name="T49" fmla="*/ 44 h 88"/>
                  <a:gd name="T50" fmla="*/ 1 w 75"/>
                  <a:gd name="T51" fmla="*/ 53 h 88"/>
                  <a:gd name="T52" fmla="*/ 3 w 75"/>
                  <a:gd name="T53" fmla="*/ 61 h 88"/>
                  <a:gd name="T54" fmla="*/ 7 w 75"/>
                  <a:gd name="T55" fmla="*/ 68 h 88"/>
                  <a:gd name="T56" fmla="*/ 11 w 75"/>
                  <a:gd name="T57" fmla="*/ 75 h 88"/>
                  <a:gd name="T58" fmla="*/ 17 w 75"/>
                  <a:gd name="T59" fmla="*/ 81 h 88"/>
                  <a:gd name="T60" fmla="*/ 23 w 75"/>
                  <a:gd name="T61" fmla="*/ 84 h 88"/>
                  <a:gd name="T62" fmla="*/ 30 w 75"/>
                  <a:gd name="T63" fmla="*/ 87 h 88"/>
                  <a:gd name="T64" fmla="*/ 38 w 75"/>
                  <a:gd name="T6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5" h="88">
                    <a:moveTo>
                      <a:pt x="38" y="88"/>
                    </a:moveTo>
                    <a:lnTo>
                      <a:pt x="45" y="87"/>
                    </a:lnTo>
                    <a:lnTo>
                      <a:pt x="52" y="84"/>
                    </a:lnTo>
                    <a:lnTo>
                      <a:pt x="58" y="81"/>
                    </a:lnTo>
                    <a:lnTo>
                      <a:pt x="63" y="75"/>
                    </a:lnTo>
                    <a:lnTo>
                      <a:pt x="68" y="68"/>
                    </a:lnTo>
                    <a:lnTo>
                      <a:pt x="71" y="61"/>
                    </a:lnTo>
                    <a:lnTo>
                      <a:pt x="73" y="53"/>
                    </a:lnTo>
                    <a:lnTo>
                      <a:pt x="75" y="44"/>
                    </a:lnTo>
                    <a:lnTo>
                      <a:pt x="73" y="35"/>
                    </a:lnTo>
                    <a:lnTo>
                      <a:pt x="71" y="27"/>
                    </a:lnTo>
                    <a:lnTo>
                      <a:pt x="68" y="20"/>
                    </a:lnTo>
                    <a:lnTo>
                      <a:pt x="63" y="13"/>
                    </a:lnTo>
                    <a:lnTo>
                      <a:pt x="58" y="7"/>
                    </a:lnTo>
                    <a:lnTo>
                      <a:pt x="52" y="4"/>
                    </a:lnTo>
                    <a:lnTo>
                      <a:pt x="45" y="2"/>
                    </a:lnTo>
                    <a:lnTo>
                      <a:pt x="38" y="0"/>
                    </a:lnTo>
                    <a:lnTo>
                      <a:pt x="30" y="2"/>
                    </a:lnTo>
                    <a:lnTo>
                      <a:pt x="23" y="4"/>
                    </a:lnTo>
                    <a:lnTo>
                      <a:pt x="17" y="7"/>
                    </a:lnTo>
                    <a:lnTo>
                      <a:pt x="11" y="13"/>
                    </a:lnTo>
                    <a:lnTo>
                      <a:pt x="7" y="20"/>
                    </a:lnTo>
                    <a:lnTo>
                      <a:pt x="3" y="27"/>
                    </a:lnTo>
                    <a:lnTo>
                      <a:pt x="1" y="35"/>
                    </a:lnTo>
                    <a:lnTo>
                      <a:pt x="0" y="44"/>
                    </a:lnTo>
                    <a:lnTo>
                      <a:pt x="1" y="53"/>
                    </a:lnTo>
                    <a:lnTo>
                      <a:pt x="3" y="61"/>
                    </a:lnTo>
                    <a:lnTo>
                      <a:pt x="7" y="68"/>
                    </a:lnTo>
                    <a:lnTo>
                      <a:pt x="11" y="75"/>
                    </a:lnTo>
                    <a:lnTo>
                      <a:pt x="17" y="81"/>
                    </a:lnTo>
                    <a:lnTo>
                      <a:pt x="23" y="84"/>
                    </a:lnTo>
                    <a:lnTo>
                      <a:pt x="30" y="87"/>
                    </a:lnTo>
                    <a:lnTo>
                      <a:pt x="38" y="8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8" name="Freeform 181">
                <a:extLst>
                  <a:ext uri="{FF2B5EF4-FFF2-40B4-BE49-F238E27FC236}">
                    <a16:creationId xmlns:a16="http://schemas.microsoft.com/office/drawing/2014/main" id="{8D6DC8F7-AE7D-4FFD-A98E-3168A355C298}"/>
                  </a:ext>
                </a:extLst>
              </p:cNvPr>
              <p:cNvSpPr>
                <a:spLocks/>
              </p:cNvSpPr>
              <p:nvPr/>
            </p:nvSpPr>
            <p:spPr bwMode="auto">
              <a:xfrm>
                <a:off x="3854520" y="4005711"/>
                <a:ext cx="35570" cy="42300"/>
              </a:xfrm>
              <a:custGeom>
                <a:avLst/>
                <a:gdLst>
                  <a:gd name="T0" fmla="*/ 37 w 74"/>
                  <a:gd name="T1" fmla="*/ 88 h 88"/>
                  <a:gd name="T2" fmla="*/ 44 w 74"/>
                  <a:gd name="T3" fmla="*/ 87 h 88"/>
                  <a:gd name="T4" fmla="*/ 51 w 74"/>
                  <a:gd name="T5" fmla="*/ 84 h 88"/>
                  <a:gd name="T6" fmla="*/ 58 w 74"/>
                  <a:gd name="T7" fmla="*/ 81 h 88"/>
                  <a:gd name="T8" fmla="*/ 63 w 74"/>
                  <a:gd name="T9" fmla="*/ 75 h 88"/>
                  <a:gd name="T10" fmla="*/ 67 w 74"/>
                  <a:gd name="T11" fmla="*/ 68 h 88"/>
                  <a:gd name="T12" fmla="*/ 71 w 74"/>
                  <a:gd name="T13" fmla="*/ 61 h 88"/>
                  <a:gd name="T14" fmla="*/ 73 w 74"/>
                  <a:gd name="T15" fmla="*/ 53 h 88"/>
                  <a:gd name="T16" fmla="*/ 74 w 74"/>
                  <a:gd name="T17" fmla="*/ 44 h 88"/>
                  <a:gd name="T18" fmla="*/ 73 w 74"/>
                  <a:gd name="T19" fmla="*/ 35 h 88"/>
                  <a:gd name="T20" fmla="*/ 71 w 74"/>
                  <a:gd name="T21" fmla="*/ 27 h 88"/>
                  <a:gd name="T22" fmla="*/ 67 w 74"/>
                  <a:gd name="T23" fmla="*/ 20 h 88"/>
                  <a:gd name="T24" fmla="*/ 63 w 74"/>
                  <a:gd name="T25" fmla="*/ 13 h 88"/>
                  <a:gd name="T26" fmla="*/ 58 w 74"/>
                  <a:gd name="T27" fmla="*/ 7 h 88"/>
                  <a:gd name="T28" fmla="*/ 51 w 74"/>
                  <a:gd name="T29" fmla="*/ 4 h 88"/>
                  <a:gd name="T30" fmla="*/ 44 w 74"/>
                  <a:gd name="T31" fmla="*/ 2 h 88"/>
                  <a:gd name="T32" fmla="*/ 37 w 74"/>
                  <a:gd name="T33" fmla="*/ 0 h 88"/>
                  <a:gd name="T34" fmla="*/ 29 w 74"/>
                  <a:gd name="T35" fmla="*/ 2 h 88"/>
                  <a:gd name="T36" fmla="*/ 22 w 74"/>
                  <a:gd name="T37" fmla="*/ 4 h 88"/>
                  <a:gd name="T38" fmla="*/ 17 w 74"/>
                  <a:gd name="T39" fmla="*/ 7 h 88"/>
                  <a:gd name="T40" fmla="*/ 11 w 74"/>
                  <a:gd name="T41" fmla="*/ 13 h 88"/>
                  <a:gd name="T42" fmla="*/ 6 w 74"/>
                  <a:gd name="T43" fmla="*/ 20 h 88"/>
                  <a:gd name="T44" fmla="*/ 3 w 74"/>
                  <a:gd name="T45" fmla="*/ 27 h 88"/>
                  <a:gd name="T46" fmla="*/ 2 w 74"/>
                  <a:gd name="T47" fmla="*/ 35 h 88"/>
                  <a:gd name="T48" fmla="*/ 0 w 74"/>
                  <a:gd name="T49" fmla="*/ 44 h 88"/>
                  <a:gd name="T50" fmla="*/ 2 w 74"/>
                  <a:gd name="T51" fmla="*/ 53 h 88"/>
                  <a:gd name="T52" fmla="*/ 3 w 74"/>
                  <a:gd name="T53" fmla="*/ 61 h 88"/>
                  <a:gd name="T54" fmla="*/ 6 w 74"/>
                  <a:gd name="T55" fmla="*/ 68 h 88"/>
                  <a:gd name="T56" fmla="*/ 11 w 74"/>
                  <a:gd name="T57" fmla="*/ 75 h 88"/>
                  <a:gd name="T58" fmla="*/ 17 w 74"/>
                  <a:gd name="T59" fmla="*/ 81 h 88"/>
                  <a:gd name="T60" fmla="*/ 22 w 74"/>
                  <a:gd name="T61" fmla="*/ 84 h 88"/>
                  <a:gd name="T62" fmla="*/ 29 w 74"/>
                  <a:gd name="T63" fmla="*/ 87 h 88"/>
                  <a:gd name="T64" fmla="*/ 37 w 74"/>
                  <a:gd name="T65"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4" h="88">
                    <a:moveTo>
                      <a:pt x="37" y="88"/>
                    </a:moveTo>
                    <a:lnTo>
                      <a:pt x="44" y="87"/>
                    </a:lnTo>
                    <a:lnTo>
                      <a:pt x="51" y="84"/>
                    </a:lnTo>
                    <a:lnTo>
                      <a:pt x="58" y="81"/>
                    </a:lnTo>
                    <a:lnTo>
                      <a:pt x="63" y="75"/>
                    </a:lnTo>
                    <a:lnTo>
                      <a:pt x="67" y="68"/>
                    </a:lnTo>
                    <a:lnTo>
                      <a:pt x="71" y="61"/>
                    </a:lnTo>
                    <a:lnTo>
                      <a:pt x="73" y="53"/>
                    </a:lnTo>
                    <a:lnTo>
                      <a:pt x="74" y="44"/>
                    </a:lnTo>
                    <a:lnTo>
                      <a:pt x="73" y="35"/>
                    </a:lnTo>
                    <a:lnTo>
                      <a:pt x="71" y="27"/>
                    </a:lnTo>
                    <a:lnTo>
                      <a:pt x="67" y="20"/>
                    </a:lnTo>
                    <a:lnTo>
                      <a:pt x="63" y="13"/>
                    </a:lnTo>
                    <a:lnTo>
                      <a:pt x="58" y="7"/>
                    </a:lnTo>
                    <a:lnTo>
                      <a:pt x="51" y="4"/>
                    </a:lnTo>
                    <a:lnTo>
                      <a:pt x="44" y="2"/>
                    </a:lnTo>
                    <a:lnTo>
                      <a:pt x="37" y="0"/>
                    </a:lnTo>
                    <a:lnTo>
                      <a:pt x="29" y="2"/>
                    </a:lnTo>
                    <a:lnTo>
                      <a:pt x="22" y="4"/>
                    </a:lnTo>
                    <a:lnTo>
                      <a:pt x="17" y="7"/>
                    </a:lnTo>
                    <a:lnTo>
                      <a:pt x="11" y="13"/>
                    </a:lnTo>
                    <a:lnTo>
                      <a:pt x="6" y="20"/>
                    </a:lnTo>
                    <a:lnTo>
                      <a:pt x="3" y="27"/>
                    </a:lnTo>
                    <a:lnTo>
                      <a:pt x="2" y="35"/>
                    </a:lnTo>
                    <a:lnTo>
                      <a:pt x="0" y="44"/>
                    </a:lnTo>
                    <a:lnTo>
                      <a:pt x="2" y="53"/>
                    </a:lnTo>
                    <a:lnTo>
                      <a:pt x="3" y="61"/>
                    </a:lnTo>
                    <a:lnTo>
                      <a:pt x="6" y="68"/>
                    </a:lnTo>
                    <a:lnTo>
                      <a:pt x="11" y="75"/>
                    </a:lnTo>
                    <a:lnTo>
                      <a:pt x="17" y="81"/>
                    </a:lnTo>
                    <a:lnTo>
                      <a:pt x="22" y="84"/>
                    </a:lnTo>
                    <a:lnTo>
                      <a:pt x="29" y="87"/>
                    </a:lnTo>
                    <a:lnTo>
                      <a:pt x="37" y="8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39" name="Rectangle 182">
                <a:extLst>
                  <a:ext uri="{FF2B5EF4-FFF2-40B4-BE49-F238E27FC236}">
                    <a16:creationId xmlns:a16="http://schemas.microsoft.com/office/drawing/2014/main" id="{28205302-18D6-4EB9-AE2E-105701271103}"/>
                  </a:ext>
                </a:extLst>
              </p:cNvPr>
              <p:cNvSpPr>
                <a:spLocks noChangeArrowheads="1"/>
              </p:cNvSpPr>
              <p:nvPr/>
            </p:nvSpPr>
            <p:spPr bwMode="auto">
              <a:xfrm>
                <a:off x="3952555" y="3986482"/>
                <a:ext cx="7691" cy="29994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40" name="Rectangle 183">
                <a:extLst>
                  <a:ext uri="{FF2B5EF4-FFF2-40B4-BE49-F238E27FC236}">
                    <a16:creationId xmlns:a16="http://schemas.microsoft.com/office/drawing/2014/main" id="{9C7DB4BF-2C29-426C-858A-E195D8E070BD}"/>
                  </a:ext>
                </a:extLst>
              </p:cNvPr>
              <p:cNvSpPr>
                <a:spLocks noChangeArrowheads="1"/>
              </p:cNvSpPr>
              <p:nvPr/>
            </p:nvSpPr>
            <p:spPr bwMode="auto">
              <a:xfrm>
                <a:off x="3979549" y="3986481"/>
                <a:ext cx="7691" cy="29994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341" name="Group 1340">
            <a:extLst>
              <a:ext uri="{FF2B5EF4-FFF2-40B4-BE49-F238E27FC236}">
                <a16:creationId xmlns:a16="http://schemas.microsoft.com/office/drawing/2014/main" id="{5437BA52-E9A7-41C7-B6F1-99403B9F6381}"/>
              </a:ext>
            </a:extLst>
          </p:cNvPr>
          <p:cNvGrpSpPr/>
          <p:nvPr/>
        </p:nvGrpSpPr>
        <p:grpSpPr>
          <a:xfrm>
            <a:off x="6847381" y="1626836"/>
            <a:ext cx="612775" cy="612775"/>
            <a:chOff x="5692752" y="2265179"/>
            <a:chExt cx="612775" cy="612775"/>
          </a:xfrm>
        </p:grpSpPr>
        <p:sp>
          <p:nvSpPr>
            <p:cNvPr id="1342" name="Oval 1341">
              <a:extLst>
                <a:ext uri="{FF2B5EF4-FFF2-40B4-BE49-F238E27FC236}">
                  <a16:creationId xmlns:a16="http://schemas.microsoft.com/office/drawing/2014/main" id="{E3F6C1CF-AD42-441F-85EB-07E3B123F4B3}"/>
                </a:ext>
              </a:extLst>
            </p:cNvPr>
            <p:cNvSpPr/>
            <p:nvPr/>
          </p:nvSpPr>
          <p:spPr bwMode="ltGray">
            <a:xfrm>
              <a:off x="5692752"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343" name="Freeform 368">
              <a:extLst>
                <a:ext uri="{FF2B5EF4-FFF2-40B4-BE49-F238E27FC236}">
                  <a16:creationId xmlns:a16="http://schemas.microsoft.com/office/drawing/2014/main" id="{A7D82197-517C-4B32-9CF5-F46C28DAEE99}"/>
                </a:ext>
              </a:extLst>
            </p:cNvPr>
            <p:cNvSpPr>
              <a:spLocks noEditPoints="1"/>
            </p:cNvSpPr>
            <p:nvPr/>
          </p:nvSpPr>
          <p:spPr bwMode="auto">
            <a:xfrm>
              <a:off x="5795052" y="2366067"/>
              <a:ext cx="411274" cy="387958"/>
            </a:xfrm>
            <a:custGeom>
              <a:avLst/>
              <a:gdLst>
                <a:gd name="T0" fmla="*/ 2514 w 3422"/>
                <a:gd name="T1" fmla="*/ 434 h 3228"/>
                <a:gd name="T2" fmla="*/ 2366 w 3422"/>
                <a:gd name="T3" fmla="*/ 592 h 3228"/>
                <a:gd name="T4" fmla="*/ 944 w 3422"/>
                <a:gd name="T5" fmla="*/ 1276 h 3228"/>
                <a:gd name="T6" fmla="*/ 3006 w 3422"/>
                <a:gd name="T7" fmla="*/ 3080 h 3228"/>
                <a:gd name="T8" fmla="*/ 632 w 3422"/>
                <a:gd name="T9" fmla="*/ 3228 h 3228"/>
                <a:gd name="T10" fmla="*/ 484 w 3422"/>
                <a:gd name="T11" fmla="*/ 2750 h 3228"/>
                <a:gd name="T12" fmla="*/ 334 w 3422"/>
                <a:gd name="T13" fmla="*/ 2748 h 3228"/>
                <a:gd name="T14" fmla="*/ 226 w 3422"/>
                <a:gd name="T15" fmla="*/ 2720 h 3228"/>
                <a:gd name="T16" fmla="*/ 136 w 3422"/>
                <a:gd name="T17" fmla="*/ 2664 h 3228"/>
                <a:gd name="T18" fmla="*/ 64 w 3422"/>
                <a:gd name="T19" fmla="*/ 2586 h 3228"/>
                <a:gd name="T20" fmla="*/ 16 w 3422"/>
                <a:gd name="T21" fmla="*/ 2488 h 3228"/>
                <a:gd name="T22" fmla="*/ 0 w 3422"/>
                <a:gd name="T23" fmla="*/ 2378 h 3228"/>
                <a:gd name="T24" fmla="*/ 2 w 3422"/>
                <a:gd name="T25" fmla="*/ 1376 h 3228"/>
                <a:gd name="T26" fmla="*/ 30 w 3422"/>
                <a:gd name="T27" fmla="*/ 1270 h 3228"/>
                <a:gd name="T28" fmla="*/ 84 w 3422"/>
                <a:gd name="T29" fmla="*/ 1178 h 3228"/>
                <a:gd name="T30" fmla="*/ 164 w 3422"/>
                <a:gd name="T31" fmla="*/ 1106 h 3228"/>
                <a:gd name="T32" fmla="*/ 260 w 3422"/>
                <a:gd name="T33" fmla="*/ 1060 h 3228"/>
                <a:gd name="T34" fmla="*/ 372 w 3422"/>
                <a:gd name="T35" fmla="*/ 1044 h 3228"/>
                <a:gd name="T36" fmla="*/ 720 w 3422"/>
                <a:gd name="T37" fmla="*/ 0 h 3228"/>
                <a:gd name="T38" fmla="*/ 1452 w 3422"/>
                <a:gd name="T39" fmla="*/ 0 h 3228"/>
                <a:gd name="T40" fmla="*/ 2738 w 3422"/>
                <a:gd name="T41" fmla="*/ 162 h 3228"/>
                <a:gd name="T42" fmla="*/ 3050 w 3422"/>
                <a:gd name="T43" fmla="*/ 1044 h 3228"/>
                <a:gd name="T44" fmla="*/ 3124 w 3422"/>
                <a:gd name="T45" fmla="*/ 1050 h 3228"/>
                <a:gd name="T46" fmla="*/ 3226 w 3422"/>
                <a:gd name="T47" fmla="*/ 1088 h 3228"/>
                <a:gd name="T48" fmla="*/ 3312 w 3422"/>
                <a:gd name="T49" fmla="*/ 1152 h 3228"/>
                <a:gd name="T50" fmla="*/ 3376 w 3422"/>
                <a:gd name="T51" fmla="*/ 1238 h 3228"/>
                <a:gd name="T52" fmla="*/ 3414 w 3422"/>
                <a:gd name="T53" fmla="*/ 1340 h 3228"/>
                <a:gd name="T54" fmla="*/ 3422 w 3422"/>
                <a:gd name="T55" fmla="*/ 2378 h 3228"/>
                <a:gd name="T56" fmla="*/ 3414 w 3422"/>
                <a:gd name="T57" fmla="*/ 2452 h 3228"/>
                <a:gd name="T58" fmla="*/ 3376 w 3422"/>
                <a:gd name="T59" fmla="*/ 2554 h 3228"/>
                <a:gd name="T60" fmla="*/ 3312 w 3422"/>
                <a:gd name="T61" fmla="*/ 2640 h 3228"/>
                <a:gd name="T62" fmla="*/ 3226 w 3422"/>
                <a:gd name="T63" fmla="*/ 2704 h 3228"/>
                <a:gd name="T64" fmla="*/ 3124 w 3422"/>
                <a:gd name="T65" fmla="*/ 2742 h 3228"/>
                <a:gd name="T66" fmla="*/ 3006 w 3422"/>
                <a:gd name="T67" fmla="*/ 2750 h 3228"/>
                <a:gd name="T68" fmla="*/ 780 w 3422"/>
                <a:gd name="T69" fmla="*/ 2932 h 3228"/>
                <a:gd name="T70" fmla="*/ 780 w 3422"/>
                <a:gd name="T71" fmla="*/ 2750 h 3228"/>
                <a:gd name="T72" fmla="*/ 2304 w 3422"/>
                <a:gd name="T73" fmla="*/ 966 h 3228"/>
                <a:gd name="T74" fmla="*/ 1218 w 3422"/>
                <a:gd name="T75" fmla="*/ 966 h 3228"/>
                <a:gd name="T76" fmla="*/ 2248 w 3422"/>
                <a:gd name="T77" fmla="*/ 718 h 3228"/>
                <a:gd name="T78" fmla="*/ 1218 w 3422"/>
                <a:gd name="T79" fmla="*/ 718 h 3228"/>
                <a:gd name="T80" fmla="*/ 1694 w 3422"/>
                <a:gd name="T81" fmla="*/ 496 h 3228"/>
                <a:gd name="T82" fmla="*/ 1218 w 3422"/>
                <a:gd name="T83" fmla="*/ 496 h 3228"/>
                <a:gd name="T84" fmla="*/ 2366 w 3422"/>
                <a:gd name="T85" fmla="*/ 512 h 3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22" h="3228">
                  <a:moveTo>
                    <a:pt x="944" y="1276"/>
                  </a:moveTo>
                  <a:lnTo>
                    <a:pt x="2514" y="1276"/>
                  </a:lnTo>
                  <a:lnTo>
                    <a:pt x="2514" y="434"/>
                  </a:lnTo>
                  <a:lnTo>
                    <a:pt x="2408" y="578"/>
                  </a:lnTo>
                  <a:lnTo>
                    <a:pt x="2392" y="602"/>
                  </a:lnTo>
                  <a:lnTo>
                    <a:pt x="2366" y="592"/>
                  </a:lnTo>
                  <a:lnTo>
                    <a:pt x="1416" y="224"/>
                  </a:lnTo>
                  <a:lnTo>
                    <a:pt x="944" y="224"/>
                  </a:lnTo>
                  <a:lnTo>
                    <a:pt x="944" y="1276"/>
                  </a:lnTo>
                  <a:lnTo>
                    <a:pt x="944" y="1276"/>
                  </a:lnTo>
                  <a:close/>
                  <a:moveTo>
                    <a:pt x="3006" y="2750"/>
                  </a:moveTo>
                  <a:lnTo>
                    <a:pt x="3006" y="3080"/>
                  </a:lnTo>
                  <a:lnTo>
                    <a:pt x="3006" y="3228"/>
                  </a:lnTo>
                  <a:lnTo>
                    <a:pt x="2858" y="3228"/>
                  </a:lnTo>
                  <a:lnTo>
                    <a:pt x="632" y="3228"/>
                  </a:lnTo>
                  <a:lnTo>
                    <a:pt x="484" y="3228"/>
                  </a:lnTo>
                  <a:lnTo>
                    <a:pt x="484" y="3080"/>
                  </a:lnTo>
                  <a:lnTo>
                    <a:pt x="484" y="2750"/>
                  </a:lnTo>
                  <a:lnTo>
                    <a:pt x="372" y="2750"/>
                  </a:lnTo>
                  <a:lnTo>
                    <a:pt x="372" y="2750"/>
                  </a:lnTo>
                  <a:lnTo>
                    <a:pt x="334" y="2748"/>
                  </a:lnTo>
                  <a:lnTo>
                    <a:pt x="296" y="2742"/>
                  </a:lnTo>
                  <a:lnTo>
                    <a:pt x="260" y="2732"/>
                  </a:lnTo>
                  <a:lnTo>
                    <a:pt x="226" y="2720"/>
                  </a:lnTo>
                  <a:lnTo>
                    <a:pt x="194" y="2704"/>
                  </a:lnTo>
                  <a:lnTo>
                    <a:pt x="164" y="2686"/>
                  </a:lnTo>
                  <a:lnTo>
                    <a:pt x="136" y="2664"/>
                  </a:lnTo>
                  <a:lnTo>
                    <a:pt x="108" y="2640"/>
                  </a:lnTo>
                  <a:lnTo>
                    <a:pt x="84" y="2614"/>
                  </a:lnTo>
                  <a:lnTo>
                    <a:pt x="64" y="2586"/>
                  </a:lnTo>
                  <a:lnTo>
                    <a:pt x="44" y="2554"/>
                  </a:lnTo>
                  <a:lnTo>
                    <a:pt x="30" y="2522"/>
                  </a:lnTo>
                  <a:lnTo>
                    <a:pt x="16" y="2488"/>
                  </a:lnTo>
                  <a:lnTo>
                    <a:pt x="8" y="2452"/>
                  </a:lnTo>
                  <a:lnTo>
                    <a:pt x="2" y="2416"/>
                  </a:lnTo>
                  <a:lnTo>
                    <a:pt x="0" y="2378"/>
                  </a:lnTo>
                  <a:lnTo>
                    <a:pt x="0" y="1414"/>
                  </a:lnTo>
                  <a:lnTo>
                    <a:pt x="0" y="1414"/>
                  </a:lnTo>
                  <a:lnTo>
                    <a:pt x="2" y="1376"/>
                  </a:lnTo>
                  <a:lnTo>
                    <a:pt x="8" y="1340"/>
                  </a:lnTo>
                  <a:lnTo>
                    <a:pt x="16" y="1304"/>
                  </a:lnTo>
                  <a:lnTo>
                    <a:pt x="30" y="1270"/>
                  </a:lnTo>
                  <a:lnTo>
                    <a:pt x="44" y="1238"/>
                  </a:lnTo>
                  <a:lnTo>
                    <a:pt x="64" y="1208"/>
                  </a:lnTo>
                  <a:lnTo>
                    <a:pt x="84" y="1178"/>
                  </a:lnTo>
                  <a:lnTo>
                    <a:pt x="108" y="1152"/>
                  </a:lnTo>
                  <a:lnTo>
                    <a:pt x="136" y="1128"/>
                  </a:lnTo>
                  <a:lnTo>
                    <a:pt x="164" y="1106"/>
                  </a:lnTo>
                  <a:lnTo>
                    <a:pt x="194" y="1088"/>
                  </a:lnTo>
                  <a:lnTo>
                    <a:pt x="226" y="1072"/>
                  </a:lnTo>
                  <a:lnTo>
                    <a:pt x="260" y="1060"/>
                  </a:lnTo>
                  <a:lnTo>
                    <a:pt x="296" y="1050"/>
                  </a:lnTo>
                  <a:lnTo>
                    <a:pt x="334" y="1046"/>
                  </a:lnTo>
                  <a:lnTo>
                    <a:pt x="372" y="1044"/>
                  </a:lnTo>
                  <a:lnTo>
                    <a:pt x="720" y="1044"/>
                  </a:lnTo>
                  <a:lnTo>
                    <a:pt x="720" y="112"/>
                  </a:lnTo>
                  <a:lnTo>
                    <a:pt x="720" y="0"/>
                  </a:lnTo>
                  <a:lnTo>
                    <a:pt x="832" y="0"/>
                  </a:lnTo>
                  <a:lnTo>
                    <a:pt x="1450" y="0"/>
                  </a:lnTo>
                  <a:lnTo>
                    <a:pt x="1452" y="0"/>
                  </a:lnTo>
                  <a:lnTo>
                    <a:pt x="1462" y="2"/>
                  </a:lnTo>
                  <a:lnTo>
                    <a:pt x="2640" y="150"/>
                  </a:lnTo>
                  <a:lnTo>
                    <a:pt x="2738" y="162"/>
                  </a:lnTo>
                  <a:lnTo>
                    <a:pt x="2738" y="260"/>
                  </a:lnTo>
                  <a:lnTo>
                    <a:pt x="2738" y="1044"/>
                  </a:lnTo>
                  <a:lnTo>
                    <a:pt x="3050" y="1044"/>
                  </a:lnTo>
                  <a:lnTo>
                    <a:pt x="3050" y="1044"/>
                  </a:lnTo>
                  <a:lnTo>
                    <a:pt x="3088" y="1046"/>
                  </a:lnTo>
                  <a:lnTo>
                    <a:pt x="3124" y="1050"/>
                  </a:lnTo>
                  <a:lnTo>
                    <a:pt x="3160" y="1060"/>
                  </a:lnTo>
                  <a:lnTo>
                    <a:pt x="3194" y="1072"/>
                  </a:lnTo>
                  <a:lnTo>
                    <a:pt x="3226" y="1088"/>
                  </a:lnTo>
                  <a:lnTo>
                    <a:pt x="3258" y="1106"/>
                  </a:lnTo>
                  <a:lnTo>
                    <a:pt x="3286" y="1128"/>
                  </a:lnTo>
                  <a:lnTo>
                    <a:pt x="3312" y="1152"/>
                  </a:lnTo>
                  <a:lnTo>
                    <a:pt x="3336" y="1178"/>
                  </a:lnTo>
                  <a:lnTo>
                    <a:pt x="3358" y="1208"/>
                  </a:lnTo>
                  <a:lnTo>
                    <a:pt x="3376" y="1238"/>
                  </a:lnTo>
                  <a:lnTo>
                    <a:pt x="3392" y="1270"/>
                  </a:lnTo>
                  <a:lnTo>
                    <a:pt x="3404" y="1304"/>
                  </a:lnTo>
                  <a:lnTo>
                    <a:pt x="3414" y="1340"/>
                  </a:lnTo>
                  <a:lnTo>
                    <a:pt x="3420" y="1376"/>
                  </a:lnTo>
                  <a:lnTo>
                    <a:pt x="3422" y="1414"/>
                  </a:lnTo>
                  <a:lnTo>
                    <a:pt x="3422" y="2378"/>
                  </a:lnTo>
                  <a:lnTo>
                    <a:pt x="3422" y="2378"/>
                  </a:lnTo>
                  <a:lnTo>
                    <a:pt x="3420" y="2416"/>
                  </a:lnTo>
                  <a:lnTo>
                    <a:pt x="3414" y="2452"/>
                  </a:lnTo>
                  <a:lnTo>
                    <a:pt x="3404" y="2488"/>
                  </a:lnTo>
                  <a:lnTo>
                    <a:pt x="3392" y="2522"/>
                  </a:lnTo>
                  <a:lnTo>
                    <a:pt x="3376" y="2554"/>
                  </a:lnTo>
                  <a:lnTo>
                    <a:pt x="3358" y="2586"/>
                  </a:lnTo>
                  <a:lnTo>
                    <a:pt x="3336" y="2614"/>
                  </a:lnTo>
                  <a:lnTo>
                    <a:pt x="3312" y="2640"/>
                  </a:lnTo>
                  <a:lnTo>
                    <a:pt x="3286" y="2664"/>
                  </a:lnTo>
                  <a:lnTo>
                    <a:pt x="3258" y="2686"/>
                  </a:lnTo>
                  <a:lnTo>
                    <a:pt x="3226" y="2704"/>
                  </a:lnTo>
                  <a:lnTo>
                    <a:pt x="3194" y="2720"/>
                  </a:lnTo>
                  <a:lnTo>
                    <a:pt x="3160" y="2732"/>
                  </a:lnTo>
                  <a:lnTo>
                    <a:pt x="3124" y="2742"/>
                  </a:lnTo>
                  <a:lnTo>
                    <a:pt x="3088" y="2748"/>
                  </a:lnTo>
                  <a:lnTo>
                    <a:pt x="3050" y="2750"/>
                  </a:lnTo>
                  <a:lnTo>
                    <a:pt x="3006" y="2750"/>
                  </a:lnTo>
                  <a:lnTo>
                    <a:pt x="3006" y="2750"/>
                  </a:lnTo>
                  <a:close/>
                  <a:moveTo>
                    <a:pt x="780" y="2750"/>
                  </a:moveTo>
                  <a:lnTo>
                    <a:pt x="780" y="2932"/>
                  </a:lnTo>
                  <a:lnTo>
                    <a:pt x="2710" y="2932"/>
                  </a:lnTo>
                  <a:lnTo>
                    <a:pt x="2710" y="2750"/>
                  </a:lnTo>
                  <a:lnTo>
                    <a:pt x="780" y="2750"/>
                  </a:lnTo>
                  <a:lnTo>
                    <a:pt x="780" y="2750"/>
                  </a:lnTo>
                  <a:close/>
                  <a:moveTo>
                    <a:pt x="1218" y="966"/>
                  </a:moveTo>
                  <a:lnTo>
                    <a:pt x="2304" y="966"/>
                  </a:lnTo>
                  <a:lnTo>
                    <a:pt x="2304" y="1042"/>
                  </a:lnTo>
                  <a:lnTo>
                    <a:pt x="1218" y="1042"/>
                  </a:lnTo>
                  <a:lnTo>
                    <a:pt x="1218" y="966"/>
                  </a:lnTo>
                  <a:lnTo>
                    <a:pt x="1218" y="966"/>
                  </a:lnTo>
                  <a:close/>
                  <a:moveTo>
                    <a:pt x="1218" y="718"/>
                  </a:moveTo>
                  <a:lnTo>
                    <a:pt x="2248" y="718"/>
                  </a:lnTo>
                  <a:lnTo>
                    <a:pt x="2248" y="794"/>
                  </a:lnTo>
                  <a:lnTo>
                    <a:pt x="1218" y="794"/>
                  </a:lnTo>
                  <a:lnTo>
                    <a:pt x="1218" y="718"/>
                  </a:lnTo>
                  <a:lnTo>
                    <a:pt x="1218" y="718"/>
                  </a:lnTo>
                  <a:close/>
                  <a:moveTo>
                    <a:pt x="1218" y="496"/>
                  </a:moveTo>
                  <a:lnTo>
                    <a:pt x="1694" y="496"/>
                  </a:lnTo>
                  <a:lnTo>
                    <a:pt x="1694" y="572"/>
                  </a:lnTo>
                  <a:lnTo>
                    <a:pt x="1218" y="572"/>
                  </a:lnTo>
                  <a:lnTo>
                    <a:pt x="1218" y="496"/>
                  </a:lnTo>
                  <a:lnTo>
                    <a:pt x="1218" y="496"/>
                  </a:lnTo>
                  <a:close/>
                  <a:moveTo>
                    <a:pt x="2484" y="354"/>
                  </a:moveTo>
                  <a:lnTo>
                    <a:pt x="2366" y="512"/>
                  </a:lnTo>
                  <a:lnTo>
                    <a:pt x="1704" y="256"/>
                  </a:lnTo>
                  <a:lnTo>
                    <a:pt x="2484" y="35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344" name="Group 1343">
            <a:extLst>
              <a:ext uri="{FF2B5EF4-FFF2-40B4-BE49-F238E27FC236}">
                <a16:creationId xmlns:a16="http://schemas.microsoft.com/office/drawing/2014/main" id="{0254DC04-AFCB-4C1C-9D07-D1F5BEAC334C}"/>
              </a:ext>
            </a:extLst>
          </p:cNvPr>
          <p:cNvGrpSpPr/>
          <p:nvPr/>
        </p:nvGrpSpPr>
        <p:grpSpPr>
          <a:xfrm>
            <a:off x="6846734" y="4718957"/>
            <a:ext cx="612775" cy="612775"/>
            <a:chOff x="5692105" y="5357300"/>
            <a:chExt cx="612775" cy="612775"/>
          </a:xfrm>
        </p:grpSpPr>
        <p:sp>
          <p:nvSpPr>
            <p:cNvPr id="1345" name="Oval 1344">
              <a:extLst>
                <a:ext uri="{FF2B5EF4-FFF2-40B4-BE49-F238E27FC236}">
                  <a16:creationId xmlns:a16="http://schemas.microsoft.com/office/drawing/2014/main" id="{B6FAC117-2EA7-49DA-BB1E-A042076F539D}"/>
                </a:ext>
              </a:extLst>
            </p:cNvPr>
            <p:cNvSpPr/>
            <p:nvPr/>
          </p:nvSpPr>
          <p:spPr bwMode="ltGray">
            <a:xfrm>
              <a:off x="5692105" y="5357300"/>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346" name="Group 1345">
              <a:extLst>
                <a:ext uri="{FF2B5EF4-FFF2-40B4-BE49-F238E27FC236}">
                  <a16:creationId xmlns:a16="http://schemas.microsoft.com/office/drawing/2014/main" id="{DE827B83-5E23-43FE-ACDD-7AD3DBA3C2FC}"/>
                </a:ext>
              </a:extLst>
            </p:cNvPr>
            <p:cNvGrpSpPr/>
            <p:nvPr/>
          </p:nvGrpSpPr>
          <p:grpSpPr>
            <a:xfrm>
              <a:off x="5852368" y="5434241"/>
              <a:ext cx="324206" cy="473488"/>
              <a:chOff x="4591559" y="3794124"/>
              <a:chExt cx="2247895" cy="3282952"/>
            </a:xfrm>
            <a:solidFill>
              <a:srgbClr val="3C3C3E"/>
            </a:solidFill>
          </p:grpSpPr>
          <p:sp>
            <p:nvSpPr>
              <p:cNvPr id="1347" name="Freeform 468">
                <a:extLst>
                  <a:ext uri="{FF2B5EF4-FFF2-40B4-BE49-F238E27FC236}">
                    <a16:creationId xmlns:a16="http://schemas.microsoft.com/office/drawing/2014/main" id="{EB079420-1377-461C-A4E0-A1B78FD5FE8B}"/>
                  </a:ext>
                </a:extLst>
              </p:cNvPr>
              <p:cNvSpPr>
                <a:spLocks/>
              </p:cNvSpPr>
              <p:nvPr/>
            </p:nvSpPr>
            <p:spPr bwMode="auto">
              <a:xfrm>
                <a:off x="6321930" y="4403728"/>
                <a:ext cx="136524" cy="95250"/>
              </a:xfrm>
              <a:custGeom>
                <a:avLst/>
                <a:gdLst>
                  <a:gd name="T0" fmla="*/ 76 w 86"/>
                  <a:gd name="T1" fmla="*/ 50 h 60"/>
                  <a:gd name="T2" fmla="*/ 86 w 86"/>
                  <a:gd name="T3" fmla="*/ 30 h 60"/>
                  <a:gd name="T4" fmla="*/ 76 w 86"/>
                  <a:gd name="T5" fmla="*/ 10 h 60"/>
                  <a:gd name="T6" fmla="*/ 86 w 86"/>
                  <a:gd name="T7" fmla="*/ 0 h 60"/>
                  <a:gd name="T8" fmla="*/ 70 w 86"/>
                  <a:gd name="T9" fmla="*/ 0 h 60"/>
                  <a:gd name="T10" fmla="*/ 62 w 86"/>
                  <a:gd name="T11" fmla="*/ 10 h 60"/>
                  <a:gd name="T12" fmla="*/ 46 w 86"/>
                  <a:gd name="T13" fmla="*/ 10 h 60"/>
                  <a:gd name="T14" fmla="*/ 46 w 86"/>
                  <a:gd name="T15" fmla="*/ 20 h 60"/>
                  <a:gd name="T16" fmla="*/ 30 w 86"/>
                  <a:gd name="T17" fmla="*/ 10 h 60"/>
                  <a:gd name="T18" fmla="*/ 0 w 86"/>
                  <a:gd name="T19" fmla="*/ 10 h 60"/>
                  <a:gd name="T20" fmla="*/ 14 w 86"/>
                  <a:gd name="T21" fmla="*/ 40 h 60"/>
                  <a:gd name="T22" fmla="*/ 30 w 86"/>
                  <a:gd name="T23" fmla="*/ 60 h 60"/>
                  <a:gd name="T24" fmla="*/ 54 w 86"/>
                  <a:gd name="T25" fmla="*/ 50 h 60"/>
                  <a:gd name="T26" fmla="*/ 76 w 86"/>
                  <a:gd name="T27" fmla="*/ 5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6" h="60">
                    <a:moveTo>
                      <a:pt x="76" y="50"/>
                    </a:moveTo>
                    <a:lnTo>
                      <a:pt x="86" y="30"/>
                    </a:lnTo>
                    <a:lnTo>
                      <a:pt x="76" y="10"/>
                    </a:lnTo>
                    <a:lnTo>
                      <a:pt x="86" y="0"/>
                    </a:lnTo>
                    <a:lnTo>
                      <a:pt x="70" y="0"/>
                    </a:lnTo>
                    <a:lnTo>
                      <a:pt x="62" y="10"/>
                    </a:lnTo>
                    <a:lnTo>
                      <a:pt x="46" y="10"/>
                    </a:lnTo>
                    <a:lnTo>
                      <a:pt x="46" y="20"/>
                    </a:lnTo>
                    <a:lnTo>
                      <a:pt x="30" y="10"/>
                    </a:lnTo>
                    <a:lnTo>
                      <a:pt x="0" y="10"/>
                    </a:lnTo>
                    <a:lnTo>
                      <a:pt x="14" y="40"/>
                    </a:lnTo>
                    <a:lnTo>
                      <a:pt x="30" y="60"/>
                    </a:lnTo>
                    <a:lnTo>
                      <a:pt x="54" y="50"/>
                    </a:lnTo>
                    <a:lnTo>
                      <a:pt x="76"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48" name="Freeform 503">
                <a:extLst>
                  <a:ext uri="{FF2B5EF4-FFF2-40B4-BE49-F238E27FC236}">
                    <a16:creationId xmlns:a16="http://schemas.microsoft.com/office/drawing/2014/main" id="{29196F04-6DF1-4B7C-8AB8-AAB48ED3A71C}"/>
                  </a:ext>
                </a:extLst>
              </p:cNvPr>
              <p:cNvSpPr>
                <a:spLocks/>
              </p:cNvSpPr>
              <p:nvPr/>
            </p:nvSpPr>
            <p:spPr bwMode="auto">
              <a:xfrm>
                <a:off x="6004428" y="3794124"/>
                <a:ext cx="374649" cy="511175"/>
              </a:xfrm>
              <a:custGeom>
                <a:avLst/>
                <a:gdLst>
                  <a:gd name="T0" fmla="*/ 4 w 236"/>
                  <a:gd name="T1" fmla="*/ 62 h 322"/>
                  <a:gd name="T2" fmla="*/ 0 w 236"/>
                  <a:gd name="T3" fmla="*/ 76 h 322"/>
                  <a:gd name="T4" fmla="*/ 2 w 236"/>
                  <a:gd name="T5" fmla="*/ 86 h 322"/>
                  <a:gd name="T6" fmla="*/ 2 w 236"/>
                  <a:gd name="T7" fmla="*/ 92 h 322"/>
                  <a:gd name="T8" fmla="*/ 10 w 236"/>
                  <a:gd name="T9" fmla="*/ 98 h 322"/>
                  <a:gd name="T10" fmla="*/ 18 w 236"/>
                  <a:gd name="T11" fmla="*/ 106 h 322"/>
                  <a:gd name="T12" fmla="*/ 16 w 236"/>
                  <a:gd name="T13" fmla="*/ 134 h 322"/>
                  <a:gd name="T14" fmla="*/ 12 w 236"/>
                  <a:gd name="T15" fmla="*/ 144 h 322"/>
                  <a:gd name="T16" fmla="*/ 12 w 236"/>
                  <a:gd name="T17" fmla="*/ 156 h 322"/>
                  <a:gd name="T18" fmla="*/ 14 w 236"/>
                  <a:gd name="T19" fmla="*/ 160 h 322"/>
                  <a:gd name="T20" fmla="*/ 18 w 236"/>
                  <a:gd name="T21" fmla="*/ 172 h 322"/>
                  <a:gd name="T22" fmla="*/ 10 w 236"/>
                  <a:gd name="T23" fmla="*/ 194 h 322"/>
                  <a:gd name="T24" fmla="*/ 8 w 236"/>
                  <a:gd name="T25" fmla="*/ 210 h 322"/>
                  <a:gd name="T26" fmla="*/ 14 w 236"/>
                  <a:gd name="T27" fmla="*/ 214 h 322"/>
                  <a:gd name="T28" fmla="*/ 22 w 236"/>
                  <a:gd name="T29" fmla="*/ 216 h 322"/>
                  <a:gd name="T30" fmla="*/ 28 w 236"/>
                  <a:gd name="T31" fmla="*/ 228 h 322"/>
                  <a:gd name="T32" fmla="*/ 30 w 236"/>
                  <a:gd name="T33" fmla="*/ 234 h 322"/>
                  <a:gd name="T34" fmla="*/ 32 w 236"/>
                  <a:gd name="T35" fmla="*/ 242 h 322"/>
                  <a:gd name="T36" fmla="*/ 40 w 236"/>
                  <a:gd name="T37" fmla="*/ 254 h 322"/>
                  <a:gd name="T38" fmla="*/ 42 w 236"/>
                  <a:gd name="T39" fmla="*/ 262 h 322"/>
                  <a:gd name="T40" fmla="*/ 44 w 236"/>
                  <a:gd name="T41" fmla="*/ 272 h 322"/>
                  <a:gd name="T42" fmla="*/ 46 w 236"/>
                  <a:gd name="T43" fmla="*/ 278 h 322"/>
                  <a:gd name="T44" fmla="*/ 54 w 236"/>
                  <a:gd name="T45" fmla="*/ 286 h 322"/>
                  <a:gd name="T46" fmla="*/ 64 w 236"/>
                  <a:gd name="T47" fmla="*/ 286 h 322"/>
                  <a:gd name="T48" fmla="*/ 80 w 236"/>
                  <a:gd name="T49" fmla="*/ 284 h 322"/>
                  <a:gd name="T50" fmla="*/ 94 w 236"/>
                  <a:gd name="T51" fmla="*/ 284 h 322"/>
                  <a:gd name="T52" fmla="*/ 106 w 236"/>
                  <a:gd name="T53" fmla="*/ 282 h 322"/>
                  <a:gd name="T54" fmla="*/ 112 w 236"/>
                  <a:gd name="T55" fmla="*/ 290 h 322"/>
                  <a:gd name="T56" fmla="*/ 126 w 236"/>
                  <a:gd name="T57" fmla="*/ 320 h 322"/>
                  <a:gd name="T58" fmla="*/ 128 w 236"/>
                  <a:gd name="T59" fmla="*/ 322 h 322"/>
                  <a:gd name="T60" fmla="*/ 186 w 236"/>
                  <a:gd name="T61" fmla="*/ 286 h 322"/>
                  <a:gd name="T62" fmla="*/ 212 w 236"/>
                  <a:gd name="T63" fmla="*/ 260 h 322"/>
                  <a:gd name="T64" fmla="*/ 224 w 236"/>
                  <a:gd name="T65" fmla="*/ 236 h 322"/>
                  <a:gd name="T66" fmla="*/ 224 w 236"/>
                  <a:gd name="T67" fmla="*/ 228 h 322"/>
                  <a:gd name="T68" fmla="*/ 224 w 236"/>
                  <a:gd name="T69" fmla="*/ 208 h 322"/>
                  <a:gd name="T70" fmla="*/ 224 w 236"/>
                  <a:gd name="T71" fmla="*/ 176 h 322"/>
                  <a:gd name="T72" fmla="*/ 232 w 236"/>
                  <a:gd name="T73" fmla="*/ 156 h 322"/>
                  <a:gd name="T74" fmla="*/ 230 w 236"/>
                  <a:gd name="T75" fmla="*/ 84 h 322"/>
                  <a:gd name="T76" fmla="*/ 226 w 236"/>
                  <a:gd name="T77" fmla="*/ 72 h 322"/>
                  <a:gd name="T78" fmla="*/ 196 w 236"/>
                  <a:gd name="T79" fmla="*/ 24 h 322"/>
                  <a:gd name="T80" fmla="*/ 174 w 236"/>
                  <a:gd name="T81" fmla="*/ 14 h 322"/>
                  <a:gd name="T82" fmla="*/ 166 w 236"/>
                  <a:gd name="T83" fmla="*/ 10 h 322"/>
                  <a:gd name="T84" fmla="*/ 156 w 236"/>
                  <a:gd name="T85" fmla="*/ 4 h 322"/>
                  <a:gd name="T86" fmla="*/ 118 w 236"/>
                  <a:gd name="T87" fmla="*/ 2 h 322"/>
                  <a:gd name="T88" fmla="*/ 54 w 236"/>
                  <a:gd name="T89" fmla="*/ 24 h 322"/>
                  <a:gd name="T90" fmla="*/ 44 w 236"/>
                  <a:gd name="T91" fmla="*/ 32 h 322"/>
                  <a:gd name="T92" fmla="*/ 28 w 236"/>
                  <a:gd name="T93" fmla="*/ 42 h 322"/>
                  <a:gd name="T94" fmla="*/ 8 w 236"/>
                  <a:gd name="T95" fmla="*/ 5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36" h="322">
                    <a:moveTo>
                      <a:pt x="8" y="56"/>
                    </a:moveTo>
                    <a:lnTo>
                      <a:pt x="6" y="58"/>
                    </a:lnTo>
                    <a:lnTo>
                      <a:pt x="6" y="58"/>
                    </a:lnTo>
                    <a:lnTo>
                      <a:pt x="4" y="62"/>
                    </a:lnTo>
                    <a:lnTo>
                      <a:pt x="2" y="68"/>
                    </a:lnTo>
                    <a:lnTo>
                      <a:pt x="2" y="68"/>
                    </a:lnTo>
                    <a:lnTo>
                      <a:pt x="0" y="72"/>
                    </a:lnTo>
                    <a:lnTo>
                      <a:pt x="0" y="76"/>
                    </a:lnTo>
                    <a:lnTo>
                      <a:pt x="0" y="76"/>
                    </a:lnTo>
                    <a:lnTo>
                      <a:pt x="0" y="80"/>
                    </a:lnTo>
                    <a:lnTo>
                      <a:pt x="0" y="80"/>
                    </a:lnTo>
                    <a:lnTo>
                      <a:pt x="2" y="86"/>
                    </a:lnTo>
                    <a:lnTo>
                      <a:pt x="2" y="88"/>
                    </a:lnTo>
                    <a:lnTo>
                      <a:pt x="2" y="88"/>
                    </a:lnTo>
                    <a:lnTo>
                      <a:pt x="2" y="92"/>
                    </a:lnTo>
                    <a:lnTo>
                      <a:pt x="2" y="92"/>
                    </a:lnTo>
                    <a:lnTo>
                      <a:pt x="4" y="94"/>
                    </a:lnTo>
                    <a:lnTo>
                      <a:pt x="4" y="94"/>
                    </a:lnTo>
                    <a:lnTo>
                      <a:pt x="10" y="98"/>
                    </a:lnTo>
                    <a:lnTo>
                      <a:pt x="10" y="98"/>
                    </a:lnTo>
                    <a:lnTo>
                      <a:pt x="14" y="100"/>
                    </a:lnTo>
                    <a:lnTo>
                      <a:pt x="14" y="100"/>
                    </a:lnTo>
                    <a:lnTo>
                      <a:pt x="16" y="104"/>
                    </a:lnTo>
                    <a:lnTo>
                      <a:pt x="18" y="106"/>
                    </a:lnTo>
                    <a:lnTo>
                      <a:pt x="18" y="106"/>
                    </a:lnTo>
                    <a:lnTo>
                      <a:pt x="18" y="110"/>
                    </a:lnTo>
                    <a:lnTo>
                      <a:pt x="16" y="134"/>
                    </a:lnTo>
                    <a:lnTo>
                      <a:pt x="16" y="134"/>
                    </a:lnTo>
                    <a:lnTo>
                      <a:pt x="14" y="138"/>
                    </a:lnTo>
                    <a:lnTo>
                      <a:pt x="14" y="140"/>
                    </a:lnTo>
                    <a:lnTo>
                      <a:pt x="14" y="140"/>
                    </a:lnTo>
                    <a:lnTo>
                      <a:pt x="12" y="144"/>
                    </a:lnTo>
                    <a:lnTo>
                      <a:pt x="12" y="148"/>
                    </a:lnTo>
                    <a:lnTo>
                      <a:pt x="12" y="148"/>
                    </a:lnTo>
                    <a:lnTo>
                      <a:pt x="12" y="152"/>
                    </a:lnTo>
                    <a:lnTo>
                      <a:pt x="12" y="156"/>
                    </a:lnTo>
                    <a:lnTo>
                      <a:pt x="12" y="156"/>
                    </a:lnTo>
                    <a:lnTo>
                      <a:pt x="14" y="160"/>
                    </a:lnTo>
                    <a:lnTo>
                      <a:pt x="14" y="160"/>
                    </a:lnTo>
                    <a:lnTo>
                      <a:pt x="14" y="160"/>
                    </a:lnTo>
                    <a:lnTo>
                      <a:pt x="16" y="164"/>
                    </a:lnTo>
                    <a:lnTo>
                      <a:pt x="16" y="164"/>
                    </a:lnTo>
                    <a:lnTo>
                      <a:pt x="18" y="168"/>
                    </a:lnTo>
                    <a:lnTo>
                      <a:pt x="18" y="172"/>
                    </a:lnTo>
                    <a:lnTo>
                      <a:pt x="18" y="172"/>
                    </a:lnTo>
                    <a:lnTo>
                      <a:pt x="18" y="176"/>
                    </a:lnTo>
                    <a:lnTo>
                      <a:pt x="10" y="194"/>
                    </a:lnTo>
                    <a:lnTo>
                      <a:pt x="10" y="194"/>
                    </a:lnTo>
                    <a:lnTo>
                      <a:pt x="10" y="198"/>
                    </a:lnTo>
                    <a:lnTo>
                      <a:pt x="6" y="206"/>
                    </a:lnTo>
                    <a:lnTo>
                      <a:pt x="6" y="206"/>
                    </a:lnTo>
                    <a:lnTo>
                      <a:pt x="8" y="210"/>
                    </a:lnTo>
                    <a:lnTo>
                      <a:pt x="8" y="210"/>
                    </a:lnTo>
                    <a:lnTo>
                      <a:pt x="8" y="210"/>
                    </a:lnTo>
                    <a:lnTo>
                      <a:pt x="12" y="212"/>
                    </a:lnTo>
                    <a:lnTo>
                      <a:pt x="14" y="214"/>
                    </a:lnTo>
                    <a:lnTo>
                      <a:pt x="14" y="214"/>
                    </a:lnTo>
                    <a:lnTo>
                      <a:pt x="18" y="214"/>
                    </a:lnTo>
                    <a:lnTo>
                      <a:pt x="22" y="216"/>
                    </a:lnTo>
                    <a:lnTo>
                      <a:pt x="22" y="216"/>
                    </a:lnTo>
                    <a:lnTo>
                      <a:pt x="26" y="218"/>
                    </a:lnTo>
                    <a:lnTo>
                      <a:pt x="28" y="224"/>
                    </a:lnTo>
                    <a:lnTo>
                      <a:pt x="28" y="224"/>
                    </a:lnTo>
                    <a:lnTo>
                      <a:pt x="28" y="228"/>
                    </a:lnTo>
                    <a:lnTo>
                      <a:pt x="30" y="232"/>
                    </a:lnTo>
                    <a:lnTo>
                      <a:pt x="30" y="232"/>
                    </a:lnTo>
                    <a:lnTo>
                      <a:pt x="30" y="234"/>
                    </a:lnTo>
                    <a:lnTo>
                      <a:pt x="30" y="234"/>
                    </a:lnTo>
                    <a:lnTo>
                      <a:pt x="32" y="238"/>
                    </a:lnTo>
                    <a:lnTo>
                      <a:pt x="32" y="238"/>
                    </a:lnTo>
                    <a:lnTo>
                      <a:pt x="32" y="242"/>
                    </a:lnTo>
                    <a:lnTo>
                      <a:pt x="32" y="242"/>
                    </a:lnTo>
                    <a:lnTo>
                      <a:pt x="34" y="246"/>
                    </a:lnTo>
                    <a:lnTo>
                      <a:pt x="38" y="252"/>
                    </a:lnTo>
                    <a:lnTo>
                      <a:pt x="38" y="252"/>
                    </a:lnTo>
                    <a:lnTo>
                      <a:pt x="40" y="254"/>
                    </a:lnTo>
                    <a:lnTo>
                      <a:pt x="40" y="254"/>
                    </a:lnTo>
                    <a:lnTo>
                      <a:pt x="40" y="258"/>
                    </a:lnTo>
                    <a:lnTo>
                      <a:pt x="42" y="262"/>
                    </a:lnTo>
                    <a:lnTo>
                      <a:pt x="42" y="262"/>
                    </a:lnTo>
                    <a:lnTo>
                      <a:pt x="42" y="266"/>
                    </a:lnTo>
                    <a:lnTo>
                      <a:pt x="42" y="268"/>
                    </a:lnTo>
                    <a:lnTo>
                      <a:pt x="42" y="268"/>
                    </a:lnTo>
                    <a:lnTo>
                      <a:pt x="44" y="272"/>
                    </a:lnTo>
                    <a:lnTo>
                      <a:pt x="44" y="274"/>
                    </a:lnTo>
                    <a:lnTo>
                      <a:pt x="44" y="274"/>
                    </a:lnTo>
                    <a:lnTo>
                      <a:pt x="44" y="278"/>
                    </a:lnTo>
                    <a:lnTo>
                      <a:pt x="46" y="278"/>
                    </a:lnTo>
                    <a:lnTo>
                      <a:pt x="46" y="278"/>
                    </a:lnTo>
                    <a:lnTo>
                      <a:pt x="48" y="282"/>
                    </a:lnTo>
                    <a:lnTo>
                      <a:pt x="54" y="286"/>
                    </a:lnTo>
                    <a:lnTo>
                      <a:pt x="54" y="286"/>
                    </a:lnTo>
                    <a:lnTo>
                      <a:pt x="58" y="286"/>
                    </a:lnTo>
                    <a:lnTo>
                      <a:pt x="58" y="286"/>
                    </a:lnTo>
                    <a:lnTo>
                      <a:pt x="64" y="286"/>
                    </a:lnTo>
                    <a:lnTo>
                      <a:pt x="64" y="286"/>
                    </a:lnTo>
                    <a:lnTo>
                      <a:pt x="76" y="286"/>
                    </a:lnTo>
                    <a:lnTo>
                      <a:pt x="76" y="286"/>
                    </a:lnTo>
                    <a:lnTo>
                      <a:pt x="80" y="284"/>
                    </a:lnTo>
                    <a:lnTo>
                      <a:pt x="80" y="284"/>
                    </a:lnTo>
                    <a:lnTo>
                      <a:pt x="86" y="284"/>
                    </a:lnTo>
                    <a:lnTo>
                      <a:pt x="90" y="284"/>
                    </a:lnTo>
                    <a:lnTo>
                      <a:pt x="90" y="284"/>
                    </a:lnTo>
                    <a:lnTo>
                      <a:pt x="94" y="284"/>
                    </a:lnTo>
                    <a:lnTo>
                      <a:pt x="102" y="282"/>
                    </a:lnTo>
                    <a:lnTo>
                      <a:pt x="102" y="282"/>
                    </a:lnTo>
                    <a:lnTo>
                      <a:pt x="106" y="282"/>
                    </a:lnTo>
                    <a:lnTo>
                      <a:pt x="106" y="282"/>
                    </a:lnTo>
                    <a:lnTo>
                      <a:pt x="108" y="284"/>
                    </a:lnTo>
                    <a:lnTo>
                      <a:pt x="110" y="286"/>
                    </a:lnTo>
                    <a:lnTo>
                      <a:pt x="110" y="286"/>
                    </a:lnTo>
                    <a:lnTo>
                      <a:pt x="112" y="290"/>
                    </a:lnTo>
                    <a:lnTo>
                      <a:pt x="122" y="312"/>
                    </a:lnTo>
                    <a:lnTo>
                      <a:pt x="122" y="312"/>
                    </a:lnTo>
                    <a:lnTo>
                      <a:pt x="124" y="316"/>
                    </a:lnTo>
                    <a:lnTo>
                      <a:pt x="126" y="320"/>
                    </a:lnTo>
                    <a:lnTo>
                      <a:pt x="126" y="320"/>
                    </a:lnTo>
                    <a:lnTo>
                      <a:pt x="126" y="322"/>
                    </a:lnTo>
                    <a:lnTo>
                      <a:pt x="128" y="322"/>
                    </a:lnTo>
                    <a:lnTo>
                      <a:pt x="128" y="322"/>
                    </a:lnTo>
                    <a:lnTo>
                      <a:pt x="168" y="300"/>
                    </a:lnTo>
                    <a:lnTo>
                      <a:pt x="168" y="300"/>
                    </a:lnTo>
                    <a:lnTo>
                      <a:pt x="178" y="292"/>
                    </a:lnTo>
                    <a:lnTo>
                      <a:pt x="186" y="286"/>
                    </a:lnTo>
                    <a:lnTo>
                      <a:pt x="186" y="286"/>
                    </a:lnTo>
                    <a:lnTo>
                      <a:pt x="208" y="264"/>
                    </a:lnTo>
                    <a:lnTo>
                      <a:pt x="208" y="264"/>
                    </a:lnTo>
                    <a:lnTo>
                      <a:pt x="212" y="260"/>
                    </a:lnTo>
                    <a:lnTo>
                      <a:pt x="222" y="246"/>
                    </a:lnTo>
                    <a:lnTo>
                      <a:pt x="222" y="246"/>
                    </a:lnTo>
                    <a:lnTo>
                      <a:pt x="224" y="240"/>
                    </a:lnTo>
                    <a:lnTo>
                      <a:pt x="224" y="236"/>
                    </a:lnTo>
                    <a:lnTo>
                      <a:pt x="224" y="236"/>
                    </a:lnTo>
                    <a:lnTo>
                      <a:pt x="226" y="232"/>
                    </a:lnTo>
                    <a:lnTo>
                      <a:pt x="224" y="228"/>
                    </a:lnTo>
                    <a:lnTo>
                      <a:pt x="224" y="228"/>
                    </a:lnTo>
                    <a:lnTo>
                      <a:pt x="224" y="224"/>
                    </a:lnTo>
                    <a:lnTo>
                      <a:pt x="224" y="214"/>
                    </a:lnTo>
                    <a:lnTo>
                      <a:pt x="224" y="214"/>
                    </a:lnTo>
                    <a:lnTo>
                      <a:pt x="224" y="208"/>
                    </a:lnTo>
                    <a:lnTo>
                      <a:pt x="224" y="208"/>
                    </a:lnTo>
                    <a:lnTo>
                      <a:pt x="222" y="196"/>
                    </a:lnTo>
                    <a:lnTo>
                      <a:pt x="222" y="184"/>
                    </a:lnTo>
                    <a:lnTo>
                      <a:pt x="224" y="176"/>
                    </a:lnTo>
                    <a:lnTo>
                      <a:pt x="224" y="176"/>
                    </a:lnTo>
                    <a:lnTo>
                      <a:pt x="232" y="160"/>
                    </a:lnTo>
                    <a:lnTo>
                      <a:pt x="232" y="160"/>
                    </a:lnTo>
                    <a:lnTo>
                      <a:pt x="232" y="156"/>
                    </a:lnTo>
                    <a:lnTo>
                      <a:pt x="236" y="138"/>
                    </a:lnTo>
                    <a:lnTo>
                      <a:pt x="236" y="138"/>
                    </a:lnTo>
                    <a:lnTo>
                      <a:pt x="236" y="134"/>
                    </a:lnTo>
                    <a:lnTo>
                      <a:pt x="230" y="84"/>
                    </a:lnTo>
                    <a:lnTo>
                      <a:pt x="230" y="84"/>
                    </a:lnTo>
                    <a:lnTo>
                      <a:pt x="228" y="80"/>
                    </a:lnTo>
                    <a:lnTo>
                      <a:pt x="228" y="80"/>
                    </a:lnTo>
                    <a:lnTo>
                      <a:pt x="226" y="72"/>
                    </a:lnTo>
                    <a:lnTo>
                      <a:pt x="216" y="54"/>
                    </a:lnTo>
                    <a:lnTo>
                      <a:pt x="210" y="44"/>
                    </a:lnTo>
                    <a:lnTo>
                      <a:pt x="204" y="34"/>
                    </a:lnTo>
                    <a:lnTo>
                      <a:pt x="196" y="24"/>
                    </a:lnTo>
                    <a:lnTo>
                      <a:pt x="186" y="18"/>
                    </a:lnTo>
                    <a:lnTo>
                      <a:pt x="180" y="14"/>
                    </a:lnTo>
                    <a:lnTo>
                      <a:pt x="180" y="14"/>
                    </a:lnTo>
                    <a:lnTo>
                      <a:pt x="174" y="14"/>
                    </a:lnTo>
                    <a:lnTo>
                      <a:pt x="170" y="14"/>
                    </a:lnTo>
                    <a:lnTo>
                      <a:pt x="170" y="14"/>
                    </a:lnTo>
                    <a:lnTo>
                      <a:pt x="166" y="10"/>
                    </a:lnTo>
                    <a:lnTo>
                      <a:pt x="166" y="10"/>
                    </a:lnTo>
                    <a:lnTo>
                      <a:pt x="164" y="8"/>
                    </a:lnTo>
                    <a:lnTo>
                      <a:pt x="160" y="6"/>
                    </a:lnTo>
                    <a:lnTo>
                      <a:pt x="160" y="6"/>
                    </a:lnTo>
                    <a:lnTo>
                      <a:pt x="156" y="4"/>
                    </a:lnTo>
                    <a:lnTo>
                      <a:pt x="156" y="4"/>
                    </a:lnTo>
                    <a:lnTo>
                      <a:pt x="148" y="2"/>
                    </a:lnTo>
                    <a:lnTo>
                      <a:pt x="132" y="0"/>
                    </a:lnTo>
                    <a:lnTo>
                      <a:pt x="118" y="2"/>
                    </a:lnTo>
                    <a:lnTo>
                      <a:pt x="104" y="4"/>
                    </a:lnTo>
                    <a:lnTo>
                      <a:pt x="86" y="10"/>
                    </a:lnTo>
                    <a:lnTo>
                      <a:pt x="66" y="18"/>
                    </a:lnTo>
                    <a:lnTo>
                      <a:pt x="54" y="24"/>
                    </a:lnTo>
                    <a:lnTo>
                      <a:pt x="54" y="24"/>
                    </a:lnTo>
                    <a:lnTo>
                      <a:pt x="50" y="26"/>
                    </a:lnTo>
                    <a:lnTo>
                      <a:pt x="44" y="32"/>
                    </a:lnTo>
                    <a:lnTo>
                      <a:pt x="44" y="32"/>
                    </a:lnTo>
                    <a:lnTo>
                      <a:pt x="40" y="34"/>
                    </a:lnTo>
                    <a:lnTo>
                      <a:pt x="32" y="40"/>
                    </a:lnTo>
                    <a:lnTo>
                      <a:pt x="32" y="40"/>
                    </a:lnTo>
                    <a:lnTo>
                      <a:pt x="28" y="42"/>
                    </a:lnTo>
                    <a:lnTo>
                      <a:pt x="28" y="42"/>
                    </a:lnTo>
                    <a:lnTo>
                      <a:pt x="20" y="48"/>
                    </a:lnTo>
                    <a:lnTo>
                      <a:pt x="8" y="56"/>
                    </a:lnTo>
                    <a:lnTo>
                      <a:pt x="8" y="5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49" name="Freeform 504">
                <a:extLst>
                  <a:ext uri="{FF2B5EF4-FFF2-40B4-BE49-F238E27FC236}">
                    <a16:creationId xmlns:a16="http://schemas.microsoft.com/office/drawing/2014/main" id="{B5D1612D-BC83-4E2C-B0A5-00CD0ACA976E}"/>
                  </a:ext>
                </a:extLst>
              </p:cNvPr>
              <p:cNvSpPr>
                <a:spLocks/>
              </p:cNvSpPr>
              <p:nvPr/>
            </p:nvSpPr>
            <p:spPr bwMode="auto">
              <a:xfrm>
                <a:off x="5912357" y="4165603"/>
                <a:ext cx="752470" cy="1485900"/>
              </a:xfrm>
              <a:custGeom>
                <a:avLst/>
                <a:gdLst>
                  <a:gd name="T0" fmla="*/ 288 w 474"/>
                  <a:gd name="T1" fmla="*/ 12 h 936"/>
                  <a:gd name="T2" fmla="*/ 278 w 474"/>
                  <a:gd name="T3" fmla="*/ 6 h 936"/>
                  <a:gd name="T4" fmla="*/ 280 w 474"/>
                  <a:gd name="T5" fmla="*/ 0 h 936"/>
                  <a:gd name="T6" fmla="*/ 250 w 474"/>
                  <a:gd name="T7" fmla="*/ 16 h 936"/>
                  <a:gd name="T8" fmla="*/ 216 w 474"/>
                  <a:gd name="T9" fmla="*/ 48 h 936"/>
                  <a:gd name="T10" fmla="*/ 184 w 474"/>
                  <a:gd name="T11" fmla="*/ 78 h 936"/>
                  <a:gd name="T12" fmla="*/ 176 w 474"/>
                  <a:gd name="T13" fmla="*/ 90 h 936"/>
                  <a:gd name="T14" fmla="*/ 172 w 474"/>
                  <a:gd name="T15" fmla="*/ 108 h 936"/>
                  <a:gd name="T16" fmla="*/ 160 w 474"/>
                  <a:gd name="T17" fmla="*/ 126 h 936"/>
                  <a:gd name="T18" fmla="*/ 150 w 474"/>
                  <a:gd name="T19" fmla="*/ 148 h 936"/>
                  <a:gd name="T20" fmla="*/ 132 w 474"/>
                  <a:gd name="T21" fmla="*/ 190 h 936"/>
                  <a:gd name="T22" fmla="*/ 112 w 474"/>
                  <a:gd name="T23" fmla="*/ 222 h 936"/>
                  <a:gd name="T24" fmla="*/ 84 w 474"/>
                  <a:gd name="T25" fmla="*/ 342 h 936"/>
                  <a:gd name="T26" fmla="*/ 68 w 474"/>
                  <a:gd name="T27" fmla="*/ 388 h 936"/>
                  <a:gd name="T28" fmla="*/ 56 w 474"/>
                  <a:gd name="T29" fmla="*/ 442 h 936"/>
                  <a:gd name="T30" fmla="*/ 38 w 474"/>
                  <a:gd name="T31" fmla="*/ 528 h 936"/>
                  <a:gd name="T32" fmla="*/ 38 w 474"/>
                  <a:gd name="T33" fmla="*/ 596 h 936"/>
                  <a:gd name="T34" fmla="*/ 36 w 474"/>
                  <a:gd name="T35" fmla="*/ 628 h 936"/>
                  <a:gd name="T36" fmla="*/ 30 w 474"/>
                  <a:gd name="T37" fmla="*/ 706 h 936"/>
                  <a:gd name="T38" fmla="*/ 12 w 474"/>
                  <a:gd name="T39" fmla="*/ 832 h 936"/>
                  <a:gd name="T40" fmla="*/ 12 w 474"/>
                  <a:gd name="T41" fmla="*/ 850 h 936"/>
                  <a:gd name="T42" fmla="*/ 6 w 474"/>
                  <a:gd name="T43" fmla="*/ 870 h 936"/>
                  <a:gd name="T44" fmla="*/ 0 w 474"/>
                  <a:gd name="T45" fmla="*/ 908 h 936"/>
                  <a:gd name="T46" fmla="*/ 6 w 474"/>
                  <a:gd name="T47" fmla="*/ 922 h 936"/>
                  <a:gd name="T48" fmla="*/ 72 w 474"/>
                  <a:gd name="T49" fmla="*/ 924 h 936"/>
                  <a:gd name="T50" fmla="*/ 106 w 474"/>
                  <a:gd name="T51" fmla="*/ 924 h 936"/>
                  <a:gd name="T52" fmla="*/ 120 w 474"/>
                  <a:gd name="T53" fmla="*/ 934 h 936"/>
                  <a:gd name="T54" fmla="*/ 208 w 474"/>
                  <a:gd name="T55" fmla="*/ 928 h 936"/>
                  <a:gd name="T56" fmla="*/ 300 w 474"/>
                  <a:gd name="T57" fmla="*/ 914 h 936"/>
                  <a:gd name="T58" fmla="*/ 330 w 474"/>
                  <a:gd name="T59" fmla="*/ 910 h 936"/>
                  <a:gd name="T60" fmla="*/ 354 w 474"/>
                  <a:gd name="T61" fmla="*/ 910 h 936"/>
                  <a:gd name="T62" fmla="*/ 382 w 474"/>
                  <a:gd name="T63" fmla="*/ 908 h 936"/>
                  <a:gd name="T64" fmla="*/ 404 w 474"/>
                  <a:gd name="T65" fmla="*/ 902 h 936"/>
                  <a:gd name="T66" fmla="*/ 412 w 474"/>
                  <a:gd name="T67" fmla="*/ 900 h 936"/>
                  <a:gd name="T68" fmla="*/ 444 w 474"/>
                  <a:gd name="T69" fmla="*/ 896 h 936"/>
                  <a:gd name="T70" fmla="*/ 464 w 474"/>
                  <a:gd name="T71" fmla="*/ 892 h 936"/>
                  <a:gd name="T72" fmla="*/ 442 w 474"/>
                  <a:gd name="T73" fmla="*/ 638 h 936"/>
                  <a:gd name="T74" fmla="*/ 430 w 474"/>
                  <a:gd name="T75" fmla="*/ 588 h 936"/>
                  <a:gd name="T76" fmla="*/ 446 w 474"/>
                  <a:gd name="T77" fmla="*/ 524 h 936"/>
                  <a:gd name="T78" fmla="*/ 446 w 474"/>
                  <a:gd name="T79" fmla="*/ 506 h 936"/>
                  <a:gd name="T80" fmla="*/ 448 w 474"/>
                  <a:gd name="T81" fmla="*/ 478 h 936"/>
                  <a:gd name="T82" fmla="*/ 450 w 474"/>
                  <a:gd name="T83" fmla="*/ 440 h 936"/>
                  <a:gd name="T84" fmla="*/ 450 w 474"/>
                  <a:gd name="T85" fmla="*/ 426 h 936"/>
                  <a:gd name="T86" fmla="*/ 450 w 474"/>
                  <a:gd name="T87" fmla="*/ 410 h 936"/>
                  <a:gd name="T88" fmla="*/ 462 w 474"/>
                  <a:gd name="T89" fmla="*/ 376 h 936"/>
                  <a:gd name="T90" fmla="*/ 470 w 474"/>
                  <a:gd name="T91" fmla="*/ 350 h 936"/>
                  <a:gd name="T92" fmla="*/ 472 w 474"/>
                  <a:gd name="T93" fmla="*/ 250 h 936"/>
                  <a:gd name="T94" fmla="*/ 460 w 474"/>
                  <a:gd name="T95" fmla="*/ 196 h 936"/>
                  <a:gd name="T96" fmla="*/ 444 w 474"/>
                  <a:gd name="T97" fmla="*/ 148 h 936"/>
                  <a:gd name="T98" fmla="*/ 438 w 474"/>
                  <a:gd name="T99" fmla="*/ 136 h 936"/>
                  <a:gd name="T100" fmla="*/ 390 w 474"/>
                  <a:gd name="T101" fmla="*/ 82 h 936"/>
                  <a:gd name="T102" fmla="*/ 344 w 474"/>
                  <a:gd name="T103" fmla="*/ 50 h 936"/>
                  <a:gd name="T104" fmla="*/ 316 w 474"/>
                  <a:gd name="T105" fmla="*/ 30 h 9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74" h="936">
                    <a:moveTo>
                      <a:pt x="296" y="20"/>
                    </a:moveTo>
                    <a:lnTo>
                      <a:pt x="296" y="20"/>
                    </a:lnTo>
                    <a:lnTo>
                      <a:pt x="288" y="14"/>
                    </a:lnTo>
                    <a:lnTo>
                      <a:pt x="288" y="12"/>
                    </a:lnTo>
                    <a:lnTo>
                      <a:pt x="288" y="12"/>
                    </a:lnTo>
                    <a:lnTo>
                      <a:pt x="284" y="10"/>
                    </a:lnTo>
                    <a:lnTo>
                      <a:pt x="284" y="10"/>
                    </a:lnTo>
                    <a:lnTo>
                      <a:pt x="278" y="6"/>
                    </a:lnTo>
                    <a:lnTo>
                      <a:pt x="278" y="2"/>
                    </a:lnTo>
                    <a:lnTo>
                      <a:pt x="278" y="2"/>
                    </a:lnTo>
                    <a:lnTo>
                      <a:pt x="282" y="0"/>
                    </a:lnTo>
                    <a:lnTo>
                      <a:pt x="280" y="0"/>
                    </a:lnTo>
                    <a:lnTo>
                      <a:pt x="280" y="0"/>
                    </a:lnTo>
                    <a:lnTo>
                      <a:pt x="276" y="2"/>
                    </a:lnTo>
                    <a:lnTo>
                      <a:pt x="250" y="16"/>
                    </a:lnTo>
                    <a:lnTo>
                      <a:pt x="250" y="16"/>
                    </a:lnTo>
                    <a:lnTo>
                      <a:pt x="246" y="20"/>
                    </a:lnTo>
                    <a:lnTo>
                      <a:pt x="218" y="44"/>
                    </a:lnTo>
                    <a:lnTo>
                      <a:pt x="218" y="44"/>
                    </a:lnTo>
                    <a:lnTo>
                      <a:pt x="216" y="48"/>
                    </a:lnTo>
                    <a:lnTo>
                      <a:pt x="202" y="64"/>
                    </a:lnTo>
                    <a:lnTo>
                      <a:pt x="202" y="64"/>
                    </a:lnTo>
                    <a:lnTo>
                      <a:pt x="198" y="68"/>
                    </a:lnTo>
                    <a:lnTo>
                      <a:pt x="184" y="78"/>
                    </a:lnTo>
                    <a:lnTo>
                      <a:pt x="184" y="78"/>
                    </a:lnTo>
                    <a:lnTo>
                      <a:pt x="180" y="82"/>
                    </a:lnTo>
                    <a:lnTo>
                      <a:pt x="176" y="90"/>
                    </a:lnTo>
                    <a:lnTo>
                      <a:pt x="176" y="90"/>
                    </a:lnTo>
                    <a:lnTo>
                      <a:pt x="174" y="94"/>
                    </a:lnTo>
                    <a:lnTo>
                      <a:pt x="174" y="104"/>
                    </a:lnTo>
                    <a:lnTo>
                      <a:pt x="174" y="104"/>
                    </a:lnTo>
                    <a:lnTo>
                      <a:pt x="172" y="108"/>
                    </a:lnTo>
                    <a:lnTo>
                      <a:pt x="166" y="114"/>
                    </a:lnTo>
                    <a:lnTo>
                      <a:pt x="166" y="114"/>
                    </a:lnTo>
                    <a:lnTo>
                      <a:pt x="164" y="118"/>
                    </a:lnTo>
                    <a:lnTo>
                      <a:pt x="160" y="126"/>
                    </a:lnTo>
                    <a:lnTo>
                      <a:pt x="160" y="126"/>
                    </a:lnTo>
                    <a:lnTo>
                      <a:pt x="158" y="130"/>
                    </a:lnTo>
                    <a:lnTo>
                      <a:pt x="150" y="148"/>
                    </a:lnTo>
                    <a:lnTo>
                      <a:pt x="150" y="148"/>
                    </a:lnTo>
                    <a:lnTo>
                      <a:pt x="148" y="154"/>
                    </a:lnTo>
                    <a:lnTo>
                      <a:pt x="134" y="186"/>
                    </a:lnTo>
                    <a:lnTo>
                      <a:pt x="134" y="186"/>
                    </a:lnTo>
                    <a:lnTo>
                      <a:pt x="132" y="190"/>
                    </a:lnTo>
                    <a:lnTo>
                      <a:pt x="116" y="218"/>
                    </a:lnTo>
                    <a:lnTo>
                      <a:pt x="116" y="218"/>
                    </a:lnTo>
                    <a:lnTo>
                      <a:pt x="112" y="222"/>
                    </a:lnTo>
                    <a:lnTo>
                      <a:pt x="112" y="222"/>
                    </a:lnTo>
                    <a:lnTo>
                      <a:pt x="100" y="268"/>
                    </a:lnTo>
                    <a:lnTo>
                      <a:pt x="86" y="330"/>
                    </a:lnTo>
                    <a:lnTo>
                      <a:pt x="86" y="330"/>
                    </a:lnTo>
                    <a:lnTo>
                      <a:pt x="84" y="342"/>
                    </a:lnTo>
                    <a:lnTo>
                      <a:pt x="80" y="354"/>
                    </a:lnTo>
                    <a:lnTo>
                      <a:pt x="74" y="372"/>
                    </a:lnTo>
                    <a:lnTo>
                      <a:pt x="74" y="372"/>
                    </a:lnTo>
                    <a:lnTo>
                      <a:pt x="68" y="388"/>
                    </a:lnTo>
                    <a:lnTo>
                      <a:pt x="64" y="402"/>
                    </a:lnTo>
                    <a:lnTo>
                      <a:pt x="64" y="402"/>
                    </a:lnTo>
                    <a:lnTo>
                      <a:pt x="56" y="442"/>
                    </a:lnTo>
                    <a:lnTo>
                      <a:pt x="56" y="442"/>
                    </a:lnTo>
                    <a:lnTo>
                      <a:pt x="56" y="448"/>
                    </a:lnTo>
                    <a:lnTo>
                      <a:pt x="38" y="524"/>
                    </a:lnTo>
                    <a:lnTo>
                      <a:pt x="38" y="524"/>
                    </a:lnTo>
                    <a:lnTo>
                      <a:pt x="38" y="528"/>
                    </a:lnTo>
                    <a:lnTo>
                      <a:pt x="44" y="576"/>
                    </a:lnTo>
                    <a:lnTo>
                      <a:pt x="44" y="576"/>
                    </a:lnTo>
                    <a:lnTo>
                      <a:pt x="44" y="580"/>
                    </a:lnTo>
                    <a:lnTo>
                      <a:pt x="38" y="596"/>
                    </a:lnTo>
                    <a:lnTo>
                      <a:pt x="38" y="596"/>
                    </a:lnTo>
                    <a:lnTo>
                      <a:pt x="38" y="600"/>
                    </a:lnTo>
                    <a:lnTo>
                      <a:pt x="36" y="628"/>
                    </a:lnTo>
                    <a:lnTo>
                      <a:pt x="36" y="628"/>
                    </a:lnTo>
                    <a:lnTo>
                      <a:pt x="36" y="634"/>
                    </a:lnTo>
                    <a:lnTo>
                      <a:pt x="30" y="702"/>
                    </a:lnTo>
                    <a:lnTo>
                      <a:pt x="30" y="702"/>
                    </a:lnTo>
                    <a:lnTo>
                      <a:pt x="30" y="706"/>
                    </a:lnTo>
                    <a:lnTo>
                      <a:pt x="24" y="754"/>
                    </a:lnTo>
                    <a:lnTo>
                      <a:pt x="24" y="754"/>
                    </a:lnTo>
                    <a:lnTo>
                      <a:pt x="22" y="758"/>
                    </a:lnTo>
                    <a:lnTo>
                      <a:pt x="12" y="832"/>
                    </a:lnTo>
                    <a:lnTo>
                      <a:pt x="12" y="832"/>
                    </a:lnTo>
                    <a:lnTo>
                      <a:pt x="12" y="836"/>
                    </a:lnTo>
                    <a:lnTo>
                      <a:pt x="12" y="850"/>
                    </a:lnTo>
                    <a:lnTo>
                      <a:pt x="12" y="850"/>
                    </a:lnTo>
                    <a:lnTo>
                      <a:pt x="10" y="854"/>
                    </a:lnTo>
                    <a:lnTo>
                      <a:pt x="8" y="864"/>
                    </a:lnTo>
                    <a:lnTo>
                      <a:pt x="8" y="864"/>
                    </a:lnTo>
                    <a:lnTo>
                      <a:pt x="6" y="870"/>
                    </a:lnTo>
                    <a:lnTo>
                      <a:pt x="4" y="890"/>
                    </a:lnTo>
                    <a:lnTo>
                      <a:pt x="4" y="890"/>
                    </a:lnTo>
                    <a:lnTo>
                      <a:pt x="4" y="894"/>
                    </a:lnTo>
                    <a:lnTo>
                      <a:pt x="0" y="908"/>
                    </a:lnTo>
                    <a:lnTo>
                      <a:pt x="0" y="908"/>
                    </a:lnTo>
                    <a:lnTo>
                      <a:pt x="2" y="912"/>
                    </a:lnTo>
                    <a:lnTo>
                      <a:pt x="6" y="922"/>
                    </a:lnTo>
                    <a:lnTo>
                      <a:pt x="6" y="922"/>
                    </a:lnTo>
                    <a:lnTo>
                      <a:pt x="8" y="924"/>
                    </a:lnTo>
                    <a:lnTo>
                      <a:pt x="68" y="924"/>
                    </a:lnTo>
                    <a:lnTo>
                      <a:pt x="68" y="924"/>
                    </a:lnTo>
                    <a:lnTo>
                      <a:pt x="72" y="924"/>
                    </a:lnTo>
                    <a:lnTo>
                      <a:pt x="72" y="924"/>
                    </a:lnTo>
                    <a:lnTo>
                      <a:pt x="80" y="924"/>
                    </a:lnTo>
                    <a:lnTo>
                      <a:pt x="96" y="922"/>
                    </a:lnTo>
                    <a:lnTo>
                      <a:pt x="106" y="924"/>
                    </a:lnTo>
                    <a:lnTo>
                      <a:pt x="114" y="926"/>
                    </a:lnTo>
                    <a:lnTo>
                      <a:pt x="118" y="928"/>
                    </a:lnTo>
                    <a:lnTo>
                      <a:pt x="120" y="934"/>
                    </a:lnTo>
                    <a:lnTo>
                      <a:pt x="120" y="934"/>
                    </a:lnTo>
                    <a:lnTo>
                      <a:pt x="124" y="936"/>
                    </a:lnTo>
                    <a:lnTo>
                      <a:pt x="132" y="936"/>
                    </a:lnTo>
                    <a:lnTo>
                      <a:pt x="162" y="934"/>
                    </a:lnTo>
                    <a:lnTo>
                      <a:pt x="208" y="928"/>
                    </a:lnTo>
                    <a:lnTo>
                      <a:pt x="208" y="928"/>
                    </a:lnTo>
                    <a:lnTo>
                      <a:pt x="294" y="914"/>
                    </a:lnTo>
                    <a:lnTo>
                      <a:pt x="294" y="914"/>
                    </a:lnTo>
                    <a:lnTo>
                      <a:pt x="300" y="914"/>
                    </a:lnTo>
                    <a:lnTo>
                      <a:pt x="312" y="912"/>
                    </a:lnTo>
                    <a:lnTo>
                      <a:pt x="312" y="912"/>
                    </a:lnTo>
                    <a:lnTo>
                      <a:pt x="318" y="910"/>
                    </a:lnTo>
                    <a:lnTo>
                      <a:pt x="330" y="910"/>
                    </a:lnTo>
                    <a:lnTo>
                      <a:pt x="330" y="910"/>
                    </a:lnTo>
                    <a:lnTo>
                      <a:pt x="334" y="910"/>
                    </a:lnTo>
                    <a:lnTo>
                      <a:pt x="354" y="910"/>
                    </a:lnTo>
                    <a:lnTo>
                      <a:pt x="354" y="910"/>
                    </a:lnTo>
                    <a:lnTo>
                      <a:pt x="358" y="910"/>
                    </a:lnTo>
                    <a:lnTo>
                      <a:pt x="376" y="910"/>
                    </a:lnTo>
                    <a:lnTo>
                      <a:pt x="376" y="910"/>
                    </a:lnTo>
                    <a:lnTo>
                      <a:pt x="382" y="908"/>
                    </a:lnTo>
                    <a:lnTo>
                      <a:pt x="390" y="906"/>
                    </a:lnTo>
                    <a:lnTo>
                      <a:pt x="390" y="906"/>
                    </a:lnTo>
                    <a:lnTo>
                      <a:pt x="394" y="904"/>
                    </a:lnTo>
                    <a:lnTo>
                      <a:pt x="404" y="902"/>
                    </a:lnTo>
                    <a:lnTo>
                      <a:pt x="404" y="902"/>
                    </a:lnTo>
                    <a:lnTo>
                      <a:pt x="408" y="902"/>
                    </a:lnTo>
                    <a:lnTo>
                      <a:pt x="412" y="900"/>
                    </a:lnTo>
                    <a:lnTo>
                      <a:pt x="412" y="900"/>
                    </a:lnTo>
                    <a:lnTo>
                      <a:pt x="418" y="900"/>
                    </a:lnTo>
                    <a:lnTo>
                      <a:pt x="438" y="898"/>
                    </a:lnTo>
                    <a:lnTo>
                      <a:pt x="438" y="898"/>
                    </a:lnTo>
                    <a:lnTo>
                      <a:pt x="444" y="896"/>
                    </a:lnTo>
                    <a:lnTo>
                      <a:pt x="462" y="894"/>
                    </a:lnTo>
                    <a:lnTo>
                      <a:pt x="462" y="894"/>
                    </a:lnTo>
                    <a:lnTo>
                      <a:pt x="464" y="894"/>
                    </a:lnTo>
                    <a:lnTo>
                      <a:pt x="464" y="892"/>
                    </a:lnTo>
                    <a:lnTo>
                      <a:pt x="464" y="892"/>
                    </a:lnTo>
                    <a:lnTo>
                      <a:pt x="456" y="772"/>
                    </a:lnTo>
                    <a:lnTo>
                      <a:pt x="448" y="678"/>
                    </a:lnTo>
                    <a:lnTo>
                      <a:pt x="442" y="638"/>
                    </a:lnTo>
                    <a:lnTo>
                      <a:pt x="438" y="610"/>
                    </a:lnTo>
                    <a:lnTo>
                      <a:pt x="432" y="592"/>
                    </a:lnTo>
                    <a:lnTo>
                      <a:pt x="432" y="592"/>
                    </a:lnTo>
                    <a:lnTo>
                      <a:pt x="430" y="588"/>
                    </a:lnTo>
                    <a:lnTo>
                      <a:pt x="436" y="564"/>
                    </a:lnTo>
                    <a:lnTo>
                      <a:pt x="436" y="564"/>
                    </a:lnTo>
                    <a:lnTo>
                      <a:pt x="436" y="560"/>
                    </a:lnTo>
                    <a:lnTo>
                      <a:pt x="446" y="524"/>
                    </a:lnTo>
                    <a:lnTo>
                      <a:pt x="446" y="524"/>
                    </a:lnTo>
                    <a:lnTo>
                      <a:pt x="446" y="520"/>
                    </a:lnTo>
                    <a:lnTo>
                      <a:pt x="446" y="506"/>
                    </a:lnTo>
                    <a:lnTo>
                      <a:pt x="446" y="506"/>
                    </a:lnTo>
                    <a:lnTo>
                      <a:pt x="446" y="502"/>
                    </a:lnTo>
                    <a:lnTo>
                      <a:pt x="448" y="484"/>
                    </a:lnTo>
                    <a:lnTo>
                      <a:pt x="448" y="484"/>
                    </a:lnTo>
                    <a:lnTo>
                      <a:pt x="448" y="478"/>
                    </a:lnTo>
                    <a:lnTo>
                      <a:pt x="450" y="454"/>
                    </a:lnTo>
                    <a:lnTo>
                      <a:pt x="450" y="454"/>
                    </a:lnTo>
                    <a:lnTo>
                      <a:pt x="450" y="450"/>
                    </a:lnTo>
                    <a:lnTo>
                      <a:pt x="450" y="440"/>
                    </a:lnTo>
                    <a:lnTo>
                      <a:pt x="450" y="440"/>
                    </a:lnTo>
                    <a:lnTo>
                      <a:pt x="450" y="434"/>
                    </a:lnTo>
                    <a:lnTo>
                      <a:pt x="450" y="426"/>
                    </a:lnTo>
                    <a:lnTo>
                      <a:pt x="450" y="426"/>
                    </a:lnTo>
                    <a:lnTo>
                      <a:pt x="450" y="422"/>
                    </a:lnTo>
                    <a:lnTo>
                      <a:pt x="450" y="416"/>
                    </a:lnTo>
                    <a:lnTo>
                      <a:pt x="450" y="416"/>
                    </a:lnTo>
                    <a:lnTo>
                      <a:pt x="450" y="410"/>
                    </a:lnTo>
                    <a:lnTo>
                      <a:pt x="454" y="396"/>
                    </a:lnTo>
                    <a:lnTo>
                      <a:pt x="454" y="396"/>
                    </a:lnTo>
                    <a:lnTo>
                      <a:pt x="456" y="392"/>
                    </a:lnTo>
                    <a:lnTo>
                      <a:pt x="462" y="376"/>
                    </a:lnTo>
                    <a:lnTo>
                      <a:pt x="462" y="376"/>
                    </a:lnTo>
                    <a:lnTo>
                      <a:pt x="464" y="372"/>
                    </a:lnTo>
                    <a:lnTo>
                      <a:pt x="464" y="372"/>
                    </a:lnTo>
                    <a:lnTo>
                      <a:pt x="470" y="350"/>
                    </a:lnTo>
                    <a:lnTo>
                      <a:pt x="474" y="324"/>
                    </a:lnTo>
                    <a:lnTo>
                      <a:pt x="474" y="324"/>
                    </a:lnTo>
                    <a:lnTo>
                      <a:pt x="474" y="284"/>
                    </a:lnTo>
                    <a:lnTo>
                      <a:pt x="472" y="250"/>
                    </a:lnTo>
                    <a:lnTo>
                      <a:pt x="468" y="214"/>
                    </a:lnTo>
                    <a:lnTo>
                      <a:pt x="462" y="200"/>
                    </a:lnTo>
                    <a:lnTo>
                      <a:pt x="462" y="200"/>
                    </a:lnTo>
                    <a:lnTo>
                      <a:pt x="460" y="196"/>
                    </a:lnTo>
                    <a:lnTo>
                      <a:pt x="456" y="174"/>
                    </a:lnTo>
                    <a:lnTo>
                      <a:pt x="456" y="174"/>
                    </a:lnTo>
                    <a:lnTo>
                      <a:pt x="454" y="170"/>
                    </a:lnTo>
                    <a:lnTo>
                      <a:pt x="444" y="148"/>
                    </a:lnTo>
                    <a:lnTo>
                      <a:pt x="444" y="148"/>
                    </a:lnTo>
                    <a:lnTo>
                      <a:pt x="442" y="142"/>
                    </a:lnTo>
                    <a:lnTo>
                      <a:pt x="442" y="142"/>
                    </a:lnTo>
                    <a:lnTo>
                      <a:pt x="438" y="136"/>
                    </a:lnTo>
                    <a:lnTo>
                      <a:pt x="428" y="120"/>
                    </a:lnTo>
                    <a:lnTo>
                      <a:pt x="412" y="100"/>
                    </a:lnTo>
                    <a:lnTo>
                      <a:pt x="402" y="90"/>
                    </a:lnTo>
                    <a:lnTo>
                      <a:pt x="390" y="82"/>
                    </a:lnTo>
                    <a:lnTo>
                      <a:pt x="390" y="82"/>
                    </a:lnTo>
                    <a:lnTo>
                      <a:pt x="372" y="70"/>
                    </a:lnTo>
                    <a:lnTo>
                      <a:pt x="356" y="60"/>
                    </a:lnTo>
                    <a:lnTo>
                      <a:pt x="344" y="50"/>
                    </a:lnTo>
                    <a:lnTo>
                      <a:pt x="344" y="50"/>
                    </a:lnTo>
                    <a:lnTo>
                      <a:pt x="340" y="48"/>
                    </a:lnTo>
                    <a:lnTo>
                      <a:pt x="316" y="30"/>
                    </a:lnTo>
                    <a:lnTo>
                      <a:pt x="316" y="30"/>
                    </a:lnTo>
                    <a:lnTo>
                      <a:pt x="312" y="26"/>
                    </a:lnTo>
                    <a:lnTo>
                      <a:pt x="296" y="2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0" name="Freeform 505">
                <a:extLst>
                  <a:ext uri="{FF2B5EF4-FFF2-40B4-BE49-F238E27FC236}">
                    <a16:creationId xmlns:a16="http://schemas.microsoft.com/office/drawing/2014/main" id="{355874A6-65CE-46F1-9D1C-88AD398E4FF0}"/>
                  </a:ext>
                </a:extLst>
              </p:cNvPr>
              <p:cNvSpPr>
                <a:spLocks/>
              </p:cNvSpPr>
              <p:nvPr/>
            </p:nvSpPr>
            <p:spPr bwMode="auto">
              <a:xfrm>
                <a:off x="6013957" y="5632451"/>
                <a:ext cx="825497" cy="587374"/>
              </a:xfrm>
              <a:custGeom>
                <a:avLst/>
                <a:gdLst>
                  <a:gd name="T0" fmla="*/ 520 w 520"/>
                  <a:gd name="T1" fmla="*/ 322 h 370"/>
                  <a:gd name="T2" fmla="*/ 520 w 520"/>
                  <a:gd name="T3" fmla="*/ 322 h 370"/>
                  <a:gd name="T4" fmla="*/ 520 w 520"/>
                  <a:gd name="T5" fmla="*/ 326 h 370"/>
                  <a:gd name="T6" fmla="*/ 496 w 520"/>
                  <a:gd name="T7" fmla="*/ 352 h 370"/>
                  <a:gd name="T8" fmla="*/ 496 w 520"/>
                  <a:gd name="T9" fmla="*/ 352 h 370"/>
                  <a:gd name="T10" fmla="*/ 492 w 520"/>
                  <a:gd name="T11" fmla="*/ 354 h 370"/>
                  <a:gd name="T12" fmla="*/ 42 w 520"/>
                  <a:gd name="T13" fmla="*/ 370 h 370"/>
                  <a:gd name="T14" fmla="*/ 42 w 520"/>
                  <a:gd name="T15" fmla="*/ 370 h 370"/>
                  <a:gd name="T16" fmla="*/ 38 w 520"/>
                  <a:gd name="T17" fmla="*/ 370 h 370"/>
                  <a:gd name="T18" fmla="*/ 12 w 520"/>
                  <a:gd name="T19" fmla="*/ 346 h 370"/>
                  <a:gd name="T20" fmla="*/ 12 w 520"/>
                  <a:gd name="T21" fmla="*/ 346 h 370"/>
                  <a:gd name="T22" fmla="*/ 10 w 520"/>
                  <a:gd name="T23" fmla="*/ 342 h 370"/>
                  <a:gd name="T24" fmla="*/ 0 w 520"/>
                  <a:gd name="T25" fmla="*/ 48 h 370"/>
                  <a:gd name="T26" fmla="*/ 0 w 520"/>
                  <a:gd name="T27" fmla="*/ 48 h 370"/>
                  <a:gd name="T28" fmla="*/ 0 w 520"/>
                  <a:gd name="T29" fmla="*/ 44 h 370"/>
                  <a:gd name="T30" fmla="*/ 24 w 520"/>
                  <a:gd name="T31" fmla="*/ 18 h 370"/>
                  <a:gd name="T32" fmla="*/ 24 w 520"/>
                  <a:gd name="T33" fmla="*/ 18 h 370"/>
                  <a:gd name="T34" fmla="*/ 28 w 520"/>
                  <a:gd name="T35" fmla="*/ 16 h 370"/>
                  <a:gd name="T36" fmla="*/ 478 w 520"/>
                  <a:gd name="T37" fmla="*/ 0 h 370"/>
                  <a:gd name="T38" fmla="*/ 478 w 520"/>
                  <a:gd name="T39" fmla="*/ 0 h 370"/>
                  <a:gd name="T40" fmla="*/ 482 w 520"/>
                  <a:gd name="T41" fmla="*/ 0 h 370"/>
                  <a:gd name="T42" fmla="*/ 508 w 520"/>
                  <a:gd name="T43" fmla="*/ 24 h 370"/>
                  <a:gd name="T44" fmla="*/ 508 w 520"/>
                  <a:gd name="T45" fmla="*/ 24 h 370"/>
                  <a:gd name="T46" fmla="*/ 508 w 520"/>
                  <a:gd name="T47" fmla="*/ 28 h 370"/>
                  <a:gd name="T48" fmla="*/ 520 w 520"/>
                  <a:gd name="T49" fmla="*/ 322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0" h="370">
                    <a:moveTo>
                      <a:pt x="520" y="322"/>
                    </a:moveTo>
                    <a:lnTo>
                      <a:pt x="520" y="322"/>
                    </a:lnTo>
                    <a:lnTo>
                      <a:pt x="520" y="326"/>
                    </a:lnTo>
                    <a:lnTo>
                      <a:pt x="496" y="352"/>
                    </a:lnTo>
                    <a:lnTo>
                      <a:pt x="496" y="352"/>
                    </a:lnTo>
                    <a:lnTo>
                      <a:pt x="492" y="354"/>
                    </a:lnTo>
                    <a:lnTo>
                      <a:pt x="42" y="370"/>
                    </a:lnTo>
                    <a:lnTo>
                      <a:pt x="42" y="370"/>
                    </a:lnTo>
                    <a:lnTo>
                      <a:pt x="38" y="370"/>
                    </a:lnTo>
                    <a:lnTo>
                      <a:pt x="12" y="346"/>
                    </a:lnTo>
                    <a:lnTo>
                      <a:pt x="12" y="346"/>
                    </a:lnTo>
                    <a:lnTo>
                      <a:pt x="10" y="342"/>
                    </a:lnTo>
                    <a:lnTo>
                      <a:pt x="0" y="48"/>
                    </a:lnTo>
                    <a:lnTo>
                      <a:pt x="0" y="48"/>
                    </a:lnTo>
                    <a:lnTo>
                      <a:pt x="0" y="44"/>
                    </a:lnTo>
                    <a:lnTo>
                      <a:pt x="24" y="18"/>
                    </a:lnTo>
                    <a:lnTo>
                      <a:pt x="24" y="18"/>
                    </a:lnTo>
                    <a:lnTo>
                      <a:pt x="28" y="16"/>
                    </a:lnTo>
                    <a:lnTo>
                      <a:pt x="478" y="0"/>
                    </a:lnTo>
                    <a:lnTo>
                      <a:pt x="478" y="0"/>
                    </a:lnTo>
                    <a:lnTo>
                      <a:pt x="482" y="0"/>
                    </a:lnTo>
                    <a:lnTo>
                      <a:pt x="508" y="24"/>
                    </a:lnTo>
                    <a:lnTo>
                      <a:pt x="508" y="24"/>
                    </a:lnTo>
                    <a:lnTo>
                      <a:pt x="508" y="28"/>
                    </a:lnTo>
                    <a:lnTo>
                      <a:pt x="520" y="3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1" name="Freeform 506">
                <a:extLst>
                  <a:ext uri="{FF2B5EF4-FFF2-40B4-BE49-F238E27FC236}">
                    <a16:creationId xmlns:a16="http://schemas.microsoft.com/office/drawing/2014/main" id="{F760360D-CB34-49E5-8247-754139659B23}"/>
                  </a:ext>
                </a:extLst>
              </p:cNvPr>
              <p:cNvSpPr>
                <a:spLocks/>
              </p:cNvSpPr>
              <p:nvPr/>
            </p:nvSpPr>
            <p:spPr bwMode="auto">
              <a:xfrm>
                <a:off x="6058403" y="5581647"/>
                <a:ext cx="495301" cy="1450976"/>
              </a:xfrm>
              <a:custGeom>
                <a:avLst/>
                <a:gdLst>
                  <a:gd name="T0" fmla="*/ 2 w 312"/>
                  <a:gd name="T1" fmla="*/ 6 h 914"/>
                  <a:gd name="T2" fmla="*/ 0 w 312"/>
                  <a:gd name="T3" fmla="*/ 144 h 914"/>
                  <a:gd name="T4" fmla="*/ 34 w 312"/>
                  <a:gd name="T5" fmla="*/ 266 h 914"/>
                  <a:gd name="T6" fmla="*/ 52 w 312"/>
                  <a:gd name="T7" fmla="*/ 340 h 914"/>
                  <a:gd name="T8" fmla="*/ 56 w 312"/>
                  <a:gd name="T9" fmla="*/ 392 h 914"/>
                  <a:gd name="T10" fmla="*/ 56 w 312"/>
                  <a:gd name="T11" fmla="*/ 410 h 914"/>
                  <a:gd name="T12" fmla="*/ 62 w 312"/>
                  <a:gd name="T13" fmla="*/ 464 h 914"/>
                  <a:gd name="T14" fmla="*/ 62 w 312"/>
                  <a:gd name="T15" fmla="*/ 490 h 914"/>
                  <a:gd name="T16" fmla="*/ 80 w 312"/>
                  <a:gd name="T17" fmla="*/ 590 h 914"/>
                  <a:gd name="T18" fmla="*/ 86 w 312"/>
                  <a:gd name="T19" fmla="*/ 634 h 914"/>
                  <a:gd name="T20" fmla="*/ 94 w 312"/>
                  <a:gd name="T21" fmla="*/ 660 h 914"/>
                  <a:gd name="T22" fmla="*/ 98 w 312"/>
                  <a:gd name="T23" fmla="*/ 694 h 914"/>
                  <a:gd name="T24" fmla="*/ 96 w 312"/>
                  <a:gd name="T25" fmla="*/ 706 h 914"/>
                  <a:gd name="T26" fmla="*/ 88 w 312"/>
                  <a:gd name="T27" fmla="*/ 718 h 914"/>
                  <a:gd name="T28" fmla="*/ 90 w 312"/>
                  <a:gd name="T29" fmla="*/ 734 h 914"/>
                  <a:gd name="T30" fmla="*/ 98 w 312"/>
                  <a:gd name="T31" fmla="*/ 750 h 914"/>
                  <a:gd name="T32" fmla="*/ 100 w 312"/>
                  <a:gd name="T33" fmla="*/ 764 h 914"/>
                  <a:gd name="T34" fmla="*/ 100 w 312"/>
                  <a:gd name="T35" fmla="*/ 782 h 914"/>
                  <a:gd name="T36" fmla="*/ 102 w 312"/>
                  <a:gd name="T37" fmla="*/ 806 h 914"/>
                  <a:gd name="T38" fmla="*/ 104 w 312"/>
                  <a:gd name="T39" fmla="*/ 818 h 914"/>
                  <a:gd name="T40" fmla="*/ 130 w 312"/>
                  <a:gd name="T41" fmla="*/ 838 h 914"/>
                  <a:gd name="T42" fmla="*/ 202 w 312"/>
                  <a:gd name="T43" fmla="*/ 884 h 914"/>
                  <a:gd name="T44" fmla="*/ 212 w 312"/>
                  <a:gd name="T45" fmla="*/ 892 h 914"/>
                  <a:gd name="T46" fmla="*/ 248 w 312"/>
                  <a:gd name="T47" fmla="*/ 902 h 914"/>
                  <a:gd name="T48" fmla="*/ 274 w 312"/>
                  <a:gd name="T49" fmla="*/ 912 h 914"/>
                  <a:gd name="T50" fmla="*/ 288 w 312"/>
                  <a:gd name="T51" fmla="*/ 914 h 914"/>
                  <a:gd name="T52" fmla="*/ 308 w 312"/>
                  <a:gd name="T53" fmla="*/ 902 h 914"/>
                  <a:gd name="T54" fmla="*/ 312 w 312"/>
                  <a:gd name="T55" fmla="*/ 894 h 914"/>
                  <a:gd name="T56" fmla="*/ 306 w 312"/>
                  <a:gd name="T57" fmla="*/ 878 h 914"/>
                  <a:gd name="T58" fmla="*/ 310 w 312"/>
                  <a:gd name="T59" fmla="*/ 866 h 914"/>
                  <a:gd name="T60" fmla="*/ 312 w 312"/>
                  <a:gd name="T61" fmla="*/ 856 h 914"/>
                  <a:gd name="T62" fmla="*/ 312 w 312"/>
                  <a:gd name="T63" fmla="*/ 836 h 914"/>
                  <a:gd name="T64" fmla="*/ 306 w 312"/>
                  <a:gd name="T65" fmla="*/ 790 h 914"/>
                  <a:gd name="T66" fmla="*/ 302 w 312"/>
                  <a:gd name="T67" fmla="*/ 776 h 914"/>
                  <a:gd name="T68" fmla="*/ 290 w 312"/>
                  <a:gd name="T69" fmla="*/ 754 h 914"/>
                  <a:gd name="T70" fmla="*/ 284 w 312"/>
                  <a:gd name="T71" fmla="*/ 744 h 914"/>
                  <a:gd name="T72" fmla="*/ 296 w 312"/>
                  <a:gd name="T73" fmla="*/ 646 h 914"/>
                  <a:gd name="T74" fmla="*/ 296 w 312"/>
                  <a:gd name="T75" fmla="*/ 594 h 914"/>
                  <a:gd name="T76" fmla="*/ 294 w 312"/>
                  <a:gd name="T77" fmla="*/ 526 h 914"/>
                  <a:gd name="T78" fmla="*/ 286 w 312"/>
                  <a:gd name="T79" fmla="*/ 428 h 914"/>
                  <a:gd name="T80" fmla="*/ 294 w 312"/>
                  <a:gd name="T81" fmla="*/ 396 h 914"/>
                  <a:gd name="T82" fmla="*/ 292 w 312"/>
                  <a:gd name="T83" fmla="*/ 352 h 914"/>
                  <a:gd name="T84" fmla="*/ 278 w 312"/>
                  <a:gd name="T85" fmla="*/ 260 h 914"/>
                  <a:gd name="T86" fmla="*/ 250 w 312"/>
                  <a:gd name="T87" fmla="*/ 198 h 914"/>
                  <a:gd name="T88" fmla="*/ 290 w 312"/>
                  <a:gd name="T89" fmla="*/ 110 h 914"/>
                  <a:gd name="T90" fmla="*/ 280 w 312"/>
                  <a:gd name="T91" fmla="*/ 82 h 914"/>
                  <a:gd name="T92" fmla="*/ 270 w 312"/>
                  <a:gd name="T93" fmla="*/ 2 h 914"/>
                  <a:gd name="T94" fmla="*/ 4 w 312"/>
                  <a:gd name="T95" fmla="*/ 4 h 9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2" h="914">
                    <a:moveTo>
                      <a:pt x="4" y="4"/>
                    </a:moveTo>
                    <a:lnTo>
                      <a:pt x="4" y="4"/>
                    </a:lnTo>
                    <a:lnTo>
                      <a:pt x="2" y="4"/>
                    </a:lnTo>
                    <a:lnTo>
                      <a:pt x="2" y="6"/>
                    </a:lnTo>
                    <a:lnTo>
                      <a:pt x="2" y="58"/>
                    </a:lnTo>
                    <a:lnTo>
                      <a:pt x="2" y="58"/>
                    </a:lnTo>
                    <a:lnTo>
                      <a:pt x="2" y="62"/>
                    </a:lnTo>
                    <a:lnTo>
                      <a:pt x="0" y="144"/>
                    </a:lnTo>
                    <a:lnTo>
                      <a:pt x="0" y="144"/>
                    </a:lnTo>
                    <a:lnTo>
                      <a:pt x="0" y="148"/>
                    </a:lnTo>
                    <a:lnTo>
                      <a:pt x="34" y="266"/>
                    </a:lnTo>
                    <a:lnTo>
                      <a:pt x="34" y="266"/>
                    </a:lnTo>
                    <a:lnTo>
                      <a:pt x="34" y="270"/>
                    </a:lnTo>
                    <a:lnTo>
                      <a:pt x="52" y="336"/>
                    </a:lnTo>
                    <a:lnTo>
                      <a:pt x="52" y="336"/>
                    </a:lnTo>
                    <a:lnTo>
                      <a:pt x="52" y="340"/>
                    </a:lnTo>
                    <a:lnTo>
                      <a:pt x="56" y="368"/>
                    </a:lnTo>
                    <a:lnTo>
                      <a:pt x="56" y="368"/>
                    </a:lnTo>
                    <a:lnTo>
                      <a:pt x="56" y="372"/>
                    </a:lnTo>
                    <a:lnTo>
                      <a:pt x="56" y="392"/>
                    </a:lnTo>
                    <a:lnTo>
                      <a:pt x="56" y="392"/>
                    </a:lnTo>
                    <a:lnTo>
                      <a:pt x="56" y="396"/>
                    </a:lnTo>
                    <a:lnTo>
                      <a:pt x="56" y="410"/>
                    </a:lnTo>
                    <a:lnTo>
                      <a:pt x="56" y="410"/>
                    </a:lnTo>
                    <a:lnTo>
                      <a:pt x="56" y="414"/>
                    </a:lnTo>
                    <a:lnTo>
                      <a:pt x="62" y="460"/>
                    </a:lnTo>
                    <a:lnTo>
                      <a:pt x="62" y="460"/>
                    </a:lnTo>
                    <a:lnTo>
                      <a:pt x="62" y="464"/>
                    </a:lnTo>
                    <a:lnTo>
                      <a:pt x="62" y="464"/>
                    </a:lnTo>
                    <a:lnTo>
                      <a:pt x="62" y="474"/>
                    </a:lnTo>
                    <a:lnTo>
                      <a:pt x="62" y="490"/>
                    </a:lnTo>
                    <a:lnTo>
                      <a:pt x="62" y="490"/>
                    </a:lnTo>
                    <a:lnTo>
                      <a:pt x="76" y="530"/>
                    </a:lnTo>
                    <a:lnTo>
                      <a:pt x="76" y="530"/>
                    </a:lnTo>
                    <a:lnTo>
                      <a:pt x="76" y="534"/>
                    </a:lnTo>
                    <a:lnTo>
                      <a:pt x="80" y="590"/>
                    </a:lnTo>
                    <a:lnTo>
                      <a:pt x="80" y="590"/>
                    </a:lnTo>
                    <a:lnTo>
                      <a:pt x="82" y="594"/>
                    </a:lnTo>
                    <a:lnTo>
                      <a:pt x="86" y="634"/>
                    </a:lnTo>
                    <a:lnTo>
                      <a:pt x="86" y="634"/>
                    </a:lnTo>
                    <a:lnTo>
                      <a:pt x="86" y="638"/>
                    </a:lnTo>
                    <a:lnTo>
                      <a:pt x="94" y="656"/>
                    </a:lnTo>
                    <a:lnTo>
                      <a:pt x="94" y="656"/>
                    </a:lnTo>
                    <a:lnTo>
                      <a:pt x="94" y="660"/>
                    </a:lnTo>
                    <a:lnTo>
                      <a:pt x="98" y="678"/>
                    </a:lnTo>
                    <a:lnTo>
                      <a:pt x="98" y="678"/>
                    </a:lnTo>
                    <a:lnTo>
                      <a:pt x="98" y="682"/>
                    </a:lnTo>
                    <a:lnTo>
                      <a:pt x="98" y="694"/>
                    </a:lnTo>
                    <a:lnTo>
                      <a:pt x="98" y="694"/>
                    </a:lnTo>
                    <a:lnTo>
                      <a:pt x="98" y="698"/>
                    </a:lnTo>
                    <a:lnTo>
                      <a:pt x="96" y="706"/>
                    </a:lnTo>
                    <a:lnTo>
                      <a:pt x="96" y="706"/>
                    </a:lnTo>
                    <a:lnTo>
                      <a:pt x="94" y="710"/>
                    </a:lnTo>
                    <a:lnTo>
                      <a:pt x="90" y="714"/>
                    </a:lnTo>
                    <a:lnTo>
                      <a:pt x="90" y="714"/>
                    </a:lnTo>
                    <a:lnTo>
                      <a:pt x="88" y="718"/>
                    </a:lnTo>
                    <a:lnTo>
                      <a:pt x="88" y="724"/>
                    </a:lnTo>
                    <a:lnTo>
                      <a:pt x="88" y="724"/>
                    </a:lnTo>
                    <a:lnTo>
                      <a:pt x="88" y="728"/>
                    </a:lnTo>
                    <a:lnTo>
                      <a:pt x="90" y="734"/>
                    </a:lnTo>
                    <a:lnTo>
                      <a:pt x="90" y="734"/>
                    </a:lnTo>
                    <a:lnTo>
                      <a:pt x="92" y="738"/>
                    </a:lnTo>
                    <a:lnTo>
                      <a:pt x="98" y="750"/>
                    </a:lnTo>
                    <a:lnTo>
                      <a:pt x="98" y="750"/>
                    </a:lnTo>
                    <a:lnTo>
                      <a:pt x="100" y="754"/>
                    </a:lnTo>
                    <a:lnTo>
                      <a:pt x="100" y="754"/>
                    </a:lnTo>
                    <a:lnTo>
                      <a:pt x="100" y="764"/>
                    </a:lnTo>
                    <a:lnTo>
                      <a:pt x="100" y="764"/>
                    </a:lnTo>
                    <a:lnTo>
                      <a:pt x="100" y="768"/>
                    </a:lnTo>
                    <a:lnTo>
                      <a:pt x="100" y="768"/>
                    </a:lnTo>
                    <a:lnTo>
                      <a:pt x="100" y="782"/>
                    </a:lnTo>
                    <a:lnTo>
                      <a:pt x="100" y="782"/>
                    </a:lnTo>
                    <a:lnTo>
                      <a:pt x="102" y="796"/>
                    </a:lnTo>
                    <a:lnTo>
                      <a:pt x="102" y="802"/>
                    </a:lnTo>
                    <a:lnTo>
                      <a:pt x="102" y="802"/>
                    </a:lnTo>
                    <a:lnTo>
                      <a:pt x="102" y="806"/>
                    </a:lnTo>
                    <a:lnTo>
                      <a:pt x="102" y="806"/>
                    </a:lnTo>
                    <a:lnTo>
                      <a:pt x="100" y="810"/>
                    </a:lnTo>
                    <a:lnTo>
                      <a:pt x="100" y="814"/>
                    </a:lnTo>
                    <a:lnTo>
                      <a:pt x="104" y="818"/>
                    </a:lnTo>
                    <a:lnTo>
                      <a:pt x="104" y="818"/>
                    </a:lnTo>
                    <a:lnTo>
                      <a:pt x="116" y="828"/>
                    </a:lnTo>
                    <a:lnTo>
                      <a:pt x="130" y="838"/>
                    </a:lnTo>
                    <a:lnTo>
                      <a:pt x="130" y="838"/>
                    </a:lnTo>
                    <a:lnTo>
                      <a:pt x="170" y="862"/>
                    </a:lnTo>
                    <a:lnTo>
                      <a:pt x="198" y="880"/>
                    </a:lnTo>
                    <a:lnTo>
                      <a:pt x="198" y="880"/>
                    </a:lnTo>
                    <a:lnTo>
                      <a:pt x="202" y="884"/>
                    </a:lnTo>
                    <a:lnTo>
                      <a:pt x="202" y="884"/>
                    </a:lnTo>
                    <a:lnTo>
                      <a:pt x="204" y="888"/>
                    </a:lnTo>
                    <a:lnTo>
                      <a:pt x="208" y="890"/>
                    </a:lnTo>
                    <a:lnTo>
                      <a:pt x="212" y="892"/>
                    </a:lnTo>
                    <a:lnTo>
                      <a:pt x="212" y="892"/>
                    </a:lnTo>
                    <a:lnTo>
                      <a:pt x="222" y="894"/>
                    </a:lnTo>
                    <a:lnTo>
                      <a:pt x="234" y="898"/>
                    </a:lnTo>
                    <a:lnTo>
                      <a:pt x="248" y="902"/>
                    </a:lnTo>
                    <a:lnTo>
                      <a:pt x="248" y="902"/>
                    </a:lnTo>
                    <a:lnTo>
                      <a:pt x="252" y="904"/>
                    </a:lnTo>
                    <a:lnTo>
                      <a:pt x="274" y="912"/>
                    </a:lnTo>
                    <a:lnTo>
                      <a:pt x="274" y="912"/>
                    </a:lnTo>
                    <a:lnTo>
                      <a:pt x="278" y="914"/>
                    </a:lnTo>
                    <a:lnTo>
                      <a:pt x="284" y="914"/>
                    </a:lnTo>
                    <a:lnTo>
                      <a:pt x="284" y="914"/>
                    </a:lnTo>
                    <a:lnTo>
                      <a:pt x="288" y="914"/>
                    </a:lnTo>
                    <a:lnTo>
                      <a:pt x="290" y="912"/>
                    </a:lnTo>
                    <a:lnTo>
                      <a:pt x="290" y="912"/>
                    </a:lnTo>
                    <a:lnTo>
                      <a:pt x="294" y="910"/>
                    </a:lnTo>
                    <a:lnTo>
                      <a:pt x="308" y="902"/>
                    </a:lnTo>
                    <a:lnTo>
                      <a:pt x="308" y="902"/>
                    </a:lnTo>
                    <a:lnTo>
                      <a:pt x="310" y="898"/>
                    </a:lnTo>
                    <a:lnTo>
                      <a:pt x="312" y="894"/>
                    </a:lnTo>
                    <a:lnTo>
                      <a:pt x="312" y="894"/>
                    </a:lnTo>
                    <a:lnTo>
                      <a:pt x="312" y="890"/>
                    </a:lnTo>
                    <a:lnTo>
                      <a:pt x="306" y="882"/>
                    </a:lnTo>
                    <a:lnTo>
                      <a:pt x="306" y="882"/>
                    </a:lnTo>
                    <a:lnTo>
                      <a:pt x="306" y="878"/>
                    </a:lnTo>
                    <a:lnTo>
                      <a:pt x="306" y="874"/>
                    </a:lnTo>
                    <a:lnTo>
                      <a:pt x="306" y="874"/>
                    </a:lnTo>
                    <a:lnTo>
                      <a:pt x="306" y="870"/>
                    </a:lnTo>
                    <a:lnTo>
                      <a:pt x="310" y="866"/>
                    </a:lnTo>
                    <a:lnTo>
                      <a:pt x="310" y="866"/>
                    </a:lnTo>
                    <a:lnTo>
                      <a:pt x="312" y="862"/>
                    </a:lnTo>
                    <a:lnTo>
                      <a:pt x="312" y="862"/>
                    </a:lnTo>
                    <a:lnTo>
                      <a:pt x="312" y="856"/>
                    </a:lnTo>
                    <a:lnTo>
                      <a:pt x="312" y="856"/>
                    </a:lnTo>
                    <a:lnTo>
                      <a:pt x="312" y="840"/>
                    </a:lnTo>
                    <a:lnTo>
                      <a:pt x="312" y="840"/>
                    </a:lnTo>
                    <a:lnTo>
                      <a:pt x="312" y="836"/>
                    </a:lnTo>
                    <a:lnTo>
                      <a:pt x="308" y="812"/>
                    </a:lnTo>
                    <a:lnTo>
                      <a:pt x="308" y="812"/>
                    </a:lnTo>
                    <a:lnTo>
                      <a:pt x="308" y="806"/>
                    </a:lnTo>
                    <a:lnTo>
                      <a:pt x="306" y="790"/>
                    </a:lnTo>
                    <a:lnTo>
                      <a:pt x="306" y="790"/>
                    </a:lnTo>
                    <a:lnTo>
                      <a:pt x="304" y="786"/>
                    </a:lnTo>
                    <a:lnTo>
                      <a:pt x="302" y="776"/>
                    </a:lnTo>
                    <a:lnTo>
                      <a:pt x="302" y="776"/>
                    </a:lnTo>
                    <a:lnTo>
                      <a:pt x="300" y="772"/>
                    </a:lnTo>
                    <a:lnTo>
                      <a:pt x="292" y="758"/>
                    </a:lnTo>
                    <a:lnTo>
                      <a:pt x="292" y="758"/>
                    </a:lnTo>
                    <a:lnTo>
                      <a:pt x="290" y="754"/>
                    </a:lnTo>
                    <a:lnTo>
                      <a:pt x="286" y="748"/>
                    </a:lnTo>
                    <a:lnTo>
                      <a:pt x="286" y="748"/>
                    </a:lnTo>
                    <a:lnTo>
                      <a:pt x="284" y="744"/>
                    </a:lnTo>
                    <a:lnTo>
                      <a:pt x="284" y="744"/>
                    </a:lnTo>
                    <a:lnTo>
                      <a:pt x="286" y="732"/>
                    </a:lnTo>
                    <a:lnTo>
                      <a:pt x="292" y="702"/>
                    </a:lnTo>
                    <a:lnTo>
                      <a:pt x="296" y="664"/>
                    </a:lnTo>
                    <a:lnTo>
                      <a:pt x="296" y="646"/>
                    </a:lnTo>
                    <a:lnTo>
                      <a:pt x="292" y="632"/>
                    </a:lnTo>
                    <a:lnTo>
                      <a:pt x="296" y="600"/>
                    </a:lnTo>
                    <a:lnTo>
                      <a:pt x="296" y="600"/>
                    </a:lnTo>
                    <a:lnTo>
                      <a:pt x="296" y="594"/>
                    </a:lnTo>
                    <a:lnTo>
                      <a:pt x="288" y="550"/>
                    </a:lnTo>
                    <a:lnTo>
                      <a:pt x="288" y="550"/>
                    </a:lnTo>
                    <a:lnTo>
                      <a:pt x="288" y="546"/>
                    </a:lnTo>
                    <a:lnTo>
                      <a:pt x="294" y="526"/>
                    </a:lnTo>
                    <a:lnTo>
                      <a:pt x="294" y="526"/>
                    </a:lnTo>
                    <a:lnTo>
                      <a:pt x="294" y="520"/>
                    </a:lnTo>
                    <a:lnTo>
                      <a:pt x="286" y="428"/>
                    </a:lnTo>
                    <a:lnTo>
                      <a:pt x="286" y="428"/>
                    </a:lnTo>
                    <a:lnTo>
                      <a:pt x="286" y="424"/>
                    </a:lnTo>
                    <a:lnTo>
                      <a:pt x="286" y="424"/>
                    </a:lnTo>
                    <a:lnTo>
                      <a:pt x="290" y="412"/>
                    </a:lnTo>
                    <a:lnTo>
                      <a:pt x="294" y="396"/>
                    </a:lnTo>
                    <a:lnTo>
                      <a:pt x="294" y="396"/>
                    </a:lnTo>
                    <a:lnTo>
                      <a:pt x="292" y="358"/>
                    </a:lnTo>
                    <a:lnTo>
                      <a:pt x="292" y="358"/>
                    </a:lnTo>
                    <a:lnTo>
                      <a:pt x="292" y="352"/>
                    </a:lnTo>
                    <a:lnTo>
                      <a:pt x="280" y="264"/>
                    </a:lnTo>
                    <a:lnTo>
                      <a:pt x="280" y="264"/>
                    </a:lnTo>
                    <a:lnTo>
                      <a:pt x="278" y="260"/>
                    </a:lnTo>
                    <a:lnTo>
                      <a:pt x="278" y="260"/>
                    </a:lnTo>
                    <a:lnTo>
                      <a:pt x="264" y="232"/>
                    </a:lnTo>
                    <a:lnTo>
                      <a:pt x="254" y="210"/>
                    </a:lnTo>
                    <a:lnTo>
                      <a:pt x="250" y="202"/>
                    </a:lnTo>
                    <a:lnTo>
                      <a:pt x="250" y="198"/>
                    </a:lnTo>
                    <a:lnTo>
                      <a:pt x="250" y="198"/>
                    </a:lnTo>
                    <a:lnTo>
                      <a:pt x="272" y="152"/>
                    </a:lnTo>
                    <a:lnTo>
                      <a:pt x="290" y="110"/>
                    </a:lnTo>
                    <a:lnTo>
                      <a:pt x="290" y="110"/>
                    </a:lnTo>
                    <a:lnTo>
                      <a:pt x="290" y="106"/>
                    </a:lnTo>
                    <a:lnTo>
                      <a:pt x="290" y="106"/>
                    </a:lnTo>
                    <a:lnTo>
                      <a:pt x="280" y="82"/>
                    </a:lnTo>
                    <a:lnTo>
                      <a:pt x="280" y="82"/>
                    </a:lnTo>
                    <a:lnTo>
                      <a:pt x="274" y="66"/>
                    </a:lnTo>
                    <a:lnTo>
                      <a:pt x="274" y="66"/>
                    </a:lnTo>
                    <a:lnTo>
                      <a:pt x="274" y="62"/>
                    </a:lnTo>
                    <a:lnTo>
                      <a:pt x="270" y="2"/>
                    </a:lnTo>
                    <a:lnTo>
                      <a:pt x="270" y="2"/>
                    </a:lnTo>
                    <a:lnTo>
                      <a:pt x="270" y="0"/>
                    </a:lnTo>
                    <a:lnTo>
                      <a:pt x="268" y="0"/>
                    </a:lnTo>
                    <a:lnTo>
                      <a:pt x="4" y="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2" name="Freeform 507">
                <a:extLst>
                  <a:ext uri="{FF2B5EF4-FFF2-40B4-BE49-F238E27FC236}">
                    <a16:creationId xmlns:a16="http://schemas.microsoft.com/office/drawing/2014/main" id="{12532BBD-4E6F-4A93-B53D-B624800F6333}"/>
                  </a:ext>
                </a:extLst>
              </p:cNvPr>
              <p:cNvSpPr>
                <a:spLocks/>
              </p:cNvSpPr>
              <p:nvPr/>
            </p:nvSpPr>
            <p:spPr bwMode="auto">
              <a:xfrm>
                <a:off x="5953631" y="6791326"/>
                <a:ext cx="568321" cy="285750"/>
              </a:xfrm>
              <a:custGeom>
                <a:avLst/>
                <a:gdLst>
                  <a:gd name="T0" fmla="*/ 172 w 358"/>
                  <a:gd name="T1" fmla="*/ 0 h 180"/>
                  <a:gd name="T2" fmla="*/ 154 w 358"/>
                  <a:gd name="T3" fmla="*/ 14 h 180"/>
                  <a:gd name="T4" fmla="*/ 142 w 358"/>
                  <a:gd name="T5" fmla="*/ 22 h 180"/>
                  <a:gd name="T6" fmla="*/ 128 w 358"/>
                  <a:gd name="T7" fmla="*/ 38 h 180"/>
                  <a:gd name="T8" fmla="*/ 96 w 358"/>
                  <a:gd name="T9" fmla="*/ 56 h 180"/>
                  <a:gd name="T10" fmla="*/ 80 w 358"/>
                  <a:gd name="T11" fmla="*/ 58 h 180"/>
                  <a:gd name="T12" fmla="*/ 60 w 358"/>
                  <a:gd name="T13" fmla="*/ 58 h 180"/>
                  <a:gd name="T14" fmla="*/ 38 w 358"/>
                  <a:gd name="T15" fmla="*/ 60 h 180"/>
                  <a:gd name="T16" fmla="*/ 14 w 358"/>
                  <a:gd name="T17" fmla="*/ 60 h 180"/>
                  <a:gd name="T18" fmla="*/ 4 w 358"/>
                  <a:gd name="T19" fmla="*/ 64 h 180"/>
                  <a:gd name="T20" fmla="*/ 2 w 358"/>
                  <a:gd name="T21" fmla="*/ 74 h 180"/>
                  <a:gd name="T22" fmla="*/ 0 w 358"/>
                  <a:gd name="T23" fmla="*/ 84 h 180"/>
                  <a:gd name="T24" fmla="*/ 6 w 358"/>
                  <a:gd name="T25" fmla="*/ 92 h 180"/>
                  <a:gd name="T26" fmla="*/ 44 w 358"/>
                  <a:gd name="T27" fmla="*/ 106 h 180"/>
                  <a:gd name="T28" fmla="*/ 56 w 358"/>
                  <a:gd name="T29" fmla="*/ 110 h 180"/>
                  <a:gd name="T30" fmla="*/ 68 w 358"/>
                  <a:gd name="T31" fmla="*/ 116 h 180"/>
                  <a:gd name="T32" fmla="*/ 68 w 358"/>
                  <a:gd name="T33" fmla="*/ 118 h 180"/>
                  <a:gd name="T34" fmla="*/ 32 w 358"/>
                  <a:gd name="T35" fmla="*/ 116 h 180"/>
                  <a:gd name="T36" fmla="*/ 18 w 358"/>
                  <a:gd name="T37" fmla="*/ 120 h 180"/>
                  <a:gd name="T38" fmla="*/ 12 w 358"/>
                  <a:gd name="T39" fmla="*/ 136 h 180"/>
                  <a:gd name="T40" fmla="*/ 10 w 358"/>
                  <a:gd name="T41" fmla="*/ 144 h 180"/>
                  <a:gd name="T42" fmla="*/ 12 w 358"/>
                  <a:gd name="T43" fmla="*/ 150 h 180"/>
                  <a:gd name="T44" fmla="*/ 22 w 358"/>
                  <a:gd name="T45" fmla="*/ 156 h 180"/>
                  <a:gd name="T46" fmla="*/ 32 w 358"/>
                  <a:gd name="T47" fmla="*/ 160 h 180"/>
                  <a:gd name="T48" fmla="*/ 56 w 358"/>
                  <a:gd name="T49" fmla="*/ 168 h 180"/>
                  <a:gd name="T50" fmla="*/ 68 w 358"/>
                  <a:gd name="T51" fmla="*/ 170 h 180"/>
                  <a:gd name="T52" fmla="*/ 94 w 358"/>
                  <a:gd name="T53" fmla="*/ 176 h 180"/>
                  <a:gd name="T54" fmla="*/ 132 w 358"/>
                  <a:gd name="T55" fmla="*/ 178 h 180"/>
                  <a:gd name="T56" fmla="*/ 230 w 358"/>
                  <a:gd name="T57" fmla="*/ 180 h 180"/>
                  <a:gd name="T58" fmla="*/ 238 w 358"/>
                  <a:gd name="T59" fmla="*/ 180 h 180"/>
                  <a:gd name="T60" fmla="*/ 270 w 358"/>
                  <a:gd name="T61" fmla="*/ 174 h 180"/>
                  <a:gd name="T62" fmla="*/ 296 w 358"/>
                  <a:gd name="T63" fmla="*/ 174 h 180"/>
                  <a:gd name="T64" fmla="*/ 322 w 358"/>
                  <a:gd name="T65" fmla="*/ 176 h 180"/>
                  <a:gd name="T66" fmla="*/ 332 w 358"/>
                  <a:gd name="T67" fmla="*/ 174 h 180"/>
                  <a:gd name="T68" fmla="*/ 356 w 358"/>
                  <a:gd name="T69" fmla="*/ 168 h 180"/>
                  <a:gd name="T70" fmla="*/ 358 w 358"/>
                  <a:gd name="T71" fmla="*/ 156 h 180"/>
                  <a:gd name="T72" fmla="*/ 356 w 358"/>
                  <a:gd name="T73" fmla="*/ 144 h 180"/>
                  <a:gd name="T74" fmla="*/ 356 w 358"/>
                  <a:gd name="T75" fmla="*/ 138 h 180"/>
                  <a:gd name="T76" fmla="*/ 354 w 358"/>
                  <a:gd name="T77" fmla="*/ 118 h 180"/>
                  <a:gd name="T78" fmla="*/ 350 w 358"/>
                  <a:gd name="T79" fmla="*/ 100 h 180"/>
                  <a:gd name="T80" fmla="*/ 338 w 358"/>
                  <a:gd name="T81" fmla="*/ 88 h 180"/>
                  <a:gd name="T82" fmla="*/ 312 w 358"/>
                  <a:gd name="T83" fmla="*/ 66 h 180"/>
                  <a:gd name="T84" fmla="*/ 260 w 358"/>
                  <a:gd name="T85" fmla="*/ 34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58" h="180">
                    <a:moveTo>
                      <a:pt x="176" y="0"/>
                    </a:moveTo>
                    <a:lnTo>
                      <a:pt x="176" y="0"/>
                    </a:lnTo>
                    <a:lnTo>
                      <a:pt x="172" y="0"/>
                    </a:lnTo>
                    <a:lnTo>
                      <a:pt x="158" y="10"/>
                    </a:lnTo>
                    <a:lnTo>
                      <a:pt x="158" y="10"/>
                    </a:lnTo>
                    <a:lnTo>
                      <a:pt x="154" y="14"/>
                    </a:lnTo>
                    <a:lnTo>
                      <a:pt x="146" y="20"/>
                    </a:lnTo>
                    <a:lnTo>
                      <a:pt x="146" y="20"/>
                    </a:lnTo>
                    <a:lnTo>
                      <a:pt x="142" y="22"/>
                    </a:lnTo>
                    <a:lnTo>
                      <a:pt x="132" y="34"/>
                    </a:lnTo>
                    <a:lnTo>
                      <a:pt x="132" y="34"/>
                    </a:lnTo>
                    <a:lnTo>
                      <a:pt x="128" y="38"/>
                    </a:lnTo>
                    <a:lnTo>
                      <a:pt x="100" y="54"/>
                    </a:lnTo>
                    <a:lnTo>
                      <a:pt x="100" y="54"/>
                    </a:lnTo>
                    <a:lnTo>
                      <a:pt x="96" y="56"/>
                    </a:lnTo>
                    <a:lnTo>
                      <a:pt x="96" y="56"/>
                    </a:lnTo>
                    <a:lnTo>
                      <a:pt x="80" y="58"/>
                    </a:lnTo>
                    <a:lnTo>
                      <a:pt x="80" y="58"/>
                    </a:lnTo>
                    <a:lnTo>
                      <a:pt x="72" y="58"/>
                    </a:lnTo>
                    <a:lnTo>
                      <a:pt x="60" y="58"/>
                    </a:lnTo>
                    <a:lnTo>
                      <a:pt x="60" y="58"/>
                    </a:lnTo>
                    <a:lnTo>
                      <a:pt x="48" y="58"/>
                    </a:lnTo>
                    <a:lnTo>
                      <a:pt x="38" y="60"/>
                    </a:lnTo>
                    <a:lnTo>
                      <a:pt x="38" y="60"/>
                    </a:lnTo>
                    <a:lnTo>
                      <a:pt x="34" y="60"/>
                    </a:lnTo>
                    <a:lnTo>
                      <a:pt x="14" y="60"/>
                    </a:lnTo>
                    <a:lnTo>
                      <a:pt x="14" y="60"/>
                    </a:lnTo>
                    <a:lnTo>
                      <a:pt x="10" y="60"/>
                    </a:lnTo>
                    <a:lnTo>
                      <a:pt x="4" y="64"/>
                    </a:lnTo>
                    <a:lnTo>
                      <a:pt x="4" y="64"/>
                    </a:lnTo>
                    <a:lnTo>
                      <a:pt x="2" y="68"/>
                    </a:lnTo>
                    <a:lnTo>
                      <a:pt x="2" y="74"/>
                    </a:lnTo>
                    <a:lnTo>
                      <a:pt x="2" y="74"/>
                    </a:lnTo>
                    <a:lnTo>
                      <a:pt x="2" y="78"/>
                    </a:lnTo>
                    <a:lnTo>
                      <a:pt x="0" y="84"/>
                    </a:lnTo>
                    <a:lnTo>
                      <a:pt x="0" y="84"/>
                    </a:lnTo>
                    <a:lnTo>
                      <a:pt x="0" y="88"/>
                    </a:lnTo>
                    <a:lnTo>
                      <a:pt x="0" y="88"/>
                    </a:lnTo>
                    <a:lnTo>
                      <a:pt x="6" y="92"/>
                    </a:lnTo>
                    <a:lnTo>
                      <a:pt x="16" y="96"/>
                    </a:lnTo>
                    <a:lnTo>
                      <a:pt x="16" y="96"/>
                    </a:lnTo>
                    <a:lnTo>
                      <a:pt x="44" y="106"/>
                    </a:lnTo>
                    <a:lnTo>
                      <a:pt x="44" y="106"/>
                    </a:lnTo>
                    <a:lnTo>
                      <a:pt x="48" y="108"/>
                    </a:lnTo>
                    <a:lnTo>
                      <a:pt x="56" y="110"/>
                    </a:lnTo>
                    <a:lnTo>
                      <a:pt x="56" y="110"/>
                    </a:lnTo>
                    <a:lnTo>
                      <a:pt x="60" y="112"/>
                    </a:lnTo>
                    <a:lnTo>
                      <a:pt x="68" y="116"/>
                    </a:lnTo>
                    <a:lnTo>
                      <a:pt x="68" y="116"/>
                    </a:lnTo>
                    <a:lnTo>
                      <a:pt x="68" y="118"/>
                    </a:lnTo>
                    <a:lnTo>
                      <a:pt x="68" y="118"/>
                    </a:lnTo>
                    <a:lnTo>
                      <a:pt x="38" y="116"/>
                    </a:lnTo>
                    <a:lnTo>
                      <a:pt x="38" y="116"/>
                    </a:lnTo>
                    <a:lnTo>
                      <a:pt x="32" y="116"/>
                    </a:lnTo>
                    <a:lnTo>
                      <a:pt x="22" y="118"/>
                    </a:lnTo>
                    <a:lnTo>
                      <a:pt x="22" y="118"/>
                    </a:lnTo>
                    <a:lnTo>
                      <a:pt x="18" y="120"/>
                    </a:lnTo>
                    <a:lnTo>
                      <a:pt x="14" y="132"/>
                    </a:lnTo>
                    <a:lnTo>
                      <a:pt x="14" y="132"/>
                    </a:lnTo>
                    <a:lnTo>
                      <a:pt x="12" y="136"/>
                    </a:lnTo>
                    <a:lnTo>
                      <a:pt x="10" y="138"/>
                    </a:lnTo>
                    <a:lnTo>
                      <a:pt x="10" y="138"/>
                    </a:lnTo>
                    <a:lnTo>
                      <a:pt x="10" y="144"/>
                    </a:lnTo>
                    <a:lnTo>
                      <a:pt x="10" y="146"/>
                    </a:lnTo>
                    <a:lnTo>
                      <a:pt x="10" y="146"/>
                    </a:lnTo>
                    <a:lnTo>
                      <a:pt x="12" y="150"/>
                    </a:lnTo>
                    <a:lnTo>
                      <a:pt x="18" y="154"/>
                    </a:lnTo>
                    <a:lnTo>
                      <a:pt x="18" y="154"/>
                    </a:lnTo>
                    <a:lnTo>
                      <a:pt x="22" y="156"/>
                    </a:lnTo>
                    <a:lnTo>
                      <a:pt x="28" y="158"/>
                    </a:lnTo>
                    <a:lnTo>
                      <a:pt x="28" y="158"/>
                    </a:lnTo>
                    <a:lnTo>
                      <a:pt x="32" y="160"/>
                    </a:lnTo>
                    <a:lnTo>
                      <a:pt x="50" y="166"/>
                    </a:lnTo>
                    <a:lnTo>
                      <a:pt x="50" y="166"/>
                    </a:lnTo>
                    <a:lnTo>
                      <a:pt x="56" y="168"/>
                    </a:lnTo>
                    <a:lnTo>
                      <a:pt x="62" y="170"/>
                    </a:lnTo>
                    <a:lnTo>
                      <a:pt x="62" y="170"/>
                    </a:lnTo>
                    <a:lnTo>
                      <a:pt x="68" y="170"/>
                    </a:lnTo>
                    <a:lnTo>
                      <a:pt x="68" y="170"/>
                    </a:lnTo>
                    <a:lnTo>
                      <a:pt x="78" y="172"/>
                    </a:lnTo>
                    <a:lnTo>
                      <a:pt x="94" y="176"/>
                    </a:lnTo>
                    <a:lnTo>
                      <a:pt x="94" y="176"/>
                    </a:lnTo>
                    <a:lnTo>
                      <a:pt x="132" y="178"/>
                    </a:lnTo>
                    <a:lnTo>
                      <a:pt x="132" y="178"/>
                    </a:lnTo>
                    <a:lnTo>
                      <a:pt x="168" y="178"/>
                    </a:lnTo>
                    <a:lnTo>
                      <a:pt x="168" y="178"/>
                    </a:lnTo>
                    <a:lnTo>
                      <a:pt x="230" y="180"/>
                    </a:lnTo>
                    <a:lnTo>
                      <a:pt x="230" y="180"/>
                    </a:lnTo>
                    <a:lnTo>
                      <a:pt x="236" y="180"/>
                    </a:lnTo>
                    <a:lnTo>
                      <a:pt x="238" y="180"/>
                    </a:lnTo>
                    <a:lnTo>
                      <a:pt x="238" y="180"/>
                    </a:lnTo>
                    <a:lnTo>
                      <a:pt x="244" y="180"/>
                    </a:lnTo>
                    <a:lnTo>
                      <a:pt x="270" y="174"/>
                    </a:lnTo>
                    <a:lnTo>
                      <a:pt x="270" y="174"/>
                    </a:lnTo>
                    <a:lnTo>
                      <a:pt x="274" y="174"/>
                    </a:lnTo>
                    <a:lnTo>
                      <a:pt x="296" y="174"/>
                    </a:lnTo>
                    <a:lnTo>
                      <a:pt x="296" y="174"/>
                    </a:lnTo>
                    <a:lnTo>
                      <a:pt x="300" y="174"/>
                    </a:lnTo>
                    <a:lnTo>
                      <a:pt x="322" y="176"/>
                    </a:lnTo>
                    <a:lnTo>
                      <a:pt x="322" y="176"/>
                    </a:lnTo>
                    <a:lnTo>
                      <a:pt x="326" y="176"/>
                    </a:lnTo>
                    <a:lnTo>
                      <a:pt x="332" y="174"/>
                    </a:lnTo>
                    <a:lnTo>
                      <a:pt x="332" y="174"/>
                    </a:lnTo>
                    <a:lnTo>
                      <a:pt x="336" y="174"/>
                    </a:lnTo>
                    <a:lnTo>
                      <a:pt x="356" y="168"/>
                    </a:lnTo>
                    <a:lnTo>
                      <a:pt x="356" y="168"/>
                    </a:lnTo>
                    <a:lnTo>
                      <a:pt x="358" y="164"/>
                    </a:lnTo>
                    <a:lnTo>
                      <a:pt x="358" y="156"/>
                    </a:lnTo>
                    <a:lnTo>
                      <a:pt x="358" y="156"/>
                    </a:lnTo>
                    <a:lnTo>
                      <a:pt x="358" y="152"/>
                    </a:lnTo>
                    <a:lnTo>
                      <a:pt x="356" y="144"/>
                    </a:lnTo>
                    <a:lnTo>
                      <a:pt x="356" y="144"/>
                    </a:lnTo>
                    <a:lnTo>
                      <a:pt x="356" y="138"/>
                    </a:lnTo>
                    <a:lnTo>
                      <a:pt x="356" y="138"/>
                    </a:lnTo>
                    <a:lnTo>
                      <a:pt x="356" y="130"/>
                    </a:lnTo>
                    <a:lnTo>
                      <a:pt x="356" y="130"/>
                    </a:lnTo>
                    <a:lnTo>
                      <a:pt x="354" y="118"/>
                    </a:lnTo>
                    <a:lnTo>
                      <a:pt x="352" y="106"/>
                    </a:lnTo>
                    <a:lnTo>
                      <a:pt x="352" y="106"/>
                    </a:lnTo>
                    <a:lnTo>
                      <a:pt x="350" y="100"/>
                    </a:lnTo>
                    <a:lnTo>
                      <a:pt x="344" y="94"/>
                    </a:lnTo>
                    <a:lnTo>
                      <a:pt x="338" y="88"/>
                    </a:lnTo>
                    <a:lnTo>
                      <a:pt x="338" y="88"/>
                    </a:lnTo>
                    <a:lnTo>
                      <a:pt x="334" y="84"/>
                    </a:lnTo>
                    <a:lnTo>
                      <a:pt x="312" y="66"/>
                    </a:lnTo>
                    <a:lnTo>
                      <a:pt x="312" y="66"/>
                    </a:lnTo>
                    <a:lnTo>
                      <a:pt x="308" y="64"/>
                    </a:lnTo>
                    <a:lnTo>
                      <a:pt x="260" y="34"/>
                    </a:lnTo>
                    <a:lnTo>
                      <a:pt x="260" y="34"/>
                    </a:lnTo>
                    <a:lnTo>
                      <a:pt x="256" y="30"/>
                    </a:lnTo>
                    <a:lnTo>
                      <a:pt x="17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3" name="Freeform 508">
                <a:extLst>
                  <a:ext uri="{FF2B5EF4-FFF2-40B4-BE49-F238E27FC236}">
                    <a16:creationId xmlns:a16="http://schemas.microsoft.com/office/drawing/2014/main" id="{E298D0E3-B3A4-4EB3-A113-FE7F3B6B1A78}"/>
                  </a:ext>
                </a:extLst>
              </p:cNvPr>
              <p:cNvSpPr>
                <a:spLocks/>
              </p:cNvSpPr>
              <p:nvPr/>
            </p:nvSpPr>
            <p:spPr bwMode="auto">
              <a:xfrm>
                <a:off x="6423530" y="5559424"/>
                <a:ext cx="152397" cy="104773"/>
              </a:xfrm>
              <a:custGeom>
                <a:avLst/>
                <a:gdLst>
                  <a:gd name="T0" fmla="*/ 0 w 96"/>
                  <a:gd name="T1" fmla="*/ 2 h 66"/>
                  <a:gd name="T2" fmla="*/ 0 w 96"/>
                  <a:gd name="T3" fmla="*/ 2 h 66"/>
                  <a:gd name="T4" fmla="*/ 12 w 96"/>
                  <a:gd name="T5" fmla="*/ 0 h 66"/>
                  <a:gd name="T6" fmla="*/ 24 w 96"/>
                  <a:gd name="T7" fmla="*/ 0 h 66"/>
                  <a:gd name="T8" fmla="*/ 38 w 96"/>
                  <a:gd name="T9" fmla="*/ 4 h 66"/>
                  <a:gd name="T10" fmla="*/ 54 w 96"/>
                  <a:gd name="T11" fmla="*/ 10 h 66"/>
                  <a:gd name="T12" fmla="*/ 62 w 96"/>
                  <a:gd name="T13" fmla="*/ 16 h 66"/>
                  <a:gd name="T14" fmla="*/ 70 w 96"/>
                  <a:gd name="T15" fmla="*/ 22 h 66"/>
                  <a:gd name="T16" fmla="*/ 78 w 96"/>
                  <a:gd name="T17" fmla="*/ 30 h 66"/>
                  <a:gd name="T18" fmla="*/ 84 w 96"/>
                  <a:gd name="T19" fmla="*/ 40 h 66"/>
                  <a:gd name="T20" fmla="*/ 90 w 96"/>
                  <a:gd name="T21" fmla="*/ 52 h 66"/>
                  <a:gd name="T22" fmla="*/ 96 w 96"/>
                  <a:gd name="T23" fmla="*/ 66 h 66"/>
                  <a:gd name="T24" fmla="*/ 0 w 96"/>
                  <a:gd name="T25" fmla="*/ 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6" h="66">
                    <a:moveTo>
                      <a:pt x="0" y="2"/>
                    </a:moveTo>
                    <a:lnTo>
                      <a:pt x="0" y="2"/>
                    </a:lnTo>
                    <a:lnTo>
                      <a:pt x="12" y="0"/>
                    </a:lnTo>
                    <a:lnTo>
                      <a:pt x="24" y="0"/>
                    </a:lnTo>
                    <a:lnTo>
                      <a:pt x="38" y="4"/>
                    </a:lnTo>
                    <a:lnTo>
                      <a:pt x="54" y="10"/>
                    </a:lnTo>
                    <a:lnTo>
                      <a:pt x="62" y="16"/>
                    </a:lnTo>
                    <a:lnTo>
                      <a:pt x="70" y="22"/>
                    </a:lnTo>
                    <a:lnTo>
                      <a:pt x="78" y="30"/>
                    </a:lnTo>
                    <a:lnTo>
                      <a:pt x="84" y="40"/>
                    </a:lnTo>
                    <a:lnTo>
                      <a:pt x="90" y="52"/>
                    </a:lnTo>
                    <a:lnTo>
                      <a:pt x="96" y="66"/>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4" name="Freeform 509">
                <a:extLst>
                  <a:ext uri="{FF2B5EF4-FFF2-40B4-BE49-F238E27FC236}">
                    <a16:creationId xmlns:a16="http://schemas.microsoft.com/office/drawing/2014/main" id="{D3355714-1A2B-4DF0-BB17-6831B140D925}"/>
                  </a:ext>
                </a:extLst>
              </p:cNvPr>
              <p:cNvSpPr>
                <a:spLocks/>
              </p:cNvSpPr>
              <p:nvPr/>
            </p:nvSpPr>
            <p:spPr bwMode="auto">
              <a:xfrm>
                <a:off x="6423530" y="5559424"/>
                <a:ext cx="152397" cy="104773"/>
              </a:xfrm>
              <a:custGeom>
                <a:avLst/>
                <a:gdLst>
                  <a:gd name="T0" fmla="*/ 0 w 96"/>
                  <a:gd name="T1" fmla="*/ 2 h 66"/>
                  <a:gd name="T2" fmla="*/ 0 w 96"/>
                  <a:gd name="T3" fmla="*/ 2 h 66"/>
                  <a:gd name="T4" fmla="*/ 12 w 96"/>
                  <a:gd name="T5" fmla="*/ 0 h 66"/>
                  <a:gd name="T6" fmla="*/ 24 w 96"/>
                  <a:gd name="T7" fmla="*/ 0 h 66"/>
                  <a:gd name="T8" fmla="*/ 38 w 96"/>
                  <a:gd name="T9" fmla="*/ 4 h 66"/>
                  <a:gd name="T10" fmla="*/ 54 w 96"/>
                  <a:gd name="T11" fmla="*/ 10 h 66"/>
                  <a:gd name="T12" fmla="*/ 62 w 96"/>
                  <a:gd name="T13" fmla="*/ 16 h 66"/>
                  <a:gd name="T14" fmla="*/ 70 w 96"/>
                  <a:gd name="T15" fmla="*/ 22 h 66"/>
                  <a:gd name="T16" fmla="*/ 78 w 96"/>
                  <a:gd name="T17" fmla="*/ 30 h 66"/>
                  <a:gd name="T18" fmla="*/ 84 w 96"/>
                  <a:gd name="T19" fmla="*/ 40 h 66"/>
                  <a:gd name="T20" fmla="*/ 90 w 96"/>
                  <a:gd name="T21" fmla="*/ 52 h 66"/>
                  <a:gd name="T22" fmla="*/ 96 w 96"/>
                  <a:gd name="T23"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66">
                    <a:moveTo>
                      <a:pt x="0" y="2"/>
                    </a:moveTo>
                    <a:lnTo>
                      <a:pt x="0" y="2"/>
                    </a:lnTo>
                    <a:lnTo>
                      <a:pt x="12" y="0"/>
                    </a:lnTo>
                    <a:lnTo>
                      <a:pt x="24" y="0"/>
                    </a:lnTo>
                    <a:lnTo>
                      <a:pt x="38" y="4"/>
                    </a:lnTo>
                    <a:lnTo>
                      <a:pt x="54" y="10"/>
                    </a:lnTo>
                    <a:lnTo>
                      <a:pt x="62" y="16"/>
                    </a:lnTo>
                    <a:lnTo>
                      <a:pt x="70" y="22"/>
                    </a:lnTo>
                    <a:lnTo>
                      <a:pt x="78" y="30"/>
                    </a:lnTo>
                    <a:lnTo>
                      <a:pt x="84" y="40"/>
                    </a:lnTo>
                    <a:lnTo>
                      <a:pt x="90" y="52"/>
                    </a:lnTo>
                    <a:lnTo>
                      <a:pt x="96" y="66"/>
                    </a:lnTo>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5" name="Freeform 510">
                <a:extLst>
                  <a:ext uri="{FF2B5EF4-FFF2-40B4-BE49-F238E27FC236}">
                    <a16:creationId xmlns:a16="http://schemas.microsoft.com/office/drawing/2014/main" id="{6E8FEBDA-09AE-43B2-A199-C2411FAF27D7}"/>
                  </a:ext>
                </a:extLst>
              </p:cNvPr>
              <p:cNvSpPr>
                <a:spLocks/>
              </p:cNvSpPr>
              <p:nvPr/>
            </p:nvSpPr>
            <p:spPr bwMode="auto">
              <a:xfrm>
                <a:off x="5667881" y="4787901"/>
                <a:ext cx="387350" cy="450849"/>
              </a:xfrm>
              <a:custGeom>
                <a:avLst/>
                <a:gdLst>
                  <a:gd name="T0" fmla="*/ 218 w 244"/>
                  <a:gd name="T1" fmla="*/ 42 h 284"/>
                  <a:gd name="T2" fmla="*/ 244 w 244"/>
                  <a:gd name="T3" fmla="*/ 0 h 284"/>
                  <a:gd name="T4" fmla="*/ 230 w 244"/>
                  <a:gd name="T5" fmla="*/ 14 h 284"/>
                  <a:gd name="T6" fmla="*/ 192 w 244"/>
                  <a:gd name="T7" fmla="*/ 52 h 284"/>
                  <a:gd name="T8" fmla="*/ 188 w 244"/>
                  <a:gd name="T9" fmla="*/ 56 h 284"/>
                  <a:gd name="T10" fmla="*/ 180 w 244"/>
                  <a:gd name="T11" fmla="*/ 62 h 284"/>
                  <a:gd name="T12" fmla="*/ 156 w 244"/>
                  <a:gd name="T13" fmla="*/ 84 h 284"/>
                  <a:gd name="T14" fmla="*/ 152 w 244"/>
                  <a:gd name="T15" fmla="*/ 86 h 284"/>
                  <a:gd name="T16" fmla="*/ 136 w 244"/>
                  <a:gd name="T17" fmla="*/ 98 h 284"/>
                  <a:gd name="T18" fmla="*/ 116 w 244"/>
                  <a:gd name="T19" fmla="*/ 112 h 284"/>
                  <a:gd name="T20" fmla="*/ 112 w 244"/>
                  <a:gd name="T21" fmla="*/ 114 h 284"/>
                  <a:gd name="T22" fmla="*/ 100 w 244"/>
                  <a:gd name="T23" fmla="*/ 120 h 284"/>
                  <a:gd name="T24" fmla="*/ 78 w 244"/>
                  <a:gd name="T25" fmla="*/ 134 h 284"/>
                  <a:gd name="T26" fmla="*/ 74 w 244"/>
                  <a:gd name="T27" fmla="*/ 136 h 284"/>
                  <a:gd name="T28" fmla="*/ 64 w 244"/>
                  <a:gd name="T29" fmla="*/ 142 h 284"/>
                  <a:gd name="T30" fmla="*/ 38 w 244"/>
                  <a:gd name="T31" fmla="*/ 156 h 284"/>
                  <a:gd name="T32" fmla="*/ 34 w 244"/>
                  <a:gd name="T33" fmla="*/ 158 h 284"/>
                  <a:gd name="T34" fmla="*/ 26 w 244"/>
                  <a:gd name="T35" fmla="*/ 162 h 284"/>
                  <a:gd name="T36" fmla="*/ 16 w 244"/>
                  <a:gd name="T37" fmla="*/ 168 h 284"/>
                  <a:gd name="T38" fmla="*/ 12 w 244"/>
                  <a:gd name="T39" fmla="*/ 170 h 284"/>
                  <a:gd name="T40" fmla="*/ 6 w 244"/>
                  <a:gd name="T41" fmla="*/ 172 h 284"/>
                  <a:gd name="T42" fmla="*/ 2 w 244"/>
                  <a:gd name="T43" fmla="*/ 174 h 284"/>
                  <a:gd name="T44" fmla="*/ 0 w 244"/>
                  <a:gd name="T45" fmla="*/ 178 h 284"/>
                  <a:gd name="T46" fmla="*/ 0 w 244"/>
                  <a:gd name="T47" fmla="*/ 210 h 284"/>
                  <a:gd name="T48" fmla="*/ 2 w 244"/>
                  <a:gd name="T49" fmla="*/ 216 h 284"/>
                  <a:gd name="T50" fmla="*/ 6 w 244"/>
                  <a:gd name="T51" fmla="*/ 234 h 284"/>
                  <a:gd name="T52" fmla="*/ 6 w 244"/>
                  <a:gd name="T53" fmla="*/ 238 h 284"/>
                  <a:gd name="T54" fmla="*/ 8 w 244"/>
                  <a:gd name="T55" fmla="*/ 252 h 284"/>
                  <a:gd name="T56" fmla="*/ 12 w 244"/>
                  <a:gd name="T57" fmla="*/ 268 h 284"/>
                  <a:gd name="T58" fmla="*/ 18 w 244"/>
                  <a:gd name="T59" fmla="*/ 276 h 284"/>
                  <a:gd name="T60" fmla="*/ 20 w 244"/>
                  <a:gd name="T61" fmla="*/ 282 h 284"/>
                  <a:gd name="T62" fmla="*/ 28 w 244"/>
                  <a:gd name="T63" fmla="*/ 284 h 284"/>
                  <a:gd name="T64" fmla="*/ 38 w 244"/>
                  <a:gd name="T65" fmla="*/ 284 h 284"/>
                  <a:gd name="T66" fmla="*/ 48 w 244"/>
                  <a:gd name="T67" fmla="*/ 284 h 284"/>
                  <a:gd name="T68" fmla="*/ 60 w 244"/>
                  <a:gd name="T69" fmla="*/ 280 h 284"/>
                  <a:gd name="T70" fmla="*/ 62 w 244"/>
                  <a:gd name="T71" fmla="*/ 276 h 284"/>
                  <a:gd name="T72" fmla="*/ 64 w 244"/>
                  <a:gd name="T73" fmla="*/ 270 h 284"/>
                  <a:gd name="T74" fmla="*/ 68 w 244"/>
                  <a:gd name="T75" fmla="*/ 268 h 284"/>
                  <a:gd name="T76" fmla="*/ 76 w 244"/>
                  <a:gd name="T77" fmla="*/ 262 h 284"/>
                  <a:gd name="T78" fmla="*/ 80 w 244"/>
                  <a:gd name="T79" fmla="*/ 260 h 284"/>
                  <a:gd name="T80" fmla="*/ 88 w 244"/>
                  <a:gd name="T81" fmla="*/ 256 h 284"/>
                  <a:gd name="T82" fmla="*/ 106 w 244"/>
                  <a:gd name="T83" fmla="*/ 252 h 284"/>
                  <a:gd name="T84" fmla="*/ 108 w 244"/>
                  <a:gd name="T85" fmla="*/ 250 h 284"/>
                  <a:gd name="T86" fmla="*/ 154 w 244"/>
                  <a:gd name="T87" fmla="*/ 226 h 284"/>
                  <a:gd name="T88" fmla="*/ 158 w 244"/>
                  <a:gd name="T89" fmla="*/ 224 h 284"/>
                  <a:gd name="T90" fmla="*/ 192 w 244"/>
                  <a:gd name="T91" fmla="*/ 214 h 284"/>
                  <a:gd name="T92" fmla="*/ 196 w 244"/>
                  <a:gd name="T93" fmla="*/ 214 h 284"/>
                  <a:gd name="T94" fmla="*/ 208 w 244"/>
                  <a:gd name="T95" fmla="*/ 212 h 284"/>
                  <a:gd name="T96" fmla="*/ 214 w 244"/>
                  <a:gd name="T97" fmla="*/ 208 h 284"/>
                  <a:gd name="T98" fmla="*/ 220 w 244"/>
                  <a:gd name="T99" fmla="*/ 198 h 284"/>
                  <a:gd name="T100" fmla="*/ 234 w 244"/>
                  <a:gd name="T101" fmla="*/ 148 h 284"/>
                  <a:gd name="T102" fmla="*/ 238 w 244"/>
                  <a:gd name="T103" fmla="*/ 128 h 284"/>
                  <a:gd name="T104" fmla="*/ 236 w 244"/>
                  <a:gd name="T105" fmla="*/ 76 h 284"/>
                  <a:gd name="T106" fmla="*/ 228 w 244"/>
                  <a:gd name="T107" fmla="*/ 58 h 284"/>
                  <a:gd name="T108" fmla="*/ 218 w 244"/>
                  <a:gd name="T109" fmla="*/ 42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 h="284">
                    <a:moveTo>
                      <a:pt x="218" y="42"/>
                    </a:moveTo>
                    <a:lnTo>
                      <a:pt x="218" y="42"/>
                    </a:lnTo>
                    <a:lnTo>
                      <a:pt x="216" y="42"/>
                    </a:lnTo>
                    <a:lnTo>
                      <a:pt x="244" y="0"/>
                    </a:lnTo>
                    <a:lnTo>
                      <a:pt x="244" y="0"/>
                    </a:lnTo>
                    <a:lnTo>
                      <a:pt x="230" y="14"/>
                    </a:lnTo>
                    <a:lnTo>
                      <a:pt x="202" y="44"/>
                    </a:lnTo>
                    <a:lnTo>
                      <a:pt x="192" y="52"/>
                    </a:lnTo>
                    <a:lnTo>
                      <a:pt x="192" y="52"/>
                    </a:lnTo>
                    <a:lnTo>
                      <a:pt x="188" y="56"/>
                    </a:lnTo>
                    <a:lnTo>
                      <a:pt x="180" y="62"/>
                    </a:lnTo>
                    <a:lnTo>
                      <a:pt x="180" y="62"/>
                    </a:lnTo>
                    <a:lnTo>
                      <a:pt x="176" y="66"/>
                    </a:lnTo>
                    <a:lnTo>
                      <a:pt x="156" y="84"/>
                    </a:lnTo>
                    <a:lnTo>
                      <a:pt x="156" y="84"/>
                    </a:lnTo>
                    <a:lnTo>
                      <a:pt x="152" y="86"/>
                    </a:lnTo>
                    <a:lnTo>
                      <a:pt x="136" y="98"/>
                    </a:lnTo>
                    <a:lnTo>
                      <a:pt x="136" y="98"/>
                    </a:lnTo>
                    <a:lnTo>
                      <a:pt x="132" y="102"/>
                    </a:lnTo>
                    <a:lnTo>
                      <a:pt x="116" y="112"/>
                    </a:lnTo>
                    <a:lnTo>
                      <a:pt x="116" y="112"/>
                    </a:lnTo>
                    <a:lnTo>
                      <a:pt x="112" y="114"/>
                    </a:lnTo>
                    <a:lnTo>
                      <a:pt x="112" y="114"/>
                    </a:lnTo>
                    <a:lnTo>
                      <a:pt x="100" y="120"/>
                    </a:lnTo>
                    <a:lnTo>
                      <a:pt x="100" y="120"/>
                    </a:lnTo>
                    <a:lnTo>
                      <a:pt x="78" y="134"/>
                    </a:lnTo>
                    <a:lnTo>
                      <a:pt x="78" y="134"/>
                    </a:lnTo>
                    <a:lnTo>
                      <a:pt x="74" y="136"/>
                    </a:lnTo>
                    <a:lnTo>
                      <a:pt x="64" y="142"/>
                    </a:lnTo>
                    <a:lnTo>
                      <a:pt x="64" y="142"/>
                    </a:lnTo>
                    <a:lnTo>
                      <a:pt x="60" y="144"/>
                    </a:lnTo>
                    <a:lnTo>
                      <a:pt x="38" y="156"/>
                    </a:lnTo>
                    <a:lnTo>
                      <a:pt x="38" y="156"/>
                    </a:lnTo>
                    <a:lnTo>
                      <a:pt x="34" y="158"/>
                    </a:lnTo>
                    <a:lnTo>
                      <a:pt x="26" y="162"/>
                    </a:lnTo>
                    <a:lnTo>
                      <a:pt x="26" y="162"/>
                    </a:lnTo>
                    <a:lnTo>
                      <a:pt x="22" y="164"/>
                    </a:lnTo>
                    <a:lnTo>
                      <a:pt x="16" y="168"/>
                    </a:lnTo>
                    <a:lnTo>
                      <a:pt x="16" y="168"/>
                    </a:lnTo>
                    <a:lnTo>
                      <a:pt x="12" y="170"/>
                    </a:lnTo>
                    <a:lnTo>
                      <a:pt x="6" y="172"/>
                    </a:lnTo>
                    <a:lnTo>
                      <a:pt x="6" y="172"/>
                    </a:lnTo>
                    <a:lnTo>
                      <a:pt x="2" y="174"/>
                    </a:lnTo>
                    <a:lnTo>
                      <a:pt x="2" y="174"/>
                    </a:lnTo>
                    <a:lnTo>
                      <a:pt x="0" y="178"/>
                    </a:lnTo>
                    <a:lnTo>
                      <a:pt x="0" y="178"/>
                    </a:lnTo>
                    <a:lnTo>
                      <a:pt x="0" y="196"/>
                    </a:lnTo>
                    <a:lnTo>
                      <a:pt x="0" y="210"/>
                    </a:lnTo>
                    <a:lnTo>
                      <a:pt x="2" y="216"/>
                    </a:lnTo>
                    <a:lnTo>
                      <a:pt x="2" y="216"/>
                    </a:lnTo>
                    <a:lnTo>
                      <a:pt x="4" y="226"/>
                    </a:lnTo>
                    <a:lnTo>
                      <a:pt x="6" y="234"/>
                    </a:lnTo>
                    <a:lnTo>
                      <a:pt x="6" y="234"/>
                    </a:lnTo>
                    <a:lnTo>
                      <a:pt x="6" y="238"/>
                    </a:lnTo>
                    <a:lnTo>
                      <a:pt x="6" y="238"/>
                    </a:lnTo>
                    <a:lnTo>
                      <a:pt x="8" y="252"/>
                    </a:lnTo>
                    <a:lnTo>
                      <a:pt x="12" y="268"/>
                    </a:lnTo>
                    <a:lnTo>
                      <a:pt x="12" y="268"/>
                    </a:lnTo>
                    <a:lnTo>
                      <a:pt x="14" y="272"/>
                    </a:lnTo>
                    <a:lnTo>
                      <a:pt x="18" y="276"/>
                    </a:lnTo>
                    <a:lnTo>
                      <a:pt x="18" y="276"/>
                    </a:lnTo>
                    <a:lnTo>
                      <a:pt x="20" y="282"/>
                    </a:lnTo>
                    <a:lnTo>
                      <a:pt x="24" y="284"/>
                    </a:lnTo>
                    <a:lnTo>
                      <a:pt x="28" y="284"/>
                    </a:lnTo>
                    <a:lnTo>
                      <a:pt x="28" y="284"/>
                    </a:lnTo>
                    <a:lnTo>
                      <a:pt x="38" y="284"/>
                    </a:lnTo>
                    <a:lnTo>
                      <a:pt x="48" y="284"/>
                    </a:lnTo>
                    <a:lnTo>
                      <a:pt x="48" y="284"/>
                    </a:lnTo>
                    <a:lnTo>
                      <a:pt x="60" y="280"/>
                    </a:lnTo>
                    <a:lnTo>
                      <a:pt x="60" y="280"/>
                    </a:lnTo>
                    <a:lnTo>
                      <a:pt x="62" y="276"/>
                    </a:lnTo>
                    <a:lnTo>
                      <a:pt x="62" y="276"/>
                    </a:lnTo>
                    <a:lnTo>
                      <a:pt x="64" y="272"/>
                    </a:lnTo>
                    <a:lnTo>
                      <a:pt x="64" y="270"/>
                    </a:lnTo>
                    <a:lnTo>
                      <a:pt x="68" y="268"/>
                    </a:lnTo>
                    <a:lnTo>
                      <a:pt x="68" y="268"/>
                    </a:lnTo>
                    <a:lnTo>
                      <a:pt x="76" y="262"/>
                    </a:lnTo>
                    <a:lnTo>
                      <a:pt x="76" y="262"/>
                    </a:lnTo>
                    <a:lnTo>
                      <a:pt x="80" y="260"/>
                    </a:lnTo>
                    <a:lnTo>
                      <a:pt x="80" y="260"/>
                    </a:lnTo>
                    <a:lnTo>
                      <a:pt x="88" y="256"/>
                    </a:lnTo>
                    <a:lnTo>
                      <a:pt x="88" y="256"/>
                    </a:lnTo>
                    <a:lnTo>
                      <a:pt x="100" y="254"/>
                    </a:lnTo>
                    <a:lnTo>
                      <a:pt x="106" y="252"/>
                    </a:lnTo>
                    <a:lnTo>
                      <a:pt x="108" y="250"/>
                    </a:lnTo>
                    <a:lnTo>
                      <a:pt x="108" y="250"/>
                    </a:lnTo>
                    <a:lnTo>
                      <a:pt x="132" y="236"/>
                    </a:lnTo>
                    <a:lnTo>
                      <a:pt x="154" y="226"/>
                    </a:lnTo>
                    <a:lnTo>
                      <a:pt x="154" y="226"/>
                    </a:lnTo>
                    <a:lnTo>
                      <a:pt x="158" y="224"/>
                    </a:lnTo>
                    <a:lnTo>
                      <a:pt x="192" y="214"/>
                    </a:lnTo>
                    <a:lnTo>
                      <a:pt x="192" y="214"/>
                    </a:lnTo>
                    <a:lnTo>
                      <a:pt x="196" y="214"/>
                    </a:lnTo>
                    <a:lnTo>
                      <a:pt x="196" y="214"/>
                    </a:lnTo>
                    <a:lnTo>
                      <a:pt x="208" y="212"/>
                    </a:lnTo>
                    <a:lnTo>
                      <a:pt x="208" y="212"/>
                    </a:lnTo>
                    <a:lnTo>
                      <a:pt x="210" y="212"/>
                    </a:lnTo>
                    <a:lnTo>
                      <a:pt x="214" y="208"/>
                    </a:lnTo>
                    <a:lnTo>
                      <a:pt x="220" y="198"/>
                    </a:lnTo>
                    <a:lnTo>
                      <a:pt x="220" y="198"/>
                    </a:lnTo>
                    <a:lnTo>
                      <a:pt x="228" y="176"/>
                    </a:lnTo>
                    <a:lnTo>
                      <a:pt x="234" y="148"/>
                    </a:lnTo>
                    <a:lnTo>
                      <a:pt x="234" y="148"/>
                    </a:lnTo>
                    <a:lnTo>
                      <a:pt x="238" y="128"/>
                    </a:lnTo>
                    <a:lnTo>
                      <a:pt x="238" y="106"/>
                    </a:lnTo>
                    <a:lnTo>
                      <a:pt x="236" y="76"/>
                    </a:lnTo>
                    <a:lnTo>
                      <a:pt x="236" y="76"/>
                    </a:lnTo>
                    <a:lnTo>
                      <a:pt x="228" y="58"/>
                    </a:lnTo>
                    <a:lnTo>
                      <a:pt x="218" y="42"/>
                    </a:lnTo>
                    <a:lnTo>
                      <a:pt x="218" y="4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6" name="Freeform 511">
                <a:extLst>
                  <a:ext uri="{FF2B5EF4-FFF2-40B4-BE49-F238E27FC236}">
                    <a16:creationId xmlns:a16="http://schemas.microsoft.com/office/drawing/2014/main" id="{95E558FF-1D3D-455E-A4B8-9B087B9137F5}"/>
                  </a:ext>
                </a:extLst>
              </p:cNvPr>
              <p:cNvSpPr>
                <a:spLocks/>
              </p:cNvSpPr>
              <p:nvPr/>
            </p:nvSpPr>
            <p:spPr bwMode="auto">
              <a:xfrm>
                <a:off x="4591559" y="5626101"/>
                <a:ext cx="692151" cy="473072"/>
              </a:xfrm>
              <a:custGeom>
                <a:avLst/>
                <a:gdLst>
                  <a:gd name="T0" fmla="*/ 428 w 436"/>
                  <a:gd name="T1" fmla="*/ 268 h 298"/>
                  <a:gd name="T2" fmla="*/ 428 w 436"/>
                  <a:gd name="T3" fmla="*/ 268 h 298"/>
                  <a:gd name="T4" fmla="*/ 428 w 436"/>
                  <a:gd name="T5" fmla="*/ 272 h 298"/>
                  <a:gd name="T6" fmla="*/ 402 w 436"/>
                  <a:gd name="T7" fmla="*/ 296 h 298"/>
                  <a:gd name="T8" fmla="*/ 402 w 436"/>
                  <a:gd name="T9" fmla="*/ 296 h 298"/>
                  <a:gd name="T10" fmla="*/ 396 w 436"/>
                  <a:gd name="T11" fmla="*/ 298 h 298"/>
                  <a:gd name="T12" fmla="*/ 30 w 436"/>
                  <a:gd name="T13" fmla="*/ 284 h 298"/>
                  <a:gd name="T14" fmla="*/ 30 w 436"/>
                  <a:gd name="T15" fmla="*/ 284 h 298"/>
                  <a:gd name="T16" fmla="*/ 26 w 436"/>
                  <a:gd name="T17" fmla="*/ 284 h 298"/>
                  <a:gd name="T18" fmla="*/ 2 w 436"/>
                  <a:gd name="T19" fmla="*/ 258 h 298"/>
                  <a:gd name="T20" fmla="*/ 2 w 436"/>
                  <a:gd name="T21" fmla="*/ 258 h 298"/>
                  <a:gd name="T22" fmla="*/ 0 w 436"/>
                  <a:gd name="T23" fmla="*/ 254 h 298"/>
                  <a:gd name="T24" fmla="*/ 8 w 436"/>
                  <a:gd name="T25" fmla="*/ 30 h 298"/>
                  <a:gd name="T26" fmla="*/ 8 w 436"/>
                  <a:gd name="T27" fmla="*/ 30 h 298"/>
                  <a:gd name="T28" fmla="*/ 10 w 436"/>
                  <a:gd name="T29" fmla="*/ 26 h 298"/>
                  <a:gd name="T30" fmla="*/ 36 w 436"/>
                  <a:gd name="T31" fmla="*/ 2 h 298"/>
                  <a:gd name="T32" fmla="*/ 36 w 436"/>
                  <a:gd name="T33" fmla="*/ 2 h 298"/>
                  <a:gd name="T34" fmla="*/ 40 w 436"/>
                  <a:gd name="T35" fmla="*/ 0 h 298"/>
                  <a:gd name="T36" fmla="*/ 406 w 436"/>
                  <a:gd name="T37" fmla="*/ 12 h 298"/>
                  <a:gd name="T38" fmla="*/ 406 w 436"/>
                  <a:gd name="T39" fmla="*/ 12 h 298"/>
                  <a:gd name="T40" fmla="*/ 412 w 436"/>
                  <a:gd name="T41" fmla="*/ 14 h 298"/>
                  <a:gd name="T42" fmla="*/ 436 w 436"/>
                  <a:gd name="T43" fmla="*/ 40 h 298"/>
                  <a:gd name="T44" fmla="*/ 436 w 436"/>
                  <a:gd name="T45" fmla="*/ 40 h 298"/>
                  <a:gd name="T46" fmla="*/ 436 w 436"/>
                  <a:gd name="T47" fmla="*/ 44 h 298"/>
                  <a:gd name="T48" fmla="*/ 428 w 436"/>
                  <a:gd name="T49" fmla="*/ 268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6" h="298">
                    <a:moveTo>
                      <a:pt x="428" y="268"/>
                    </a:moveTo>
                    <a:lnTo>
                      <a:pt x="428" y="268"/>
                    </a:lnTo>
                    <a:lnTo>
                      <a:pt x="428" y="272"/>
                    </a:lnTo>
                    <a:lnTo>
                      <a:pt x="402" y="296"/>
                    </a:lnTo>
                    <a:lnTo>
                      <a:pt x="402" y="296"/>
                    </a:lnTo>
                    <a:lnTo>
                      <a:pt x="396" y="298"/>
                    </a:lnTo>
                    <a:lnTo>
                      <a:pt x="30" y="284"/>
                    </a:lnTo>
                    <a:lnTo>
                      <a:pt x="30" y="284"/>
                    </a:lnTo>
                    <a:lnTo>
                      <a:pt x="26" y="284"/>
                    </a:lnTo>
                    <a:lnTo>
                      <a:pt x="2" y="258"/>
                    </a:lnTo>
                    <a:lnTo>
                      <a:pt x="2" y="258"/>
                    </a:lnTo>
                    <a:lnTo>
                      <a:pt x="0" y="254"/>
                    </a:lnTo>
                    <a:lnTo>
                      <a:pt x="8" y="30"/>
                    </a:lnTo>
                    <a:lnTo>
                      <a:pt x="8" y="30"/>
                    </a:lnTo>
                    <a:lnTo>
                      <a:pt x="10" y="26"/>
                    </a:lnTo>
                    <a:lnTo>
                      <a:pt x="36" y="2"/>
                    </a:lnTo>
                    <a:lnTo>
                      <a:pt x="36" y="2"/>
                    </a:lnTo>
                    <a:lnTo>
                      <a:pt x="40" y="0"/>
                    </a:lnTo>
                    <a:lnTo>
                      <a:pt x="406" y="12"/>
                    </a:lnTo>
                    <a:lnTo>
                      <a:pt x="406" y="12"/>
                    </a:lnTo>
                    <a:lnTo>
                      <a:pt x="412" y="14"/>
                    </a:lnTo>
                    <a:lnTo>
                      <a:pt x="436" y="40"/>
                    </a:lnTo>
                    <a:lnTo>
                      <a:pt x="436" y="40"/>
                    </a:lnTo>
                    <a:lnTo>
                      <a:pt x="436" y="44"/>
                    </a:lnTo>
                    <a:lnTo>
                      <a:pt x="428" y="26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7" name="Freeform 512">
                <a:extLst>
                  <a:ext uri="{FF2B5EF4-FFF2-40B4-BE49-F238E27FC236}">
                    <a16:creationId xmlns:a16="http://schemas.microsoft.com/office/drawing/2014/main" id="{E7DA40B8-5B36-4EF0-9A92-B4FC73DB9AF6}"/>
                  </a:ext>
                </a:extLst>
              </p:cNvPr>
              <p:cNvSpPr>
                <a:spLocks/>
              </p:cNvSpPr>
              <p:nvPr/>
            </p:nvSpPr>
            <p:spPr bwMode="auto">
              <a:xfrm>
                <a:off x="4655057" y="5251451"/>
                <a:ext cx="501651" cy="1781179"/>
              </a:xfrm>
              <a:custGeom>
                <a:avLst/>
                <a:gdLst>
                  <a:gd name="T0" fmla="*/ 34 w 316"/>
                  <a:gd name="T1" fmla="*/ 0 h 1122"/>
                  <a:gd name="T2" fmla="*/ 12 w 316"/>
                  <a:gd name="T3" fmla="*/ 90 h 1122"/>
                  <a:gd name="T4" fmla="*/ 22 w 316"/>
                  <a:gd name="T5" fmla="*/ 146 h 1122"/>
                  <a:gd name="T6" fmla="*/ 48 w 316"/>
                  <a:gd name="T7" fmla="*/ 190 h 1122"/>
                  <a:gd name="T8" fmla="*/ 60 w 316"/>
                  <a:gd name="T9" fmla="*/ 214 h 1122"/>
                  <a:gd name="T10" fmla="*/ 56 w 316"/>
                  <a:gd name="T11" fmla="*/ 396 h 1122"/>
                  <a:gd name="T12" fmla="*/ 54 w 316"/>
                  <a:gd name="T13" fmla="*/ 500 h 1122"/>
                  <a:gd name="T14" fmla="*/ 46 w 316"/>
                  <a:gd name="T15" fmla="*/ 696 h 1122"/>
                  <a:gd name="T16" fmla="*/ 24 w 316"/>
                  <a:gd name="T17" fmla="*/ 860 h 1122"/>
                  <a:gd name="T18" fmla="*/ 16 w 316"/>
                  <a:gd name="T19" fmla="*/ 898 h 1122"/>
                  <a:gd name="T20" fmla="*/ 4 w 316"/>
                  <a:gd name="T21" fmla="*/ 992 h 1122"/>
                  <a:gd name="T22" fmla="*/ 0 w 316"/>
                  <a:gd name="T23" fmla="*/ 1040 h 1122"/>
                  <a:gd name="T24" fmla="*/ 16 w 316"/>
                  <a:gd name="T25" fmla="*/ 1042 h 1122"/>
                  <a:gd name="T26" fmla="*/ 16 w 316"/>
                  <a:gd name="T27" fmla="*/ 1056 h 1122"/>
                  <a:gd name="T28" fmla="*/ 22 w 316"/>
                  <a:gd name="T29" fmla="*/ 1062 h 1122"/>
                  <a:gd name="T30" fmla="*/ 42 w 316"/>
                  <a:gd name="T31" fmla="*/ 1078 h 1122"/>
                  <a:gd name="T32" fmla="*/ 44 w 316"/>
                  <a:gd name="T33" fmla="*/ 1098 h 1122"/>
                  <a:gd name="T34" fmla="*/ 48 w 316"/>
                  <a:gd name="T35" fmla="*/ 1108 h 1122"/>
                  <a:gd name="T36" fmla="*/ 64 w 316"/>
                  <a:gd name="T37" fmla="*/ 1108 h 1122"/>
                  <a:gd name="T38" fmla="*/ 72 w 316"/>
                  <a:gd name="T39" fmla="*/ 1082 h 1122"/>
                  <a:gd name="T40" fmla="*/ 98 w 316"/>
                  <a:gd name="T41" fmla="*/ 1084 h 1122"/>
                  <a:gd name="T42" fmla="*/ 108 w 316"/>
                  <a:gd name="T43" fmla="*/ 1094 h 1122"/>
                  <a:gd name="T44" fmla="*/ 124 w 316"/>
                  <a:gd name="T45" fmla="*/ 1108 h 1122"/>
                  <a:gd name="T46" fmla="*/ 134 w 316"/>
                  <a:gd name="T47" fmla="*/ 1116 h 1122"/>
                  <a:gd name="T48" fmla="*/ 160 w 316"/>
                  <a:gd name="T49" fmla="*/ 1120 h 1122"/>
                  <a:gd name="T50" fmla="*/ 200 w 316"/>
                  <a:gd name="T51" fmla="*/ 1120 h 1122"/>
                  <a:gd name="T52" fmla="*/ 242 w 316"/>
                  <a:gd name="T53" fmla="*/ 1122 h 1122"/>
                  <a:gd name="T54" fmla="*/ 274 w 316"/>
                  <a:gd name="T55" fmla="*/ 1120 h 1122"/>
                  <a:gd name="T56" fmla="*/ 288 w 316"/>
                  <a:gd name="T57" fmla="*/ 1118 h 1122"/>
                  <a:gd name="T58" fmla="*/ 300 w 316"/>
                  <a:gd name="T59" fmla="*/ 1106 h 1122"/>
                  <a:gd name="T60" fmla="*/ 284 w 316"/>
                  <a:gd name="T61" fmla="*/ 1090 h 1122"/>
                  <a:gd name="T62" fmla="*/ 292 w 316"/>
                  <a:gd name="T63" fmla="*/ 1088 h 1122"/>
                  <a:gd name="T64" fmla="*/ 308 w 316"/>
                  <a:gd name="T65" fmla="*/ 1090 h 1122"/>
                  <a:gd name="T66" fmla="*/ 316 w 316"/>
                  <a:gd name="T67" fmla="*/ 1080 h 1122"/>
                  <a:gd name="T68" fmla="*/ 308 w 316"/>
                  <a:gd name="T69" fmla="*/ 1074 h 1122"/>
                  <a:gd name="T70" fmla="*/ 274 w 316"/>
                  <a:gd name="T71" fmla="*/ 1058 h 1122"/>
                  <a:gd name="T72" fmla="*/ 238 w 316"/>
                  <a:gd name="T73" fmla="*/ 1038 h 1122"/>
                  <a:gd name="T74" fmla="*/ 230 w 316"/>
                  <a:gd name="T75" fmla="*/ 1026 h 1122"/>
                  <a:gd name="T76" fmla="*/ 244 w 316"/>
                  <a:gd name="T77" fmla="*/ 1022 h 1122"/>
                  <a:gd name="T78" fmla="*/ 246 w 316"/>
                  <a:gd name="T79" fmla="*/ 968 h 1122"/>
                  <a:gd name="T80" fmla="*/ 234 w 316"/>
                  <a:gd name="T81" fmla="*/ 914 h 1122"/>
                  <a:gd name="T82" fmla="*/ 228 w 316"/>
                  <a:gd name="T83" fmla="*/ 852 h 1122"/>
                  <a:gd name="T84" fmla="*/ 226 w 316"/>
                  <a:gd name="T85" fmla="*/ 740 h 1122"/>
                  <a:gd name="T86" fmla="*/ 224 w 316"/>
                  <a:gd name="T87" fmla="*/ 520 h 1122"/>
                  <a:gd name="T88" fmla="*/ 228 w 316"/>
                  <a:gd name="T89" fmla="*/ 306 h 1122"/>
                  <a:gd name="T90" fmla="*/ 246 w 316"/>
                  <a:gd name="T91" fmla="*/ 220 h 1122"/>
                  <a:gd name="T92" fmla="*/ 240 w 316"/>
                  <a:gd name="T93" fmla="*/ 146 h 1122"/>
                  <a:gd name="T94" fmla="*/ 252 w 316"/>
                  <a:gd name="T95" fmla="*/ 76 h 1122"/>
                  <a:gd name="T96" fmla="*/ 262 w 316"/>
                  <a:gd name="T97" fmla="*/ 50 h 1122"/>
                  <a:gd name="T98" fmla="*/ 250 w 316"/>
                  <a:gd name="T99" fmla="*/ 38 h 1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6" h="1122">
                    <a:moveTo>
                      <a:pt x="38" y="0"/>
                    </a:moveTo>
                    <a:lnTo>
                      <a:pt x="38" y="0"/>
                    </a:lnTo>
                    <a:lnTo>
                      <a:pt x="34" y="0"/>
                    </a:lnTo>
                    <a:lnTo>
                      <a:pt x="34" y="0"/>
                    </a:lnTo>
                    <a:lnTo>
                      <a:pt x="28" y="18"/>
                    </a:lnTo>
                    <a:lnTo>
                      <a:pt x="20" y="38"/>
                    </a:lnTo>
                    <a:lnTo>
                      <a:pt x="14" y="62"/>
                    </a:lnTo>
                    <a:lnTo>
                      <a:pt x="12" y="90"/>
                    </a:lnTo>
                    <a:lnTo>
                      <a:pt x="12" y="104"/>
                    </a:lnTo>
                    <a:lnTo>
                      <a:pt x="14" y="118"/>
                    </a:lnTo>
                    <a:lnTo>
                      <a:pt x="18" y="132"/>
                    </a:lnTo>
                    <a:lnTo>
                      <a:pt x="22" y="146"/>
                    </a:lnTo>
                    <a:lnTo>
                      <a:pt x="30" y="160"/>
                    </a:lnTo>
                    <a:lnTo>
                      <a:pt x="42" y="174"/>
                    </a:lnTo>
                    <a:lnTo>
                      <a:pt x="48" y="190"/>
                    </a:lnTo>
                    <a:lnTo>
                      <a:pt x="48" y="190"/>
                    </a:lnTo>
                    <a:lnTo>
                      <a:pt x="50" y="194"/>
                    </a:lnTo>
                    <a:lnTo>
                      <a:pt x="58" y="210"/>
                    </a:lnTo>
                    <a:lnTo>
                      <a:pt x="58" y="210"/>
                    </a:lnTo>
                    <a:lnTo>
                      <a:pt x="60" y="214"/>
                    </a:lnTo>
                    <a:lnTo>
                      <a:pt x="60" y="234"/>
                    </a:lnTo>
                    <a:lnTo>
                      <a:pt x="60" y="234"/>
                    </a:lnTo>
                    <a:lnTo>
                      <a:pt x="60" y="238"/>
                    </a:lnTo>
                    <a:lnTo>
                      <a:pt x="56" y="396"/>
                    </a:lnTo>
                    <a:lnTo>
                      <a:pt x="56" y="396"/>
                    </a:lnTo>
                    <a:lnTo>
                      <a:pt x="56" y="400"/>
                    </a:lnTo>
                    <a:lnTo>
                      <a:pt x="54" y="500"/>
                    </a:lnTo>
                    <a:lnTo>
                      <a:pt x="54" y="500"/>
                    </a:lnTo>
                    <a:lnTo>
                      <a:pt x="54" y="504"/>
                    </a:lnTo>
                    <a:lnTo>
                      <a:pt x="48" y="690"/>
                    </a:lnTo>
                    <a:lnTo>
                      <a:pt x="48" y="690"/>
                    </a:lnTo>
                    <a:lnTo>
                      <a:pt x="46" y="696"/>
                    </a:lnTo>
                    <a:lnTo>
                      <a:pt x="46" y="696"/>
                    </a:lnTo>
                    <a:lnTo>
                      <a:pt x="30" y="822"/>
                    </a:lnTo>
                    <a:lnTo>
                      <a:pt x="30" y="822"/>
                    </a:lnTo>
                    <a:lnTo>
                      <a:pt x="24" y="860"/>
                    </a:lnTo>
                    <a:lnTo>
                      <a:pt x="16" y="894"/>
                    </a:lnTo>
                    <a:lnTo>
                      <a:pt x="16" y="894"/>
                    </a:lnTo>
                    <a:lnTo>
                      <a:pt x="16" y="898"/>
                    </a:lnTo>
                    <a:lnTo>
                      <a:pt x="16" y="898"/>
                    </a:lnTo>
                    <a:lnTo>
                      <a:pt x="8" y="954"/>
                    </a:lnTo>
                    <a:lnTo>
                      <a:pt x="8" y="954"/>
                    </a:lnTo>
                    <a:lnTo>
                      <a:pt x="4" y="992"/>
                    </a:lnTo>
                    <a:lnTo>
                      <a:pt x="4" y="992"/>
                    </a:lnTo>
                    <a:lnTo>
                      <a:pt x="4" y="998"/>
                    </a:lnTo>
                    <a:lnTo>
                      <a:pt x="0" y="1038"/>
                    </a:lnTo>
                    <a:lnTo>
                      <a:pt x="0" y="1038"/>
                    </a:lnTo>
                    <a:lnTo>
                      <a:pt x="0" y="1040"/>
                    </a:lnTo>
                    <a:lnTo>
                      <a:pt x="2" y="1040"/>
                    </a:lnTo>
                    <a:lnTo>
                      <a:pt x="14" y="1040"/>
                    </a:lnTo>
                    <a:lnTo>
                      <a:pt x="14" y="1040"/>
                    </a:lnTo>
                    <a:lnTo>
                      <a:pt x="16" y="1042"/>
                    </a:lnTo>
                    <a:lnTo>
                      <a:pt x="16" y="1044"/>
                    </a:lnTo>
                    <a:lnTo>
                      <a:pt x="16" y="1052"/>
                    </a:lnTo>
                    <a:lnTo>
                      <a:pt x="16" y="1052"/>
                    </a:lnTo>
                    <a:lnTo>
                      <a:pt x="16" y="1056"/>
                    </a:lnTo>
                    <a:lnTo>
                      <a:pt x="18" y="1060"/>
                    </a:lnTo>
                    <a:lnTo>
                      <a:pt x="18" y="1060"/>
                    </a:lnTo>
                    <a:lnTo>
                      <a:pt x="20" y="1062"/>
                    </a:lnTo>
                    <a:lnTo>
                      <a:pt x="22" y="1062"/>
                    </a:lnTo>
                    <a:lnTo>
                      <a:pt x="22" y="1062"/>
                    </a:lnTo>
                    <a:lnTo>
                      <a:pt x="26" y="1066"/>
                    </a:lnTo>
                    <a:lnTo>
                      <a:pt x="42" y="1078"/>
                    </a:lnTo>
                    <a:lnTo>
                      <a:pt x="42" y="1078"/>
                    </a:lnTo>
                    <a:lnTo>
                      <a:pt x="44" y="1082"/>
                    </a:lnTo>
                    <a:lnTo>
                      <a:pt x="44" y="1092"/>
                    </a:lnTo>
                    <a:lnTo>
                      <a:pt x="44" y="1092"/>
                    </a:lnTo>
                    <a:lnTo>
                      <a:pt x="44" y="1098"/>
                    </a:lnTo>
                    <a:lnTo>
                      <a:pt x="46" y="1106"/>
                    </a:lnTo>
                    <a:lnTo>
                      <a:pt x="46" y="1106"/>
                    </a:lnTo>
                    <a:lnTo>
                      <a:pt x="46" y="1108"/>
                    </a:lnTo>
                    <a:lnTo>
                      <a:pt x="48" y="1108"/>
                    </a:lnTo>
                    <a:lnTo>
                      <a:pt x="62" y="1110"/>
                    </a:lnTo>
                    <a:lnTo>
                      <a:pt x="62" y="1110"/>
                    </a:lnTo>
                    <a:lnTo>
                      <a:pt x="64" y="1110"/>
                    </a:lnTo>
                    <a:lnTo>
                      <a:pt x="64" y="1108"/>
                    </a:lnTo>
                    <a:lnTo>
                      <a:pt x="70" y="1084"/>
                    </a:lnTo>
                    <a:lnTo>
                      <a:pt x="70" y="1084"/>
                    </a:lnTo>
                    <a:lnTo>
                      <a:pt x="70" y="1082"/>
                    </a:lnTo>
                    <a:lnTo>
                      <a:pt x="72" y="1082"/>
                    </a:lnTo>
                    <a:lnTo>
                      <a:pt x="88" y="1082"/>
                    </a:lnTo>
                    <a:lnTo>
                      <a:pt x="88" y="1082"/>
                    </a:lnTo>
                    <a:lnTo>
                      <a:pt x="92" y="1082"/>
                    </a:lnTo>
                    <a:lnTo>
                      <a:pt x="98" y="1084"/>
                    </a:lnTo>
                    <a:lnTo>
                      <a:pt x="98" y="1084"/>
                    </a:lnTo>
                    <a:lnTo>
                      <a:pt x="102" y="1088"/>
                    </a:lnTo>
                    <a:lnTo>
                      <a:pt x="108" y="1094"/>
                    </a:lnTo>
                    <a:lnTo>
                      <a:pt x="108" y="1094"/>
                    </a:lnTo>
                    <a:lnTo>
                      <a:pt x="112" y="1096"/>
                    </a:lnTo>
                    <a:lnTo>
                      <a:pt x="120" y="1104"/>
                    </a:lnTo>
                    <a:lnTo>
                      <a:pt x="120" y="1104"/>
                    </a:lnTo>
                    <a:lnTo>
                      <a:pt x="124" y="1108"/>
                    </a:lnTo>
                    <a:lnTo>
                      <a:pt x="130" y="1112"/>
                    </a:lnTo>
                    <a:lnTo>
                      <a:pt x="130" y="1112"/>
                    </a:lnTo>
                    <a:lnTo>
                      <a:pt x="134" y="1116"/>
                    </a:lnTo>
                    <a:lnTo>
                      <a:pt x="134" y="1116"/>
                    </a:lnTo>
                    <a:lnTo>
                      <a:pt x="142" y="1118"/>
                    </a:lnTo>
                    <a:lnTo>
                      <a:pt x="142" y="1118"/>
                    </a:lnTo>
                    <a:lnTo>
                      <a:pt x="148" y="1120"/>
                    </a:lnTo>
                    <a:lnTo>
                      <a:pt x="160" y="1120"/>
                    </a:lnTo>
                    <a:lnTo>
                      <a:pt x="160" y="1120"/>
                    </a:lnTo>
                    <a:lnTo>
                      <a:pt x="184" y="1120"/>
                    </a:lnTo>
                    <a:lnTo>
                      <a:pt x="200" y="1120"/>
                    </a:lnTo>
                    <a:lnTo>
                      <a:pt x="200" y="1120"/>
                    </a:lnTo>
                    <a:lnTo>
                      <a:pt x="206" y="1120"/>
                    </a:lnTo>
                    <a:lnTo>
                      <a:pt x="218" y="1120"/>
                    </a:lnTo>
                    <a:lnTo>
                      <a:pt x="232" y="1122"/>
                    </a:lnTo>
                    <a:lnTo>
                      <a:pt x="242" y="1122"/>
                    </a:lnTo>
                    <a:lnTo>
                      <a:pt x="242" y="1122"/>
                    </a:lnTo>
                    <a:lnTo>
                      <a:pt x="260" y="1122"/>
                    </a:lnTo>
                    <a:lnTo>
                      <a:pt x="268" y="1122"/>
                    </a:lnTo>
                    <a:lnTo>
                      <a:pt x="274" y="1120"/>
                    </a:lnTo>
                    <a:lnTo>
                      <a:pt x="274" y="1120"/>
                    </a:lnTo>
                    <a:lnTo>
                      <a:pt x="284" y="1118"/>
                    </a:lnTo>
                    <a:lnTo>
                      <a:pt x="288" y="1118"/>
                    </a:lnTo>
                    <a:lnTo>
                      <a:pt x="288" y="1118"/>
                    </a:lnTo>
                    <a:lnTo>
                      <a:pt x="292" y="1116"/>
                    </a:lnTo>
                    <a:lnTo>
                      <a:pt x="300" y="1108"/>
                    </a:lnTo>
                    <a:lnTo>
                      <a:pt x="300" y="1108"/>
                    </a:lnTo>
                    <a:lnTo>
                      <a:pt x="300" y="1106"/>
                    </a:lnTo>
                    <a:lnTo>
                      <a:pt x="298" y="1102"/>
                    </a:lnTo>
                    <a:lnTo>
                      <a:pt x="298" y="1102"/>
                    </a:lnTo>
                    <a:lnTo>
                      <a:pt x="296" y="1098"/>
                    </a:lnTo>
                    <a:lnTo>
                      <a:pt x="284" y="1090"/>
                    </a:lnTo>
                    <a:lnTo>
                      <a:pt x="284" y="1090"/>
                    </a:lnTo>
                    <a:lnTo>
                      <a:pt x="282" y="1090"/>
                    </a:lnTo>
                    <a:lnTo>
                      <a:pt x="284" y="1090"/>
                    </a:lnTo>
                    <a:lnTo>
                      <a:pt x="292" y="1088"/>
                    </a:lnTo>
                    <a:lnTo>
                      <a:pt x="292" y="1088"/>
                    </a:lnTo>
                    <a:lnTo>
                      <a:pt x="296" y="1088"/>
                    </a:lnTo>
                    <a:lnTo>
                      <a:pt x="308" y="1090"/>
                    </a:lnTo>
                    <a:lnTo>
                      <a:pt x="308" y="1090"/>
                    </a:lnTo>
                    <a:lnTo>
                      <a:pt x="312" y="1088"/>
                    </a:lnTo>
                    <a:lnTo>
                      <a:pt x="316" y="1080"/>
                    </a:lnTo>
                    <a:lnTo>
                      <a:pt x="316" y="1080"/>
                    </a:lnTo>
                    <a:lnTo>
                      <a:pt x="316" y="1080"/>
                    </a:lnTo>
                    <a:lnTo>
                      <a:pt x="316" y="1078"/>
                    </a:lnTo>
                    <a:lnTo>
                      <a:pt x="312" y="1076"/>
                    </a:lnTo>
                    <a:lnTo>
                      <a:pt x="312" y="1076"/>
                    </a:lnTo>
                    <a:lnTo>
                      <a:pt x="308" y="1074"/>
                    </a:lnTo>
                    <a:lnTo>
                      <a:pt x="308" y="1074"/>
                    </a:lnTo>
                    <a:lnTo>
                      <a:pt x="280" y="1062"/>
                    </a:lnTo>
                    <a:lnTo>
                      <a:pt x="280" y="1062"/>
                    </a:lnTo>
                    <a:lnTo>
                      <a:pt x="274" y="1058"/>
                    </a:lnTo>
                    <a:lnTo>
                      <a:pt x="260" y="1052"/>
                    </a:lnTo>
                    <a:lnTo>
                      <a:pt x="260" y="1052"/>
                    </a:lnTo>
                    <a:lnTo>
                      <a:pt x="256" y="1050"/>
                    </a:lnTo>
                    <a:lnTo>
                      <a:pt x="238" y="1038"/>
                    </a:lnTo>
                    <a:lnTo>
                      <a:pt x="238" y="1038"/>
                    </a:lnTo>
                    <a:lnTo>
                      <a:pt x="236" y="1034"/>
                    </a:lnTo>
                    <a:lnTo>
                      <a:pt x="230" y="1026"/>
                    </a:lnTo>
                    <a:lnTo>
                      <a:pt x="230" y="1026"/>
                    </a:lnTo>
                    <a:lnTo>
                      <a:pt x="230" y="1026"/>
                    </a:lnTo>
                    <a:lnTo>
                      <a:pt x="232" y="1024"/>
                    </a:lnTo>
                    <a:lnTo>
                      <a:pt x="244" y="1022"/>
                    </a:lnTo>
                    <a:lnTo>
                      <a:pt x="244" y="1022"/>
                    </a:lnTo>
                    <a:lnTo>
                      <a:pt x="246" y="1018"/>
                    </a:lnTo>
                    <a:lnTo>
                      <a:pt x="248" y="972"/>
                    </a:lnTo>
                    <a:lnTo>
                      <a:pt x="248" y="972"/>
                    </a:lnTo>
                    <a:lnTo>
                      <a:pt x="246" y="968"/>
                    </a:lnTo>
                    <a:lnTo>
                      <a:pt x="242" y="952"/>
                    </a:lnTo>
                    <a:lnTo>
                      <a:pt x="242" y="952"/>
                    </a:lnTo>
                    <a:lnTo>
                      <a:pt x="242" y="946"/>
                    </a:lnTo>
                    <a:lnTo>
                      <a:pt x="234" y="914"/>
                    </a:lnTo>
                    <a:lnTo>
                      <a:pt x="234" y="914"/>
                    </a:lnTo>
                    <a:lnTo>
                      <a:pt x="232" y="908"/>
                    </a:lnTo>
                    <a:lnTo>
                      <a:pt x="228" y="852"/>
                    </a:lnTo>
                    <a:lnTo>
                      <a:pt x="228" y="852"/>
                    </a:lnTo>
                    <a:lnTo>
                      <a:pt x="228" y="848"/>
                    </a:lnTo>
                    <a:lnTo>
                      <a:pt x="226" y="744"/>
                    </a:lnTo>
                    <a:lnTo>
                      <a:pt x="226" y="744"/>
                    </a:lnTo>
                    <a:lnTo>
                      <a:pt x="226" y="740"/>
                    </a:lnTo>
                    <a:lnTo>
                      <a:pt x="224" y="526"/>
                    </a:lnTo>
                    <a:lnTo>
                      <a:pt x="224" y="526"/>
                    </a:lnTo>
                    <a:lnTo>
                      <a:pt x="224" y="520"/>
                    </a:lnTo>
                    <a:lnTo>
                      <a:pt x="224" y="520"/>
                    </a:lnTo>
                    <a:lnTo>
                      <a:pt x="224" y="414"/>
                    </a:lnTo>
                    <a:lnTo>
                      <a:pt x="226" y="342"/>
                    </a:lnTo>
                    <a:lnTo>
                      <a:pt x="228" y="306"/>
                    </a:lnTo>
                    <a:lnTo>
                      <a:pt x="228" y="306"/>
                    </a:lnTo>
                    <a:lnTo>
                      <a:pt x="232" y="292"/>
                    </a:lnTo>
                    <a:lnTo>
                      <a:pt x="238" y="262"/>
                    </a:lnTo>
                    <a:lnTo>
                      <a:pt x="246" y="220"/>
                    </a:lnTo>
                    <a:lnTo>
                      <a:pt x="246" y="220"/>
                    </a:lnTo>
                    <a:lnTo>
                      <a:pt x="246" y="216"/>
                    </a:lnTo>
                    <a:lnTo>
                      <a:pt x="240" y="152"/>
                    </a:lnTo>
                    <a:lnTo>
                      <a:pt x="240" y="152"/>
                    </a:lnTo>
                    <a:lnTo>
                      <a:pt x="240" y="146"/>
                    </a:lnTo>
                    <a:lnTo>
                      <a:pt x="234" y="118"/>
                    </a:lnTo>
                    <a:lnTo>
                      <a:pt x="234" y="118"/>
                    </a:lnTo>
                    <a:lnTo>
                      <a:pt x="234" y="114"/>
                    </a:lnTo>
                    <a:lnTo>
                      <a:pt x="252" y="76"/>
                    </a:lnTo>
                    <a:lnTo>
                      <a:pt x="252" y="76"/>
                    </a:lnTo>
                    <a:lnTo>
                      <a:pt x="254" y="72"/>
                    </a:lnTo>
                    <a:lnTo>
                      <a:pt x="262" y="50"/>
                    </a:lnTo>
                    <a:lnTo>
                      <a:pt x="262" y="50"/>
                    </a:lnTo>
                    <a:lnTo>
                      <a:pt x="260" y="46"/>
                    </a:lnTo>
                    <a:lnTo>
                      <a:pt x="254" y="40"/>
                    </a:lnTo>
                    <a:lnTo>
                      <a:pt x="254" y="40"/>
                    </a:lnTo>
                    <a:lnTo>
                      <a:pt x="250" y="38"/>
                    </a:lnTo>
                    <a:lnTo>
                      <a:pt x="38"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8" name="Freeform 513">
                <a:extLst>
                  <a:ext uri="{FF2B5EF4-FFF2-40B4-BE49-F238E27FC236}">
                    <a16:creationId xmlns:a16="http://schemas.microsoft.com/office/drawing/2014/main" id="{0DA84D58-6368-4068-81D2-CA8818297647}"/>
                  </a:ext>
                </a:extLst>
              </p:cNvPr>
              <p:cNvSpPr>
                <a:spLocks/>
              </p:cNvSpPr>
              <p:nvPr/>
            </p:nvSpPr>
            <p:spPr bwMode="auto">
              <a:xfrm>
                <a:off x="4629661" y="4308478"/>
                <a:ext cx="508002" cy="1114428"/>
              </a:xfrm>
              <a:custGeom>
                <a:avLst/>
                <a:gdLst>
                  <a:gd name="T0" fmla="*/ 146 w 320"/>
                  <a:gd name="T1" fmla="*/ 0 h 702"/>
                  <a:gd name="T2" fmla="*/ 138 w 320"/>
                  <a:gd name="T3" fmla="*/ 6 h 702"/>
                  <a:gd name="T4" fmla="*/ 128 w 320"/>
                  <a:gd name="T5" fmla="*/ 48 h 702"/>
                  <a:gd name="T6" fmla="*/ 116 w 320"/>
                  <a:gd name="T7" fmla="*/ 76 h 702"/>
                  <a:gd name="T8" fmla="*/ 112 w 320"/>
                  <a:gd name="T9" fmla="*/ 80 h 702"/>
                  <a:gd name="T10" fmla="*/ 96 w 320"/>
                  <a:gd name="T11" fmla="*/ 104 h 702"/>
                  <a:gd name="T12" fmla="*/ 62 w 320"/>
                  <a:gd name="T13" fmla="*/ 166 h 702"/>
                  <a:gd name="T14" fmla="*/ 60 w 320"/>
                  <a:gd name="T15" fmla="*/ 170 h 702"/>
                  <a:gd name="T16" fmla="*/ 56 w 320"/>
                  <a:gd name="T17" fmla="*/ 178 h 702"/>
                  <a:gd name="T18" fmla="*/ 54 w 320"/>
                  <a:gd name="T19" fmla="*/ 182 h 702"/>
                  <a:gd name="T20" fmla="*/ 52 w 320"/>
                  <a:gd name="T21" fmla="*/ 202 h 702"/>
                  <a:gd name="T22" fmla="*/ 50 w 320"/>
                  <a:gd name="T23" fmla="*/ 228 h 702"/>
                  <a:gd name="T24" fmla="*/ 50 w 320"/>
                  <a:gd name="T25" fmla="*/ 280 h 702"/>
                  <a:gd name="T26" fmla="*/ 50 w 320"/>
                  <a:gd name="T27" fmla="*/ 300 h 702"/>
                  <a:gd name="T28" fmla="*/ 50 w 320"/>
                  <a:gd name="T29" fmla="*/ 314 h 702"/>
                  <a:gd name="T30" fmla="*/ 54 w 320"/>
                  <a:gd name="T31" fmla="*/ 344 h 702"/>
                  <a:gd name="T32" fmla="*/ 54 w 320"/>
                  <a:gd name="T33" fmla="*/ 348 h 702"/>
                  <a:gd name="T34" fmla="*/ 56 w 320"/>
                  <a:gd name="T35" fmla="*/ 384 h 702"/>
                  <a:gd name="T36" fmla="*/ 56 w 320"/>
                  <a:gd name="T37" fmla="*/ 422 h 702"/>
                  <a:gd name="T38" fmla="*/ 56 w 320"/>
                  <a:gd name="T39" fmla="*/ 450 h 702"/>
                  <a:gd name="T40" fmla="*/ 50 w 320"/>
                  <a:gd name="T41" fmla="*/ 472 h 702"/>
                  <a:gd name="T42" fmla="*/ 46 w 320"/>
                  <a:gd name="T43" fmla="*/ 506 h 702"/>
                  <a:gd name="T44" fmla="*/ 42 w 320"/>
                  <a:gd name="T45" fmla="*/ 538 h 702"/>
                  <a:gd name="T46" fmla="*/ 42 w 320"/>
                  <a:gd name="T47" fmla="*/ 542 h 702"/>
                  <a:gd name="T48" fmla="*/ 38 w 320"/>
                  <a:gd name="T49" fmla="*/ 556 h 702"/>
                  <a:gd name="T50" fmla="*/ 30 w 320"/>
                  <a:gd name="T51" fmla="*/ 576 h 702"/>
                  <a:gd name="T52" fmla="*/ 28 w 320"/>
                  <a:gd name="T53" fmla="*/ 582 h 702"/>
                  <a:gd name="T54" fmla="*/ 14 w 320"/>
                  <a:gd name="T55" fmla="*/ 626 h 702"/>
                  <a:gd name="T56" fmla="*/ 8 w 320"/>
                  <a:gd name="T57" fmla="*/ 678 h 702"/>
                  <a:gd name="T58" fmla="*/ 6 w 320"/>
                  <a:gd name="T59" fmla="*/ 682 h 702"/>
                  <a:gd name="T60" fmla="*/ 0 w 320"/>
                  <a:gd name="T61" fmla="*/ 694 h 702"/>
                  <a:gd name="T62" fmla="*/ 2 w 320"/>
                  <a:gd name="T63" fmla="*/ 696 h 702"/>
                  <a:gd name="T64" fmla="*/ 76 w 320"/>
                  <a:gd name="T65" fmla="*/ 696 h 702"/>
                  <a:gd name="T66" fmla="*/ 170 w 320"/>
                  <a:gd name="T67" fmla="*/ 696 h 702"/>
                  <a:gd name="T68" fmla="*/ 174 w 320"/>
                  <a:gd name="T69" fmla="*/ 698 h 702"/>
                  <a:gd name="T70" fmla="*/ 244 w 320"/>
                  <a:gd name="T71" fmla="*/ 702 h 702"/>
                  <a:gd name="T72" fmla="*/ 270 w 320"/>
                  <a:gd name="T73" fmla="*/ 700 h 702"/>
                  <a:gd name="T74" fmla="*/ 274 w 320"/>
                  <a:gd name="T75" fmla="*/ 700 h 702"/>
                  <a:gd name="T76" fmla="*/ 314 w 320"/>
                  <a:gd name="T77" fmla="*/ 702 h 702"/>
                  <a:gd name="T78" fmla="*/ 316 w 320"/>
                  <a:gd name="T79" fmla="*/ 700 h 702"/>
                  <a:gd name="T80" fmla="*/ 320 w 320"/>
                  <a:gd name="T81" fmla="*/ 684 h 702"/>
                  <a:gd name="T82" fmla="*/ 310 w 320"/>
                  <a:gd name="T83" fmla="*/ 642 h 702"/>
                  <a:gd name="T84" fmla="*/ 310 w 320"/>
                  <a:gd name="T85" fmla="*/ 638 h 702"/>
                  <a:gd name="T86" fmla="*/ 306 w 320"/>
                  <a:gd name="T87" fmla="*/ 536 h 702"/>
                  <a:gd name="T88" fmla="*/ 300 w 320"/>
                  <a:gd name="T89" fmla="*/ 468 h 702"/>
                  <a:gd name="T90" fmla="*/ 300 w 320"/>
                  <a:gd name="T91" fmla="*/ 464 h 702"/>
                  <a:gd name="T92" fmla="*/ 298 w 320"/>
                  <a:gd name="T93" fmla="*/ 450 h 702"/>
                  <a:gd name="T94" fmla="*/ 300 w 320"/>
                  <a:gd name="T95" fmla="*/ 438 h 702"/>
                  <a:gd name="T96" fmla="*/ 302 w 320"/>
                  <a:gd name="T97" fmla="*/ 428 h 702"/>
                  <a:gd name="T98" fmla="*/ 304 w 320"/>
                  <a:gd name="T99" fmla="*/ 412 h 702"/>
                  <a:gd name="T100" fmla="*/ 314 w 320"/>
                  <a:gd name="T101" fmla="*/ 372 h 702"/>
                  <a:gd name="T102" fmla="*/ 320 w 320"/>
                  <a:gd name="T103" fmla="*/ 340 h 702"/>
                  <a:gd name="T104" fmla="*/ 294 w 320"/>
                  <a:gd name="T105" fmla="*/ 218 h 702"/>
                  <a:gd name="T106" fmla="*/ 294 w 320"/>
                  <a:gd name="T107" fmla="*/ 214 h 702"/>
                  <a:gd name="T108" fmla="*/ 280 w 320"/>
                  <a:gd name="T109" fmla="*/ 186 h 702"/>
                  <a:gd name="T110" fmla="*/ 238 w 320"/>
                  <a:gd name="T111" fmla="*/ 120 h 702"/>
                  <a:gd name="T112" fmla="*/ 236 w 320"/>
                  <a:gd name="T113" fmla="*/ 116 h 702"/>
                  <a:gd name="T114" fmla="*/ 212 w 320"/>
                  <a:gd name="T115" fmla="*/ 84 h 702"/>
                  <a:gd name="T116" fmla="*/ 194 w 320"/>
                  <a:gd name="T117" fmla="*/ 70 h 702"/>
                  <a:gd name="T118" fmla="*/ 190 w 320"/>
                  <a:gd name="T119" fmla="*/ 68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20" h="702">
                    <a:moveTo>
                      <a:pt x="146" y="0"/>
                    </a:moveTo>
                    <a:lnTo>
                      <a:pt x="146" y="0"/>
                    </a:lnTo>
                    <a:lnTo>
                      <a:pt x="142" y="4"/>
                    </a:lnTo>
                    <a:lnTo>
                      <a:pt x="138" y="6"/>
                    </a:lnTo>
                    <a:lnTo>
                      <a:pt x="128" y="48"/>
                    </a:lnTo>
                    <a:lnTo>
                      <a:pt x="128" y="48"/>
                    </a:lnTo>
                    <a:lnTo>
                      <a:pt x="126" y="54"/>
                    </a:lnTo>
                    <a:lnTo>
                      <a:pt x="116" y="76"/>
                    </a:lnTo>
                    <a:lnTo>
                      <a:pt x="116" y="76"/>
                    </a:lnTo>
                    <a:lnTo>
                      <a:pt x="112" y="80"/>
                    </a:lnTo>
                    <a:lnTo>
                      <a:pt x="112" y="80"/>
                    </a:lnTo>
                    <a:lnTo>
                      <a:pt x="96" y="104"/>
                    </a:lnTo>
                    <a:lnTo>
                      <a:pt x="96" y="104"/>
                    </a:lnTo>
                    <a:lnTo>
                      <a:pt x="62" y="166"/>
                    </a:lnTo>
                    <a:lnTo>
                      <a:pt x="62" y="166"/>
                    </a:lnTo>
                    <a:lnTo>
                      <a:pt x="60" y="170"/>
                    </a:lnTo>
                    <a:lnTo>
                      <a:pt x="56" y="178"/>
                    </a:lnTo>
                    <a:lnTo>
                      <a:pt x="56" y="178"/>
                    </a:lnTo>
                    <a:lnTo>
                      <a:pt x="54" y="182"/>
                    </a:lnTo>
                    <a:lnTo>
                      <a:pt x="54" y="182"/>
                    </a:lnTo>
                    <a:lnTo>
                      <a:pt x="52" y="202"/>
                    </a:lnTo>
                    <a:lnTo>
                      <a:pt x="52" y="202"/>
                    </a:lnTo>
                    <a:lnTo>
                      <a:pt x="50" y="212"/>
                    </a:lnTo>
                    <a:lnTo>
                      <a:pt x="50" y="228"/>
                    </a:lnTo>
                    <a:lnTo>
                      <a:pt x="50" y="228"/>
                    </a:lnTo>
                    <a:lnTo>
                      <a:pt x="50" y="280"/>
                    </a:lnTo>
                    <a:lnTo>
                      <a:pt x="50" y="280"/>
                    </a:lnTo>
                    <a:lnTo>
                      <a:pt x="50" y="300"/>
                    </a:lnTo>
                    <a:lnTo>
                      <a:pt x="50" y="314"/>
                    </a:lnTo>
                    <a:lnTo>
                      <a:pt x="50" y="314"/>
                    </a:lnTo>
                    <a:lnTo>
                      <a:pt x="52" y="330"/>
                    </a:lnTo>
                    <a:lnTo>
                      <a:pt x="54" y="344"/>
                    </a:lnTo>
                    <a:lnTo>
                      <a:pt x="54" y="344"/>
                    </a:lnTo>
                    <a:lnTo>
                      <a:pt x="54" y="348"/>
                    </a:lnTo>
                    <a:lnTo>
                      <a:pt x="54" y="348"/>
                    </a:lnTo>
                    <a:lnTo>
                      <a:pt x="56" y="384"/>
                    </a:lnTo>
                    <a:lnTo>
                      <a:pt x="56" y="384"/>
                    </a:lnTo>
                    <a:lnTo>
                      <a:pt x="56" y="422"/>
                    </a:lnTo>
                    <a:lnTo>
                      <a:pt x="56" y="450"/>
                    </a:lnTo>
                    <a:lnTo>
                      <a:pt x="56" y="450"/>
                    </a:lnTo>
                    <a:lnTo>
                      <a:pt x="54" y="462"/>
                    </a:lnTo>
                    <a:lnTo>
                      <a:pt x="50" y="472"/>
                    </a:lnTo>
                    <a:lnTo>
                      <a:pt x="50" y="472"/>
                    </a:lnTo>
                    <a:lnTo>
                      <a:pt x="46" y="506"/>
                    </a:lnTo>
                    <a:lnTo>
                      <a:pt x="42" y="538"/>
                    </a:lnTo>
                    <a:lnTo>
                      <a:pt x="42" y="538"/>
                    </a:lnTo>
                    <a:lnTo>
                      <a:pt x="42" y="542"/>
                    </a:lnTo>
                    <a:lnTo>
                      <a:pt x="42" y="542"/>
                    </a:lnTo>
                    <a:lnTo>
                      <a:pt x="38" y="556"/>
                    </a:lnTo>
                    <a:lnTo>
                      <a:pt x="38" y="556"/>
                    </a:lnTo>
                    <a:lnTo>
                      <a:pt x="30" y="576"/>
                    </a:lnTo>
                    <a:lnTo>
                      <a:pt x="30" y="576"/>
                    </a:lnTo>
                    <a:lnTo>
                      <a:pt x="28" y="582"/>
                    </a:lnTo>
                    <a:lnTo>
                      <a:pt x="28" y="582"/>
                    </a:lnTo>
                    <a:lnTo>
                      <a:pt x="22" y="602"/>
                    </a:lnTo>
                    <a:lnTo>
                      <a:pt x="14" y="626"/>
                    </a:lnTo>
                    <a:lnTo>
                      <a:pt x="14" y="626"/>
                    </a:lnTo>
                    <a:lnTo>
                      <a:pt x="8" y="678"/>
                    </a:lnTo>
                    <a:lnTo>
                      <a:pt x="8" y="678"/>
                    </a:lnTo>
                    <a:lnTo>
                      <a:pt x="6" y="682"/>
                    </a:lnTo>
                    <a:lnTo>
                      <a:pt x="0" y="694"/>
                    </a:lnTo>
                    <a:lnTo>
                      <a:pt x="0" y="694"/>
                    </a:lnTo>
                    <a:lnTo>
                      <a:pt x="0" y="694"/>
                    </a:lnTo>
                    <a:lnTo>
                      <a:pt x="2" y="696"/>
                    </a:lnTo>
                    <a:lnTo>
                      <a:pt x="2" y="696"/>
                    </a:lnTo>
                    <a:lnTo>
                      <a:pt x="76" y="696"/>
                    </a:lnTo>
                    <a:lnTo>
                      <a:pt x="76" y="696"/>
                    </a:lnTo>
                    <a:lnTo>
                      <a:pt x="170" y="696"/>
                    </a:lnTo>
                    <a:lnTo>
                      <a:pt x="170" y="696"/>
                    </a:lnTo>
                    <a:lnTo>
                      <a:pt x="174" y="698"/>
                    </a:lnTo>
                    <a:lnTo>
                      <a:pt x="244" y="702"/>
                    </a:lnTo>
                    <a:lnTo>
                      <a:pt x="244" y="702"/>
                    </a:lnTo>
                    <a:lnTo>
                      <a:pt x="250" y="702"/>
                    </a:lnTo>
                    <a:lnTo>
                      <a:pt x="270" y="700"/>
                    </a:lnTo>
                    <a:lnTo>
                      <a:pt x="270" y="700"/>
                    </a:lnTo>
                    <a:lnTo>
                      <a:pt x="274" y="700"/>
                    </a:lnTo>
                    <a:lnTo>
                      <a:pt x="314" y="702"/>
                    </a:lnTo>
                    <a:lnTo>
                      <a:pt x="314" y="702"/>
                    </a:lnTo>
                    <a:lnTo>
                      <a:pt x="316" y="702"/>
                    </a:lnTo>
                    <a:lnTo>
                      <a:pt x="316" y="700"/>
                    </a:lnTo>
                    <a:lnTo>
                      <a:pt x="320" y="684"/>
                    </a:lnTo>
                    <a:lnTo>
                      <a:pt x="320" y="684"/>
                    </a:lnTo>
                    <a:lnTo>
                      <a:pt x="320" y="680"/>
                    </a:lnTo>
                    <a:lnTo>
                      <a:pt x="310" y="642"/>
                    </a:lnTo>
                    <a:lnTo>
                      <a:pt x="310" y="642"/>
                    </a:lnTo>
                    <a:lnTo>
                      <a:pt x="310" y="638"/>
                    </a:lnTo>
                    <a:lnTo>
                      <a:pt x="306" y="536"/>
                    </a:lnTo>
                    <a:lnTo>
                      <a:pt x="306" y="536"/>
                    </a:lnTo>
                    <a:lnTo>
                      <a:pt x="306" y="532"/>
                    </a:lnTo>
                    <a:lnTo>
                      <a:pt x="300" y="468"/>
                    </a:lnTo>
                    <a:lnTo>
                      <a:pt x="300" y="468"/>
                    </a:lnTo>
                    <a:lnTo>
                      <a:pt x="300" y="464"/>
                    </a:lnTo>
                    <a:lnTo>
                      <a:pt x="300" y="464"/>
                    </a:lnTo>
                    <a:lnTo>
                      <a:pt x="298" y="450"/>
                    </a:lnTo>
                    <a:lnTo>
                      <a:pt x="298" y="450"/>
                    </a:lnTo>
                    <a:lnTo>
                      <a:pt x="300" y="438"/>
                    </a:lnTo>
                    <a:lnTo>
                      <a:pt x="302" y="428"/>
                    </a:lnTo>
                    <a:lnTo>
                      <a:pt x="302" y="428"/>
                    </a:lnTo>
                    <a:lnTo>
                      <a:pt x="302" y="422"/>
                    </a:lnTo>
                    <a:lnTo>
                      <a:pt x="304" y="412"/>
                    </a:lnTo>
                    <a:lnTo>
                      <a:pt x="304" y="412"/>
                    </a:lnTo>
                    <a:lnTo>
                      <a:pt x="314" y="372"/>
                    </a:lnTo>
                    <a:lnTo>
                      <a:pt x="320" y="340"/>
                    </a:lnTo>
                    <a:lnTo>
                      <a:pt x="320" y="340"/>
                    </a:lnTo>
                    <a:lnTo>
                      <a:pt x="320" y="336"/>
                    </a:lnTo>
                    <a:lnTo>
                      <a:pt x="294" y="218"/>
                    </a:lnTo>
                    <a:lnTo>
                      <a:pt x="294" y="218"/>
                    </a:lnTo>
                    <a:lnTo>
                      <a:pt x="294" y="214"/>
                    </a:lnTo>
                    <a:lnTo>
                      <a:pt x="280" y="186"/>
                    </a:lnTo>
                    <a:lnTo>
                      <a:pt x="280" y="186"/>
                    </a:lnTo>
                    <a:lnTo>
                      <a:pt x="278" y="182"/>
                    </a:lnTo>
                    <a:lnTo>
                      <a:pt x="238" y="120"/>
                    </a:lnTo>
                    <a:lnTo>
                      <a:pt x="238" y="120"/>
                    </a:lnTo>
                    <a:lnTo>
                      <a:pt x="236" y="116"/>
                    </a:lnTo>
                    <a:lnTo>
                      <a:pt x="212" y="84"/>
                    </a:lnTo>
                    <a:lnTo>
                      <a:pt x="212" y="84"/>
                    </a:lnTo>
                    <a:lnTo>
                      <a:pt x="208" y="80"/>
                    </a:lnTo>
                    <a:lnTo>
                      <a:pt x="194" y="70"/>
                    </a:lnTo>
                    <a:lnTo>
                      <a:pt x="194" y="70"/>
                    </a:lnTo>
                    <a:lnTo>
                      <a:pt x="190" y="68"/>
                    </a:lnTo>
                    <a:lnTo>
                      <a:pt x="14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59" name="Freeform 514">
                <a:extLst>
                  <a:ext uri="{FF2B5EF4-FFF2-40B4-BE49-F238E27FC236}">
                    <a16:creationId xmlns:a16="http://schemas.microsoft.com/office/drawing/2014/main" id="{CA36DC1F-86BA-4DB2-888B-8633CFB2CDA2}"/>
                  </a:ext>
                </a:extLst>
              </p:cNvPr>
              <p:cNvSpPr>
                <a:spLocks/>
              </p:cNvSpPr>
              <p:nvPr/>
            </p:nvSpPr>
            <p:spPr bwMode="auto">
              <a:xfrm>
                <a:off x="5045585" y="4905374"/>
                <a:ext cx="514352" cy="368300"/>
              </a:xfrm>
              <a:custGeom>
                <a:avLst/>
                <a:gdLst>
                  <a:gd name="T0" fmla="*/ 0 w 324"/>
                  <a:gd name="T1" fmla="*/ 4 h 232"/>
                  <a:gd name="T2" fmla="*/ 0 w 324"/>
                  <a:gd name="T3" fmla="*/ 8 h 232"/>
                  <a:gd name="T4" fmla="*/ 22 w 324"/>
                  <a:gd name="T5" fmla="*/ 84 h 232"/>
                  <a:gd name="T6" fmla="*/ 32 w 324"/>
                  <a:gd name="T7" fmla="*/ 140 h 232"/>
                  <a:gd name="T8" fmla="*/ 34 w 324"/>
                  <a:gd name="T9" fmla="*/ 142 h 232"/>
                  <a:gd name="T10" fmla="*/ 58 w 324"/>
                  <a:gd name="T11" fmla="*/ 152 h 232"/>
                  <a:gd name="T12" fmla="*/ 96 w 324"/>
                  <a:gd name="T13" fmla="*/ 166 h 232"/>
                  <a:gd name="T14" fmla="*/ 100 w 324"/>
                  <a:gd name="T15" fmla="*/ 168 h 232"/>
                  <a:gd name="T16" fmla="*/ 112 w 324"/>
                  <a:gd name="T17" fmla="*/ 174 h 232"/>
                  <a:gd name="T18" fmla="*/ 128 w 324"/>
                  <a:gd name="T19" fmla="*/ 180 h 232"/>
                  <a:gd name="T20" fmla="*/ 164 w 324"/>
                  <a:gd name="T21" fmla="*/ 192 h 232"/>
                  <a:gd name="T22" fmla="*/ 168 w 324"/>
                  <a:gd name="T23" fmla="*/ 192 h 232"/>
                  <a:gd name="T24" fmla="*/ 204 w 324"/>
                  <a:gd name="T25" fmla="*/ 204 h 232"/>
                  <a:gd name="T26" fmla="*/ 210 w 324"/>
                  <a:gd name="T27" fmla="*/ 206 h 232"/>
                  <a:gd name="T28" fmla="*/ 240 w 324"/>
                  <a:gd name="T29" fmla="*/ 214 h 232"/>
                  <a:gd name="T30" fmla="*/ 256 w 324"/>
                  <a:gd name="T31" fmla="*/ 224 h 232"/>
                  <a:gd name="T32" fmla="*/ 274 w 324"/>
                  <a:gd name="T33" fmla="*/ 230 h 232"/>
                  <a:gd name="T34" fmla="*/ 302 w 324"/>
                  <a:gd name="T35" fmla="*/ 232 h 232"/>
                  <a:gd name="T36" fmla="*/ 304 w 324"/>
                  <a:gd name="T37" fmla="*/ 228 h 232"/>
                  <a:gd name="T38" fmla="*/ 308 w 324"/>
                  <a:gd name="T39" fmla="*/ 204 h 232"/>
                  <a:gd name="T40" fmla="*/ 322 w 324"/>
                  <a:gd name="T41" fmla="*/ 160 h 232"/>
                  <a:gd name="T42" fmla="*/ 322 w 324"/>
                  <a:gd name="T43" fmla="*/ 156 h 232"/>
                  <a:gd name="T44" fmla="*/ 324 w 324"/>
                  <a:gd name="T45" fmla="*/ 146 h 232"/>
                  <a:gd name="T46" fmla="*/ 280 w 324"/>
                  <a:gd name="T47" fmla="*/ 122 h 232"/>
                  <a:gd name="T48" fmla="*/ 276 w 324"/>
                  <a:gd name="T49" fmla="*/ 120 h 232"/>
                  <a:gd name="T50" fmla="*/ 248 w 324"/>
                  <a:gd name="T51" fmla="*/ 110 h 232"/>
                  <a:gd name="T52" fmla="*/ 214 w 324"/>
                  <a:gd name="T53" fmla="*/ 100 h 232"/>
                  <a:gd name="T54" fmla="*/ 208 w 324"/>
                  <a:gd name="T55" fmla="*/ 98 h 232"/>
                  <a:gd name="T56" fmla="*/ 182 w 324"/>
                  <a:gd name="T57" fmla="*/ 96 h 232"/>
                  <a:gd name="T58" fmla="*/ 162 w 324"/>
                  <a:gd name="T59" fmla="*/ 86 h 232"/>
                  <a:gd name="T60" fmla="*/ 158 w 324"/>
                  <a:gd name="T61" fmla="*/ 84 h 232"/>
                  <a:gd name="T62" fmla="*/ 122 w 324"/>
                  <a:gd name="T63" fmla="*/ 70 h 232"/>
                  <a:gd name="T64" fmla="*/ 118 w 324"/>
                  <a:gd name="T65" fmla="*/ 62 h 232"/>
                  <a:gd name="T66" fmla="*/ 114 w 324"/>
                  <a:gd name="T67" fmla="*/ 60 h 232"/>
                  <a:gd name="T68" fmla="*/ 104 w 324"/>
                  <a:gd name="T69" fmla="*/ 54 h 232"/>
                  <a:gd name="T70" fmla="*/ 94 w 324"/>
                  <a:gd name="T71" fmla="*/ 52 h 232"/>
                  <a:gd name="T72" fmla="*/ 88 w 324"/>
                  <a:gd name="T73" fmla="*/ 52 h 232"/>
                  <a:gd name="T74" fmla="*/ 80 w 324"/>
                  <a:gd name="T75" fmla="*/ 48 h 232"/>
                  <a:gd name="T76" fmla="*/ 72 w 324"/>
                  <a:gd name="T77" fmla="*/ 40 h 232"/>
                  <a:gd name="T78" fmla="*/ 64 w 324"/>
                  <a:gd name="T79" fmla="*/ 28 h 232"/>
                  <a:gd name="T80" fmla="*/ 56 w 324"/>
                  <a:gd name="T81" fmla="*/ 18 h 232"/>
                  <a:gd name="T82" fmla="*/ 42 w 324"/>
                  <a:gd name="T83" fmla="*/ 2 h 232"/>
                  <a:gd name="T84" fmla="*/ 38 w 324"/>
                  <a:gd name="T85" fmla="*/ 0 h 232"/>
                  <a:gd name="T86" fmla="*/ 38 w 324"/>
                  <a:gd name="T87" fmla="*/ 0 h 232"/>
                  <a:gd name="T88" fmla="*/ 0 w 324"/>
                  <a:gd name="T89" fmla="*/ 4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24" h="232">
                    <a:moveTo>
                      <a:pt x="0" y="4"/>
                    </a:moveTo>
                    <a:lnTo>
                      <a:pt x="0" y="4"/>
                    </a:lnTo>
                    <a:lnTo>
                      <a:pt x="0" y="6"/>
                    </a:lnTo>
                    <a:lnTo>
                      <a:pt x="0" y="8"/>
                    </a:lnTo>
                    <a:lnTo>
                      <a:pt x="22" y="84"/>
                    </a:lnTo>
                    <a:lnTo>
                      <a:pt x="22" y="84"/>
                    </a:lnTo>
                    <a:lnTo>
                      <a:pt x="22" y="88"/>
                    </a:lnTo>
                    <a:lnTo>
                      <a:pt x="32" y="140"/>
                    </a:lnTo>
                    <a:lnTo>
                      <a:pt x="32" y="140"/>
                    </a:lnTo>
                    <a:lnTo>
                      <a:pt x="34" y="142"/>
                    </a:lnTo>
                    <a:lnTo>
                      <a:pt x="58" y="152"/>
                    </a:lnTo>
                    <a:lnTo>
                      <a:pt x="58" y="152"/>
                    </a:lnTo>
                    <a:lnTo>
                      <a:pt x="64" y="154"/>
                    </a:lnTo>
                    <a:lnTo>
                      <a:pt x="96" y="166"/>
                    </a:lnTo>
                    <a:lnTo>
                      <a:pt x="96" y="166"/>
                    </a:lnTo>
                    <a:lnTo>
                      <a:pt x="100" y="168"/>
                    </a:lnTo>
                    <a:lnTo>
                      <a:pt x="100" y="168"/>
                    </a:lnTo>
                    <a:lnTo>
                      <a:pt x="112" y="174"/>
                    </a:lnTo>
                    <a:lnTo>
                      <a:pt x="128" y="180"/>
                    </a:lnTo>
                    <a:lnTo>
                      <a:pt x="128" y="180"/>
                    </a:lnTo>
                    <a:lnTo>
                      <a:pt x="148" y="186"/>
                    </a:lnTo>
                    <a:lnTo>
                      <a:pt x="164" y="192"/>
                    </a:lnTo>
                    <a:lnTo>
                      <a:pt x="164" y="192"/>
                    </a:lnTo>
                    <a:lnTo>
                      <a:pt x="168" y="192"/>
                    </a:lnTo>
                    <a:lnTo>
                      <a:pt x="204" y="204"/>
                    </a:lnTo>
                    <a:lnTo>
                      <a:pt x="204" y="204"/>
                    </a:lnTo>
                    <a:lnTo>
                      <a:pt x="210" y="206"/>
                    </a:lnTo>
                    <a:lnTo>
                      <a:pt x="210" y="206"/>
                    </a:lnTo>
                    <a:lnTo>
                      <a:pt x="224" y="210"/>
                    </a:lnTo>
                    <a:lnTo>
                      <a:pt x="240" y="214"/>
                    </a:lnTo>
                    <a:lnTo>
                      <a:pt x="240" y="214"/>
                    </a:lnTo>
                    <a:lnTo>
                      <a:pt x="256" y="224"/>
                    </a:lnTo>
                    <a:lnTo>
                      <a:pt x="274" y="230"/>
                    </a:lnTo>
                    <a:lnTo>
                      <a:pt x="274" y="230"/>
                    </a:lnTo>
                    <a:lnTo>
                      <a:pt x="302" y="232"/>
                    </a:lnTo>
                    <a:lnTo>
                      <a:pt x="302" y="232"/>
                    </a:lnTo>
                    <a:lnTo>
                      <a:pt x="302" y="230"/>
                    </a:lnTo>
                    <a:lnTo>
                      <a:pt x="304" y="228"/>
                    </a:lnTo>
                    <a:lnTo>
                      <a:pt x="308" y="204"/>
                    </a:lnTo>
                    <a:lnTo>
                      <a:pt x="308" y="204"/>
                    </a:lnTo>
                    <a:lnTo>
                      <a:pt x="310" y="200"/>
                    </a:lnTo>
                    <a:lnTo>
                      <a:pt x="322" y="160"/>
                    </a:lnTo>
                    <a:lnTo>
                      <a:pt x="322" y="160"/>
                    </a:lnTo>
                    <a:lnTo>
                      <a:pt x="322" y="156"/>
                    </a:lnTo>
                    <a:lnTo>
                      <a:pt x="324" y="146"/>
                    </a:lnTo>
                    <a:lnTo>
                      <a:pt x="324" y="146"/>
                    </a:lnTo>
                    <a:lnTo>
                      <a:pt x="322" y="142"/>
                    </a:lnTo>
                    <a:lnTo>
                      <a:pt x="280" y="122"/>
                    </a:lnTo>
                    <a:lnTo>
                      <a:pt x="280" y="122"/>
                    </a:lnTo>
                    <a:lnTo>
                      <a:pt x="276" y="120"/>
                    </a:lnTo>
                    <a:lnTo>
                      <a:pt x="248" y="110"/>
                    </a:lnTo>
                    <a:lnTo>
                      <a:pt x="248" y="110"/>
                    </a:lnTo>
                    <a:lnTo>
                      <a:pt x="244" y="108"/>
                    </a:lnTo>
                    <a:lnTo>
                      <a:pt x="214" y="100"/>
                    </a:lnTo>
                    <a:lnTo>
                      <a:pt x="214" y="100"/>
                    </a:lnTo>
                    <a:lnTo>
                      <a:pt x="208" y="98"/>
                    </a:lnTo>
                    <a:lnTo>
                      <a:pt x="182" y="96"/>
                    </a:lnTo>
                    <a:lnTo>
                      <a:pt x="182" y="96"/>
                    </a:lnTo>
                    <a:lnTo>
                      <a:pt x="178" y="94"/>
                    </a:lnTo>
                    <a:lnTo>
                      <a:pt x="162" y="86"/>
                    </a:lnTo>
                    <a:lnTo>
                      <a:pt x="162" y="86"/>
                    </a:lnTo>
                    <a:lnTo>
                      <a:pt x="158" y="84"/>
                    </a:lnTo>
                    <a:lnTo>
                      <a:pt x="122" y="70"/>
                    </a:lnTo>
                    <a:lnTo>
                      <a:pt x="122" y="70"/>
                    </a:lnTo>
                    <a:lnTo>
                      <a:pt x="120" y="68"/>
                    </a:lnTo>
                    <a:lnTo>
                      <a:pt x="118" y="62"/>
                    </a:lnTo>
                    <a:lnTo>
                      <a:pt x="118" y="62"/>
                    </a:lnTo>
                    <a:lnTo>
                      <a:pt x="114" y="60"/>
                    </a:lnTo>
                    <a:lnTo>
                      <a:pt x="104" y="54"/>
                    </a:lnTo>
                    <a:lnTo>
                      <a:pt x="104" y="54"/>
                    </a:lnTo>
                    <a:lnTo>
                      <a:pt x="100" y="54"/>
                    </a:lnTo>
                    <a:lnTo>
                      <a:pt x="94" y="52"/>
                    </a:lnTo>
                    <a:lnTo>
                      <a:pt x="94" y="52"/>
                    </a:lnTo>
                    <a:lnTo>
                      <a:pt x="88" y="52"/>
                    </a:lnTo>
                    <a:lnTo>
                      <a:pt x="88" y="52"/>
                    </a:lnTo>
                    <a:lnTo>
                      <a:pt x="80" y="48"/>
                    </a:lnTo>
                    <a:lnTo>
                      <a:pt x="74" y="44"/>
                    </a:lnTo>
                    <a:lnTo>
                      <a:pt x="72" y="40"/>
                    </a:lnTo>
                    <a:lnTo>
                      <a:pt x="72" y="40"/>
                    </a:lnTo>
                    <a:lnTo>
                      <a:pt x="64" y="28"/>
                    </a:lnTo>
                    <a:lnTo>
                      <a:pt x="56" y="18"/>
                    </a:lnTo>
                    <a:lnTo>
                      <a:pt x="56" y="18"/>
                    </a:lnTo>
                    <a:lnTo>
                      <a:pt x="54" y="16"/>
                    </a:lnTo>
                    <a:lnTo>
                      <a:pt x="42" y="2"/>
                    </a:lnTo>
                    <a:lnTo>
                      <a:pt x="42" y="2"/>
                    </a:lnTo>
                    <a:lnTo>
                      <a:pt x="38" y="0"/>
                    </a:lnTo>
                    <a:lnTo>
                      <a:pt x="38" y="0"/>
                    </a:lnTo>
                    <a:lnTo>
                      <a:pt x="38" y="0"/>
                    </a:lnTo>
                    <a:lnTo>
                      <a:pt x="32" y="0"/>
                    </a:lnTo>
                    <a:lnTo>
                      <a:pt x="0" y="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60" name="Freeform 515">
                <a:extLst>
                  <a:ext uri="{FF2B5EF4-FFF2-40B4-BE49-F238E27FC236}">
                    <a16:creationId xmlns:a16="http://schemas.microsoft.com/office/drawing/2014/main" id="{21F1FDCF-15A3-4E84-BCE8-A7AA0C512739}"/>
                  </a:ext>
                </a:extLst>
              </p:cNvPr>
              <p:cNvSpPr>
                <a:spLocks/>
              </p:cNvSpPr>
              <p:nvPr/>
            </p:nvSpPr>
            <p:spPr bwMode="auto">
              <a:xfrm>
                <a:off x="5531357" y="5070473"/>
                <a:ext cx="193672" cy="206373"/>
              </a:xfrm>
              <a:custGeom>
                <a:avLst/>
                <a:gdLst>
                  <a:gd name="T0" fmla="*/ 86 w 122"/>
                  <a:gd name="T1" fmla="*/ 2 h 130"/>
                  <a:gd name="T2" fmla="*/ 82 w 122"/>
                  <a:gd name="T3" fmla="*/ 2 h 130"/>
                  <a:gd name="T4" fmla="*/ 64 w 122"/>
                  <a:gd name="T5" fmla="*/ 4 h 130"/>
                  <a:gd name="T6" fmla="*/ 58 w 122"/>
                  <a:gd name="T7" fmla="*/ 2 h 130"/>
                  <a:gd name="T8" fmla="*/ 50 w 122"/>
                  <a:gd name="T9" fmla="*/ 0 h 130"/>
                  <a:gd name="T10" fmla="*/ 42 w 122"/>
                  <a:gd name="T11" fmla="*/ 4 h 130"/>
                  <a:gd name="T12" fmla="*/ 34 w 122"/>
                  <a:gd name="T13" fmla="*/ 10 h 130"/>
                  <a:gd name="T14" fmla="*/ 16 w 122"/>
                  <a:gd name="T15" fmla="*/ 22 h 130"/>
                  <a:gd name="T16" fmla="*/ 6 w 122"/>
                  <a:gd name="T17" fmla="*/ 36 h 130"/>
                  <a:gd name="T18" fmla="*/ 4 w 122"/>
                  <a:gd name="T19" fmla="*/ 44 h 130"/>
                  <a:gd name="T20" fmla="*/ 6 w 122"/>
                  <a:gd name="T21" fmla="*/ 58 h 130"/>
                  <a:gd name="T22" fmla="*/ 2 w 122"/>
                  <a:gd name="T23" fmla="*/ 66 h 130"/>
                  <a:gd name="T24" fmla="*/ 0 w 122"/>
                  <a:gd name="T25" fmla="*/ 76 h 130"/>
                  <a:gd name="T26" fmla="*/ 0 w 122"/>
                  <a:gd name="T27" fmla="*/ 86 h 130"/>
                  <a:gd name="T28" fmla="*/ 6 w 122"/>
                  <a:gd name="T29" fmla="*/ 96 h 130"/>
                  <a:gd name="T30" fmla="*/ 12 w 122"/>
                  <a:gd name="T31" fmla="*/ 100 h 130"/>
                  <a:gd name="T32" fmla="*/ 16 w 122"/>
                  <a:gd name="T33" fmla="*/ 104 h 130"/>
                  <a:gd name="T34" fmla="*/ 16 w 122"/>
                  <a:gd name="T35" fmla="*/ 108 h 130"/>
                  <a:gd name="T36" fmla="*/ 20 w 122"/>
                  <a:gd name="T37" fmla="*/ 114 h 130"/>
                  <a:gd name="T38" fmla="*/ 24 w 122"/>
                  <a:gd name="T39" fmla="*/ 118 h 130"/>
                  <a:gd name="T40" fmla="*/ 34 w 122"/>
                  <a:gd name="T41" fmla="*/ 120 h 130"/>
                  <a:gd name="T42" fmla="*/ 36 w 122"/>
                  <a:gd name="T43" fmla="*/ 120 h 130"/>
                  <a:gd name="T44" fmla="*/ 44 w 122"/>
                  <a:gd name="T45" fmla="*/ 126 h 130"/>
                  <a:gd name="T46" fmla="*/ 60 w 122"/>
                  <a:gd name="T47" fmla="*/ 130 h 130"/>
                  <a:gd name="T48" fmla="*/ 64 w 122"/>
                  <a:gd name="T49" fmla="*/ 130 h 130"/>
                  <a:gd name="T50" fmla="*/ 74 w 122"/>
                  <a:gd name="T51" fmla="*/ 118 h 130"/>
                  <a:gd name="T52" fmla="*/ 82 w 122"/>
                  <a:gd name="T53" fmla="*/ 110 h 130"/>
                  <a:gd name="T54" fmla="*/ 92 w 122"/>
                  <a:gd name="T55" fmla="*/ 102 h 130"/>
                  <a:gd name="T56" fmla="*/ 114 w 122"/>
                  <a:gd name="T57" fmla="*/ 92 h 130"/>
                  <a:gd name="T58" fmla="*/ 120 w 122"/>
                  <a:gd name="T59" fmla="*/ 86 h 130"/>
                  <a:gd name="T60" fmla="*/ 122 w 122"/>
                  <a:gd name="T61" fmla="*/ 70 h 130"/>
                  <a:gd name="T62" fmla="*/ 118 w 122"/>
                  <a:gd name="T63" fmla="*/ 54 h 130"/>
                  <a:gd name="T64" fmla="*/ 110 w 122"/>
                  <a:gd name="T65" fmla="*/ 30 h 130"/>
                  <a:gd name="T66" fmla="*/ 104 w 122"/>
                  <a:gd name="T67" fmla="*/ 20 h 130"/>
                  <a:gd name="T68" fmla="*/ 98 w 122"/>
                  <a:gd name="T69" fmla="*/ 8 h 130"/>
                  <a:gd name="T70" fmla="*/ 94 w 122"/>
                  <a:gd name="T71" fmla="*/ 6 h 130"/>
                  <a:gd name="T72" fmla="*/ 86 w 122"/>
                  <a:gd name="T73" fmla="*/ 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2" h="130">
                    <a:moveTo>
                      <a:pt x="86" y="2"/>
                    </a:moveTo>
                    <a:lnTo>
                      <a:pt x="86" y="2"/>
                    </a:lnTo>
                    <a:lnTo>
                      <a:pt x="82" y="2"/>
                    </a:lnTo>
                    <a:lnTo>
                      <a:pt x="82" y="2"/>
                    </a:lnTo>
                    <a:lnTo>
                      <a:pt x="76" y="4"/>
                    </a:lnTo>
                    <a:lnTo>
                      <a:pt x="64" y="4"/>
                    </a:lnTo>
                    <a:lnTo>
                      <a:pt x="64" y="4"/>
                    </a:lnTo>
                    <a:lnTo>
                      <a:pt x="58" y="2"/>
                    </a:lnTo>
                    <a:lnTo>
                      <a:pt x="54" y="0"/>
                    </a:lnTo>
                    <a:lnTo>
                      <a:pt x="50" y="0"/>
                    </a:lnTo>
                    <a:lnTo>
                      <a:pt x="50" y="0"/>
                    </a:lnTo>
                    <a:lnTo>
                      <a:pt x="42" y="4"/>
                    </a:lnTo>
                    <a:lnTo>
                      <a:pt x="34" y="10"/>
                    </a:lnTo>
                    <a:lnTo>
                      <a:pt x="34" y="10"/>
                    </a:lnTo>
                    <a:lnTo>
                      <a:pt x="16" y="22"/>
                    </a:lnTo>
                    <a:lnTo>
                      <a:pt x="16" y="22"/>
                    </a:lnTo>
                    <a:lnTo>
                      <a:pt x="8" y="32"/>
                    </a:lnTo>
                    <a:lnTo>
                      <a:pt x="6" y="36"/>
                    </a:lnTo>
                    <a:lnTo>
                      <a:pt x="4" y="44"/>
                    </a:lnTo>
                    <a:lnTo>
                      <a:pt x="4" y="44"/>
                    </a:lnTo>
                    <a:lnTo>
                      <a:pt x="6" y="50"/>
                    </a:lnTo>
                    <a:lnTo>
                      <a:pt x="6" y="58"/>
                    </a:lnTo>
                    <a:lnTo>
                      <a:pt x="6" y="58"/>
                    </a:lnTo>
                    <a:lnTo>
                      <a:pt x="2" y="66"/>
                    </a:lnTo>
                    <a:lnTo>
                      <a:pt x="0" y="76"/>
                    </a:lnTo>
                    <a:lnTo>
                      <a:pt x="0" y="76"/>
                    </a:lnTo>
                    <a:lnTo>
                      <a:pt x="0" y="82"/>
                    </a:lnTo>
                    <a:lnTo>
                      <a:pt x="0" y="86"/>
                    </a:lnTo>
                    <a:lnTo>
                      <a:pt x="0" y="86"/>
                    </a:lnTo>
                    <a:lnTo>
                      <a:pt x="6" y="96"/>
                    </a:lnTo>
                    <a:lnTo>
                      <a:pt x="6" y="96"/>
                    </a:lnTo>
                    <a:lnTo>
                      <a:pt x="12" y="100"/>
                    </a:lnTo>
                    <a:lnTo>
                      <a:pt x="16" y="104"/>
                    </a:lnTo>
                    <a:lnTo>
                      <a:pt x="16" y="104"/>
                    </a:lnTo>
                    <a:lnTo>
                      <a:pt x="16" y="106"/>
                    </a:lnTo>
                    <a:lnTo>
                      <a:pt x="16" y="108"/>
                    </a:lnTo>
                    <a:lnTo>
                      <a:pt x="16" y="108"/>
                    </a:lnTo>
                    <a:lnTo>
                      <a:pt x="20" y="114"/>
                    </a:lnTo>
                    <a:lnTo>
                      <a:pt x="24" y="118"/>
                    </a:lnTo>
                    <a:lnTo>
                      <a:pt x="24" y="118"/>
                    </a:lnTo>
                    <a:lnTo>
                      <a:pt x="34" y="120"/>
                    </a:lnTo>
                    <a:lnTo>
                      <a:pt x="34" y="120"/>
                    </a:lnTo>
                    <a:lnTo>
                      <a:pt x="36" y="120"/>
                    </a:lnTo>
                    <a:lnTo>
                      <a:pt x="36" y="120"/>
                    </a:lnTo>
                    <a:lnTo>
                      <a:pt x="44" y="126"/>
                    </a:lnTo>
                    <a:lnTo>
                      <a:pt x="44" y="126"/>
                    </a:lnTo>
                    <a:lnTo>
                      <a:pt x="52" y="130"/>
                    </a:lnTo>
                    <a:lnTo>
                      <a:pt x="60" y="130"/>
                    </a:lnTo>
                    <a:lnTo>
                      <a:pt x="60" y="130"/>
                    </a:lnTo>
                    <a:lnTo>
                      <a:pt x="64" y="130"/>
                    </a:lnTo>
                    <a:lnTo>
                      <a:pt x="68" y="126"/>
                    </a:lnTo>
                    <a:lnTo>
                      <a:pt x="74" y="118"/>
                    </a:lnTo>
                    <a:lnTo>
                      <a:pt x="74" y="118"/>
                    </a:lnTo>
                    <a:lnTo>
                      <a:pt x="82" y="110"/>
                    </a:lnTo>
                    <a:lnTo>
                      <a:pt x="92" y="102"/>
                    </a:lnTo>
                    <a:lnTo>
                      <a:pt x="92" y="102"/>
                    </a:lnTo>
                    <a:lnTo>
                      <a:pt x="106" y="96"/>
                    </a:lnTo>
                    <a:lnTo>
                      <a:pt x="114" y="92"/>
                    </a:lnTo>
                    <a:lnTo>
                      <a:pt x="120" y="86"/>
                    </a:lnTo>
                    <a:lnTo>
                      <a:pt x="120" y="86"/>
                    </a:lnTo>
                    <a:lnTo>
                      <a:pt x="122" y="80"/>
                    </a:lnTo>
                    <a:lnTo>
                      <a:pt x="122" y="70"/>
                    </a:lnTo>
                    <a:lnTo>
                      <a:pt x="118" y="54"/>
                    </a:lnTo>
                    <a:lnTo>
                      <a:pt x="118" y="54"/>
                    </a:lnTo>
                    <a:lnTo>
                      <a:pt x="116" y="42"/>
                    </a:lnTo>
                    <a:lnTo>
                      <a:pt x="110" y="30"/>
                    </a:lnTo>
                    <a:lnTo>
                      <a:pt x="110" y="30"/>
                    </a:lnTo>
                    <a:lnTo>
                      <a:pt x="104" y="20"/>
                    </a:lnTo>
                    <a:lnTo>
                      <a:pt x="98" y="8"/>
                    </a:lnTo>
                    <a:lnTo>
                      <a:pt x="98" y="8"/>
                    </a:lnTo>
                    <a:lnTo>
                      <a:pt x="94" y="6"/>
                    </a:lnTo>
                    <a:lnTo>
                      <a:pt x="94" y="6"/>
                    </a:lnTo>
                    <a:lnTo>
                      <a:pt x="90" y="4"/>
                    </a:lnTo>
                    <a:lnTo>
                      <a:pt x="86" y="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61" name="Freeform 516">
                <a:extLst>
                  <a:ext uri="{FF2B5EF4-FFF2-40B4-BE49-F238E27FC236}">
                    <a16:creationId xmlns:a16="http://schemas.microsoft.com/office/drawing/2014/main" id="{7560E502-0E4F-457E-9757-C584E02DA463}"/>
                  </a:ext>
                </a:extLst>
              </p:cNvPr>
              <p:cNvSpPr>
                <a:spLocks/>
              </p:cNvSpPr>
              <p:nvPr/>
            </p:nvSpPr>
            <p:spPr bwMode="auto">
              <a:xfrm>
                <a:off x="4747135" y="4006848"/>
                <a:ext cx="361948" cy="501653"/>
              </a:xfrm>
              <a:custGeom>
                <a:avLst/>
                <a:gdLst>
                  <a:gd name="T0" fmla="*/ 14 w 228"/>
                  <a:gd name="T1" fmla="*/ 72 h 316"/>
                  <a:gd name="T2" fmla="*/ 10 w 228"/>
                  <a:gd name="T3" fmla="*/ 86 h 316"/>
                  <a:gd name="T4" fmla="*/ 8 w 228"/>
                  <a:gd name="T5" fmla="*/ 90 h 316"/>
                  <a:gd name="T6" fmla="*/ 6 w 228"/>
                  <a:gd name="T7" fmla="*/ 104 h 316"/>
                  <a:gd name="T8" fmla="*/ 2 w 228"/>
                  <a:gd name="T9" fmla="*/ 112 h 316"/>
                  <a:gd name="T10" fmla="*/ 0 w 228"/>
                  <a:gd name="T11" fmla="*/ 116 h 316"/>
                  <a:gd name="T12" fmla="*/ 0 w 228"/>
                  <a:gd name="T13" fmla="*/ 124 h 316"/>
                  <a:gd name="T14" fmla="*/ 8 w 228"/>
                  <a:gd name="T15" fmla="*/ 140 h 316"/>
                  <a:gd name="T16" fmla="*/ 8 w 228"/>
                  <a:gd name="T17" fmla="*/ 146 h 316"/>
                  <a:gd name="T18" fmla="*/ 8 w 228"/>
                  <a:gd name="T19" fmla="*/ 156 h 316"/>
                  <a:gd name="T20" fmla="*/ 14 w 228"/>
                  <a:gd name="T21" fmla="*/ 178 h 316"/>
                  <a:gd name="T22" fmla="*/ 26 w 228"/>
                  <a:gd name="T23" fmla="*/ 200 h 316"/>
                  <a:gd name="T24" fmla="*/ 38 w 228"/>
                  <a:gd name="T25" fmla="*/ 206 h 316"/>
                  <a:gd name="T26" fmla="*/ 54 w 228"/>
                  <a:gd name="T27" fmla="*/ 210 h 316"/>
                  <a:gd name="T28" fmla="*/ 60 w 228"/>
                  <a:gd name="T29" fmla="*/ 210 h 316"/>
                  <a:gd name="T30" fmla="*/ 60 w 228"/>
                  <a:gd name="T31" fmla="*/ 230 h 316"/>
                  <a:gd name="T32" fmla="*/ 64 w 228"/>
                  <a:gd name="T33" fmla="*/ 244 h 316"/>
                  <a:gd name="T34" fmla="*/ 96 w 228"/>
                  <a:gd name="T35" fmla="*/ 246 h 316"/>
                  <a:gd name="T36" fmla="*/ 100 w 228"/>
                  <a:gd name="T37" fmla="*/ 250 h 316"/>
                  <a:gd name="T38" fmla="*/ 86 w 228"/>
                  <a:gd name="T39" fmla="*/ 306 h 316"/>
                  <a:gd name="T40" fmla="*/ 84 w 228"/>
                  <a:gd name="T41" fmla="*/ 316 h 316"/>
                  <a:gd name="T42" fmla="*/ 120 w 228"/>
                  <a:gd name="T43" fmla="*/ 306 h 316"/>
                  <a:gd name="T44" fmla="*/ 122 w 228"/>
                  <a:gd name="T45" fmla="*/ 306 h 316"/>
                  <a:gd name="T46" fmla="*/ 126 w 228"/>
                  <a:gd name="T47" fmla="*/ 306 h 316"/>
                  <a:gd name="T48" fmla="*/ 164 w 228"/>
                  <a:gd name="T49" fmla="*/ 228 h 316"/>
                  <a:gd name="T50" fmla="*/ 178 w 228"/>
                  <a:gd name="T51" fmla="*/ 220 h 316"/>
                  <a:gd name="T52" fmla="*/ 184 w 228"/>
                  <a:gd name="T53" fmla="*/ 218 h 316"/>
                  <a:gd name="T54" fmla="*/ 198 w 228"/>
                  <a:gd name="T55" fmla="*/ 216 h 316"/>
                  <a:gd name="T56" fmla="*/ 214 w 228"/>
                  <a:gd name="T57" fmla="*/ 212 h 316"/>
                  <a:gd name="T58" fmla="*/ 218 w 228"/>
                  <a:gd name="T59" fmla="*/ 208 h 316"/>
                  <a:gd name="T60" fmla="*/ 218 w 228"/>
                  <a:gd name="T61" fmla="*/ 200 h 316"/>
                  <a:gd name="T62" fmla="*/ 218 w 228"/>
                  <a:gd name="T63" fmla="*/ 186 h 316"/>
                  <a:gd name="T64" fmla="*/ 218 w 228"/>
                  <a:gd name="T65" fmla="*/ 182 h 316"/>
                  <a:gd name="T66" fmla="*/ 218 w 228"/>
                  <a:gd name="T67" fmla="*/ 170 h 316"/>
                  <a:gd name="T68" fmla="*/ 218 w 228"/>
                  <a:gd name="T69" fmla="*/ 158 h 316"/>
                  <a:gd name="T70" fmla="*/ 218 w 228"/>
                  <a:gd name="T71" fmla="*/ 152 h 316"/>
                  <a:gd name="T72" fmla="*/ 218 w 228"/>
                  <a:gd name="T73" fmla="*/ 146 h 316"/>
                  <a:gd name="T74" fmla="*/ 222 w 228"/>
                  <a:gd name="T75" fmla="*/ 142 h 316"/>
                  <a:gd name="T76" fmla="*/ 224 w 228"/>
                  <a:gd name="T77" fmla="*/ 140 h 316"/>
                  <a:gd name="T78" fmla="*/ 226 w 228"/>
                  <a:gd name="T79" fmla="*/ 136 h 316"/>
                  <a:gd name="T80" fmla="*/ 226 w 228"/>
                  <a:gd name="T81" fmla="*/ 132 h 316"/>
                  <a:gd name="T82" fmla="*/ 214 w 228"/>
                  <a:gd name="T83" fmla="*/ 120 h 316"/>
                  <a:gd name="T84" fmla="*/ 208 w 228"/>
                  <a:gd name="T85" fmla="*/ 114 h 316"/>
                  <a:gd name="T86" fmla="*/ 204 w 228"/>
                  <a:gd name="T87" fmla="*/ 110 h 316"/>
                  <a:gd name="T88" fmla="*/ 200 w 228"/>
                  <a:gd name="T89" fmla="*/ 102 h 316"/>
                  <a:gd name="T90" fmla="*/ 200 w 228"/>
                  <a:gd name="T91" fmla="*/ 98 h 316"/>
                  <a:gd name="T92" fmla="*/ 202 w 228"/>
                  <a:gd name="T93" fmla="*/ 84 h 316"/>
                  <a:gd name="T94" fmla="*/ 198 w 228"/>
                  <a:gd name="T95" fmla="*/ 70 h 316"/>
                  <a:gd name="T96" fmla="*/ 180 w 228"/>
                  <a:gd name="T97" fmla="*/ 44 h 316"/>
                  <a:gd name="T98" fmla="*/ 174 w 228"/>
                  <a:gd name="T99" fmla="*/ 36 h 316"/>
                  <a:gd name="T100" fmla="*/ 168 w 228"/>
                  <a:gd name="T101" fmla="*/ 26 h 316"/>
                  <a:gd name="T102" fmla="*/ 166 w 228"/>
                  <a:gd name="T103" fmla="*/ 22 h 316"/>
                  <a:gd name="T104" fmla="*/ 162 w 228"/>
                  <a:gd name="T105" fmla="*/ 12 h 316"/>
                  <a:gd name="T106" fmla="*/ 154 w 228"/>
                  <a:gd name="T107" fmla="*/ 6 h 316"/>
                  <a:gd name="T108" fmla="*/ 148 w 228"/>
                  <a:gd name="T109" fmla="*/ 2 h 316"/>
                  <a:gd name="T110" fmla="*/ 144 w 228"/>
                  <a:gd name="T111" fmla="*/ 0 h 316"/>
                  <a:gd name="T112" fmla="*/ 110 w 228"/>
                  <a:gd name="T113" fmla="*/ 0 h 316"/>
                  <a:gd name="T114" fmla="*/ 72 w 228"/>
                  <a:gd name="T115" fmla="*/ 4 h 316"/>
                  <a:gd name="T116" fmla="*/ 24 w 228"/>
                  <a:gd name="T117" fmla="*/ 38 h 316"/>
                  <a:gd name="T118" fmla="*/ 22 w 228"/>
                  <a:gd name="T119" fmla="*/ 42 h 316"/>
                  <a:gd name="T120" fmla="*/ 16 w 228"/>
                  <a:gd name="T121" fmla="*/ 54 h 316"/>
                  <a:gd name="T122" fmla="*/ 14 w 228"/>
                  <a:gd name="T123" fmla="*/ 72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316">
                    <a:moveTo>
                      <a:pt x="14" y="72"/>
                    </a:moveTo>
                    <a:lnTo>
                      <a:pt x="14" y="72"/>
                    </a:lnTo>
                    <a:lnTo>
                      <a:pt x="14" y="76"/>
                    </a:lnTo>
                    <a:lnTo>
                      <a:pt x="10" y="86"/>
                    </a:lnTo>
                    <a:lnTo>
                      <a:pt x="10" y="86"/>
                    </a:lnTo>
                    <a:lnTo>
                      <a:pt x="8" y="90"/>
                    </a:lnTo>
                    <a:lnTo>
                      <a:pt x="6" y="104"/>
                    </a:lnTo>
                    <a:lnTo>
                      <a:pt x="6" y="104"/>
                    </a:lnTo>
                    <a:lnTo>
                      <a:pt x="4" y="108"/>
                    </a:lnTo>
                    <a:lnTo>
                      <a:pt x="2" y="112"/>
                    </a:lnTo>
                    <a:lnTo>
                      <a:pt x="2" y="112"/>
                    </a:lnTo>
                    <a:lnTo>
                      <a:pt x="0" y="116"/>
                    </a:lnTo>
                    <a:lnTo>
                      <a:pt x="0" y="124"/>
                    </a:lnTo>
                    <a:lnTo>
                      <a:pt x="0" y="124"/>
                    </a:lnTo>
                    <a:lnTo>
                      <a:pt x="2" y="128"/>
                    </a:lnTo>
                    <a:lnTo>
                      <a:pt x="8" y="140"/>
                    </a:lnTo>
                    <a:lnTo>
                      <a:pt x="8" y="140"/>
                    </a:lnTo>
                    <a:lnTo>
                      <a:pt x="8" y="146"/>
                    </a:lnTo>
                    <a:lnTo>
                      <a:pt x="8" y="146"/>
                    </a:lnTo>
                    <a:lnTo>
                      <a:pt x="8" y="156"/>
                    </a:lnTo>
                    <a:lnTo>
                      <a:pt x="10" y="166"/>
                    </a:lnTo>
                    <a:lnTo>
                      <a:pt x="14" y="178"/>
                    </a:lnTo>
                    <a:lnTo>
                      <a:pt x="18" y="188"/>
                    </a:lnTo>
                    <a:lnTo>
                      <a:pt x="26" y="200"/>
                    </a:lnTo>
                    <a:lnTo>
                      <a:pt x="32" y="204"/>
                    </a:lnTo>
                    <a:lnTo>
                      <a:pt x="38" y="206"/>
                    </a:lnTo>
                    <a:lnTo>
                      <a:pt x="46" y="208"/>
                    </a:lnTo>
                    <a:lnTo>
                      <a:pt x="54" y="210"/>
                    </a:lnTo>
                    <a:lnTo>
                      <a:pt x="60" y="210"/>
                    </a:lnTo>
                    <a:lnTo>
                      <a:pt x="60" y="210"/>
                    </a:lnTo>
                    <a:lnTo>
                      <a:pt x="62" y="214"/>
                    </a:lnTo>
                    <a:lnTo>
                      <a:pt x="60" y="230"/>
                    </a:lnTo>
                    <a:lnTo>
                      <a:pt x="60" y="230"/>
                    </a:lnTo>
                    <a:lnTo>
                      <a:pt x="64" y="244"/>
                    </a:lnTo>
                    <a:lnTo>
                      <a:pt x="96" y="246"/>
                    </a:lnTo>
                    <a:lnTo>
                      <a:pt x="96" y="246"/>
                    </a:lnTo>
                    <a:lnTo>
                      <a:pt x="100" y="250"/>
                    </a:lnTo>
                    <a:lnTo>
                      <a:pt x="100" y="250"/>
                    </a:lnTo>
                    <a:lnTo>
                      <a:pt x="92" y="282"/>
                    </a:lnTo>
                    <a:lnTo>
                      <a:pt x="86" y="306"/>
                    </a:lnTo>
                    <a:lnTo>
                      <a:pt x="84" y="316"/>
                    </a:lnTo>
                    <a:lnTo>
                      <a:pt x="84" y="316"/>
                    </a:lnTo>
                    <a:lnTo>
                      <a:pt x="102" y="312"/>
                    </a:lnTo>
                    <a:lnTo>
                      <a:pt x="120" y="306"/>
                    </a:lnTo>
                    <a:lnTo>
                      <a:pt x="120" y="306"/>
                    </a:lnTo>
                    <a:lnTo>
                      <a:pt x="122" y="306"/>
                    </a:lnTo>
                    <a:lnTo>
                      <a:pt x="126" y="306"/>
                    </a:lnTo>
                    <a:lnTo>
                      <a:pt x="126" y="306"/>
                    </a:lnTo>
                    <a:lnTo>
                      <a:pt x="150" y="254"/>
                    </a:lnTo>
                    <a:lnTo>
                      <a:pt x="164" y="228"/>
                    </a:lnTo>
                    <a:lnTo>
                      <a:pt x="164" y="228"/>
                    </a:lnTo>
                    <a:lnTo>
                      <a:pt x="178" y="220"/>
                    </a:lnTo>
                    <a:lnTo>
                      <a:pt x="178" y="220"/>
                    </a:lnTo>
                    <a:lnTo>
                      <a:pt x="184" y="218"/>
                    </a:lnTo>
                    <a:lnTo>
                      <a:pt x="198" y="216"/>
                    </a:lnTo>
                    <a:lnTo>
                      <a:pt x="198" y="216"/>
                    </a:lnTo>
                    <a:lnTo>
                      <a:pt x="208" y="214"/>
                    </a:lnTo>
                    <a:lnTo>
                      <a:pt x="214" y="212"/>
                    </a:lnTo>
                    <a:lnTo>
                      <a:pt x="218" y="210"/>
                    </a:lnTo>
                    <a:lnTo>
                      <a:pt x="218" y="208"/>
                    </a:lnTo>
                    <a:lnTo>
                      <a:pt x="218" y="200"/>
                    </a:lnTo>
                    <a:lnTo>
                      <a:pt x="218" y="200"/>
                    </a:lnTo>
                    <a:lnTo>
                      <a:pt x="218" y="194"/>
                    </a:lnTo>
                    <a:lnTo>
                      <a:pt x="218" y="186"/>
                    </a:lnTo>
                    <a:lnTo>
                      <a:pt x="218" y="186"/>
                    </a:lnTo>
                    <a:lnTo>
                      <a:pt x="218" y="182"/>
                    </a:lnTo>
                    <a:lnTo>
                      <a:pt x="218" y="170"/>
                    </a:lnTo>
                    <a:lnTo>
                      <a:pt x="218" y="170"/>
                    </a:lnTo>
                    <a:lnTo>
                      <a:pt x="218" y="164"/>
                    </a:lnTo>
                    <a:lnTo>
                      <a:pt x="218" y="158"/>
                    </a:lnTo>
                    <a:lnTo>
                      <a:pt x="218" y="158"/>
                    </a:lnTo>
                    <a:lnTo>
                      <a:pt x="218" y="152"/>
                    </a:lnTo>
                    <a:lnTo>
                      <a:pt x="218" y="146"/>
                    </a:lnTo>
                    <a:lnTo>
                      <a:pt x="218" y="146"/>
                    </a:lnTo>
                    <a:lnTo>
                      <a:pt x="220" y="144"/>
                    </a:lnTo>
                    <a:lnTo>
                      <a:pt x="222" y="142"/>
                    </a:lnTo>
                    <a:lnTo>
                      <a:pt x="222" y="142"/>
                    </a:lnTo>
                    <a:lnTo>
                      <a:pt x="224" y="140"/>
                    </a:lnTo>
                    <a:lnTo>
                      <a:pt x="226" y="136"/>
                    </a:lnTo>
                    <a:lnTo>
                      <a:pt x="226" y="136"/>
                    </a:lnTo>
                    <a:lnTo>
                      <a:pt x="228" y="134"/>
                    </a:lnTo>
                    <a:lnTo>
                      <a:pt x="226" y="132"/>
                    </a:lnTo>
                    <a:lnTo>
                      <a:pt x="214" y="120"/>
                    </a:lnTo>
                    <a:lnTo>
                      <a:pt x="214" y="120"/>
                    </a:lnTo>
                    <a:lnTo>
                      <a:pt x="210" y="116"/>
                    </a:lnTo>
                    <a:lnTo>
                      <a:pt x="208" y="114"/>
                    </a:lnTo>
                    <a:lnTo>
                      <a:pt x="208" y="114"/>
                    </a:lnTo>
                    <a:lnTo>
                      <a:pt x="204" y="110"/>
                    </a:lnTo>
                    <a:lnTo>
                      <a:pt x="200" y="102"/>
                    </a:lnTo>
                    <a:lnTo>
                      <a:pt x="200" y="102"/>
                    </a:lnTo>
                    <a:lnTo>
                      <a:pt x="200" y="98"/>
                    </a:lnTo>
                    <a:lnTo>
                      <a:pt x="200" y="98"/>
                    </a:lnTo>
                    <a:lnTo>
                      <a:pt x="202" y="84"/>
                    </a:lnTo>
                    <a:lnTo>
                      <a:pt x="202" y="84"/>
                    </a:lnTo>
                    <a:lnTo>
                      <a:pt x="198" y="70"/>
                    </a:lnTo>
                    <a:lnTo>
                      <a:pt x="198" y="70"/>
                    </a:lnTo>
                    <a:lnTo>
                      <a:pt x="180" y="44"/>
                    </a:lnTo>
                    <a:lnTo>
                      <a:pt x="180" y="44"/>
                    </a:lnTo>
                    <a:lnTo>
                      <a:pt x="174" y="36"/>
                    </a:lnTo>
                    <a:lnTo>
                      <a:pt x="174" y="36"/>
                    </a:lnTo>
                    <a:lnTo>
                      <a:pt x="170" y="32"/>
                    </a:lnTo>
                    <a:lnTo>
                      <a:pt x="168" y="26"/>
                    </a:lnTo>
                    <a:lnTo>
                      <a:pt x="168" y="26"/>
                    </a:lnTo>
                    <a:lnTo>
                      <a:pt x="166" y="22"/>
                    </a:lnTo>
                    <a:lnTo>
                      <a:pt x="166" y="22"/>
                    </a:lnTo>
                    <a:lnTo>
                      <a:pt x="162" y="12"/>
                    </a:lnTo>
                    <a:lnTo>
                      <a:pt x="162" y="12"/>
                    </a:lnTo>
                    <a:lnTo>
                      <a:pt x="154" y="6"/>
                    </a:lnTo>
                    <a:lnTo>
                      <a:pt x="148" y="2"/>
                    </a:lnTo>
                    <a:lnTo>
                      <a:pt x="148" y="2"/>
                    </a:lnTo>
                    <a:lnTo>
                      <a:pt x="144" y="0"/>
                    </a:lnTo>
                    <a:lnTo>
                      <a:pt x="144" y="0"/>
                    </a:lnTo>
                    <a:lnTo>
                      <a:pt x="110" y="0"/>
                    </a:lnTo>
                    <a:lnTo>
                      <a:pt x="110" y="0"/>
                    </a:lnTo>
                    <a:lnTo>
                      <a:pt x="72" y="4"/>
                    </a:lnTo>
                    <a:lnTo>
                      <a:pt x="72" y="4"/>
                    </a:lnTo>
                    <a:lnTo>
                      <a:pt x="68" y="4"/>
                    </a:lnTo>
                    <a:lnTo>
                      <a:pt x="24" y="38"/>
                    </a:lnTo>
                    <a:lnTo>
                      <a:pt x="24" y="38"/>
                    </a:lnTo>
                    <a:lnTo>
                      <a:pt x="22" y="42"/>
                    </a:lnTo>
                    <a:lnTo>
                      <a:pt x="16" y="54"/>
                    </a:lnTo>
                    <a:lnTo>
                      <a:pt x="16" y="54"/>
                    </a:lnTo>
                    <a:lnTo>
                      <a:pt x="14" y="58"/>
                    </a:lnTo>
                    <a:lnTo>
                      <a:pt x="14" y="7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62" name="Freeform 517">
                <a:extLst>
                  <a:ext uri="{FF2B5EF4-FFF2-40B4-BE49-F238E27FC236}">
                    <a16:creationId xmlns:a16="http://schemas.microsoft.com/office/drawing/2014/main" id="{01BFF6A2-F2F6-4382-97ED-39BDCA1AC6D5}"/>
                  </a:ext>
                </a:extLst>
              </p:cNvPr>
              <p:cNvSpPr>
                <a:spLocks/>
              </p:cNvSpPr>
              <p:nvPr/>
            </p:nvSpPr>
            <p:spPr bwMode="auto">
              <a:xfrm>
                <a:off x="4623311" y="4184648"/>
                <a:ext cx="158748" cy="374650"/>
              </a:xfrm>
              <a:custGeom>
                <a:avLst/>
                <a:gdLst>
                  <a:gd name="T0" fmla="*/ 86 w 100"/>
                  <a:gd name="T1" fmla="*/ 2 h 236"/>
                  <a:gd name="T2" fmla="*/ 54 w 100"/>
                  <a:gd name="T3" fmla="*/ 0 h 236"/>
                  <a:gd name="T4" fmla="*/ 50 w 100"/>
                  <a:gd name="T5" fmla="*/ 2 h 236"/>
                  <a:gd name="T6" fmla="*/ 36 w 100"/>
                  <a:gd name="T7" fmla="*/ 8 h 236"/>
                  <a:gd name="T8" fmla="*/ 30 w 100"/>
                  <a:gd name="T9" fmla="*/ 12 h 236"/>
                  <a:gd name="T10" fmla="*/ 24 w 100"/>
                  <a:gd name="T11" fmla="*/ 18 h 236"/>
                  <a:gd name="T12" fmla="*/ 12 w 100"/>
                  <a:gd name="T13" fmla="*/ 34 h 236"/>
                  <a:gd name="T14" fmla="*/ 12 w 100"/>
                  <a:gd name="T15" fmla="*/ 40 h 236"/>
                  <a:gd name="T16" fmla="*/ 6 w 100"/>
                  <a:gd name="T17" fmla="*/ 72 h 236"/>
                  <a:gd name="T18" fmla="*/ 8 w 100"/>
                  <a:gd name="T19" fmla="*/ 94 h 236"/>
                  <a:gd name="T20" fmla="*/ 10 w 100"/>
                  <a:gd name="T21" fmla="*/ 108 h 236"/>
                  <a:gd name="T22" fmla="*/ 14 w 100"/>
                  <a:gd name="T23" fmla="*/ 124 h 236"/>
                  <a:gd name="T24" fmla="*/ 16 w 100"/>
                  <a:gd name="T25" fmla="*/ 130 h 236"/>
                  <a:gd name="T26" fmla="*/ 20 w 100"/>
                  <a:gd name="T27" fmla="*/ 138 h 236"/>
                  <a:gd name="T28" fmla="*/ 32 w 100"/>
                  <a:gd name="T29" fmla="*/ 172 h 236"/>
                  <a:gd name="T30" fmla="*/ 32 w 100"/>
                  <a:gd name="T31" fmla="*/ 192 h 236"/>
                  <a:gd name="T32" fmla="*/ 32 w 100"/>
                  <a:gd name="T33" fmla="*/ 204 h 236"/>
                  <a:gd name="T34" fmla="*/ 26 w 100"/>
                  <a:gd name="T35" fmla="*/ 212 h 236"/>
                  <a:gd name="T36" fmla="*/ 20 w 100"/>
                  <a:gd name="T37" fmla="*/ 222 h 236"/>
                  <a:gd name="T38" fmla="*/ 16 w 100"/>
                  <a:gd name="T39" fmla="*/ 224 h 236"/>
                  <a:gd name="T40" fmla="*/ 14 w 100"/>
                  <a:gd name="T41" fmla="*/ 226 h 236"/>
                  <a:gd name="T42" fmla="*/ 10 w 100"/>
                  <a:gd name="T43" fmla="*/ 230 h 236"/>
                  <a:gd name="T44" fmla="*/ 0 w 100"/>
                  <a:gd name="T45" fmla="*/ 232 h 236"/>
                  <a:gd name="T46" fmla="*/ 0 w 100"/>
                  <a:gd name="T47" fmla="*/ 232 h 236"/>
                  <a:gd name="T48" fmla="*/ 2 w 100"/>
                  <a:gd name="T49" fmla="*/ 232 h 236"/>
                  <a:gd name="T50" fmla="*/ 18 w 100"/>
                  <a:gd name="T51" fmla="*/ 236 h 236"/>
                  <a:gd name="T52" fmla="*/ 30 w 100"/>
                  <a:gd name="T53" fmla="*/ 234 h 236"/>
                  <a:gd name="T54" fmla="*/ 38 w 100"/>
                  <a:gd name="T55" fmla="*/ 230 h 236"/>
                  <a:gd name="T56" fmla="*/ 40 w 100"/>
                  <a:gd name="T57" fmla="*/ 228 h 236"/>
                  <a:gd name="T58" fmla="*/ 50 w 100"/>
                  <a:gd name="T59" fmla="*/ 218 h 236"/>
                  <a:gd name="T60" fmla="*/ 66 w 100"/>
                  <a:gd name="T61" fmla="*/ 198 h 236"/>
                  <a:gd name="T62" fmla="*/ 70 w 100"/>
                  <a:gd name="T63" fmla="*/ 190 h 236"/>
                  <a:gd name="T64" fmla="*/ 72 w 100"/>
                  <a:gd name="T65" fmla="*/ 180 h 236"/>
                  <a:gd name="T66" fmla="*/ 74 w 100"/>
                  <a:gd name="T67" fmla="*/ 166 h 236"/>
                  <a:gd name="T68" fmla="*/ 74 w 100"/>
                  <a:gd name="T69" fmla="*/ 142 h 236"/>
                  <a:gd name="T70" fmla="*/ 72 w 100"/>
                  <a:gd name="T71" fmla="*/ 118 h 236"/>
                  <a:gd name="T72" fmla="*/ 70 w 100"/>
                  <a:gd name="T73" fmla="*/ 100 h 236"/>
                  <a:gd name="T74" fmla="*/ 66 w 100"/>
                  <a:gd name="T75" fmla="*/ 78 h 236"/>
                  <a:gd name="T76" fmla="*/ 62 w 100"/>
                  <a:gd name="T77" fmla="*/ 70 h 236"/>
                  <a:gd name="T78" fmla="*/ 56 w 100"/>
                  <a:gd name="T79" fmla="*/ 58 h 236"/>
                  <a:gd name="T80" fmla="*/ 56 w 100"/>
                  <a:gd name="T81" fmla="*/ 52 h 236"/>
                  <a:gd name="T82" fmla="*/ 54 w 100"/>
                  <a:gd name="T83" fmla="*/ 46 h 236"/>
                  <a:gd name="T84" fmla="*/ 58 w 100"/>
                  <a:gd name="T85" fmla="*/ 38 h 236"/>
                  <a:gd name="T86" fmla="*/ 64 w 100"/>
                  <a:gd name="T87" fmla="*/ 32 h 236"/>
                  <a:gd name="T88" fmla="*/ 68 w 100"/>
                  <a:gd name="T89" fmla="*/ 28 h 236"/>
                  <a:gd name="T90" fmla="*/ 80 w 100"/>
                  <a:gd name="T91" fmla="*/ 26 h 236"/>
                  <a:gd name="T92" fmla="*/ 88 w 100"/>
                  <a:gd name="T93" fmla="*/ 28 h 236"/>
                  <a:gd name="T94" fmla="*/ 98 w 100"/>
                  <a:gd name="T95" fmla="*/ 30 h 236"/>
                  <a:gd name="T96" fmla="*/ 100 w 100"/>
                  <a:gd name="T97" fmla="*/ 28 h 236"/>
                  <a:gd name="T98" fmla="*/ 94 w 100"/>
                  <a:gd name="T99" fmla="*/ 14 h 236"/>
                  <a:gd name="T100" fmla="*/ 86 w 100"/>
                  <a:gd name="T101" fmla="*/ 2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0" h="236">
                    <a:moveTo>
                      <a:pt x="86" y="2"/>
                    </a:moveTo>
                    <a:lnTo>
                      <a:pt x="86" y="2"/>
                    </a:lnTo>
                    <a:lnTo>
                      <a:pt x="82" y="0"/>
                    </a:lnTo>
                    <a:lnTo>
                      <a:pt x="54" y="0"/>
                    </a:lnTo>
                    <a:lnTo>
                      <a:pt x="54" y="0"/>
                    </a:lnTo>
                    <a:lnTo>
                      <a:pt x="50" y="2"/>
                    </a:lnTo>
                    <a:lnTo>
                      <a:pt x="50" y="2"/>
                    </a:lnTo>
                    <a:lnTo>
                      <a:pt x="36" y="8"/>
                    </a:lnTo>
                    <a:lnTo>
                      <a:pt x="36" y="8"/>
                    </a:lnTo>
                    <a:lnTo>
                      <a:pt x="30" y="12"/>
                    </a:lnTo>
                    <a:lnTo>
                      <a:pt x="24" y="18"/>
                    </a:lnTo>
                    <a:lnTo>
                      <a:pt x="24" y="18"/>
                    </a:lnTo>
                    <a:lnTo>
                      <a:pt x="18" y="28"/>
                    </a:lnTo>
                    <a:lnTo>
                      <a:pt x="12" y="34"/>
                    </a:lnTo>
                    <a:lnTo>
                      <a:pt x="12" y="40"/>
                    </a:lnTo>
                    <a:lnTo>
                      <a:pt x="12" y="40"/>
                    </a:lnTo>
                    <a:lnTo>
                      <a:pt x="6" y="72"/>
                    </a:lnTo>
                    <a:lnTo>
                      <a:pt x="6" y="72"/>
                    </a:lnTo>
                    <a:lnTo>
                      <a:pt x="8" y="94"/>
                    </a:lnTo>
                    <a:lnTo>
                      <a:pt x="8" y="94"/>
                    </a:lnTo>
                    <a:lnTo>
                      <a:pt x="10" y="108"/>
                    </a:lnTo>
                    <a:lnTo>
                      <a:pt x="10" y="108"/>
                    </a:lnTo>
                    <a:lnTo>
                      <a:pt x="12" y="116"/>
                    </a:lnTo>
                    <a:lnTo>
                      <a:pt x="14" y="124"/>
                    </a:lnTo>
                    <a:lnTo>
                      <a:pt x="14" y="124"/>
                    </a:lnTo>
                    <a:lnTo>
                      <a:pt x="16" y="130"/>
                    </a:lnTo>
                    <a:lnTo>
                      <a:pt x="20" y="138"/>
                    </a:lnTo>
                    <a:lnTo>
                      <a:pt x="20" y="138"/>
                    </a:lnTo>
                    <a:lnTo>
                      <a:pt x="32" y="172"/>
                    </a:lnTo>
                    <a:lnTo>
                      <a:pt x="32" y="172"/>
                    </a:lnTo>
                    <a:lnTo>
                      <a:pt x="32" y="192"/>
                    </a:lnTo>
                    <a:lnTo>
                      <a:pt x="32" y="192"/>
                    </a:lnTo>
                    <a:lnTo>
                      <a:pt x="32" y="200"/>
                    </a:lnTo>
                    <a:lnTo>
                      <a:pt x="32" y="204"/>
                    </a:lnTo>
                    <a:lnTo>
                      <a:pt x="32" y="204"/>
                    </a:lnTo>
                    <a:lnTo>
                      <a:pt x="26" y="212"/>
                    </a:lnTo>
                    <a:lnTo>
                      <a:pt x="26" y="212"/>
                    </a:lnTo>
                    <a:lnTo>
                      <a:pt x="20" y="222"/>
                    </a:lnTo>
                    <a:lnTo>
                      <a:pt x="20" y="222"/>
                    </a:lnTo>
                    <a:lnTo>
                      <a:pt x="16" y="224"/>
                    </a:lnTo>
                    <a:lnTo>
                      <a:pt x="16" y="224"/>
                    </a:lnTo>
                    <a:lnTo>
                      <a:pt x="14" y="226"/>
                    </a:lnTo>
                    <a:lnTo>
                      <a:pt x="10" y="230"/>
                    </a:lnTo>
                    <a:lnTo>
                      <a:pt x="10" y="230"/>
                    </a:lnTo>
                    <a:lnTo>
                      <a:pt x="0" y="232"/>
                    </a:lnTo>
                    <a:lnTo>
                      <a:pt x="0" y="232"/>
                    </a:lnTo>
                    <a:lnTo>
                      <a:pt x="0" y="232"/>
                    </a:lnTo>
                    <a:lnTo>
                      <a:pt x="0" y="232"/>
                    </a:lnTo>
                    <a:lnTo>
                      <a:pt x="0" y="232"/>
                    </a:lnTo>
                    <a:lnTo>
                      <a:pt x="2" y="232"/>
                    </a:lnTo>
                    <a:lnTo>
                      <a:pt x="8" y="236"/>
                    </a:lnTo>
                    <a:lnTo>
                      <a:pt x="18" y="236"/>
                    </a:lnTo>
                    <a:lnTo>
                      <a:pt x="24" y="236"/>
                    </a:lnTo>
                    <a:lnTo>
                      <a:pt x="30" y="234"/>
                    </a:lnTo>
                    <a:lnTo>
                      <a:pt x="30" y="234"/>
                    </a:lnTo>
                    <a:lnTo>
                      <a:pt x="38" y="230"/>
                    </a:lnTo>
                    <a:lnTo>
                      <a:pt x="40" y="228"/>
                    </a:lnTo>
                    <a:lnTo>
                      <a:pt x="40" y="228"/>
                    </a:lnTo>
                    <a:lnTo>
                      <a:pt x="50" y="218"/>
                    </a:lnTo>
                    <a:lnTo>
                      <a:pt x="50" y="218"/>
                    </a:lnTo>
                    <a:lnTo>
                      <a:pt x="58" y="208"/>
                    </a:lnTo>
                    <a:lnTo>
                      <a:pt x="66" y="198"/>
                    </a:lnTo>
                    <a:lnTo>
                      <a:pt x="66" y="198"/>
                    </a:lnTo>
                    <a:lnTo>
                      <a:pt x="70" y="190"/>
                    </a:lnTo>
                    <a:lnTo>
                      <a:pt x="72" y="180"/>
                    </a:lnTo>
                    <a:lnTo>
                      <a:pt x="72" y="180"/>
                    </a:lnTo>
                    <a:lnTo>
                      <a:pt x="72" y="174"/>
                    </a:lnTo>
                    <a:lnTo>
                      <a:pt x="74" y="166"/>
                    </a:lnTo>
                    <a:lnTo>
                      <a:pt x="74" y="166"/>
                    </a:lnTo>
                    <a:lnTo>
                      <a:pt x="74" y="142"/>
                    </a:lnTo>
                    <a:lnTo>
                      <a:pt x="72" y="118"/>
                    </a:lnTo>
                    <a:lnTo>
                      <a:pt x="72" y="118"/>
                    </a:lnTo>
                    <a:lnTo>
                      <a:pt x="72" y="112"/>
                    </a:lnTo>
                    <a:lnTo>
                      <a:pt x="70" y="100"/>
                    </a:lnTo>
                    <a:lnTo>
                      <a:pt x="70" y="100"/>
                    </a:lnTo>
                    <a:lnTo>
                      <a:pt x="66" y="78"/>
                    </a:lnTo>
                    <a:lnTo>
                      <a:pt x="62" y="70"/>
                    </a:lnTo>
                    <a:lnTo>
                      <a:pt x="62" y="70"/>
                    </a:lnTo>
                    <a:lnTo>
                      <a:pt x="58" y="62"/>
                    </a:lnTo>
                    <a:lnTo>
                      <a:pt x="56" y="58"/>
                    </a:lnTo>
                    <a:lnTo>
                      <a:pt x="56" y="52"/>
                    </a:lnTo>
                    <a:lnTo>
                      <a:pt x="56" y="52"/>
                    </a:lnTo>
                    <a:lnTo>
                      <a:pt x="56" y="48"/>
                    </a:lnTo>
                    <a:lnTo>
                      <a:pt x="54" y="46"/>
                    </a:lnTo>
                    <a:lnTo>
                      <a:pt x="54" y="42"/>
                    </a:lnTo>
                    <a:lnTo>
                      <a:pt x="58" y="38"/>
                    </a:lnTo>
                    <a:lnTo>
                      <a:pt x="58" y="38"/>
                    </a:lnTo>
                    <a:lnTo>
                      <a:pt x="64" y="32"/>
                    </a:lnTo>
                    <a:lnTo>
                      <a:pt x="68" y="28"/>
                    </a:lnTo>
                    <a:lnTo>
                      <a:pt x="68" y="28"/>
                    </a:lnTo>
                    <a:lnTo>
                      <a:pt x="72" y="26"/>
                    </a:lnTo>
                    <a:lnTo>
                      <a:pt x="80" y="26"/>
                    </a:lnTo>
                    <a:lnTo>
                      <a:pt x="88" y="28"/>
                    </a:lnTo>
                    <a:lnTo>
                      <a:pt x="88" y="28"/>
                    </a:lnTo>
                    <a:lnTo>
                      <a:pt x="96" y="28"/>
                    </a:lnTo>
                    <a:lnTo>
                      <a:pt x="98" y="30"/>
                    </a:lnTo>
                    <a:lnTo>
                      <a:pt x="100" y="28"/>
                    </a:lnTo>
                    <a:lnTo>
                      <a:pt x="100" y="28"/>
                    </a:lnTo>
                    <a:lnTo>
                      <a:pt x="98" y="24"/>
                    </a:lnTo>
                    <a:lnTo>
                      <a:pt x="94" y="14"/>
                    </a:lnTo>
                    <a:lnTo>
                      <a:pt x="86" y="2"/>
                    </a:lnTo>
                    <a:lnTo>
                      <a:pt x="86" y="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63" name="Freeform 519">
                <a:extLst>
                  <a:ext uri="{FF2B5EF4-FFF2-40B4-BE49-F238E27FC236}">
                    <a16:creationId xmlns:a16="http://schemas.microsoft.com/office/drawing/2014/main" id="{0E08E32B-8336-477E-9B79-8A941451FDE5}"/>
                  </a:ext>
                </a:extLst>
              </p:cNvPr>
              <p:cNvSpPr>
                <a:spLocks/>
              </p:cNvSpPr>
              <p:nvPr/>
            </p:nvSpPr>
            <p:spPr bwMode="auto">
              <a:xfrm>
                <a:off x="6048887" y="4165603"/>
                <a:ext cx="333375" cy="523876"/>
              </a:xfrm>
              <a:custGeom>
                <a:avLst/>
                <a:gdLst>
                  <a:gd name="T0" fmla="*/ 196 w 210"/>
                  <a:gd name="T1" fmla="*/ 0 h 330"/>
                  <a:gd name="T2" fmla="*/ 122 w 210"/>
                  <a:gd name="T3" fmla="*/ 70 h 330"/>
                  <a:gd name="T4" fmla="*/ 112 w 210"/>
                  <a:gd name="T5" fmla="*/ 68 h 330"/>
                  <a:gd name="T6" fmla="*/ 98 w 210"/>
                  <a:gd name="T7" fmla="*/ 78 h 330"/>
                  <a:gd name="T8" fmla="*/ 96 w 210"/>
                  <a:gd name="T9" fmla="*/ 82 h 330"/>
                  <a:gd name="T10" fmla="*/ 92 w 210"/>
                  <a:gd name="T11" fmla="*/ 96 h 330"/>
                  <a:gd name="T12" fmla="*/ 86 w 210"/>
                  <a:gd name="T13" fmla="*/ 108 h 330"/>
                  <a:gd name="T14" fmla="*/ 86 w 210"/>
                  <a:gd name="T15" fmla="*/ 108 h 330"/>
                  <a:gd name="T16" fmla="*/ 82 w 210"/>
                  <a:gd name="T17" fmla="*/ 116 h 330"/>
                  <a:gd name="T18" fmla="*/ 74 w 210"/>
                  <a:gd name="T19" fmla="*/ 126 h 330"/>
                  <a:gd name="T20" fmla="*/ 74 w 210"/>
                  <a:gd name="T21" fmla="*/ 126 h 330"/>
                  <a:gd name="T22" fmla="*/ 72 w 210"/>
                  <a:gd name="T23" fmla="*/ 130 h 330"/>
                  <a:gd name="T24" fmla="*/ 70 w 210"/>
                  <a:gd name="T25" fmla="*/ 138 h 330"/>
                  <a:gd name="T26" fmla="*/ 66 w 210"/>
                  <a:gd name="T27" fmla="*/ 144 h 330"/>
                  <a:gd name="T28" fmla="*/ 64 w 210"/>
                  <a:gd name="T29" fmla="*/ 148 h 330"/>
                  <a:gd name="T30" fmla="*/ 64 w 210"/>
                  <a:gd name="T31" fmla="*/ 148 h 330"/>
                  <a:gd name="T32" fmla="*/ 60 w 210"/>
                  <a:gd name="T33" fmla="*/ 152 h 330"/>
                  <a:gd name="T34" fmla="*/ 58 w 210"/>
                  <a:gd name="T35" fmla="*/ 160 h 330"/>
                  <a:gd name="T36" fmla="*/ 54 w 210"/>
                  <a:gd name="T37" fmla="*/ 170 h 330"/>
                  <a:gd name="T38" fmla="*/ 40 w 210"/>
                  <a:gd name="T39" fmla="*/ 188 h 330"/>
                  <a:gd name="T40" fmla="*/ 40 w 210"/>
                  <a:gd name="T41" fmla="*/ 188 h 330"/>
                  <a:gd name="T42" fmla="*/ 36 w 210"/>
                  <a:gd name="T43" fmla="*/ 192 h 330"/>
                  <a:gd name="T44" fmla="*/ 30 w 210"/>
                  <a:gd name="T45" fmla="*/ 200 h 330"/>
                  <a:gd name="T46" fmla="*/ 30 w 210"/>
                  <a:gd name="T47" fmla="*/ 200 h 330"/>
                  <a:gd name="T48" fmla="*/ 32 w 210"/>
                  <a:gd name="T49" fmla="*/ 208 h 330"/>
                  <a:gd name="T50" fmla="*/ 36 w 210"/>
                  <a:gd name="T51" fmla="*/ 218 h 330"/>
                  <a:gd name="T52" fmla="*/ 40 w 210"/>
                  <a:gd name="T53" fmla="*/ 232 h 330"/>
                  <a:gd name="T54" fmla="*/ 24 w 210"/>
                  <a:gd name="T55" fmla="*/ 254 h 330"/>
                  <a:gd name="T56" fmla="*/ 24 w 210"/>
                  <a:gd name="T57" fmla="*/ 284 h 330"/>
                  <a:gd name="T58" fmla="*/ 0 w 210"/>
                  <a:gd name="T59" fmla="*/ 330 h 330"/>
                  <a:gd name="T60" fmla="*/ 62 w 210"/>
                  <a:gd name="T61" fmla="*/ 226 h 330"/>
                  <a:gd name="T62" fmla="*/ 62 w 210"/>
                  <a:gd name="T63" fmla="*/ 226 h 330"/>
                  <a:gd name="T64" fmla="*/ 84 w 210"/>
                  <a:gd name="T65" fmla="*/ 190 h 330"/>
                  <a:gd name="T66" fmla="*/ 106 w 210"/>
                  <a:gd name="T67" fmla="*/ 150 h 330"/>
                  <a:gd name="T68" fmla="*/ 106 w 210"/>
                  <a:gd name="T69" fmla="*/ 150 h 330"/>
                  <a:gd name="T70" fmla="*/ 120 w 210"/>
                  <a:gd name="T71" fmla="*/ 110 h 330"/>
                  <a:gd name="T72" fmla="*/ 130 w 210"/>
                  <a:gd name="T73" fmla="*/ 96 h 330"/>
                  <a:gd name="T74" fmla="*/ 140 w 210"/>
                  <a:gd name="T75" fmla="*/ 90 h 330"/>
                  <a:gd name="T76" fmla="*/ 158 w 210"/>
                  <a:gd name="T77" fmla="*/ 70 h 330"/>
                  <a:gd name="T78" fmla="*/ 210 w 210"/>
                  <a:gd name="T79" fmla="*/ 18 h 330"/>
                  <a:gd name="T80" fmla="*/ 196 w 210"/>
                  <a:gd name="T81"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10" h="330">
                    <a:moveTo>
                      <a:pt x="196" y="0"/>
                    </a:moveTo>
                    <a:lnTo>
                      <a:pt x="122" y="70"/>
                    </a:lnTo>
                    <a:lnTo>
                      <a:pt x="112" y="68"/>
                    </a:lnTo>
                    <a:lnTo>
                      <a:pt x="98" y="78"/>
                    </a:lnTo>
                    <a:lnTo>
                      <a:pt x="96" y="82"/>
                    </a:lnTo>
                    <a:lnTo>
                      <a:pt x="92" y="96"/>
                    </a:lnTo>
                    <a:lnTo>
                      <a:pt x="86" y="108"/>
                    </a:lnTo>
                    <a:lnTo>
                      <a:pt x="86" y="108"/>
                    </a:lnTo>
                    <a:lnTo>
                      <a:pt x="82" y="116"/>
                    </a:lnTo>
                    <a:lnTo>
                      <a:pt x="74" y="126"/>
                    </a:lnTo>
                    <a:lnTo>
                      <a:pt x="74" y="126"/>
                    </a:lnTo>
                    <a:lnTo>
                      <a:pt x="72" y="130"/>
                    </a:lnTo>
                    <a:lnTo>
                      <a:pt x="70" y="138"/>
                    </a:lnTo>
                    <a:lnTo>
                      <a:pt x="66" y="144"/>
                    </a:lnTo>
                    <a:lnTo>
                      <a:pt x="64" y="148"/>
                    </a:lnTo>
                    <a:lnTo>
                      <a:pt x="64" y="148"/>
                    </a:lnTo>
                    <a:lnTo>
                      <a:pt x="60" y="152"/>
                    </a:lnTo>
                    <a:lnTo>
                      <a:pt x="58" y="160"/>
                    </a:lnTo>
                    <a:lnTo>
                      <a:pt x="54" y="170"/>
                    </a:lnTo>
                    <a:lnTo>
                      <a:pt x="40" y="188"/>
                    </a:lnTo>
                    <a:lnTo>
                      <a:pt x="40" y="188"/>
                    </a:lnTo>
                    <a:lnTo>
                      <a:pt x="36" y="192"/>
                    </a:lnTo>
                    <a:lnTo>
                      <a:pt x="30" y="200"/>
                    </a:lnTo>
                    <a:lnTo>
                      <a:pt x="30" y="200"/>
                    </a:lnTo>
                    <a:lnTo>
                      <a:pt x="32" y="208"/>
                    </a:lnTo>
                    <a:lnTo>
                      <a:pt x="36" y="218"/>
                    </a:lnTo>
                    <a:lnTo>
                      <a:pt x="40" y="232"/>
                    </a:lnTo>
                    <a:lnTo>
                      <a:pt x="24" y="254"/>
                    </a:lnTo>
                    <a:lnTo>
                      <a:pt x="24" y="284"/>
                    </a:lnTo>
                    <a:lnTo>
                      <a:pt x="0" y="330"/>
                    </a:lnTo>
                    <a:lnTo>
                      <a:pt x="62" y="226"/>
                    </a:lnTo>
                    <a:lnTo>
                      <a:pt x="62" y="226"/>
                    </a:lnTo>
                    <a:lnTo>
                      <a:pt x="84" y="190"/>
                    </a:lnTo>
                    <a:lnTo>
                      <a:pt x="106" y="150"/>
                    </a:lnTo>
                    <a:lnTo>
                      <a:pt x="106" y="150"/>
                    </a:lnTo>
                    <a:lnTo>
                      <a:pt x="120" y="110"/>
                    </a:lnTo>
                    <a:lnTo>
                      <a:pt x="130" y="96"/>
                    </a:lnTo>
                    <a:lnTo>
                      <a:pt x="140" y="90"/>
                    </a:lnTo>
                    <a:lnTo>
                      <a:pt x="158" y="70"/>
                    </a:lnTo>
                    <a:lnTo>
                      <a:pt x="210" y="18"/>
                    </a:lnTo>
                    <a:lnTo>
                      <a:pt x="196"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64" name="Freeform 520">
                <a:extLst>
                  <a:ext uri="{FF2B5EF4-FFF2-40B4-BE49-F238E27FC236}">
                    <a16:creationId xmlns:a16="http://schemas.microsoft.com/office/drawing/2014/main" id="{BCE92AB6-E8CD-4511-9003-097ED2767C7A}"/>
                  </a:ext>
                </a:extLst>
              </p:cNvPr>
              <p:cNvSpPr>
                <a:spLocks/>
              </p:cNvSpPr>
              <p:nvPr/>
            </p:nvSpPr>
            <p:spPr bwMode="auto">
              <a:xfrm>
                <a:off x="6036193" y="4254503"/>
                <a:ext cx="193672" cy="495302"/>
              </a:xfrm>
              <a:custGeom>
                <a:avLst/>
                <a:gdLst>
                  <a:gd name="T0" fmla="*/ 104 w 122"/>
                  <a:gd name="T1" fmla="*/ 4 h 312"/>
                  <a:gd name="T2" fmla="*/ 104 w 122"/>
                  <a:gd name="T3" fmla="*/ 4 h 312"/>
                  <a:gd name="T4" fmla="*/ 98 w 122"/>
                  <a:gd name="T5" fmla="*/ 12 h 312"/>
                  <a:gd name="T6" fmla="*/ 92 w 122"/>
                  <a:gd name="T7" fmla="*/ 20 h 312"/>
                  <a:gd name="T8" fmla="*/ 88 w 122"/>
                  <a:gd name="T9" fmla="*/ 28 h 312"/>
                  <a:gd name="T10" fmla="*/ 86 w 122"/>
                  <a:gd name="T11" fmla="*/ 34 h 312"/>
                  <a:gd name="T12" fmla="*/ 86 w 122"/>
                  <a:gd name="T13" fmla="*/ 42 h 312"/>
                  <a:gd name="T14" fmla="*/ 86 w 122"/>
                  <a:gd name="T15" fmla="*/ 42 h 312"/>
                  <a:gd name="T16" fmla="*/ 86 w 122"/>
                  <a:gd name="T17" fmla="*/ 50 h 312"/>
                  <a:gd name="T18" fmla="*/ 84 w 122"/>
                  <a:gd name="T19" fmla="*/ 58 h 312"/>
                  <a:gd name="T20" fmla="*/ 74 w 122"/>
                  <a:gd name="T21" fmla="*/ 76 h 312"/>
                  <a:gd name="T22" fmla="*/ 64 w 122"/>
                  <a:gd name="T23" fmla="*/ 92 h 312"/>
                  <a:gd name="T24" fmla="*/ 54 w 122"/>
                  <a:gd name="T25" fmla="*/ 108 h 312"/>
                  <a:gd name="T26" fmla="*/ 54 w 122"/>
                  <a:gd name="T27" fmla="*/ 108 h 312"/>
                  <a:gd name="T28" fmla="*/ 34 w 122"/>
                  <a:gd name="T29" fmla="*/ 154 h 312"/>
                  <a:gd name="T30" fmla="*/ 24 w 122"/>
                  <a:gd name="T31" fmla="*/ 180 h 312"/>
                  <a:gd name="T32" fmla="*/ 16 w 122"/>
                  <a:gd name="T33" fmla="*/ 208 h 312"/>
                  <a:gd name="T34" fmla="*/ 10 w 122"/>
                  <a:gd name="T35" fmla="*/ 234 h 312"/>
                  <a:gd name="T36" fmla="*/ 4 w 122"/>
                  <a:gd name="T37" fmla="*/ 262 h 312"/>
                  <a:gd name="T38" fmla="*/ 0 w 122"/>
                  <a:gd name="T39" fmla="*/ 288 h 312"/>
                  <a:gd name="T40" fmla="*/ 0 w 122"/>
                  <a:gd name="T41" fmla="*/ 312 h 312"/>
                  <a:gd name="T42" fmla="*/ 0 w 122"/>
                  <a:gd name="T43" fmla="*/ 312 h 312"/>
                  <a:gd name="T44" fmla="*/ 26 w 122"/>
                  <a:gd name="T45" fmla="*/ 270 h 312"/>
                  <a:gd name="T46" fmla="*/ 54 w 122"/>
                  <a:gd name="T47" fmla="*/ 228 h 312"/>
                  <a:gd name="T48" fmla="*/ 54 w 122"/>
                  <a:gd name="T49" fmla="*/ 228 h 312"/>
                  <a:gd name="T50" fmla="*/ 60 w 122"/>
                  <a:gd name="T51" fmla="*/ 216 h 312"/>
                  <a:gd name="T52" fmla="*/ 66 w 122"/>
                  <a:gd name="T53" fmla="*/ 204 h 312"/>
                  <a:gd name="T54" fmla="*/ 76 w 122"/>
                  <a:gd name="T55" fmla="*/ 176 h 312"/>
                  <a:gd name="T56" fmla="*/ 84 w 122"/>
                  <a:gd name="T57" fmla="*/ 146 h 312"/>
                  <a:gd name="T58" fmla="*/ 88 w 122"/>
                  <a:gd name="T59" fmla="*/ 118 h 312"/>
                  <a:gd name="T60" fmla="*/ 88 w 122"/>
                  <a:gd name="T61" fmla="*/ 118 h 312"/>
                  <a:gd name="T62" fmla="*/ 90 w 122"/>
                  <a:gd name="T63" fmla="*/ 100 h 312"/>
                  <a:gd name="T64" fmla="*/ 92 w 122"/>
                  <a:gd name="T65" fmla="*/ 90 h 312"/>
                  <a:gd name="T66" fmla="*/ 94 w 122"/>
                  <a:gd name="T67" fmla="*/ 80 h 312"/>
                  <a:gd name="T68" fmla="*/ 94 w 122"/>
                  <a:gd name="T69" fmla="*/ 80 h 312"/>
                  <a:gd name="T70" fmla="*/ 96 w 122"/>
                  <a:gd name="T71" fmla="*/ 74 h 312"/>
                  <a:gd name="T72" fmla="*/ 98 w 122"/>
                  <a:gd name="T73" fmla="*/ 64 h 312"/>
                  <a:gd name="T74" fmla="*/ 100 w 122"/>
                  <a:gd name="T75" fmla="*/ 58 h 312"/>
                  <a:gd name="T76" fmla="*/ 104 w 122"/>
                  <a:gd name="T77" fmla="*/ 52 h 312"/>
                  <a:gd name="T78" fmla="*/ 104 w 122"/>
                  <a:gd name="T79" fmla="*/ 52 h 312"/>
                  <a:gd name="T80" fmla="*/ 112 w 122"/>
                  <a:gd name="T81" fmla="*/ 44 h 312"/>
                  <a:gd name="T82" fmla="*/ 118 w 122"/>
                  <a:gd name="T83" fmla="*/ 38 h 312"/>
                  <a:gd name="T84" fmla="*/ 122 w 122"/>
                  <a:gd name="T85" fmla="*/ 32 h 312"/>
                  <a:gd name="T86" fmla="*/ 122 w 122"/>
                  <a:gd name="T87" fmla="*/ 26 h 312"/>
                  <a:gd name="T88" fmla="*/ 122 w 122"/>
                  <a:gd name="T89" fmla="*/ 14 h 312"/>
                  <a:gd name="T90" fmla="*/ 122 w 122"/>
                  <a:gd name="T91" fmla="*/ 0 h 312"/>
                  <a:gd name="T92" fmla="*/ 104 w 122"/>
                  <a:gd name="T93" fmla="*/ 4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2" h="312">
                    <a:moveTo>
                      <a:pt x="104" y="4"/>
                    </a:moveTo>
                    <a:lnTo>
                      <a:pt x="104" y="4"/>
                    </a:lnTo>
                    <a:lnTo>
                      <a:pt x="98" y="12"/>
                    </a:lnTo>
                    <a:lnTo>
                      <a:pt x="92" y="20"/>
                    </a:lnTo>
                    <a:lnTo>
                      <a:pt x="88" y="28"/>
                    </a:lnTo>
                    <a:lnTo>
                      <a:pt x="86" y="34"/>
                    </a:lnTo>
                    <a:lnTo>
                      <a:pt x="86" y="42"/>
                    </a:lnTo>
                    <a:lnTo>
                      <a:pt x="86" y="42"/>
                    </a:lnTo>
                    <a:lnTo>
                      <a:pt x="86" y="50"/>
                    </a:lnTo>
                    <a:lnTo>
                      <a:pt x="84" y="58"/>
                    </a:lnTo>
                    <a:lnTo>
                      <a:pt x="74" y="76"/>
                    </a:lnTo>
                    <a:lnTo>
                      <a:pt x="64" y="92"/>
                    </a:lnTo>
                    <a:lnTo>
                      <a:pt x="54" y="108"/>
                    </a:lnTo>
                    <a:lnTo>
                      <a:pt x="54" y="108"/>
                    </a:lnTo>
                    <a:lnTo>
                      <a:pt x="34" y="154"/>
                    </a:lnTo>
                    <a:lnTo>
                      <a:pt x="24" y="180"/>
                    </a:lnTo>
                    <a:lnTo>
                      <a:pt x="16" y="208"/>
                    </a:lnTo>
                    <a:lnTo>
                      <a:pt x="10" y="234"/>
                    </a:lnTo>
                    <a:lnTo>
                      <a:pt x="4" y="262"/>
                    </a:lnTo>
                    <a:lnTo>
                      <a:pt x="0" y="288"/>
                    </a:lnTo>
                    <a:lnTo>
                      <a:pt x="0" y="312"/>
                    </a:lnTo>
                    <a:lnTo>
                      <a:pt x="0" y="312"/>
                    </a:lnTo>
                    <a:lnTo>
                      <a:pt x="26" y="270"/>
                    </a:lnTo>
                    <a:lnTo>
                      <a:pt x="54" y="228"/>
                    </a:lnTo>
                    <a:lnTo>
                      <a:pt x="54" y="228"/>
                    </a:lnTo>
                    <a:lnTo>
                      <a:pt x="60" y="216"/>
                    </a:lnTo>
                    <a:lnTo>
                      <a:pt x="66" y="204"/>
                    </a:lnTo>
                    <a:lnTo>
                      <a:pt x="76" y="176"/>
                    </a:lnTo>
                    <a:lnTo>
                      <a:pt x="84" y="146"/>
                    </a:lnTo>
                    <a:lnTo>
                      <a:pt x="88" y="118"/>
                    </a:lnTo>
                    <a:lnTo>
                      <a:pt x="88" y="118"/>
                    </a:lnTo>
                    <a:lnTo>
                      <a:pt x="90" y="100"/>
                    </a:lnTo>
                    <a:lnTo>
                      <a:pt x="92" y="90"/>
                    </a:lnTo>
                    <a:lnTo>
                      <a:pt x="94" y="80"/>
                    </a:lnTo>
                    <a:lnTo>
                      <a:pt x="94" y="80"/>
                    </a:lnTo>
                    <a:lnTo>
                      <a:pt x="96" y="74"/>
                    </a:lnTo>
                    <a:lnTo>
                      <a:pt x="98" y="64"/>
                    </a:lnTo>
                    <a:lnTo>
                      <a:pt x="100" y="58"/>
                    </a:lnTo>
                    <a:lnTo>
                      <a:pt x="104" y="52"/>
                    </a:lnTo>
                    <a:lnTo>
                      <a:pt x="104" y="52"/>
                    </a:lnTo>
                    <a:lnTo>
                      <a:pt x="112" y="44"/>
                    </a:lnTo>
                    <a:lnTo>
                      <a:pt x="118" y="38"/>
                    </a:lnTo>
                    <a:lnTo>
                      <a:pt x="122" y="32"/>
                    </a:lnTo>
                    <a:lnTo>
                      <a:pt x="122" y="26"/>
                    </a:lnTo>
                    <a:lnTo>
                      <a:pt x="122" y="14"/>
                    </a:lnTo>
                    <a:lnTo>
                      <a:pt x="122" y="0"/>
                    </a:lnTo>
                    <a:lnTo>
                      <a:pt x="104" y="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365" name="Group 1364">
            <a:extLst>
              <a:ext uri="{FF2B5EF4-FFF2-40B4-BE49-F238E27FC236}">
                <a16:creationId xmlns:a16="http://schemas.microsoft.com/office/drawing/2014/main" id="{457BA5AF-3E6B-4386-A897-4BF4259D3444}"/>
              </a:ext>
            </a:extLst>
          </p:cNvPr>
          <p:cNvGrpSpPr/>
          <p:nvPr/>
        </p:nvGrpSpPr>
        <p:grpSpPr>
          <a:xfrm>
            <a:off x="6118596" y="3168578"/>
            <a:ext cx="612775" cy="612775"/>
            <a:chOff x="4963967" y="3806921"/>
            <a:chExt cx="612775" cy="612775"/>
          </a:xfrm>
        </p:grpSpPr>
        <p:sp>
          <p:nvSpPr>
            <p:cNvPr id="1366" name="Oval 1365">
              <a:extLst>
                <a:ext uri="{FF2B5EF4-FFF2-40B4-BE49-F238E27FC236}">
                  <a16:creationId xmlns:a16="http://schemas.microsoft.com/office/drawing/2014/main" id="{3DE4BD28-93A1-4BFB-A848-2C8FCC73BF8A}"/>
                </a:ext>
              </a:extLst>
            </p:cNvPr>
            <p:cNvSpPr/>
            <p:nvPr/>
          </p:nvSpPr>
          <p:spPr bwMode="ltGray">
            <a:xfrm>
              <a:off x="4963967"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367" name="Group 1366">
              <a:extLst>
                <a:ext uri="{FF2B5EF4-FFF2-40B4-BE49-F238E27FC236}">
                  <a16:creationId xmlns:a16="http://schemas.microsoft.com/office/drawing/2014/main" id="{A924F6CE-FD47-4DEC-8A88-FAF4CF829F07}"/>
                </a:ext>
              </a:extLst>
            </p:cNvPr>
            <p:cNvGrpSpPr/>
            <p:nvPr/>
          </p:nvGrpSpPr>
          <p:grpSpPr>
            <a:xfrm>
              <a:off x="5064446" y="3887900"/>
              <a:ext cx="440744" cy="437126"/>
              <a:chOff x="4421188" y="2506663"/>
              <a:chExt cx="1354137" cy="1343025"/>
            </a:xfrm>
          </p:grpSpPr>
          <p:sp>
            <p:nvSpPr>
              <p:cNvPr id="1368" name="Freeform 1740">
                <a:extLst>
                  <a:ext uri="{FF2B5EF4-FFF2-40B4-BE49-F238E27FC236}">
                    <a16:creationId xmlns:a16="http://schemas.microsoft.com/office/drawing/2014/main" id="{7DE55C28-3597-408E-93EE-7BB7645720BF}"/>
                  </a:ext>
                </a:extLst>
              </p:cNvPr>
              <p:cNvSpPr>
                <a:spLocks/>
              </p:cNvSpPr>
              <p:nvPr/>
            </p:nvSpPr>
            <p:spPr bwMode="auto">
              <a:xfrm>
                <a:off x="4832350" y="2667000"/>
                <a:ext cx="276225" cy="223838"/>
              </a:xfrm>
              <a:custGeom>
                <a:avLst/>
                <a:gdLst>
                  <a:gd name="T0" fmla="*/ 348 w 348"/>
                  <a:gd name="T1" fmla="*/ 175 h 282"/>
                  <a:gd name="T2" fmla="*/ 347 w 348"/>
                  <a:gd name="T3" fmla="*/ 190 h 282"/>
                  <a:gd name="T4" fmla="*/ 346 w 348"/>
                  <a:gd name="T5" fmla="*/ 204 h 282"/>
                  <a:gd name="T6" fmla="*/ 342 w 348"/>
                  <a:gd name="T7" fmla="*/ 219 h 282"/>
                  <a:gd name="T8" fmla="*/ 338 w 348"/>
                  <a:gd name="T9" fmla="*/ 231 h 282"/>
                  <a:gd name="T10" fmla="*/ 333 w 348"/>
                  <a:gd name="T11" fmla="*/ 245 h 282"/>
                  <a:gd name="T12" fmla="*/ 326 w 348"/>
                  <a:gd name="T13" fmla="*/ 258 h 282"/>
                  <a:gd name="T14" fmla="*/ 318 w 348"/>
                  <a:gd name="T15" fmla="*/ 271 h 282"/>
                  <a:gd name="T16" fmla="*/ 310 w 348"/>
                  <a:gd name="T17" fmla="*/ 282 h 282"/>
                  <a:gd name="T18" fmla="*/ 293 w 348"/>
                  <a:gd name="T19" fmla="*/ 279 h 282"/>
                  <a:gd name="T20" fmla="*/ 276 w 348"/>
                  <a:gd name="T21" fmla="*/ 275 h 282"/>
                  <a:gd name="T22" fmla="*/ 257 w 348"/>
                  <a:gd name="T23" fmla="*/ 272 h 282"/>
                  <a:gd name="T24" fmla="*/ 240 w 348"/>
                  <a:gd name="T25" fmla="*/ 268 h 282"/>
                  <a:gd name="T26" fmla="*/ 221 w 348"/>
                  <a:gd name="T27" fmla="*/ 266 h 282"/>
                  <a:gd name="T28" fmla="*/ 203 w 348"/>
                  <a:gd name="T29" fmla="*/ 264 h 282"/>
                  <a:gd name="T30" fmla="*/ 186 w 348"/>
                  <a:gd name="T31" fmla="*/ 263 h 282"/>
                  <a:gd name="T32" fmla="*/ 168 w 348"/>
                  <a:gd name="T33" fmla="*/ 261 h 282"/>
                  <a:gd name="T34" fmla="*/ 152 w 348"/>
                  <a:gd name="T35" fmla="*/ 261 h 282"/>
                  <a:gd name="T36" fmla="*/ 135 w 348"/>
                  <a:gd name="T37" fmla="*/ 261 h 282"/>
                  <a:gd name="T38" fmla="*/ 118 w 348"/>
                  <a:gd name="T39" fmla="*/ 263 h 282"/>
                  <a:gd name="T40" fmla="*/ 99 w 348"/>
                  <a:gd name="T41" fmla="*/ 264 h 282"/>
                  <a:gd name="T42" fmla="*/ 82 w 348"/>
                  <a:gd name="T43" fmla="*/ 265 h 282"/>
                  <a:gd name="T44" fmla="*/ 65 w 348"/>
                  <a:gd name="T45" fmla="*/ 266 h 282"/>
                  <a:gd name="T46" fmla="*/ 47 w 348"/>
                  <a:gd name="T47" fmla="*/ 268 h 282"/>
                  <a:gd name="T48" fmla="*/ 30 w 348"/>
                  <a:gd name="T49" fmla="*/ 271 h 282"/>
                  <a:gd name="T50" fmla="*/ 22 w 348"/>
                  <a:gd name="T51" fmla="*/ 258 h 282"/>
                  <a:gd name="T52" fmla="*/ 15 w 348"/>
                  <a:gd name="T53" fmla="*/ 244 h 282"/>
                  <a:gd name="T54" fmla="*/ 9 w 348"/>
                  <a:gd name="T55" fmla="*/ 230 h 282"/>
                  <a:gd name="T56" fmla="*/ 5 w 348"/>
                  <a:gd name="T57" fmla="*/ 215 h 282"/>
                  <a:gd name="T58" fmla="*/ 6 w 348"/>
                  <a:gd name="T59" fmla="*/ 213 h 282"/>
                  <a:gd name="T60" fmla="*/ 6 w 348"/>
                  <a:gd name="T61" fmla="*/ 210 h 282"/>
                  <a:gd name="T62" fmla="*/ 6 w 348"/>
                  <a:gd name="T63" fmla="*/ 206 h 282"/>
                  <a:gd name="T64" fmla="*/ 6 w 348"/>
                  <a:gd name="T65" fmla="*/ 202 h 282"/>
                  <a:gd name="T66" fmla="*/ 6 w 348"/>
                  <a:gd name="T67" fmla="*/ 198 h 282"/>
                  <a:gd name="T68" fmla="*/ 5 w 348"/>
                  <a:gd name="T69" fmla="*/ 195 h 282"/>
                  <a:gd name="T70" fmla="*/ 2 w 348"/>
                  <a:gd name="T71" fmla="*/ 191 h 282"/>
                  <a:gd name="T72" fmla="*/ 0 w 348"/>
                  <a:gd name="T73" fmla="*/ 188 h 282"/>
                  <a:gd name="T74" fmla="*/ 0 w 348"/>
                  <a:gd name="T75" fmla="*/ 184 h 282"/>
                  <a:gd name="T76" fmla="*/ 0 w 348"/>
                  <a:gd name="T77" fmla="*/ 181 h 282"/>
                  <a:gd name="T78" fmla="*/ 0 w 348"/>
                  <a:gd name="T79" fmla="*/ 177 h 282"/>
                  <a:gd name="T80" fmla="*/ 0 w 348"/>
                  <a:gd name="T81" fmla="*/ 175 h 282"/>
                  <a:gd name="T82" fmla="*/ 4 w 348"/>
                  <a:gd name="T83" fmla="*/ 139 h 282"/>
                  <a:gd name="T84" fmla="*/ 14 w 348"/>
                  <a:gd name="T85" fmla="*/ 107 h 282"/>
                  <a:gd name="T86" fmla="*/ 30 w 348"/>
                  <a:gd name="T87" fmla="*/ 77 h 282"/>
                  <a:gd name="T88" fmla="*/ 51 w 348"/>
                  <a:gd name="T89" fmla="*/ 51 h 282"/>
                  <a:gd name="T90" fmla="*/ 77 w 348"/>
                  <a:gd name="T91" fmla="*/ 30 h 282"/>
                  <a:gd name="T92" fmla="*/ 106 w 348"/>
                  <a:gd name="T93" fmla="*/ 14 h 282"/>
                  <a:gd name="T94" fmla="*/ 140 w 348"/>
                  <a:gd name="T95" fmla="*/ 3 h 282"/>
                  <a:gd name="T96" fmla="*/ 174 w 348"/>
                  <a:gd name="T97" fmla="*/ 0 h 282"/>
                  <a:gd name="T98" fmla="*/ 210 w 348"/>
                  <a:gd name="T99" fmla="*/ 3 h 282"/>
                  <a:gd name="T100" fmla="*/ 242 w 348"/>
                  <a:gd name="T101" fmla="*/ 14 h 282"/>
                  <a:gd name="T102" fmla="*/ 272 w 348"/>
                  <a:gd name="T103" fmla="*/ 30 h 282"/>
                  <a:gd name="T104" fmla="*/ 297 w 348"/>
                  <a:gd name="T105" fmla="*/ 51 h 282"/>
                  <a:gd name="T106" fmla="*/ 318 w 348"/>
                  <a:gd name="T107" fmla="*/ 77 h 282"/>
                  <a:gd name="T108" fmla="*/ 334 w 348"/>
                  <a:gd name="T109" fmla="*/ 107 h 282"/>
                  <a:gd name="T110" fmla="*/ 345 w 348"/>
                  <a:gd name="T111" fmla="*/ 139 h 282"/>
                  <a:gd name="T112" fmla="*/ 348 w 348"/>
                  <a:gd name="T113" fmla="*/ 175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8" h="282">
                    <a:moveTo>
                      <a:pt x="348" y="175"/>
                    </a:moveTo>
                    <a:lnTo>
                      <a:pt x="347" y="190"/>
                    </a:lnTo>
                    <a:lnTo>
                      <a:pt x="346" y="204"/>
                    </a:lnTo>
                    <a:lnTo>
                      <a:pt x="342" y="219"/>
                    </a:lnTo>
                    <a:lnTo>
                      <a:pt x="338" y="231"/>
                    </a:lnTo>
                    <a:lnTo>
                      <a:pt x="333" y="245"/>
                    </a:lnTo>
                    <a:lnTo>
                      <a:pt x="326" y="258"/>
                    </a:lnTo>
                    <a:lnTo>
                      <a:pt x="318" y="271"/>
                    </a:lnTo>
                    <a:lnTo>
                      <a:pt x="310" y="282"/>
                    </a:lnTo>
                    <a:lnTo>
                      <a:pt x="293" y="279"/>
                    </a:lnTo>
                    <a:lnTo>
                      <a:pt x="276" y="275"/>
                    </a:lnTo>
                    <a:lnTo>
                      <a:pt x="257" y="272"/>
                    </a:lnTo>
                    <a:lnTo>
                      <a:pt x="240" y="268"/>
                    </a:lnTo>
                    <a:lnTo>
                      <a:pt x="221" y="266"/>
                    </a:lnTo>
                    <a:lnTo>
                      <a:pt x="203" y="264"/>
                    </a:lnTo>
                    <a:lnTo>
                      <a:pt x="186" y="263"/>
                    </a:lnTo>
                    <a:lnTo>
                      <a:pt x="168" y="261"/>
                    </a:lnTo>
                    <a:lnTo>
                      <a:pt x="152" y="261"/>
                    </a:lnTo>
                    <a:lnTo>
                      <a:pt x="135" y="261"/>
                    </a:lnTo>
                    <a:lnTo>
                      <a:pt x="118" y="263"/>
                    </a:lnTo>
                    <a:lnTo>
                      <a:pt x="99" y="264"/>
                    </a:lnTo>
                    <a:lnTo>
                      <a:pt x="82" y="265"/>
                    </a:lnTo>
                    <a:lnTo>
                      <a:pt x="65" y="266"/>
                    </a:lnTo>
                    <a:lnTo>
                      <a:pt x="47" y="268"/>
                    </a:lnTo>
                    <a:lnTo>
                      <a:pt x="30" y="271"/>
                    </a:lnTo>
                    <a:lnTo>
                      <a:pt x="22" y="258"/>
                    </a:lnTo>
                    <a:lnTo>
                      <a:pt x="15" y="244"/>
                    </a:lnTo>
                    <a:lnTo>
                      <a:pt x="9" y="230"/>
                    </a:lnTo>
                    <a:lnTo>
                      <a:pt x="5" y="215"/>
                    </a:lnTo>
                    <a:lnTo>
                      <a:pt x="6" y="213"/>
                    </a:lnTo>
                    <a:lnTo>
                      <a:pt x="6" y="210"/>
                    </a:lnTo>
                    <a:lnTo>
                      <a:pt x="6" y="206"/>
                    </a:lnTo>
                    <a:lnTo>
                      <a:pt x="6" y="202"/>
                    </a:lnTo>
                    <a:lnTo>
                      <a:pt x="6" y="198"/>
                    </a:lnTo>
                    <a:lnTo>
                      <a:pt x="5" y="195"/>
                    </a:lnTo>
                    <a:lnTo>
                      <a:pt x="2" y="191"/>
                    </a:lnTo>
                    <a:lnTo>
                      <a:pt x="0" y="188"/>
                    </a:lnTo>
                    <a:lnTo>
                      <a:pt x="0" y="184"/>
                    </a:lnTo>
                    <a:lnTo>
                      <a:pt x="0" y="181"/>
                    </a:lnTo>
                    <a:lnTo>
                      <a:pt x="0" y="177"/>
                    </a:lnTo>
                    <a:lnTo>
                      <a:pt x="0" y="175"/>
                    </a:lnTo>
                    <a:lnTo>
                      <a:pt x="4" y="139"/>
                    </a:lnTo>
                    <a:lnTo>
                      <a:pt x="14" y="107"/>
                    </a:lnTo>
                    <a:lnTo>
                      <a:pt x="30" y="77"/>
                    </a:lnTo>
                    <a:lnTo>
                      <a:pt x="51" y="51"/>
                    </a:lnTo>
                    <a:lnTo>
                      <a:pt x="77" y="30"/>
                    </a:lnTo>
                    <a:lnTo>
                      <a:pt x="106" y="14"/>
                    </a:lnTo>
                    <a:lnTo>
                      <a:pt x="140" y="3"/>
                    </a:lnTo>
                    <a:lnTo>
                      <a:pt x="174" y="0"/>
                    </a:lnTo>
                    <a:lnTo>
                      <a:pt x="210" y="3"/>
                    </a:lnTo>
                    <a:lnTo>
                      <a:pt x="242" y="14"/>
                    </a:lnTo>
                    <a:lnTo>
                      <a:pt x="272" y="30"/>
                    </a:lnTo>
                    <a:lnTo>
                      <a:pt x="297" y="51"/>
                    </a:lnTo>
                    <a:lnTo>
                      <a:pt x="318" y="77"/>
                    </a:lnTo>
                    <a:lnTo>
                      <a:pt x="334" y="107"/>
                    </a:lnTo>
                    <a:lnTo>
                      <a:pt x="345" y="139"/>
                    </a:lnTo>
                    <a:lnTo>
                      <a:pt x="348" y="1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69" name="Freeform 1741">
                <a:extLst>
                  <a:ext uri="{FF2B5EF4-FFF2-40B4-BE49-F238E27FC236}">
                    <a16:creationId xmlns:a16="http://schemas.microsoft.com/office/drawing/2014/main" id="{E4DACF13-2499-40EA-8B53-E0083D1AEF41}"/>
                  </a:ext>
                </a:extLst>
              </p:cNvPr>
              <p:cNvSpPr>
                <a:spLocks/>
              </p:cNvSpPr>
              <p:nvPr/>
            </p:nvSpPr>
            <p:spPr bwMode="auto">
              <a:xfrm>
                <a:off x="4684713" y="2506663"/>
                <a:ext cx="252412" cy="250825"/>
              </a:xfrm>
              <a:custGeom>
                <a:avLst/>
                <a:gdLst>
                  <a:gd name="T0" fmla="*/ 0 w 319"/>
                  <a:gd name="T1" fmla="*/ 159 h 316"/>
                  <a:gd name="T2" fmla="*/ 4 w 319"/>
                  <a:gd name="T3" fmla="*/ 127 h 316"/>
                  <a:gd name="T4" fmla="*/ 13 w 319"/>
                  <a:gd name="T5" fmla="*/ 97 h 316"/>
                  <a:gd name="T6" fmla="*/ 28 w 319"/>
                  <a:gd name="T7" fmla="*/ 71 h 316"/>
                  <a:gd name="T8" fmla="*/ 48 w 319"/>
                  <a:gd name="T9" fmla="*/ 46 h 316"/>
                  <a:gd name="T10" fmla="*/ 71 w 319"/>
                  <a:gd name="T11" fmla="*/ 28 h 316"/>
                  <a:gd name="T12" fmla="*/ 98 w 319"/>
                  <a:gd name="T13" fmla="*/ 13 h 316"/>
                  <a:gd name="T14" fmla="*/ 128 w 319"/>
                  <a:gd name="T15" fmla="*/ 4 h 316"/>
                  <a:gd name="T16" fmla="*/ 161 w 319"/>
                  <a:gd name="T17" fmla="*/ 0 h 316"/>
                  <a:gd name="T18" fmla="*/ 191 w 319"/>
                  <a:gd name="T19" fmla="*/ 3 h 316"/>
                  <a:gd name="T20" fmla="*/ 218 w 319"/>
                  <a:gd name="T21" fmla="*/ 12 h 316"/>
                  <a:gd name="T22" fmla="*/ 245 w 319"/>
                  <a:gd name="T23" fmla="*/ 24 h 316"/>
                  <a:gd name="T24" fmla="*/ 268 w 319"/>
                  <a:gd name="T25" fmla="*/ 42 h 316"/>
                  <a:gd name="T26" fmla="*/ 286 w 319"/>
                  <a:gd name="T27" fmla="*/ 63 h 316"/>
                  <a:gd name="T28" fmla="*/ 302 w 319"/>
                  <a:gd name="T29" fmla="*/ 87 h 316"/>
                  <a:gd name="T30" fmla="*/ 313 w 319"/>
                  <a:gd name="T31" fmla="*/ 113 h 316"/>
                  <a:gd name="T32" fmla="*/ 319 w 319"/>
                  <a:gd name="T33" fmla="*/ 142 h 316"/>
                  <a:gd name="T34" fmla="*/ 301 w 319"/>
                  <a:gd name="T35" fmla="*/ 145 h 316"/>
                  <a:gd name="T36" fmla="*/ 285 w 319"/>
                  <a:gd name="T37" fmla="*/ 151 h 316"/>
                  <a:gd name="T38" fmla="*/ 269 w 319"/>
                  <a:gd name="T39" fmla="*/ 157 h 316"/>
                  <a:gd name="T40" fmla="*/ 254 w 319"/>
                  <a:gd name="T41" fmla="*/ 164 h 316"/>
                  <a:gd name="T42" fmla="*/ 239 w 319"/>
                  <a:gd name="T43" fmla="*/ 172 h 316"/>
                  <a:gd name="T44" fmla="*/ 225 w 319"/>
                  <a:gd name="T45" fmla="*/ 181 h 316"/>
                  <a:gd name="T46" fmla="*/ 212 w 319"/>
                  <a:gd name="T47" fmla="*/ 192 h 316"/>
                  <a:gd name="T48" fmla="*/ 200 w 319"/>
                  <a:gd name="T49" fmla="*/ 202 h 316"/>
                  <a:gd name="T50" fmla="*/ 188 w 319"/>
                  <a:gd name="T51" fmla="*/ 213 h 316"/>
                  <a:gd name="T52" fmla="*/ 177 w 319"/>
                  <a:gd name="T53" fmla="*/ 226 h 316"/>
                  <a:gd name="T54" fmla="*/ 166 w 319"/>
                  <a:gd name="T55" fmla="*/ 240 h 316"/>
                  <a:gd name="T56" fmla="*/ 157 w 319"/>
                  <a:gd name="T57" fmla="*/ 254 h 316"/>
                  <a:gd name="T58" fmla="*/ 149 w 319"/>
                  <a:gd name="T59" fmla="*/ 269 h 316"/>
                  <a:gd name="T60" fmla="*/ 142 w 319"/>
                  <a:gd name="T61" fmla="*/ 284 h 316"/>
                  <a:gd name="T62" fmla="*/ 135 w 319"/>
                  <a:gd name="T63" fmla="*/ 300 h 316"/>
                  <a:gd name="T64" fmla="*/ 131 w 319"/>
                  <a:gd name="T65" fmla="*/ 316 h 316"/>
                  <a:gd name="T66" fmla="*/ 104 w 319"/>
                  <a:gd name="T67" fmla="*/ 308 h 316"/>
                  <a:gd name="T68" fmla="*/ 79 w 319"/>
                  <a:gd name="T69" fmla="*/ 296 h 316"/>
                  <a:gd name="T70" fmla="*/ 57 w 319"/>
                  <a:gd name="T71" fmla="*/ 281 h 316"/>
                  <a:gd name="T72" fmla="*/ 38 w 319"/>
                  <a:gd name="T73" fmla="*/ 262 h 316"/>
                  <a:gd name="T74" fmla="*/ 22 w 319"/>
                  <a:gd name="T75" fmla="*/ 240 h 316"/>
                  <a:gd name="T76" fmla="*/ 11 w 319"/>
                  <a:gd name="T77" fmla="*/ 215 h 316"/>
                  <a:gd name="T78" fmla="*/ 3 w 319"/>
                  <a:gd name="T79" fmla="*/ 188 h 316"/>
                  <a:gd name="T80" fmla="*/ 0 w 319"/>
                  <a:gd name="T81" fmla="*/ 159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19" h="316">
                    <a:moveTo>
                      <a:pt x="0" y="159"/>
                    </a:moveTo>
                    <a:lnTo>
                      <a:pt x="4" y="127"/>
                    </a:lnTo>
                    <a:lnTo>
                      <a:pt x="13" y="97"/>
                    </a:lnTo>
                    <a:lnTo>
                      <a:pt x="28" y="71"/>
                    </a:lnTo>
                    <a:lnTo>
                      <a:pt x="48" y="46"/>
                    </a:lnTo>
                    <a:lnTo>
                      <a:pt x="71" y="28"/>
                    </a:lnTo>
                    <a:lnTo>
                      <a:pt x="98" y="13"/>
                    </a:lnTo>
                    <a:lnTo>
                      <a:pt x="128" y="4"/>
                    </a:lnTo>
                    <a:lnTo>
                      <a:pt x="161" y="0"/>
                    </a:lnTo>
                    <a:lnTo>
                      <a:pt x="191" y="3"/>
                    </a:lnTo>
                    <a:lnTo>
                      <a:pt x="218" y="12"/>
                    </a:lnTo>
                    <a:lnTo>
                      <a:pt x="245" y="24"/>
                    </a:lnTo>
                    <a:lnTo>
                      <a:pt x="268" y="42"/>
                    </a:lnTo>
                    <a:lnTo>
                      <a:pt x="286" y="63"/>
                    </a:lnTo>
                    <a:lnTo>
                      <a:pt x="302" y="87"/>
                    </a:lnTo>
                    <a:lnTo>
                      <a:pt x="313" y="113"/>
                    </a:lnTo>
                    <a:lnTo>
                      <a:pt x="319" y="142"/>
                    </a:lnTo>
                    <a:lnTo>
                      <a:pt x="301" y="145"/>
                    </a:lnTo>
                    <a:lnTo>
                      <a:pt x="285" y="151"/>
                    </a:lnTo>
                    <a:lnTo>
                      <a:pt x="269" y="157"/>
                    </a:lnTo>
                    <a:lnTo>
                      <a:pt x="254" y="164"/>
                    </a:lnTo>
                    <a:lnTo>
                      <a:pt x="239" y="172"/>
                    </a:lnTo>
                    <a:lnTo>
                      <a:pt x="225" y="181"/>
                    </a:lnTo>
                    <a:lnTo>
                      <a:pt x="212" y="192"/>
                    </a:lnTo>
                    <a:lnTo>
                      <a:pt x="200" y="202"/>
                    </a:lnTo>
                    <a:lnTo>
                      <a:pt x="188" y="213"/>
                    </a:lnTo>
                    <a:lnTo>
                      <a:pt x="177" y="226"/>
                    </a:lnTo>
                    <a:lnTo>
                      <a:pt x="166" y="240"/>
                    </a:lnTo>
                    <a:lnTo>
                      <a:pt x="157" y="254"/>
                    </a:lnTo>
                    <a:lnTo>
                      <a:pt x="149" y="269"/>
                    </a:lnTo>
                    <a:lnTo>
                      <a:pt x="142" y="284"/>
                    </a:lnTo>
                    <a:lnTo>
                      <a:pt x="135" y="300"/>
                    </a:lnTo>
                    <a:lnTo>
                      <a:pt x="131" y="316"/>
                    </a:lnTo>
                    <a:lnTo>
                      <a:pt x="104" y="308"/>
                    </a:lnTo>
                    <a:lnTo>
                      <a:pt x="79" y="296"/>
                    </a:lnTo>
                    <a:lnTo>
                      <a:pt x="57" y="281"/>
                    </a:lnTo>
                    <a:lnTo>
                      <a:pt x="38" y="262"/>
                    </a:lnTo>
                    <a:lnTo>
                      <a:pt x="22" y="240"/>
                    </a:lnTo>
                    <a:lnTo>
                      <a:pt x="11" y="215"/>
                    </a:lnTo>
                    <a:lnTo>
                      <a:pt x="3" y="188"/>
                    </a:lnTo>
                    <a:lnTo>
                      <a:pt x="0" y="1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70" name="Freeform 1742">
                <a:extLst>
                  <a:ext uri="{FF2B5EF4-FFF2-40B4-BE49-F238E27FC236}">
                    <a16:creationId xmlns:a16="http://schemas.microsoft.com/office/drawing/2014/main" id="{930ECA77-9262-4995-8EFD-0322B362427B}"/>
                  </a:ext>
                </a:extLst>
              </p:cNvPr>
              <p:cNvSpPr>
                <a:spLocks/>
              </p:cNvSpPr>
              <p:nvPr/>
            </p:nvSpPr>
            <p:spPr bwMode="auto">
              <a:xfrm>
                <a:off x="4421188" y="2859088"/>
                <a:ext cx="1354137" cy="990600"/>
              </a:xfrm>
              <a:custGeom>
                <a:avLst/>
                <a:gdLst>
                  <a:gd name="T0" fmla="*/ 1575 w 1704"/>
                  <a:gd name="T1" fmla="*/ 594 h 1249"/>
                  <a:gd name="T2" fmla="*/ 1664 w 1704"/>
                  <a:gd name="T3" fmla="*/ 659 h 1249"/>
                  <a:gd name="T4" fmla="*/ 1652 w 1704"/>
                  <a:gd name="T5" fmla="*/ 767 h 1249"/>
                  <a:gd name="T6" fmla="*/ 1515 w 1704"/>
                  <a:gd name="T7" fmla="*/ 809 h 1249"/>
                  <a:gd name="T8" fmla="*/ 1376 w 1704"/>
                  <a:gd name="T9" fmla="*/ 880 h 1249"/>
                  <a:gd name="T10" fmla="*/ 1281 w 1704"/>
                  <a:gd name="T11" fmla="*/ 889 h 1249"/>
                  <a:gd name="T12" fmla="*/ 1272 w 1704"/>
                  <a:gd name="T13" fmla="*/ 844 h 1249"/>
                  <a:gd name="T14" fmla="*/ 1302 w 1704"/>
                  <a:gd name="T15" fmla="*/ 766 h 1249"/>
                  <a:gd name="T16" fmla="*/ 1266 w 1704"/>
                  <a:gd name="T17" fmla="*/ 741 h 1249"/>
                  <a:gd name="T18" fmla="*/ 1181 w 1704"/>
                  <a:gd name="T19" fmla="*/ 827 h 1249"/>
                  <a:gd name="T20" fmla="*/ 1173 w 1704"/>
                  <a:gd name="T21" fmla="*/ 1114 h 1249"/>
                  <a:gd name="T22" fmla="*/ 1135 w 1704"/>
                  <a:gd name="T23" fmla="*/ 1249 h 1249"/>
                  <a:gd name="T24" fmla="*/ 1001 w 1704"/>
                  <a:gd name="T25" fmla="*/ 964 h 1249"/>
                  <a:gd name="T26" fmla="*/ 911 w 1704"/>
                  <a:gd name="T27" fmla="*/ 1245 h 1249"/>
                  <a:gd name="T28" fmla="*/ 906 w 1704"/>
                  <a:gd name="T29" fmla="*/ 983 h 1249"/>
                  <a:gd name="T30" fmla="*/ 864 w 1704"/>
                  <a:gd name="T31" fmla="*/ 951 h 1249"/>
                  <a:gd name="T32" fmla="*/ 738 w 1704"/>
                  <a:gd name="T33" fmla="*/ 964 h 1249"/>
                  <a:gd name="T34" fmla="*/ 622 w 1704"/>
                  <a:gd name="T35" fmla="*/ 946 h 1249"/>
                  <a:gd name="T36" fmla="*/ 529 w 1704"/>
                  <a:gd name="T37" fmla="*/ 898 h 1249"/>
                  <a:gd name="T38" fmla="*/ 441 w 1704"/>
                  <a:gd name="T39" fmla="*/ 948 h 1249"/>
                  <a:gd name="T40" fmla="*/ 454 w 1704"/>
                  <a:gd name="T41" fmla="*/ 1085 h 1249"/>
                  <a:gd name="T42" fmla="*/ 489 w 1704"/>
                  <a:gd name="T43" fmla="*/ 1190 h 1249"/>
                  <a:gd name="T44" fmla="*/ 434 w 1704"/>
                  <a:gd name="T45" fmla="*/ 1223 h 1249"/>
                  <a:gd name="T46" fmla="*/ 341 w 1704"/>
                  <a:gd name="T47" fmla="*/ 968 h 1249"/>
                  <a:gd name="T48" fmla="*/ 295 w 1704"/>
                  <a:gd name="T49" fmla="*/ 954 h 1249"/>
                  <a:gd name="T50" fmla="*/ 265 w 1704"/>
                  <a:gd name="T51" fmla="*/ 1170 h 1249"/>
                  <a:gd name="T52" fmla="*/ 184 w 1704"/>
                  <a:gd name="T53" fmla="*/ 883 h 1249"/>
                  <a:gd name="T54" fmla="*/ 133 w 1704"/>
                  <a:gd name="T55" fmla="*/ 826 h 1249"/>
                  <a:gd name="T56" fmla="*/ 11 w 1704"/>
                  <a:gd name="T57" fmla="*/ 627 h 1249"/>
                  <a:gd name="T58" fmla="*/ 25 w 1704"/>
                  <a:gd name="T59" fmla="*/ 365 h 1249"/>
                  <a:gd name="T60" fmla="*/ 98 w 1704"/>
                  <a:gd name="T61" fmla="*/ 220 h 1249"/>
                  <a:gd name="T62" fmla="*/ 254 w 1704"/>
                  <a:gd name="T63" fmla="*/ 71 h 1249"/>
                  <a:gd name="T64" fmla="*/ 463 w 1704"/>
                  <a:gd name="T65" fmla="*/ 0 h 1249"/>
                  <a:gd name="T66" fmla="*/ 430 w 1704"/>
                  <a:gd name="T67" fmla="*/ 49 h 1249"/>
                  <a:gd name="T68" fmla="*/ 408 w 1704"/>
                  <a:gd name="T69" fmla="*/ 121 h 1249"/>
                  <a:gd name="T70" fmla="*/ 502 w 1704"/>
                  <a:gd name="T71" fmla="*/ 101 h 1249"/>
                  <a:gd name="T72" fmla="*/ 661 w 1704"/>
                  <a:gd name="T73" fmla="*/ 84 h 1249"/>
                  <a:gd name="T74" fmla="*/ 819 w 1704"/>
                  <a:gd name="T75" fmla="*/ 105 h 1249"/>
                  <a:gd name="T76" fmla="*/ 939 w 1704"/>
                  <a:gd name="T77" fmla="*/ 138 h 1249"/>
                  <a:gd name="T78" fmla="*/ 961 w 1704"/>
                  <a:gd name="T79" fmla="*/ 78 h 1249"/>
                  <a:gd name="T80" fmla="*/ 907 w 1704"/>
                  <a:gd name="T81" fmla="*/ 34 h 1249"/>
                  <a:gd name="T82" fmla="*/ 1070 w 1704"/>
                  <a:gd name="T83" fmla="*/ 60 h 1249"/>
                  <a:gd name="T84" fmla="*/ 1205 w 1704"/>
                  <a:gd name="T85" fmla="*/ 128 h 1249"/>
                  <a:gd name="T86" fmla="*/ 1248 w 1704"/>
                  <a:gd name="T87" fmla="*/ 148 h 1249"/>
                  <a:gd name="T88" fmla="*/ 1383 w 1704"/>
                  <a:gd name="T89" fmla="*/ 133 h 1249"/>
                  <a:gd name="T90" fmla="*/ 1483 w 1704"/>
                  <a:gd name="T91" fmla="*/ 168 h 1249"/>
                  <a:gd name="T92" fmla="*/ 1545 w 1704"/>
                  <a:gd name="T93" fmla="*/ 218 h 1249"/>
                  <a:gd name="T94" fmla="*/ 1622 w 1704"/>
                  <a:gd name="T95" fmla="*/ 260 h 1249"/>
                  <a:gd name="T96" fmla="*/ 1656 w 1704"/>
                  <a:gd name="T97" fmla="*/ 301 h 1249"/>
                  <a:gd name="T98" fmla="*/ 1545 w 1704"/>
                  <a:gd name="T99" fmla="*/ 397 h 1249"/>
                  <a:gd name="T100" fmla="*/ 1414 w 1704"/>
                  <a:gd name="T101" fmla="*/ 409 h 1249"/>
                  <a:gd name="T102" fmla="*/ 1254 w 1704"/>
                  <a:gd name="T103" fmla="*/ 341 h 1249"/>
                  <a:gd name="T104" fmla="*/ 1218 w 1704"/>
                  <a:gd name="T105" fmla="*/ 322 h 1249"/>
                  <a:gd name="T106" fmla="*/ 1190 w 1704"/>
                  <a:gd name="T107" fmla="*/ 367 h 1249"/>
                  <a:gd name="T108" fmla="*/ 1309 w 1704"/>
                  <a:gd name="T109" fmla="*/ 448 h 1249"/>
                  <a:gd name="T110" fmla="*/ 1452 w 1704"/>
                  <a:gd name="T111" fmla="*/ 478 h 1249"/>
                  <a:gd name="T112" fmla="*/ 1500 w 1704"/>
                  <a:gd name="T113" fmla="*/ 498 h 1249"/>
                  <a:gd name="T114" fmla="*/ 1446 w 1704"/>
                  <a:gd name="T115" fmla="*/ 538 h 1249"/>
                  <a:gd name="T116" fmla="*/ 1385 w 1704"/>
                  <a:gd name="T117" fmla="*/ 544 h 1249"/>
                  <a:gd name="T118" fmla="*/ 1379 w 1704"/>
                  <a:gd name="T119" fmla="*/ 605 h 1249"/>
                  <a:gd name="T120" fmla="*/ 1438 w 1704"/>
                  <a:gd name="T121" fmla="*/ 622 h 1249"/>
                  <a:gd name="T122" fmla="*/ 1466 w 1704"/>
                  <a:gd name="T123" fmla="*/ 568 h 1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04" h="1249">
                    <a:moveTo>
                      <a:pt x="1521" y="527"/>
                    </a:moveTo>
                    <a:lnTo>
                      <a:pt x="1533" y="544"/>
                    </a:lnTo>
                    <a:lnTo>
                      <a:pt x="1543" y="556"/>
                    </a:lnTo>
                    <a:lnTo>
                      <a:pt x="1551" y="568"/>
                    </a:lnTo>
                    <a:lnTo>
                      <a:pt x="1559" y="578"/>
                    </a:lnTo>
                    <a:lnTo>
                      <a:pt x="1567" y="586"/>
                    </a:lnTo>
                    <a:lnTo>
                      <a:pt x="1575" y="594"/>
                    </a:lnTo>
                    <a:lnTo>
                      <a:pt x="1583" y="602"/>
                    </a:lnTo>
                    <a:lnTo>
                      <a:pt x="1594" y="612"/>
                    </a:lnTo>
                    <a:lnTo>
                      <a:pt x="1605" y="621"/>
                    </a:lnTo>
                    <a:lnTo>
                      <a:pt x="1619" y="630"/>
                    </a:lnTo>
                    <a:lnTo>
                      <a:pt x="1633" y="639"/>
                    </a:lnTo>
                    <a:lnTo>
                      <a:pt x="1649" y="650"/>
                    </a:lnTo>
                    <a:lnTo>
                      <a:pt x="1664" y="659"/>
                    </a:lnTo>
                    <a:lnTo>
                      <a:pt x="1679" y="667"/>
                    </a:lnTo>
                    <a:lnTo>
                      <a:pt x="1693" y="675"/>
                    </a:lnTo>
                    <a:lnTo>
                      <a:pt x="1704" y="682"/>
                    </a:lnTo>
                    <a:lnTo>
                      <a:pt x="1694" y="758"/>
                    </a:lnTo>
                    <a:lnTo>
                      <a:pt x="1682" y="760"/>
                    </a:lnTo>
                    <a:lnTo>
                      <a:pt x="1669" y="764"/>
                    </a:lnTo>
                    <a:lnTo>
                      <a:pt x="1652" y="767"/>
                    </a:lnTo>
                    <a:lnTo>
                      <a:pt x="1635" y="772"/>
                    </a:lnTo>
                    <a:lnTo>
                      <a:pt x="1618" y="776"/>
                    </a:lnTo>
                    <a:lnTo>
                      <a:pt x="1598" y="781"/>
                    </a:lnTo>
                    <a:lnTo>
                      <a:pt x="1578" y="788"/>
                    </a:lnTo>
                    <a:lnTo>
                      <a:pt x="1557" y="794"/>
                    </a:lnTo>
                    <a:lnTo>
                      <a:pt x="1536" y="801"/>
                    </a:lnTo>
                    <a:lnTo>
                      <a:pt x="1515" y="809"/>
                    </a:lnTo>
                    <a:lnTo>
                      <a:pt x="1495" y="817"/>
                    </a:lnTo>
                    <a:lnTo>
                      <a:pt x="1474" y="826"/>
                    </a:lnTo>
                    <a:lnTo>
                      <a:pt x="1453" y="835"/>
                    </a:lnTo>
                    <a:lnTo>
                      <a:pt x="1433" y="844"/>
                    </a:lnTo>
                    <a:lnTo>
                      <a:pt x="1416" y="855"/>
                    </a:lnTo>
                    <a:lnTo>
                      <a:pt x="1399" y="866"/>
                    </a:lnTo>
                    <a:lnTo>
                      <a:pt x="1376" y="880"/>
                    </a:lnTo>
                    <a:lnTo>
                      <a:pt x="1355" y="889"/>
                    </a:lnTo>
                    <a:lnTo>
                      <a:pt x="1337" y="894"/>
                    </a:lnTo>
                    <a:lnTo>
                      <a:pt x="1320" y="896"/>
                    </a:lnTo>
                    <a:lnTo>
                      <a:pt x="1307" y="896"/>
                    </a:lnTo>
                    <a:lnTo>
                      <a:pt x="1295" y="894"/>
                    </a:lnTo>
                    <a:lnTo>
                      <a:pt x="1287" y="892"/>
                    </a:lnTo>
                    <a:lnTo>
                      <a:pt x="1281" y="889"/>
                    </a:lnTo>
                    <a:lnTo>
                      <a:pt x="1278" y="887"/>
                    </a:lnTo>
                    <a:lnTo>
                      <a:pt x="1271" y="881"/>
                    </a:lnTo>
                    <a:lnTo>
                      <a:pt x="1265" y="875"/>
                    </a:lnTo>
                    <a:lnTo>
                      <a:pt x="1263" y="870"/>
                    </a:lnTo>
                    <a:lnTo>
                      <a:pt x="1265" y="863"/>
                    </a:lnTo>
                    <a:lnTo>
                      <a:pt x="1269" y="855"/>
                    </a:lnTo>
                    <a:lnTo>
                      <a:pt x="1272" y="844"/>
                    </a:lnTo>
                    <a:lnTo>
                      <a:pt x="1278" y="833"/>
                    </a:lnTo>
                    <a:lnTo>
                      <a:pt x="1282" y="821"/>
                    </a:lnTo>
                    <a:lnTo>
                      <a:pt x="1288" y="809"/>
                    </a:lnTo>
                    <a:lnTo>
                      <a:pt x="1294" y="797"/>
                    </a:lnTo>
                    <a:lnTo>
                      <a:pt x="1300" y="787"/>
                    </a:lnTo>
                    <a:lnTo>
                      <a:pt x="1302" y="776"/>
                    </a:lnTo>
                    <a:lnTo>
                      <a:pt x="1302" y="766"/>
                    </a:lnTo>
                    <a:lnTo>
                      <a:pt x="1297" y="757"/>
                    </a:lnTo>
                    <a:lnTo>
                      <a:pt x="1291" y="748"/>
                    </a:lnTo>
                    <a:lnTo>
                      <a:pt x="1286" y="744"/>
                    </a:lnTo>
                    <a:lnTo>
                      <a:pt x="1281" y="742"/>
                    </a:lnTo>
                    <a:lnTo>
                      <a:pt x="1276" y="741"/>
                    </a:lnTo>
                    <a:lnTo>
                      <a:pt x="1271" y="741"/>
                    </a:lnTo>
                    <a:lnTo>
                      <a:pt x="1266" y="741"/>
                    </a:lnTo>
                    <a:lnTo>
                      <a:pt x="1261" y="742"/>
                    </a:lnTo>
                    <a:lnTo>
                      <a:pt x="1256" y="744"/>
                    </a:lnTo>
                    <a:lnTo>
                      <a:pt x="1251" y="748"/>
                    </a:lnTo>
                    <a:lnTo>
                      <a:pt x="1243" y="754"/>
                    </a:lnTo>
                    <a:lnTo>
                      <a:pt x="1226" y="769"/>
                    </a:lnTo>
                    <a:lnTo>
                      <a:pt x="1204" y="795"/>
                    </a:lnTo>
                    <a:lnTo>
                      <a:pt x="1181" y="827"/>
                    </a:lnTo>
                    <a:lnTo>
                      <a:pt x="1159" y="867"/>
                    </a:lnTo>
                    <a:lnTo>
                      <a:pt x="1143" y="913"/>
                    </a:lnTo>
                    <a:lnTo>
                      <a:pt x="1136" y="966"/>
                    </a:lnTo>
                    <a:lnTo>
                      <a:pt x="1141" y="1024"/>
                    </a:lnTo>
                    <a:lnTo>
                      <a:pt x="1149" y="1053"/>
                    </a:lnTo>
                    <a:lnTo>
                      <a:pt x="1159" y="1083"/>
                    </a:lnTo>
                    <a:lnTo>
                      <a:pt x="1173" y="1114"/>
                    </a:lnTo>
                    <a:lnTo>
                      <a:pt x="1187" y="1145"/>
                    </a:lnTo>
                    <a:lnTo>
                      <a:pt x="1202" y="1174"/>
                    </a:lnTo>
                    <a:lnTo>
                      <a:pt x="1216" y="1200"/>
                    </a:lnTo>
                    <a:lnTo>
                      <a:pt x="1227" y="1221"/>
                    </a:lnTo>
                    <a:lnTo>
                      <a:pt x="1235" y="1236"/>
                    </a:lnTo>
                    <a:lnTo>
                      <a:pt x="1235" y="1249"/>
                    </a:lnTo>
                    <a:lnTo>
                      <a:pt x="1135" y="1249"/>
                    </a:lnTo>
                    <a:lnTo>
                      <a:pt x="1052" y="979"/>
                    </a:lnTo>
                    <a:lnTo>
                      <a:pt x="1047" y="970"/>
                    </a:lnTo>
                    <a:lnTo>
                      <a:pt x="1040" y="963"/>
                    </a:lnTo>
                    <a:lnTo>
                      <a:pt x="1031" y="958"/>
                    </a:lnTo>
                    <a:lnTo>
                      <a:pt x="1021" y="957"/>
                    </a:lnTo>
                    <a:lnTo>
                      <a:pt x="1010" y="960"/>
                    </a:lnTo>
                    <a:lnTo>
                      <a:pt x="1001" y="964"/>
                    </a:lnTo>
                    <a:lnTo>
                      <a:pt x="994" y="972"/>
                    </a:lnTo>
                    <a:lnTo>
                      <a:pt x="991" y="981"/>
                    </a:lnTo>
                    <a:lnTo>
                      <a:pt x="985" y="1026"/>
                    </a:lnTo>
                    <a:lnTo>
                      <a:pt x="980" y="1099"/>
                    </a:lnTo>
                    <a:lnTo>
                      <a:pt x="977" y="1177"/>
                    </a:lnTo>
                    <a:lnTo>
                      <a:pt x="976" y="1245"/>
                    </a:lnTo>
                    <a:lnTo>
                      <a:pt x="911" y="1245"/>
                    </a:lnTo>
                    <a:lnTo>
                      <a:pt x="916" y="1206"/>
                    </a:lnTo>
                    <a:lnTo>
                      <a:pt x="918" y="1163"/>
                    </a:lnTo>
                    <a:lnTo>
                      <a:pt x="921" y="1122"/>
                    </a:lnTo>
                    <a:lnTo>
                      <a:pt x="921" y="1081"/>
                    </a:lnTo>
                    <a:lnTo>
                      <a:pt x="918" y="1042"/>
                    </a:lnTo>
                    <a:lnTo>
                      <a:pt x="914" y="1009"/>
                    </a:lnTo>
                    <a:lnTo>
                      <a:pt x="906" y="983"/>
                    </a:lnTo>
                    <a:lnTo>
                      <a:pt x="893" y="964"/>
                    </a:lnTo>
                    <a:lnTo>
                      <a:pt x="888" y="961"/>
                    </a:lnTo>
                    <a:lnTo>
                      <a:pt x="884" y="957"/>
                    </a:lnTo>
                    <a:lnTo>
                      <a:pt x="879" y="955"/>
                    </a:lnTo>
                    <a:lnTo>
                      <a:pt x="874" y="953"/>
                    </a:lnTo>
                    <a:lnTo>
                      <a:pt x="869" y="951"/>
                    </a:lnTo>
                    <a:lnTo>
                      <a:pt x="864" y="951"/>
                    </a:lnTo>
                    <a:lnTo>
                      <a:pt x="858" y="951"/>
                    </a:lnTo>
                    <a:lnTo>
                      <a:pt x="853" y="951"/>
                    </a:lnTo>
                    <a:lnTo>
                      <a:pt x="827" y="955"/>
                    </a:lnTo>
                    <a:lnTo>
                      <a:pt x="804" y="958"/>
                    </a:lnTo>
                    <a:lnTo>
                      <a:pt x="781" y="961"/>
                    </a:lnTo>
                    <a:lnTo>
                      <a:pt x="759" y="963"/>
                    </a:lnTo>
                    <a:lnTo>
                      <a:pt x="738" y="964"/>
                    </a:lnTo>
                    <a:lnTo>
                      <a:pt x="720" y="964"/>
                    </a:lnTo>
                    <a:lnTo>
                      <a:pt x="702" y="963"/>
                    </a:lnTo>
                    <a:lnTo>
                      <a:pt x="684" y="962"/>
                    </a:lnTo>
                    <a:lnTo>
                      <a:pt x="667" y="960"/>
                    </a:lnTo>
                    <a:lnTo>
                      <a:pt x="651" y="956"/>
                    </a:lnTo>
                    <a:lnTo>
                      <a:pt x="636" y="950"/>
                    </a:lnTo>
                    <a:lnTo>
                      <a:pt x="622" y="946"/>
                    </a:lnTo>
                    <a:lnTo>
                      <a:pt x="608" y="939"/>
                    </a:lnTo>
                    <a:lnTo>
                      <a:pt x="595" y="933"/>
                    </a:lnTo>
                    <a:lnTo>
                      <a:pt x="583" y="926"/>
                    </a:lnTo>
                    <a:lnTo>
                      <a:pt x="571" y="919"/>
                    </a:lnTo>
                    <a:lnTo>
                      <a:pt x="557" y="912"/>
                    </a:lnTo>
                    <a:lnTo>
                      <a:pt x="544" y="904"/>
                    </a:lnTo>
                    <a:lnTo>
                      <a:pt x="529" y="898"/>
                    </a:lnTo>
                    <a:lnTo>
                      <a:pt x="514" y="894"/>
                    </a:lnTo>
                    <a:lnTo>
                      <a:pt x="500" y="893"/>
                    </a:lnTo>
                    <a:lnTo>
                      <a:pt x="486" y="895"/>
                    </a:lnTo>
                    <a:lnTo>
                      <a:pt x="472" y="902"/>
                    </a:lnTo>
                    <a:lnTo>
                      <a:pt x="459" y="913"/>
                    </a:lnTo>
                    <a:lnTo>
                      <a:pt x="448" y="930"/>
                    </a:lnTo>
                    <a:lnTo>
                      <a:pt x="441" y="948"/>
                    </a:lnTo>
                    <a:lnTo>
                      <a:pt x="438" y="969"/>
                    </a:lnTo>
                    <a:lnTo>
                      <a:pt x="438" y="989"/>
                    </a:lnTo>
                    <a:lnTo>
                      <a:pt x="439" y="1011"/>
                    </a:lnTo>
                    <a:lnTo>
                      <a:pt x="442" y="1033"/>
                    </a:lnTo>
                    <a:lnTo>
                      <a:pt x="447" y="1055"/>
                    </a:lnTo>
                    <a:lnTo>
                      <a:pt x="451" y="1077"/>
                    </a:lnTo>
                    <a:lnTo>
                      <a:pt x="454" y="1085"/>
                    </a:lnTo>
                    <a:lnTo>
                      <a:pt x="455" y="1092"/>
                    </a:lnTo>
                    <a:lnTo>
                      <a:pt x="457" y="1100"/>
                    </a:lnTo>
                    <a:lnTo>
                      <a:pt x="458" y="1107"/>
                    </a:lnTo>
                    <a:lnTo>
                      <a:pt x="464" y="1128"/>
                    </a:lnTo>
                    <a:lnTo>
                      <a:pt x="471" y="1148"/>
                    </a:lnTo>
                    <a:lnTo>
                      <a:pt x="480" y="1169"/>
                    </a:lnTo>
                    <a:lnTo>
                      <a:pt x="489" y="1190"/>
                    </a:lnTo>
                    <a:lnTo>
                      <a:pt x="500" y="1208"/>
                    </a:lnTo>
                    <a:lnTo>
                      <a:pt x="509" y="1225"/>
                    </a:lnTo>
                    <a:lnTo>
                      <a:pt x="517" y="1238"/>
                    </a:lnTo>
                    <a:lnTo>
                      <a:pt x="524" y="1249"/>
                    </a:lnTo>
                    <a:lnTo>
                      <a:pt x="524" y="1249"/>
                    </a:lnTo>
                    <a:lnTo>
                      <a:pt x="442" y="1249"/>
                    </a:lnTo>
                    <a:lnTo>
                      <a:pt x="434" y="1223"/>
                    </a:lnTo>
                    <a:lnTo>
                      <a:pt x="424" y="1192"/>
                    </a:lnTo>
                    <a:lnTo>
                      <a:pt x="412" y="1155"/>
                    </a:lnTo>
                    <a:lnTo>
                      <a:pt x="398" y="1116"/>
                    </a:lnTo>
                    <a:lnTo>
                      <a:pt x="385" y="1076"/>
                    </a:lnTo>
                    <a:lnTo>
                      <a:pt x="370" y="1036"/>
                    </a:lnTo>
                    <a:lnTo>
                      <a:pt x="355" y="1000"/>
                    </a:lnTo>
                    <a:lnTo>
                      <a:pt x="341" y="968"/>
                    </a:lnTo>
                    <a:lnTo>
                      <a:pt x="336" y="961"/>
                    </a:lnTo>
                    <a:lnTo>
                      <a:pt x="330" y="955"/>
                    </a:lnTo>
                    <a:lnTo>
                      <a:pt x="325" y="951"/>
                    </a:lnTo>
                    <a:lnTo>
                      <a:pt x="317" y="949"/>
                    </a:lnTo>
                    <a:lnTo>
                      <a:pt x="308" y="949"/>
                    </a:lnTo>
                    <a:lnTo>
                      <a:pt x="302" y="950"/>
                    </a:lnTo>
                    <a:lnTo>
                      <a:pt x="295" y="954"/>
                    </a:lnTo>
                    <a:lnTo>
                      <a:pt x="288" y="960"/>
                    </a:lnTo>
                    <a:lnTo>
                      <a:pt x="269" y="998"/>
                    </a:lnTo>
                    <a:lnTo>
                      <a:pt x="259" y="1046"/>
                    </a:lnTo>
                    <a:lnTo>
                      <a:pt x="255" y="1089"/>
                    </a:lnTo>
                    <a:lnTo>
                      <a:pt x="254" y="1113"/>
                    </a:lnTo>
                    <a:lnTo>
                      <a:pt x="258" y="1136"/>
                    </a:lnTo>
                    <a:lnTo>
                      <a:pt x="265" y="1170"/>
                    </a:lnTo>
                    <a:lnTo>
                      <a:pt x="274" y="1206"/>
                    </a:lnTo>
                    <a:lnTo>
                      <a:pt x="282" y="1237"/>
                    </a:lnTo>
                    <a:lnTo>
                      <a:pt x="282" y="1245"/>
                    </a:lnTo>
                    <a:lnTo>
                      <a:pt x="213" y="1245"/>
                    </a:lnTo>
                    <a:lnTo>
                      <a:pt x="190" y="902"/>
                    </a:lnTo>
                    <a:lnTo>
                      <a:pt x="189" y="893"/>
                    </a:lnTo>
                    <a:lnTo>
                      <a:pt x="184" y="883"/>
                    </a:lnTo>
                    <a:lnTo>
                      <a:pt x="178" y="875"/>
                    </a:lnTo>
                    <a:lnTo>
                      <a:pt x="172" y="869"/>
                    </a:lnTo>
                    <a:lnTo>
                      <a:pt x="167" y="862"/>
                    </a:lnTo>
                    <a:lnTo>
                      <a:pt x="160" y="855"/>
                    </a:lnTo>
                    <a:lnTo>
                      <a:pt x="152" y="845"/>
                    </a:lnTo>
                    <a:lnTo>
                      <a:pt x="144" y="836"/>
                    </a:lnTo>
                    <a:lnTo>
                      <a:pt x="133" y="826"/>
                    </a:lnTo>
                    <a:lnTo>
                      <a:pt x="123" y="814"/>
                    </a:lnTo>
                    <a:lnTo>
                      <a:pt x="111" y="802"/>
                    </a:lnTo>
                    <a:lnTo>
                      <a:pt x="99" y="788"/>
                    </a:lnTo>
                    <a:lnTo>
                      <a:pt x="66" y="750"/>
                    </a:lnTo>
                    <a:lnTo>
                      <a:pt x="42" y="710"/>
                    </a:lnTo>
                    <a:lnTo>
                      <a:pt x="24" y="668"/>
                    </a:lnTo>
                    <a:lnTo>
                      <a:pt x="11" y="627"/>
                    </a:lnTo>
                    <a:lnTo>
                      <a:pt x="3" y="585"/>
                    </a:lnTo>
                    <a:lnTo>
                      <a:pt x="0" y="544"/>
                    </a:lnTo>
                    <a:lnTo>
                      <a:pt x="1" y="503"/>
                    </a:lnTo>
                    <a:lnTo>
                      <a:pt x="4" y="465"/>
                    </a:lnTo>
                    <a:lnTo>
                      <a:pt x="9" y="428"/>
                    </a:lnTo>
                    <a:lnTo>
                      <a:pt x="17" y="395"/>
                    </a:lnTo>
                    <a:lnTo>
                      <a:pt x="25" y="365"/>
                    </a:lnTo>
                    <a:lnTo>
                      <a:pt x="33" y="339"/>
                    </a:lnTo>
                    <a:lnTo>
                      <a:pt x="42" y="316"/>
                    </a:lnTo>
                    <a:lnTo>
                      <a:pt x="49" y="298"/>
                    </a:lnTo>
                    <a:lnTo>
                      <a:pt x="54" y="287"/>
                    </a:lnTo>
                    <a:lnTo>
                      <a:pt x="57" y="280"/>
                    </a:lnTo>
                    <a:lnTo>
                      <a:pt x="77" y="249"/>
                    </a:lnTo>
                    <a:lnTo>
                      <a:pt x="98" y="220"/>
                    </a:lnTo>
                    <a:lnTo>
                      <a:pt x="118" y="192"/>
                    </a:lnTo>
                    <a:lnTo>
                      <a:pt x="139" y="168"/>
                    </a:lnTo>
                    <a:lnTo>
                      <a:pt x="161" y="145"/>
                    </a:lnTo>
                    <a:lnTo>
                      <a:pt x="183" y="123"/>
                    </a:lnTo>
                    <a:lnTo>
                      <a:pt x="206" y="105"/>
                    </a:lnTo>
                    <a:lnTo>
                      <a:pt x="229" y="86"/>
                    </a:lnTo>
                    <a:lnTo>
                      <a:pt x="254" y="71"/>
                    </a:lnTo>
                    <a:lnTo>
                      <a:pt x="280" y="56"/>
                    </a:lnTo>
                    <a:lnTo>
                      <a:pt x="307" y="44"/>
                    </a:lnTo>
                    <a:lnTo>
                      <a:pt x="335" y="32"/>
                    </a:lnTo>
                    <a:lnTo>
                      <a:pt x="365" y="22"/>
                    </a:lnTo>
                    <a:lnTo>
                      <a:pt x="396" y="14"/>
                    </a:lnTo>
                    <a:lnTo>
                      <a:pt x="428" y="6"/>
                    </a:lnTo>
                    <a:lnTo>
                      <a:pt x="463" y="0"/>
                    </a:lnTo>
                    <a:lnTo>
                      <a:pt x="466" y="10"/>
                    </a:lnTo>
                    <a:lnTo>
                      <a:pt x="470" y="19"/>
                    </a:lnTo>
                    <a:lnTo>
                      <a:pt x="474" y="30"/>
                    </a:lnTo>
                    <a:lnTo>
                      <a:pt x="479" y="40"/>
                    </a:lnTo>
                    <a:lnTo>
                      <a:pt x="461" y="44"/>
                    </a:lnTo>
                    <a:lnTo>
                      <a:pt x="444" y="47"/>
                    </a:lnTo>
                    <a:lnTo>
                      <a:pt x="430" y="49"/>
                    </a:lnTo>
                    <a:lnTo>
                      <a:pt x="417" y="53"/>
                    </a:lnTo>
                    <a:lnTo>
                      <a:pt x="405" y="55"/>
                    </a:lnTo>
                    <a:lnTo>
                      <a:pt x="397" y="56"/>
                    </a:lnTo>
                    <a:lnTo>
                      <a:pt x="391" y="57"/>
                    </a:lnTo>
                    <a:lnTo>
                      <a:pt x="389" y="59"/>
                    </a:lnTo>
                    <a:lnTo>
                      <a:pt x="405" y="121"/>
                    </a:lnTo>
                    <a:lnTo>
                      <a:pt x="408" y="121"/>
                    </a:lnTo>
                    <a:lnTo>
                      <a:pt x="413" y="120"/>
                    </a:lnTo>
                    <a:lnTo>
                      <a:pt x="421" y="117"/>
                    </a:lnTo>
                    <a:lnTo>
                      <a:pt x="433" y="115"/>
                    </a:lnTo>
                    <a:lnTo>
                      <a:pt x="447" y="112"/>
                    </a:lnTo>
                    <a:lnTo>
                      <a:pt x="464" y="108"/>
                    </a:lnTo>
                    <a:lnTo>
                      <a:pt x="481" y="105"/>
                    </a:lnTo>
                    <a:lnTo>
                      <a:pt x="502" y="101"/>
                    </a:lnTo>
                    <a:lnTo>
                      <a:pt x="523" y="98"/>
                    </a:lnTo>
                    <a:lnTo>
                      <a:pt x="546" y="94"/>
                    </a:lnTo>
                    <a:lnTo>
                      <a:pt x="568" y="91"/>
                    </a:lnTo>
                    <a:lnTo>
                      <a:pt x="592" y="89"/>
                    </a:lnTo>
                    <a:lnTo>
                      <a:pt x="615" y="86"/>
                    </a:lnTo>
                    <a:lnTo>
                      <a:pt x="638" y="85"/>
                    </a:lnTo>
                    <a:lnTo>
                      <a:pt x="661" y="84"/>
                    </a:lnTo>
                    <a:lnTo>
                      <a:pt x="683" y="84"/>
                    </a:lnTo>
                    <a:lnTo>
                      <a:pt x="705" y="85"/>
                    </a:lnTo>
                    <a:lnTo>
                      <a:pt x="728" y="87"/>
                    </a:lnTo>
                    <a:lnTo>
                      <a:pt x="751" y="91"/>
                    </a:lnTo>
                    <a:lnTo>
                      <a:pt x="774" y="94"/>
                    </a:lnTo>
                    <a:lnTo>
                      <a:pt x="797" y="99"/>
                    </a:lnTo>
                    <a:lnTo>
                      <a:pt x="819" y="105"/>
                    </a:lnTo>
                    <a:lnTo>
                      <a:pt x="841" y="109"/>
                    </a:lnTo>
                    <a:lnTo>
                      <a:pt x="862" y="115"/>
                    </a:lnTo>
                    <a:lnTo>
                      <a:pt x="880" y="121"/>
                    </a:lnTo>
                    <a:lnTo>
                      <a:pt x="899" y="125"/>
                    </a:lnTo>
                    <a:lnTo>
                      <a:pt x="915" y="131"/>
                    </a:lnTo>
                    <a:lnTo>
                      <a:pt x="927" y="135"/>
                    </a:lnTo>
                    <a:lnTo>
                      <a:pt x="939" y="138"/>
                    </a:lnTo>
                    <a:lnTo>
                      <a:pt x="947" y="142"/>
                    </a:lnTo>
                    <a:lnTo>
                      <a:pt x="953" y="143"/>
                    </a:lnTo>
                    <a:lnTo>
                      <a:pt x="955" y="144"/>
                    </a:lnTo>
                    <a:lnTo>
                      <a:pt x="977" y="84"/>
                    </a:lnTo>
                    <a:lnTo>
                      <a:pt x="975" y="83"/>
                    </a:lnTo>
                    <a:lnTo>
                      <a:pt x="969" y="82"/>
                    </a:lnTo>
                    <a:lnTo>
                      <a:pt x="961" y="78"/>
                    </a:lnTo>
                    <a:lnTo>
                      <a:pt x="952" y="76"/>
                    </a:lnTo>
                    <a:lnTo>
                      <a:pt x="940" y="71"/>
                    </a:lnTo>
                    <a:lnTo>
                      <a:pt x="926" y="68"/>
                    </a:lnTo>
                    <a:lnTo>
                      <a:pt x="910" y="62"/>
                    </a:lnTo>
                    <a:lnTo>
                      <a:pt x="894" y="57"/>
                    </a:lnTo>
                    <a:lnTo>
                      <a:pt x="901" y="46"/>
                    </a:lnTo>
                    <a:lnTo>
                      <a:pt x="907" y="34"/>
                    </a:lnTo>
                    <a:lnTo>
                      <a:pt x="911" y="22"/>
                    </a:lnTo>
                    <a:lnTo>
                      <a:pt x="916" y="10"/>
                    </a:lnTo>
                    <a:lnTo>
                      <a:pt x="950" y="18"/>
                    </a:lnTo>
                    <a:lnTo>
                      <a:pt x="983" y="29"/>
                    </a:lnTo>
                    <a:lnTo>
                      <a:pt x="1014" y="38"/>
                    </a:lnTo>
                    <a:lnTo>
                      <a:pt x="1044" y="48"/>
                    </a:lnTo>
                    <a:lnTo>
                      <a:pt x="1070" y="60"/>
                    </a:lnTo>
                    <a:lnTo>
                      <a:pt x="1097" y="70"/>
                    </a:lnTo>
                    <a:lnTo>
                      <a:pt x="1120" y="82"/>
                    </a:lnTo>
                    <a:lnTo>
                      <a:pt x="1142" y="92"/>
                    </a:lnTo>
                    <a:lnTo>
                      <a:pt x="1161" y="102"/>
                    </a:lnTo>
                    <a:lnTo>
                      <a:pt x="1179" y="112"/>
                    </a:lnTo>
                    <a:lnTo>
                      <a:pt x="1193" y="120"/>
                    </a:lnTo>
                    <a:lnTo>
                      <a:pt x="1205" y="128"/>
                    </a:lnTo>
                    <a:lnTo>
                      <a:pt x="1216" y="133"/>
                    </a:lnTo>
                    <a:lnTo>
                      <a:pt x="1223" y="138"/>
                    </a:lnTo>
                    <a:lnTo>
                      <a:pt x="1227" y="142"/>
                    </a:lnTo>
                    <a:lnTo>
                      <a:pt x="1228" y="143"/>
                    </a:lnTo>
                    <a:lnTo>
                      <a:pt x="1234" y="146"/>
                    </a:lnTo>
                    <a:lnTo>
                      <a:pt x="1241" y="148"/>
                    </a:lnTo>
                    <a:lnTo>
                      <a:pt x="1248" y="148"/>
                    </a:lnTo>
                    <a:lnTo>
                      <a:pt x="1255" y="148"/>
                    </a:lnTo>
                    <a:lnTo>
                      <a:pt x="1269" y="145"/>
                    </a:lnTo>
                    <a:lnTo>
                      <a:pt x="1288" y="142"/>
                    </a:lnTo>
                    <a:lnTo>
                      <a:pt x="1310" y="138"/>
                    </a:lnTo>
                    <a:lnTo>
                      <a:pt x="1333" y="136"/>
                    </a:lnTo>
                    <a:lnTo>
                      <a:pt x="1359" y="133"/>
                    </a:lnTo>
                    <a:lnTo>
                      <a:pt x="1383" y="133"/>
                    </a:lnTo>
                    <a:lnTo>
                      <a:pt x="1406" y="136"/>
                    </a:lnTo>
                    <a:lnTo>
                      <a:pt x="1425" y="139"/>
                    </a:lnTo>
                    <a:lnTo>
                      <a:pt x="1439" y="144"/>
                    </a:lnTo>
                    <a:lnTo>
                      <a:pt x="1452" y="150"/>
                    </a:lnTo>
                    <a:lnTo>
                      <a:pt x="1463" y="155"/>
                    </a:lnTo>
                    <a:lnTo>
                      <a:pt x="1474" y="161"/>
                    </a:lnTo>
                    <a:lnTo>
                      <a:pt x="1483" y="168"/>
                    </a:lnTo>
                    <a:lnTo>
                      <a:pt x="1493" y="175"/>
                    </a:lnTo>
                    <a:lnTo>
                      <a:pt x="1503" y="183"/>
                    </a:lnTo>
                    <a:lnTo>
                      <a:pt x="1513" y="191"/>
                    </a:lnTo>
                    <a:lnTo>
                      <a:pt x="1521" y="198"/>
                    </a:lnTo>
                    <a:lnTo>
                      <a:pt x="1528" y="204"/>
                    </a:lnTo>
                    <a:lnTo>
                      <a:pt x="1537" y="211"/>
                    </a:lnTo>
                    <a:lnTo>
                      <a:pt x="1545" y="218"/>
                    </a:lnTo>
                    <a:lnTo>
                      <a:pt x="1554" y="223"/>
                    </a:lnTo>
                    <a:lnTo>
                      <a:pt x="1565" y="230"/>
                    </a:lnTo>
                    <a:lnTo>
                      <a:pt x="1575" y="237"/>
                    </a:lnTo>
                    <a:lnTo>
                      <a:pt x="1586" y="244"/>
                    </a:lnTo>
                    <a:lnTo>
                      <a:pt x="1598" y="251"/>
                    </a:lnTo>
                    <a:lnTo>
                      <a:pt x="1610" y="256"/>
                    </a:lnTo>
                    <a:lnTo>
                      <a:pt x="1622" y="260"/>
                    </a:lnTo>
                    <a:lnTo>
                      <a:pt x="1634" y="264"/>
                    </a:lnTo>
                    <a:lnTo>
                      <a:pt x="1646" y="266"/>
                    </a:lnTo>
                    <a:lnTo>
                      <a:pt x="1656" y="267"/>
                    </a:lnTo>
                    <a:lnTo>
                      <a:pt x="1666" y="267"/>
                    </a:lnTo>
                    <a:lnTo>
                      <a:pt x="1677" y="267"/>
                    </a:lnTo>
                    <a:lnTo>
                      <a:pt x="1667" y="283"/>
                    </a:lnTo>
                    <a:lnTo>
                      <a:pt x="1656" y="301"/>
                    </a:lnTo>
                    <a:lnTo>
                      <a:pt x="1644" y="317"/>
                    </a:lnTo>
                    <a:lnTo>
                      <a:pt x="1631" y="333"/>
                    </a:lnTo>
                    <a:lnTo>
                      <a:pt x="1617" y="349"/>
                    </a:lnTo>
                    <a:lnTo>
                      <a:pt x="1602" y="363"/>
                    </a:lnTo>
                    <a:lnTo>
                      <a:pt x="1586" y="375"/>
                    </a:lnTo>
                    <a:lnTo>
                      <a:pt x="1569" y="386"/>
                    </a:lnTo>
                    <a:lnTo>
                      <a:pt x="1545" y="397"/>
                    </a:lnTo>
                    <a:lnTo>
                      <a:pt x="1524" y="407"/>
                    </a:lnTo>
                    <a:lnTo>
                      <a:pt x="1506" y="411"/>
                    </a:lnTo>
                    <a:lnTo>
                      <a:pt x="1489" y="415"/>
                    </a:lnTo>
                    <a:lnTo>
                      <a:pt x="1471" y="416"/>
                    </a:lnTo>
                    <a:lnTo>
                      <a:pt x="1454" y="415"/>
                    </a:lnTo>
                    <a:lnTo>
                      <a:pt x="1436" y="412"/>
                    </a:lnTo>
                    <a:lnTo>
                      <a:pt x="1414" y="409"/>
                    </a:lnTo>
                    <a:lnTo>
                      <a:pt x="1384" y="404"/>
                    </a:lnTo>
                    <a:lnTo>
                      <a:pt x="1357" y="398"/>
                    </a:lnTo>
                    <a:lnTo>
                      <a:pt x="1331" y="388"/>
                    </a:lnTo>
                    <a:lnTo>
                      <a:pt x="1307" y="377"/>
                    </a:lnTo>
                    <a:lnTo>
                      <a:pt x="1286" y="364"/>
                    </a:lnTo>
                    <a:lnTo>
                      <a:pt x="1267" y="351"/>
                    </a:lnTo>
                    <a:lnTo>
                      <a:pt x="1254" y="341"/>
                    </a:lnTo>
                    <a:lnTo>
                      <a:pt x="1244" y="334"/>
                    </a:lnTo>
                    <a:lnTo>
                      <a:pt x="1241" y="330"/>
                    </a:lnTo>
                    <a:lnTo>
                      <a:pt x="1241" y="330"/>
                    </a:lnTo>
                    <a:lnTo>
                      <a:pt x="1236" y="327"/>
                    </a:lnTo>
                    <a:lnTo>
                      <a:pt x="1231" y="324"/>
                    </a:lnTo>
                    <a:lnTo>
                      <a:pt x="1224" y="322"/>
                    </a:lnTo>
                    <a:lnTo>
                      <a:pt x="1218" y="322"/>
                    </a:lnTo>
                    <a:lnTo>
                      <a:pt x="1212" y="322"/>
                    </a:lnTo>
                    <a:lnTo>
                      <a:pt x="1206" y="325"/>
                    </a:lnTo>
                    <a:lnTo>
                      <a:pt x="1201" y="328"/>
                    </a:lnTo>
                    <a:lnTo>
                      <a:pt x="1196" y="333"/>
                    </a:lnTo>
                    <a:lnTo>
                      <a:pt x="1189" y="343"/>
                    </a:lnTo>
                    <a:lnTo>
                      <a:pt x="1188" y="355"/>
                    </a:lnTo>
                    <a:lnTo>
                      <a:pt x="1190" y="367"/>
                    </a:lnTo>
                    <a:lnTo>
                      <a:pt x="1198" y="378"/>
                    </a:lnTo>
                    <a:lnTo>
                      <a:pt x="1203" y="382"/>
                    </a:lnTo>
                    <a:lnTo>
                      <a:pt x="1214" y="392"/>
                    </a:lnTo>
                    <a:lnTo>
                      <a:pt x="1231" y="404"/>
                    </a:lnTo>
                    <a:lnTo>
                      <a:pt x="1252" y="419"/>
                    </a:lnTo>
                    <a:lnTo>
                      <a:pt x="1279" y="434"/>
                    </a:lnTo>
                    <a:lnTo>
                      <a:pt x="1309" y="448"/>
                    </a:lnTo>
                    <a:lnTo>
                      <a:pt x="1341" y="460"/>
                    </a:lnTo>
                    <a:lnTo>
                      <a:pt x="1375" y="468"/>
                    </a:lnTo>
                    <a:lnTo>
                      <a:pt x="1403" y="472"/>
                    </a:lnTo>
                    <a:lnTo>
                      <a:pt x="1416" y="473"/>
                    </a:lnTo>
                    <a:lnTo>
                      <a:pt x="1429" y="476"/>
                    </a:lnTo>
                    <a:lnTo>
                      <a:pt x="1440" y="477"/>
                    </a:lnTo>
                    <a:lnTo>
                      <a:pt x="1452" y="478"/>
                    </a:lnTo>
                    <a:lnTo>
                      <a:pt x="1463" y="479"/>
                    </a:lnTo>
                    <a:lnTo>
                      <a:pt x="1475" y="479"/>
                    </a:lnTo>
                    <a:lnTo>
                      <a:pt x="1488" y="479"/>
                    </a:lnTo>
                    <a:lnTo>
                      <a:pt x="1499" y="478"/>
                    </a:lnTo>
                    <a:lnTo>
                      <a:pt x="1498" y="484"/>
                    </a:lnTo>
                    <a:lnTo>
                      <a:pt x="1498" y="491"/>
                    </a:lnTo>
                    <a:lnTo>
                      <a:pt x="1500" y="498"/>
                    </a:lnTo>
                    <a:lnTo>
                      <a:pt x="1504" y="503"/>
                    </a:lnTo>
                    <a:lnTo>
                      <a:pt x="1506" y="506"/>
                    </a:lnTo>
                    <a:lnTo>
                      <a:pt x="1510" y="510"/>
                    </a:lnTo>
                    <a:lnTo>
                      <a:pt x="1514" y="518"/>
                    </a:lnTo>
                    <a:lnTo>
                      <a:pt x="1521" y="527"/>
                    </a:lnTo>
                    <a:lnTo>
                      <a:pt x="1453" y="544"/>
                    </a:lnTo>
                    <a:lnTo>
                      <a:pt x="1446" y="538"/>
                    </a:lnTo>
                    <a:lnTo>
                      <a:pt x="1438" y="533"/>
                    </a:lnTo>
                    <a:lnTo>
                      <a:pt x="1429" y="531"/>
                    </a:lnTo>
                    <a:lnTo>
                      <a:pt x="1420" y="530"/>
                    </a:lnTo>
                    <a:lnTo>
                      <a:pt x="1410" y="531"/>
                    </a:lnTo>
                    <a:lnTo>
                      <a:pt x="1401" y="533"/>
                    </a:lnTo>
                    <a:lnTo>
                      <a:pt x="1393" y="538"/>
                    </a:lnTo>
                    <a:lnTo>
                      <a:pt x="1385" y="544"/>
                    </a:lnTo>
                    <a:lnTo>
                      <a:pt x="1379" y="552"/>
                    </a:lnTo>
                    <a:lnTo>
                      <a:pt x="1375" y="560"/>
                    </a:lnTo>
                    <a:lnTo>
                      <a:pt x="1372" y="569"/>
                    </a:lnTo>
                    <a:lnTo>
                      <a:pt x="1371" y="578"/>
                    </a:lnTo>
                    <a:lnTo>
                      <a:pt x="1372" y="587"/>
                    </a:lnTo>
                    <a:lnTo>
                      <a:pt x="1375" y="597"/>
                    </a:lnTo>
                    <a:lnTo>
                      <a:pt x="1379" y="605"/>
                    </a:lnTo>
                    <a:lnTo>
                      <a:pt x="1385" y="612"/>
                    </a:lnTo>
                    <a:lnTo>
                      <a:pt x="1393" y="617"/>
                    </a:lnTo>
                    <a:lnTo>
                      <a:pt x="1401" y="622"/>
                    </a:lnTo>
                    <a:lnTo>
                      <a:pt x="1410" y="624"/>
                    </a:lnTo>
                    <a:lnTo>
                      <a:pt x="1420" y="625"/>
                    </a:lnTo>
                    <a:lnTo>
                      <a:pt x="1429" y="624"/>
                    </a:lnTo>
                    <a:lnTo>
                      <a:pt x="1438" y="622"/>
                    </a:lnTo>
                    <a:lnTo>
                      <a:pt x="1446" y="617"/>
                    </a:lnTo>
                    <a:lnTo>
                      <a:pt x="1453" y="612"/>
                    </a:lnTo>
                    <a:lnTo>
                      <a:pt x="1459" y="605"/>
                    </a:lnTo>
                    <a:lnTo>
                      <a:pt x="1463" y="597"/>
                    </a:lnTo>
                    <a:lnTo>
                      <a:pt x="1466" y="587"/>
                    </a:lnTo>
                    <a:lnTo>
                      <a:pt x="1467" y="578"/>
                    </a:lnTo>
                    <a:lnTo>
                      <a:pt x="1466" y="568"/>
                    </a:lnTo>
                    <a:lnTo>
                      <a:pt x="1463" y="559"/>
                    </a:lnTo>
                    <a:lnTo>
                      <a:pt x="1459" y="551"/>
                    </a:lnTo>
                    <a:lnTo>
                      <a:pt x="1453" y="544"/>
                    </a:lnTo>
                    <a:lnTo>
                      <a:pt x="1521" y="52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71" name="Rectangle 1743">
                <a:extLst>
                  <a:ext uri="{FF2B5EF4-FFF2-40B4-BE49-F238E27FC236}">
                    <a16:creationId xmlns:a16="http://schemas.microsoft.com/office/drawing/2014/main" id="{136F65AF-A12C-441C-B4FF-000182EAC9C1}"/>
                  </a:ext>
                </a:extLst>
              </p:cNvPr>
              <p:cNvSpPr>
                <a:spLocks noChangeArrowheads="1"/>
              </p:cNvSpPr>
              <p:nvPr/>
            </p:nvSpPr>
            <p:spPr bwMode="auto">
              <a:xfrm>
                <a:off x="4743450" y="2954338"/>
                <a:ext cx="1587" cy="1588"/>
              </a:xfrm>
              <a:prstGeom prst="rect">
                <a:avLst/>
              </a:prstGeom>
              <a:solidFill>
                <a:srgbClr val="7F26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372" name="Group 1371">
            <a:extLst>
              <a:ext uri="{FF2B5EF4-FFF2-40B4-BE49-F238E27FC236}">
                <a16:creationId xmlns:a16="http://schemas.microsoft.com/office/drawing/2014/main" id="{B7AF255E-A376-4F84-9CB9-F90ECE0A8FA2}"/>
              </a:ext>
            </a:extLst>
          </p:cNvPr>
          <p:cNvGrpSpPr/>
          <p:nvPr/>
        </p:nvGrpSpPr>
        <p:grpSpPr>
          <a:xfrm>
            <a:off x="6106789" y="2393776"/>
            <a:ext cx="612775" cy="612775"/>
            <a:chOff x="4236732" y="3032119"/>
            <a:chExt cx="612775" cy="612775"/>
          </a:xfrm>
        </p:grpSpPr>
        <p:sp>
          <p:nvSpPr>
            <p:cNvPr id="1373" name="Oval 1372">
              <a:extLst>
                <a:ext uri="{FF2B5EF4-FFF2-40B4-BE49-F238E27FC236}">
                  <a16:creationId xmlns:a16="http://schemas.microsoft.com/office/drawing/2014/main" id="{E12F18C9-7864-4917-8D65-D770EF468972}"/>
                </a:ext>
              </a:extLst>
            </p:cNvPr>
            <p:cNvSpPr/>
            <p:nvPr/>
          </p:nvSpPr>
          <p:spPr bwMode="ltGray">
            <a:xfrm>
              <a:off x="423673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374" name="Group 1373">
              <a:extLst>
                <a:ext uri="{FF2B5EF4-FFF2-40B4-BE49-F238E27FC236}">
                  <a16:creationId xmlns:a16="http://schemas.microsoft.com/office/drawing/2014/main" id="{F704414C-A1B4-448E-A8F1-86B85D4088D6}"/>
                </a:ext>
              </a:extLst>
            </p:cNvPr>
            <p:cNvGrpSpPr/>
            <p:nvPr/>
          </p:nvGrpSpPr>
          <p:grpSpPr>
            <a:xfrm>
              <a:off x="4392357" y="3094267"/>
              <a:ext cx="297449" cy="445672"/>
              <a:chOff x="6162039" y="3335569"/>
              <a:chExt cx="297449" cy="445672"/>
            </a:xfrm>
          </p:grpSpPr>
          <p:sp>
            <p:nvSpPr>
              <p:cNvPr id="1375" name="Freeform 302">
                <a:extLst>
                  <a:ext uri="{FF2B5EF4-FFF2-40B4-BE49-F238E27FC236}">
                    <a16:creationId xmlns:a16="http://schemas.microsoft.com/office/drawing/2014/main" id="{72102C0E-B7BC-4079-A99B-4C5789FC8658}"/>
                  </a:ext>
                </a:extLst>
              </p:cNvPr>
              <p:cNvSpPr>
                <a:spLocks/>
              </p:cNvSpPr>
              <p:nvPr/>
            </p:nvSpPr>
            <p:spPr bwMode="auto">
              <a:xfrm>
                <a:off x="6187577" y="3415689"/>
                <a:ext cx="247874" cy="326994"/>
              </a:xfrm>
              <a:custGeom>
                <a:avLst/>
                <a:gdLst>
                  <a:gd name="T0" fmla="*/ 0 w 990"/>
                  <a:gd name="T1" fmla="*/ 0 h 1304"/>
                  <a:gd name="T2" fmla="*/ 0 w 990"/>
                  <a:gd name="T3" fmla="*/ 892 h 1304"/>
                  <a:gd name="T4" fmla="*/ 0 w 990"/>
                  <a:gd name="T5" fmla="*/ 1304 h 1304"/>
                  <a:gd name="T6" fmla="*/ 182 w 990"/>
                  <a:gd name="T7" fmla="*/ 1304 h 1304"/>
                  <a:gd name="T8" fmla="*/ 609 w 990"/>
                  <a:gd name="T9" fmla="*/ 1304 h 1304"/>
                  <a:gd name="T10" fmla="*/ 990 w 990"/>
                  <a:gd name="T11" fmla="*/ 1304 h 1304"/>
                  <a:gd name="T12" fmla="*/ 990 w 990"/>
                  <a:gd name="T13" fmla="*/ 662 h 1304"/>
                  <a:gd name="T14" fmla="*/ 990 w 990"/>
                  <a:gd name="T15" fmla="*/ 0 h 1304"/>
                  <a:gd name="T16" fmla="*/ 0 w 990"/>
                  <a:gd name="T17" fmla="*/ 0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0" h="1304">
                    <a:moveTo>
                      <a:pt x="0" y="0"/>
                    </a:moveTo>
                    <a:lnTo>
                      <a:pt x="0" y="892"/>
                    </a:lnTo>
                    <a:lnTo>
                      <a:pt x="0" y="1304"/>
                    </a:lnTo>
                    <a:lnTo>
                      <a:pt x="182" y="1304"/>
                    </a:lnTo>
                    <a:lnTo>
                      <a:pt x="609" y="1304"/>
                    </a:lnTo>
                    <a:lnTo>
                      <a:pt x="990" y="1304"/>
                    </a:lnTo>
                    <a:lnTo>
                      <a:pt x="990" y="662"/>
                    </a:lnTo>
                    <a:lnTo>
                      <a:pt x="990" y="0"/>
                    </a:lnTo>
                    <a:lnTo>
                      <a:pt x="0" y="0"/>
                    </a:lnTo>
                    <a:close/>
                  </a:path>
                </a:pathLst>
              </a:custGeom>
              <a:no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76" name="Freeform 305">
                <a:extLst>
                  <a:ext uri="{FF2B5EF4-FFF2-40B4-BE49-F238E27FC236}">
                    <a16:creationId xmlns:a16="http://schemas.microsoft.com/office/drawing/2014/main" id="{265117AE-7D33-4140-9781-95D33EFF81B6}"/>
                  </a:ext>
                </a:extLst>
              </p:cNvPr>
              <p:cNvSpPr>
                <a:spLocks/>
              </p:cNvSpPr>
              <p:nvPr/>
            </p:nvSpPr>
            <p:spPr bwMode="auto">
              <a:xfrm>
                <a:off x="6162039" y="3383140"/>
                <a:ext cx="297449" cy="398101"/>
              </a:xfrm>
              <a:custGeom>
                <a:avLst/>
                <a:gdLst>
                  <a:gd name="T0" fmla="*/ 1037 w 1190"/>
                  <a:gd name="T1" fmla="*/ 0 h 1589"/>
                  <a:gd name="T2" fmla="*/ 742 w 1190"/>
                  <a:gd name="T3" fmla="*/ 0 h 1589"/>
                  <a:gd name="T4" fmla="*/ 742 w 1190"/>
                  <a:gd name="T5" fmla="*/ 31 h 1589"/>
                  <a:gd name="T6" fmla="*/ 742 w 1190"/>
                  <a:gd name="T7" fmla="*/ 61 h 1589"/>
                  <a:gd name="T8" fmla="*/ 858 w 1190"/>
                  <a:gd name="T9" fmla="*/ 61 h 1589"/>
                  <a:gd name="T10" fmla="*/ 870 w 1190"/>
                  <a:gd name="T11" fmla="*/ 67 h 1589"/>
                  <a:gd name="T12" fmla="*/ 882 w 1190"/>
                  <a:gd name="T13" fmla="*/ 73 h 1589"/>
                  <a:gd name="T14" fmla="*/ 893 w 1190"/>
                  <a:gd name="T15" fmla="*/ 81 h 1589"/>
                  <a:gd name="T16" fmla="*/ 902 w 1190"/>
                  <a:gd name="T17" fmla="*/ 89 h 1589"/>
                  <a:gd name="T18" fmla="*/ 915 w 1190"/>
                  <a:gd name="T19" fmla="*/ 103 h 1589"/>
                  <a:gd name="T20" fmla="*/ 923 w 1190"/>
                  <a:gd name="T21" fmla="*/ 117 h 1589"/>
                  <a:gd name="T22" fmla="*/ 1093 w 1190"/>
                  <a:gd name="T23" fmla="*/ 131 h 1589"/>
                  <a:gd name="T24" fmla="*/ 1093 w 1190"/>
                  <a:gd name="T25" fmla="*/ 1435 h 1589"/>
                  <a:gd name="T26" fmla="*/ 285 w 1190"/>
                  <a:gd name="T27" fmla="*/ 1435 h 1589"/>
                  <a:gd name="T28" fmla="*/ 103 w 1190"/>
                  <a:gd name="T29" fmla="*/ 1023 h 1589"/>
                  <a:gd name="T30" fmla="*/ 160 w 1190"/>
                  <a:gd name="T31" fmla="*/ 131 h 1589"/>
                  <a:gd name="T32" fmla="*/ 287 w 1190"/>
                  <a:gd name="T33" fmla="*/ 121 h 1589"/>
                  <a:gd name="T34" fmla="*/ 297 w 1190"/>
                  <a:gd name="T35" fmla="*/ 103 h 1589"/>
                  <a:gd name="T36" fmla="*/ 311 w 1190"/>
                  <a:gd name="T37" fmla="*/ 87 h 1589"/>
                  <a:gd name="T38" fmla="*/ 327 w 1190"/>
                  <a:gd name="T39" fmla="*/ 73 h 1589"/>
                  <a:gd name="T40" fmla="*/ 347 w 1190"/>
                  <a:gd name="T41" fmla="*/ 61 h 1589"/>
                  <a:gd name="T42" fmla="*/ 469 w 1190"/>
                  <a:gd name="T43" fmla="*/ 61 h 1589"/>
                  <a:gd name="T44" fmla="*/ 469 w 1190"/>
                  <a:gd name="T45" fmla="*/ 31 h 1589"/>
                  <a:gd name="T46" fmla="*/ 469 w 1190"/>
                  <a:gd name="T47" fmla="*/ 0 h 1589"/>
                  <a:gd name="T48" fmla="*/ 146 w 1190"/>
                  <a:gd name="T49" fmla="*/ 0 h 1589"/>
                  <a:gd name="T50" fmla="*/ 46 w 1190"/>
                  <a:gd name="T51" fmla="*/ 4 h 1589"/>
                  <a:gd name="T52" fmla="*/ 31 w 1190"/>
                  <a:gd name="T53" fmla="*/ 12 h 1589"/>
                  <a:gd name="T54" fmla="*/ 18 w 1190"/>
                  <a:gd name="T55" fmla="*/ 22 h 1589"/>
                  <a:gd name="T56" fmla="*/ 5 w 1190"/>
                  <a:gd name="T57" fmla="*/ 34 h 1589"/>
                  <a:gd name="T58" fmla="*/ 0 w 1190"/>
                  <a:gd name="T59" fmla="*/ 163 h 1589"/>
                  <a:gd name="T60" fmla="*/ 0 w 1190"/>
                  <a:gd name="T61" fmla="*/ 1459 h 1589"/>
                  <a:gd name="T62" fmla="*/ 4 w 1190"/>
                  <a:gd name="T63" fmla="*/ 1548 h 1589"/>
                  <a:gd name="T64" fmla="*/ 12 w 1190"/>
                  <a:gd name="T65" fmla="*/ 1562 h 1589"/>
                  <a:gd name="T66" fmla="*/ 23 w 1190"/>
                  <a:gd name="T67" fmla="*/ 1575 h 1589"/>
                  <a:gd name="T68" fmla="*/ 36 w 1190"/>
                  <a:gd name="T69" fmla="*/ 1585 h 1589"/>
                  <a:gd name="T70" fmla="*/ 181 w 1190"/>
                  <a:gd name="T71" fmla="*/ 1589 h 1589"/>
                  <a:gd name="T72" fmla="*/ 690 w 1190"/>
                  <a:gd name="T73" fmla="*/ 1589 h 1589"/>
                  <a:gd name="T74" fmla="*/ 1155 w 1190"/>
                  <a:gd name="T75" fmla="*/ 1589 h 1589"/>
                  <a:gd name="T76" fmla="*/ 1164 w 1190"/>
                  <a:gd name="T77" fmla="*/ 1584 h 1589"/>
                  <a:gd name="T78" fmla="*/ 1174 w 1190"/>
                  <a:gd name="T79" fmla="*/ 1578 h 1589"/>
                  <a:gd name="T80" fmla="*/ 1182 w 1190"/>
                  <a:gd name="T81" fmla="*/ 1571 h 1589"/>
                  <a:gd name="T82" fmla="*/ 1190 w 1190"/>
                  <a:gd name="T83" fmla="*/ 1563 h 1589"/>
                  <a:gd name="T84" fmla="*/ 1190 w 1190"/>
                  <a:gd name="T85" fmla="*/ 770 h 1589"/>
                  <a:gd name="T86" fmla="*/ 1190 w 1190"/>
                  <a:gd name="T87" fmla="*/ 49 h 1589"/>
                  <a:gd name="T88" fmla="*/ 1178 w 1190"/>
                  <a:gd name="T89" fmla="*/ 34 h 1589"/>
                  <a:gd name="T90" fmla="*/ 1164 w 1190"/>
                  <a:gd name="T91" fmla="*/ 20 h 1589"/>
                  <a:gd name="T92" fmla="*/ 1148 w 1190"/>
                  <a:gd name="T93" fmla="*/ 8 h 1589"/>
                  <a:gd name="T94" fmla="*/ 1130 w 1190"/>
                  <a:gd name="T95" fmla="*/ 0 h 1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190" h="1589">
                    <a:moveTo>
                      <a:pt x="1130" y="0"/>
                    </a:moveTo>
                    <a:lnTo>
                      <a:pt x="1037" y="0"/>
                    </a:lnTo>
                    <a:lnTo>
                      <a:pt x="915" y="0"/>
                    </a:lnTo>
                    <a:lnTo>
                      <a:pt x="742" y="0"/>
                    </a:lnTo>
                    <a:lnTo>
                      <a:pt x="742" y="15"/>
                    </a:lnTo>
                    <a:lnTo>
                      <a:pt x="742" y="31"/>
                    </a:lnTo>
                    <a:lnTo>
                      <a:pt x="742" y="46"/>
                    </a:lnTo>
                    <a:lnTo>
                      <a:pt x="742" y="61"/>
                    </a:lnTo>
                    <a:lnTo>
                      <a:pt x="767" y="61"/>
                    </a:lnTo>
                    <a:lnTo>
                      <a:pt x="858" y="61"/>
                    </a:lnTo>
                    <a:lnTo>
                      <a:pt x="864" y="64"/>
                    </a:lnTo>
                    <a:lnTo>
                      <a:pt x="870" y="67"/>
                    </a:lnTo>
                    <a:lnTo>
                      <a:pt x="877" y="71"/>
                    </a:lnTo>
                    <a:lnTo>
                      <a:pt x="882" y="73"/>
                    </a:lnTo>
                    <a:lnTo>
                      <a:pt x="887" y="78"/>
                    </a:lnTo>
                    <a:lnTo>
                      <a:pt x="893" y="81"/>
                    </a:lnTo>
                    <a:lnTo>
                      <a:pt x="897" y="85"/>
                    </a:lnTo>
                    <a:lnTo>
                      <a:pt x="902" y="89"/>
                    </a:lnTo>
                    <a:lnTo>
                      <a:pt x="909" y="96"/>
                    </a:lnTo>
                    <a:lnTo>
                      <a:pt x="915" y="103"/>
                    </a:lnTo>
                    <a:lnTo>
                      <a:pt x="919" y="110"/>
                    </a:lnTo>
                    <a:lnTo>
                      <a:pt x="923" y="117"/>
                    </a:lnTo>
                    <a:lnTo>
                      <a:pt x="923" y="131"/>
                    </a:lnTo>
                    <a:lnTo>
                      <a:pt x="1093" y="131"/>
                    </a:lnTo>
                    <a:lnTo>
                      <a:pt x="1093" y="793"/>
                    </a:lnTo>
                    <a:lnTo>
                      <a:pt x="1093" y="1435"/>
                    </a:lnTo>
                    <a:lnTo>
                      <a:pt x="712" y="1435"/>
                    </a:lnTo>
                    <a:lnTo>
                      <a:pt x="285" y="1435"/>
                    </a:lnTo>
                    <a:lnTo>
                      <a:pt x="103" y="1435"/>
                    </a:lnTo>
                    <a:lnTo>
                      <a:pt x="103" y="1023"/>
                    </a:lnTo>
                    <a:lnTo>
                      <a:pt x="103" y="131"/>
                    </a:lnTo>
                    <a:lnTo>
                      <a:pt x="160" y="131"/>
                    </a:lnTo>
                    <a:lnTo>
                      <a:pt x="287" y="131"/>
                    </a:lnTo>
                    <a:lnTo>
                      <a:pt x="287" y="121"/>
                    </a:lnTo>
                    <a:lnTo>
                      <a:pt x="292" y="112"/>
                    </a:lnTo>
                    <a:lnTo>
                      <a:pt x="297" y="103"/>
                    </a:lnTo>
                    <a:lnTo>
                      <a:pt x="304" y="95"/>
                    </a:lnTo>
                    <a:lnTo>
                      <a:pt x="311" y="87"/>
                    </a:lnTo>
                    <a:lnTo>
                      <a:pt x="319" y="79"/>
                    </a:lnTo>
                    <a:lnTo>
                      <a:pt x="327" y="73"/>
                    </a:lnTo>
                    <a:lnTo>
                      <a:pt x="336" y="66"/>
                    </a:lnTo>
                    <a:lnTo>
                      <a:pt x="347" y="61"/>
                    </a:lnTo>
                    <a:lnTo>
                      <a:pt x="425" y="61"/>
                    </a:lnTo>
                    <a:lnTo>
                      <a:pt x="469" y="61"/>
                    </a:lnTo>
                    <a:lnTo>
                      <a:pt x="469" y="46"/>
                    </a:lnTo>
                    <a:lnTo>
                      <a:pt x="469" y="31"/>
                    </a:lnTo>
                    <a:lnTo>
                      <a:pt x="469" y="15"/>
                    </a:lnTo>
                    <a:lnTo>
                      <a:pt x="469" y="0"/>
                    </a:lnTo>
                    <a:lnTo>
                      <a:pt x="149" y="0"/>
                    </a:lnTo>
                    <a:lnTo>
                      <a:pt x="146" y="0"/>
                    </a:lnTo>
                    <a:lnTo>
                      <a:pt x="54" y="0"/>
                    </a:lnTo>
                    <a:lnTo>
                      <a:pt x="46" y="4"/>
                    </a:lnTo>
                    <a:lnTo>
                      <a:pt x="38" y="7"/>
                    </a:lnTo>
                    <a:lnTo>
                      <a:pt x="31" y="12"/>
                    </a:lnTo>
                    <a:lnTo>
                      <a:pt x="24" y="17"/>
                    </a:lnTo>
                    <a:lnTo>
                      <a:pt x="18" y="22"/>
                    </a:lnTo>
                    <a:lnTo>
                      <a:pt x="11" y="28"/>
                    </a:lnTo>
                    <a:lnTo>
                      <a:pt x="5" y="34"/>
                    </a:lnTo>
                    <a:lnTo>
                      <a:pt x="0" y="41"/>
                    </a:lnTo>
                    <a:lnTo>
                      <a:pt x="0" y="163"/>
                    </a:lnTo>
                    <a:lnTo>
                      <a:pt x="0" y="1047"/>
                    </a:lnTo>
                    <a:lnTo>
                      <a:pt x="0" y="1459"/>
                    </a:lnTo>
                    <a:lnTo>
                      <a:pt x="0" y="1541"/>
                    </a:lnTo>
                    <a:lnTo>
                      <a:pt x="4" y="1548"/>
                    </a:lnTo>
                    <a:lnTo>
                      <a:pt x="7" y="1555"/>
                    </a:lnTo>
                    <a:lnTo>
                      <a:pt x="12" y="1562"/>
                    </a:lnTo>
                    <a:lnTo>
                      <a:pt x="18" y="1569"/>
                    </a:lnTo>
                    <a:lnTo>
                      <a:pt x="23" y="1575"/>
                    </a:lnTo>
                    <a:lnTo>
                      <a:pt x="29" y="1580"/>
                    </a:lnTo>
                    <a:lnTo>
                      <a:pt x="36" y="1585"/>
                    </a:lnTo>
                    <a:lnTo>
                      <a:pt x="43" y="1589"/>
                    </a:lnTo>
                    <a:lnTo>
                      <a:pt x="181" y="1589"/>
                    </a:lnTo>
                    <a:lnTo>
                      <a:pt x="300" y="1589"/>
                    </a:lnTo>
                    <a:lnTo>
                      <a:pt x="690" y="1589"/>
                    </a:lnTo>
                    <a:lnTo>
                      <a:pt x="1035" y="1589"/>
                    </a:lnTo>
                    <a:lnTo>
                      <a:pt x="1155" y="1589"/>
                    </a:lnTo>
                    <a:lnTo>
                      <a:pt x="1160" y="1587"/>
                    </a:lnTo>
                    <a:lnTo>
                      <a:pt x="1164" y="1584"/>
                    </a:lnTo>
                    <a:lnTo>
                      <a:pt x="1169" y="1580"/>
                    </a:lnTo>
                    <a:lnTo>
                      <a:pt x="1174" y="1578"/>
                    </a:lnTo>
                    <a:lnTo>
                      <a:pt x="1178" y="1575"/>
                    </a:lnTo>
                    <a:lnTo>
                      <a:pt x="1182" y="1571"/>
                    </a:lnTo>
                    <a:lnTo>
                      <a:pt x="1186" y="1566"/>
                    </a:lnTo>
                    <a:lnTo>
                      <a:pt x="1190" y="1563"/>
                    </a:lnTo>
                    <a:lnTo>
                      <a:pt x="1190" y="1427"/>
                    </a:lnTo>
                    <a:lnTo>
                      <a:pt x="1190" y="770"/>
                    </a:lnTo>
                    <a:lnTo>
                      <a:pt x="1190" y="154"/>
                    </a:lnTo>
                    <a:lnTo>
                      <a:pt x="1190" y="49"/>
                    </a:lnTo>
                    <a:lnTo>
                      <a:pt x="1184" y="41"/>
                    </a:lnTo>
                    <a:lnTo>
                      <a:pt x="1178" y="34"/>
                    </a:lnTo>
                    <a:lnTo>
                      <a:pt x="1171" y="26"/>
                    </a:lnTo>
                    <a:lnTo>
                      <a:pt x="1164" y="20"/>
                    </a:lnTo>
                    <a:lnTo>
                      <a:pt x="1156" y="14"/>
                    </a:lnTo>
                    <a:lnTo>
                      <a:pt x="1148" y="8"/>
                    </a:lnTo>
                    <a:lnTo>
                      <a:pt x="1139" y="4"/>
                    </a:lnTo>
                    <a:lnTo>
                      <a:pt x="113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77" name="Freeform 306">
                <a:extLst>
                  <a:ext uri="{FF2B5EF4-FFF2-40B4-BE49-F238E27FC236}">
                    <a16:creationId xmlns:a16="http://schemas.microsoft.com/office/drawing/2014/main" id="{1E8BD094-3C46-44F7-ABCC-7AA59639E8E9}"/>
                  </a:ext>
                </a:extLst>
              </p:cNvPr>
              <p:cNvSpPr>
                <a:spLocks/>
              </p:cNvSpPr>
              <p:nvPr/>
            </p:nvSpPr>
            <p:spPr bwMode="auto">
              <a:xfrm>
                <a:off x="6241659" y="3335569"/>
                <a:ext cx="143216" cy="108664"/>
              </a:xfrm>
              <a:custGeom>
                <a:avLst/>
                <a:gdLst>
                  <a:gd name="T0" fmla="*/ 547 w 574"/>
                  <a:gd name="T1" fmla="*/ 307 h 434"/>
                  <a:gd name="T2" fmla="*/ 538 w 574"/>
                  <a:gd name="T3" fmla="*/ 299 h 434"/>
                  <a:gd name="T4" fmla="*/ 526 w 574"/>
                  <a:gd name="T5" fmla="*/ 292 h 434"/>
                  <a:gd name="T6" fmla="*/ 515 w 574"/>
                  <a:gd name="T7" fmla="*/ 286 h 434"/>
                  <a:gd name="T8" fmla="*/ 449 w 574"/>
                  <a:gd name="T9" fmla="*/ 284 h 434"/>
                  <a:gd name="T10" fmla="*/ 392 w 574"/>
                  <a:gd name="T11" fmla="*/ 264 h 434"/>
                  <a:gd name="T12" fmla="*/ 392 w 574"/>
                  <a:gd name="T13" fmla="*/ 211 h 434"/>
                  <a:gd name="T14" fmla="*/ 392 w 574"/>
                  <a:gd name="T15" fmla="*/ 160 h 434"/>
                  <a:gd name="T16" fmla="*/ 392 w 574"/>
                  <a:gd name="T17" fmla="*/ 112 h 434"/>
                  <a:gd name="T18" fmla="*/ 392 w 574"/>
                  <a:gd name="T19" fmla="*/ 97 h 434"/>
                  <a:gd name="T20" fmla="*/ 392 w 574"/>
                  <a:gd name="T21" fmla="*/ 95 h 434"/>
                  <a:gd name="T22" fmla="*/ 389 w 574"/>
                  <a:gd name="T23" fmla="*/ 76 h 434"/>
                  <a:gd name="T24" fmla="*/ 373 w 574"/>
                  <a:gd name="T25" fmla="*/ 42 h 434"/>
                  <a:gd name="T26" fmla="*/ 346 w 574"/>
                  <a:gd name="T27" fmla="*/ 16 h 434"/>
                  <a:gd name="T28" fmla="*/ 308 w 574"/>
                  <a:gd name="T29" fmla="*/ 3 h 434"/>
                  <a:gd name="T30" fmla="*/ 270 w 574"/>
                  <a:gd name="T31" fmla="*/ 1 h 434"/>
                  <a:gd name="T32" fmla="*/ 238 w 574"/>
                  <a:gd name="T33" fmla="*/ 11 h 434"/>
                  <a:gd name="T34" fmla="*/ 212 w 574"/>
                  <a:gd name="T35" fmla="*/ 29 h 434"/>
                  <a:gd name="T36" fmla="*/ 194 w 574"/>
                  <a:gd name="T37" fmla="*/ 53 h 434"/>
                  <a:gd name="T38" fmla="*/ 185 w 574"/>
                  <a:gd name="T39" fmla="*/ 74 h 434"/>
                  <a:gd name="T40" fmla="*/ 183 w 574"/>
                  <a:gd name="T41" fmla="*/ 88 h 434"/>
                  <a:gd name="T42" fmla="*/ 183 w 574"/>
                  <a:gd name="T43" fmla="*/ 103 h 434"/>
                  <a:gd name="T44" fmla="*/ 183 w 574"/>
                  <a:gd name="T45" fmla="*/ 154 h 434"/>
                  <a:gd name="T46" fmla="*/ 183 w 574"/>
                  <a:gd name="T47" fmla="*/ 211 h 434"/>
                  <a:gd name="T48" fmla="*/ 183 w 574"/>
                  <a:gd name="T49" fmla="*/ 264 h 434"/>
                  <a:gd name="T50" fmla="*/ 138 w 574"/>
                  <a:gd name="T51" fmla="*/ 284 h 434"/>
                  <a:gd name="T52" fmla="*/ 51 w 574"/>
                  <a:gd name="T53" fmla="*/ 288 h 434"/>
                  <a:gd name="T54" fmla="*/ 33 w 574"/>
                  <a:gd name="T55" fmla="*/ 301 h 434"/>
                  <a:gd name="T56" fmla="*/ 18 w 574"/>
                  <a:gd name="T57" fmla="*/ 316 h 434"/>
                  <a:gd name="T58" fmla="*/ 6 w 574"/>
                  <a:gd name="T59" fmla="*/ 334 h 434"/>
                  <a:gd name="T60" fmla="*/ 1 w 574"/>
                  <a:gd name="T61" fmla="*/ 353 h 434"/>
                  <a:gd name="T62" fmla="*/ 1 w 574"/>
                  <a:gd name="T63" fmla="*/ 434 h 434"/>
                  <a:gd name="T64" fmla="*/ 167 w 574"/>
                  <a:gd name="T65" fmla="*/ 434 h 434"/>
                  <a:gd name="T66" fmla="*/ 562 w 574"/>
                  <a:gd name="T67" fmla="*/ 434 h 434"/>
                  <a:gd name="T68" fmla="*/ 574 w 574"/>
                  <a:gd name="T69" fmla="*/ 434 h 434"/>
                  <a:gd name="T70" fmla="*/ 574 w 574"/>
                  <a:gd name="T71" fmla="*/ 353 h 434"/>
                  <a:gd name="T72" fmla="*/ 569 w 574"/>
                  <a:gd name="T73" fmla="*/ 331 h 434"/>
                  <a:gd name="T74" fmla="*/ 559 w 574"/>
                  <a:gd name="T75" fmla="*/ 317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74" h="434">
                    <a:moveTo>
                      <a:pt x="552" y="311"/>
                    </a:moveTo>
                    <a:lnTo>
                      <a:pt x="547" y="307"/>
                    </a:lnTo>
                    <a:lnTo>
                      <a:pt x="542" y="303"/>
                    </a:lnTo>
                    <a:lnTo>
                      <a:pt x="538" y="299"/>
                    </a:lnTo>
                    <a:lnTo>
                      <a:pt x="532" y="295"/>
                    </a:lnTo>
                    <a:lnTo>
                      <a:pt x="526" y="292"/>
                    </a:lnTo>
                    <a:lnTo>
                      <a:pt x="521" y="288"/>
                    </a:lnTo>
                    <a:lnTo>
                      <a:pt x="515" y="286"/>
                    </a:lnTo>
                    <a:lnTo>
                      <a:pt x="508" y="284"/>
                    </a:lnTo>
                    <a:lnTo>
                      <a:pt x="449" y="284"/>
                    </a:lnTo>
                    <a:lnTo>
                      <a:pt x="392" y="284"/>
                    </a:lnTo>
                    <a:lnTo>
                      <a:pt x="392" y="264"/>
                    </a:lnTo>
                    <a:lnTo>
                      <a:pt x="392" y="238"/>
                    </a:lnTo>
                    <a:lnTo>
                      <a:pt x="392" y="211"/>
                    </a:lnTo>
                    <a:lnTo>
                      <a:pt x="392" y="190"/>
                    </a:lnTo>
                    <a:lnTo>
                      <a:pt x="392" y="160"/>
                    </a:lnTo>
                    <a:lnTo>
                      <a:pt x="392" y="134"/>
                    </a:lnTo>
                    <a:lnTo>
                      <a:pt x="392" y="112"/>
                    </a:lnTo>
                    <a:lnTo>
                      <a:pt x="392" y="98"/>
                    </a:lnTo>
                    <a:lnTo>
                      <a:pt x="392" y="97"/>
                    </a:lnTo>
                    <a:lnTo>
                      <a:pt x="392" y="96"/>
                    </a:lnTo>
                    <a:lnTo>
                      <a:pt x="392" y="95"/>
                    </a:lnTo>
                    <a:lnTo>
                      <a:pt x="392" y="95"/>
                    </a:lnTo>
                    <a:lnTo>
                      <a:pt x="389" y="76"/>
                    </a:lnTo>
                    <a:lnTo>
                      <a:pt x="384" y="58"/>
                    </a:lnTo>
                    <a:lnTo>
                      <a:pt x="373" y="42"/>
                    </a:lnTo>
                    <a:lnTo>
                      <a:pt x="360" y="28"/>
                    </a:lnTo>
                    <a:lnTo>
                      <a:pt x="346" y="16"/>
                    </a:lnTo>
                    <a:lnTo>
                      <a:pt x="327" y="7"/>
                    </a:lnTo>
                    <a:lnTo>
                      <a:pt x="308" y="3"/>
                    </a:lnTo>
                    <a:lnTo>
                      <a:pt x="287" y="0"/>
                    </a:lnTo>
                    <a:lnTo>
                      <a:pt x="270" y="1"/>
                    </a:lnTo>
                    <a:lnTo>
                      <a:pt x="253" y="5"/>
                    </a:lnTo>
                    <a:lnTo>
                      <a:pt x="238" y="11"/>
                    </a:lnTo>
                    <a:lnTo>
                      <a:pt x="225" y="19"/>
                    </a:lnTo>
                    <a:lnTo>
                      <a:pt x="212" y="29"/>
                    </a:lnTo>
                    <a:lnTo>
                      <a:pt x="202" y="41"/>
                    </a:lnTo>
                    <a:lnTo>
                      <a:pt x="194" y="53"/>
                    </a:lnTo>
                    <a:lnTo>
                      <a:pt x="188" y="67"/>
                    </a:lnTo>
                    <a:lnTo>
                      <a:pt x="185" y="74"/>
                    </a:lnTo>
                    <a:lnTo>
                      <a:pt x="184" y="81"/>
                    </a:lnTo>
                    <a:lnTo>
                      <a:pt x="183" y="88"/>
                    </a:lnTo>
                    <a:lnTo>
                      <a:pt x="183" y="95"/>
                    </a:lnTo>
                    <a:lnTo>
                      <a:pt x="183" y="103"/>
                    </a:lnTo>
                    <a:lnTo>
                      <a:pt x="183" y="124"/>
                    </a:lnTo>
                    <a:lnTo>
                      <a:pt x="183" y="154"/>
                    </a:lnTo>
                    <a:lnTo>
                      <a:pt x="183" y="190"/>
                    </a:lnTo>
                    <a:lnTo>
                      <a:pt x="183" y="211"/>
                    </a:lnTo>
                    <a:lnTo>
                      <a:pt x="183" y="238"/>
                    </a:lnTo>
                    <a:lnTo>
                      <a:pt x="183" y="264"/>
                    </a:lnTo>
                    <a:lnTo>
                      <a:pt x="183" y="284"/>
                    </a:lnTo>
                    <a:lnTo>
                      <a:pt x="138" y="284"/>
                    </a:lnTo>
                    <a:lnTo>
                      <a:pt x="61" y="284"/>
                    </a:lnTo>
                    <a:lnTo>
                      <a:pt x="51" y="288"/>
                    </a:lnTo>
                    <a:lnTo>
                      <a:pt x="42" y="295"/>
                    </a:lnTo>
                    <a:lnTo>
                      <a:pt x="33" y="301"/>
                    </a:lnTo>
                    <a:lnTo>
                      <a:pt x="25" y="308"/>
                    </a:lnTo>
                    <a:lnTo>
                      <a:pt x="18" y="316"/>
                    </a:lnTo>
                    <a:lnTo>
                      <a:pt x="12" y="325"/>
                    </a:lnTo>
                    <a:lnTo>
                      <a:pt x="6" y="334"/>
                    </a:lnTo>
                    <a:lnTo>
                      <a:pt x="1" y="344"/>
                    </a:lnTo>
                    <a:lnTo>
                      <a:pt x="1" y="353"/>
                    </a:lnTo>
                    <a:lnTo>
                      <a:pt x="1" y="392"/>
                    </a:lnTo>
                    <a:lnTo>
                      <a:pt x="1" y="434"/>
                    </a:lnTo>
                    <a:lnTo>
                      <a:pt x="0" y="434"/>
                    </a:lnTo>
                    <a:lnTo>
                      <a:pt x="167" y="434"/>
                    </a:lnTo>
                    <a:lnTo>
                      <a:pt x="407" y="434"/>
                    </a:lnTo>
                    <a:lnTo>
                      <a:pt x="562" y="434"/>
                    </a:lnTo>
                    <a:lnTo>
                      <a:pt x="550" y="434"/>
                    </a:lnTo>
                    <a:lnTo>
                      <a:pt x="574" y="434"/>
                    </a:lnTo>
                    <a:lnTo>
                      <a:pt x="574" y="405"/>
                    </a:lnTo>
                    <a:lnTo>
                      <a:pt x="574" y="353"/>
                    </a:lnTo>
                    <a:lnTo>
                      <a:pt x="574" y="339"/>
                    </a:lnTo>
                    <a:lnTo>
                      <a:pt x="569" y="331"/>
                    </a:lnTo>
                    <a:lnTo>
                      <a:pt x="564" y="324"/>
                    </a:lnTo>
                    <a:lnTo>
                      <a:pt x="559" y="317"/>
                    </a:lnTo>
                    <a:lnTo>
                      <a:pt x="552" y="3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78" name="Freeform 307">
                <a:extLst>
                  <a:ext uri="{FF2B5EF4-FFF2-40B4-BE49-F238E27FC236}">
                    <a16:creationId xmlns:a16="http://schemas.microsoft.com/office/drawing/2014/main" id="{BD2715A8-3E95-4C09-BFE2-7496B81AE804}"/>
                  </a:ext>
                </a:extLst>
              </p:cNvPr>
              <p:cNvSpPr>
                <a:spLocks/>
              </p:cNvSpPr>
              <p:nvPr/>
            </p:nvSpPr>
            <p:spPr bwMode="auto">
              <a:xfrm>
                <a:off x="6296742" y="3347087"/>
                <a:ext cx="33551" cy="31047"/>
              </a:xfrm>
              <a:custGeom>
                <a:avLst/>
                <a:gdLst>
                  <a:gd name="T0" fmla="*/ 132 w 135"/>
                  <a:gd name="T1" fmla="*/ 46 h 124"/>
                  <a:gd name="T2" fmla="*/ 129 w 135"/>
                  <a:gd name="T3" fmla="*/ 37 h 124"/>
                  <a:gd name="T4" fmla="*/ 123 w 135"/>
                  <a:gd name="T5" fmla="*/ 28 h 124"/>
                  <a:gd name="T6" fmla="*/ 116 w 135"/>
                  <a:gd name="T7" fmla="*/ 20 h 124"/>
                  <a:gd name="T8" fmla="*/ 108 w 135"/>
                  <a:gd name="T9" fmla="*/ 13 h 124"/>
                  <a:gd name="T10" fmla="*/ 99 w 135"/>
                  <a:gd name="T11" fmla="*/ 8 h 124"/>
                  <a:gd name="T12" fmla="*/ 90 w 135"/>
                  <a:gd name="T13" fmla="*/ 4 h 124"/>
                  <a:gd name="T14" fmla="*/ 78 w 135"/>
                  <a:gd name="T15" fmla="*/ 1 h 124"/>
                  <a:gd name="T16" fmla="*/ 67 w 135"/>
                  <a:gd name="T17" fmla="*/ 0 h 124"/>
                  <a:gd name="T18" fmla="*/ 59 w 135"/>
                  <a:gd name="T19" fmla="*/ 0 h 124"/>
                  <a:gd name="T20" fmla="*/ 50 w 135"/>
                  <a:gd name="T21" fmla="*/ 3 h 124"/>
                  <a:gd name="T22" fmla="*/ 43 w 135"/>
                  <a:gd name="T23" fmla="*/ 5 h 124"/>
                  <a:gd name="T24" fmla="*/ 35 w 135"/>
                  <a:gd name="T25" fmla="*/ 7 h 124"/>
                  <a:gd name="T26" fmla="*/ 28 w 135"/>
                  <a:gd name="T27" fmla="*/ 12 h 124"/>
                  <a:gd name="T28" fmla="*/ 22 w 135"/>
                  <a:gd name="T29" fmla="*/ 16 h 124"/>
                  <a:gd name="T30" fmla="*/ 16 w 135"/>
                  <a:gd name="T31" fmla="*/ 22 h 124"/>
                  <a:gd name="T32" fmla="*/ 12 w 135"/>
                  <a:gd name="T33" fmla="*/ 28 h 124"/>
                  <a:gd name="T34" fmla="*/ 7 w 135"/>
                  <a:gd name="T35" fmla="*/ 35 h 124"/>
                  <a:gd name="T36" fmla="*/ 3 w 135"/>
                  <a:gd name="T37" fmla="*/ 43 h 124"/>
                  <a:gd name="T38" fmla="*/ 1 w 135"/>
                  <a:gd name="T39" fmla="*/ 52 h 124"/>
                  <a:gd name="T40" fmla="*/ 0 w 135"/>
                  <a:gd name="T41" fmla="*/ 61 h 124"/>
                  <a:gd name="T42" fmla="*/ 1 w 135"/>
                  <a:gd name="T43" fmla="*/ 74 h 124"/>
                  <a:gd name="T44" fmla="*/ 6 w 135"/>
                  <a:gd name="T45" fmla="*/ 86 h 124"/>
                  <a:gd name="T46" fmla="*/ 12 w 135"/>
                  <a:gd name="T47" fmla="*/ 96 h 124"/>
                  <a:gd name="T48" fmla="*/ 20 w 135"/>
                  <a:gd name="T49" fmla="*/ 105 h 124"/>
                  <a:gd name="T50" fmla="*/ 30 w 135"/>
                  <a:gd name="T51" fmla="*/ 113 h 124"/>
                  <a:gd name="T52" fmla="*/ 40 w 135"/>
                  <a:gd name="T53" fmla="*/ 119 h 124"/>
                  <a:gd name="T54" fmla="*/ 53 w 135"/>
                  <a:gd name="T55" fmla="*/ 122 h 124"/>
                  <a:gd name="T56" fmla="*/ 67 w 135"/>
                  <a:gd name="T57" fmla="*/ 124 h 124"/>
                  <a:gd name="T58" fmla="*/ 81 w 135"/>
                  <a:gd name="T59" fmla="*/ 122 h 124"/>
                  <a:gd name="T60" fmla="*/ 93 w 135"/>
                  <a:gd name="T61" fmla="*/ 119 h 124"/>
                  <a:gd name="T62" fmla="*/ 105 w 135"/>
                  <a:gd name="T63" fmla="*/ 113 h 124"/>
                  <a:gd name="T64" fmla="*/ 115 w 135"/>
                  <a:gd name="T65" fmla="*/ 105 h 124"/>
                  <a:gd name="T66" fmla="*/ 123 w 135"/>
                  <a:gd name="T67" fmla="*/ 96 h 124"/>
                  <a:gd name="T68" fmla="*/ 129 w 135"/>
                  <a:gd name="T69" fmla="*/ 86 h 124"/>
                  <a:gd name="T70" fmla="*/ 134 w 135"/>
                  <a:gd name="T71" fmla="*/ 74 h 124"/>
                  <a:gd name="T72" fmla="*/ 135 w 135"/>
                  <a:gd name="T73" fmla="*/ 61 h 124"/>
                  <a:gd name="T74" fmla="*/ 135 w 135"/>
                  <a:gd name="T75" fmla="*/ 58 h 124"/>
                  <a:gd name="T76" fmla="*/ 134 w 135"/>
                  <a:gd name="T77" fmla="*/ 53 h 124"/>
                  <a:gd name="T78" fmla="*/ 134 w 135"/>
                  <a:gd name="T79" fmla="*/ 50 h 124"/>
                  <a:gd name="T80" fmla="*/ 132 w 135"/>
                  <a:gd name="T81" fmla="*/ 46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5" h="124">
                    <a:moveTo>
                      <a:pt x="132" y="46"/>
                    </a:moveTo>
                    <a:lnTo>
                      <a:pt x="129" y="37"/>
                    </a:lnTo>
                    <a:lnTo>
                      <a:pt x="123" y="28"/>
                    </a:lnTo>
                    <a:lnTo>
                      <a:pt x="116" y="20"/>
                    </a:lnTo>
                    <a:lnTo>
                      <a:pt x="108" y="13"/>
                    </a:lnTo>
                    <a:lnTo>
                      <a:pt x="99" y="8"/>
                    </a:lnTo>
                    <a:lnTo>
                      <a:pt x="90" y="4"/>
                    </a:lnTo>
                    <a:lnTo>
                      <a:pt x="78" y="1"/>
                    </a:lnTo>
                    <a:lnTo>
                      <a:pt x="67" y="0"/>
                    </a:lnTo>
                    <a:lnTo>
                      <a:pt x="59" y="0"/>
                    </a:lnTo>
                    <a:lnTo>
                      <a:pt x="50" y="3"/>
                    </a:lnTo>
                    <a:lnTo>
                      <a:pt x="43" y="5"/>
                    </a:lnTo>
                    <a:lnTo>
                      <a:pt x="35" y="7"/>
                    </a:lnTo>
                    <a:lnTo>
                      <a:pt x="28" y="12"/>
                    </a:lnTo>
                    <a:lnTo>
                      <a:pt x="22" y="16"/>
                    </a:lnTo>
                    <a:lnTo>
                      <a:pt x="16" y="22"/>
                    </a:lnTo>
                    <a:lnTo>
                      <a:pt x="12" y="28"/>
                    </a:lnTo>
                    <a:lnTo>
                      <a:pt x="7" y="35"/>
                    </a:lnTo>
                    <a:lnTo>
                      <a:pt x="3" y="43"/>
                    </a:lnTo>
                    <a:lnTo>
                      <a:pt x="1" y="52"/>
                    </a:lnTo>
                    <a:lnTo>
                      <a:pt x="0" y="61"/>
                    </a:lnTo>
                    <a:lnTo>
                      <a:pt x="1" y="74"/>
                    </a:lnTo>
                    <a:lnTo>
                      <a:pt x="6" y="86"/>
                    </a:lnTo>
                    <a:lnTo>
                      <a:pt x="12" y="96"/>
                    </a:lnTo>
                    <a:lnTo>
                      <a:pt x="20" y="105"/>
                    </a:lnTo>
                    <a:lnTo>
                      <a:pt x="30" y="113"/>
                    </a:lnTo>
                    <a:lnTo>
                      <a:pt x="40" y="119"/>
                    </a:lnTo>
                    <a:lnTo>
                      <a:pt x="53" y="122"/>
                    </a:lnTo>
                    <a:lnTo>
                      <a:pt x="67" y="124"/>
                    </a:lnTo>
                    <a:lnTo>
                      <a:pt x="81" y="122"/>
                    </a:lnTo>
                    <a:lnTo>
                      <a:pt x="93" y="119"/>
                    </a:lnTo>
                    <a:lnTo>
                      <a:pt x="105" y="113"/>
                    </a:lnTo>
                    <a:lnTo>
                      <a:pt x="115" y="105"/>
                    </a:lnTo>
                    <a:lnTo>
                      <a:pt x="123" y="96"/>
                    </a:lnTo>
                    <a:lnTo>
                      <a:pt x="129" y="86"/>
                    </a:lnTo>
                    <a:lnTo>
                      <a:pt x="134" y="74"/>
                    </a:lnTo>
                    <a:lnTo>
                      <a:pt x="135" y="61"/>
                    </a:lnTo>
                    <a:lnTo>
                      <a:pt x="135" y="58"/>
                    </a:lnTo>
                    <a:lnTo>
                      <a:pt x="134" y="53"/>
                    </a:lnTo>
                    <a:lnTo>
                      <a:pt x="134" y="50"/>
                    </a:lnTo>
                    <a:lnTo>
                      <a:pt x="132" y="46"/>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79" name="Rectangle 308">
                <a:extLst>
                  <a:ext uri="{FF2B5EF4-FFF2-40B4-BE49-F238E27FC236}">
                    <a16:creationId xmlns:a16="http://schemas.microsoft.com/office/drawing/2014/main" id="{96B0A5B7-2866-4395-8622-35148FB1870F}"/>
                  </a:ext>
                </a:extLst>
              </p:cNvPr>
              <p:cNvSpPr>
                <a:spLocks noChangeArrowheads="1"/>
              </p:cNvSpPr>
              <p:nvPr/>
            </p:nvSpPr>
            <p:spPr bwMode="auto">
              <a:xfrm>
                <a:off x="6214118" y="3488801"/>
                <a:ext cx="190788" cy="1452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80" name="Rectangle 309">
                <a:extLst>
                  <a:ext uri="{FF2B5EF4-FFF2-40B4-BE49-F238E27FC236}">
                    <a16:creationId xmlns:a16="http://schemas.microsoft.com/office/drawing/2014/main" id="{F4748574-362C-4A00-B5E4-91AE27E51B88}"/>
                  </a:ext>
                </a:extLst>
              </p:cNvPr>
              <p:cNvSpPr>
                <a:spLocks noChangeArrowheads="1"/>
              </p:cNvSpPr>
              <p:nvPr/>
            </p:nvSpPr>
            <p:spPr bwMode="auto">
              <a:xfrm>
                <a:off x="6214118" y="3640030"/>
                <a:ext cx="190788" cy="1452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81" name="Rectangle 310">
                <a:extLst>
                  <a:ext uri="{FF2B5EF4-FFF2-40B4-BE49-F238E27FC236}">
                    <a16:creationId xmlns:a16="http://schemas.microsoft.com/office/drawing/2014/main" id="{49C5D6A1-A865-48C2-856C-0EAEB28600C3}"/>
                  </a:ext>
                </a:extLst>
              </p:cNvPr>
              <p:cNvSpPr>
                <a:spLocks noChangeArrowheads="1"/>
              </p:cNvSpPr>
              <p:nvPr/>
            </p:nvSpPr>
            <p:spPr bwMode="auto">
              <a:xfrm>
                <a:off x="6214118" y="3601472"/>
                <a:ext cx="191289" cy="1502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82" name="Rectangle 311">
                <a:extLst>
                  <a:ext uri="{FF2B5EF4-FFF2-40B4-BE49-F238E27FC236}">
                    <a16:creationId xmlns:a16="http://schemas.microsoft.com/office/drawing/2014/main" id="{DD139542-9C07-4160-AD0D-8641B032A87F}"/>
                  </a:ext>
                </a:extLst>
              </p:cNvPr>
              <p:cNvSpPr>
                <a:spLocks noChangeArrowheads="1"/>
              </p:cNvSpPr>
              <p:nvPr/>
            </p:nvSpPr>
            <p:spPr bwMode="auto">
              <a:xfrm>
                <a:off x="6214118" y="3563915"/>
                <a:ext cx="191289" cy="1452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83" name="Rectangle 312">
                <a:extLst>
                  <a:ext uri="{FF2B5EF4-FFF2-40B4-BE49-F238E27FC236}">
                    <a16:creationId xmlns:a16="http://schemas.microsoft.com/office/drawing/2014/main" id="{3C7185B0-BA0F-462F-AF5C-9A47F6F478F3}"/>
                  </a:ext>
                </a:extLst>
              </p:cNvPr>
              <p:cNvSpPr>
                <a:spLocks noChangeArrowheads="1"/>
              </p:cNvSpPr>
              <p:nvPr/>
            </p:nvSpPr>
            <p:spPr bwMode="auto">
              <a:xfrm>
                <a:off x="6214119" y="3526358"/>
                <a:ext cx="190788" cy="14522"/>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84" name="Rectangle 313">
                <a:extLst>
                  <a:ext uri="{FF2B5EF4-FFF2-40B4-BE49-F238E27FC236}">
                    <a16:creationId xmlns:a16="http://schemas.microsoft.com/office/drawing/2014/main" id="{B1F0EACE-340B-47DD-A95E-9E397CD7D4BE}"/>
                  </a:ext>
                </a:extLst>
              </p:cNvPr>
              <p:cNvSpPr>
                <a:spLocks noChangeArrowheads="1"/>
              </p:cNvSpPr>
              <p:nvPr/>
            </p:nvSpPr>
            <p:spPr bwMode="auto">
              <a:xfrm>
                <a:off x="6214117" y="3677587"/>
                <a:ext cx="190788" cy="1502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385" name="Group 1384">
            <a:extLst>
              <a:ext uri="{FF2B5EF4-FFF2-40B4-BE49-F238E27FC236}">
                <a16:creationId xmlns:a16="http://schemas.microsoft.com/office/drawing/2014/main" id="{5FEE0DAE-AC1E-4327-B1FE-4075FB01EDDC}"/>
              </a:ext>
            </a:extLst>
          </p:cNvPr>
          <p:cNvGrpSpPr/>
          <p:nvPr/>
        </p:nvGrpSpPr>
        <p:grpSpPr>
          <a:xfrm>
            <a:off x="5389811" y="3168578"/>
            <a:ext cx="612775" cy="612775"/>
            <a:chOff x="4235182" y="3806921"/>
            <a:chExt cx="612775" cy="612775"/>
          </a:xfrm>
        </p:grpSpPr>
        <p:sp>
          <p:nvSpPr>
            <p:cNvPr id="1386" name="Oval 1385">
              <a:extLst>
                <a:ext uri="{FF2B5EF4-FFF2-40B4-BE49-F238E27FC236}">
                  <a16:creationId xmlns:a16="http://schemas.microsoft.com/office/drawing/2014/main" id="{7FA6E95D-079B-40AE-9349-B29564EC9128}"/>
                </a:ext>
              </a:extLst>
            </p:cNvPr>
            <p:cNvSpPr/>
            <p:nvPr/>
          </p:nvSpPr>
          <p:spPr bwMode="ltGray">
            <a:xfrm>
              <a:off x="423518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387" name="Group 1386">
              <a:extLst>
                <a:ext uri="{FF2B5EF4-FFF2-40B4-BE49-F238E27FC236}">
                  <a16:creationId xmlns:a16="http://schemas.microsoft.com/office/drawing/2014/main" id="{1CBEF7DB-B44E-4728-AD9F-DE0CBF1BFB76}"/>
                </a:ext>
              </a:extLst>
            </p:cNvPr>
            <p:cNvGrpSpPr/>
            <p:nvPr/>
          </p:nvGrpSpPr>
          <p:grpSpPr>
            <a:xfrm>
              <a:off x="4330070" y="3987984"/>
              <a:ext cx="461082" cy="236257"/>
              <a:chOff x="790744" y="4997613"/>
              <a:chExt cx="576263" cy="295275"/>
            </a:xfrm>
          </p:grpSpPr>
          <p:grpSp>
            <p:nvGrpSpPr>
              <p:cNvPr id="1388" name="Group 1387">
                <a:extLst>
                  <a:ext uri="{FF2B5EF4-FFF2-40B4-BE49-F238E27FC236}">
                    <a16:creationId xmlns:a16="http://schemas.microsoft.com/office/drawing/2014/main" id="{3ACED6FB-45D7-4436-9897-D76F51CD5818}"/>
                  </a:ext>
                </a:extLst>
              </p:cNvPr>
              <p:cNvGrpSpPr/>
              <p:nvPr/>
            </p:nvGrpSpPr>
            <p:grpSpPr>
              <a:xfrm>
                <a:off x="790744" y="4997613"/>
                <a:ext cx="576263" cy="295275"/>
                <a:chOff x="777764" y="4562525"/>
                <a:chExt cx="576263" cy="295275"/>
              </a:xfrm>
            </p:grpSpPr>
            <p:sp>
              <p:nvSpPr>
                <p:cNvPr id="1390" name="Freeform 130">
                  <a:extLst>
                    <a:ext uri="{FF2B5EF4-FFF2-40B4-BE49-F238E27FC236}">
                      <a16:creationId xmlns:a16="http://schemas.microsoft.com/office/drawing/2014/main" id="{39DEBB48-11BB-488B-BC28-4808C9F660A0}"/>
                    </a:ext>
                  </a:extLst>
                </p:cNvPr>
                <p:cNvSpPr>
                  <a:spLocks noEditPoints="1"/>
                </p:cNvSpPr>
                <p:nvPr/>
              </p:nvSpPr>
              <p:spPr bwMode="auto">
                <a:xfrm>
                  <a:off x="777764" y="4562525"/>
                  <a:ext cx="576263" cy="295275"/>
                </a:xfrm>
                <a:custGeom>
                  <a:avLst/>
                  <a:gdLst/>
                  <a:ahLst/>
                  <a:cxnLst>
                    <a:cxn ang="0">
                      <a:pos x="0" y="0"/>
                    </a:cxn>
                    <a:cxn ang="0">
                      <a:pos x="0" y="186"/>
                    </a:cxn>
                    <a:cxn ang="0">
                      <a:pos x="363" y="186"/>
                    </a:cxn>
                    <a:cxn ang="0">
                      <a:pos x="363" y="0"/>
                    </a:cxn>
                    <a:cxn ang="0">
                      <a:pos x="0" y="0"/>
                    </a:cxn>
                    <a:cxn ang="0">
                      <a:pos x="346" y="169"/>
                    </a:cxn>
                    <a:cxn ang="0">
                      <a:pos x="16" y="169"/>
                    </a:cxn>
                    <a:cxn ang="0">
                      <a:pos x="16" y="13"/>
                    </a:cxn>
                    <a:cxn ang="0">
                      <a:pos x="346" y="13"/>
                    </a:cxn>
                    <a:cxn ang="0">
                      <a:pos x="346" y="169"/>
                    </a:cxn>
                  </a:cxnLst>
                  <a:rect l="0" t="0" r="r" b="b"/>
                  <a:pathLst>
                    <a:path w="363" h="186">
                      <a:moveTo>
                        <a:pt x="0" y="0"/>
                      </a:moveTo>
                      <a:lnTo>
                        <a:pt x="0" y="186"/>
                      </a:lnTo>
                      <a:lnTo>
                        <a:pt x="363" y="186"/>
                      </a:lnTo>
                      <a:lnTo>
                        <a:pt x="363" y="0"/>
                      </a:lnTo>
                      <a:lnTo>
                        <a:pt x="0" y="0"/>
                      </a:lnTo>
                      <a:close/>
                      <a:moveTo>
                        <a:pt x="346" y="169"/>
                      </a:moveTo>
                      <a:lnTo>
                        <a:pt x="16" y="169"/>
                      </a:lnTo>
                      <a:lnTo>
                        <a:pt x="16" y="13"/>
                      </a:lnTo>
                      <a:lnTo>
                        <a:pt x="346" y="13"/>
                      </a:lnTo>
                      <a:lnTo>
                        <a:pt x="346" y="169"/>
                      </a:lnTo>
                      <a:close/>
                    </a:path>
                  </a:pathLst>
                </a:custGeom>
                <a:solidFill>
                  <a:srgbClr val="50505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91" name="Freeform 132">
                  <a:extLst>
                    <a:ext uri="{FF2B5EF4-FFF2-40B4-BE49-F238E27FC236}">
                      <a16:creationId xmlns:a16="http://schemas.microsoft.com/office/drawing/2014/main" id="{60E5C06D-517D-4B80-96F5-917AD0460185}"/>
                    </a:ext>
                  </a:extLst>
                </p:cNvPr>
                <p:cNvSpPr>
                  <a:spLocks noEditPoints="1"/>
                </p:cNvSpPr>
                <p:nvPr/>
              </p:nvSpPr>
              <p:spPr bwMode="auto">
                <a:xfrm>
                  <a:off x="1133364" y="4606975"/>
                  <a:ext cx="173038" cy="201613"/>
                </a:xfrm>
                <a:custGeom>
                  <a:avLst/>
                  <a:gdLst/>
                  <a:ahLst/>
                  <a:cxnLst>
                    <a:cxn ang="0">
                      <a:pos x="31" y="53"/>
                    </a:cxn>
                    <a:cxn ang="0">
                      <a:pos x="4" y="104"/>
                    </a:cxn>
                    <a:cxn ang="0">
                      <a:pos x="73" y="104"/>
                    </a:cxn>
                    <a:cxn ang="0">
                      <a:pos x="73" y="104"/>
                    </a:cxn>
                    <a:cxn ang="0">
                      <a:pos x="88" y="89"/>
                    </a:cxn>
                    <a:cxn ang="0">
                      <a:pos x="89" y="89"/>
                    </a:cxn>
                    <a:cxn ang="0">
                      <a:pos x="89" y="17"/>
                    </a:cxn>
                    <a:cxn ang="0">
                      <a:pos x="88" y="17"/>
                    </a:cxn>
                    <a:cxn ang="0">
                      <a:pos x="73" y="2"/>
                    </a:cxn>
                    <a:cxn ang="0">
                      <a:pos x="73" y="0"/>
                    </a:cxn>
                    <a:cxn ang="0">
                      <a:pos x="0" y="0"/>
                    </a:cxn>
                    <a:cxn ang="0">
                      <a:pos x="31" y="53"/>
                    </a:cxn>
                    <a:cxn ang="0">
                      <a:pos x="58" y="43"/>
                    </a:cxn>
                    <a:cxn ang="0">
                      <a:pos x="68" y="53"/>
                    </a:cxn>
                    <a:cxn ang="0">
                      <a:pos x="58" y="63"/>
                    </a:cxn>
                    <a:cxn ang="0">
                      <a:pos x="48" y="53"/>
                    </a:cxn>
                    <a:cxn ang="0">
                      <a:pos x="58" y="43"/>
                    </a:cxn>
                  </a:cxnLst>
                  <a:rect l="0" t="0" r="r" b="b"/>
                  <a:pathLst>
                    <a:path w="89" h="104">
                      <a:moveTo>
                        <a:pt x="31" y="53"/>
                      </a:moveTo>
                      <a:cubicBezTo>
                        <a:pt x="31" y="75"/>
                        <a:pt x="20" y="93"/>
                        <a:pt x="4" y="104"/>
                      </a:cubicBezTo>
                      <a:cubicBezTo>
                        <a:pt x="73" y="104"/>
                        <a:pt x="73" y="104"/>
                        <a:pt x="73" y="104"/>
                      </a:cubicBezTo>
                      <a:cubicBezTo>
                        <a:pt x="73" y="104"/>
                        <a:pt x="73" y="104"/>
                        <a:pt x="73" y="104"/>
                      </a:cubicBezTo>
                      <a:cubicBezTo>
                        <a:pt x="73" y="96"/>
                        <a:pt x="80" y="89"/>
                        <a:pt x="88" y="89"/>
                      </a:cubicBezTo>
                      <a:cubicBezTo>
                        <a:pt x="88" y="89"/>
                        <a:pt x="89" y="89"/>
                        <a:pt x="89" y="89"/>
                      </a:cubicBezTo>
                      <a:cubicBezTo>
                        <a:pt x="89" y="17"/>
                        <a:pt x="89" y="17"/>
                        <a:pt x="89" y="17"/>
                      </a:cubicBezTo>
                      <a:cubicBezTo>
                        <a:pt x="89" y="17"/>
                        <a:pt x="88" y="17"/>
                        <a:pt x="88" y="17"/>
                      </a:cubicBezTo>
                      <a:cubicBezTo>
                        <a:pt x="80" y="17"/>
                        <a:pt x="73" y="11"/>
                        <a:pt x="73" y="2"/>
                      </a:cubicBezTo>
                      <a:cubicBezTo>
                        <a:pt x="73" y="1"/>
                        <a:pt x="73" y="1"/>
                        <a:pt x="73" y="0"/>
                      </a:cubicBezTo>
                      <a:cubicBezTo>
                        <a:pt x="0" y="0"/>
                        <a:pt x="0" y="0"/>
                        <a:pt x="0" y="0"/>
                      </a:cubicBezTo>
                      <a:cubicBezTo>
                        <a:pt x="19" y="10"/>
                        <a:pt x="31" y="30"/>
                        <a:pt x="31" y="53"/>
                      </a:cubicBezTo>
                      <a:close/>
                      <a:moveTo>
                        <a:pt x="58" y="43"/>
                      </a:moveTo>
                      <a:cubicBezTo>
                        <a:pt x="63" y="43"/>
                        <a:pt x="68" y="48"/>
                        <a:pt x="68" y="53"/>
                      </a:cubicBezTo>
                      <a:cubicBezTo>
                        <a:pt x="68" y="59"/>
                        <a:pt x="63" y="63"/>
                        <a:pt x="58" y="63"/>
                      </a:cubicBezTo>
                      <a:cubicBezTo>
                        <a:pt x="52" y="63"/>
                        <a:pt x="48" y="59"/>
                        <a:pt x="48" y="53"/>
                      </a:cubicBezTo>
                      <a:cubicBezTo>
                        <a:pt x="48" y="48"/>
                        <a:pt x="52" y="43"/>
                        <a:pt x="58" y="43"/>
                      </a:cubicBezTo>
                      <a:close/>
                    </a:path>
                  </a:pathLst>
                </a:custGeom>
                <a:solidFill>
                  <a:srgbClr val="50505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392" name="Freeform 133">
                  <a:extLst>
                    <a:ext uri="{FF2B5EF4-FFF2-40B4-BE49-F238E27FC236}">
                      <a16:creationId xmlns:a16="http://schemas.microsoft.com/office/drawing/2014/main" id="{6B2980AC-31C5-4FE5-B3E6-76BDC4EDE3A8}"/>
                    </a:ext>
                  </a:extLst>
                </p:cNvPr>
                <p:cNvSpPr>
                  <a:spLocks noEditPoints="1"/>
                </p:cNvSpPr>
                <p:nvPr/>
              </p:nvSpPr>
              <p:spPr bwMode="auto">
                <a:xfrm>
                  <a:off x="825389" y="4606975"/>
                  <a:ext cx="192088" cy="201613"/>
                </a:xfrm>
                <a:custGeom>
                  <a:avLst/>
                  <a:gdLst/>
                  <a:ahLst/>
                  <a:cxnLst>
                    <a:cxn ang="0">
                      <a:pos x="15" y="104"/>
                    </a:cxn>
                    <a:cxn ang="0">
                      <a:pos x="15" y="104"/>
                    </a:cxn>
                    <a:cxn ang="0">
                      <a:pos x="95" y="104"/>
                    </a:cxn>
                    <a:cxn ang="0">
                      <a:pos x="67" y="53"/>
                    </a:cxn>
                    <a:cxn ang="0">
                      <a:pos x="99" y="0"/>
                    </a:cxn>
                    <a:cxn ang="0">
                      <a:pos x="15" y="0"/>
                    </a:cxn>
                    <a:cxn ang="0">
                      <a:pos x="15" y="2"/>
                    </a:cxn>
                    <a:cxn ang="0">
                      <a:pos x="0" y="17"/>
                    </a:cxn>
                    <a:cxn ang="0">
                      <a:pos x="0" y="17"/>
                    </a:cxn>
                    <a:cxn ang="0">
                      <a:pos x="0" y="89"/>
                    </a:cxn>
                    <a:cxn ang="0">
                      <a:pos x="0" y="89"/>
                    </a:cxn>
                    <a:cxn ang="0">
                      <a:pos x="15" y="104"/>
                    </a:cxn>
                    <a:cxn ang="0">
                      <a:pos x="31" y="43"/>
                    </a:cxn>
                    <a:cxn ang="0">
                      <a:pos x="41" y="53"/>
                    </a:cxn>
                    <a:cxn ang="0">
                      <a:pos x="31" y="63"/>
                    </a:cxn>
                    <a:cxn ang="0">
                      <a:pos x="21" y="53"/>
                    </a:cxn>
                    <a:cxn ang="0">
                      <a:pos x="31" y="43"/>
                    </a:cxn>
                  </a:cxnLst>
                  <a:rect l="0" t="0" r="r" b="b"/>
                  <a:pathLst>
                    <a:path w="99" h="104">
                      <a:moveTo>
                        <a:pt x="15" y="104"/>
                      </a:moveTo>
                      <a:cubicBezTo>
                        <a:pt x="15" y="104"/>
                        <a:pt x="15" y="104"/>
                        <a:pt x="15" y="104"/>
                      </a:cubicBezTo>
                      <a:cubicBezTo>
                        <a:pt x="95" y="104"/>
                        <a:pt x="95" y="104"/>
                        <a:pt x="95" y="104"/>
                      </a:cubicBezTo>
                      <a:cubicBezTo>
                        <a:pt x="78" y="93"/>
                        <a:pt x="67" y="75"/>
                        <a:pt x="67" y="53"/>
                      </a:cubicBezTo>
                      <a:cubicBezTo>
                        <a:pt x="67" y="30"/>
                        <a:pt x="80" y="10"/>
                        <a:pt x="99" y="0"/>
                      </a:cubicBezTo>
                      <a:cubicBezTo>
                        <a:pt x="15" y="0"/>
                        <a:pt x="15" y="0"/>
                        <a:pt x="15" y="0"/>
                      </a:cubicBezTo>
                      <a:cubicBezTo>
                        <a:pt x="15" y="1"/>
                        <a:pt x="15" y="1"/>
                        <a:pt x="15" y="2"/>
                      </a:cubicBezTo>
                      <a:cubicBezTo>
                        <a:pt x="15" y="11"/>
                        <a:pt x="9" y="17"/>
                        <a:pt x="0" y="17"/>
                      </a:cubicBezTo>
                      <a:cubicBezTo>
                        <a:pt x="0" y="17"/>
                        <a:pt x="0" y="17"/>
                        <a:pt x="0" y="17"/>
                      </a:cubicBezTo>
                      <a:cubicBezTo>
                        <a:pt x="0" y="89"/>
                        <a:pt x="0" y="89"/>
                        <a:pt x="0" y="89"/>
                      </a:cubicBezTo>
                      <a:cubicBezTo>
                        <a:pt x="0" y="89"/>
                        <a:pt x="0" y="89"/>
                        <a:pt x="0" y="89"/>
                      </a:cubicBezTo>
                      <a:cubicBezTo>
                        <a:pt x="9" y="89"/>
                        <a:pt x="15" y="96"/>
                        <a:pt x="15" y="104"/>
                      </a:cubicBezTo>
                      <a:close/>
                      <a:moveTo>
                        <a:pt x="31" y="43"/>
                      </a:moveTo>
                      <a:cubicBezTo>
                        <a:pt x="36" y="43"/>
                        <a:pt x="41" y="48"/>
                        <a:pt x="41" y="53"/>
                      </a:cubicBezTo>
                      <a:cubicBezTo>
                        <a:pt x="41" y="59"/>
                        <a:pt x="36" y="63"/>
                        <a:pt x="31" y="63"/>
                      </a:cubicBezTo>
                      <a:cubicBezTo>
                        <a:pt x="25" y="63"/>
                        <a:pt x="21" y="59"/>
                        <a:pt x="21" y="53"/>
                      </a:cubicBezTo>
                      <a:cubicBezTo>
                        <a:pt x="21" y="48"/>
                        <a:pt x="25" y="43"/>
                        <a:pt x="31" y="43"/>
                      </a:cubicBezTo>
                      <a:close/>
                    </a:path>
                  </a:pathLst>
                </a:custGeom>
                <a:solidFill>
                  <a:srgbClr val="505050"/>
                </a:solid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sp>
            <p:nvSpPr>
              <p:cNvPr id="1389" name="Rectangle 60">
                <a:extLst>
                  <a:ext uri="{FF2B5EF4-FFF2-40B4-BE49-F238E27FC236}">
                    <a16:creationId xmlns:a16="http://schemas.microsoft.com/office/drawing/2014/main" id="{7815592E-9B70-47F5-94B2-8D55A243E5EE}"/>
                  </a:ext>
                </a:extLst>
              </p:cNvPr>
              <p:cNvSpPr>
                <a:spLocks noChangeArrowheads="1"/>
              </p:cNvSpPr>
              <p:nvPr/>
            </p:nvSpPr>
            <p:spPr bwMode="auto">
              <a:xfrm>
                <a:off x="992857" y="5011900"/>
                <a:ext cx="183899" cy="252000"/>
              </a:xfrm>
              <a:prstGeom prst="rect">
                <a:avLst/>
              </a:prstGeom>
              <a:noFill/>
              <a:ln w="6350">
                <a:noFill/>
                <a:miter lim="800000"/>
                <a:headEnd type="none" w="sm" len="sm"/>
                <a:tailEnd type="none" w="sm" len="sm"/>
              </a:ln>
              <a:effectLst/>
            </p:spPr>
            <p:txBody>
              <a:bodyPr lIns="54000" tIns="54000" rIns="54000" bIns="54000" anchor="ctr"/>
              <a:lstStyle/>
              <a:p>
                <a:pPr marL="0" marR="0" lvl="0" indent="0" algn="ctr" defTabSz="762000" eaLnBrk="0" fontAlgn="auto" latinLnBrk="0" hangingPunct="0">
                  <a:lnSpc>
                    <a:spcPct val="100000"/>
                  </a:lnSpc>
                  <a:spcBef>
                    <a:spcPts val="0"/>
                  </a:spcBef>
                  <a:spcAft>
                    <a:spcPts val="0"/>
                  </a:spcAft>
                  <a:buClrTx/>
                  <a:buSzTx/>
                  <a:buFontTx/>
                  <a:buNone/>
                  <a:tabLst/>
                  <a:defRPr/>
                </a:pPr>
                <a:r>
                  <a:rPr kumimoji="0" lang="en-GB" sz="1400" b="1" i="0" u="none" strike="noStrike" kern="0" cap="none" spc="0" normalizeH="0" baseline="0" noProof="0">
                    <a:ln>
                      <a:noFill/>
                    </a:ln>
                    <a:solidFill>
                      <a:srgbClr val="505050"/>
                    </a:solidFill>
                    <a:effectLst/>
                    <a:uLnTx/>
                    <a:uFillTx/>
                    <a:latin typeface="Times New Roman"/>
                  </a:rPr>
                  <a:t>£</a:t>
                </a:r>
                <a:endParaRPr kumimoji="0" lang="en-GB" sz="1400" b="0" i="0" u="none" strike="noStrike" kern="0" cap="none" spc="0" normalizeH="0" baseline="0" noProof="0">
                  <a:ln>
                    <a:noFill/>
                  </a:ln>
                  <a:solidFill>
                    <a:srgbClr val="505050"/>
                  </a:solidFill>
                  <a:effectLst/>
                  <a:uLnTx/>
                  <a:uFillTx/>
                  <a:latin typeface="Times New Roman"/>
                </a:endParaRPr>
              </a:p>
            </p:txBody>
          </p:sp>
        </p:grpSp>
      </p:grpSp>
      <p:grpSp>
        <p:nvGrpSpPr>
          <p:cNvPr id="1393" name="Group 1392">
            <a:extLst>
              <a:ext uri="{FF2B5EF4-FFF2-40B4-BE49-F238E27FC236}">
                <a16:creationId xmlns:a16="http://schemas.microsoft.com/office/drawing/2014/main" id="{A4F70EDC-DAD5-4A64-BAF3-D4EE47CF4709}"/>
              </a:ext>
            </a:extLst>
          </p:cNvPr>
          <p:cNvGrpSpPr/>
          <p:nvPr/>
        </p:nvGrpSpPr>
        <p:grpSpPr>
          <a:xfrm>
            <a:off x="8304951" y="1626836"/>
            <a:ext cx="612775" cy="612775"/>
            <a:chOff x="7150322" y="2265179"/>
            <a:chExt cx="612775" cy="612775"/>
          </a:xfrm>
        </p:grpSpPr>
        <p:sp>
          <p:nvSpPr>
            <p:cNvPr id="1394" name="Oval 1393">
              <a:extLst>
                <a:ext uri="{FF2B5EF4-FFF2-40B4-BE49-F238E27FC236}">
                  <a16:creationId xmlns:a16="http://schemas.microsoft.com/office/drawing/2014/main" id="{A084FDBA-9B19-49D6-864B-5E899332EECC}"/>
                </a:ext>
              </a:extLst>
            </p:cNvPr>
            <p:cNvSpPr/>
            <p:nvPr/>
          </p:nvSpPr>
          <p:spPr bwMode="ltGray">
            <a:xfrm>
              <a:off x="7150322"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395" name="Group 1394">
              <a:extLst>
                <a:ext uri="{FF2B5EF4-FFF2-40B4-BE49-F238E27FC236}">
                  <a16:creationId xmlns:a16="http://schemas.microsoft.com/office/drawing/2014/main" id="{7B7B3AA7-BB4E-443D-9CD6-79EC3038E05B}"/>
                </a:ext>
              </a:extLst>
            </p:cNvPr>
            <p:cNvGrpSpPr/>
            <p:nvPr/>
          </p:nvGrpSpPr>
          <p:grpSpPr>
            <a:xfrm>
              <a:off x="7328791" y="2368127"/>
              <a:ext cx="259652" cy="406877"/>
              <a:chOff x="7859713" y="2708275"/>
              <a:chExt cx="307975" cy="482600"/>
            </a:xfrm>
            <a:solidFill>
              <a:srgbClr val="3C3C3E"/>
            </a:solidFill>
          </p:grpSpPr>
          <p:sp>
            <p:nvSpPr>
              <p:cNvPr id="1396" name="Freeform 17">
                <a:extLst>
                  <a:ext uri="{FF2B5EF4-FFF2-40B4-BE49-F238E27FC236}">
                    <a16:creationId xmlns:a16="http://schemas.microsoft.com/office/drawing/2014/main" id="{5B42007A-CC2B-4B54-A830-6800B196E00E}"/>
                  </a:ext>
                </a:extLst>
              </p:cNvPr>
              <p:cNvSpPr>
                <a:spLocks noEditPoints="1"/>
              </p:cNvSpPr>
              <p:nvPr/>
            </p:nvSpPr>
            <p:spPr bwMode="auto">
              <a:xfrm>
                <a:off x="7859713" y="2708275"/>
                <a:ext cx="307975" cy="482600"/>
              </a:xfrm>
              <a:custGeom>
                <a:avLst/>
                <a:gdLst>
                  <a:gd name="T0" fmla="*/ 22 w 194"/>
                  <a:gd name="T1" fmla="*/ 0 h 304"/>
                  <a:gd name="T2" fmla="*/ 13 w 194"/>
                  <a:gd name="T3" fmla="*/ 2 h 304"/>
                  <a:gd name="T4" fmla="*/ 2 w 194"/>
                  <a:gd name="T5" fmla="*/ 13 h 304"/>
                  <a:gd name="T6" fmla="*/ 0 w 194"/>
                  <a:gd name="T7" fmla="*/ 20 h 304"/>
                  <a:gd name="T8" fmla="*/ 0 w 194"/>
                  <a:gd name="T9" fmla="*/ 284 h 304"/>
                  <a:gd name="T10" fmla="*/ 2 w 194"/>
                  <a:gd name="T11" fmla="*/ 293 h 304"/>
                  <a:gd name="T12" fmla="*/ 13 w 194"/>
                  <a:gd name="T13" fmla="*/ 303 h 304"/>
                  <a:gd name="T14" fmla="*/ 172 w 194"/>
                  <a:gd name="T15" fmla="*/ 304 h 304"/>
                  <a:gd name="T16" fmla="*/ 181 w 194"/>
                  <a:gd name="T17" fmla="*/ 303 h 304"/>
                  <a:gd name="T18" fmla="*/ 192 w 194"/>
                  <a:gd name="T19" fmla="*/ 293 h 304"/>
                  <a:gd name="T20" fmla="*/ 194 w 194"/>
                  <a:gd name="T21" fmla="*/ 284 h 304"/>
                  <a:gd name="T22" fmla="*/ 194 w 194"/>
                  <a:gd name="T23" fmla="*/ 20 h 304"/>
                  <a:gd name="T24" fmla="*/ 192 w 194"/>
                  <a:gd name="T25" fmla="*/ 13 h 304"/>
                  <a:gd name="T26" fmla="*/ 181 w 194"/>
                  <a:gd name="T27" fmla="*/ 2 h 304"/>
                  <a:gd name="T28" fmla="*/ 172 w 194"/>
                  <a:gd name="T29" fmla="*/ 0 h 304"/>
                  <a:gd name="T30" fmla="*/ 111 w 194"/>
                  <a:gd name="T31" fmla="*/ 14 h 304"/>
                  <a:gd name="T32" fmla="*/ 114 w 194"/>
                  <a:gd name="T33" fmla="*/ 16 h 304"/>
                  <a:gd name="T34" fmla="*/ 116 w 194"/>
                  <a:gd name="T35" fmla="*/ 19 h 304"/>
                  <a:gd name="T36" fmla="*/ 111 w 194"/>
                  <a:gd name="T37" fmla="*/ 25 h 304"/>
                  <a:gd name="T38" fmla="*/ 82 w 194"/>
                  <a:gd name="T39" fmla="*/ 25 h 304"/>
                  <a:gd name="T40" fmla="*/ 78 w 194"/>
                  <a:gd name="T41" fmla="*/ 19 h 304"/>
                  <a:gd name="T42" fmla="*/ 80 w 194"/>
                  <a:gd name="T43" fmla="*/ 16 h 304"/>
                  <a:gd name="T44" fmla="*/ 82 w 194"/>
                  <a:gd name="T45" fmla="*/ 14 h 304"/>
                  <a:gd name="T46" fmla="*/ 97 w 194"/>
                  <a:gd name="T47" fmla="*/ 294 h 304"/>
                  <a:gd name="T48" fmla="*/ 87 w 194"/>
                  <a:gd name="T49" fmla="*/ 290 h 304"/>
                  <a:gd name="T50" fmla="*/ 82 w 194"/>
                  <a:gd name="T51" fmla="*/ 280 h 304"/>
                  <a:gd name="T52" fmla="*/ 84 w 194"/>
                  <a:gd name="T53" fmla="*/ 274 h 304"/>
                  <a:gd name="T54" fmla="*/ 91 w 194"/>
                  <a:gd name="T55" fmla="*/ 267 h 304"/>
                  <a:gd name="T56" fmla="*/ 97 w 194"/>
                  <a:gd name="T57" fmla="*/ 265 h 304"/>
                  <a:gd name="T58" fmla="*/ 107 w 194"/>
                  <a:gd name="T59" fmla="*/ 270 h 304"/>
                  <a:gd name="T60" fmla="*/ 111 w 194"/>
                  <a:gd name="T61" fmla="*/ 280 h 304"/>
                  <a:gd name="T62" fmla="*/ 110 w 194"/>
                  <a:gd name="T63" fmla="*/ 285 h 304"/>
                  <a:gd name="T64" fmla="*/ 103 w 194"/>
                  <a:gd name="T65" fmla="*/ 293 h 304"/>
                  <a:gd name="T66" fmla="*/ 97 w 194"/>
                  <a:gd name="T67" fmla="*/ 294 h 304"/>
                  <a:gd name="T68" fmla="*/ 18 w 194"/>
                  <a:gd name="T69" fmla="*/ 249 h 304"/>
                  <a:gd name="T70" fmla="*/ 176 w 194"/>
                  <a:gd name="T71" fmla="*/ 38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4" h="304">
                    <a:moveTo>
                      <a:pt x="172" y="0"/>
                    </a:moveTo>
                    <a:lnTo>
                      <a:pt x="22" y="0"/>
                    </a:lnTo>
                    <a:lnTo>
                      <a:pt x="22" y="0"/>
                    </a:lnTo>
                    <a:lnTo>
                      <a:pt x="13" y="2"/>
                    </a:lnTo>
                    <a:lnTo>
                      <a:pt x="7" y="6"/>
                    </a:lnTo>
                    <a:lnTo>
                      <a:pt x="2" y="13"/>
                    </a:lnTo>
                    <a:lnTo>
                      <a:pt x="2" y="16"/>
                    </a:lnTo>
                    <a:lnTo>
                      <a:pt x="0" y="20"/>
                    </a:lnTo>
                    <a:lnTo>
                      <a:pt x="0" y="284"/>
                    </a:lnTo>
                    <a:lnTo>
                      <a:pt x="0" y="284"/>
                    </a:lnTo>
                    <a:lnTo>
                      <a:pt x="2" y="288"/>
                    </a:lnTo>
                    <a:lnTo>
                      <a:pt x="2" y="293"/>
                    </a:lnTo>
                    <a:lnTo>
                      <a:pt x="7" y="298"/>
                    </a:lnTo>
                    <a:lnTo>
                      <a:pt x="13" y="303"/>
                    </a:lnTo>
                    <a:lnTo>
                      <a:pt x="22" y="304"/>
                    </a:lnTo>
                    <a:lnTo>
                      <a:pt x="172" y="304"/>
                    </a:lnTo>
                    <a:lnTo>
                      <a:pt x="172" y="304"/>
                    </a:lnTo>
                    <a:lnTo>
                      <a:pt x="181" y="303"/>
                    </a:lnTo>
                    <a:lnTo>
                      <a:pt x="186" y="298"/>
                    </a:lnTo>
                    <a:lnTo>
                      <a:pt x="192" y="293"/>
                    </a:lnTo>
                    <a:lnTo>
                      <a:pt x="194" y="288"/>
                    </a:lnTo>
                    <a:lnTo>
                      <a:pt x="194" y="284"/>
                    </a:lnTo>
                    <a:lnTo>
                      <a:pt x="194" y="20"/>
                    </a:lnTo>
                    <a:lnTo>
                      <a:pt x="194" y="20"/>
                    </a:lnTo>
                    <a:lnTo>
                      <a:pt x="194" y="16"/>
                    </a:lnTo>
                    <a:lnTo>
                      <a:pt x="192" y="13"/>
                    </a:lnTo>
                    <a:lnTo>
                      <a:pt x="186" y="6"/>
                    </a:lnTo>
                    <a:lnTo>
                      <a:pt x="181" y="2"/>
                    </a:lnTo>
                    <a:lnTo>
                      <a:pt x="172" y="0"/>
                    </a:lnTo>
                    <a:lnTo>
                      <a:pt x="172" y="0"/>
                    </a:lnTo>
                    <a:close/>
                    <a:moveTo>
                      <a:pt x="82" y="14"/>
                    </a:moveTo>
                    <a:lnTo>
                      <a:pt x="111" y="14"/>
                    </a:lnTo>
                    <a:lnTo>
                      <a:pt x="111" y="14"/>
                    </a:lnTo>
                    <a:lnTo>
                      <a:pt x="114" y="16"/>
                    </a:lnTo>
                    <a:lnTo>
                      <a:pt x="116" y="19"/>
                    </a:lnTo>
                    <a:lnTo>
                      <a:pt x="116" y="19"/>
                    </a:lnTo>
                    <a:lnTo>
                      <a:pt x="114" y="23"/>
                    </a:lnTo>
                    <a:lnTo>
                      <a:pt x="111" y="25"/>
                    </a:lnTo>
                    <a:lnTo>
                      <a:pt x="82" y="25"/>
                    </a:lnTo>
                    <a:lnTo>
                      <a:pt x="82" y="25"/>
                    </a:lnTo>
                    <a:lnTo>
                      <a:pt x="80" y="23"/>
                    </a:lnTo>
                    <a:lnTo>
                      <a:pt x="78" y="19"/>
                    </a:lnTo>
                    <a:lnTo>
                      <a:pt x="78" y="19"/>
                    </a:lnTo>
                    <a:lnTo>
                      <a:pt x="80" y="16"/>
                    </a:lnTo>
                    <a:lnTo>
                      <a:pt x="82" y="14"/>
                    </a:lnTo>
                    <a:lnTo>
                      <a:pt x="82" y="14"/>
                    </a:lnTo>
                    <a:close/>
                    <a:moveTo>
                      <a:pt x="97" y="294"/>
                    </a:moveTo>
                    <a:lnTo>
                      <a:pt x="97" y="294"/>
                    </a:lnTo>
                    <a:lnTo>
                      <a:pt x="91" y="293"/>
                    </a:lnTo>
                    <a:lnTo>
                      <a:pt x="87" y="290"/>
                    </a:lnTo>
                    <a:lnTo>
                      <a:pt x="84" y="285"/>
                    </a:lnTo>
                    <a:lnTo>
                      <a:pt x="82" y="280"/>
                    </a:lnTo>
                    <a:lnTo>
                      <a:pt x="82" y="280"/>
                    </a:lnTo>
                    <a:lnTo>
                      <a:pt x="84" y="274"/>
                    </a:lnTo>
                    <a:lnTo>
                      <a:pt x="87" y="270"/>
                    </a:lnTo>
                    <a:lnTo>
                      <a:pt x="91" y="267"/>
                    </a:lnTo>
                    <a:lnTo>
                      <a:pt x="97" y="265"/>
                    </a:lnTo>
                    <a:lnTo>
                      <a:pt x="97" y="265"/>
                    </a:lnTo>
                    <a:lnTo>
                      <a:pt x="103" y="267"/>
                    </a:lnTo>
                    <a:lnTo>
                      <a:pt x="107" y="270"/>
                    </a:lnTo>
                    <a:lnTo>
                      <a:pt x="110" y="274"/>
                    </a:lnTo>
                    <a:lnTo>
                      <a:pt x="111" y="280"/>
                    </a:lnTo>
                    <a:lnTo>
                      <a:pt x="111" y="280"/>
                    </a:lnTo>
                    <a:lnTo>
                      <a:pt x="110" y="285"/>
                    </a:lnTo>
                    <a:lnTo>
                      <a:pt x="107" y="290"/>
                    </a:lnTo>
                    <a:lnTo>
                      <a:pt x="103" y="293"/>
                    </a:lnTo>
                    <a:lnTo>
                      <a:pt x="97" y="294"/>
                    </a:lnTo>
                    <a:lnTo>
                      <a:pt x="97" y="294"/>
                    </a:lnTo>
                    <a:close/>
                    <a:moveTo>
                      <a:pt x="176" y="249"/>
                    </a:moveTo>
                    <a:lnTo>
                      <a:pt x="18" y="249"/>
                    </a:lnTo>
                    <a:lnTo>
                      <a:pt x="18" y="38"/>
                    </a:lnTo>
                    <a:lnTo>
                      <a:pt x="176" y="38"/>
                    </a:lnTo>
                    <a:lnTo>
                      <a:pt x="176" y="24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397" name="Freeform 18">
                <a:extLst>
                  <a:ext uri="{FF2B5EF4-FFF2-40B4-BE49-F238E27FC236}">
                    <a16:creationId xmlns:a16="http://schemas.microsoft.com/office/drawing/2014/main" id="{5694D499-8F97-4684-856B-15F30FB92F95}"/>
                  </a:ext>
                </a:extLst>
              </p:cNvPr>
              <p:cNvSpPr>
                <a:spLocks/>
              </p:cNvSpPr>
              <p:nvPr/>
            </p:nvSpPr>
            <p:spPr bwMode="auto">
              <a:xfrm>
                <a:off x="7989888" y="2976563"/>
                <a:ext cx="46037" cy="46038"/>
              </a:xfrm>
              <a:custGeom>
                <a:avLst/>
                <a:gdLst>
                  <a:gd name="T0" fmla="*/ 15 w 29"/>
                  <a:gd name="T1" fmla="*/ 0 h 29"/>
                  <a:gd name="T2" fmla="*/ 15 w 29"/>
                  <a:gd name="T3" fmla="*/ 0 h 29"/>
                  <a:gd name="T4" fmla="*/ 9 w 29"/>
                  <a:gd name="T5" fmla="*/ 1 h 29"/>
                  <a:gd name="T6" fmla="*/ 5 w 29"/>
                  <a:gd name="T7" fmla="*/ 4 h 29"/>
                  <a:gd name="T8" fmla="*/ 2 w 29"/>
                  <a:gd name="T9" fmla="*/ 8 h 29"/>
                  <a:gd name="T10" fmla="*/ 0 w 29"/>
                  <a:gd name="T11" fmla="*/ 14 h 29"/>
                  <a:gd name="T12" fmla="*/ 0 w 29"/>
                  <a:gd name="T13" fmla="*/ 14 h 29"/>
                  <a:gd name="T14" fmla="*/ 2 w 29"/>
                  <a:gd name="T15" fmla="*/ 20 h 29"/>
                  <a:gd name="T16" fmla="*/ 5 w 29"/>
                  <a:gd name="T17" fmla="*/ 24 h 29"/>
                  <a:gd name="T18" fmla="*/ 9 w 29"/>
                  <a:gd name="T19" fmla="*/ 27 h 29"/>
                  <a:gd name="T20" fmla="*/ 15 w 29"/>
                  <a:gd name="T21" fmla="*/ 29 h 29"/>
                  <a:gd name="T22" fmla="*/ 15 w 29"/>
                  <a:gd name="T23" fmla="*/ 29 h 29"/>
                  <a:gd name="T24" fmla="*/ 21 w 29"/>
                  <a:gd name="T25" fmla="*/ 27 h 29"/>
                  <a:gd name="T26" fmla="*/ 25 w 29"/>
                  <a:gd name="T27" fmla="*/ 24 h 29"/>
                  <a:gd name="T28" fmla="*/ 28 w 29"/>
                  <a:gd name="T29" fmla="*/ 20 h 29"/>
                  <a:gd name="T30" fmla="*/ 29 w 29"/>
                  <a:gd name="T31" fmla="*/ 14 h 29"/>
                  <a:gd name="T32" fmla="*/ 29 w 29"/>
                  <a:gd name="T33" fmla="*/ 14 h 29"/>
                  <a:gd name="T34" fmla="*/ 28 w 29"/>
                  <a:gd name="T35" fmla="*/ 8 h 29"/>
                  <a:gd name="T36" fmla="*/ 25 w 29"/>
                  <a:gd name="T37" fmla="*/ 4 h 29"/>
                  <a:gd name="T38" fmla="*/ 21 w 29"/>
                  <a:gd name="T39" fmla="*/ 1 h 29"/>
                  <a:gd name="T40" fmla="*/ 15 w 29"/>
                  <a:gd name="T41" fmla="*/ 0 h 29"/>
                  <a:gd name="T42" fmla="*/ 15 w 29"/>
                  <a:gd name="T4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29">
                    <a:moveTo>
                      <a:pt x="15" y="0"/>
                    </a:moveTo>
                    <a:lnTo>
                      <a:pt x="15" y="0"/>
                    </a:lnTo>
                    <a:lnTo>
                      <a:pt x="9" y="1"/>
                    </a:lnTo>
                    <a:lnTo>
                      <a:pt x="5" y="4"/>
                    </a:lnTo>
                    <a:lnTo>
                      <a:pt x="2" y="8"/>
                    </a:lnTo>
                    <a:lnTo>
                      <a:pt x="0" y="14"/>
                    </a:lnTo>
                    <a:lnTo>
                      <a:pt x="0" y="14"/>
                    </a:lnTo>
                    <a:lnTo>
                      <a:pt x="2" y="20"/>
                    </a:lnTo>
                    <a:lnTo>
                      <a:pt x="5" y="24"/>
                    </a:lnTo>
                    <a:lnTo>
                      <a:pt x="9" y="27"/>
                    </a:lnTo>
                    <a:lnTo>
                      <a:pt x="15" y="29"/>
                    </a:lnTo>
                    <a:lnTo>
                      <a:pt x="15" y="29"/>
                    </a:lnTo>
                    <a:lnTo>
                      <a:pt x="21" y="27"/>
                    </a:lnTo>
                    <a:lnTo>
                      <a:pt x="25" y="24"/>
                    </a:lnTo>
                    <a:lnTo>
                      <a:pt x="28" y="20"/>
                    </a:lnTo>
                    <a:lnTo>
                      <a:pt x="29" y="14"/>
                    </a:lnTo>
                    <a:lnTo>
                      <a:pt x="29" y="14"/>
                    </a:lnTo>
                    <a:lnTo>
                      <a:pt x="28" y="8"/>
                    </a:lnTo>
                    <a:lnTo>
                      <a:pt x="25" y="4"/>
                    </a:lnTo>
                    <a:lnTo>
                      <a:pt x="21" y="1"/>
                    </a:lnTo>
                    <a:lnTo>
                      <a:pt x="15" y="0"/>
                    </a:lnTo>
                    <a:lnTo>
                      <a:pt x="15"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398" name="Freeform 19">
                <a:extLst>
                  <a:ext uri="{FF2B5EF4-FFF2-40B4-BE49-F238E27FC236}">
                    <a16:creationId xmlns:a16="http://schemas.microsoft.com/office/drawing/2014/main" id="{75892A09-105E-4E3A-B553-639BFCF8832F}"/>
                  </a:ext>
                </a:extLst>
              </p:cNvPr>
              <p:cNvSpPr>
                <a:spLocks/>
              </p:cNvSpPr>
              <p:nvPr/>
            </p:nvSpPr>
            <p:spPr bwMode="auto">
              <a:xfrm>
                <a:off x="7905750" y="2854325"/>
                <a:ext cx="215900" cy="80963"/>
              </a:xfrm>
              <a:custGeom>
                <a:avLst/>
                <a:gdLst>
                  <a:gd name="T0" fmla="*/ 13 w 136"/>
                  <a:gd name="T1" fmla="*/ 48 h 51"/>
                  <a:gd name="T2" fmla="*/ 13 w 136"/>
                  <a:gd name="T3" fmla="*/ 48 h 51"/>
                  <a:gd name="T4" fmla="*/ 17 w 136"/>
                  <a:gd name="T5" fmla="*/ 41 h 51"/>
                  <a:gd name="T6" fmla="*/ 23 w 136"/>
                  <a:gd name="T7" fmla="*/ 35 h 51"/>
                  <a:gd name="T8" fmla="*/ 30 w 136"/>
                  <a:gd name="T9" fmla="*/ 29 h 51"/>
                  <a:gd name="T10" fmla="*/ 36 w 136"/>
                  <a:gd name="T11" fmla="*/ 25 h 51"/>
                  <a:gd name="T12" fmla="*/ 43 w 136"/>
                  <a:gd name="T13" fmla="*/ 22 h 51"/>
                  <a:gd name="T14" fmla="*/ 52 w 136"/>
                  <a:gd name="T15" fmla="*/ 19 h 51"/>
                  <a:gd name="T16" fmla="*/ 59 w 136"/>
                  <a:gd name="T17" fmla="*/ 18 h 51"/>
                  <a:gd name="T18" fmla="*/ 68 w 136"/>
                  <a:gd name="T19" fmla="*/ 18 h 51"/>
                  <a:gd name="T20" fmla="*/ 68 w 136"/>
                  <a:gd name="T21" fmla="*/ 18 h 51"/>
                  <a:gd name="T22" fmla="*/ 77 w 136"/>
                  <a:gd name="T23" fmla="*/ 18 h 51"/>
                  <a:gd name="T24" fmla="*/ 84 w 136"/>
                  <a:gd name="T25" fmla="*/ 19 h 51"/>
                  <a:gd name="T26" fmla="*/ 92 w 136"/>
                  <a:gd name="T27" fmla="*/ 22 h 51"/>
                  <a:gd name="T28" fmla="*/ 100 w 136"/>
                  <a:gd name="T29" fmla="*/ 25 h 51"/>
                  <a:gd name="T30" fmla="*/ 105 w 136"/>
                  <a:gd name="T31" fmla="*/ 29 h 51"/>
                  <a:gd name="T32" fmla="*/ 113 w 136"/>
                  <a:gd name="T33" fmla="*/ 35 h 51"/>
                  <a:gd name="T34" fmla="*/ 118 w 136"/>
                  <a:gd name="T35" fmla="*/ 41 h 51"/>
                  <a:gd name="T36" fmla="*/ 123 w 136"/>
                  <a:gd name="T37" fmla="*/ 48 h 51"/>
                  <a:gd name="T38" fmla="*/ 123 w 136"/>
                  <a:gd name="T39" fmla="*/ 48 h 51"/>
                  <a:gd name="T40" fmla="*/ 126 w 136"/>
                  <a:gd name="T41" fmla="*/ 49 h 51"/>
                  <a:gd name="T42" fmla="*/ 128 w 136"/>
                  <a:gd name="T43" fmla="*/ 51 h 51"/>
                  <a:gd name="T44" fmla="*/ 131 w 136"/>
                  <a:gd name="T45" fmla="*/ 49 h 51"/>
                  <a:gd name="T46" fmla="*/ 133 w 136"/>
                  <a:gd name="T47" fmla="*/ 48 h 51"/>
                  <a:gd name="T48" fmla="*/ 133 w 136"/>
                  <a:gd name="T49" fmla="*/ 48 h 51"/>
                  <a:gd name="T50" fmla="*/ 136 w 136"/>
                  <a:gd name="T51" fmla="*/ 46 h 51"/>
                  <a:gd name="T52" fmla="*/ 136 w 136"/>
                  <a:gd name="T53" fmla="*/ 44 h 51"/>
                  <a:gd name="T54" fmla="*/ 136 w 136"/>
                  <a:gd name="T55" fmla="*/ 41 h 51"/>
                  <a:gd name="T56" fmla="*/ 134 w 136"/>
                  <a:gd name="T57" fmla="*/ 38 h 51"/>
                  <a:gd name="T58" fmla="*/ 134 w 136"/>
                  <a:gd name="T59" fmla="*/ 38 h 51"/>
                  <a:gd name="T60" fmla="*/ 128 w 136"/>
                  <a:gd name="T61" fmla="*/ 29 h 51"/>
                  <a:gd name="T62" fmla="*/ 121 w 136"/>
                  <a:gd name="T63" fmla="*/ 22 h 51"/>
                  <a:gd name="T64" fmla="*/ 114 w 136"/>
                  <a:gd name="T65" fmla="*/ 16 h 51"/>
                  <a:gd name="T66" fmla="*/ 105 w 136"/>
                  <a:gd name="T67" fmla="*/ 10 h 51"/>
                  <a:gd name="T68" fmla="*/ 97 w 136"/>
                  <a:gd name="T69" fmla="*/ 6 h 51"/>
                  <a:gd name="T70" fmla="*/ 88 w 136"/>
                  <a:gd name="T71" fmla="*/ 3 h 51"/>
                  <a:gd name="T72" fmla="*/ 78 w 136"/>
                  <a:gd name="T73" fmla="*/ 2 h 51"/>
                  <a:gd name="T74" fmla="*/ 68 w 136"/>
                  <a:gd name="T75" fmla="*/ 0 h 51"/>
                  <a:gd name="T76" fmla="*/ 68 w 136"/>
                  <a:gd name="T77" fmla="*/ 0 h 51"/>
                  <a:gd name="T78" fmla="*/ 58 w 136"/>
                  <a:gd name="T79" fmla="*/ 2 h 51"/>
                  <a:gd name="T80" fmla="*/ 48 w 136"/>
                  <a:gd name="T81" fmla="*/ 3 h 51"/>
                  <a:gd name="T82" fmla="*/ 39 w 136"/>
                  <a:gd name="T83" fmla="*/ 6 h 51"/>
                  <a:gd name="T84" fmla="*/ 30 w 136"/>
                  <a:gd name="T85" fmla="*/ 10 h 51"/>
                  <a:gd name="T86" fmla="*/ 22 w 136"/>
                  <a:gd name="T87" fmla="*/ 16 h 51"/>
                  <a:gd name="T88" fmla="*/ 15 w 136"/>
                  <a:gd name="T89" fmla="*/ 22 h 51"/>
                  <a:gd name="T90" fmla="*/ 7 w 136"/>
                  <a:gd name="T91" fmla="*/ 29 h 51"/>
                  <a:gd name="T92" fmla="*/ 2 w 136"/>
                  <a:gd name="T93" fmla="*/ 38 h 51"/>
                  <a:gd name="T94" fmla="*/ 2 w 136"/>
                  <a:gd name="T95" fmla="*/ 38 h 51"/>
                  <a:gd name="T96" fmla="*/ 0 w 136"/>
                  <a:gd name="T97" fmla="*/ 41 h 51"/>
                  <a:gd name="T98" fmla="*/ 0 w 136"/>
                  <a:gd name="T99" fmla="*/ 44 h 51"/>
                  <a:gd name="T100" fmla="*/ 0 w 136"/>
                  <a:gd name="T101" fmla="*/ 46 h 51"/>
                  <a:gd name="T102" fmla="*/ 3 w 136"/>
                  <a:gd name="T103" fmla="*/ 48 h 51"/>
                  <a:gd name="T104" fmla="*/ 3 w 136"/>
                  <a:gd name="T105" fmla="*/ 48 h 51"/>
                  <a:gd name="T106" fmla="*/ 4 w 136"/>
                  <a:gd name="T107" fmla="*/ 49 h 51"/>
                  <a:gd name="T108" fmla="*/ 7 w 136"/>
                  <a:gd name="T109" fmla="*/ 51 h 51"/>
                  <a:gd name="T110" fmla="*/ 10 w 136"/>
                  <a:gd name="T111" fmla="*/ 49 h 51"/>
                  <a:gd name="T112" fmla="*/ 13 w 136"/>
                  <a:gd name="T113" fmla="*/ 48 h 51"/>
                  <a:gd name="T114" fmla="*/ 13 w 136"/>
                  <a:gd name="T115" fmla="*/ 4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 h="51">
                    <a:moveTo>
                      <a:pt x="13" y="48"/>
                    </a:moveTo>
                    <a:lnTo>
                      <a:pt x="13" y="48"/>
                    </a:lnTo>
                    <a:lnTo>
                      <a:pt x="17" y="41"/>
                    </a:lnTo>
                    <a:lnTo>
                      <a:pt x="23" y="35"/>
                    </a:lnTo>
                    <a:lnTo>
                      <a:pt x="30" y="29"/>
                    </a:lnTo>
                    <a:lnTo>
                      <a:pt x="36" y="25"/>
                    </a:lnTo>
                    <a:lnTo>
                      <a:pt x="43" y="22"/>
                    </a:lnTo>
                    <a:lnTo>
                      <a:pt x="52" y="19"/>
                    </a:lnTo>
                    <a:lnTo>
                      <a:pt x="59" y="18"/>
                    </a:lnTo>
                    <a:lnTo>
                      <a:pt x="68" y="18"/>
                    </a:lnTo>
                    <a:lnTo>
                      <a:pt x="68" y="18"/>
                    </a:lnTo>
                    <a:lnTo>
                      <a:pt x="77" y="18"/>
                    </a:lnTo>
                    <a:lnTo>
                      <a:pt x="84" y="19"/>
                    </a:lnTo>
                    <a:lnTo>
                      <a:pt x="92" y="22"/>
                    </a:lnTo>
                    <a:lnTo>
                      <a:pt x="100" y="25"/>
                    </a:lnTo>
                    <a:lnTo>
                      <a:pt x="105" y="29"/>
                    </a:lnTo>
                    <a:lnTo>
                      <a:pt x="113" y="35"/>
                    </a:lnTo>
                    <a:lnTo>
                      <a:pt x="118" y="41"/>
                    </a:lnTo>
                    <a:lnTo>
                      <a:pt x="123" y="48"/>
                    </a:lnTo>
                    <a:lnTo>
                      <a:pt x="123" y="48"/>
                    </a:lnTo>
                    <a:lnTo>
                      <a:pt x="126" y="49"/>
                    </a:lnTo>
                    <a:lnTo>
                      <a:pt x="128" y="51"/>
                    </a:lnTo>
                    <a:lnTo>
                      <a:pt x="131" y="49"/>
                    </a:lnTo>
                    <a:lnTo>
                      <a:pt x="133" y="48"/>
                    </a:lnTo>
                    <a:lnTo>
                      <a:pt x="133" y="48"/>
                    </a:lnTo>
                    <a:lnTo>
                      <a:pt x="136" y="46"/>
                    </a:lnTo>
                    <a:lnTo>
                      <a:pt x="136" y="44"/>
                    </a:lnTo>
                    <a:lnTo>
                      <a:pt x="136" y="41"/>
                    </a:lnTo>
                    <a:lnTo>
                      <a:pt x="134" y="38"/>
                    </a:lnTo>
                    <a:lnTo>
                      <a:pt x="134" y="38"/>
                    </a:lnTo>
                    <a:lnTo>
                      <a:pt x="128" y="29"/>
                    </a:lnTo>
                    <a:lnTo>
                      <a:pt x="121" y="22"/>
                    </a:lnTo>
                    <a:lnTo>
                      <a:pt x="114" y="16"/>
                    </a:lnTo>
                    <a:lnTo>
                      <a:pt x="105" y="10"/>
                    </a:lnTo>
                    <a:lnTo>
                      <a:pt x="97" y="6"/>
                    </a:lnTo>
                    <a:lnTo>
                      <a:pt x="88" y="3"/>
                    </a:lnTo>
                    <a:lnTo>
                      <a:pt x="78" y="2"/>
                    </a:lnTo>
                    <a:lnTo>
                      <a:pt x="68" y="0"/>
                    </a:lnTo>
                    <a:lnTo>
                      <a:pt x="68" y="0"/>
                    </a:lnTo>
                    <a:lnTo>
                      <a:pt x="58" y="2"/>
                    </a:lnTo>
                    <a:lnTo>
                      <a:pt x="48" y="3"/>
                    </a:lnTo>
                    <a:lnTo>
                      <a:pt x="39" y="6"/>
                    </a:lnTo>
                    <a:lnTo>
                      <a:pt x="30" y="10"/>
                    </a:lnTo>
                    <a:lnTo>
                      <a:pt x="22" y="16"/>
                    </a:lnTo>
                    <a:lnTo>
                      <a:pt x="15" y="22"/>
                    </a:lnTo>
                    <a:lnTo>
                      <a:pt x="7" y="29"/>
                    </a:lnTo>
                    <a:lnTo>
                      <a:pt x="2" y="38"/>
                    </a:lnTo>
                    <a:lnTo>
                      <a:pt x="2" y="38"/>
                    </a:lnTo>
                    <a:lnTo>
                      <a:pt x="0" y="41"/>
                    </a:lnTo>
                    <a:lnTo>
                      <a:pt x="0" y="44"/>
                    </a:lnTo>
                    <a:lnTo>
                      <a:pt x="0" y="46"/>
                    </a:lnTo>
                    <a:lnTo>
                      <a:pt x="3" y="48"/>
                    </a:lnTo>
                    <a:lnTo>
                      <a:pt x="3" y="48"/>
                    </a:lnTo>
                    <a:lnTo>
                      <a:pt x="4" y="49"/>
                    </a:lnTo>
                    <a:lnTo>
                      <a:pt x="7" y="51"/>
                    </a:lnTo>
                    <a:lnTo>
                      <a:pt x="10" y="49"/>
                    </a:lnTo>
                    <a:lnTo>
                      <a:pt x="13" y="48"/>
                    </a:lnTo>
                    <a:lnTo>
                      <a:pt x="13" y="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399" name="Freeform 20">
                <a:extLst>
                  <a:ext uri="{FF2B5EF4-FFF2-40B4-BE49-F238E27FC236}">
                    <a16:creationId xmlns:a16="http://schemas.microsoft.com/office/drawing/2014/main" id="{B280F70F-5802-42F9-A8DB-01D786B495A4}"/>
                  </a:ext>
                </a:extLst>
              </p:cNvPr>
              <p:cNvSpPr>
                <a:spLocks/>
              </p:cNvSpPr>
              <p:nvPr/>
            </p:nvSpPr>
            <p:spPr bwMode="auto">
              <a:xfrm>
                <a:off x="7940675" y="2898775"/>
                <a:ext cx="146050" cy="57150"/>
              </a:xfrm>
              <a:custGeom>
                <a:avLst/>
                <a:gdLst>
                  <a:gd name="T0" fmla="*/ 46 w 92"/>
                  <a:gd name="T1" fmla="*/ 0 h 36"/>
                  <a:gd name="T2" fmla="*/ 46 w 92"/>
                  <a:gd name="T3" fmla="*/ 0 h 36"/>
                  <a:gd name="T4" fmla="*/ 39 w 92"/>
                  <a:gd name="T5" fmla="*/ 1 h 36"/>
                  <a:gd name="T6" fmla="*/ 33 w 92"/>
                  <a:gd name="T7" fmla="*/ 3 h 36"/>
                  <a:gd name="T8" fmla="*/ 26 w 92"/>
                  <a:gd name="T9" fmla="*/ 4 h 36"/>
                  <a:gd name="T10" fmla="*/ 20 w 92"/>
                  <a:gd name="T11" fmla="*/ 7 h 36"/>
                  <a:gd name="T12" fmla="*/ 8 w 92"/>
                  <a:gd name="T13" fmla="*/ 16 h 36"/>
                  <a:gd name="T14" fmla="*/ 0 w 92"/>
                  <a:gd name="T15" fmla="*/ 27 h 36"/>
                  <a:gd name="T16" fmla="*/ 0 w 92"/>
                  <a:gd name="T17" fmla="*/ 27 h 36"/>
                  <a:gd name="T18" fmla="*/ 0 w 92"/>
                  <a:gd name="T19" fmla="*/ 31 h 36"/>
                  <a:gd name="T20" fmla="*/ 1 w 92"/>
                  <a:gd name="T21" fmla="*/ 34 h 36"/>
                  <a:gd name="T22" fmla="*/ 1 w 92"/>
                  <a:gd name="T23" fmla="*/ 34 h 36"/>
                  <a:gd name="T24" fmla="*/ 6 w 92"/>
                  <a:gd name="T25" fmla="*/ 36 h 36"/>
                  <a:gd name="T26" fmla="*/ 8 w 92"/>
                  <a:gd name="T27" fmla="*/ 33 h 36"/>
                  <a:gd name="T28" fmla="*/ 8 w 92"/>
                  <a:gd name="T29" fmla="*/ 33 h 36"/>
                  <a:gd name="T30" fmla="*/ 16 w 92"/>
                  <a:gd name="T31" fmla="*/ 24 h 36"/>
                  <a:gd name="T32" fmla="*/ 24 w 92"/>
                  <a:gd name="T33" fmla="*/ 17 h 36"/>
                  <a:gd name="T34" fmla="*/ 34 w 92"/>
                  <a:gd name="T35" fmla="*/ 13 h 36"/>
                  <a:gd name="T36" fmla="*/ 46 w 92"/>
                  <a:gd name="T37" fmla="*/ 11 h 36"/>
                  <a:gd name="T38" fmla="*/ 46 w 92"/>
                  <a:gd name="T39" fmla="*/ 11 h 36"/>
                  <a:gd name="T40" fmla="*/ 57 w 92"/>
                  <a:gd name="T41" fmla="*/ 13 h 36"/>
                  <a:gd name="T42" fmla="*/ 68 w 92"/>
                  <a:gd name="T43" fmla="*/ 17 h 36"/>
                  <a:gd name="T44" fmla="*/ 76 w 92"/>
                  <a:gd name="T45" fmla="*/ 24 h 36"/>
                  <a:gd name="T46" fmla="*/ 83 w 92"/>
                  <a:gd name="T47" fmla="*/ 33 h 36"/>
                  <a:gd name="T48" fmla="*/ 83 w 92"/>
                  <a:gd name="T49" fmla="*/ 33 h 36"/>
                  <a:gd name="T50" fmla="*/ 86 w 92"/>
                  <a:gd name="T51" fmla="*/ 36 h 36"/>
                  <a:gd name="T52" fmla="*/ 91 w 92"/>
                  <a:gd name="T53" fmla="*/ 34 h 36"/>
                  <a:gd name="T54" fmla="*/ 91 w 92"/>
                  <a:gd name="T55" fmla="*/ 34 h 36"/>
                  <a:gd name="T56" fmla="*/ 92 w 92"/>
                  <a:gd name="T57" fmla="*/ 31 h 36"/>
                  <a:gd name="T58" fmla="*/ 92 w 92"/>
                  <a:gd name="T59" fmla="*/ 27 h 36"/>
                  <a:gd name="T60" fmla="*/ 92 w 92"/>
                  <a:gd name="T61" fmla="*/ 27 h 36"/>
                  <a:gd name="T62" fmla="*/ 83 w 92"/>
                  <a:gd name="T63" fmla="*/ 16 h 36"/>
                  <a:gd name="T64" fmla="*/ 72 w 92"/>
                  <a:gd name="T65" fmla="*/ 7 h 36"/>
                  <a:gd name="T66" fmla="*/ 66 w 92"/>
                  <a:gd name="T67" fmla="*/ 4 h 36"/>
                  <a:gd name="T68" fmla="*/ 59 w 92"/>
                  <a:gd name="T69" fmla="*/ 3 h 36"/>
                  <a:gd name="T70" fmla="*/ 53 w 92"/>
                  <a:gd name="T71" fmla="*/ 1 h 36"/>
                  <a:gd name="T72" fmla="*/ 46 w 92"/>
                  <a:gd name="T73" fmla="*/ 0 h 36"/>
                  <a:gd name="T74" fmla="*/ 46 w 92"/>
                  <a:gd name="T75"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2" h="36">
                    <a:moveTo>
                      <a:pt x="46" y="0"/>
                    </a:moveTo>
                    <a:lnTo>
                      <a:pt x="46" y="0"/>
                    </a:lnTo>
                    <a:lnTo>
                      <a:pt x="39" y="1"/>
                    </a:lnTo>
                    <a:lnTo>
                      <a:pt x="33" y="3"/>
                    </a:lnTo>
                    <a:lnTo>
                      <a:pt x="26" y="4"/>
                    </a:lnTo>
                    <a:lnTo>
                      <a:pt x="20" y="7"/>
                    </a:lnTo>
                    <a:lnTo>
                      <a:pt x="8" y="16"/>
                    </a:lnTo>
                    <a:lnTo>
                      <a:pt x="0" y="27"/>
                    </a:lnTo>
                    <a:lnTo>
                      <a:pt x="0" y="27"/>
                    </a:lnTo>
                    <a:lnTo>
                      <a:pt x="0" y="31"/>
                    </a:lnTo>
                    <a:lnTo>
                      <a:pt x="1" y="34"/>
                    </a:lnTo>
                    <a:lnTo>
                      <a:pt x="1" y="34"/>
                    </a:lnTo>
                    <a:lnTo>
                      <a:pt x="6" y="36"/>
                    </a:lnTo>
                    <a:lnTo>
                      <a:pt x="8" y="33"/>
                    </a:lnTo>
                    <a:lnTo>
                      <a:pt x="8" y="33"/>
                    </a:lnTo>
                    <a:lnTo>
                      <a:pt x="16" y="24"/>
                    </a:lnTo>
                    <a:lnTo>
                      <a:pt x="24" y="17"/>
                    </a:lnTo>
                    <a:lnTo>
                      <a:pt x="34" y="13"/>
                    </a:lnTo>
                    <a:lnTo>
                      <a:pt x="46" y="11"/>
                    </a:lnTo>
                    <a:lnTo>
                      <a:pt x="46" y="11"/>
                    </a:lnTo>
                    <a:lnTo>
                      <a:pt x="57" y="13"/>
                    </a:lnTo>
                    <a:lnTo>
                      <a:pt x="68" y="17"/>
                    </a:lnTo>
                    <a:lnTo>
                      <a:pt x="76" y="24"/>
                    </a:lnTo>
                    <a:lnTo>
                      <a:pt x="83" y="33"/>
                    </a:lnTo>
                    <a:lnTo>
                      <a:pt x="83" y="33"/>
                    </a:lnTo>
                    <a:lnTo>
                      <a:pt x="86" y="36"/>
                    </a:lnTo>
                    <a:lnTo>
                      <a:pt x="91" y="34"/>
                    </a:lnTo>
                    <a:lnTo>
                      <a:pt x="91" y="34"/>
                    </a:lnTo>
                    <a:lnTo>
                      <a:pt x="92" y="31"/>
                    </a:lnTo>
                    <a:lnTo>
                      <a:pt x="92" y="27"/>
                    </a:lnTo>
                    <a:lnTo>
                      <a:pt x="92" y="27"/>
                    </a:lnTo>
                    <a:lnTo>
                      <a:pt x="83" y="16"/>
                    </a:lnTo>
                    <a:lnTo>
                      <a:pt x="72" y="7"/>
                    </a:lnTo>
                    <a:lnTo>
                      <a:pt x="66" y="4"/>
                    </a:lnTo>
                    <a:lnTo>
                      <a:pt x="59" y="3"/>
                    </a:lnTo>
                    <a:lnTo>
                      <a:pt x="53" y="1"/>
                    </a:lnTo>
                    <a:lnTo>
                      <a:pt x="46" y="0"/>
                    </a:lnTo>
                    <a:lnTo>
                      <a:pt x="4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00" name="Freeform 21">
                <a:extLst>
                  <a:ext uri="{FF2B5EF4-FFF2-40B4-BE49-F238E27FC236}">
                    <a16:creationId xmlns:a16="http://schemas.microsoft.com/office/drawing/2014/main" id="{903F4941-F43D-4B95-9B09-F1FE9A04EC1F}"/>
                  </a:ext>
                </a:extLst>
              </p:cNvPr>
              <p:cNvSpPr>
                <a:spLocks/>
              </p:cNvSpPr>
              <p:nvPr/>
            </p:nvSpPr>
            <p:spPr bwMode="auto">
              <a:xfrm>
                <a:off x="7967663" y="2940050"/>
                <a:ext cx="92075" cy="41275"/>
              </a:xfrm>
              <a:custGeom>
                <a:avLst/>
                <a:gdLst>
                  <a:gd name="T0" fmla="*/ 29 w 58"/>
                  <a:gd name="T1" fmla="*/ 0 h 26"/>
                  <a:gd name="T2" fmla="*/ 29 w 58"/>
                  <a:gd name="T3" fmla="*/ 0 h 26"/>
                  <a:gd name="T4" fmla="*/ 20 w 58"/>
                  <a:gd name="T5" fmla="*/ 1 h 26"/>
                  <a:gd name="T6" fmla="*/ 12 w 58"/>
                  <a:gd name="T7" fmla="*/ 4 h 26"/>
                  <a:gd name="T8" fmla="*/ 6 w 58"/>
                  <a:gd name="T9" fmla="*/ 11 h 26"/>
                  <a:gd name="T10" fmla="*/ 0 w 58"/>
                  <a:gd name="T11" fmla="*/ 18 h 26"/>
                  <a:gd name="T12" fmla="*/ 0 w 58"/>
                  <a:gd name="T13" fmla="*/ 18 h 26"/>
                  <a:gd name="T14" fmla="*/ 0 w 58"/>
                  <a:gd name="T15" fmla="*/ 23 h 26"/>
                  <a:gd name="T16" fmla="*/ 1 w 58"/>
                  <a:gd name="T17" fmla="*/ 26 h 26"/>
                  <a:gd name="T18" fmla="*/ 1 w 58"/>
                  <a:gd name="T19" fmla="*/ 26 h 26"/>
                  <a:gd name="T20" fmla="*/ 4 w 58"/>
                  <a:gd name="T21" fmla="*/ 26 h 26"/>
                  <a:gd name="T22" fmla="*/ 7 w 58"/>
                  <a:gd name="T23" fmla="*/ 23 h 26"/>
                  <a:gd name="T24" fmla="*/ 7 w 58"/>
                  <a:gd name="T25" fmla="*/ 23 h 26"/>
                  <a:gd name="T26" fmla="*/ 12 w 58"/>
                  <a:gd name="T27" fmla="*/ 17 h 26"/>
                  <a:gd name="T28" fmla="*/ 16 w 58"/>
                  <a:gd name="T29" fmla="*/ 13 h 26"/>
                  <a:gd name="T30" fmla="*/ 22 w 58"/>
                  <a:gd name="T31" fmla="*/ 10 h 26"/>
                  <a:gd name="T32" fmla="*/ 29 w 58"/>
                  <a:gd name="T33" fmla="*/ 8 h 26"/>
                  <a:gd name="T34" fmla="*/ 29 w 58"/>
                  <a:gd name="T35" fmla="*/ 8 h 26"/>
                  <a:gd name="T36" fmla="*/ 36 w 58"/>
                  <a:gd name="T37" fmla="*/ 10 h 26"/>
                  <a:gd name="T38" fmla="*/ 42 w 58"/>
                  <a:gd name="T39" fmla="*/ 13 h 26"/>
                  <a:gd name="T40" fmla="*/ 46 w 58"/>
                  <a:gd name="T41" fmla="*/ 17 h 26"/>
                  <a:gd name="T42" fmla="*/ 51 w 58"/>
                  <a:gd name="T43" fmla="*/ 23 h 26"/>
                  <a:gd name="T44" fmla="*/ 51 w 58"/>
                  <a:gd name="T45" fmla="*/ 23 h 26"/>
                  <a:gd name="T46" fmla="*/ 53 w 58"/>
                  <a:gd name="T47" fmla="*/ 26 h 26"/>
                  <a:gd name="T48" fmla="*/ 56 w 58"/>
                  <a:gd name="T49" fmla="*/ 26 h 26"/>
                  <a:gd name="T50" fmla="*/ 56 w 58"/>
                  <a:gd name="T51" fmla="*/ 26 h 26"/>
                  <a:gd name="T52" fmla="*/ 58 w 58"/>
                  <a:gd name="T53" fmla="*/ 23 h 26"/>
                  <a:gd name="T54" fmla="*/ 58 w 58"/>
                  <a:gd name="T55" fmla="*/ 18 h 26"/>
                  <a:gd name="T56" fmla="*/ 58 w 58"/>
                  <a:gd name="T57" fmla="*/ 18 h 26"/>
                  <a:gd name="T58" fmla="*/ 52 w 58"/>
                  <a:gd name="T59" fmla="*/ 11 h 26"/>
                  <a:gd name="T60" fmla="*/ 46 w 58"/>
                  <a:gd name="T61" fmla="*/ 4 h 26"/>
                  <a:gd name="T62" fmla="*/ 38 w 58"/>
                  <a:gd name="T63" fmla="*/ 1 h 26"/>
                  <a:gd name="T64" fmla="*/ 29 w 58"/>
                  <a:gd name="T65" fmla="*/ 0 h 26"/>
                  <a:gd name="T66" fmla="*/ 29 w 58"/>
                  <a:gd name="T6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8" h="26">
                    <a:moveTo>
                      <a:pt x="29" y="0"/>
                    </a:moveTo>
                    <a:lnTo>
                      <a:pt x="29" y="0"/>
                    </a:lnTo>
                    <a:lnTo>
                      <a:pt x="20" y="1"/>
                    </a:lnTo>
                    <a:lnTo>
                      <a:pt x="12" y="4"/>
                    </a:lnTo>
                    <a:lnTo>
                      <a:pt x="6" y="11"/>
                    </a:lnTo>
                    <a:lnTo>
                      <a:pt x="0" y="18"/>
                    </a:lnTo>
                    <a:lnTo>
                      <a:pt x="0" y="18"/>
                    </a:lnTo>
                    <a:lnTo>
                      <a:pt x="0" y="23"/>
                    </a:lnTo>
                    <a:lnTo>
                      <a:pt x="1" y="26"/>
                    </a:lnTo>
                    <a:lnTo>
                      <a:pt x="1" y="26"/>
                    </a:lnTo>
                    <a:lnTo>
                      <a:pt x="4" y="26"/>
                    </a:lnTo>
                    <a:lnTo>
                      <a:pt x="7" y="23"/>
                    </a:lnTo>
                    <a:lnTo>
                      <a:pt x="7" y="23"/>
                    </a:lnTo>
                    <a:lnTo>
                      <a:pt x="12" y="17"/>
                    </a:lnTo>
                    <a:lnTo>
                      <a:pt x="16" y="13"/>
                    </a:lnTo>
                    <a:lnTo>
                      <a:pt x="22" y="10"/>
                    </a:lnTo>
                    <a:lnTo>
                      <a:pt x="29" y="8"/>
                    </a:lnTo>
                    <a:lnTo>
                      <a:pt x="29" y="8"/>
                    </a:lnTo>
                    <a:lnTo>
                      <a:pt x="36" y="10"/>
                    </a:lnTo>
                    <a:lnTo>
                      <a:pt x="42" y="13"/>
                    </a:lnTo>
                    <a:lnTo>
                      <a:pt x="46" y="17"/>
                    </a:lnTo>
                    <a:lnTo>
                      <a:pt x="51" y="23"/>
                    </a:lnTo>
                    <a:lnTo>
                      <a:pt x="51" y="23"/>
                    </a:lnTo>
                    <a:lnTo>
                      <a:pt x="53" y="26"/>
                    </a:lnTo>
                    <a:lnTo>
                      <a:pt x="56" y="26"/>
                    </a:lnTo>
                    <a:lnTo>
                      <a:pt x="56" y="26"/>
                    </a:lnTo>
                    <a:lnTo>
                      <a:pt x="58" y="23"/>
                    </a:lnTo>
                    <a:lnTo>
                      <a:pt x="58" y="18"/>
                    </a:lnTo>
                    <a:lnTo>
                      <a:pt x="58" y="18"/>
                    </a:lnTo>
                    <a:lnTo>
                      <a:pt x="52" y="11"/>
                    </a:lnTo>
                    <a:lnTo>
                      <a:pt x="46" y="4"/>
                    </a:lnTo>
                    <a:lnTo>
                      <a:pt x="38" y="1"/>
                    </a:lnTo>
                    <a:lnTo>
                      <a:pt x="29" y="0"/>
                    </a:lnTo>
                    <a:lnTo>
                      <a:pt x="29"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01" name="Group 1400">
            <a:extLst>
              <a:ext uri="{FF2B5EF4-FFF2-40B4-BE49-F238E27FC236}">
                <a16:creationId xmlns:a16="http://schemas.microsoft.com/office/drawing/2014/main" id="{FD1F1985-8AF5-47CC-9FF2-A4277EB3C64F}"/>
              </a:ext>
            </a:extLst>
          </p:cNvPr>
          <p:cNvGrpSpPr/>
          <p:nvPr/>
        </p:nvGrpSpPr>
        <p:grpSpPr>
          <a:xfrm>
            <a:off x="3203456" y="1626836"/>
            <a:ext cx="612775" cy="612775"/>
            <a:chOff x="2048827" y="2265179"/>
            <a:chExt cx="612775" cy="612775"/>
          </a:xfrm>
        </p:grpSpPr>
        <p:sp>
          <p:nvSpPr>
            <p:cNvPr id="1402" name="Oval 1401">
              <a:extLst>
                <a:ext uri="{FF2B5EF4-FFF2-40B4-BE49-F238E27FC236}">
                  <a16:creationId xmlns:a16="http://schemas.microsoft.com/office/drawing/2014/main" id="{DBC32344-D1CE-49FD-AAAA-DF9C63EEEFBA}"/>
                </a:ext>
              </a:extLst>
            </p:cNvPr>
            <p:cNvSpPr/>
            <p:nvPr/>
          </p:nvSpPr>
          <p:spPr bwMode="ltGray">
            <a:xfrm>
              <a:off x="204882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03" name="Group 1402">
              <a:extLst>
                <a:ext uri="{FF2B5EF4-FFF2-40B4-BE49-F238E27FC236}">
                  <a16:creationId xmlns:a16="http://schemas.microsoft.com/office/drawing/2014/main" id="{5903E5F1-2A93-4E2B-99D9-63276054E364}"/>
                </a:ext>
              </a:extLst>
            </p:cNvPr>
            <p:cNvGrpSpPr/>
            <p:nvPr/>
          </p:nvGrpSpPr>
          <p:grpSpPr>
            <a:xfrm>
              <a:off x="2181887" y="2397241"/>
              <a:ext cx="359222" cy="385772"/>
              <a:chOff x="8986838" y="4056063"/>
              <a:chExt cx="365125" cy="392112"/>
            </a:xfrm>
            <a:solidFill>
              <a:srgbClr val="3C3C3E"/>
            </a:solidFill>
          </p:grpSpPr>
          <p:sp>
            <p:nvSpPr>
              <p:cNvPr id="1404" name="Freeform 28">
                <a:extLst>
                  <a:ext uri="{FF2B5EF4-FFF2-40B4-BE49-F238E27FC236}">
                    <a16:creationId xmlns:a16="http://schemas.microsoft.com/office/drawing/2014/main" id="{F6BDFB32-59E4-45F2-BB8F-989673E6BD16}"/>
                  </a:ext>
                </a:extLst>
              </p:cNvPr>
              <p:cNvSpPr>
                <a:spLocks noEditPoints="1"/>
              </p:cNvSpPr>
              <p:nvPr/>
            </p:nvSpPr>
            <p:spPr bwMode="auto">
              <a:xfrm>
                <a:off x="8986838" y="4056063"/>
                <a:ext cx="365125" cy="295275"/>
              </a:xfrm>
              <a:custGeom>
                <a:avLst/>
                <a:gdLst>
                  <a:gd name="T0" fmla="*/ 218 w 230"/>
                  <a:gd name="T1" fmla="*/ 0 h 186"/>
                  <a:gd name="T2" fmla="*/ 13 w 230"/>
                  <a:gd name="T3" fmla="*/ 0 h 186"/>
                  <a:gd name="T4" fmla="*/ 13 w 230"/>
                  <a:gd name="T5" fmla="*/ 0 h 186"/>
                  <a:gd name="T6" fmla="*/ 8 w 230"/>
                  <a:gd name="T7" fmla="*/ 0 h 186"/>
                  <a:gd name="T8" fmla="*/ 4 w 230"/>
                  <a:gd name="T9" fmla="*/ 3 h 186"/>
                  <a:gd name="T10" fmla="*/ 1 w 230"/>
                  <a:gd name="T11" fmla="*/ 9 h 186"/>
                  <a:gd name="T12" fmla="*/ 0 w 230"/>
                  <a:gd name="T13" fmla="*/ 13 h 186"/>
                  <a:gd name="T14" fmla="*/ 0 w 230"/>
                  <a:gd name="T15" fmla="*/ 173 h 186"/>
                  <a:gd name="T16" fmla="*/ 0 w 230"/>
                  <a:gd name="T17" fmla="*/ 173 h 186"/>
                  <a:gd name="T18" fmla="*/ 1 w 230"/>
                  <a:gd name="T19" fmla="*/ 177 h 186"/>
                  <a:gd name="T20" fmla="*/ 4 w 230"/>
                  <a:gd name="T21" fmla="*/ 182 h 186"/>
                  <a:gd name="T22" fmla="*/ 8 w 230"/>
                  <a:gd name="T23" fmla="*/ 186 h 186"/>
                  <a:gd name="T24" fmla="*/ 13 w 230"/>
                  <a:gd name="T25" fmla="*/ 186 h 186"/>
                  <a:gd name="T26" fmla="*/ 68 w 230"/>
                  <a:gd name="T27" fmla="*/ 186 h 186"/>
                  <a:gd name="T28" fmla="*/ 68 w 230"/>
                  <a:gd name="T29" fmla="*/ 186 h 186"/>
                  <a:gd name="T30" fmla="*/ 176 w 230"/>
                  <a:gd name="T31" fmla="*/ 186 h 186"/>
                  <a:gd name="T32" fmla="*/ 176 w 230"/>
                  <a:gd name="T33" fmla="*/ 186 h 186"/>
                  <a:gd name="T34" fmla="*/ 218 w 230"/>
                  <a:gd name="T35" fmla="*/ 186 h 186"/>
                  <a:gd name="T36" fmla="*/ 218 w 230"/>
                  <a:gd name="T37" fmla="*/ 186 h 186"/>
                  <a:gd name="T38" fmla="*/ 223 w 230"/>
                  <a:gd name="T39" fmla="*/ 186 h 186"/>
                  <a:gd name="T40" fmla="*/ 228 w 230"/>
                  <a:gd name="T41" fmla="*/ 182 h 186"/>
                  <a:gd name="T42" fmla="*/ 230 w 230"/>
                  <a:gd name="T43" fmla="*/ 177 h 186"/>
                  <a:gd name="T44" fmla="*/ 230 w 230"/>
                  <a:gd name="T45" fmla="*/ 173 h 186"/>
                  <a:gd name="T46" fmla="*/ 230 w 230"/>
                  <a:gd name="T47" fmla="*/ 13 h 186"/>
                  <a:gd name="T48" fmla="*/ 230 w 230"/>
                  <a:gd name="T49" fmla="*/ 13 h 186"/>
                  <a:gd name="T50" fmla="*/ 230 w 230"/>
                  <a:gd name="T51" fmla="*/ 9 h 186"/>
                  <a:gd name="T52" fmla="*/ 228 w 230"/>
                  <a:gd name="T53" fmla="*/ 3 h 186"/>
                  <a:gd name="T54" fmla="*/ 223 w 230"/>
                  <a:gd name="T55" fmla="*/ 0 h 186"/>
                  <a:gd name="T56" fmla="*/ 218 w 230"/>
                  <a:gd name="T57" fmla="*/ 0 h 186"/>
                  <a:gd name="T58" fmla="*/ 218 w 230"/>
                  <a:gd name="T59" fmla="*/ 0 h 186"/>
                  <a:gd name="T60" fmla="*/ 215 w 230"/>
                  <a:gd name="T61" fmla="*/ 154 h 186"/>
                  <a:gd name="T62" fmla="*/ 17 w 230"/>
                  <a:gd name="T63" fmla="*/ 154 h 186"/>
                  <a:gd name="T64" fmla="*/ 17 w 230"/>
                  <a:gd name="T65" fmla="*/ 16 h 186"/>
                  <a:gd name="T66" fmla="*/ 215 w 230"/>
                  <a:gd name="T67" fmla="*/ 16 h 186"/>
                  <a:gd name="T68" fmla="*/ 215 w 230"/>
                  <a:gd name="T69" fmla="*/ 154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0" h="186">
                    <a:moveTo>
                      <a:pt x="218" y="0"/>
                    </a:moveTo>
                    <a:lnTo>
                      <a:pt x="13" y="0"/>
                    </a:lnTo>
                    <a:lnTo>
                      <a:pt x="13" y="0"/>
                    </a:lnTo>
                    <a:lnTo>
                      <a:pt x="8" y="0"/>
                    </a:lnTo>
                    <a:lnTo>
                      <a:pt x="4" y="3"/>
                    </a:lnTo>
                    <a:lnTo>
                      <a:pt x="1" y="9"/>
                    </a:lnTo>
                    <a:lnTo>
                      <a:pt x="0" y="13"/>
                    </a:lnTo>
                    <a:lnTo>
                      <a:pt x="0" y="173"/>
                    </a:lnTo>
                    <a:lnTo>
                      <a:pt x="0" y="173"/>
                    </a:lnTo>
                    <a:lnTo>
                      <a:pt x="1" y="177"/>
                    </a:lnTo>
                    <a:lnTo>
                      <a:pt x="4" y="182"/>
                    </a:lnTo>
                    <a:lnTo>
                      <a:pt x="8" y="186"/>
                    </a:lnTo>
                    <a:lnTo>
                      <a:pt x="13" y="186"/>
                    </a:lnTo>
                    <a:lnTo>
                      <a:pt x="68" y="186"/>
                    </a:lnTo>
                    <a:lnTo>
                      <a:pt x="68" y="186"/>
                    </a:lnTo>
                    <a:lnTo>
                      <a:pt x="176" y="186"/>
                    </a:lnTo>
                    <a:lnTo>
                      <a:pt x="176" y="186"/>
                    </a:lnTo>
                    <a:lnTo>
                      <a:pt x="218" y="186"/>
                    </a:lnTo>
                    <a:lnTo>
                      <a:pt x="218" y="186"/>
                    </a:lnTo>
                    <a:lnTo>
                      <a:pt x="223" y="186"/>
                    </a:lnTo>
                    <a:lnTo>
                      <a:pt x="228" y="182"/>
                    </a:lnTo>
                    <a:lnTo>
                      <a:pt x="230" y="177"/>
                    </a:lnTo>
                    <a:lnTo>
                      <a:pt x="230" y="173"/>
                    </a:lnTo>
                    <a:lnTo>
                      <a:pt x="230" y="13"/>
                    </a:lnTo>
                    <a:lnTo>
                      <a:pt x="230" y="13"/>
                    </a:lnTo>
                    <a:lnTo>
                      <a:pt x="230" y="9"/>
                    </a:lnTo>
                    <a:lnTo>
                      <a:pt x="228" y="3"/>
                    </a:lnTo>
                    <a:lnTo>
                      <a:pt x="223" y="0"/>
                    </a:lnTo>
                    <a:lnTo>
                      <a:pt x="218" y="0"/>
                    </a:lnTo>
                    <a:lnTo>
                      <a:pt x="218" y="0"/>
                    </a:lnTo>
                    <a:close/>
                    <a:moveTo>
                      <a:pt x="215" y="154"/>
                    </a:moveTo>
                    <a:lnTo>
                      <a:pt x="17" y="154"/>
                    </a:lnTo>
                    <a:lnTo>
                      <a:pt x="17" y="16"/>
                    </a:lnTo>
                    <a:lnTo>
                      <a:pt x="215" y="16"/>
                    </a:lnTo>
                    <a:lnTo>
                      <a:pt x="215" y="15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05" name="Rectangle 29">
                <a:extLst>
                  <a:ext uri="{FF2B5EF4-FFF2-40B4-BE49-F238E27FC236}">
                    <a16:creationId xmlns:a16="http://schemas.microsoft.com/office/drawing/2014/main" id="{F66E70C5-9253-495C-A8F4-F003FE2A625E}"/>
                  </a:ext>
                </a:extLst>
              </p:cNvPr>
              <p:cNvSpPr>
                <a:spLocks noChangeArrowheads="1"/>
              </p:cNvSpPr>
              <p:nvPr/>
            </p:nvSpPr>
            <p:spPr bwMode="auto">
              <a:xfrm>
                <a:off x="9115425" y="4367213"/>
                <a:ext cx="109537" cy="36513"/>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06" name="Freeform 30">
                <a:extLst>
                  <a:ext uri="{FF2B5EF4-FFF2-40B4-BE49-F238E27FC236}">
                    <a16:creationId xmlns:a16="http://schemas.microsoft.com/office/drawing/2014/main" id="{68D6E3F7-E583-424F-AFA8-C91AB1827A84}"/>
                  </a:ext>
                </a:extLst>
              </p:cNvPr>
              <p:cNvSpPr>
                <a:spLocks/>
              </p:cNvSpPr>
              <p:nvPr/>
            </p:nvSpPr>
            <p:spPr bwMode="auto">
              <a:xfrm>
                <a:off x="9064625" y="4419600"/>
                <a:ext cx="209550" cy="28575"/>
              </a:xfrm>
              <a:custGeom>
                <a:avLst/>
                <a:gdLst>
                  <a:gd name="T0" fmla="*/ 124 w 132"/>
                  <a:gd name="T1" fmla="*/ 0 h 18"/>
                  <a:gd name="T2" fmla="*/ 8 w 132"/>
                  <a:gd name="T3" fmla="*/ 0 h 18"/>
                  <a:gd name="T4" fmla="*/ 8 w 132"/>
                  <a:gd name="T5" fmla="*/ 0 h 18"/>
                  <a:gd name="T6" fmla="*/ 6 w 132"/>
                  <a:gd name="T7" fmla="*/ 0 h 18"/>
                  <a:gd name="T8" fmla="*/ 3 w 132"/>
                  <a:gd name="T9" fmla="*/ 3 h 18"/>
                  <a:gd name="T10" fmla="*/ 1 w 132"/>
                  <a:gd name="T11" fmla="*/ 6 h 18"/>
                  <a:gd name="T12" fmla="*/ 0 w 132"/>
                  <a:gd name="T13" fmla="*/ 9 h 18"/>
                  <a:gd name="T14" fmla="*/ 0 w 132"/>
                  <a:gd name="T15" fmla="*/ 9 h 18"/>
                  <a:gd name="T16" fmla="*/ 1 w 132"/>
                  <a:gd name="T17" fmla="*/ 12 h 18"/>
                  <a:gd name="T18" fmla="*/ 3 w 132"/>
                  <a:gd name="T19" fmla="*/ 15 h 18"/>
                  <a:gd name="T20" fmla="*/ 6 w 132"/>
                  <a:gd name="T21" fmla="*/ 16 h 18"/>
                  <a:gd name="T22" fmla="*/ 8 w 132"/>
                  <a:gd name="T23" fmla="*/ 18 h 18"/>
                  <a:gd name="T24" fmla="*/ 124 w 132"/>
                  <a:gd name="T25" fmla="*/ 18 h 18"/>
                  <a:gd name="T26" fmla="*/ 124 w 132"/>
                  <a:gd name="T27" fmla="*/ 18 h 18"/>
                  <a:gd name="T28" fmla="*/ 127 w 132"/>
                  <a:gd name="T29" fmla="*/ 16 h 18"/>
                  <a:gd name="T30" fmla="*/ 130 w 132"/>
                  <a:gd name="T31" fmla="*/ 15 h 18"/>
                  <a:gd name="T32" fmla="*/ 132 w 132"/>
                  <a:gd name="T33" fmla="*/ 12 h 18"/>
                  <a:gd name="T34" fmla="*/ 132 w 132"/>
                  <a:gd name="T35" fmla="*/ 9 h 18"/>
                  <a:gd name="T36" fmla="*/ 132 w 132"/>
                  <a:gd name="T37" fmla="*/ 9 h 18"/>
                  <a:gd name="T38" fmla="*/ 132 w 132"/>
                  <a:gd name="T39" fmla="*/ 6 h 18"/>
                  <a:gd name="T40" fmla="*/ 130 w 132"/>
                  <a:gd name="T41" fmla="*/ 3 h 18"/>
                  <a:gd name="T42" fmla="*/ 127 w 132"/>
                  <a:gd name="T43" fmla="*/ 0 h 18"/>
                  <a:gd name="T44" fmla="*/ 124 w 132"/>
                  <a:gd name="T45" fmla="*/ 0 h 18"/>
                  <a:gd name="T46" fmla="*/ 124 w 132"/>
                  <a:gd name="T4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8">
                    <a:moveTo>
                      <a:pt x="124" y="0"/>
                    </a:moveTo>
                    <a:lnTo>
                      <a:pt x="8" y="0"/>
                    </a:lnTo>
                    <a:lnTo>
                      <a:pt x="8" y="0"/>
                    </a:lnTo>
                    <a:lnTo>
                      <a:pt x="6" y="0"/>
                    </a:lnTo>
                    <a:lnTo>
                      <a:pt x="3" y="3"/>
                    </a:lnTo>
                    <a:lnTo>
                      <a:pt x="1" y="6"/>
                    </a:lnTo>
                    <a:lnTo>
                      <a:pt x="0" y="9"/>
                    </a:lnTo>
                    <a:lnTo>
                      <a:pt x="0" y="9"/>
                    </a:lnTo>
                    <a:lnTo>
                      <a:pt x="1" y="12"/>
                    </a:lnTo>
                    <a:lnTo>
                      <a:pt x="3" y="15"/>
                    </a:lnTo>
                    <a:lnTo>
                      <a:pt x="6" y="16"/>
                    </a:lnTo>
                    <a:lnTo>
                      <a:pt x="8" y="18"/>
                    </a:lnTo>
                    <a:lnTo>
                      <a:pt x="124" y="18"/>
                    </a:lnTo>
                    <a:lnTo>
                      <a:pt x="124" y="18"/>
                    </a:lnTo>
                    <a:lnTo>
                      <a:pt x="127" y="16"/>
                    </a:lnTo>
                    <a:lnTo>
                      <a:pt x="130" y="15"/>
                    </a:lnTo>
                    <a:lnTo>
                      <a:pt x="132" y="12"/>
                    </a:lnTo>
                    <a:lnTo>
                      <a:pt x="132" y="9"/>
                    </a:lnTo>
                    <a:lnTo>
                      <a:pt x="132" y="9"/>
                    </a:lnTo>
                    <a:lnTo>
                      <a:pt x="132" y="6"/>
                    </a:lnTo>
                    <a:lnTo>
                      <a:pt x="130" y="3"/>
                    </a:lnTo>
                    <a:lnTo>
                      <a:pt x="127" y="0"/>
                    </a:lnTo>
                    <a:lnTo>
                      <a:pt x="124" y="0"/>
                    </a:lnTo>
                    <a:lnTo>
                      <a:pt x="124"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07" name="Group 1406">
            <a:extLst>
              <a:ext uri="{FF2B5EF4-FFF2-40B4-BE49-F238E27FC236}">
                <a16:creationId xmlns:a16="http://schemas.microsoft.com/office/drawing/2014/main" id="{2C02DB48-6A8F-402F-8EAF-3484ACCD74B6}"/>
              </a:ext>
            </a:extLst>
          </p:cNvPr>
          <p:cNvGrpSpPr/>
          <p:nvPr/>
        </p:nvGrpSpPr>
        <p:grpSpPr>
          <a:xfrm>
            <a:off x="2475446" y="1626836"/>
            <a:ext cx="612775" cy="612775"/>
            <a:chOff x="1320817" y="2265179"/>
            <a:chExt cx="612775" cy="612775"/>
          </a:xfrm>
        </p:grpSpPr>
        <p:sp>
          <p:nvSpPr>
            <p:cNvPr id="1408" name="Oval 1407">
              <a:extLst>
                <a:ext uri="{FF2B5EF4-FFF2-40B4-BE49-F238E27FC236}">
                  <a16:creationId xmlns:a16="http://schemas.microsoft.com/office/drawing/2014/main" id="{28DA7165-8B93-4733-9FA7-E2FD2FAEA50C}"/>
                </a:ext>
              </a:extLst>
            </p:cNvPr>
            <p:cNvSpPr/>
            <p:nvPr/>
          </p:nvSpPr>
          <p:spPr bwMode="ltGray">
            <a:xfrm>
              <a:off x="132081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09" name="Group 1408">
              <a:extLst>
                <a:ext uri="{FF2B5EF4-FFF2-40B4-BE49-F238E27FC236}">
                  <a16:creationId xmlns:a16="http://schemas.microsoft.com/office/drawing/2014/main" id="{D34F620B-8ECD-4D74-9A28-00DBB52A4E3E}"/>
                </a:ext>
              </a:extLst>
            </p:cNvPr>
            <p:cNvGrpSpPr/>
            <p:nvPr/>
          </p:nvGrpSpPr>
          <p:grpSpPr>
            <a:xfrm>
              <a:off x="1424260" y="2396755"/>
              <a:ext cx="438380" cy="315129"/>
              <a:chOff x="6507163" y="4090988"/>
              <a:chExt cx="496887" cy="357187"/>
            </a:xfrm>
            <a:solidFill>
              <a:srgbClr val="3C3C3E"/>
            </a:solidFill>
          </p:grpSpPr>
          <p:sp>
            <p:nvSpPr>
              <p:cNvPr id="1410" name="Freeform 11">
                <a:extLst>
                  <a:ext uri="{FF2B5EF4-FFF2-40B4-BE49-F238E27FC236}">
                    <a16:creationId xmlns:a16="http://schemas.microsoft.com/office/drawing/2014/main" id="{7ABC2DA7-89CA-4698-A8A9-C93588F86608}"/>
                  </a:ext>
                </a:extLst>
              </p:cNvPr>
              <p:cNvSpPr>
                <a:spLocks noEditPoints="1"/>
              </p:cNvSpPr>
              <p:nvPr/>
            </p:nvSpPr>
            <p:spPr bwMode="auto">
              <a:xfrm>
                <a:off x="6578600" y="4113213"/>
                <a:ext cx="354012" cy="217488"/>
              </a:xfrm>
              <a:custGeom>
                <a:avLst/>
                <a:gdLst>
                  <a:gd name="T0" fmla="*/ 216 w 223"/>
                  <a:gd name="T1" fmla="*/ 0 h 137"/>
                  <a:gd name="T2" fmla="*/ 7 w 223"/>
                  <a:gd name="T3" fmla="*/ 0 h 137"/>
                  <a:gd name="T4" fmla="*/ 7 w 223"/>
                  <a:gd name="T5" fmla="*/ 0 h 137"/>
                  <a:gd name="T6" fmla="*/ 4 w 223"/>
                  <a:gd name="T7" fmla="*/ 0 h 137"/>
                  <a:gd name="T8" fmla="*/ 1 w 223"/>
                  <a:gd name="T9" fmla="*/ 2 h 137"/>
                  <a:gd name="T10" fmla="*/ 0 w 223"/>
                  <a:gd name="T11" fmla="*/ 5 h 137"/>
                  <a:gd name="T12" fmla="*/ 0 w 223"/>
                  <a:gd name="T13" fmla="*/ 7 h 137"/>
                  <a:gd name="T14" fmla="*/ 0 w 223"/>
                  <a:gd name="T15" fmla="*/ 137 h 137"/>
                  <a:gd name="T16" fmla="*/ 223 w 223"/>
                  <a:gd name="T17" fmla="*/ 137 h 137"/>
                  <a:gd name="T18" fmla="*/ 223 w 223"/>
                  <a:gd name="T19" fmla="*/ 7 h 137"/>
                  <a:gd name="T20" fmla="*/ 223 w 223"/>
                  <a:gd name="T21" fmla="*/ 7 h 137"/>
                  <a:gd name="T22" fmla="*/ 222 w 223"/>
                  <a:gd name="T23" fmla="*/ 5 h 137"/>
                  <a:gd name="T24" fmla="*/ 220 w 223"/>
                  <a:gd name="T25" fmla="*/ 2 h 137"/>
                  <a:gd name="T26" fmla="*/ 219 w 223"/>
                  <a:gd name="T27" fmla="*/ 0 h 137"/>
                  <a:gd name="T28" fmla="*/ 216 w 223"/>
                  <a:gd name="T29" fmla="*/ 0 h 137"/>
                  <a:gd name="T30" fmla="*/ 216 w 223"/>
                  <a:gd name="T31" fmla="*/ 0 h 137"/>
                  <a:gd name="T32" fmla="*/ 216 w 223"/>
                  <a:gd name="T33" fmla="*/ 26 h 137"/>
                  <a:gd name="T34" fmla="*/ 216 w 223"/>
                  <a:gd name="T35" fmla="*/ 26 h 137"/>
                  <a:gd name="T36" fmla="*/ 199 w 223"/>
                  <a:gd name="T37" fmla="*/ 38 h 137"/>
                  <a:gd name="T38" fmla="*/ 176 w 223"/>
                  <a:gd name="T39" fmla="*/ 49 h 137"/>
                  <a:gd name="T40" fmla="*/ 150 w 223"/>
                  <a:gd name="T41" fmla="*/ 59 h 137"/>
                  <a:gd name="T42" fmla="*/ 122 w 223"/>
                  <a:gd name="T43" fmla="*/ 69 h 137"/>
                  <a:gd name="T44" fmla="*/ 93 w 223"/>
                  <a:gd name="T45" fmla="*/ 78 h 137"/>
                  <a:gd name="T46" fmla="*/ 63 w 223"/>
                  <a:gd name="T47" fmla="*/ 85 h 137"/>
                  <a:gd name="T48" fmla="*/ 7 w 223"/>
                  <a:gd name="T49" fmla="*/ 98 h 137"/>
                  <a:gd name="T50" fmla="*/ 7 w 223"/>
                  <a:gd name="T51" fmla="*/ 98 h 137"/>
                  <a:gd name="T52" fmla="*/ 7 w 223"/>
                  <a:gd name="T53" fmla="*/ 6 h 137"/>
                  <a:gd name="T54" fmla="*/ 216 w 223"/>
                  <a:gd name="T55" fmla="*/ 6 h 137"/>
                  <a:gd name="T56" fmla="*/ 216 w 223"/>
                  <a:gd name="T57" fmla="*/ 6 h 137"/>
                  <a:gd name="T58" fmla="*/ 216 w 223"/>
                  <a:gd name="T59" fmla="*/ 10 h 137"/>
                  <a:gd name="T60" fmla="*/ 216 w 223"/>
                  <a:gd name="T61" fmla="*/ 26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3" h="137">
                    <a:moveTo>
                      <a:pt x="216" y="0"/>
                    </a:moveTo>
                    <a:lnTo>
                      <a:pt x="7" y="0"/>
                    </a:lnTo>
                    <a:lnTo>
                      <a:pt x="7" y="0"/>
                    </a:lnTo>
                    <a:lnTo>
                      <a:pt x="4" y="0"/>
                    </a:lnTo>
                    <a:lnTo>
                      <a:pt x="1" y="2"/>
                    </a:lnTo>
                    <a:lnTo>
                      <a:pt x="0" y="5"/>
                    </a:lnTo>
                    <a:lnTo>
                      <a:pt x="0" y="7"/>
                    </a:lnTo>
                    <a:lnTo>
                      <a:pt x="0" y="137"/>
                    </a:lnTo>
                    <a:lnTo>
                      <a:pt x="223" y="137"/>
                    </a:lnTo>
                    <a:lnTo>
                      <a:pt x="223" y="7"/>
                    </a:lnTo>
                    <a:lnTo>
                      <a:pt x="223" y="7"/>
                    </a:lnTo>
                    <a:lnTo>
                      <a:pt x="222" y="5"/>
                    </a:lnTo>
                    <a:lnTo>
                      <a:pt x="220" y="2"/>
                    </a:lnTo>
                    <a:lnTo>
                      <a:pt x="219" y="0"/>
                    </a:lnTo>
                    <a:lnTo>
                      <a:pt x="216" y="0"/>
                    </a:lnTo>
                    <a:lnTo>
                      <a:pt x="216" y="0"/>
                    </a:lnTo>
                    <a:close/>
                    <a:moveTo>
                      <a:pt x="216" y="26"/>
                    </a:moveTo>
                    <a:lnTo>
                      <a:pt x="216" y="26"/>
                    </a:lnTo>
                    <a:lnTo>
                      <a:pt x="199" y="38"/>
                    </a:lnTo>
                    <a:lnTo>
                      <a:pt x="176" y="49"/>
                    </a:lnTo>
                    <a:lnTo>
                      <a:pt x="150" y="59"/>
                    </a:lnTo>
                    <a:lnTo>
                      <a:pt x="122" y="69"/>
                    </a:lnTo>
                    <a:lnTo>
                      <a:pt x="93" y="78"/>
                    </a:lnTo>
                    <a:lnTo>
                      <a:pt x="63" y="85"/>
                    </a:lnTo>
                    <a:lnTo>
                      <a:pt x="7" y="98"/>
                    </a:lnTo>
                    <a:lnTo>
                      <a:pt x="7" y="98"/>
                    </a:lnTo>
                    <a:lnTo>
                      <a:pt x="7" y="6"/>
                    </a:lnTo>
                    <a:lnTo>
                      <a:pt x="216" y="6"/>
                    </a:lnTo>
                    <a:lnTo>
                      <a:pt x="216" y="6"/>
                    </a:lnTo>
                    <a:lnTo>
                      <a:pt x="216" y="10"/>
                    </a:lnTo>
                    <a:lnTo>
                      <a:pt x="216" y="2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11" name="Freeform 12">
                <a:extLst>
                  <a:ext uri="{FF2B5EF4-FFF2-40B4-BE49-F238E27FC236}">
                    <a16:creationId xmlns:a16="http://schemas.microsoft.com/office/drawing/2014/main" id="{B482BC94-4802-4A69-B8C3-8F5D5019B83E}"/>
                  </a:ext>
                </a:extLst>
              </p:cNvPr>
              <p:cNvSpPr>
                <a:spLocks noEditPoints="1"/>
              </p:cNvSpPr>
              <p:nvPr/>
            </p:nvSpPr>
            <p:spPr bwMode="auto">
              <a:xfrm>
                <a:off x="6507163" y="4422775"/>
                <a:ext cx="496887" cy="25400"/>
              </a:xfrm>
              <a:custGeom>
                <a:avLst/>
                <a:gdLst>
                  <a:gd name="T0" fmla="*/ 313 w 313"/>
                  <a:gd name="T1" fmla="*/ 0 h 16"/>
                  <a:gd name="T2" fmla="*/ 0 w 313"/>
                  <a:gd name="T3" fmla="*/ 0 h 16"/>
                  <a:gd name="T4" fmla="*/ 0 w 313"/>
                  <a:gd name="T5" fmla="*/ 0 h 16"/>
                  <a:gd name="T6" fmla="*/ 0 w 313"/>
                  <a:gd name="T7" fmla="*/ 4 h 16"/>
                  <a:gd name="T8" fmla="*/ 0 w 313"/>
                  <a:gd name="T9" fmla="*/ 4 h 16"/>
                  <a:gd name="T10" fmla="*/ 0 w 313"/>
                  <a:gd name="T11" fmla="*/ 8 h 16"/>
                  <a:gd name="T12" fmla="*/ 3 w 313"/>
                  <a:gd name="T13" fmla="*/ 11 h 16"/>
                  <a:gd name="T14" fmla="*/ 6 w 313"/>
                  <a:gd name="T15" fmla="*/ 14 h 16"/>
                  <a:gd name="T16" fmla="*/ 10 w 313"/>
                  <a:gd name="T17" fmla="*/ 16 h 16"/>
                  <a:gd name="T18" fmla="*/ 303 w 313"/>
                  <a:gd name="T19" fmla="*/ 16 h 16"/>
                  <a:gd name="T20" fmla="*/ 303 w 313"/>
                  <a:gd name="T21" fmla="*/ 16 h 16"/>
                  <a:gd name="T22" fmla="*/ 307 w 313"/>
                  <a:gd name="T23" fmla="*/ 14 h 16"/>
                  <a:gd name="T24" fmla="*/ 310 w 313"/>
                  <a:gd name="T25" fmla="*/ 11 h 16"/>
                  <a:gd name="T26" fmla="*/ 313 w 313"/>
                  <a:gd name="T27" fmla="*/ 8 h 16"/>
                  <a:gd name="T28" fmla="*/ 313 w 313"/>
                  <a:gd name="T29" fmla="*/ 4 h 16"/>
                  <a:gd name="T30" fmla="*/ 313 w 313"/>
                  <a:gd name="T31" fmla="*/ 4 h 16"/>
                  <a:gd name="T32" fmla="*/ 313 w 313"/>
                  <a:gd name="T33" fmla="*/ 0 h 16"/>
                  <a:gd name="T34" fmla="*/ 313 w 313"/>
                  <a:gd name="T35" fmla="*/ 0 h 16"/>
                  <a:gd name="T36" fmla="*/ 212 w 313"/>
                  <a:gd name="T37" fmla="*/ 8 h 16"/>
                  <a:gd name="T38" fmla="*/ 212 w 313"/>
                  <a:gd name="T39" fmla="*/ 8 h 16"/>
                  <a:gd name="T40" fmla="*/ 212 w 313"/>
                  <a:gd name="T41" fmla="*/ 10 h 16"/>
                  <a:gd name="T42" fmla="*/ 101 w 313"/>
                  <a:gd name="T43" fmla="*/ 10 h 16"/>
                  <a:gd name="T44" fmla="*/ 101 w 313"/>
                  <a:gd name="T45" fmla="*/ 10 h 16"/>
                  <a:gd name="T46" fmla="*/ 100 w 313"/>
                  <a:gd name="T47" fmla="*/ 8 h 16"/>
                  <a:gd name="T48" fmla="*/ 100 w 313"/>
                  <a:gd name="T49" fmla="*/ 7 h 16"/>
                  <a:gd name="T50" fmla="*/ 100 w 313"/>
                  <a:gd name="T51" fmla="*/ 7 h 16"/>
                  <a:gd name="T52" fmla="*/ 101 w 313"/>
                  <a:gd name="T53" fmla="*/ 6 h 16"/>
                  <a:gd name="T54" fmla="*/ 212 w 313"/>
                  <a:gd name="T55" fmla="*/ 6 h 16"/>
                  <a:gd name="T56" fmla="*/ 212 w 313"/>
                  <a:gd name="T57" fmla="*/ 6 h 16"/>
                  <a:gd name="T58" fmla="*/ 212 w 313"/>
                  <a:gd name="T59" fmla="*/ 7 h 16"/>
                  <a:gd name="T60" fmla="*/ 212 w 313"/>
                  <a:gd name="T6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3" h="16">
                    <a:moveTo>
                      <a:pt x="313" y="0"/>
                    </a:moveTo>
                    <a:lnTo>
                      <a:pt x="0" y="0"/>
                    </a:lnTo>
                    <a:lnTo>
                      <a:pt x="0" y="0"/>
                    </a:lnTo>
                    <a:lnTo>
                      <a:pt x="0" y="4"/>
                    </a:lnTo>
                    <a:lnTo>
                      <a:pt x="0" y="4"/>
                    </a:lnTo>
                    <a:lnTo>
                      <a:pt x="0" y="8"/>
                    </a:lnTo>
                    <a:lnTo>
                      <a:pt x="3" y="11"/>
                    </a:lnTo>
                    <a:lnTo>
                      <a:pt x="6" y="14"/>
                    </a:lnTo>
                    <a:lnTo>
                      <a:pt x="10" y="16"/>
                    </a:lnTo>
                    <a:lnTo>
                      <a:pt x="303" y="16"/>
                    </a:lnTo>
                    <a:lnTo>
                      <a:pt x="303" y="16"/>
                    </a:lnTo>
                    <a:lnTo>
                      <a:pt x="307" y="14"/>
                    </a:lnTo>
                    <a:lnTo>
                      <a:pt x="310" y="11"/>
                    </a:lnTo>
                    <a:lnTo>
                      <a:pt x="313" y="8"/>
                    </a:lnTo>
                    <a:lnTo>
                      <a:pt x="313" y="4"/>
                    </a:lnTo>
                    <a:lnTo>
                      <a:pt x="313" y="4"/>
                    </a:lnTo>
                    <a:lnTo>
                      <a:pt x="313" y="0"/>
                    </a:lnTo>
                    <a:lnTo>
                      <a:pt x="313" y="0"/>
                    </a:lnTo>
                    <a:close/>
                    <a:moveTo>
                      <a:pt x="212" y="8"/>
                    </a:moveTo>
                    <a:lnTo>
                      <a:pt x="212" y="8"/>
                    </a:lnTo>
                    <a:lnTo>
                      <a:pt x="212" y="10"/>
                    </a:lnTo>
                    <a:lnTo>
                      <a:pt x="101" y="10"/>
                    </a:lnTo>
                    <a:lnTo>
                      <a:pt x="101" y="10"/>
                    </a:lnTo>
                    <a:lnTo>
                      <a:pt x="100" y="8"/>
                    </a:lnTo>
                    <a:lnTo>
                      <a:pt x="100" y="7"/>
                    </a:lnTo>
                    <a:lnTo>
                      <a:pt x="100" y="7"/>
                    </a:lnTo>
                    <a:lnTo>
                      <a:pt x="101" y="6"/>
                    </a:lnTo>
                    <a:lnTo>
                      <a:pt x="212" y="6"/>
                    </a:lnTo>
                    <a:lnTo>
                      <a:pt x="212" y="6"/>
                    </a:lnTo>
                    <a:lnTo>
                      <a:pt x="212" y="7"/>
                    </a:lnTo>
                    <a:lnTo>
                      <a:pt x="212" y="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12" name="Freeform 13">
                <a:extLst>
                  <a:ext uri="{FF2B5EF4-FFF2-40B4-BE49-F238E27FC236}">
                    <a16:creationId xmlns:a16="http://schemas.microsoft.com/office/drawing/2014/main" id="{5EB5EFFA-95B1-4093-9989-CB382133DD38}"/>
                  </a:ext>
                </a:extLst>
              </p:cNvPr>
              <p:cNvSpPr>
                <a:spLocks noEditPoints="1"/>
              </p:cNvSpPr>
              <p:nvPr/>
            </p:nvSpPr>
            <p:spPr bwMode="auto">
              <a:xfrm>
                <a:off x="6554788" y="4090988"/>
                <a:ext cx="401637" cy="263525"/>
              </a:xfrm>
              <a:custGeom>
                <a:avLst/>
                <a:gdLst>
                  <a:gd name="T0" fmla="*/ 0 w 253"/>
                  <a:gd name="T1" fmla="*/ 166 h 166"/>
                  <a:gd name="T2" fmla="*/ 253 w 253"/>
                  <a:gd name="T3" fmla="*/ 166 h 166"/>
                  <a:gd name="T4" fmla="*/ 253 w 253"/>
                  <a:gd name="T5" fmla="*/ 161 h 166"/>
                  <a:gd name="T6" fmla="*/ 253 w 253"/>
                  <a:gd name="T7" fmla="*/ 161 h 166"/>
                  <a:gd name="T8" fmla="*/ 253 w 253"/>
                  <a:gd name="T9" fmla="*/ 21 h 166"/>
                  <a:gd name="T10" fmla="*/ 253 w 253"/>
                  <a:gd name="T11" fmla="*/ 21 h 166"/>
                  <a:gd name="T12" fmla="*/ 250 w 253"/>
                  <a:gd name="T13" fmla="*/ 13 h 166"/>
                  <a:gd name="T14" fmla="*/ 245 w 253"/>
                  <a:gd name="T15" fmla="*/ 6 h 166"/>
                  <a:gd name="T16" fmla="*/ 240 w 253"/>
                  <a:gd name="T17" fmla="*/ 1 h 166"/>
                  <a:gd name="T18" fmla="*/ 231 w 253"/>
                  <a:gd name="T19" fmla="*/ 0 h 166"/>
                  <a:gd name="T20" fmla="*/ 22 w 253"/>
                  <a:gd name="T21" fmla="*/ 0 h 166"/>
                  <a:gd name="T22" fmla="*/ 22 w 253"/>
                  <a:gd name="T23" fmla="*/ 0 h 166"/>
                  <a:gd name="T24" fmla="*/ 13 w 253"/>
                  <a:gd name="T25" fmla="*/ 1 h 166"/>
                  <a:gd name="T26" fmla="*/ 8 w 253"/>
                  <a:gd name="T27" fmla="*/ 6 h 166"/>
                  <a:gd name="T28" fmla="*/ 2 w 253"/>
                  <a:gd name="T29" fmla="*/ 13 h 166"/>
                  <a:gd name="T30" fmla="*/ 0 w 253"/>
                  <a:gd name="T31" fmla="*/ 21 h 166"/>
                  <a:gd name="T32" fmla="*/ 0 w 253"/>
                  <a:gd name="T33" fmla="*/ 164 h 166"/>
                  <a:gd name="T34" fmla="*/ 0 w 253"/>
                  <a:gd name="T35" fmla="*/ 164 h 166"/>
                  <a:gd name="T36" fmla="*/ 0 w 253"/>
                  <a:gd name="T37" fmla="*/ 166 h 166"/>
                  <a:gd name="T38" fmla="*/ 8 w 253"/>
                  <a:gd name="T39" fmla="*/ 21 h 166"/>
                  <a:gd name="T40" fmla="*/ 8 w 253"/>
                  <a:gd name="T41" fmla="*/ 21 h 166"/>
                  <a:gd name="T42" fmla="*/ 9 w 253"/>
                  <a:gd name="T43" fmla="*/ 16 h 166"/>
                  <a:gd name="T44" fmla="*/ 12 w 253"/>
                  <a:gd name="T45" fmla="*/ 11 h 166"/>
                  <a:gd name="T46" fmla="*/ 16 w 253"/>
                  <a:gd name="T47" fmla="*/ 8 h 166"/>
                  <a:gd name="T48" fmla="*/ 22 w 253"/>
                  <a:gd name="T49" fmla="*/ 7 h 166"/>
                  <a:gd name="T50" fmla="*/ 231 w 253"/>
                  <a:gd name="T51" fmla="*/ 7 h 166"/>
                  <a:gd name="T52" fmla="*/ 231 w 253"/>
                  <a:gd name="T53" fmla="*/ 7 h 166"/>
                  <a:gd name="T54" fmla="*/ 237 w 253"/>
                  <a:gd name="T55" fmla="*/ 8 h 166"/>
                  <a:gd name="T56" fmla="*/ 241 w 253"/>
                  <a:gd name="T57" fmla="*/ 11 h 166"/>
                  <a:gd name="T58" fmla="*/ 244 w 253"/>
                  <a:gd name="T59" fmla="*/ 16 h 166"/>
                  <a:gd name="T60" fmla="*/ 244 w 253"/>
                  <a:gd name="T61" fmla="*/ 21 h 166"/>
                  <a:gd name="T62" fmla="*/ 244 w 253"/>
                  <a:gd name="T63" fmla="*/ 158 h 166"/>
                  <a:gd name="T64" fmla="*/ 8 w 253"/>
                  <a:gd name="T65" fmla="*/ 158 h 166"/>
                  <a:gd name="T66" fmla="*/ 8 w 253"/>
                  <a:gd name="T67" fmla="*/ 21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3" h="166">
                    <a:moveTo>
                      <a:pt x="0" y="166"/>
                    </a:moveTo>
                    <a:lnTo>
                      <a:pt x="253" y="166"/>
                    </a:lnTo>
                    <a:lnTo>
                      <a:pt x="253" y="161"/>
                    </a:lnTo>
                    <a:lnTo>
                      <a:pt x="253" y="161"/>
                    </a:lnTo>
                    <a:lnTo>
                      <a:pt x="253" y="21"/>
                    </a:lnTo>
                    <a:lnTo>
                      <a:pt x="253" y="21"/>
                    </a:lnTo>
                    <a:lnTo>
                      <a:pt x="250" y="13"/>
                    </a:lnTo>
                    <a:lnTo>
                      <a:pt x="245" y="6"/>
                    </a:lnTo>
                    <a:lnTo>
                      <a:pt x="240" y="1"/>
                    </a:lnTo>
                    <a:lnTo>
                      <a:pt x="231" y="0"/>
                    </a:lnTo>
                    <a:lnTo>
                      <a:pt x="22" y="0"/>
                    </a:lnTo>
                    <a:lnTo>
                      <a:pt x="22" y="0"/>
                    </a:lnTo>
                    <a:lnTo>
                      <a:pt x="13" y="1"/>
                    </a:lnTo>
                    <a:lnTo>
                      <a:pt x="8" y="6"/>
                    </a:lnTo>
                    <a:lnTo>
                      <a:pt x="2" y="13"/>
                    </a:lnTo>
                    <a:lnTo>
                      <a:pt x="0" y="21"/>
                    </a:lnTo>
                    <a:lnTo>
                      <a:pt x="0" y="164"/>
                    </a:lnTo>
                    <a:lnTo>
                      <a:pt x="0" y="164"/>
                    </a:lnTo>
                    <a:lnTo>
                      <a:pt x="0" y="166"/>
                    </a:lnTo>
                    <a:close/>
                    <a:moveTo>
                      <a:pt x="8" y="21"/>
                    </a:moveTo>
                    <a:lnTo>
                      <a:pt x="8" y="21"/>
                    </a:lnTo>
                    <a:lnTo>
                      <a:pt x="9" y="16"/>
                    </a:lnTo>
                    <a:lnTo>
                      <a:pt x="12" y="11"/>
                    </a:lnTo>
                    <a:lnTo>
                      <a:pt x="16" y="8"/>
                    </a:lnTo>
                    <a:lnTo>
                      <a:pt x="22" y="7"/>
                    </a:lnTo>
                    <a:lnTo>
                      <a:pt x="231" y="7"/>
                    </a:lnTo>
                    <a:lnTo>
                      <a:pt x="231" y="7"/>
                    </a:lnTo>
                    <a:lnTo>
                      <a:pt x="237" y="8"/>
                    </a:lnTo>
                    <a:lnTo>
                      <a:pt x="241" y="11"/>
                    </a:lnTo>
                    <a:lnTo>
                      <a:pt x="244" y="16"/>
                    </a:lnTo>
                    <a:lnTo>
                      <a:pt x="244" y="21"/>
                    </a:lnTo>
                    <a:lnTo>
                      <a:pt x="244" y="158"/>
                    </a:lnTo>
                    <a:lnTo>
                      <a:pt x="8" y="158"/>
                    </a:lnTo>
                    <a:lnTo>
                      <a:pt x="8" y="2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13" name="Freeform 14">
                <a:extLst>
                  <a:ext uri="{FF2B5EF4-FFF2-40B4-BE49-F238E27FC236}">
                    <a16:creationId xmlns:a16="http://schemas.microsoft.com/office/drawing/2014/main" id="{5E4B22D6-1441-43C2-8B1E-98C3C1E271CE}"/>
                  </a:ext>
                </a:extLst>
              </p:cNvPr>
              <p:cNvSpPr>
                <a:spLocks noEditPoints="1"/>
              </p:cNvSpPr>
              <p:nvPr/>
            </p:nvSpPr>
            <p:spPr bwMode="auto">
              <a:xfrm>
                <a:off x="6511925" y="4360863"/>
                <a:ext cx="487362" cy="57150"/>
              </a:xfrm>
              <a:custGeom>
                <a:avLst/>
                <a:gdLst>
                  <a:gd name="T0" fmla="*/ 148 w 307"/>
                  <a:gd name="T1" fmla="*/ 36 h 36"/>
                  <a:gd name="T2" fmla="*/ 307 w 307"/>
                  <a:gd name="T3" fmla="*/ 36 h 36"/>
                  <a:gd name="T4" fmla="*/ 280 w 307"/>
                  <a:gd name="T5" fmla="*/ 0 h 36"/>
                  <a:gd name="T6" fmla="*/ 148 w 307"/>
                  <a:gd name="T7" fmla="*/ 0 h 36"/>
                  <a:gd name="T8" fmla="*/ 131 w 307"/>
                  <a:gd name="T9" fmla="*/ 0 h 36"/>
                  <a:gd name="T10" fmla="*/ 27 w 307"/>
                  <a:gd name="T11" fmla="*/ 0 h 36"/>
                  <a:gd name="T12" fmla="*/ 0 w 307"/>
                  <a:gd name="T13" fmla="*/ 36 h 36"/>
                  <a:gd name="T14" fmla="*/ 131 w 307"/>
                  <a:gd name="T15" fmla="*/ 36 h 36"/>
                  <a:gd name="T16" fmla="*/ 148 w 307"/>
                  <a:gd name="T17" fmla="*/ 36 h 36"/>
                  <a:gd name="T18" fmla="*/ 49 w 307"/>
                  <a:gd name="T19" fmla="*/ 9 h 36"/>
                  <a:gd name="T20" fmla="*/ 258 w 307"/>
                  <a:gd name="T21" fmla="*/ 9 h 36"/>
                  <a:gd name="T22" fmla="*/ 265 w 307"/>
                  <a:gd name="T23" fmla="*/ 19 h 36"/>
                  <a:gd name="T24" fmla="*/ 40 w 307"/>
                  <a:gd name="T25" fmla="*/ 19 h 36"/>
                  <a:gd name="T26" fmla="*/ 49 w 307"/>
                  <a:gd name="T27" fmla="*/ 9 h 36"/>
                  <a:gd name="T28" fmla="*/ 125 w 307"/>
                  <a:gd name="T29" fmla="*/ 21 h 36"/>
                  <a:gd name="T30" fmla="*/ 148 w 307"/>
                  <a:gd name="T31" fmla="*/ 21 h 36"/>
                  <a:gd name="T32" fmla="*/ 153 w 307"/>
                  <a:gd name="T33" fmla="*/ 21 h 36"/>
                  <a:gd name="T34" fmla="*/ 182 w 307"/>
                  <a:gd name="T35" fmla="*/ 21 h 36"/>
                  <a:gd name="T36" fmla="*/ 187 w 307"/>
                  <a:gd name="T37" fmla="*/ 30 h 36"/>
                  <a:gd name="T38" fmla="*/ 153 w 307"/>
                  <a:gd name="T39" fmla="*/ 30 h 36"/>
                  <a:gd name="T40" fmla="*/ 148 w 307"/>
                  <a:gd name="T41" fmla="*/ 30 h 36"/>
                  <a:gd name="T42" fmla="*/ 120 w 307"/>
                  <a:gd name="T43" fmla="*/ 30 h 36"/>
                  <a:gd name="T44" fmla="*/ 125 w 307"/>
                  <a:gd name="T45"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7" h="36">
                    <a:moveTo>
                      <a:pt x="148" y="36"/>
                    </a:moveTo>
                    <a:lnTo>
                      <a:pt x="307" y="36"/>
                    </a:lnTo>
                    <a:lnTo>
                      <a:pt x="280" y="0"/>
                    </a:lnTo>
                    <a:lnTo>
                      <a:pt x="148" y="0"/>
                    </a:lnTo>
                    <a:lnTo>
                      <a:pt x="131" y="0"/>
                    </a:lnTo>
                    <a:lnTo>
                      <a:pt x="27" y="0"/>
                    </a:lnTo>
                    <a:lnTo>
                      <a:pt x="0" y="36"/>
                    </a:lnTo>
                    <a:lnTo>
                      <a:pt x="131" y="36"/>
                    </a:lnTo>
                    <a:lnTo>
                      <a:pt x="148" y="36"/>
                    </a:lnTo>
                    <a:close/>
                    <a:moveTo>
                      <a:pt x="49" y="9"/>
                    </a:moveTo>
                    <a:lnTo>
                      <a:pt x="258" y="9"/>
                    </a:lnTo>
                    <a:lnTo>
                      <a:pt x="265" y="19"/>
                    </a:lnTo>
                    <a:lnTo>
                      <a:pt x="40" y="19"/>
                    </a:lnTo>
                    <a:lnTo>
                      <a:pt x="49" y="9"/>
                    </a:lnTo>
                    <a:close/>
                    <a:moveTo>
                      <a:pt x="125" y="21"/>
                    </a:moveTo>
                    <a:lnTo>
                      <a:pt x="148" y="21"/>
                    </a:lnTo>
                    <a:lnTo>
                      <a:pt x="153" y="21"/>
                    </a:lnTo>
                    <a:lnTo>
                      <a:pt x="182" y="21"/>
                    </a:lnTo>
                    <a:lnTo>
                      <a:pt x="187" y="30"/>
                    </a:lnTo>
                    <a:lnTo>
                      <a:pt x="153" y="30"/>
                    </a:lnTo>
                    <a:lnTo>
                      <a:pt x="148" y="30"/>
                    </a:lnTo>
                    <a:lnTo>
                      <a:pt x="120" y="30"/>
                    </a:lnTo>
                    <a:lnTo>
                      <a:pt x="125" y="2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14" name="Group 1413">
            <a:extLst>
              <a:ext uri="{FF2B5EF4-FFF2-40B4-BE49-F238E27FC236}">
                <a16:creationId xmlns:a16="http://schemas.microsoft.com/office/drawing/2014/main" id="{6C1DAED0-4038-4972-B6CE-8B8A0B729D2D}"/>
              </a:ext>
            </a:extLst>
          </p:cNvPr>
          <p:cNvGrpSpPr/>
          <p:nvPr/>
        </p:nvGrpSpPr>
        <p:grpSpPr>
          <a:xfrm>
            <a:off x="9033736" y="1626836"/>
            <a:ext cx="612775" cy="612775"/>
            <a:chOff x="7879107" y="2265179"/>
            <a:chExt cx="612775" cy="612775"/>
          </a:xfrm>
        </p:grpSpPr>
        <p:sp>
          <p:nvSpPr>
            <p:cNvPr id="1415" name="Oval 1414">
              <a:extLst>
                <a:ext uri="{FF2B5EF4-FFF2-40B4-BE49-F238E27FC236}">
                  <a16:creationId xmlns:a16="http://schemas.microsoft.com/office/drawing/2014/main" id="{0D788B73-DBC5-4152-AE3F-5D0271FC18F2}"/>
                </a:ext>
              </a:extLst>
            </p:cNvPr>
            <p:cNvSpPr/>
            <p:nvPr/>
          </p:nvSpPr>
          <p:spPr bwMode="ltGray">
            <a:xfrm>
              <a:off x="787910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16" name="Group 1415">
              <a:extLst>
                <a:ext uri="{FF2B5EF4-FFF2-40B4-BE49-F238E27FC236}">
                  <a16:creationId xmlns:a16="http://schemas.microsoft.com/office/drawing/2014/main" id="{A2F4845C-38C5-4795-AD0B-94C326DBC385}"/>
                </a:ext>
              </a:extLst>
            </p:cNvPr>
            <p:cNvGrpSpPr/>
            <p:nvPr/>
          </p:nvGrpSpPr>
          <p:grpSpPr>
            <a:xfrm>
              <a:off x="7995254" y="2418037"/>
              <a:ext cx="409714" cy="317764"/>
              <a:chOff x="7772400" y="5314950"/>
              <a:chExt cx="481012" cy="373063"/>
            </a:xfrm>
            <a:solidFill>
              <a:srgbClr val="3C3C3E"/>
            </a:solidFill>
          </p:grpSpPr>
          <p:sp>
            <p:nvSpPr>
              <p:cNvPr id="1417" name="Freeform 15">
                <a:extLst>
                  <a:ext uri="{FF2B5EF4-FFF2-40B4-BE49-F238E27FC236}">
                    <a16:creationId xmlns:a16="http://schemas.microsoft.com/office/drawing/2014/main" id="{AB22F910-68CA-4796-96A7-B9033A04DAF5}"/>
                  </a:ext>
                </a:extLst>
              </p:cNvPr>
              <p:cNvSpPr>
                <a:spLocks noEditPoints="1"/>
              </p:cNvSpPr>
              <p:nvPr/>
            </p:nvSpPr>
            <p:spPr bwMode="auto">
              <a:xfrm>
                <a:off x="7772400" y="5314950"/>
                <a:ext cx="481012" cy="373063"/>
              </a:xfrm>
              <a:custGeom>
                <a:avLst/>
                <a:gdLst>
                  <a:gd name="T0" fmla="*/ 25 w 303"/>
                  <a:gd name="T1" fmla="*/ 0 h 235"/>
                  <a:gd name="T2" fmla="*/ 21 w 303"/>
                  <a:gd name="T3" fmla="*/ 0 h 235"/>
                  <a:gd name="T4" fmla="*/ 12 w 303"/>
                  <a:gd name="T5" fmla="*/ 4 h 235"/>
                  <a:gd name="T6" fmla="*/ 5 w 303"/>
                  <a:gd name="T7" fmla="*/ 12 h 235"/>
                  <a:gd name="T8" fmla="*/ 2 w 303"/>
                  <a:gd name="T9" fmla="*/ 20 h 235"/>
                  <a:gd name="T10" fmla="*/ 0 w 303"/>
                  <a:gd name="T11" fmla="*/ 209 h 235"/>
                  <a:gd name="T12" fmla="*/ 2 w 303"/>
                  <a:gd name="T13" fmla="*/ 215 h 235"/>
                  <a:gd name="T14" fmla="*/ 5 w 303"/>
                  <a:gd name="T15" fmla="*/ 223 h 235"/>
                  <a:gd name="T16" fmla="*/ 12 w 303"/>
                  <a:gd name="T17" fmla="*/ 231 h 235"/>
                  <a:gd name="T18" fmla="*/ 21 w 303"/>
                  <a:gd name="T19" fmla="*/ 235 h 235"/>
                  <a:gd name="T20" fmla="*/ 279 w 303"/>
                  <a:gd name="T21" fmla="*/ 235 h 235"/>
                  <a:gd name="T22" fmla="*/ 283 w 303"/>
                  <a:gd name="T23" fmla="*/ 235 h 235"/>
                  <a:gd name="T24" fmla="*/ 292 w 303"/>
                  <a:gd name="T25" fmla="*/ 231 h 235"/>
                  <a:gd name="T26" fmla="*/ 299 w 303"/>
                  <a:gd name="T27" fmla="*/ 223 h 235"/>
                  <a:gd name="T28" fmla="*/ 302 w 303"/>
                  <a:gd name="T29" fmla="*/ 215 h 235"/>
                  <a:gd name="T30" fmla="*/ 303 w 303"/>
                  <a:gd name="T31" fmla="*/ 26 h 235"/>
                  <a:gd name="T32" fmla="*/ 302 w 303"/>
                  <a:gd name="T33" fmla="*/ 20 h 235"/>
                  <a:gd name="T34" fmla="*/ 299 w 303"/>
                  <a:gd name="T35" fmla="*/ 12 h 235"/>
                  <a:gd name="T36" fmla="*/ 292 w 303"/>
                  <a:gd name="T37" fmla="*/ 4 h 235"/>
                  <a:gd name="T38" fmla="*/ 283 w 303"/>
                  <a:gd name="T39" fmla="*/ 0 h 235"/>
                  <a:gd name="T40" fmla="*/ 279 w 303"/>
                  <a:gd name="T41" fmla="*/ 0 h 235"/>
                  <a:gd name="T42" fmla="*/ 35 w 303"/>
                  <a:gd name="T43" fmla="*/ 215 h 235"/>
                  <a:gd name="T44" fmla="*/ 269 w 303"/>
                  <a:gd name="T45" fmla="*/ 20 h 235"/>
                  <a:gd name="T46" fmla="*/ 285 w 303"/>
                  <a:gd name="T47" fmla="*/ 128 h 235"/>
                  <a:gd name="T48" fmla="*/ 280 w 303"/>
                  <a:gd name="T49" fmla="*/ 127 h 235"/>
                  <a:gd name="T50" fmla="*/ 276 w 303"/>
                  <a:gd name="T51" fmla="*/ 121 h 235"/>
                  <a:gd name="T52" fmla="*/ 274 w 303"/>
                  <a:gd name="T53" fmla="*/ 117 h 235"/>
                  <a:gd name="T54" fmla="*/ 277 w 303"/>
                  <a:gd name="T55" fmla="*/ 110 h 235"/>
                  <a:gd name="T56" fmla="*/ 285 w 303"/>
                  <a:gd name="T57" fmla="*/ 107 h 235"/>
                  <a:gd name="T58" fmla="*/ 289 w 303"/>
                  <a:gd name="T59" fmla="*/ 108 h 235"/>
                  <a:gd name="T60" fmla="*/ 295 w 303"/>
                  <a:gd name="T61" fmla="*/ 114 h 235"/>
                  <a:gd name="T62" fmla="*/ 296 w 303"/>
                  <a:gd name="T63" fmla="*/ 117 h 235"/>
                  <a:gd name="T64" fmla="*/ 292 w 303"/>
                  <a:gd name="T65" fmla="*/ 125 h 235"/>
                  <a:gd name="T66" fmla="*/ 285 w 303"/>
                  <a:gd name="T67" fmla="*/ 12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3" h="235">
                    <a:moveTo>
                      <a:pt x="279" y="0"/>
                    </a:moveTo>
                    <a:lnTo>
                      <a:pt x="25" y="0"/>
                    </a:lnTo>
                    <a:lnTo>
                      <a:pt x="25" y="0"/>
                    </a:lnTo>
                    <a:lnTo>
                      <a:pt x="21" y="0"/>
                    </a:lnTo>
                    <a:lnTo>
                      <a:pt x="16" y="1"/>
                    </a:lnTo>
                    <a:lnTo>
                      <a:pt x="12" y="4"/>
                    </a:lnTo>
                    <a:lnTo>
                      <a:pt x="8" y="7"/>
                    </a:lnTo>
                    <a:lnTo>
                      <a:pt x="5" y="12"/>
                    </a:lnTo>
                    <a:lnTo>
                      <a:pt x="3" y="16"/>
                    </a:lnTo>
                    <a:lnTo>
                      <a:pt x="2" y="20"/>
                    </a:lnTo>
                    <a:lnTo>
                      <a:pt x="0" y="26"/>
                    </a:lnTo>
                    <a:lnTo>
                      <a:pt x="0" y="209"/>
                    </a:lnTo>
                    <a:lnTo>
                      <a:pt x="0" y="209"/>
                    </a:lnTo>
                    <a:lnTo>
                      <a:pt x="2" y="215"/>
                    </a:lnTo>
                    <a:lnTo>
                      <a:pt x="3" y="219"/>
                    </a:lnTo>
                    <a:lnTo>
                      <a:pt x="5" y="223"/>
                    </a:lnTo>
                    <a:lnTo>
                      <a:pt x="8" y="228"/>
                    </a:lnTo>
                    <a:lnTo>
                      <a:pt x="12" y="231"/>
                    </a:lnTo>
                    <a:lnTo>
                      <a:pt x="16" y="234"/>
                    </a:lnTo>
                    <a:lnTo>
                      <a:pt x="21" y="235"/>
                    </a:lnTo>
                    <a:lnTo>
                      <a:pt x="25" y="235"/>
                    </a:lnTo>
                    <a:lnTo>
                      <a:pt x="279" y="235"/>
                    </a:lnTo>
                    <a:lnTo>
                      <a:pt x="279" y="235"/>
                    </a:lnTo>
                    <a:lnTo>
                      <a:pt x="283" y="235"/>
                    </a:lnTo>
                    <a:lnTo>
                      <a:pt x="287" y="234"/>
                    </a:lnTo>
                    <a:lnTo>
                      <a:pt x="292" y="231"/>
                    </a:lnTo>
                    <a:lnTo>
                      <a:pt x="296" y="228"/>
                    </a:lnTo>
                    <a:lnTo>
                      <a:pt x="299" y="223"/>
                    </a:lnTo>
                    <a:lnTo>
                      <a:pt x="300" y="219"/>
                    </a:lnTo>
                    <a:lnTo>
                      <a:pt x="302" y="215"/>
                    </a:lnTo>
                    <a:lnTo>
                      <a:pt x="303" y="209"/>
                    </a:lnTo>
                    <a:lnTo>
                      <a:pt x="303" y="26"/>
                    </a:lnTo>
                    <a:lnTo>
                      <a:pt x="303" y="26"/>
                    </a:lnTo>
                    <a:lnTo>
                      <a:pt x="302" y="20"/>
                    </a:lnTo>
                    <a:lnTo>
                      <a:pt x="300" y="16"/>
                    </a:lnTo>
                    <a:lnTo>
                      <a:pt x="299" y="12"/>
                    </a:lnTo>
                    <a:lnTo>
                      <a:pt x="296" y="7"/>
                    </a:lnTo>
                    <a:lnTo>
                      <a:pt x="292" y="4"/>
                    </a:lnTo>
                    <a:lnTo>
                      <a:pt x="287" y="1"/>
                    </a:lnTo>
                    <a:lnTo>
                      <a:pt x="283" y="0"/>
                    </a:lnTo>
                    <a:lnTo>
                      <a:pt x="279" y="0"/>
                    </a:lnTo>
                    <a:lnTo>
                      <a:pt x="279" y="0"/>
                    </a:lnTo>
                    <a:close/>
                    <a:moveTo>
                      <a:pt x="269" y="215"/>
                    </a:moveTo>
                    <a:lnTo>
                      <a:pt x="35" y="215"/>
                    </a:lnTo>
                    <a:lnTo>
                      <a:pt x="35" y="20"/>
                    </a:lnTo>
                    <a:lnTo>
                      <a:pt x="269" y="20"/>
                    </a:lnTo>
                    <a:lnTo>
                      <a:pt x="269" y="215"/>
                    </a:lnTo>
                    <a:close/>
                    <a:moveTo>
                      <a:pt x="285" y="128"/>
                    </a:moveTo>
                    <a:lnTo>
                      <a:pt x="285" y="128"/>
                    </a:lnTo>
                    <a:lnTo>
                      <a:pt x="280" y="127"/>
                    </a:lnTo>
                    <a:lnTo>
                      <a:pt x="277" y="125"/>
                    </a:lnTo>
                    <a:lnTo>
                      <a:pt x="276" y="121"/>
                    </a:lnTo>
                    <a:lnTo>
                      <a:pt x="274" y="117"/>
                    </a:lnTo>
                    <a:lnTo>
                      <a:pt x="274" y="117"/>
                    </a:lnTo>
                    <a:lnTo>
                      <a:pt x="276" y="114"/>
                    </a:lnTo>
                    <a:lnTo>
                      <a:pt x="277" y="110"/>
                    </a:lnTo>
                    <a:lnTo>
                      <a:pt x="280" y="108"/>
                    </a:lnTo>
                    <a:lnTo>
                      <a:pt x="285" y="107"/>
                    </a:lnTo>
                    <a:lnTo>
                      <a:pt x="285" y="107"/>
                    </a:lnTo>
                    <a:lnTo>
                      <a:pt x="289" y="108"/>
                    </a:lnTo>
                    <a:lnTo>
                      <a:pt x="292" y="110"/>
                    </a:lnTo>
                    <a:lnTo>
                      <a:pt x="295" y="114"/>
                    </a:lnTo>
                    <a:lnTo>
                      <a:pt x="296" y="117"/>
                    </a:lnTo>
                    <a:lnTo>
                      <a:pt x="296" y="117"/>
                    </a:lnTo>
                    <a:lnTo>
                      <a:pt x="295" y="121"/>
                    </a:lnTo>
                    <a:lnTo>
                      <a:pt x="292" y="125"/>
                    </a:lnTo>
                    <a:lnTo>
                      <a:pt x="289" y="127"/>
                    </a:lnTo>
                    <a:lnTo>
                      <a:pt x="285" y="128"/>
                    </a:lnTo>
                    <a:lnTo>
                      <a:pt x="285" y="12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18" name="Freeform 16">
                <a:extLst>
                  <a:ext uri="{FF2B5EF4-FFF2-40B4-BE49-F238E27FC236}">
                    <a16:creationId xmlns:a16="http://schemas.microsoft.com/office/drawing/2014/main" id="{548A32B6-718E-4D02-A614-CD4E1E2BD124}"/>
                  </a:ext>
                </a:extLst>
              </p:cNvPr>
              <p:cNvSpPr>
                <a:spLocks/>
              </p:cNvSpPr>
              <p:nvPr/>
            </p:nvSpPr>
            <p:spPr bwMode="auto">
              <a:xfrm>
                <a:off x="7839075" y="5376863"/>
                <a:ext cx="347662" cy="268288"/>
              </a:xfrm>
              <a:custGeom>
                <a:avLst/>
                <a:gdLst>
                  <a:gd name="T0" fmla="*/ 0 w 219"/>
                  <a:gd name="T1" fmla="*/ 124 h 169"/>
                  <a:gd name="T2" fmla="*/ 0 w 219"/>
                  <a:gd name="T3" fmla="*/ 164 h 169"/>
                  <a:gd name="T4" fmla="*/ 0 w 219"/>
                  <a:gd name="T5" fmla="*/ 164 h 169"/>
                  <a:gd name="T6" fmla="*/ 2 w 219"/>
                  <a:gd name="T7" fmla="*/ 167 h 169"/>
                  <a:gd name="T8" fmla="*/ 6 w 219"/>
                  <a:gd name="T9" fmla="*/ 169 h 169"/>
                  <a:gd name="T10" fmla="*/ 214 w 219"/>
                  <a:gd name="T11" fmla="*/ 169 h 169"/>
                  <a:gd name="T12" fmla="*/ 214 w 219"/>
                  <a:gd name="T13" fmla="*/ 169 h 169"/>
                  <a:gd name="T14" fmla="*/ 218 w 219"/>
                  <a:gd name="T15" fmla="*/ 167 h 169"/>
                  <a:gd name="T16" fmla="*/ 219 w 219"/>
                  <a:gd name="T17" fmla="*/ 164 h 169"/>
                  <a:gd name="T18" fmla="*/ 219 w 219"/>
                  <a:gd name="T19" fmla="*/ 0 h 169"/>
                  <a:gd name="T20" fmla="*/ 219 w 219"/>
                  <a:gd name="T21" fmla="*/ 0 h 169"/>
                  <a:gd name="T22" fmla="*/ 196 w 219"/>
                  <a:gd name="T23" fmla="*/ 19 h 169"/>
                  <a:gd name="T24" fmla="*/ 173 w 219"/>
                  <a:gd name="T25" fmla="*/ 36 h 169"/>
                  <a:gd name="T26" fmla="*/ 147 w 219"/>
                  <a:gd name="T27" fmla="*/ 53 h 169"/>
                  <a:gd name="T28" fmla="*/ 121 w 219"/>
                  <a:gd name="T29" fmla="*/ 69 h 169"/>
                  <a:gd name="T30" fmla="*/ 93 w 219"/>
                  <a:gd name="T31" fmla="*/ 85 h 169"/>
                  <a:gd name="T32" fmla="*/ 64 w 219"/>
                  <a:gd name="T33" fmla="*/ 99 h 169"/>
                  <a:gd name="T34" fmla="*/ 32 w 219"/>
                  <a:gd name="T35" fmla="*/ 112 h 169"/>
                  <a:gd name="T36" fmla="*/ 0 w 219"/>
                  <a:gd name="T37" fmla="*/ 124 h 169"/>
                  <a:gd name="T38" fmla="*/ 0 w 219"/>
                  <a:gd name="T39" fmla="*/ 124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9" h="169">
                    <a:moveTo>
                      <a:pt x="0" y="124"/>
                    </a:moveTo>
                    <a:lnTo>
                      <a:pt x="0" y="164"/>
                    </a:lnTo>
                    <a:lnTo>
                      <a:pt x="0" y="164"/>
                    </a:lnTo>
                    <a:lnTo>
                      <a:pt x="2" y="167"/>
                    </a:lnTo>
                    <a:lnTo>
                      <a:pt x="6" y="169"/>
                    </a:lnTo>
                    <a:lnTo>
                      <a:pt x="214" y="169"/>
                    </a:lnTo>
                    <a:lnTo>
                      <a:pt x="214" y="169"/>
                    </a:lnTo>
                    <a:lnTo>
                      <a:pt x="218" y="167"/>
                    </a:lnTo>
                    <a:lnTo>
                      <a:pt x="219" y="164"/>
                    </a:lnTo>
                    <a:lnTo>
                      <a:pt x="219" y="0"/>
                    </a:lnTo>
                    <a:lnTo>
                      <a:pt x="219" y="0"/>
                    </a:lnTo>
                    <a:lnTo>
                      <a:pt x="196" y="19"/>
                    </a:lnTo>
                    <a:lnTo>
                      <a:pt x="173" y="36"/>
                    </a:lnTo>
                    <a:lnTo>
                      <a:pt x="147" y="53"/>
                    </a:lnTo>
                    <a:lnTo>
                      <a:pt x="121" y="69"/>
                    </a:lnTo>
                    <a:lnTo>
                      <a:pt x="93" y="85"/>
                    </a:lnTo>
                    <a:lnTo>
                      <a:pt x="64" y="99"/>
                    </a:lnTo>
                    <a:lnTo>
                      <a:pt x="32" y="112"/>
                    </a:lnTo>
                    <a:lnTo>
                      <a:pt x="0" y="124"/>
                    </a:lnTo>
                    <a:lnTo>
                      <a:pt x="0" y="12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19" name="Group 1418">
            <a:extLst>
              <a:ext uri="{FF2B5EF4-FFF2-40B4-BE49-F238E27FC236}">
                <a16:creationId xmlns:a16="http://schemas.microsoft.com/office/drawing/2014/main" id="{6453097F-35FE-41CC-B8A8-0704B432DB11}"/>
              </a:ext>
            </a:extLst>
          </p:cNvPr>
          <p:cNvGrpSpPr/>
          <p:nvPr/>
        </p:nvGrpSpPr>
        <p:grpSpPr>
          <a:xfrm>
            <a:off x="7576166" y="3168578"/>
            <a:ext cx="612775" cy="612775"/>
            <a:chOff x="6421537" y="3806921"/>
            <a:chExt cx="612775" cy="612775"/>
          </a:xfrm>
        </p:grpSpPr>
        <p:sp>
          <p:nvSpPr>
            <p:cNvPr id="1420" name="Oval 1419">
              <a:extLst>
                <a:ext uri="{FF2B5EF4-FFF2-40B4-BE49-F238E27FC236}">
                  <a16:creationId xmlns:a16="http://schemas.microsoft.com/office/drawing/2014/main" id="{25DBCCC4-BDFA-4474-9013-DF6B7C3DC2B5}"/>
                </a:ext>
              </a:extLst>
            </p:cNvPr>
            <p:cNvSpPr/>
            <p:nvPr/>
          </p:nvSpPr>
          <p:spPr bwMode="ltGray">
            <a:xfrm>
              <a:off x="6421537"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21" name="Group 1420">
              <a:extLst>
                <a:ext uri="{FF2B5EF4-FFF2-40B4-BE49-F238E27FC236}">
                  <a16:creationId xmlns:a16="http://schemas.microsoft.com/office/drawing/2014/main" id="{6EDEC9D8-AAB6-446B-88D7-345A194EA325}"/>
                </a:ext>
              </a:extLst>
            </p:cNvPr>
            <p:cNvGrpSpPr/>
            <p:nvPr/>
          </p:nvGrpSpPr>
          <p:grpSpPr>
            <a:xfrm>
              <a:off x="6604485" y="3870480"/>
              <a:ext cx="263114" cy="509704"/>
              <a:chOff x="4935413" y="1889744"/>
              <a:chExt cx="328613" cy="636588"/>
            </a:xfrm>
          </p:grpSpPr>
          <p:sp>
            <p:nvSpPr>
              <p:cNvPr id="1422" name="Freeform 211">
                <a:extLst>
                  <a:ext uri="{FF2B5EF4-FFF2-40B4-BE49-F238E27FC236}">
                    <a16:creationId xmlns:a16="http://schemas.microsoft.com/office/drawing/2014/main" id="{CCD7F040-EB40-46BC-8450-CD4CF3AA43A8}"/>
                  </a:ext>
                </a:extLst>
              </p:cNvPr>
              <p:cNvSpPr>
                <a:spLocks/>
              </p:cNvSpPr>
              <p:nvPr/>
            </p:nvSpPr>
            <p:spPr bwMode="auto">
              <a:xfrm>
                <a:off x="4952876" y="1889744"/>
                <a:ext cx="311150" cy="258763"/>
              </a:xfrm>
              <a:custGeom>
                <a:avLst/>
                <a:gdLst>
                  <a:gd name="T0" fmla="*/ 147 w 196"/>
                  <a:gd name="T1" fmla="*/ 10 h 163"/>
                  <a:gd name="T2" fmla="*/ 85 w 196"/>
                  <a:gd name="T3" fmla="*/ 13 h 163"/>
                  <a:gd name="T4" fmla="*/ 69 w 196"/>
                  <a:gd name="T5" fmla="*/ 15 h 163"/>
                  <a:gd name="T6" fmla="*/ 54 w 196"/>
                  <a:gd name="T7" fmla="*/ 25 h 163"/>
                  <a:gd name="T8" fmla="*/ 3 w 196"/>
                  <a:gd name="T9" fmla="*/ 74 h 163"/>
                  <a:gd name="T10" fmla="*/ 0 w 196"/>
                  <a:gd name="T11" fmla="*/ 77 h 163"/>
                  <a:gd name="T12" fmla="*/ 5 w 196"/>
                  <a:gd name="T13" fmla="*/ 146 h 163"/>
                  <a:gd name="T14" fmla="*/ 6 w 196"/>
                  <a:gd name="T15" fmla="*/ 148 h 163"/>
                  <a:gd name="T16" fmla="*/ 10 w 196"/>
                  <a:gd name="T17" fmla="*/ 153 h 163"/>
                  <a:gd name="T18" fmla="*/ 13 w 196"/>
                  <a:gd name="T19" fmla="*/ 153 h 163"/>
                  <a:gd name="T20" fmla="*/ 13 w 196"/>
                  <a:gd name="T21" fmla="*/ 154 h 163"/>
                  <a:gd name="T22" fmla="*/ 15 w 196"/>
                  <a:gd name="T23" fmla="*/ 157 h 163"/>
                  <a:gd name="T24" fmla="*/ 19 w 196"/>
                  <a:gd name="T25" fmla="*/ 161 h 163"/>
                  <a:gd name="T26" fmla="*/ 22 w 196"/>
                  <a:gd name="T27" fmla="*/ 163 h 163"/>
                  <a:gd name="T28" fmla="*/ 28 w 196"/>
                  <a:gd name="T29" fmla="*/ 160 h 163"/>
                  <a:gd name="T30" fmla="*/ 31 w 196"/>
                  <a:gd name="T31" fmla="*/ 154 h 163"/>
                  <a:gd name="T32" fmla="*/ 33 w 196"/>
                  <a:gd name="T33" fmla="*/ 151 h 163"/>
                  <a:gd name="T34" fmla="*/ 41 w 196"/>
                  <a:gd name="T35" fmla="*/ 94 h 163"/>
                  <a:gd name="T36" fmla="*/ 77 w 196"/>
                  <a:gd name="T37" fmla="*/ 66 h 163"/>
                  <a:gd name="T38" fmla="*/ 84 w 196"/>
                  <a:gd name="T39" fmla="*/ 65 h 163"/>
                  <a:gd name="T40" fmla="*/ 87 w 196"/>
                  <a:gd name="T41" fmla="*/ 68 h 163"/>
                  <a:gd name="T42" fmla="*/ 98 w 196"/>
                  <a:gd name="T43" fmla="*/ 87 h 163"/>
                  <a:gd name="T44" fmla="*/ 101 w 196"/>
                  <a:gd name="T45" fmla="*/ 95 h 163"/>
                  <a:gd name="T46" fmla="*/ 74 w 196"/>
                  <a:gd name="T47" fmla="*/ 133 h 163"/>
                  <a:gd name="T48" fmla="*/ 72 w 196"/>
                  <a:gd name="T49" fmla="*/ 137 h 163"/>
                  <a:gd name="T50" fmla="*/ 74 w 196"/>
                  <a:gd name="T51" fmla="*/ 147 h 163"/>
                  <a:gd name="T52" fmla="*/ 77 w 196"/>
                  <a:gd name="T53" fmla="*/ 151 h 163"/>
                  <a:gd name="T54" fmla="*/ 85 w 196"/>
                  <a:gd name="T55" fmla="*/ 154 h 163"/>
                  <a:gd name="T56" fmla="*/ 91 w 196"/>
                  <a:gd name="T57" fmla="*/ 153 h 163"/>
                  <a:gd name="T58" fmla="*/ 133 w 196"/>
                  <a:gd name="T59" fmla="*/ 100 h 163"/>
                  <a:gd name="T60" fmla="*/ 183 w 196"/>
                  <a:gd name="T61" fmla="*/ 68 h 163"/>
                  <a:gd name="T62" fmla="*/ 184 w 196"/>
                  <a:gd name="T63" fmla="*/ 68 h 163"/>
                  <a:gd name="T64" fmla="*/ 192 w 196"/>
                  <a:gd name="T65" fmla="*/ 64 h 163"/>
                  <a:gd name="T66" fmla="*/ 196 w 196"/>
                  <a:gd name="T67" fmla="*/ 56 h 163"/>
                  <a:gd name="T68" fmla="*/ 196 w 196"/>
                  <a:gd name="T69" fmla="*/ 51 h 163"/>
                  <a:gd name="T70" fmla="*/ 196 w 196"/>
                  <a:gd name="T71" fmla="*/ 10 h 163"/>
                  <a:gd name="T72" fmla="*/ 194 w 196"/>
                  <a:gd name="T73" fmla="*/ 5 h 163"/>
                  <a:gd name="T74" fmla="*/ 186 w 196"/>
                  <a:gd name="T75" fmla="*/ 0 h 163"/>
                  <a:gd name="T76" fmla="*/ 147 w 196"/>
                  <a:gd name="T77" fmla="*/ 1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6" h="163">
                    <a:moveTo>
                      <a:pt x="147" y="10"/>
                    </a:moveTo>
                    <a:lnTo>
                      <a:pt x="147" y="10"/>
                    </a:lnTo>
                    <a:lnTo>
                      <a:pt x="113" y="12"/>
                    </a:lnTo>
                    <a:lnTo>
                      <a:pt x="85" y="13"/>
                    </a:lnTo>
                    <a:lnTo>
                      <a:pt x="69" y="15"/>
                    </a:lnTo>
                    <a:lnTo>
                      <a:pt x="69" y="15"/>
                    </a:lnTo>
                    <a:lnTo>
                      <a:pt x="62" y="19"/>
                    </a:lnTo>
                    <a:lnTo>
                      <a:pt x="54" y="25"/>
                    </a:lnTo>
                    <a:lnTo>
                      <a:pt x="32" y="45"/>
                    </a:lnTo>
                    <a:lnTo>
                      <a:pt x="3" y="74"/>
                    </a:lnTo>
                    <a:lnTo>
                      <a:pt x="3" y="74"/>
                    </a:lnTo>
                    <a:lnTo>
                      <a:pt x="0" y="77"/>
                    </a:lnTo>
                    <a:lnTo>
                      <a:pt x="0" y="81"/>
                    </a:lnTo>
                    <a:lnTo>
                      <a:pt x="5" y="146"/>
                    </a:lnTo>
                    <a:lnTo>
                      <a:pt x="5" y="146"/>
                    </a:lnTo>
                    <a:lnTo>
                      <a:pt x="6" y="148"/>
                    </a:lnTo>
                    <a:lnTo>
                      <a:pt x="8" y="151"/>
                    </a:lnTo>
                    <a:lnTo>
                      <a:pt x="10" y="153"/>
                    </a:lnTo>
                    <a:lnTo>
                      <a:pt x="13" y="153"/>
                    </a:lnTo>
                    <a:lnTo>
                      <a:pt x="13" y="153"/>
                    </a:lnTo>
                    <a:lnTo>
                      <a:pt x="13" y="153"/>
                    </a:lnTo>
                    <a:lnTo>
                      <a:pt x="13" y="154"/>
                    </a:lnTo>
                    <a:lnTo>
                      <a:pt x="13" y="154"/>
                    </a:lnTo>
                    <a:lnTo>
                      <a:pt x="15" y="157"/>
                    </a:lnTo>
                    <a:lnTo>
                      <a:pt x="16" y="160"/>
                    </a:lnTo>
                    <a:lnTo>
                      <a:pt x="19" y="161"/>
                    </a:lnTo>
                    <a:lnTo>
                      <a:pt x="22" y="163"/>
                    </a:lnTo>
                    <a:lnTo>
                      <a:pt x="22" y="163"/>
                    </a:lnTo>
                    <a:lnTo>
                      <a:pt x="25" y="161"/>
                    </a:lnTo>
                    <a:lnTo>
                      <a:pt x="28" y="160"/>
                    </a:lnTo>
                    <a:lnTo>
                      <a:pt x="29" y="157"/>
                    </a:lnTo>
                    <a:lnTo>
                      <a:pt x="31" y="154"/>
                    </a:lnTo>
                    <a:lnTo>
                      <a:pt x="31" y="154"/>
                    </a:lnTo>
                    <a:lnTo>
                      <a:pt x="33" y="151"/>
                    </a:lnTo>
                    <a:lnTo>
                      <a:pt x="36" y="147"/>
                    </a:lnTo>
                    <a:lnTo>
                      <a:pt x="41" y="94"/>
                    </a:lnTo>
                    <a:lnTo>
                      <a:pt x="77" y="66"/>
                    </a:lnTo>
                    <a:lnTo>
                      <a:pt x="77" y="66"/>
                    </a:lnTo>
                    <a:lnTo>
                      <a:pt x="81" y="65"/>
                    </a:lnTo>
                    <a:lnTo>
                      <a:pt x="84" y="65"/>
                    </a:lnTo>
                    <a:lnTo>
                      <a:pt x="87" y="68"/>
                    </a:lnTo>
                    <a:lnTo>
                      <a:pt x="87" y="68"/>
                    </a:lnTo>
                    <a:lnTo>
                      <a:pt x="98" y="87"/>
                    </a:lnTo>
                    <a:lnTo>
                      <a:pt x="98" y="87"/>
                    </a:lnTo>
                    <a:lnTo>
                      <a:pt x="101" y="92"/>
                    </a:lnTo>
                    <a:lnTo>
                      <a:pt x="101" y="95"/>
                    </a:lnTo>
                    <a:lnTo>
                      <a:pt x="98" y="100"/>
                    </a:lnTo>
                    <a:lnTo>
                      <a:pt x="74" y="133"/>
                    </a:lnTo>
                    <a:lnTo>
                      <a:pt x="74" y="133"/>
                    </a:lnTo>
                    <a:lnTo>
                      <a:pt x="72" y="137"/>
                    </a:lnTo>
                    <a:lnTo>
                      <a:pt x="72" y="143"/>
                    </a:lnTo>
                    <a:lnTo>
                      <a:pt x="74" y="147"/>
                    </a:lnTo>
                    <a:lnTo>
                      <a:pt x="77" y="151"/>
                    </a:lnTo>
                    <a:lnTo>
                      <a:pt x="77" y="151"/>
                    </a:lnTo>
                    <a:lnTo>
                      <a:pt x="81" y="154"/>
                    </a:lnTo>
                    <a:lnTo>
                      <a:pt x="85" y="154"/>
                    </a:lnTo>
                    <a:lnTo>
                      <a:pt x="85" y="154"/>
                    </a:lnTo>
                    <a:lnTo>
                      <a:pt x="91" y="153"/>
                    </a:lnTo>
                    <a:lnTo>
                      <a:pt x="97" y="148"/>
                    </a:lnTo>
                    <a:lnTo>
                      <a:pt x="133" y="100"/>
                    </a:lnTo>
                    <a:lnTo>
                      <a:pt x="176" y="68"/>
                    </a:lnTo>
                    <a:lnTo>
                      <a:pt x="183" y="68"/>
                    </a:lnTo>
                    <a:lnTo>
                      <a:pt x="183" y="68"/>
                    </a:lnTo>
                    <a:lnTo>
                      <a:pt x="184" y="68"/>
                    </a:lnTo>
                    <a:lnTo>
                      <a:pt x="190" y="66"/>
                    </a:lnTo>
                    <a:lnTo>
                      <a:pt x="192" y="64"/>
                    </a:lnTo>
                    <a:lnTo>
                      <a:pt x="194" y="61"/>
                    </a:lnTo>
                    <a:lnTo>
                      <a:pt x="196" y="56"/>
                    </a:lnTo>
                    <a:lnTo>
                      <a:pt x="196" y="51"/>
                    </a:lnTo>
                    <a:lnTo>
                      <a:pt x="196" y="51"/>
                    </a:lnTo>
                    <a:lnTo>
                      <a:pt x="196" y="10"/>
                    </a:lnTo>
                    <a:lnTo>
                      <a:pt x="196" y="10"/>
                    </a:lnTo>
                    <a:lnTo>
                      <a:pt x="196" y="6"/>
                    </a:lnTo>
                    <a:lnTo>
                      <a:pt x="194" y="5"/>
                    </a:lnTo>
                    <a:lnTo>
                      <a:pt x="190" y="2"/>
                    </a:lnTo>
                    <a:lnTo>
                      <a:pt x="186" y="0"/>
                    </a:lnTo>
                    <a:lnTo>
                      <a:pt x="184" y="0"/>
                    </a:lnTo>
                    <a:lnTo>
                      <a:pt x="147"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23" name="Freeform 212">
                <a:extLst>
                  <a:ext uri="{FF2B5EF4-FFF2-40B4-BE49-F238E27FC236}">
                    <a16:creationId xmlns:a16="http://schemas.microsoft.com/office/drawing/2014/main" id="{1F42839E-2208-48CA-9982-681C7624D8B6}"/>
                  </a:ext>
                </a:extLst>
              </p:cNvPr>
              <p:cNvSpPr>
                <a:spLocks noEditPoints="1"/>
              </p:cNvSpPr>
              <p:nvPr/>
            </p:nvSpPr>
            <p:spPr bwMode="auto">
              <a:xfrm>
                <a:off x="4935413" y="2237407"/>
                <a:ext cx="269875" cy="288925"/>
              </a:xfrm>
              <a:custGeom>
                <a:avLst/>
                <a:gdLst>
                  <a:gd name="T0" fmla="*/ 23 w 170"/>
                  <a:gd name="T1" fmla="*/ 26 h 182"/>
                  <a:gd name="T2" fmla="*/ 1 w 170"/>
                  <a:gd name="T3" fmla="*/ 80 h 182"/>
                  <a:gd name="T4" fmla="*/ 1 w 170"/>
                  <a:gd name="T5" fmla="*/ 122 h 182"/>
                  <a:gd name="T6" fmla="*/ 16 w 170"/>
                  <a:gd name="T7" fmla="*/ 152 h 182"/>
                  <a:gd name="T8" fmla="*/ 70 w 170"/>
                  <a:gd name="T9" fmla="*/ 181 h 182"/>
                  <a:gd name="T10" fmla="*/ 121 w 170"/>
                  <a:gd name="T11" fmla="*/ 174 h 182"/>
                  <a:gd name="T12" fmla="*/ 164 w 170"/>
                  <a:gd name="T13" fmla="*/ 129 h 182"/>
                  <a:gd name="T14" fmla="*/ 168 w 170"/>
                  <a:gd name="T15" fmla="*/ 89 h 182"/>
                  <a:gd name="T16" fmla="*/ 155 w 170"/>
                  <a:gd name="T17" fmla="*/ 54 h 182"/>
                  <a:gd name="T18" fmla="*/ 115 w 170"/>
                  <a:gd name="T19" fmla="*/ 14 h 182"/>
                  <a:gd name="T20" fmla="*/ 131 w 170"/>
                  <a:gd name="T21" fmla="*/ 119 h 182"/>
                  <a:gd name="T22" fmla="*/ 124 w 170"/>
                  <a:gd name="T23" fmla="*/ 132 h 182"/>
                  <a:gd name="T24" fmla="*/ 101 w 170"/>
                  <a:gd name="T25" fmla="*/ 146 h 182"/>
                  <a:gd name="T26" fmla="*/ 102 w 170"/>
                  <a:gd name="T27" fmla="*/ 158 h 182"/>
                  <a:gd name="T28" fmla="*/ 96 w 170"/>
                  <a:gd name="T29" fmla="*/ 161 h 182"/>
                  <a:gd name="T30" fmla="*/ 89 w 170"/>
                  <a:gd name="T31" fmla="*/ 149 h 182"/>
                  <a:gd name="T32" fmla="*/ 66 w 170"/>
                  <a:gd name="T33" fmla="*/ 151 h 182"/>
                  <a:gd name="T34" fmla="*/ 56 w 170"/>
                  <a:gd name="T35" fmla="*/ 148 h 182"/>
                  <a:gd name="T36" fmla="*/ 50 w 170"/>
                  <a:gd name="T37" fmla="*/ 139 h 182"/>
                  <a:gd name="T38" fmla="*/ 56 w 170"/>
                  <a:gd name="T39" fmla="*/ 133 h 182"/>
                  <a:gd name="T40" fmla="*/ 70 w 170"/>
                  <a:gd name="T41" fmla="*/ 133 h 182"/>
                  <a:gd name="T42" fmla="*/ 93 w 170"/>
                  <a:gd name="T43" fmla="*/ 132 h 182"/>
                  <a:gd name="T44" fmla="*/ 106 w 170"/>
                  <a:gd name="T45" fmla="*/ 125 h 182"/>
                  <a:gd name="T46" fmla="*/ 111 w 170"/>
                  <a:gd name="T47" fmla="*/ 116 h 182"/>
                  <a:gd name="T48" fmla="*/ 105 w 170"/>
                  <a:gd name="T49" fmla="*/ 106 h 182"/>
                  <a:gd name="T50" fmla="*/ 96 w 170"/>
                  <a:gd name="T51" fmla="*/ 105 h 182"/>
                  <a:gd name="T52" fmla="*/ 69 w 170"/>
                  <a:gd name="T53" fmla="*/ 105 h 182"/>
                  <a:gd name="T54" fmla="*/ 49 w 170"/>
                  <a:gd name="T55" fmla="*/ 102 h 182"/>
                  <a:gd name="T56" fmla="*/ 39 w 170"/>
                  <a:gd name="T57" fmla="*/ 92 h 182"/>
                  <a:gd name="T58" fmla="*/ 36 w 170"/>
                  <a:gd name="T59" fmla="*/ 73 h 182"/>
                  <a:gd name="T60" fmla="*/ 43 w 170"/>
                  <a:gd name="T61" fmla="*/ 63 h 182"/>
                  <a:gd name="T62" fmla="*/ 63 w 170"/>
                  <a:gd name="T63" fmla="*/ 50 h 182"/>
                  <a:gd name="T64" fmla="*/ 62 w 170"/>
                  <a:gd name="T65" fmla="*/ 37 h 182"/>
                  <a:gd name="T66" fmla="*/ 67 w 170"/>
                  <a:gd name="T67" fmla="*/ 34 h 182"/>
                  <a:gd name="T68" fmla="*/ 75 w 170"/>
                  <a:gd name="T69" fmla="*/ 47 h 182"/>
                  <a:gd name="T70" fmla="*/ 99 w 170"/>
                  <a:gd name="T71" fmla="*/ 46 h 182"/>
                  <a:gd name="T72" fmla="*/ 106 w 170"/>
                  <a:gd name="T73" fmla="*/ 50 h 182"/>
                  <a:gd name="T74" fmla="*/ 111 w 170"/>
                  <a:gd name="T75" fmla="*/ 57 h 182"/>
                  <a:gd name="T76" fmla="*/ 105 w 170"/>
                  <a:gd name="T77" fmla="*/ 62 h 182"/>
                  <a:gd name="T78" fmla="*/ 101 w 170"/>
                  <a:gd name="T79" fmla="*/ 62 h 182"/>
                  <a:gd name="T80" fmla="*/ 83 w 170"/>
                  <a:gd name="T81" fmla="*/ 62 h 182"/>
                  <a:gd name="T82" fmla="*/ 67 w 170"/>
                  <a:gd name="T83" fmla="*/ 66 h 182"/>
                  <a:gd name="T84" fmla="*/ 57 w 170"/>
                  <a:gd name="T85" fmla="*/ 75 h 182"/>
                  <a:gd name="T86" fmla="*/ 60 w 170"/>
                  <a:gd name="T87" fmla="*/ 85 h 182"/>
                  <a:gd name="T88" fmla="*/ 73 w 170"/>
                  <a:gd name="T89" fmla="*/ 87 h 182"/>
                  <a:gd name="T90" fmla="*/ 93 w 170"/>
                  <a:gd name="T91" fmla="*/ 87 h 182"/>
                  <a:gd name="T92" fmla="*/ 113 w 170"/>
                  <a:gd name="T93" fmla="*/ 89 h 182"/>
                  <a:gd name="T94" fmla="*/ 131 w 170"/>
                  <a:gd name="T95" fmla="*/ 105 h 182"/>
                  <a:gd name="T96" fmla="*/ 131 w 170"/>
                  <a:gd name="T97" fmla="*/ 11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0" h="182">
                    <a:moveTo>
                      <a:pt x="90" y="0"/>
                    </a:moveTo>
                    <a:lnTo>
                      <a:pt x="30" y="16"/>
                    </a:lnTo>
                    <a:lnTo>
                      <a:pt x="30" y="16"/>
                    </a:lnTo>
                    <a:lnTo>
                      <a:pt x="23" y="26"/>
                    </a:lnTo>
                    <a:lnTo>
                      <a:pt x="16" y="39"/>
                    </a:lnTo>
                    <a:lnTo>
                      <a:pt x="10" y="52"/>
                    </a:lnTo>
                    <a:lnTo>
                      <a:pt x="4" y="66"/>
                    </a:lnTo>
                    <a:lnTo>
                      <a:pt x="1" y="80"/>
                    </a:lnTo>
                    <a:lnTo>
                      <a:pt x="0" y="95"/>
                    </a:lnTo>
                    <a:lnTo>
                      <a:pt x="0" y="109"/>
                    </a:lnTo>
                    <a:lnTo>
                      <a:pt x="1" y="122"/>
                    </a:lnTo>
                    <a:lnTo>
                      <a:pt x="1" y="122"/>
                    </a:lnTo>
                    <a:lnTo>
                      <a:pt x="4" y="131"/>
                    </a:lnTo>
                    <a:lnTo>
                      <a:pt x="7" y="138"/>
                    </a:lnTo>
                    <a:lnTo>
                      <a:pt x="11" y="145"/>
                    </a:lnTo>
                    <a:lnTo>
                      <a:pt x="16" y="152"/>
                    </a:lnTo>
                    <a:lnTo>
                      <a:pt x="27" y="164"/>
                    </a:lnTo>
                    <a:lnTo>
                      <a:pt x="40" y="172"/>
                    </a:lnTo>
                    <a:lnTo>
                      <a:pt x="55" y="178"/>
                    </a:lnTo>
                    <a:lnTo>
                      <a:pt x="70" y="181"/>
                    </a:lnTo>
                    <a:lnTo>
                      <a:pt x="88" y="182"/>
                    </a:lnTo>
                    <a:lnTo>
                      <a:pt x="103" y="179"/>
                    </a:lnTo>
                    <a:lnTo>
                      <a:pt x="103" y="179"/>
                    </a:lnTo>
                    <a:lnTo>
                      <a:pt x="121" y="174"/>
                    </a:lnTo>
                    <a:lnTo>
                      <a:pt x="135" y="165"/>
                    </a:lnTo>
                    <a:lnTo>
                      <a:pt x="147" y="155"/>
                    </a:lnTo>
                    <a:lnTo>
                      <a:pt x="157" y="144"/>
                    </a:lnTo>
                    <a:lnTo>
                      <a:pt x="164" y="129"/>
                    </a:lnTo>
                    <a:lnTo>
                      <a:pt x="168" y="113"/>
                    </a:lnTo>
                    <a:lnTo>
                      <a:pt x="170" y="106"/>
                    </a:lnTo>
                    <a:lnTo>
                      <a:pt x="170" y="98"/>
                    </a:lnTo>
                    <a:lnTo>
                      <a:pt x="168" y="89"/>
                    </a:lnTo>
                    <a:lnTo>
                      <a:pt x="167" y="79"/>
                    </a:lnTo>
                    <a:lnTo>
                      <a:pt x="167" y="79"/>
                    </a:lnTo>
                    <a:lnTo>
                      <a:pt x="162" y="67"/>
                    </a:lnTo>
                    <a:lnTo>
                      <a:pt x="155" y="54"/>
                    </a:lnTo>
                    <a:lnTo>
                      <a:pt x="147" y="43"/>
                    </a:lnTo>
                    <a:lnTo>
                      <a:pt x="136" y="33"/>
                    </a:lnTo>
                    <a:lnTo>
                      <a:pt x="126" y="23"/>
                    </a:lnTo>
                    <a:lnTo>
                      <a:pt x="115" y="14"/>
                    </a:lnTo>
                    <a:lnTo>
                      <a:pt x="102" y="6"/>
                    </a:lnTo>
                    <a:lnTo>
                      <a:pt x="90" y="0"/>
                    </a:lnTo>
                    <a:lnTo>
                      <a:pt x="90" y="0"/>
                    </a:lnTo>
                    <a:close/>
                    <a:moveTo>
                      <a:pt x="131" y="119"/>
                    </a:moveTo>
                    <a:lnTo>
                      <a:pt x="131" y="119"/>
                    </a:lnTo>
                    <a:lnTo>
                      <a:pt x="128" y="126"/>
                    </a:lnTo>
                    <a:lnTo>
                      <a:pt x="124" y="132"/>
                    </a:lnTo>
                    <a:lnTo>
                      <a:pt x="124" y="132"/>
                    </a:lnTo>
                    <a:lnTo>
                      <a:pt x="119" y="138"/>
                    </a:lnTo>
                    <a:lnTo>
                      <a:pt x="112" y="142"/>
                    </a:lnTo>
                    <a:lnTo>
                      <a:pt x="112" y="142"/>
                    </a:lnTo>
                    <a:lnTo>
                      <a:pt x="101" y="146"/>
                    </a:lnTo>
                    <a:lnTo>
                      <a:pt x="103" y="152"/>
                    </a:lnTo>
                    <a:lnTo>
                      <a:pt x="103" y="152"/>
                    </a:lnTo>
                    <a:lnTo>
                      <a:pt x="103" y="155"/>
                    </a:lnTo>
                    <a:lnTo>
                      <a:pt x="102" y="158"/>
                    </a:lnTo>
                    <a:lnTo>
                      <a:pt x="101" y="159"/>
                    </a:lnTo>
                    <a:lnTo>
                      <a:pt x="98" y="161"/>
                    </a:lnTo>
                    <a:lnTo>
                      <a:pt x="98" y="161"/>
                    </a:lnTo>
                    <a:lnTo>
                      <a:pt x="96" y="161"/>
                    </a:lnTo>
                    <a:lnTo>
                      <a:pt x="93" y="159"/>
                    </a:lnTo>
                    <a:lnTo>
                      <a:pt x="92" y="158"/>
                    </a:lnTo>
                    <a:lnTo>
                      <a:pt x="90" y="156"/>
                    </a:lnTo>
                    <a:lnTo>
                      <a:pt x="89" y="149"/>
                    </a:lnTo>
                    <a:lnTo>
                      <a:pt x="89" y="149"/>
                    </a:lnTo>
                    <a:lnTo>
                      <a:pt x="79" y="151"/>
                    </a:lnTo>
                    <a:lnTo>
                      <a:pt x="79" y="151"/>
                    </a:lnTo>
                    <a:lnTo>
                      <a:pt x="66" y="151"/>
                    </a:lnTo>
                    <a:lnTo>
                      <a:pt x="66" y="151"/>
                    </a:lnTo>
                    <a:lnTo>
                      <a:pt x="60" y="149"/>
                    </a:lnTo>
                    <a:lnTo>
                      <a:pt x="56" y="148"/>
                    </a:lnTo>
                    <a:lnTo>
                      <a:pt x="56" y="148"/>
                    </a:lnTo>
                    <a:lnTo>
                      <a:pt x="53" y="145"/>
                    </a:lnTo>
                    <a:lnTo>
                      <a:pt x="50" y="141"/>
                    </a:lnTo>
                    <a:lnTo>
                      <a:pt x="50" y="141"/>
                    </a:lnTo>
                    <a:lnTo>
                      <a:pt x="50" y="139"/>
                    </a:lnTo>
                    <a:lnTo>
                      <a:pt x="52" y="136"/>
                    </a:lnTo>
                    <a:lnTo>
                      <a:pt x="52" y="136"/>
                    </a:lnTo>
                    <a:lnTo>
                      <a:pt x="53" y="135"/>
                    </a:lnTo>
                    <a:lnTo>
                      <a:pt x="56" y="133"/>
                    </a:lnTo>
                    <a:lnTo>
                      <a:pt x="56" y="133"/>
                    </a:lnTo>
                    <a:lnTo>
                      <a:pt x="62" y="133"/>
                    </a:lnTo>
                    <a:lnTo>
                      <a:pt x="62" y="133"/>
                    </a:lnTo>
                    <a:lnTo>
                      <a:pt x="70" y="133"/>
                    </a:lnTo>
                    <a:lnTo>
                      <a:pt x="70" y="133"/>
                    </a:lnTo>
                    <a:lnTo>
                      <a:pt x="82" y="135"/>
                    </a:lnTo>
                    <a:lnTo>
                      <a:pt x="82" y="135"/>
                    </a:lnTo>
                    <a:lnTo>
                      <a:pt x="93" y="132"/>
                    </a:lnTo>
                    <a:lnTo>
                      <a:pt x="93" y="132"/>
                    </a:lnTo>
                    <a:lnTo>
                      <a:pt x="101" y="129"/>
                    </a:lnTo>
                    <a:lnTo>
                      <a:pt x="101" y="129"/>
                    </a:lnTo>
                    <a:lnTo>
                      <a:pt x="106" y="125"/>
                    </a:lnTo>
                    <a:lnTo>
                      <a:pt x="106" y="125"/>
                    </a:lnTo>
                    <a:lnTo>
                      <a:pt x="111" y="119"/>
                    </a:lnTo>
                    <a:lnTo>
                      <a:pt x="111" y="119"/>
                    </a:lnTo>
                    <a:lnTo>
                      <a:pt x="111" y="116"/>
                    </a:lnTo>
                    <a:lnTo>
                      <a:pt x="111" y="113"/>
                    </a:lnTo>
                    <a:lnTo>
                      <a:pt x="111" y="113"/>
                    </a:lnTo>
                    <a:lnTo>
                      <a:pt x="109" y="109"/>
                    </a:lnTo>
                    <a:lnTo>
                      <a:pt x="105" y="106"/>
                    </a:lnTo>
                    <a:lnTo>
                      <a:pt x="105" y="106"/>
                    </a:lnTo>
                    <a:lnTo>
                      <a:pt x="101" y="105"/>
                    </a:lnTo>
                    <a:lnTo>
                      <a:pt x="96" y="105"/>
                    </a:lnTo>
                    <a:lnTo>
                      <a:pt x="96" y="105"/>
                    </a:lnTo>
                    <a:lnTo>
                      <a:pt x="82" y="105"/>
                    </a:lnTo>
                    <a:lnTo>
                      <a:pt x="82" y="105"/>
                    </a:lnTo>
                    <a:lnTo>
                      <a:pt x="69" y="105"/>
                    </a:lnTo>
                    <a:lnTo>
                      <a:pt x="69" y="105"/>
                    </a:lnTo>
                    <a:lnTo>
                      <a:pt x="57" y="105"/>
                    </a:lnTo>
                    <a:lnTo>
                      <a:pt x="57" y="105"/>
                    </a:lnTo>
                    <a:lnTo>
                      <a:pt x="49" y="102"/>
                    </a:lnTo>
                    <a:lnTo>
                      <a:pt x="49" y="102"/>
                    </a:lnTo>
                    <a:lnTo>
                      <a:pt x="44" y="99"/>
                    </a:lnTo>
                    <a:lnTo>
                      <a:pt x="42" y="96"/>
                    </a:lnTo>
                    <a:lnTo>
                      <a:pt x="42" y="96"/>
                    </a:lnTo>
                    <a:lnTo>
                      <a:pt x="39" y="92"/>
                    </a:lnTo>
                    <a:lnTo>
                      <a:pt x="36" y="86"/>
                    </a:lnTo>
                    <a:lnTo>
                      <a:pt x="36" y="86"/>
                    </a:lnTo>
                    <a:lnTo>
                      <a:pt x="36" y="80"/>
                    </a:lnTo>
                    <a:lnTo>
                      <a:pt x="36" y="73"/>
                    </a:lnTo>
                    <a:lnTo>
                      <a:pt x="36" y="73"/>
                    </a:lnTo>
                    <a:lnTo>
                      <a:pt x="39" y="67"/>
                    </a:lnTo>
                    <a:lnTo>
                      <a:pt x="43" y="63"/>
                    </a:lnTo>
                    <a:lnTo>
                      <a:pt x="43" y="63"/>
                    </a:lnTo>
                    <a:lnTo>
                      <a:pt x="47" y="59"/>
                    </a:lnTo>
                    <a:lnTo>
                      <a:pt x="55" y="54"/>
                    </a:lnTo>
                    <a:lnTo>
                      <a:pt x="55" y="54"/>
                    </a:lnTo>
                    <a:lnTo>
                      <a:pt x="63" y="50"/>
                    </a:lnTo>
                    <a:lnTo>
                      <a:pt x="60" y="42"/>
                    </a:lnTo>
                    <a:lnTo>
                      <a:pt x="60" y="42"/>
                    </a:lnTo>
                    <a:lnTo>
                      <a:pt x="60" y="39"/>
                    </a:lnTo>
                    <a:lnTo>
                      <a:pt x="62" y="37"/>
                    </a:lnTo>
                    <a:lnTo>
                      <a:pt x="63" y="34"/>
                    </a:lnTo>
                    <a:lnTo>
                      <a:pt x="65" y="34"/>
                    </a:lnTo>
                    <a:lnTo>
                      <a:pt x="65" y="34"/>
                    </a:lnTo>
                    <a:lnTo>
                      <a:pt x="67" y="34"/>
                    </a:lnTo>
                    <a:lnTo>
                      <a:pt x="70" y="34"/>
                    </a:lnTo>
                    <a:lnTo>
                      <a:pt x="72" y="36"/>
                    </a:lnTo>
                    <a:lnTo>
                      <a:pt x="73" y="39"/>
                    </a:lnTo>
                    <a:lnTo>
                      <a:pt x="75" y="47"/>
                    </a:lnTo>
                    <a:lnTo>
                      <a:pt x="75" y="47"/>
                    </a:lnTo>
                    <a:lnTo>
                      <a:pt x="86" y="46"/>
                    </a:lnTo>
                    <a:lnTo>
                      <a:pt x="86" y="46"/>
                    </a:lnTo>
                    <a:lnTo>
                      <a:pt x="99" y="46"/>
                    </a:lnTo>
                    <a:lnTo>
                      <a:pt x="99" y="46"/>
                    </a:lnTo>
                    <a:lnTo>
                      <a:pt x="103" y="47"/>
                    </a:lnTo>
                    <a:lnTo>
                      <a:pt x="106" y="50"/>
                    </a:lnTo>
                    <a:lnTo>
                      <a:pt x="106" y="50"/>
                    </a:lnTo>
                    <a:lnTo>
                      <a:pt x="109" y="52"/>
                    </a:lnTo>
                    <a:lnTo>
                      <a:pt x="111" y="54"/>
                    </a:lnTo>
                    <a:lnTo>
                      <a:pt x="111" y="54"/>
                    </a:lnTo>
                    <a:lnTo>
                      <a:pt x="111" y="57"/>
                    </a:lnTo>
                    <a:lnTo>
                      <a:pt x="109" y="59"/>
                    </a:lnTo>
                    <a:lnTo>
                      <a:pt x="109" y="59"/>
                    </a:lnTo>
                    <a:lnTo>
                      <a:pt x="108" y="62"/>
                    </a:lnTo>
                    <a:lnTo>
                      <a:pt x="105" y="62"/>
                    </a:lnTo>
                    <a:lnTo>
                      <a:pt x="105" y="62"/>
                    </a:lnTo>
                    <a:lnTo>
                      <a:pt x="102" y="63"/>
                    </a:lnTo>
                    <a:lnTo>
                      <a:pt x="102" y="63"/>
                    </a:lnTo>
                    <a:lnTo>
                      <a:pt x="101" y="62"/>
                    </a:lnTo>
                    <a:lnTo>
                      <a:pt x="101" y="62"/>
                    </a:lnTo>
                    <a:lnTo>
                      <a:pt x="89" y="62"/>
                    </a:lnTo>
                    <a:lnTo>
                      <a:pt x="89" y="62"/>
                    </a:lnTo>
                    <a:lnTo>
                      <a:pt x="83" y="62"/>
                    </a:lnTo>
                    <a:lnTo>
                      <a:pt x="75" y="63"/>
                    </a:lnTo>
                    <a:lnTo>
                      <a:pt x="75" y="63"/>
                    </a:lnTo>
                    <a:lnTo>
                      <a:pt x="67" y="66"/>
                    </a:lnTo>
                    <a:lnTo>
                      <a:pt x="67" y="66"/>
                    </a:lnTo>
                    <a:lnTo>
                      <a:pt x="60" y="70"/>
                    </a:lnTo>
                    <a:lnTo>
                      <a:pt x="60" y="70"/>
                    </a:lnTo>
                    <a:lnTo>
                      <a:pt x="57" y="75"/>
                    </a:lnTo>
                    <a:lnTo>
                      <a:pt x="57" y="75"/>
                    </a:lnTo>
                    <a:lnTo>
                      <a:pt x="57" y="80"/>
                    </a:lnTo>
                    <a:lnTo>
                      <a:pt x="57" y="80"/>
                    </a:lnTo>
                    <a:lnTo>
                      <a:pt x="59" y="82"/>
                    </a:lnTo>
                    <a:lnTo>
                      <a:pt x="60" y="85"/>
                    </a:lnTo>
                    <a:lnTo>
                      <a:pt x="60" y="85"/>
                    </a:lnTo>
                    <a:lnTo>
                      <a:pt x="66" y="86"/>
                    </a:lnTo>
                    <a:lnTo>
                      <a:pt x="66" y="86"/>
                    </a:lnTo>
                    <a:lnTo>
                      <a:pt x="73" y="87"/>
                    </a:lnTo>
                    <a:lnTo>
                      <a:pt x="73" y="87"/>
                    </a:lnTo>
                    <a:lnTo>
                      <a:pt x="83" y="87"/>
                    </a:lnTo>
                    <a:lnTo>
                      <a:pt x="83" y="87"/>
                    </a:lnTo>
                    <a:lnTo>
                      <a:pt x="93" y="87"/>
                    </a:lnTo>
                    <a:lnTo>
                      <a:pt x="93" y="87"/>
                    </a:lnTo>
                    <a:lnTo>
                      <a:pt x="105" y="87"/>
                    </a:lnTo>
                    <a:lnTo>
                      <a:pt x="105" y="87"/>
                    </a:lnTo>
                    <a:lnTo>
                      <a:pt x="113" y="89"/>
                    </a:lnTo>
                    <a:lnTo>
                      <a:pt x="122" y="92"/>
                    </a:lnTo>
                    <a:lnTo>
                      <a:pt x="122" y="92"/>
                    </a:lnTo>
                    <a:lnTo>
                      <a:pt x="128" y="98"/>
                    </a:lnTo>
                    <a:lnTo>
                      <a:pt x="131" y="105"/>
                    </a:lnTo>
                    <a:lnTo>
                      <a:pt x="131" y="105"/>
                    </a:lnTo>
                    <a:lnTo>
                      <a:pt x="132" y="112"/>
                    </a:lnTo>
                    <a:lnTo>
                      <a:pt x="131" y="119"/>
                    </a:lnTo>
                    <a:lnTo>
                      <a:pt x="131" y="11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24" name="Freeform 213">
                <a:extLst>
                  <a:ext uri="{FF2B5EF4-FFF2-40B4-BE49-F238E27FC236}">
                    <a16:creationId xmlns:a16="http://schemas.microsoft.com/office/drawing/2014/main" id="{DA7C97B9-7546-4B33-8CE4-07F4574A14E9}"/>
                  </a:ext>
                </a:extLst>
              </p:cNvPr>
              <p:cNvSpPr>
                <a:spLocks/>
              </p:cNvSpPr>
              <p:nvPr/>
            </p:nvSpPr>
            <p:spPr bwMode="auto">
              <a:xfrm>
                <a:off x="4952876" y="2150094"/>
                <a:ext cx="119063" cy="93663"/>
              </a:xfrm>
              <a:custGeom>
                <a:avLst/>
                <a:gdLst>
                  <a:gd name="T0" fmla="*/ 21 w 75"/>
                  <a:gd name="T1" fmla="*/ 59 h 59"/>
                  <a:gd name="T2" fmla="*/ 21 w 75"/>
                  <a:gd name="T3" fmla="*/ 59 h 59"/>
                  <a:gd name="T4" fmla="*/ 48 w 75"/>
                  <a:gd name="T5" fmla="*/ 53 h 59"/>
                  <a:gd name="T6" fmla="*/ 74 w 75"/>
                  <a:gd name="T7" fmla="*/ 46 h 59"/>
                  <a:gd name="T8" fmla="*/ 74 w 75"/>
                  <a:gd name="T9" fmla="*/ 46 h 59"/>
                  <a:gd name="T10" fmla="*/ 75 w 75"/>
                  <a:gd name="T11" fmla="*/ 7 h 59"/>
                  <a:gd name="T12" fmla="*/ 75 w 75"/>
                  <a:gd name="T13" fmla="*/ 7 h 59"/>
                  <a:gd name="T14" fmla="*/ 74 w 75"/>
                  <a:gd name="T15" fmla="*/ 3 h 59"/>
                  <a:gd name="T16" fmla="*/ 72 w 75"/>
                  <a:gd name="T17" fmla="*/ 0 h 59"/>
                  <a:gd name="T18" fmla="*/ 69 w 75"/>
                  <a:gd name="T19" fmla="*/ 0 h 59"/>
                  <a:gd name="T20" fmla="*/ 67 w 75"/>
                  <a:gd name="T21" fmla="*/ 2 h 59"/>
                  <a:gd name="T22" fmla="*/ 62 w 75"/>
                  <a:gd name="T23" fmla="*/ 5 h 59"/>
                  <a:gd name="T24" fmla="*/ 59 w 75"/>
                  <a:gd name="T25" fmla="*/ 9 h 59"/>
                  <a:gd name="T26" fmla="*/ 58 w 75"/>
                  <a:gd name="T27" fmla="*/ 15 h 59"/>
                  <a:gd name="T28" fmla="*/ 56 w 75"/>
                  <a:gd name="T29" fmla="*/ 20 h 59"/>
                  <a:gd name="T30" fmla="*/ 56 w 75"/>
                  <a:gd name="T31" fmla="*/ 20 h 59"/>
                  <a:gd name="T32" fmla="*/ 55 w 75"/>
                  <a:gd name="T33" fmla="*/ 19 h 59"/>
                  <a:gd name="T34" fmla="*/ 55 w 75"/>
                  <a:gd name="T35" fmla="*/ 19 h 59"/>
                  <a:gd name="T36" fmla="*/ 52 w 75"/>
                  <a:gd name="T37" fmla="*/ 13 h 59"/>
                  <a:gd name="T38" fmla="*/ 52 w 75"/>
                  <a:gd name="T39" fmla="*/ 13 h 59"/>
                  <a:gd name="T40" fmla="*/ 48 w 75"/>
                  <a:gd name="T41" fmla="*/ 9 h 59"/>
                  <a:gd name="T42" fmla="*/ 41 w 75"/>
                  <a:gd name="T43" fmla="*/ 5 h 59"/>
                  <a:gd name="T44" fmla="*/ 41 w 75"/>
                  <a:gd name="T45" fmla="*/ 5 h 59"/>
                  <a:gd name="T46" fmla="*/ 36 w 75"/>
                  <a:gd name="T47" fmla="*/ 3 h 59"/>
                  <a:gd name="T48" fmla="*/ 32 w 75"/>
                  <a:gd name="T49" fmla="*/ 5 h 59"/>
                  <a:gd name="T50" fmla="*/ 29 w 75"/>
                  <a:gd name="T51" fmla="*/ 7 h 59"/>
                  <a:gd name="T52" fmla="*/ 28 w 75"/>
                  <a:gd name="T53" fmla="*/ 12 h 59"/>
                  <a:gd name="T54" fmla="*/ 28 w 75"/>
                  <a:gd name="T55" fmla="*/ 12 h 59"/>
                  <a:gd name="T56" fmla="*/ 25 w 75"/>
                  <a:gd name="T57" fmla="*/ 19 h 59"/>
                  <a:gd name="T58" fmla="*/ 23 w 75"/>
                  <a:gd name="T59" fmla="*/ 26 h 59"/>
                  <a:gd name="T60" fmla="*/ 23 w 75"/>
                  <a:gd name="T61" fmla="*/ 26 h 59"/>
                  <a:gd name="T62" fmla="*/ 23 w 75"/>
                  <a:gd name="T63" fmla="*/ 29 h 59"/>
                  <a:gd name="T64" fmla="*/ 23 w 75"/>
                  <a:gd name="T65" fmla="*/ 29 h 59"/>
                  <a:gd name="T66" fmla="*/ 21 w 75"/>
                  <a:gd name="T67" fmla="*/ 23 h 59"/>
                  <a:gd name="T68" fmla="*/ 15 w 75"/>
                  <a:gd name="T69" fmla="*/ 20 h 59"/>
                  <a:gd name="T70" fmla="*/ 10 w 75"/>
                  <a:gd name="T71" fmla="*/ 17 h 59"/>
                  <a:gd name="T72" fmla="*/ 6 w 75"/>
                  <a:gd name="T73" fmla="*/ 16 h 59"/>
                  <a:gd name="T74" fmla="*/ 3 w 75"/>
                  <a:gd name="T75" fmla="*/ 17 h 59"/>
                  <a:gd name="T76" fmla="*/ 0 w 75"/>
                  <a:gd name="T77" fmla="*/ 19 h 59"/>
                  <a:gd name="T78" fmla="*/ 0 w 75"/>
                  <a:gd name="T79" fmla="*/ 22 h 59"/>
                  <a:gd name="T80" fmla="*/ 2 w 75"/>
                  <a:gd name="T81" fmla="*/ 25 h 59"/>
                  <a:gd name="T82" fmla="*/ 2 w 75"/>
                  <a:gd name="T83" fmla="*/ 25 h 59"/>
                  <a:gd name="T84" fmla="*/ 21 w 75"/>
                  <a:gd name="T85" fmla="*/ 59 h 59"/>
                  <a:gd name="T86" fmla="*/ 21 w 75"/>
                  <a:gd name="T8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9">
                    <a:moveTo>
                      <a:pt x="21" y="59"/>
                    </a:moveTo>
                    <a:lnTo>
                      <a:pt x="21" y="59"/>
                    </a:lnTo>
                    <a:lnTo>
                      <a:pt x="48" y="53"/>
                    </a:lnTo>
                    <a:lnTo>
                      <a:pt x="74" y="46"/>
                    </a:lnTo>
                    <a:lnTo>
                      <a:pt x="74" y="46"/>
                    </a:lnTo>
                    <a:lnTo>
                      <a:pt x="75" y="7"/>
                    </a:lnTo>
                    <a:lnTo>
                      <a:pt x="75" y="7"/>
                    </a:lnTo>
                    <a:lnTo>
                      <a:pt x="74" y="3"/>
                    </a:lnTo>
                    <a:lnTo>
                      <a:pt x="72" y="0"/>
                    </a:lnTo>
                    <a:lnTo>
                      <a:pt x="69" y="0"/>
                    </a:lnTo>
                    <a:lnTo>
                      <a:pt x="67" y="2"/>
                    </a:lnTo>
                    <a:lnTo>
                      <a:pt x="62" y="5"/>
                    </a:lnTo>
                    <a:lnTo>
                      <a:pt x="59" y="9"/>
                    </a:lnTo>
                    <a:lnTo>
                      <a:pt x="58" y="15"/>
                    </a:lnTo>
                    <a:lnTo>
                      <a:pt x="56" y="20"/>
                    </a:lnTo>
                    <a:lnTo>
                      <a:pt x="56" y="20"/>
                    </a:lnTo>
                    <a:lnTo>
                      <a:pt x="55" y="19"/>
                    </a:lnTo>
                    <a:lnTo>
                      <a:pt x="55" y="19"/>
                    </a:lnTo>
                    <a:lnTo>
                      <a:pt x="52" y="13"/>
                    </a:lnTo>
                    <a:lnTo>
                      <a:pt x="52" y="13"/>
                    </a:lnTo>
                    <a:lnTo>
                      <a:pt x="48" y="9"/>
                    </a:lnTo>
                    <a:lnTo>
                      <a:pt x="41" y="5"/>
                    </a:lnTo>
                    <a:lnTo>
                      <a:pt x="41" y="5"/>
                    </a:lnTo>
                    <a:lnTo>
                      <a:pt x="36" y="3"/>
                    </a:lnTo>
                    <a:lnTo>
                      <a:pt x="32" y="5"/>
                    </a:lnTo>
                    <a:lnTo>
                      <a:pt x="29" y="7"/>
                    </a:lnTo>
                    <a:lnTo>
                      <a:pt x="28" y="12"/>
                    </a:lnTo>
                    <a:lnTo>
                      <a:pt x="28" y="12"/>
                    </a:lnTo>
                    <a:lnTo>
                      <a:pt x="25" y="19"/>
                    </a:lnTo>
                    <a:lnTo>
                      <a:pt x="23" y="26"/>
                    </a:lnTo>
                    <a:lnTo>
                      <a:pt x="23" y="26"/>
                    </a:lnTo>
                    <a:lnTo>
                      <a:pt x="23" y="29"/>
                    </a:lnTo>
                    <a:lnTo>
                      <a:pt x="23" y="29"/>
                    </a:lnTo>
                    <a:lnTo>
                      <a:pt x="21" y="23"/>
                    </a:lnTo>
                    <a:lnTo>
                      <a:pt x="15" y="20"/>
                    </a:lnTo>
                    <a:lnTo>
                      <a:pt x="10" y="17"/>
                    </a:lnTo>
                    <a:lnTo>
                      <a:pt x="6" y="16"/>
                    </a:lnTo>
                    <a:lnTo>
                      <a:pt x="3" y="17"/>
                    </a:lnTo>
                    <a:lnTo>
                      <a:pt x="0" y="19"/>
                    </a:lnTo>
                    <a:lnTo>
                      <a:pt x="0" y="22"/>
                    </a:lnTo>
                    <a:lnTo>
                      <a:pt x="2" y="25"/>
                    </a:lnTo>
                    <a:lnTo>
                      <a:pt x="2" y="25"/>
                    </a:lnTo>
                    <a:lnTo>
                      <a:pt x="21" y="59"/>
                    </a:lnTo>
                    <a:lnTo>
                      <a:pt x="21"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25" name="Group 1424">
            <a:extLst>
              <a:ext uri="{FF2B5EF4-FFF2-40B4-BE49-F238E27FC236}">
                <a16:creationId xmlns:a16="http://schemas.microsoft.com/office/drawing/2014/main" id="{8205F3DA-2E97-41D7-9EE9-23D6B00FB0EE}"/>
              </a:ext>
            </a:extLst>
          </p:cNvPr>
          <p:cNvGrpSpPr/>
          <p:nvPr/>
        </p:nvGrpSpPr>
        <p:grpSpPr>
          <a:xfrm>
            <a:off x="8304951" y="3168578"/>
            <a:ext cx="612775" cy="612775"/>
            <a:chOff x="7150322" y="3806921"/>
            <a:chExt cx="612775" cy="612775"/>
          </a:xfrm>
        </p:grpSpPr>
        <p:sp>
          <p:nvSpPr>
            <p:cNvPr id="1426" name="Oval 1425">
              <a:extLst>
                <a:ext uri="{FF2B5EF4-FFF2-40B4-BE49-F238E27FC236}">
                  <a16:creationId xmlns:a16="http://schemas.microsoft.com/office/drawing/2014/main" id="{8DB1B83D-A275-4365-86B1-F5175B8579DE}"/>
                </a:ext>
              </a:extLst>
            </p:cNvPr>
            <p:cNvSpPr/>
            <p:nvPr/>
          </p:nvSpPr>
          <p:spPr bwMode="ltGray">
            <a:xfrm>
              <a:off x="715032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27" name="Group 1426">
              <a:extLst>
                <a:ext uri="{FF2B5EF4-FFF2-40B4-BE49-F238E27FC236}">
                  <a16:creationId xmlns:a16="http://schemas.microsoft.com/office/drawing/2014/main" id="{E610CF94-F224-4E01-AE82-57027D6FD8B1}"/>
                </a:ext>
              </a:extLst>
            </p:cNvPr>
            <p:cNvGrpSpPr/>
            <p:nvPr/>
          </p:nvGrpSpPr>
          <p:grpSpPr>
            <a:xfrm>
              <a:off x="7289473" y="3874667"/>
              <a:ext cx="314210" cy="477281"/>
              <a:chOff x="7356351" y="4058269"/>
              <a:chExt cx="376238" cy="571501"/>
            </a:xfrm>
          </p:grpSpPr>
          <p:sp>
            <p:nvSpPr>
              <p:cNvPr id="1428" name="Freeform 214">
                <a:extLst>
                  <a:ext uri="{FF2B5EF4-FFF2-40B4-BE49-F238E27FC236}">
                    <a16:creationId xmlns:a16="http://schemas.microsoft.com/office/drawing/2014/main" id="{9EBFF6B4-268C-4EA3-8CF3-B813A9163F86}"/>
                  </a:ext>
                </a:extLst>
              </p:cNvPr>
              <p:cNvSpPr>
                <a:spLocks/>
              </p:cNvSpPr>
              <p:nvPr/>
            </p:nvSpPr>
            <p:spPr bwMode="auto">
              <a:xfrm>
                <a:off x="7356351" y="4491657"/>
                <a:ext cx="376238" cy="138113"/>
              </a:xfrm>
              <a:custGeom>
                <a:avLst/>
                <a:gdLst>
                  <a:gd name="T0" fmla="*/ 0 w 237"/>
                  <a:gd name="T1" fmla="*/ 39 h 87"/>
                  <a:gd name="T2" fmla="*/ 3 w 237"/>
                  <a:gd name="T3" fmla="*/ 51 h 87"/>
                  <a:gd name="T4" fmla="*/ 14 w 237"/>
                  <a:gd name="T5" fmla="*/ 66 h 87"/>
                  <a:gd name="T6" fmla="*/ 40 w 237"/>
                  <a:gd name="T7" fmla="*/ 87 h 87"/>
                  <a:gd name="T8" fmla="*/ 44 w 237"/>
                  <a:gd name="T9" fmla="*/ 87 h 87"/>
                  <a:gd name="T10" fmla="*/ 53 w 237"/>
                  <a:gd name="T11" fmla="*/ 86 h 87"/>
                  <a:gd name="T12" fmla="*/ 63 w 237"/>
                  <a:gd name="T13" fmla="*/ 83 h 87"/>
                  <a:gd name="T14" fmla="*/ 105 w 237"/>
                  <a:gd name="T15" fmla="*/ 84 h 87"/>
                  <a:gd name="T16" fmla="*/ 151 w 237"/>
                  <a:gd name="T17" fmla="*/ 82 h 87"/>
                  <a:gd name="T18" fmla="*/ 161 w 237"/>
                  <a:gd name="T19" fmla="*/ 80 h 87"/>
                  <a:gd name="T20" fmla="*/ 181 w 237"/>
                  <a:gd name="T21" fmla="*/ 67 h 87"/>
                  <a:gd name="T22" fmla="*/ 218 w 237"/>
                  <a:gd name="T23" fmla="*/ 36 h 87"/>
                  <a:gd name="T24" fmla="*/ 234 w 237"/>
                  <a:gd name="T25" fmla="*/ 16 h 87"/>
                  <a:gd name="T26" fmla="*/ 237 w 237"/>
                  <a:gd name="T27" fmla="*/ 10 h 87"/>
                  <a:gd name="T28" fmla="*/ 234 w 237"/>
                  <a:gd name="T29" fmla="*/ 1 h 87"/>
                  <a:gd name="T30" fmla="*/ 228 w 237"/>
                  <a:gd name="T31" fmla="*/ 0 h 87"/>
                  <a:gd name="T32" fmla="*/ 217 w 237"/>
                  <a:gd name="T33" fmla="*/ 4 h 87"/>
                  <a:gd name="T34" fmla="*/ 208 w 237"/>
                  <a:gd name="T35" fmla="*/ 11 h 87"/>
                  <a:gd name="T36" fmla="*/ 181 w 237"/>
                  <a:gd name="T37" fmla="*/ 37 h 87"/>
                  <a:gd name="T38" fmla="*/ 171 w 237"/>
                  <a:gd name="T39" fmla="*/ 43 h 87"/>
                  <a:gd name="T40" fmla="*/ 148 w 237"/>
                  <a:gd name="T41" fmla="*/ 51 h 87"/>
                  <a:gd name="T42" fmla="*/ 122 w 237"/>
                  <a:gd name="T43" fmla="*/ 51 h 87"/>
                  <a:gd name="T44" fmla="*/ 100 w 237"/>
                  <a:gd name="T45" fmla="*/ 43 h 87"/>
                  <a:gd name="T46" fmla="*/ 92 w 237"/>
                  <a:gd name="T47" fmla="*/ 33 h 87"/>
                  <a:gd name="T48" fmla="*/ 100 w 237"/>
                  <a:gd name="T49" fmla="*/ 34 h 87"/>
                  <a:gd name="T50" fmla="*/ 133 w 237"/>
                  <a:gd name="T51" fmla="*/ 34 h 87"/>
                  <a:gd name="T52" fmla="*/ 155 w 237"/>
                  <a:gd name="T53" fmla="*/ 30 h 87"/>
                  <a:gd name="T54" fmla="*/ 161 w 237"/>
                  <a:gd name="T55" fmla="*/ 26 h 87"/>
                  <a:gd name="T56" fmla="*/ 164 w 237"/>
                  <a:gd name="T57" fmla="*/ 20 h 87"/>
                  <a:gd name="T58" fmla="*/ 165 w 237"/>
                  <a:gd name="T59" fmla="*/ 11 h 87"/>
                  <a:gd name="T60" fmla="*/ 162 w 237"/>
                  <a:gd name="T61" fmla="*/ 5 h 87"/>
                  <a:gd name="T62" fmla="*/ 151 w 237"/>
                  <a:gd name="T63" fmla="*/ 4 h 87"/>
                  <a:gd name="T64" fmla="*/ 116 w 237"/>
                  <a:gd name="T65" fmla="*/ 5 h 87"/>
                  <a:gd name="T66" fmla="*/ 79 w 237"/>
                  <a:gd name="T67" fmla="*/ 4 h 87"/>
                  <a:gd name="T68" fmla="*/ 56 w 237"/>
                  <a:gd name="T69" fmla="*/ 1 h 87"/>
                  <a:gd name="T70" fmla="*/ 39 w 237"/>
                  <a:gd name="T71" fmla="*/ 1 h 87"/>
                  <a:gd name="T72" fmla="*/ 34 w 237"/>
                  <a:gd name="T73" fmla="*/ 3 h 87"/>
                  <a:gd name="T74" fmla="*/ 14 w 237"/>
                  <a:gd name="T75" fmla="*/ 16 h 87"/>
                  <a:gd name="T76" fmla="*/ 4 w 237"/>
                  <a:gd name="T77" fmla="*/ 27 h 87"/>
                  <a:gd name="T78" fmla="*/ 0 w 237"/>
                  <a:gd name="T79" fmla="*/ 39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7" h="87">
                    <a:moveTo>
                      <a:pt x="0" y="39"/>
                    </a:moveTo>
                    <a:lnTo>
                      <a:pt x="0" y="39"/>
                    </a:lnTo>
                    <a:lnTo>
                      <a:pt x="0" y="44"/>
                    </a:lnTo>
                    <a:lnTo>
                      <a:pt x="3" y="51"/>
                    </a:lnTo>
                    <a:lnTo>
                      <a:pt x="8" y="60"/>
                    </a:lnTo>
                    <a:lnTo>
                      <a:pt x="14" y="66"/>
                    </a:lnTo>
                    <a:lnTo>
                      <a:pt x="29" y="79"/>
                    </a:lnTo>
                    <a:lnTo>
                      <a:pt x="40" y="87"/>
                    </a:lnTo>
                    <a:lnTo>
                      <a:pt x="40" y="87"/>
                    </a:lnTo>
                    <a:lnTo>
                      <a:pt x="44" y="87"/>
                    </a:lnTo>
                    <a:lnTo>
                      <a:pt x="47" y="87"/>
                    </a:lnTo>
                    <a:lnTo>
                      <a:pt x="53" y="86"/>
                    </a:lnTo>
                    <a:lnTo>
                      <a:pt x="57" y="83"/>
                    </a:lnTo>
                    <a:lnTo>
                      <a:pt x="63" y="83"/>
                    </a:lnTo>
                    <a:lnTo>
                      <a:pt x="63" y="83"/>
                    </a:lnTo>
                    <a:lnTo>
                      <a:pt x="105" y="84"/>
                    </a:lnTo>
                    <a:lnTo>
                      <a:pt x="138" y="83"/>
                    </a:lnTo>
                    <a:lnTo>
                      <a:pt x="151" y="82"/>
                    </a:lnTo>
                    <a:lnTo>
                      <a:pt x="161" y="80"/>
                    </a:lnTo>
                    <a:lnTo>
                      <a:pt x="161" y="80"/>
                    </a:lnTo>
                    <a:lnTo>
                      <a:pt x="169" y="76"/>
                    </a:lnTo>
                    <a:lnTo>
                      <a:pt x="181" y="67"/>
                    </a:lnTo>
                    <a:lnTo>
                      <a:pt x="207" y="47"/>
                    </a:lnTo>
                    <a:lnTo>
                      <a:pt x="218" y="36"/>
                    </a:lnTo>
                    <a:lnTo>
                      <a:pt x="228" y="24"/>
                    </a:lnTo>
                    <a:lnTo>
                      <a:pt x="234" y="16"/>
                    </a:lnTo>
                    <a:lnTo>
                      <a:pt x="237" y="10"/>
                    </a:lnTo>
                    <a:lnTo>
                      <a:pt x="237" y="10"/>
                    </a:lnTo>
                    <a:lnTo>
                      <a:pt x="235" y="4"/>
                    </a:lnTo>
                    <a:lnTo>
                      <a:pt x="234" y="1"/>
                    </a:lnTo>
                    <a:lnTo>
                      <a:pt x="231" y="0"/>
                    </a:lnTo>
                    <a:lnTo>
                      <a:pt x="228" y="0"/>
                    </a:lnTo>
                    <a:lnTo>
                      <a:pt x="225" y="1"/>
                    </a:lnTo>
                    <a:lnTo>
                      <a:pt x="217" y="4"/>
                    </a:lnTo>
                    <a:lnTo>
                      <a:pt x="217" y="4"/>
                    </a:lnTo>
                    <a:lnTo>
                      <a:pt x="208" y="11"/>
                    </a:lnTo>
                    <a:lnTo>
                      <a:pt x="198" y="20"/>
                    </a:lnTo>
                    <a:lnTo>
                      <a:pt x="181" y="37"/>
                    </a:lnTo>
                    <a:lnTo>
                      <a:pt x="181" y="37"/>
                    </a:lnTo>
                    <a:lnTo>
                      <a:pt x="171" y="43"/>
                    </a:lnTo>
                    <a:lnTo>
                      <a:pt x="159" y="49"/>
                    </a:lnTo>
                    <a:lnTo>
                      <a:pt x="148" y="51"/>
                    </a:lnTo>
                    <a:lnTo>
                      <a:pt x="135" y="53"/>
                    </a:lnTo>
                    <a:lnTo>
                      <a:pt x="122" y="51"/>
                    </a:lnTo>
                    <a:lnTo>
                      <a:pt x="110" y="49"/>
                    </a:lnTo>
                    <a:lnTo>
                      <a:pt x="100" y="43"/>
                    </a:lnTo>
                    <a:lnTo>
                      <a:pt x="96" y="39"/>
                    </a:lnTo>
                    <a:lnTo>
                      <a:pt x="92" y="33"/>
                    </a:lnTo>
                    <a:lnTo>
                      <a:pt x="92" y="33"/>
                    </a:lnTo>
                    <a:lnTo>
                      <a:pt x="100" y="34"/>
                    </a:lnTo>
                    <a:lnTo>
                      <a:pt x="122" y="36"/>
                    </a:lnTo>
                    <a:lnTo>
                      <a:pt x="133" y="34"/>
                    </a:lnTo>
                    <a:lnTo>
                      <a:pt x="145" y="33"/>
                    </a:lnTo>
                    <a:lnTo>
                      <a:pt x="155" y="30"/>
                    </a:lnTo>
                    <a:lnTo>
                      <a:pt x="158" y="28"/>
                    </a:lnTo>
                    <a:lnTo>
                      <a:pt x="161" y="26"/>
                    </a:lnTo>
                    <a:lnTo>
                      <a:pt x="161" y="26"/>
                    </a:lnTo>
                    <a:lnTo>
                      <a:pt x="164" y="20"/>
                    </a:lnTo>
                    <a:lnTo>
                      <a:pt x="165" y="14"/>
                    </a:lnTo>
                    <a:lnTo>
                      <a:pt x="165" y="11"/>
                    </a:lnTo>
                    <a:lnTo>
                      <a:pt x="164" y="8"/>
                    </a:lnTo>
                    <a:lnTo>
                      <a:pt x="162" y="5"/>
                    </a:lnTo>
                    <a:lnTo>
                      <a:pt x="158" y="4"/>
                    </a:lnTo>
                    <a:lnTo>
                      <a:pt x="151" y="4"/>
                    </a:lnTo>
                    <a:lnTo>
                      <a:pt x="151" y="4"/>
                    </a:lnTo>
                    <a:lnTo>
                      <a:pt x="116" y="5"/>
                    </a:lnTo>
                    <a:lnTo>
                      <a:pt x="95" y="5"/>
                    </a:lnTo>
                    <a:lnTo>
                      <a:pt x="79" y="4"/>
                    </a:lnTo>
                    <a:lnTo>
                      <a:pt x="79" y="4"/>
                    </a:lnTo>
                    <a:lnTo>
                      <a:pt x="56" y="1"/>
                    </a:lnTo>
                    <a:lnTo>
                      <a:pt x="43" y="0"/>
                    </a:lnTo>
                    <a:lnTo>
                      <a:pt x="39" y="1"/>
                    </a:lnTo>
                    <a:lnTo>
                      <a:pt x="34" y="3"/>
                    </a:lnTo>
                    <a:lnTo>
                      <a:pt x="34" y="3"/>
                    </a:lnTo>
                    <a:lnTo>
                      <a:pt x="24" y="8"/>
                    </a:lnTo>
                    <a:lnTo>
                      <a:pt x="14" y="16"/>
                    </a:lnTo>
                    <a:lnTo>
                      <a:pt x="8" y="21"/>
                    </a:lnTo>
                    <a:lnTo>
                      <a:pt x="4" y="27"/>
                    </a:lnTo>
                    <a:lnTo>
                      <a:pt x="1" y="33"/>
                    </a:lnTo>
                    <a:lnTo>
                      <a:pt x="0" y="39"/>
                    </a:lnTo>
                    <a:lnTo>
                      <a:pt x="0" y="3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29" name="Freeform 215">
                <a:extLst>
                  <a:ext uri="{FF2B5EF4-FFF2-40B4-BE49-F238E27FC236}">
                    <a16:creationId xmlns:a16="http://schemas.microsoft.com/office/drawing/2014/main" id="{C391F134-55A4-4DB5-845D-C1465AA97610}"/>
                  </a:ext>
                </a:extLst>
              </p:cNvPr>
              <p:cNvSpPr>
                <a:spLocks/>
              </p:cNvSpPr>
              <p:nvPr/>
            </p:nvSpPr>
            <p:spPr bwMode="auto">
              <a:xfrm>
                <a:off x="7491288" y="4407519"/>
                <a:ext cx="152400" cy="58738"/>
              </a:xfrm>
              <a:custGeom>
                <a:avLst/>
                <a:gdLst>
                  <a:gd name="T0" fmla="*/ 86 w 96"/>
                  <a:gd name="T1" fmla="*/ 0 h 37"/>
                  <a:gd name="T2" fmla="*/ 10 w 96"/>
                  <a:gd name="T3" fmla="*/ 0 h 37"/>
                  <a:gd name="T4" fmla="*/ 10 w 96"/>
                  <a:gd name="T5" fmla="*/ 0 h 37"/>
                  <a:gd name="T6" fmla="*/ 5 w 96"/>
                  <a:gd name="T7" fmla="*/ 1 h 37"/>
                  <a:gd name="T8" fmla="*/ 2 w 96"/>
                  <a:gd name="T9" fmla="*/ 2 h 37"/>
                  <a:gd name="T10" fmla="*/ 1 w 96"/>
                  <a:gd name="T11" fmla="*/ 7 h 37"/>
                  <a:gd name="T12" fmla="*/ 0 w 96"/>
                  <a:gd name="T13" fmla="*/ 10 h 37"/>
                  <a:gd name="T14" fmla="*/ 0 w 96"/>
                  <a:gd name="T15" fmla="*/ 10 h 37"/>
                  <a:gd name="T16" fmla="*/ 1 w 96"/>
                  <a:gd name="T17" fmla="*/ 14 h 37"/>
                  <a:gd name="T18" fmla="*/ 2 w 96"/>
                  <a:gd name="T19" fmla="*/ 18 h 37"/>
                  <a:gd name="T20" fmla="*/ 5 w 96"/>
                  <a:gd name="T21" fmla="*/ 20 h 37"/>
                  <a:gd name="T22" fmla="*/ 10 w 96"/>
                  <a:gd name="T23" fmla="*/ 21 h 37"/>
                  <a:gd name="T24" fmla="*/ 25 w 96"/>
                  <a:gd name="T25" fmla="*/ 21 h 37"/>
                  <a:gd name="T26" fmla="*/ 25 w 96"/>
                  <a:gd name="T27" fmla="*/ 21 h 37"/>
                  <a:gd name="T28" fmla="*/ 25 w 96"/>
                  <a:gd name="T29" fmla="*/ 21 h 37"/>
                  <a:gd name="T30" fmla="*/ 25 w 96"/>
                  <a:gd name="T31" fmla="*/ 21 h 37"/>
                  <a:gd name="T32" fmla="*/ 27 w 96"/>
                  <a:gd name="T33" fmla="*/ 24 h 37"/>
                  <a:gd name="T34" fmla="*/ 28 w 96"/>
                  <a:gd name="T35" fmla="*/ 27 h 37"/>
                  <a:gd name="T36" fmla="*/ 33 w 96"/>
                  <a:gd name="T37" fmla="*/ 33 h 37"/>
                  <a:gd name="T38" fmla="*/ 40 w 96"/>
                  <a:gd name="T39" fmla="*/ 35 h 37"/>
                  <a:gd name="T40" fmla="*/ 48 w 96"/>
                  <a:gd name="T41" fmla="*/ 37 h 37"/>
                  <a:gd name="T42" fmla="*/ 48 w 96"/>
                  <a:gd name="T43" fmla="*/ 37 h 37"/>
                  <a:gd name="T44" fmla="*/ 57 w 96"/>
                  <a:gd name="T45" fmla="*/ 35 h 37"/>
                  <a:gd name="T46" fmla="*/ 64 w 96"/>
                  <a:gd name="T47" fmla="*/ 33 h 37"/>
                  <a:gd name="T48" fmla="*/ 69 w 96"/>
                  <a:gd name="T49" fmla="*/ 27 h 37"/>
                  <a:gd name="T50" fmla="*/ 70 w 96"/>
                  <a:gd name="T51" fmla="*/ 24 h 37"/>
                  <a:gd name="T52" fmla="*/ 70 w 96"/>
                  <a:gd name="T53" fmla="*/ 21 h 37"/>
                  <a:gd name="T54" fmla="*/ 70 w 96"/>
                  <a:gd name="T55" fmla="*/ 21 h 37"/>
                  <a:gd name="T56" fmla="*/ 70 w 96"/>
                  <a:gd name="T57" fmla="*/ 21 h 37"/>
                  <a:gd name="T58" fmla="*/ 86 w 96"/>
                  <a:gd name="T59" fmla="*/ 21 h 37"/>
                  <a:gd name="T60" fmla="*/ 86 w 96"/>
                  <a:gd name="T61" fmla="*/ 21 h 37"/>
                  <a:gd name="T62" fmla="*/ 90 w 96"/>
                  <a:gd name="T63" fmla="*/ 20 h 37"/>
                  <a:gd name="T64" fmla="*/ 93 w 96"/>
                  <a:gd name="T65" fmla="*/ 18 h 37"/>
                  <a:gd name="T66" fmla="*/ 96 w 96"/>
                  <a:gd name="T67" fmla="*/ 14 h 37"/>
                  <a:gd name="T68" fmla="*/ 96 w 96"/>
                  <a:gd name="T69" fmla="*/ 10 h 37"/>
                  <a:gd name="T70" fmla="*/ 96 w 96"/>
                  <a:gd name="T71" fmla="*/ 10 h 37"/>
                  <a:gd name="T72" fmla="*/ 96 w 96"/>
                  <a:gd name="T73" fmla="*/ 7 h 37"/>
                  <a:gd name="T74" fmla="*/ 93 w 96"/>
                  <a:gd name="T75" fmla="*/ 2 h 37"/>
                  <a:gd name="T76" fmla="*/ 90 w 96"/>
                  <a:gd name="T77" fmla="*/ 1 h 37"/>
                  <a:gd name="T78" fmla="*/ 86 w 96"/>
                  <a:gd name="T79" fmla="*/ 0 h 37"/>
                  <a:gd name="T80" fmla="*/ 86 w 96"/>
                  <a:gd name="T8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96" h="37">
                    <a:moveTo>
                      <a:pt x="86" y="0"/>
                    </a:moveTo>
                    <a:lnTo>
                      <a:pt x="10" y="0"/>
                    </a:lnTo>
                    <a:lnTo>
                      <a:pt x="10" y="0"/>
                    </a:lnTo>
                    <a:lnTo>
                      <a:pt x="5" y="1"/>
                    </a:lnTo>
                    <a:lnTo>
                      <a:pt x="2" y="2"/>
                    </a:lnTo>
                    <a:lnTo>
                      <a:pt x="1" y="7"/>
                    </a:lnTo>
                    <a:lnTo>
                      <a:pt x="0" y="10"/>
                    </a:lnTo>
                    <a:lnTo>
                      <a:pt x="0" y="10"/>
                    </a:lnTo>
                    <a:lnTo>
                      <a:pt x="1" y="14"/>
                    </a:lnTo>
                    <a:lnTo>
                      <a:pt x="2" y="18"/>
                    </a:lnTo>
                    <a:lnTo>
                      <a:pt x="5" y="20"/>
                    </a:lnTo>
                    <a:lnTo>
                      <a:pt x="10" y="21"/>
                    </a:lnTo>
                    <a:lnTo>
                      <a:pt x="25" y="21"/>
                    </a:lnTo>
                    <a:lnTo>
                      <a:pt x="25" y="21"/>
                    </a:lnTo>
                    <a:lnTo>
                      <a:pt x="25" y="21"/>
                    </a:lnTo>
                    <a:lnTo>
                      <a:pt x="25" y="21"/>
                    </a:lnTo>
                    <a:lnTo>
                      <a:pt x="27" y="24"/>
                    </a:lnTo>
                    <a:lnTo>
                      <a:pt x="28" y="27"/>
                    </a:lnTo>
                    <a:lnTo>
                      <a:pt x="33" y="33"/>
                    </a:lnTo>
                    <a:lnTo>
                      <a:pt x="40" y="35"/>
                    </a:lnTo>
                    <a:lnTo>
                      <a:pt x="48" y="37"/>
                    </a:lnTo>
                    <a:lnTo>
                      <a:pt x="48" y="37"/>
                    </a:lnTo>
                    <a:lnTo>
                      <a:pt x="57" y="35"/>
                    </a:lnTo>
                    <a:lnTo>
                      <a:pt x="64" y="33"/>
                    </a:lnTo>
                    <a:lnTo>
                      <a:pt x="69" y="27"/>
                    </a:lnTo>
                    <a:lnTo>
                      <a:pt x="70" y="24"/>
                    </a:lnTo>
                    <a:lnTo>
                      <a:pt x="70" y="21"/>
                    </a:lnTo>
                    <a:lnTo>
                      <a:pt x="70" y="21"/>
                    </a:lnTo>
                    <a:lnTo>
                      <a:pt x="70" y="21"/>
                    </a:lnTo>
                    <a:lnTo>
                      <a:pt x="86" y="21"/>
                    </a:lnTo>
                    <a:lnTo>
                      <a:pt x="86" y="21"/>
                    </a:lnTo>
                    <a:lnTo>
                      <a:pt x="90" y="20"/>
                    </a:lnTo>
                    <a:lnTo>
                      <a:pt x="93" y="18"/>
                    </a:lnTo>
                    <a:lnTo>
                      <a:pt x="96" y="14"/>
                    </a:lnTo>
                    <a:lnTo>
                      <a:pt x="96" y="10"/>
                    </a:lnTo>
                    <a:lnTo>
                      <a:pt x="96" y="10"/>
                    </a:lnTo>
                    <a:lnTo>
                      <a:pt x="96" y="7"/>
                    </a:lnTo>
                    <a:lnTo>
                      <a:pt x="93" y="2"/>
                    </a:lnTo>
                    <a:lnTo>
                      <a:pt x="90" y="1"/>
                    </a:lnTo>
                    <a:lnTo>
                      <a:pt x="86" y="0"/>
                    </a:lnTo>
                    <a:lnTo>
                      <a:pt x="8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30" name="Freeform 216">
                <a:extLst>
                  <a:ext uri="{FF2B5EF4-FFF2-40B4-BE49-F238E27FC236}">
                    <a16:creationId xmlns:a16="http://schemas.microsoft.com/office/drawing/2014/main" id="{74F9C864-2B08-45A5-9A41-171643EFD66F}"/>
                  </a:ext>
                </a:extLst>
              </p:cNvPr>
              <p:cNvSpPr>
                <a:spLocks noEditPoints="1"/>
              </p:cNvSpPr>
              <p:nvPr/>
            </p:nvSpPr>
            <p:spPr bwMode="auto">
              <a:xfrm>
                <a:off x="7430963" y="4058269"/>
                <a:ext cx="271463" cy="300038"/>
              </a:xfrm>
              <a:custGeom>
                <a:avLst/>
                <a:gdLst>
                  <a:gd name="T0" fmla="*/ 86 w 171"/>
                  <a:gd name="T1" fmla="*/ 0 h 189"/>
                  <a:gd name="T2" fmla="*/ 86 w 171"/>
                  <a:gd name="T3" fmla="*/ 0 h 189"/>
                  <a:gd name="T4" fmla="*/ 69 w 171"/>
                  <a:gd name="T5" fmla="*/ 1 h 189"/>
                  <a:gd name="T6" fmla="*/ 52 w 171"/>
                  <a:gd name="T7" fmla="*/ 5 h 189"/>
                  <a:gd name="T8" fmla="*/ 38 w 171"/>
                  <a:gd name="T9" fmla="*/ 14 h 189"/>
                  <a:gd name="T10" fmla="*/ 25 w 171"/>
                  <a:gd name="T11" fmla="*/ 24 h 189"/>
                  <a:gd name="T12" fmla="*/ 15 w 171"/>
                  <a:gd name="T13" fmla="*/ 37 h 189"/>
                  <a:gd name="T14" fmla="*/ 7 w 171"/>
                  <a:gd name="T15" fmla="*/ 51 h 189"/>
                  <a:gd name="T16" fmla="*/ 5 w 171"/>
                  <a:gd name="T17" fmla="*/ 59 h 189"/>
                  <a:gd name="T18" fmla="*/ 2 w 171"/>
                  <a:gd name="T19" fmla="*/ 67 h 189"/>
                  <a:gd name="T20" fmla="*/ 0 w 171"/>
                  <a:gd name="T21" fmla="*/ 76 h 189"/>
                  <a:gd name="T22" fmla="*/ 0 w 171"/>
                  <a:gd name="T23" fmla="*/ 84 h 189"/>
                  <a:gd name="T24" fmla="*/ 0 w 171"/>
                  <a:gd name="T25" fmla="*/ 84 h 189"/>
                  <a:gd name="T26" fmla="*/ 2 w 171"/>
                  <a:gd name="T27" fmla="*/ 99 h 189"/>
                  <a:gd name="T28" fmla="*/ 6 w 171"/>
                  <a:gd name="T29" fmla="*/ 113 h 189"/>
                  <a:gd name="T30" fmla="*/ 12 w 171"/>
                  <a:gd name="T31" fmla="*/ 125 h 189"/>
                  <a:gd name="T32" fmla="*/ 19 w 171"/>
                  <a:gd name="T33" fmla="*/ 138 h 189"/>
                  <a:gd name="T34" fmla="*/ 26 w 171"/>
                  <a:gd name="T35" fmla="*/ 149 h 189"/>
                  <a:gd name="T36" fmla="*/ 32 w 171"/>
                  <a:gd name="T37" fmla="*/ 161 h 189"/>
                  <a:gd name="T38" fmla="*/ 36 w 171"/>
                  <a:gd name="T39" fmla="*/ 175 h 189"/>
                  <a:gd name="T40" fmla="*/ 38 w 171"/>
                  <a:gd name="T41" fmla="*/ 189 h 189"/>
                  <a:gd name="T42" fmla="*/ 135 w 171"/>
                  <a:gd name="T43" fmla="*/ 189 h 189"/>
                  <a:gd name="T44" fmla="*/ 135 w 171"/>
                  <a:gd name="T45" fmla="*/ 189 h 189"/>
                  <a:gd name="T46" fmla="*/ 137 w 171"/>
                  <a:gd name="T47" fmla="*/ 174 h 189"/>
                  <a:gd name="T48" fmla="*/ 141 w 171"/>
                  <a:gd name="T49" fmla="*/ 161 h 189"/>
                  <a:gd name="T50" fmla="*/ 147 w 171"/>
                  <a:gd name="T51" fmla="*/ 148 h 189"/>
                  <a:gd name="T52" fmla="*/ 154 w 171"/>
                  <a:gd name="T53" fmla="*/ 136 h 189"/>
                  <a:gd name="T54" fmla="*/ 160 w 171"/>
                  <a:gd name="T55" fmla="*/ 125 h 189"/>
                  <a:gd name="T56" fmla="*/ 167 w 171"/>
                  <a:gd name="T57" fmla="*/ 112 h 189"/>
                  <a:gd name="T58" fmla="*/ 170 w 171"/>
                  <a:gd name="T59" fmla="*/ 99 h 189"/>
                  <a:gd name="T60" fmla="*/ 171 w 171"/>
                  <a:gd name="T61" fmla="*/ 84 h 189"/>
                  <a:gd name="T62" fmla="*/ 171 w 171"/>
                  <a:gd name="T63" fmla="*/ 84 h 189"/>
                  <a:gd name="T64" fmla="*/ 171 w 171"/>
                  <a:gd name="T65" fmla="*/ 76 h 189"/>
                  <a:gd name="T66" fmla="*/ 170 w 171"/>
                  <a:gd name="T67" fmla="*/ 67 h 189"/>
                  <a:gd name="T68" fmla="*/ 166 w 171"/>
                  <a:gd name="T69" fmla="*/ 51 h 189"/>
                  <a:gd name="T70" fmla="*/ 157 w 171"/>
                  <a:gd name="T71" fmla="*/ 37 h 189"/>
                  <a:gd name="T72" fmla="*/ 147 w 171"/>
                  <a:gd name="T73" fmla="*/ 24 h 189"/>
                  <a:gd name="T74" fmla="*/ 134 w 171"/>
                  <a:gd name="T75" fmla="*/ 14 h 189"/>
                  <a:gd name="T76" fmla="*/ 120 w 171"/>
                  <a:gd name="T77" fmla="*/ 5 h 189"/>
                  <a:gd name="T78" fmla="*/ 104 w 171"/>
                  <a:gd name="T79" fmla="*/ 1 h 189"/>
                  <a:gd name="T80" fmla="*/ 86 w 171"/>
                  <a:gd name="T81" fmla="*/ 0 h 189"/>
                  <a:gd name="T82" fmla="*/ 86 w 171"/>
                  <a:gd name="T83" fmla="*/ 0 h 189"/>
                  <a:gd name="T84" fmla="*/ 108 w 171"/>
                  <a:gd name="T85" fmla="*/ 116 h 189"/>
                  <a:gd name="T86" fmla="*/ 86 w 171"/>
                  <a:gd name="T87" fmla="*/ 103 h 189"/>
                  <a:gd name="T88" fmla="*/ 63 w 171"/>
                  <a:gd name="T89" fmla="*/ 116 h 189"/>
                  <a:gd name="T90" fmla="*/ 69 w 171"/>
                  <a:gd name="T91" fmla="*/ 92 h 189"/>
                  <a:gd name="T92" fmla="*/ 51 w 171"/>
                  <a:gd name="T93" fmla="*/ 74 h 189"/>
                  <a:gd name="T94" fmla="*/ 75 w 171"/>
                  <a:gd name="T95" fmla="*/ 72 h 189"/>
                  <a:gd name="T96" fmla="*/ 86 w 171"/>
                  <a:gd name="T97" fmla="*/ 49 h 189"/>
                  <a:gd name="T98" fmla="*/ 97 w 171"/>
                  <a:gd name="T99" fmla="*/ 72 h 189"/>
                  <a:gd name="T100" fmla="*/ 121 w 171"/>
                  <a:gd name="T101" fmla="*/ 74 h 189"/>
                  <a:gd name="T102" fmla="*/ 102 w 171"/>
                  <a:gd name="T103" fmla="*/ 92 h 189"/>
                  <a:gd name="T104" fmla="*/ 108 w 171"/>
                  <a:gd name="T105" fmla="*/ 116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1" h="189">
                    <a:moveTo>
                      <a:pt x="86" y="0"/>
                    </a:moveTo>
                    <a:lnTo>
                      <a:pt x="86" y="0"/>
                    </a:lnTo>
                    <a:lnTo>
                      <a:pt x="69" y="1"/>
                    </a:lnTo>
                    <a:lnTo>
                      <a:pt x="52" y="5"/>
                    </a:lnTo>
                    <a:lnTo>
                      <a:pt x="38" y="14"/>
                    </a:lnTo>
                    <a:lnTo>
                      <a:pt x="25" y="24"/>
                    </a:lnTo>
                    <a:lnTo>
                      <a:pt x="15" y="37"/>
                    </a:lnTo>
                    <a:lnTo>
                      <a:pt x="7" y="51"/>
                    </a:lnTo>
                    <a:lnTo>
                      <a:pt x="5" y="59"/>
                    </a:lnTo>
                    <a:lnTo>
                      <a:pt x="2" y="67"/>
                    </a:lnTo>
                    <a:lnTo>
                      <a:pt x="0" y="76"/>
                    </a:lnTo>
                    <a:lnTo>
                      <a:pt x="0" y="84"/>
                    </a:lnTo>
                    <a:lnTo>
                      <a:pt x="0" y="84"/>
                    </a:lnTo>
                    <a:lnTo>
                      <a:pt x="2" y="99"/>
                    </a:lnTo>
                    <a:lnTo>
                      <a:pt x="6" y="113"/>
                    </a:lnTo>
                    <a:lnTo>
                      <a:pt x="12" y="125"/>
                    </a:lnTo>
                    <a:lnTo>
                      <a:pt x="19" y="138"/>
                    </a:lnTo>
                    <a:lnTo>
                      <a:pt x="26" y="149"/>
                    </a:lnTo>
                    <a:lnTo>
                      <a:pt x="32" y="161"/>
                    </a:lnTo>
                    <a:lnTo>
                      <a:pt x="36" y="175"/>
                    </a:lnTo>
                    <a:lnTo>
                      <a:pt x="38" y="189"/>
                    </a:lnTo>
                    <a:lnTo>
                      <a:pt x="135" y="189"/>
                    </a:lnTo>
                    <a:lnTo>
                      <a:pt x="135" y="189"/>
                    </a:lnTo>
                    <a:lnTo>
                      <a:pt x="137" y="174"/>
                    </a:lnTo>
                    <a:lnTo>
                      <a:pt x="141" y="161"/>
                    </a:lnTo>
                    <a:lnTo>
                      <a:pt x="147" y="148"/>
                    </a:lnTo>
                    <a:lnTo>
                      <a:pt x="154" y="136"/>
                    </a:lnTo>
                    <a:lnTo>
                      <a:pt x="160" y="125"/>
                    </a:lnTo>
                    <a:lnTo>
                      <a:pt x="167" y="112"/>
                    </a:lnTo>
                    <a:lnTo>
                      <a:pt x="170" y="99"/>
                    </a:lnTo>
                    <a:lnTo>
                      <a:pt x="171" y="84"/>
                    </a:lnTo>
                    <a:lnTo>
                      <a:pt x="171" y="84"/>
                    </a:lnTo>
                    <a:lnTo>
                      <a:pt x="171" y="76"/>
                    </a:lnTo>
                    <a:lnTo>
                      <a:pt x="170" y="67"/>
                    </a:lnTo>
                    <a:lnTo>
                      <a:pt x="166" y="51"/>
                    </a:lnTo>
                    <a:lnTo>
                      <a:pt x="157" y="37"/>
                    </a:lnTo>
                    <a:lnTo>
                      <a:pt x="147" y="24"/>
                    </a:lnTo>
                    <a:lnTo>
                      <a:pt x="134" y="14"/>
                    </a:lnTo>
                    <a:lnTo>
                      <a:pt x="120" y="5"/>
                    </a:lnTo>
                    <a:lnTo>
                      <a:pt x="104" y="1"/>
                    </a:lnTo>
                    <a:lnTo>
                      <a:pt x="86" y="0"/>
                    </a:lnTo>
                    <a:lnTo>
                      <a:pt x="86" y="0"/>
                    </a:lnTo>
                    <a:close/>
                    <a:moveTo>
                      <a:pt x="108" y="116"/>
                    </a:moveTo>
                    <a:lnTo>
                      <a:pt x="86" y="103"/>
                    </a:lnTo>
                    <a:lnTo>
                      <a:pt x="63" y="116"/>
                    </a:lnTo>
                    <a:lnTo>
                      <a:pt x="69" y="92"/>
                    </a:lnTo>
                    <a:lnTo>
                      <a:pt x="51" y="74"/>
                    </a:lnTo>
                    <a:lnTo>
                      <a:pt x="75" y="72"/>
                    </a:lnTo>
                    <a:lnTo>
                      <a:pt x="86" y="49"/>
                    </a:lnTo>
                    <a:lnTo>
                      <a:pt x="97" y="72"/>
                    </a:lnTo>
                    <a:lnTo>
                      <a:pt x="121" y="74"/>
                    </a:lnTo>
                    <a:lnTo>
                      <a:pt x="102" y="92"/>
                    </a:lnTo>
                    <a:lnTo>
                      <a:pt x="108" y="1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31" name="Freeform 217">
                <a:extLst>
                  <a:ext uri="{FF2B5EF4-FFF2-40B4-BE49-F238E27FC236}">
                    <a16:creationId xmlns:a16="http://schemas.microsoft.com/office/drawing/2014/main" id="{9A938E58-C765-4ABC-9062-F9EB1E0F6BB6}"/>
                  </a:ext>
                </a:extLst>
              </p:cNvPr>
              <p:cNvSpPr>
                <a:spLocks/>
              </p:cNvSpPr>
              <p:nvPr/>
            </p:nvSpPr>
            <p:spPr bwMode="auto">
              <a:xfrm>
                <a:off x="7491288" y="4372594"/>
                <a:ext cx="152400" cy="22225"/>
              </a:xfrm>
              <a:custGeom>
                <a:avLst/>
                <a:gdLst>
                  <a:gd name="T0" fmla="*/ 7 w 96"/>
                  <a:gd name="T1" fmla="*/ 14 h 14"/>
                  <a:gd name="T2" fmla="*/ 89 w 96"/>
                  <a:gd name="T3" fmla="*/ 14 h 14"/>
                  <a:gd name="T4" fmla="*/ 89 w 96"/>
                  <a:gd name="T5" fmla="*/ 14 h 14"/>
                  <a:gd name="T6" fmla="*/ 92 w 96"/>
                  <a:gd name="T7" fmla="*/ 13 h 14"/>
                  <a:gd name="T8" fmla="*/ 94 w 96"/>
                  <a:gd name="T9" fmla="*/ 11 h 14"/>
                  <a:gd name="T10" fmla="*/ 96 w 96"/>
                  <a:gd name="T11" fmla="*/ 10 h 14"/>
                  <a:gd name="T12" fmla="*/ 96 w 96"/>
                  <a:gd name="T13" fmla="*/ 7 h 14"/>
                  <a:gd name="T14" fmla="*/ 96 w 96"/>
                  <a:gd name="T15" fmla="*/ 7 h 14"/>
                  <a:gd name="T16" fmla="*/ 96 w 96"/>
                  <a:gd name="T17" fmla="*/ 4 h 14"/>
                  <a:gd name="T18" fmla="*/ 94 w 96"/>
                  <a:gd name="T19" fmla="*/ 1 h 14"/>
                  <a:gd name="T20" fmla="*/ 92 w 96"/>
                  <a:gd name="T21" fmla="*/ 0 h 14"/>
                  <a:gd name="T22" fmla="*/ 89 w 96"/>
                  <a:gd name="T23" fmla="*/ 0 h 14"/>
                  <a:gd name="T24" fmla="*/ 7 w 96"/>
                  <a:gd name="T25" fmla="*/ 0 h 14"/>
                  <a:gd name="T26" fmla="*/ 7 w 96"/>
                  <a:gd name="T27" fmla="*/ 0 h 14"/>
                  <a:gd name="T28" fmla="*/ 4 w 96"/>
                  <a:gd name="T29" fmla="*/ 0 h 14"/>
                  <a:gd name="T30" fmla="*/ 1 w 96"/>
                  <a:gd name="T31" fmla="*/ 1 h 14"/>
                  <a:gd name="T32" fmla="*/ 0 w 96"/>
                  <a:gd name="T33" fmla="*/ 4 h 14"/>
                  <a:gd name="T34" fmla="*/ 0 w 96"/>
                  <a:gd name="T35" fmla="*/ 7 h 14"/>
                  <a:gd name="T36" fmla="*/ 0 w 96"/>
                  <a:gd name="T37" fmla="*/ 7 h 14"/>
                  <a:gd name="T38" fmla="*/ 0 w 96"/>
                  <a:gd name="T39" fmla="*/ 10 h 14"/>
                  <a:gd name="T40" fmla="*/ 1 w 96"/>
                  <a:gd name="T41" fmla="*/ 11 h 14"/>
                  <a:gd name="T42" fmla="*/ 4 w 96"/>
                  <a:gd name="T43" fmla="*/ 13 h 14"/>
                  <a:gd name="T44" fmla="*/ 7 w 96"/>
                  <a:gd name="T45" fmla="*/ 14 h 14"/>
                  <a:gd name="T46" fmla="*/ 7 w 96"/>
                  <a:gd name="T4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96" h="14">
                    <a:moveTo>
                      <a:pt x="7" y="14"/>
                    </a:moveTo>
                    <a:lnTo>
                      <a:pt x="89" y="14"/>
                    </a:lnTo>
                    <a:lnTo>
                      <a:pt x="89" y="14"/>
                    </a:lnTo>
                    <a:lnTo>
                      <a:pt x="92" y="13"/>
                    </a:lnTo>
                    <a:lnTo>
                      <a:pt x="94" y="11"/>
                    </a:lnTo>
                    <a:lnTo>
                      <a:pt x="96" y="10"/>
                    </a:lnTo>
                    <a:lnTo>
                      <a:pt x="96" y="7"/>
                    </a:lnTo>
                    <a:lnTo>
                      <a:pt x="96" y="7"/>
                    </a:lnTo>
                    <a:lnTo>
                      <a:pt x="96" y="4"/>
                    </a:lnTo>
                    <a:lnTo>
                      <a:pt x="94" y="1"/>
                    </a:lnTo>
                    <a:lnTo>
                      <a:pt x="92" y="0"/>
                    </a:lnTo>
                    <a:lnTo>
                      <a:pt x="89" y="0"/>
                    </a:lnTo>
                    <a:lnTo>
                      <a:pt x="7" y="0"/>
                    </a:lnTo>
                    <a:lnTo>
                      <a:pt x="7" y="0"/>
                    </a:lnTo>
                    <a:lnTo>
                      <a:pt x="4" y="0"/>
                    </a:lnTo>
                    <a:lnTo>
                      <a:pt x="1" y="1"/>
                    </a:lnTo>
                    <a:lnTo>
                      <a:pt x="0" y="4"/>
                    </a:lnTo>
                    <a:lnTo>
                      <a:pt x="0" y="7"/>
                    </a:lnTo>
                    <a:lnTo>
                      <a:pt x="0" y="7"/>
                    </a:lnTo>
                    <a:lnTo>
                      <a:pt x="0" y="10"/>
                    </a:lnTo>
                    <a:lnTo>
                      <a:pt x="1" y="11"/>
                    </a:lnTo>
                    <a:lnTo>
                      <a:pt x="4" y="13"/>
                    </a:lnTo>
                    <a:lnTo>
                      <a:pt x="7" y="14"/>
                    </a:lnTo>
                    <a:lnTo>
                      <a:pt x="7" y="1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32" name="Group 1431">
            <a:extLst>
              <a:ext uri="{FF2B5EF4-FFF2-40B4-BE49-F238E27FC236}">
                <a16:creationId xmlns:a16="http://schemas.microsoft.com/office/drawing/2014/main" id="{24C11976-16F3-46B2-B02C-2ED09BAE46C8}"/>
              </a:ext>
            </a:extLst>
          </p:cNvPr>
          <p:cNvGrpSpPr/>
          <p:nvPr/>
        </p:nvGrpSpPr>
        <p:grpSpPr>
          <a:xfrm>
            <a:off x="4659992" y="5492984"/>
            <a:ext cx="612775" cy="612775"/>
            <a:chOff x="3505363" y="6131327"/>
            <a:chExt cx="612775" cy="612775"/>
          </a:xfrm>
        </p:grpSpPr>
        <p:sp>
          <p:nvSpPr>
            <p:cNvPr id="1433" name="Oval 1432">
              <a:extLst>
                <a:ext uri="{FF2B5EF4-FFF2-40B4-BE49-F238E27FC236}">
                  <a16:creationId xmlns:a16="http://schemas.microsoft.com/office/drawing/2014/main" id="{5EF0CEB1-B297-4D8C-AB10-07D8DEDBEA41}"/>
                </a:ext>
              </a:extLst>
            </p:cNvPr>
            <p:cNvSpPr/>
            <p:nvPr/>
          </p:nvSpPr>
          <p:spPr bwMode="ltGray">
            <a:xfrm>
              <a:off x="3505363" y="6131327"/>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34" name="Group 1433">
              <a:extLst>
                <a:ext uri="{FF2B5EF4-FFF2-40B4-BE49-F238E27FC236}">
                  <a16:creationId xmlns:a16="http://schemas.microsoft.com/office/drawing/2014/main" id="{4601EF54-2E59-49EF-9785-6F007FB98B78}"/>
                </a:ext>
              </a:extLst>
            </p:cNvPr>
            <p:cNvGrpSpPr/>
            <p:nvPr/>
          </p:nvGrpSpPr>
          <p:grpSpPr>
            <a:xfrm>
              <a:off x="3647617" y="6191531"/>
              <a:ext cx="327898" cy="493921"/>
              <a:chOff x="3714626" y="3920157"/>
              <a:chExt cx="376238" cy="566737"/>
            </a:xfrm>
          </p:grpSpPr>
          <p:sp>
            <p:nvSpPr>
              <p:cNvPr id="1435" name="Freeform 157">
                <a:extLst>
                  <a:ext uri="{FF2B5EF4-FFF2-40B4-BE49-F238E27FC236}">
                    <a16:creationId xmlns:a16="http://schemas.microsoft.com/office/drawing/2014/main" id="{331BB653-597E-4EF2-B302-7E2F3C8CBDBA}"/>
                  </a:ext>
                </a:extLst>
              </p:cNvPr>
              <p:cNvSpPr>
                <a:spLocks/>
              </p:cNvSpPr>
              <p:nvPr/>
            </p:nvSpPr>
            <p:spPr bwMode="auto">
              <a:xfrm>
                <a:off x="3797176" y="4404344"/>
                <a:ext cx="211138" cy="82550"/>
              </a:xfrm>
              <a:custGeom>
                <a:avLst/>
                <a:gdLst>
                  <a:gd name="T0" fmla="*/ 119 w 133"/>
                  <a:gd name="T1" fmla="*/ 0 h 52"/>
                  <a:gd name="T2" fmla="*/ 14 w 133"/>
                  <a:gd name="T3" fmla="*/ 0 h 52"/>
                  <a:gd name="T4" fmla="*/ 14 w 133"/>
                  <a:gd name="T5" fmla="*/ 0 h 52"/>
                  <a:gd name="T6" fmla="*/ 8 w 133"/>
                  <a:gd name="T7" fmla="*/ 2 h 52"/>
                  <a:gd name="T8" fmla="*/ 4 w 133"/>
                  <a:gd name="T9" fmla="*/ 4 h 52"/>
                  <a:gd name="T10" fmla="*/ 0 w 133"/>
                  <a:gd name="T11" fmla="*/ 9 h 52"/>
                  <a:gd name="T12" fmla="*/ 0 w 133"/>
                  <a:gd name="T13" fmla="*/ 14 h 52"/>
                  <a:gd name="T14" fmla="*/ 0 w 133"/>
                  <a:gd name="T15" fmla="*/ 14 h 52"/>
                  <a:gd name="T16" fmla="*/ 0 w 133"/>
                  <a:gd name="T17" fmla="*/ 20 h 52"/>
                  <a:gd name="T18" fmla="*/ 4 w 133"/>
                  <a:gd name="T19" fmla="*/ 25 h 52"/>
                  <a:gd name="T20" fmla="*/ 8 w 133"/>
                  <a:gd name="T21" fmla="*/ 29 h 52"/>
                  <a:gd name="T22" fmla="*/ 14 w 133"/>
                  <a:gd name="T23" fmla="*/ 29 h 52"/>
                  <a:gd name="T24" fmla="*/ 36 w 133"/>
                  <a:gd name="T25" fmla="*/ 29 h 52"/>
                  <a:gd name="T26" fmla="*/ 36 w 133"/>
                  <a:gd name="T27" fmla="*/ 29 h 52"/>
                  <a:gd name="T28" fmla="*/ 36 w 133"/>
                  <a:gd name="T29" fmla="*/ 30 h 52"/>
                  <a:gd name="T30" fmla="*/ 36 w 133"/>
                  <a:gd name="T31" fmla="*/ 30 h 52"/>
                  <a:gd name="T32" fmla="*/ 37 w 133"/>
                  <a:gd name="T33" fmla="*/ 35 h 52"/>
                  <a:gd name="T34" fmla="*/ 39 w 133"/>
                  <a:gd name="T35" fmla="*/ 39 h 52"/>
                  <a:gd name="T36" fmla="*/ 41 w 133"/>
                  <a:gd name="T37" fmla="*/ 42 h 52"/>
                  <a:gd name="T38" fmla="*/ 44 w 133"/>
                  <a:gd name="T39" fmla="*/ 45 h 52"/>
                  <a:gd name="T40" fmla="*/ 54 w 133"/>
                  <a:gd name="T41" fmla="*/ 50 h 52"/>
                  <a:gd name="T42" fmla="*/ 66 w 133"/>
                  <a:gd name="T43" fmla="*/ 52 h 52"/>
                  <a:gd name="T44" fmla="*/ 66 w 133"/>
                  <a:gd name="T45" fmla="*/ 52 h 52"/>
                  <a:gd name="T46" fmla="*/ 79 w 133"/>
                  <a:gd name="T47" fmla="*/ 50 h 52"/>
                  <a:gd name="T48" fmla="*/ 87 w 133"/>
                  <a:gd name="T49" fmla="*/ 45 h 52"/>
                  <a:gd name="T50" fmla="*/ 92 w 133"/>
                  <a:gd name="T51" fmla="*/ 42 h 52"/>
                  <a:gd name="T52" fmla="*/ 95 w 133"/>
                  <a:gd name="T53" fmla="*/ 39 h 52"/>
                  <a:gd name="T54" fmla="*/ 96 w 133"/>
                  <a:gd name="T55" fmla="*/ 35 h 52"/>
                  <a:gd name="T56" fmla="*/ 97 w 133"/>
                  <a:gd name="T57" fmla="*/ 30 h 52"/>
                  <a:gd name="T58" fmla="*/ 97 w 133"/>
                  <a:gd name="T59" fmla="*/ 30 h 52"/>
                  <a:gd name="T60" fmla="*/ 96 w 133"/>
                  <a:gd name="T61" fmla="*/ 29 h 52"/>
                  <a:gd name="T62" fmla="*/ 119 w 133"/>
                  <a:gd name="T63" fmla="*/ 29 h 52"/>
                  <a:gd name="T64" fmla="*/ 119 w 133"/>
                  <a:gd name="T65" fmla="*/ 29 h 52"/>
                  <a:gd name="T66" fmla="*/ 125 w 133"/>
                  <a:gd name="T67" fmla="*/ 29 h 52"/>
                  <a:gd name="T68" fmla="*/ 129 w 133"/>
                  <a:gd name="T69" fmla="*/ 25 h 52"/>
                  <a:gd name="T70" fmla="*/ 132 w 133"/>
                  <a:gd name="T71" fmla="*/ 20 h 52"/>
                  <a:gd name="T72" fmla="*/ 133 w 133"/>
                  <a:gd name="T73" fmla="*/ 14 h 52"/>
                  <a:gd name="T74" fmla="*/ 133 w 133"/>
                  <a:gd name="T75" fmla="*/ 14 h 52"/>
                  <a:gd name="T76" fmla="*/ 132 w 133"/>
                  <a:gd name="T77" fmla="*/ 9 h 52"/>
                  <a:gd name="T78" fmla="*/ 129 w 133"/>
                  <a:gd name="T79" fmla="*/ 4 h 52"/>
                  <a:gd name="T80" fmla="*/ 125 w 133"/>
                  <a:gd name="T81" fmla="*/ 2 h 52"/>
                  <a:gd name="T82" fmla="*/ 119 w 133"/>
                  <a:gd name="T83" fmla="*/ 0 h 52"/>
                  <a:gd name="T84" fmla="*/ 119 w 133"/>
                  <a:gd name="T85"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3" h="52">
                    <a:moveTo>
                      <a:pt x="119" y="0"/>
                    </a:moveTo>
                    <a:lnTo>
                      <a:pt x="14" y="0"/>
                    </a:lnTo>
                    <a:lnTo>
                      <a:pt x="14" y="0"/>
                    </a:lnTo>
                    <a:lnTo>
                      <a:pt x="8" y="2"/>
                    </a:lnTo>
                    <a:lnTo>
                      <a:pt x="4" y="4"/>
                    </a:lnTo>
                    <a:lnTo>
                      <a:pt x="0" y="9"/>
                    </a:lnTo>
                    <a:lnTo>
                      <a:pt x="0" y="14"/>
                    </a:lnTo>
                    <a:lnTo>
                      <a:pt x="0" y="14"/>
                    </a:lnTo>
                    <a:lnTo>
                      <a:pt x="0" y="20"/>
                    </a:lnTo>
                    <a:lnTo>
                      <a:pt x="4" y="25"/>
                    </a:lnTo>
                    <a:lnTo>
                      <a:pt x="8" y="29"/>
                    </a:lnTo>
                    <a:lnTo>
                      <a:pt x="14" y="29"/>
                    </a:lnTo>
                    <a:lnTo>
                      <a:pt x="36" y="29"/>
                    </a:lnTo>
                    <a:lnTo>
                      <a:pt x="36" y="29"/>
                    </a:lnTo>
                    <a:lnTo>
                      <a:pt x="36" y="30"/>
                    </a:lnTo>
                    <a:lnTo>
                      <a:pt x="36" y="30"/>
                    </a:lnTo>
                    <a:lnTo>
                      <a:pt x="37" y="35"/>
                    </a:lnTo>
                    <a:lnTo>
                      <a:pt x="39" y="39"/>
                    </a:lnTo>
                    <a:lnTo>
                      <a:pt x="41" y="42"/>
                    </a:lnTo>
                    <a:lnTo>
                      <a:pt x="44" y="45"/>
                    </a:lnTo>
                    <a:lnTo>
                      <a:pt x="54" y="50"/>
                    </a:lnTo>
                    <a:lnTo>
                      <a:pt x="66" y="52"/>
                    </a:lnTo>
                    <a:lnTo>
                      <a:pt x="66" y="52"/>
                    </a:lnTo>
                    <a:lnTo>
                      <a:pt x="79" y="50"/>
                    </a:lnTo>
                    <a:lnTo>
                      <a:pt x="87" y="45"/>
                    </a:lnTo>
                    <a:lnTo>
                      <a:pt x="92" y="42"/>
                    </a:lnTo>
                    <a:lnTo>
                      <a:pt x="95" y="39"/>
                    </a:lnTo>
                    <a:lnTo>
                      <a:pt x="96" y="35"/>
                    </a:lnTo>
                    <a:lnTo>
                      <a:pt x="97" y="30"/>
                    </a:lnTo>
                    <a:lnTo>
                      <a:pt x="97" y="30"/>
                    </a:lnTo>
                    <a:lnTo>
                      <a:pt x="96" y="29"/>
                    </a:lnTo>
                    <a:lnTo>
                      <a:pt x="119" y="29"/>
                    </a:lnTo>
                    <a:lnTo>
                      <a:pt x="119" y="29"/>
                    </a:lnTo>
                    <a:lnTo>
                      <a:pt x="125" y="29"/>
                    </a:lnTo>
                    <a:lnTo>
                      <a:pt x="129" y="25"/>
                    </a:lnTo>
                    <a:lnTo>
                      <a:pt x="132" y="20"/>
                    </a:lnTo>
                    <a:lnTo>
                      <a:pt x="133" y="14"/>
                    </a:lnTo>
                    <a:lnTo>
                      <a:pt x="133" y="14"/>
                    </a:lnTo>
                    <a:lnTo>
                      <a:pt x="132" y="9"/>
                    </a:lnTo>
                    <a:lnTo>
                      <a:pt x="129" y="4"/>
                    </a:lnTo>
                    <a:lnTo>
                      <a:pt x="125" y="2"/>
                    </a:lnTo>
                    <a:lnTo>
                      <a:pt x="119" y="0"/>
                    </a:lnTo>
                    <a:lnTo>
                      <a:pt x="119"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36" name="Freeform 158">
                <a:extLst>
                  <a:ext uri="{FF2B5EF4-FFF2-40B4-BE49-F238E27FC236}">
                    <a16:creationId xmlns:a16="http://schemas.microsoft.com/office/drawing/2014/main" id="{7875B481-3965-4C3F-9A93-C5B464E30F70}"/>
                  </a:ext>
                </a:extLst>
              </p:cNvPr>
              <p:cNvSpPr>
                <a:spLocks noEditPoints="1"/>
              </p:cNvSpPr>
              <p:nvPr/>
            </p:nvSpPr>
            <p:spPr bwMode="auto">
              <a:xfrm>
                <a:off x="3714626" y="3920157"/>
                <a:ext cx="376238" cy="415925"/>
              </a:xfrm>
              <a:custGeom>
                <a:avLst/>
                <a:gdLst>
                  <a:gd name="T0" fmla="*/ 237 w 237"/>
                  <a:gd name="T1" fmla="*/ 107 h 262"/>
                  <a:gd name="T2" fmla="*/ 229 w 237"/>
                  <a:gd name="T3" fmla="*/ 72 h 262"/>
                  <a:gd name="T4" fmla="*/ 210 w 237"/>
                  <a:gd name="T5" fmla="*/ 42 h 262"/>
                  <a:gd name="T6" fmla="*/ 185 w 237"/>
                  <a:gd name="T7" fmla="*/ 19 h 262"/>
                  <a:gd name="T8" fmla="*/ 154 w 237"/>
                  <a:gd name="T9" fmla="*/ 5 h 262"/>
                  <a:gd name="T10" fmla="*/ 118 w 237"/>
                  <a:gd name="T11" fmla="*/ 0 h 262"/>
                  <a:gd name="T12" fmla="*/ 95 w 237"/>
                  <a:gd name="T13" fmla="*/ 2 h 262"/>
                  <a:gd name="T14" fmla="*/ 62 w 237"/>
                  <a:gd name="T15" fmla="*/ 13 h 262"/>
                  <a:gd name="T16" fmla="*/ 35 w 237"/>
                  <a:gd name="T17" fmla="*/ 33 h 262"/>
                  <a:gd name="T18" fmla="*/ 14 w 237"/>
                  <a:gd name="T19" fmla="*/ 61 h 262"/>
                  <a:gd name="T20" fmla="*/ 1 w 237"/>
                  <a:gd name="T21" fmla="*/ 94 h 262"/>
                  <a:gd name="T22" fmla="*/ 0 w 237"/>
                  <a:gd name="T23" fmla="*/ 118 h 262"/>
                  <a:gd name="T24" fmla="*/ 4 w 237"/>
                  <a:gd name="T25" fmla="*/ 148 h 262"/>
                  <a:gd name="T26" fmla="*/ 26 w 237"/>
                  <a:gd name="T27" fmla="*/ 190 h 262"/>
                  <a:gd name="T28" fmla="*/ 47 w 237"/>
                  <a:gd name="T29" fmla="*/ 233 h 262"/>
                  <a:gd name="T30" fmla="*/ 52 w 237"/>
                  <a:gd name="T31" fmla="*/ 262 h 262"/>
                  <a:gd name="T32" fmla="*/ 188 w 237"/>
                  <a:gd name="T33" fmla="*/ 252 h 262"/>
                  <a:gd name="T34" fmla="*/ 195 w 237"/>
                  <a:gd name="T35" fmla="*/ 223 h 262"/>
                  <a:gd name="T36" fmla="*/ 221 w 237"/>
                  <a:gd name="T37" fmla="*/ 173 h 262"/>
                  <a:gd name="T38" fmla="*/ 237 w 237"/>
                  <a:gd name="T39" fmla="*/ 130 h 262"/>
                  <a:gd name="T40" fmla="*/ 118 w 237"/>
                  <a:gd name="T41" fmla="*/ 29 h 262"/>
                  <a:gd name="T42" fmla="*/ 128 w 237"/>
                  <a:gd name="T43" fmla="*/ 31 h 262"/>
                  <a:gd name="T44" fmla="*/ 138 w 237"/>
                  <a:gd name="T45" fmla="*/ 39 h 262"/>
                  <a:gd name="T46" fmla="*/ 142 w 237"/>
                  <a:gd name="T47" fmla="*/ 52 h 262"/>
                  <a:gd name="T48" fmla="*/ 141 w 237"/>
                  <a:gd name="T49" fmla="*/ 62 h 262"/>
                  <a:gd name="T50" fmla="*/ 131 w 237"/>
                  <a:gd name="T51" fmla="*/ 72 h 262"/>
                  <a:gd name="T52" fmla="*/ 118 w 237"/>
                  <a:gd name="T53" fmla="*/ 77 h 262"/>
                  <a:gd name="T54" fmla="*/ 109 w 237"/>
                  <a:gd name="T55" fmla="*/ 75 h 262"/>
                  <a:gd name="T56" fmla="*/ 98 w 237"/>
                  <a:gd name="T57" fmla="*/ 67 h 262"/>
                  <a:gd name="T58" fmla="*/ 93 w 237"/>
                  <a:gd name="T59" fmla="*/ 52 h 262"/>
                  <a:gd name="T60" fmla="*/ 96 w 237"/>
                  <a:gd name="T61" fmla="*/ 44 h 262"/>
                  <a:gd name="T62" fmla="*/ 105 w 237"/>
                  <a:gd name="T63" fmla="*/ 32 h 262"/>
                  <a:gd name="T64" fmla="*/ 118 w 237"/>
                  <a:gd name="T65" fmla="*/ 29 h 262"/>
                  <a:gd name="T66" fmla="*/ 165 w 237"/>
                  <a:gd name="T67" fmla="*/ 148 h 262"/>
                  <a:gd name="T68" fmla="*/ 154 w 237"/>
                  <a:gd name="T69" fmla="*/ 167 h 262"/>
                  <a:gd name="T70" fmla="*/ 145 w 237"/>
                  <a:gd name="T71" fmla="*/ 169 h 262"/>
                  <a:gd name="T72" fmla="*/ 147 w 237"/>
                  <a:gd name="T73" fmla="*/ 243 h 262"/>
                  <a:gd name="T74" fmla="*/ 138 w 237"/>
                  <a:gd name="T75" fmla="*/ 256 h 262"/>
                  <a:gd name="T76" fmla="*/ 126 w 237"/>
                  <a:gd name="T77" fmla="*/ 256 h 262"/>
                  <a:gd name="T78" fmla="*/ 118 w 237"/>
                  <a:gd name="T79" fmla="*/ 243 h 262"/>
                  <a:gd name="T80" fmla="*/ 114 w 237"/>
                  <a:gd name="T81" fmla="*/ 253 h 262"/>
                  <a:gd name="T82" fmla="*/ 105 w 237"/>
                  <a:gd name="T83" fmla="*/ 258 h 262"/>
                  <a:gd name="T84" fmla="*/ 92 w 237"/>
                  <a:gd name="T85" fmla="*/ 249 h 262"/>
                  <a:gd name="T86" fmla="*/ 91 w 237"/>
                  <a:gd name="T87" fmla="*/ 174 h 262"/>
                  <a:gd name="T88" fmla="*/ 91 w 237"/>
                  <a:gd name="T89" fmla="*/ 169 h 262"/>
                  <a:gd name="T90" fmla="*/ 73 w 237"/>
                  <a:gd name="T91" fmla="*/ 157 h 262"/>
                  <a:gd name="T92" fmla="*/ 72 w 237"/>
                  <a:gd name="T93" fmla="*/ 105 h 262"/>
                  <a:gd name="T94" fmla="*/ 83 w 237"/>
                  <a:gd name="T95" fmla="*/ 88 h 262"/>
                  <a:gd name="T96" fmla="*/ 118 w 237"/>
                  <a:gd name="T97" fmla="*/ 107 h 262"/>
                  <a:gd name="T98" fmla="*/ 145 w 237"/>
                  <a:gd name="T99" fmla="*/ 87 h 262"/>
                  <a:gd name="T100" fmla="*/ 164 w 237"/>
                  <a:gd name="T101" fmla="*/ 98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7" h="262">
                    <a:moveTo>
                      <a:pt x="237" y="118"/>
                    </a:moveTo>
                    <a:lnTo>
                      <a:pt x="237" y="118"/>
                    </a:lnTo>
                    <a:lnTo>
                      <a:pt x="237" y="107"/>
                    </a:lnTo>
                    <a:lnTo>
                      <a:pt x="234" y="94"/>
                    </a:lnTo>
                    <a:lnTo>
                      <a:pt x="231" y="82"/>
                    </a:lnTo>
                    <a:lnTo>
                      <a:pt x="229" y="72"/>
                    </a:lnTo>
                    <a:lnTo>
                      <a:pt x="223" y="61"/>
                    </a:lnTo>
                    <a:lnTo>
                      <a:pt x="217" y="52"/>
                    </a:lnTo>
                    <a:lnTo>
                      <a:pt x="210" y="42"/>
                    </a:lnTo>
                    <a:lnTo>
                      <a:pt x="203" y="33"/>
                    </a:lnTo>
                    <a:lnTo>
                      <a:pt x="194" y="26"/>
                    </a:lnTo>
                    <a:lnTo>
                      <a:pt x="185" y="19"/>
                    </a:lnTo>
                    <a:lnTo>
                      <a:pt x="175" y="13"/>
                    </a:lnTo>
                    <a:lnTo>
                      <a:pt x="165" y="9"/>
                    </a:lnTo>
                    <a:lnTo>
                      <a:pt x="154" y="5"/>
                    </a:lnTo>
                    <a:lnTo>
                      <a:pt x="142" y="2"/>
                    </a:lnTo>
                    <a:lnTo>
                      <a:pt x="131" y="0"/>
                    </a:lnTo>
                    <a:lnTo>
                      <a:pt x="118" y="0"/>
                    </a:lnTo>
                    <a:lnTo>
                      <a:pt x="118" y="0"/>
                    </a:lnTo>
                    <a:lnTo>
                      <a:pt x="106" y="0"/>
                    </a:lnTo>
                    <a:lnTo>
                      <a:pt x="95" y="2"/>
                    </a:lnTo>
                    <a:lnTo>
                      <a:pt x="83" y="5"/>
                    </a:lnTo>
                    <a:lnTo>
                      <a:pt x="72" y="9"/>
                    </a:lnTo>
                    <a:lnTo>
                      <a:pt x="62" y="13"/>
                    </a:lnTo>
                    <a:lnTo>
                      <a:pt x="52" y="19"/>
                    </a:lnTo>
                    <a:lnTo>
                      <a:pt x="43" y="26"/>
                    </a:lnTo>
                    <a:lnTo>
                      <a:pt x="35" y="33"/>
                    </a:lnTo>
                    <a:lnTo>
                      <a:pt x="26" y="42"/>
                    </a:lnTo>
                    <a:lnTo>
                      <a:pt x="20" y="52"/>
                    </a:lnTo>
                    <a:lnTo>
                      <a:pt x="14" y="61"/>
                    </a:lnTo>
                    <a:lnTo>
                      <a:pt x="9" y="72"/>
                    </a:lnTo>
                    <a:lnTo>
                      <a:pt x="4" y="82"/>
                    </a:lnTo>
                    <a:lnTo>
                      <a:pt x="1" y="94"/>
                    </a:lnTo>
                    <a:lnTo>
                      <a:pt x="0" y="107"/>
                    </a:lnTo>
                    <a:lnTo>
                      <a:pt x="0" y="118"/>
                    </a:lnTo>
                    <a:lnTo>
                      <a:pt x="0" y="118"/>
                    </a:lnTo>
                    <a:lnTo>
                      <a:pt x="0" y="130"/>
                    </a:lnTo>
                    <a:lnTo>
                      <a:pt x="1" y="138"/>
                    </a:lnTo>
                    <a:lnTo>
                      <a:pt x="4" y="148"/>
                    </a:lnTo>
                    <a:lnTo>
                      <a:pt x="7" y="157"/>
                    </a:lnTo>
                    <a:lnTo>
                      <a:pt x="16" y="174"/>
                    </a:lnTo>
                    <a:lnTo>
                      <a:pt x="26" y="190"/>
                    </a:lnTo>
                    <a:lnTo>
                      <a:pt x="35" y="207"/>
                    </a:lnTo>
                    <a:lnTo>
                      <a:pt x="43" y="225"/>
                    </a:lnTo>
                    <a:lnTo>
                      <a:pt x="47" y="233"/>
                    </a:lnTo>
                    <a:lnTo>
                      <a:pt x="49" y="242"/>
                    </a:lnTo>
                    <a:lnTo>
                      <a:pt x="52" y="252"/>
                    </a:lnTo>
                    <a:lnTo>
                      <a:pt x="52" y="262"/>
                    </a:lnTo>
                    <a:lnTo>
                      <a:pt x="187" y="262"/>
                    </a:lnTo>
                    <a:lnTo>
                      <a:pt x="187" y="262"/>
                    </a:lnTo>
                    <a:lnTo>
                      <a:pt x="188" y="252"/>
                    </a:lnTo>
                    <a:lnTo>
                      <a:pt x="190" y="242"/>
                    </a:lnTo>
                    <a:lnTo>
                      <a:pt x="193" y="233"/>
                    </a:lnTo>
                    <a:lnTo>
                      <a:pt x="195" y="223"/>
                    </a:lnTo>
                    <a:lnTo>
                      <a:pt x="203" y="206"/>
                    </a:lnTo>
                    <a:lnTo>
                      <a:pt x="213" y="190"/>
                    </a:lnTo>
                    <a:lnTo>
                      <a:pt x="221" y="173"/>
                    </a:lnTo>
                    <a:lnTo>
                      <a:pt x="230" y="157"/>
                    </a:lnTo>
                    <a:lnTo>
                      <a:pt x="236" y="138"/>
                    </a:lnTo>
                    <a:lnTo>
                      <a:pt x="237" y="130"/>
                    </a:lnTo>
                    <a:lnTo>
                      <a:pt x="237" y="118"/>
                    </a:lnTo>
                    <a:lnTo>
                      <a:pt x="237" y="118"/>
                    </a:lnTo>
                    <a:close/>
                    <a:moveTo>
                      <a:pt x="118" y="29"/>
                    </a:moveTo>
                    <a:lnTo>
                      <a:pt x="118" y="29"/>
                    </a:lnTo>
                    <a:lnTo>
                      <a:pt x="122" y="29"/>
                    </a:lnTo>
                    <a:lnTo>
                      <a:pt x="128" y="31"/>
                    </a:lnTo>
                    <a:lnTo>
                      <a:pt x="131" y="32"/>
                    </a:lnTo>
                    <a:lnTo>
                      <a:pt x="135" y="35"/>
                    </a:lnTo>
                    <a:lnTo>
                      <a:pt x="138" y="39"/>
                    </a:lnTo>
                    <a:lnTo>
                      <a:pt x="141" y="44"/>
                    </a:lnTo>
                    <a:lnTo>
                      <a:pt x="142" y="48"/>
                    </a:lnTo>
                    <a:lnTo>
                      <a:pt x="142" y="52"/>
                    </a:lnTo>
                    <a:lnTo>
                      <a:pt x="142" y="52"/>
                    </a:lnTo>
                    <a:lnTo>
                      <a:pt x="142" y="58"/>
                    </a:lnTo>
                    <a:lnTo>
                      <a:pt x="141" y="62"/>
                    </a:lnTo>
                    <a:lnTo>
                      <a:pt x="138" y="67"/>
                    </a:lnTo>
                    <a:lnTo>
                      <a:pt x="135" y="69"/>
                    </a:lnTo>
                    <a:lnTo>
                      <a:pt x="131" y="72"/>
                    </a:lnTo>
                    <a:lnTo>
                      <a:pt x="128" y="75"/>
                    </a:lnTo>
                    <a:lnTo>
                      <a:pt x="122" y="77"/>
                    </a:lnTo>
                    <a:lnTo>
                      <a:pt x="118" y="77"/>
                    </a:lnTo>
                    <a:lnTo>
                      <a:pt x="118" y="77"/>
                    </a:lnTo>
                    <a:lnTo>
                      <a:pt x="114" y="77"/>
                    </a:lnTo>
                    <a:lnTo>
                      <a:pt x="109" y="75"/>
                    </a:lnTo>
                    <a:lnTo>
                      <a:pt x="105" y="72"/>
                    </a:lnTo>
                    <a:lnTo>
                      <a:pt x="101" y="69"/>
                    </a:lnTo>
                    <a:lnTo>
                      <a:pt x="98" y="67"/>
                    </a:lnTo>
                    <a:lnTo>
                      <a:pt x="96" y="62"/>
                    </a:lnTo>
                    <a:lnTo>
                      <a:pt x="95" y="58"/>
                    </a:lnTo>
                    <a:lnTo>
                      <a:pt x="93" y="52"/>
                    </a:lnTo>
                    <a:lnTo>
                      <a:pt x="93" y="52"/>
                    </a:lnTo>
                    <a:lnTo>
                      <a:pt x="95" y="48"/>
                    </a:lnTo>
                    <a:lnTo>
                      <a:pt x="96" y="44"/>
                    </a:lnTo>
                    <a:lnTo>
                      <a:pt x="98" y="39"/>
                    </a:lnTo>
                    <a:lnTo>
                      <a:pt x="101" y="35"/>
                    </a:lnTo>
                    <a:lnTo>
                      <a:pt x="105" y="32"/>
                    </a:lnTo>
                    <a:lnTo>
                      <a:pt x="109" y="31"/>
                    </a:lnTo>
                    <a:lnTo>
                      <a:pt x="114" y="29"/>
                    </a:lnTo>
                    <a:lnTo>
                      <a:pt x="118" y="29"/>
                    </a:lnTo>
                    <a:lnTo>
                      <a:pt x="118" y="29"/>
                    </a:lnTo>
                    <a:close/>
                    <a:moveTo>
                      <a:pt x="165" y="148"/>
                    </a:moveTo>
                    <a:lnTo>
                      <a:pt x="165" y="148"/>
                    </a:lnTo>
                    <a:lnTo>
                      <a:pt x="164" y="157"/>
                    </a:lnTo>
                    <a:lnTo>
                      <a:pt x="160" y="163"/>
                    </a:lnTo>
                    <a:lnTo>
                      <a:pt x="154" y="167"/>
                    </a:lnTo>
                    <a:lnTo>
                      <a:pt x="145" y="169"/>
                    </a:lnTo>
                    <a:lnTo>
                      <a:pt x="145" y="169"/>
                    </a:lnTo>
                    <a:lnTo>
                      <a:pt x="145" y="169"/>
                    </a:lnTo>
                    <a:lnTo>
                      <a:pt x="147" y="174"/>
                    </a:lnTo>
                    <a:lnTo>
                      <a:pt x="147" y="243"/>
                    </a:lnTo>
                    <a:lnTo>
                      <a:pt x="147" y="243"/>
                    </a:lnTo>
                    <a:lnTo>
                      <a:pt x="145" y="249"/>
                    </a:lnTo>
                    <a:lnTo>
                      <a:pt x="142" y="253"/>
                    </a:lnTo>
                    <a:lnTo>
                      <a:pt x="138" y="256"/>
                    </a:lnTo>
                    <a:lnTo>
                      <a:pt x="132" y="258"/>
                    </a:lnTo>
                    <a:lnTo>
                      <a:pt x="132" y="258"/>
                    </a:lnTo>
                    <a:lnTo>
                      <a:pt x="126" y="256"/>
                    </a:lnTo>
                    <a:lnTo>
                      <a:pt x="122" y="253"/>
                    </a:lnTo>
                    <a:lnTo>
                      <a:pt x="119" y="249"/>
                    </a:lnTo>
                    <a:lnTo>
                      <a:pt x="118" y="243"/>
                    </a:lnTo>
                    <a:lnTo>
                      <a:pt x="118" y="243"/>
                    </a:lnTo>
                    <a:lnTo>
                      <a:pt x="118" y="249"/>
                    </a:lnTo>
                    <a:lnTo>
                      <a:pt x="114" y="253"/>
                    </a:lnTo>
                    <a:lnTo>
                      <a:pt x="109" y="256"/>
                    </a:lnTo>
                    <a:lnTo>
                      <a:pt x="105" y="258"/>
                    </a:lnTo>
                    <a:lnTo>
                      <a:pt x="105" y="258"/>
                    </a:lnTo>
                    <a:lnTo>
                      <a:pt x="99" y="256"/>
                    </a:lnTo>
                    <a:lnTo>
                      <a:pt x="95" y="253"/>
                    </a:lnTo>
                    <a:lnTo>
                      <a:pt x="92" y="249"/>
                    </a:lnTo>
                    <a:lnTo>
                      <a:pt x="91" y="243"/>
                    </a:lnTo>
                    <a:lnTo>
                      <a:pt x="91" y="174"/>
                    </a:lnTo>
                    <a:lnTo>
                      <a:pt x="91" y="174"/>
                    </a:lnTo>
                    <a:lnTo>
                      <a:pt x="91" y="169"/>
                    </a:lnTo>
                    <a:lnTo>
                      <a:pt x="91" y="169"/>
                    </a:lnTo>
                    <a:lnTo>
                      <a:pt x="91" y="169"/>
                    </a:lnTo>
                    <a:lnTo>
                      <a:pt x="83" y="167"/>
                    </a:lnTo>
                    <a:lnTo>
                      <a:pt x="78" y="163"/>
                    </a:lnTo>
                    <a:lnTo>
                      <a:pt x="73" y="157"/>
                    </a:lnTo>
                    <a:lnTo>
                      <a:pt x="72" y="148"/>
                    </a:lnTo>
                    <a:lnTo>
                      <a:pt x="72" y="105"/>
                    </a:lnTo>
                    <a:lnTo>
                      <a:pt x="72" y="105"/>
                    </a:lnTo>
                    <a:lnTo>
                      <a:pt x="73" y="98"/>
                    </a:lnTo>
                    <a:lnTo>
                      <a:pt x="78" y="92"/>
                    </a:lnTo>
                    <a:lnTo>
                      <a:pt x="83" y="88"/>
                    </a:lnTo>
                    <a:lnTo>
                      <a:pt x="91" y="87"/>
                    </a:lnTo>
                    <a:lnTo>
                      <a:pt x="98" y="87"/>
                    </a:lnTo>
                    <a:lnTo>
                      <a:pt x="118" y="107"/>
                    </a:lnTo>
                    <a:lnTo>
                      <a:pt x="138" y="87"/>
                    </a:lnTo>
                    <a:lnTo>
                      <a:pt x="145" y="87"/>
                    </a:lnTo>
                    <a:lnTo>
                      <a:pt x="145" y="87"/>
                    </a:lnTo>
                    <a:lnTo>
                      <a:pt x="154" y="88"/>
                    </a:lnTo>
                    <a:lnTo>
                      <a:pt x="160" y="92"/>
                    </a:lnTo>
                    <a:lnTo>
                      <a:pt x="164" y="98"/>
                    </a:lnTo>
                    <a:lnTo>
                      <a:pt x="165" y="105"/>
                    </a:lnTo>
                    <a:lnTo>
                      <a:pt x="165" y="1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37" name="Freeform 159">
                <a:extLst>
                  <a:ext uri="{FF2B5EF4-FFF2-40B4-BE49-F238E27FC236}">
                    <a16:creationId xmlns:a16="http://schemas.microsoft.com/office/drawing/2014/main" id="{5F428C9A-74EC-435F-B738-0CF6C4044D15}"/>
                  </a:ext>
                </a:extLst>
              </p:cNvPr>
              <p:cNvSpPr>
                <a:spLocks/>
              </p:cNvSpPr>
              <p:nvPr/>
            </p:nvSpPr>
            <p:spPr bwMode="auto">
              <a:xfrm>
                <a:off x="3794001" y="4356719"/>
                <a:ext cx="214313" cy="31750"/>
              </a:xfrm>
              <a:custGeom>
                <a:avLst/>
                <a:gdLst>
                  <a:gd name="T0" fmla="*/ 135 w 135"/>
                  <a:gd name="T1" fmla="*/ 10 h 20"/>
                  <a:gd name="T2" fmla="*/ 135 w 135"/>
                  <a:gd name="T3" fmla="*/ 10 h 20"/>
                  <a:gd name="T4" fmla="*/ 134 w 135"/>
                  <a:gd name="T5" fmla="*/ 14 h 20"/>
                  <a:gd name="T6" fmla="*/ 133 w 135"/>
                  <a:gd name="T7" fmla="*/ 17 h 20"/>
                  <a:gd name="T8" fmla="*/ 130 w 135"/>
                  <a:gd name="T9" fmla="*/ 19 h 20"/>
                  <a:gd name="T10" fmla="*/ 125 w 135"/>
                  <a:gd name="T11" fmla="*/ 20 h 20"/>
                  <a:gd name="T12" fmla="*/ 10 w 135"/>
                  <a:gd name="T13" fmla="*/ 20 h 20"/>
                  <a:gd name="T14" fmla="*/ 10 w 135"/>
                  <a:gd name="T15" fmla="*/ 20 h 20"/>
                  <a:gd name="T16" fmla="*/ 8 w 135"/>
                  <a:gd name="T17" fmla="*/ 19 h 20"/>
                  <a:gd name="T18" fmla="*/ 3 w 135"/>
                  <a:gd name="T19" fmla="*/ 17 h 20"/>
                  <a:gd name="T20" fmla="*/ 2 w 135"/>
                  <a:gd name="T21" fmla="*/ 14 h 20"/>
                  <a:gd name="T22" fmla="*/ 0 w 135"/>
                  <a:gd name="T23" fmla="*/ 10 h 20"/>
                  <a:gd name="T24" fmla="*/ 0 w 135"/>
                  <a:gd name="T25" fmla="*/ 10 h 20"/>
                  <a:gd name="T26" fmla="*/ 0 w 135"/>
                  <a:gd name="T27" fmla="*/ 10 h 20"/>
                  <a:gd name="T28" fmla="*/ 2 w 135"/>
                  <a:gd name="T29" fmla="*/ 6 h 20"/>
                  <a:gd name="T30" fmla="*/ 3 w 135"/>
                  <a:gd name="T31" fmla="*/ 3 h 20"/>
                  <a:gd name="T32" fmla="*/ 8 w 135"/>
                  <a:gd name="T33" fmla="*/ 1 h 20"/>
                  <a:gd name="T34" fmla="*/ 10 w 135"/>
                  <a:gd name="T35" fmla="*/ 0 h 20"/>
                  <a:gd name="T36" fmla="*/ 125 w 135"/>
                  <a:gd name="T37" fmla="*/ 0 h 20"/>
                  <a:gd name="T38" fmla="*/ 125 w 135"/>
                  <a:gd name="T39" fmla="*/ 0 h 20"/>
                  <a:gd name="T40" fmla="*/ 130 w 135"/>
                  <a:gd name="T41" fmla="*/ 1 h 20"/>
                  <a:gd name="T42" fmla="*/ 133 w 135"/>
                  <a:gd name="T43" fmla="*/ 3 h 20"/>
                  <a:gd name="T44" fmla="*/ 134 w 135"/>
                  <a:gd name="T45" fmla="*/ 6 h 20"/>
                  <a:gd name="T46" fmla="*/ 135 w 135"/>
                  <a:gd name="T47" fmla="*/ 10 h 20"/>
                  <a:gd name="T48" fmla="*/ 135 w 135"/>
                  <a:gd name="T49"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5" h="20">
                    <a:moveTo>
                      <a:pt x="135" y="10"/>
                    </a:moveTo>
                    <a:lnTo>
                      <a:pt x="135" y="10"/>
                    </a:lnTo>
                    <a:lnTo>
                      <a:pt x="134" y="14"/>
                    </a:lnTo>
                    <a:lnTo>
                      <a:pt x="133" y="17"/>
                    </a:lnTo>
                    <a:lnTo>
                      <a:pt x="130" y="19"/>
                    </a:lnTo>
                    <a:lnTo>
                      <a:pt x="125" y="20"/>
                    </a:lnTo>
                    <a:lnTo>
                      <a:pt x="10" y="20"/>
                    </a:lnTo>
                    <a:lnTo>
                      <a:pt x="10" y="20"/>
                    </a:lnTo>
                    <a:lnTo>
                      <a:pt x="8" y="19"/>
                    </a:lnTo>
                    <a:lnTo>
                      <a:pt x="3" y="17"/>
                    </a:lnTo>
                    <a:lnTo>
                      <a:pt x="2" y="14"/>
                    </a:lnTo>
                    <a:lnTo>
                      <a:pt x="0" y="10"/>
                    </a:lnTo>
                    <a:lnTo>
                      <a:pt x="0" y="10"/>
                    </a:lnTo>
                    <a:lnTo>
                      <a:pt x="0" y="10"/>
                    </a:lnTo>
                    <a:lnTo>
                      <a:pt x="2" y="6"/>
                    </a:lnTo>
                    <a:lnTo>
                      <a:pt x="3" y="3"/>
                    </a:lnTo>
                    <a:lnTo>
                      <a:pt x="8" y="1"/>
                    </a:lnTo>
                    <a:lnTo>
                      <a:pt x="10" y="0"/>
                    </a:lnTo>
                    <a:lnTo>
                      <a:pt x="125" y="0"/>
                    </a:lnTo>
                    <a:lnTo>
                      <a:pt x="125" y="0"/>
                    </a:lnTo>
                    <a:lnTo>
                      <a:pt x="130" y="1"/>
                    </a:lnTo>
                    <a:lnTo>
                      <a:pt x="133" y="3"/>
                    </a:lnTo>
                    <a:lnTo>
                      <a:pt x="134" y="6"/>
                    </a:lnTo>
                    <a:lnTo>
                      <a:pt x="135" y="10"/>
                    </a:lnTo>
                    <a:lnTo>
                      <a:pt x="135"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38" name="Group 1437">
            <a:extLst>
              <a:ext uri="{FF2B5EF4-FFF2-40B4-BE49-F238E27FC236}">
                <a16:creationId xmlns:a16="http://schemas.microsoft.com/office/drawing/2014/main" id="{BC104E5D-98CC-4024-BC54-40FA4DAA24A0}"/>
              </a:ext>
            </a:extLst>
          </p:cNvPr>
          <p:cNvGrpSpPr/>
          <p:nvPr/>
        </p:nvGrpSpPr>
        <p:grpSpPr>
          <a:xfrm>
            <a:off x="8358215" y="4721894"/>
            <a:ext cx="612775" cy="612775"/>
            <a:chOff x="9336672" y="3806921"/>
            <a:chExt cx="612775" cy="612775"/>
          </a:xfrm>
        </p:grpSpPr>
        <p:sp>
          <p:nvSpPr>
            <p:cNvPr id="1439" name="Oval 1438">
              <a:extLst>
                <a:ext uri="{FF2B5EF4-FFF2-40B4-BE49-F238E27FC236}">
                  <a16:creationId xmlns:a16="http://schemas.microsoft.com/office/drawing/2014/main" id="{0AFBBF64-E985-4B57-B2A9-AF5EFE568C0E}"/>
                </a:ext>
              </a:extLst>
            </p:cNvPr>
            <p:cNvSpPr/>
            <p:nvPr/>
          </p:nvSpPr>
          <p:spPr bwMode="ltGray">
            <a:xfrm>
              <a:off x="933667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40" name="Group 1439">
              <a:extLst>
                <a:ext uri="{FF2B5EF4-FFF2-40B4-BE49-F238E27FC236}">
                  <a16:creationId xmlns:a16="http://schemas.microsoft.com/office/drawing/2014/main" id="{9E5BB062-5F21-4DE0-9F99-4E436A6FC8FA}"/>
                </a:ext>
              </a:extLst>
            </p:cNvPr>
            <p:cNvGrpSpPr/>
            <p:nvPr/>
          </p:nvGrpSpPr>
          <p:grpSpPr>
            <a:xfrm>
              <a:off x="9415516" y="3926829"/>
              <a:ext cx="458640" cy="289433"/>
              <a:chOff x="3797176" y="5666407"/>
              <a:chExt cx="654050" cy="412750"/>
            </a:xfrm>
          </p:grpSpPr>
          <p:sp>
            <p:nvSpPr>
              <p:cNvPr id="1441" name="Freeform 154">
                <a:extLst>
                  <a:ext uri="{FF2B5EF4-FFF2-40B4-BE49-F238E27FC236}">
                    <a16:creationId xmlns:a16="http://schemas.microsoft.com/office/drawing/2014/main" id="{D8AFFFAC-21E0-454D-9AB3-CAF5F77B166E}"/>
                  </a:ext>
                </a:extLst>
              </p:cNvPr>
              <p:cNvSpPr>
                <a:spLocks/>
              </p:cNvSpPr>
              <p:nvPr/>
            </p:nvSpPr>
            <p:spPr bwMode="auto">
              <a:xfrm>
                <a:off x="3797176" y="5750544"/>
                <a:ext cx="336550" cy="328613"/>
              </a:xfrm>
              <a:custGeom>
                <a:avLst/>
                <a:gdLst>
                  <a:gd name="T0" fmla="*/ 86 w 212"/>
                  <a:gd name="T1" fmla="*/ 62 h 207"/>
                  <a:gd name="T2" fmla="*/ 86 w 212"/>
                  <a:gd name="T3" fmla="*/ 62 h 207"/>
                  <a:gd name="T4" fmla="*/ 87 w 212"/>
                  <a:gd name="T5" fmla="*/ 46 h 207"/>
                  <a:gd name="T6" fmla="*/ 92 w 212"/>
                  <a:gd name="T7" fmla="*/ 30 h 207"/>
                  <a:gd name="T8" fmla="*/ 97 w 212"/>
                  <a:gd name="T9" fmla="*/ 14 h 207"/>
                  <a:gd name="T10" fmla="*/ 106 w 212"/>
                  <a:gd name="T11" fmla="*/ 0 h 207"/>
                  <a:gd name="T12" fmla="*/ 106 w 212"/>
                  <a:gd name="T13" fmla="*/ 0 h 207"/>
                  <a:gd name="T14" fmla="*/ 86 w 212"/>
                  <a:gd name="T15" fmla="*/ 6 h 207"/>
                  <a:gd name="T16" fmla="*/ 67 w 212"/>
                  <a:gd name="T17" fmla="*/ 14 h 207"/>
                  <a:gd name="T18" fmla="*/ 51 w 212"/>
                  <a:gd name="T19" fmla="*/ 24 h 207"/>
                  <a:gd name="T20" fmla="*/ 37 w 212"/>
                  <a:gd name="T21" fmla="*/ 36 h 207"/>
                  <a:gd name="T22" fmla="*/ 24 w 212"/>
                  <a:gd name="T23" fmla="*/ 50 h 207"/>
                  <a:gd name="T24" fmla="*/ 16 w 212"/>
                  <a:gd name="T25" fmla="*/ 65 h 207"/>
                  <a:gd name="T26" fmla="*/ 13 w 212"/>
                  <a:gd name="T27" fmla="*/ 73 h 207"/>
                  <a:gd name="T28" fmla="*/ 11 w 212"/>
                  <a:gd name="T29" fmla="*/ 80 h 207"/>
                  <a:gd name="T30" fmla="*/ 10 w 212"/>
                  <a:gd name="T31" fmla="*/ 89 h 207"/>
                  <a:gd name="T32" fmla="*/ 8 w 212"/>
                  <a:gd name="T33" fmla="*/ 98 h 207"/>
                  <a:gd name="T34" fmla="*/ 8 w 212"/>
                  <a:gd name="T35" fmla="*/ 98 h 207"/>
                  <a:gd name="T36" fmla="*/ 10 w 212"/>
                  <a:gd name="T37" fmla="*/ 112 h 207"/>
                  <a:gd name="T38" fmla="*/ 14 w 212"/>
                  <a:gd name="T39" fmla="*/ 125 h 207"/>
                  <a:gd name="T40" fmla="*/ 18 w 212"/>
                  <a:gd name="T41" fmla="*/ 138 h 207"/>
                  <a:gd name="T42" fmla="*/ 27 w 212"/>
                  <a:gd name="T43" fmla="*/ 149 h 207"/>
                  <a:gd name="T44" fmla="*/ 0 w 212"/>
                  <a:gd name="T45" fmla="*/ 207 h 207"/>
                  <a:gd name="T46" fmla="*/ 80 w 212"/>
                  <a:gd name="T47" fmla="*/ 188 h 207"/>
                  <a:gd name="T48" fmla="*/ 80 w 212"/>
                  <a:gd name="T49" fmla="*/ 188 h 207"/>
                  <a:gd name="T50" fmla="*/ 93 w 212"/>
                  <a:gd name="T51" fmla="*/ 194 h 207"/>
                  <a:gd name="T52" fmla="*/ 109 w 212"/>
                  <a:gd name="T53" fmla="*/ 197 h 207"/>
                  <a:gd name="T54" fmla="*/ 125 w 212"/>
                  <a:gd name="T55" fmla="*/ 200 h 207"/>
                  <a:gd name="T56" fmla="*/ 141 w 212"/>
                  <a:gd name="T57" fmla="*/ 200 h 207"/>
                  <a:gd name="T58" fmla="*/ 141 w 212"/>
                  <a:gd name="T59" fmla="*/ 200 h 207"/>
                  <a:gd name="T60" fmla="*/ 161 w 212"/>
                  <a:gd name="T61" fmla="*/ 198 h 207"/>
                  <a:gd name="T62" fmla="*/ 179 w 212"/>
                  <a:gd name="T63" fmla="*/ 195 h 207"/>
                  <a:gd name="T64" fmla="*/ 197 w 212"/>
                  <a:gd name="T65" fmla="*/ 191 h 207"/>
                  <a:gd name="T66" fmla="*/ 212 w 212"/>
                  <a:gd name="T67" fmla="*/ 184 h 207"/>
                  <a:gd name="T68" fmla="*/ 212 w 212"/>
                  <a:gd name="T69" fmla="*/ 184 h 207"/>
                  <a:gd name="T70" fmla="*/ 200 w 212"/>
                  <a:gd name="T71" fmla="*/ 181 h 207"/>
                  <a:gd name="T72" fmla="*/ 187 w 212"/>
                  <a:gd name="T73" fmla="*/ 178 h 207"/>
                  <a:gd name="T74" fmla="*/ 175 w 212"/>
                  <a:gd name="T75" fmla="*/ 174 h 207"/>
                  <a:gd name="T76" fmla="*/ 162 w 212"/>
                  <a:gd name="T77" fmla="*/ 170 h 207"/>
                  <a:gd name="T78" fmla="*/ 152 w 212"/>
                  <a:gd name="T79" fmla="*/ 164 h 207"/>
                  <a:gd name="T80" fmla="*/ 141 w 212"/>
                  <a:gd name="T81" fmla="*/ 158 h 207"/>
                  <a:gd name="T82" fmla="*/ 132 w 212"/>
                  <a:gd name="T83" fmla="*/ 151 h 207"/>
                  <a:gd name="T84" fmla="*/ 122 w 212"/>
                  <a:gd name="T85" fmla="*/ 142 h 207"/>
                  <a:gd name="T86" fmla="*/ 115 w 212"/>
                  <a:gd name="T87" fmla="*/ 135 h 207"/>
                  <a:gd name="T88" fmla="*/ 108 w 212"/>
                  <a:gd name="T89" fmla="*/ 125 h 207"/>
                  <a:gd name="T90" fmla="*/ 100 w 212"/>
                  <a:gd name="T91" fmla="*/ 116 h 207"/>
                  <a:gd name="T92" fmla="*/ 96 w 212"/>
                  <a:gd name="T93" fmla="*/ 106 h 207"/>
                  <a:gd name="T94" fmla="*/ 92 w 212"/>
                  <a:gd name="T95" fmla="*/ 95 h 207"/>
                  <a:gd name="T96" fmla="*/ 89 w 212"/>
                  <a:gd name="T97" fmla="*/ 85 h 207"/>
                  <a:gd name="T98" fmla="*/ 86 w 212"/>
                  <a:gd name="T99" fmla="*/ 73 h 207"/>
                  <a:gd name="T100" fmla="*/ 86 w 212"/>
                  <a:gd name="T101" fmla="*/ 62 h 207"/>
                  <a:gd name="T102" fmla="*/ 86 w 212"/>
                  <a:gd name="T103" fmla="*/ 62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2" h="207">
                    <a:moveTo>
                      <a:pt x="86" y="62"/>
                    </a:moveTo>
                    <a:lnTo>
                      <a:pt x="86" y="62"/>
                    </a:lnTo>
                    <a:lnTo>
                      <a:pt x="87" y="46"/>
                    </a:lnTo>
                    <a:lnTo>
                      <a:pt x="92" y="30"/>
                    </a:lnTo>
                    <a:lnTo>
                      <a:pt x="97" y="14"/>
                    </a:lnTo>
                    <a:lnTo>
                      <a:pt x="106" y="0"/>
                    </a:lnTo>
                    <a:lnTo>
                      <a:pt x="106" y="0"/>
                    </a:lnTo>
                    <a:lnTo>
                      <a:pt x="86" y="6"/>
                    </a:lnTo>
                    <a:lnTo>
                      <a:pt x="67" y="14"/>
                    </a:lnTo>
                    <a:lnTo>
                      <a:pt x="51" y="24"/>
                    </a:lnTo>
                    <a:lnTo>
                      <a:pt x="37" y="36"/>
                    </a:lnTo>
                    <a:lnTo>
                      <a:pt x="24" y="50"/>
                    </a:lnTo>
                    <a:lnTo>
                      <a:pt x="16" y="65"/>
                    </a:lnTo>
                    <a:lnTo>
                      <a:pt x="13" y="73"/>
                    </a:lnTo>
                    <a:lnTo>
                      <a:pt x="11" y="80"/>
                    </a:lnTo>
                    <a:lnTo>
                      <a:pt x="10" y="89"/>
                    </a:lnTo>
                    <a:lnTo>
                      <a:pt x="8" y="98"/>
                    </a:lnTo>
                    <a:lnTo>
                      <a:pt x="8" y="98"/>
                    </a:lnTo>
                    <a:lnTo>
                      <a:pt x="10" y="112"/>
                    </a:lnTo>
                    <a:lnTo>
                      <a:pt x="14" y="125"/>
                    </a:lnTo>
                    <a:lnTo>
                      <a:pt x="18" y="138"/>
                    </a:lnTo>
                    <a:lnTo>
                      <a:pt x="27" y="149"/>
                    </a:lnTo>
                    <a:lnTo>
                      <a:pt x="0" y="207"/>
                    </a:lnTo>
                    <a:lnTo>
                      <a:pt x="80" y="188"/>
                    </a:lnTo>
                    <a:lnTo>
                      <a:pt x="80" y="188"/>
                    </a:lnTo>
                    <a:lnTo>
                      <a:pt x="93" y="194"/>
                    </a:lnTo>
                    <a:lnTo>
                      <a:pt x="109" y="197"/>
                    </a:lnTo>
                    <a:lnTo>
                      <a:pt x="125" y="200"/>
                    </a:lnTo>
                    <a:lnTo>
                      <a:pt x="141" y="200"/>
                    </a:lnTo>
                    <a:lnTo>
                      <a:pt x="141" y="200"/>
                    </a:lnTo>
                    <a:lnTo>
                      <a:pt x="161" y="198"/>
                    </a:lnTo>
                    <a:lnTo>
                      <a:pt x="179" y="195"/>
                    </a:lnTo>
                    <a:lnTo>
                      <a:pt x="197" y="191"/>
                    </a:lnTo>
                    <a:lnTo>
                      <a:pt x="212" y="184"/>
                    </a:lnTo>
                    <a:lnTo>
                      <a:pt x="212" y="184"/>
                    </a:lnTo>
                    <a:lnTo>
                      <a:pt x="200" y="181"/>
                    </a:lnTo>
                    <a:lnTo>
                      <a:pt x="187" y="178"/>
                    </a:lnTo>
                    <a:lnTo>
                      <a:pt x="175" y="174"/>
                    </a:lnTo>
                    <a:lnTo>
                      <a:pt x="162" y="170"/>
                    </a:lnTo>
                    <a:lnTo>
                      <a:pt x="152" y="164"/>
                    </a:lnTo>
                    <a:lnTo>
                      <a:pt x="141" y="158"/>
                    </a:lnTo>
                    <a:lnTo>
                      <a:pt x="132" y="151"/>
                    </a:lnTo>
                    <a:lnTo>
                      <a:pt x="122" y="142"/>
                    </a:lnTo>
                    <a:lnTo>
                      <a:pt x="115" y="135"/>
                    </a:lnTo>
                    <a:lnTo>
                      <a:pt x="108" y="125"/>
                    </a:lnTo>
                    <a:lnTo>
                      <a:pt x="100" y="116"/>
                    </a:lnTo>
                    <a:lnTo>
                      <a:pt x="96" y="106"/>
                    </a:lnTo>
                    <a:lnTo>
                      <a:pt x="92" y="95"/>
                    </a:lnTo>
                    <a:lnTo>
                      <a:pt x="89" y="85"/>
                    </a:lnTo>
                    <a:lnTo>
                      <a:pt x="86" y="73"/>
                    </a:lnTo>
                    <a:lnTo>
                      <a:pt x="86" y="62"/>
                    </a:lnTo>
                    <a:lnTo>
                      <a:pt x="86" y="6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42" name="Freeform 155">
                <a:extLst>
                  <a:ext uri="{FF2B5EF4-FFF2-40B4-BE49-F238E27FC236}">
                    <a16:creationId xmlns:a16="http://schemas.microsoft.com/office/drawing/2014/main" id="{40B27481-C17D-4E35-8D66-28B005FA1104}"/>
                  </a:ext>
                </a:extLst>
              </p:cNvPr>
              <p:cNvSpPr>
                <a:spLocks noEditPoints="1"/>
              </p:cNvSpPr>
              <p:nvPr/>
            </p:nvSpPr>
            <p:spPr bwMode="auto">
              <a:xfrm>
                <a:off x="3965451" y="5666407"/>
                <a:ext cx="485775" cy="376238"/>
              </a:xfrm>
              <a:custGeom>
                <a:avLst/>
                <a:gdLst>
                  <a:gd name="T0" fmla="*/ 206 w 306"/>
                  <a:gd name="T1" fmla="*/ 214 h 237"/>
                  <a:gd name="T2" fmla="*/ 160 w 306"/>
                  <a:gd name="T3" fmla="*/ 225 h 237"/>
                  <a:gd name="T4" fmla="*/ 129 w 306"/>
                  <a:gd name="T5" fmla="*/ 225 h 237"/>
                  <a:gd name="T6" fmla="*/ 88 w 306"/>
                  <a:gd name="T7" fmla="*/ 217 h 237"/>
                  <a:gd name="T8" fmla="*/ 52 w 306"/>
                  <a:gd name="T9" fmla="*/ 200 h 237"/>
                  <a:gd name="T10" fmla="*/ 25 w 306"/>
                  <a:gd name="T11" fmla="*/ 175 h 237"/>
                  <a:gd name="T12" fmla="*/ 6 w 306"/>
                  <a:gd name="T13" fmla="*/ 146 h 237"/>
                  <a:gd name="T14" fmla="*/ 0 w 306"/>
                  <a:gd name="T15" fmla="*/ 112 h 237"/>
                  <a:gd name="T16" fmla="*/ 3 w 306"/>
                  <a:gd name="T17" fmla="*/ 90 h 237"/>
                  <a:gd name="T18" fmla="*/ 17 w 306"/>
                  <a:gd name="T19" fmla="*/ 59 h 237"/>
                  <a:gd name="T20" fmla="*/ 42 w 306"/>
                  <a:gd name="T21" fmla="*/ 33 h 237"/>
                  <a:gd name="T22" fmla="*/ 75 w 306"/>
                  <a:gd name="T23" fmla="*/ 13 h 237"/>
                  <a:gd name="T24" fmla="*/ 115 w 306"/>
                  <a:gd name="T25" fmla="*/ 1 h 237"/>
                  <a:gd name="T26" fmla="*/ 144 w 306"/>
                  <a:gd name="T27" fmla="*/ 0 h 237"/>
                  <a:gd name="T28" fmla="*/ 187 w 306"/>
                  <a:gd name="T29" fmla="*/ 4 h 237"/>
                  <a:gd name="T30" fmla="*/ 224 w 306"/>
                  <a:gd name="T31" fmla="*/ 18 h 237"/>
                  <a:gd name="T32" fmla="*/ 254 w 306"/>
                  <a:gd name="T33" fmla="*/ 40 h 237"/>
                  <a:gd name="T34" fmla="*/ 276 w 306"/>
                  <a:gd name="T35" fmla="*/ 69 h 237"/>
                  <a:gd name="T36" fmla="*/ 286 w 306"/>
                  <a:gd name="T37" fmla="*/ 100 h 237"/>
                  <a:gd name="T38" fmla="*/ 286 w 306"/>
                  <a:gd name="T39" fmla="*/ 126 h 237"/>
                  <a:gd name="T40" fmla="*/ 272 w 306"/>
                  <a:gd name="T41" fmla="*/ 165 h 237"/>
                  <a:gd name="T42" fmla="*/ 265 w 306"/>
                  <a:gd name="T43" fmla="*/ 204 h 237"/>
                  <a:gd name="T44" fmla="*/ 249 w 306"/>
                  <a:gd name="T45" fmla="*/ 156 h 237"/>
                  <a:gd name="T46" fmla="*/ 263 w 306"/>
                  <a:gd name="T47" fmla="*/ 123 h 237"/>
                  <a:gd name="T48" fmla="*/ 265 w 306"/>
                  <a:gd name="T49" fmla="*/ 103 h 237"/>
                  <a:gd name="T50" fmla="*/ 254 w 306"/>
                  <a:gd name="T51" fmla="*/ 77 h 237"/>
                  <a:gd name="T52" fmla="*/ 237 w 306"/>
                  <a:gd name="T53" fmla="*/ 56 h 237"/>
                  <a:gd name="T54" fmla="*/ 211 w 306"/>
                  <a:gd name="T55" fmla="*/ 37 h 237"/>
                  <a:gd name="T56" fmla="*/ 180 w 306"/>
                  <a:gd name="T57" fmla="*/ 26 h 237"/>
                  <a:gd name="T58" fmla="*/ 144 w 306"/>
                  <a:gd name="T59" fmla="*/ 23 h 237"/>
                  <a:gd name="T60" fmla="*/ 119 w 306"/>
                  <a:gd name="T61" fmla="*/ 24 h 237"/>
                  <a:gd name="T62" fmla="*/ 86 w 306"/>
                  <a:gd name="T63" fmla="*/ 33 h 237"/>
                  <a:gd name="T64" fmla="*/ 59 w 306"/>
                  <a:gd name="T65" fmla="*/ 49 h 237"/>
                  <a:gd name="T66" fmla="*/ 37 w 306"/>
                  <a:gd name="T67" fmla="*/ 70 h 237"/>
                  <a:gd name="T68" fmla="*/ 26 w 306"/>
                  <a:gd name="T69" fmla="*/ 95 h 237"/>
                  <a:gd name="T70" fmla="*/ 23 w 306"/>
                  <a:gd name="T71" fmla="*/ 112 h 237"/>
                  <a:gd name="T72" fmla="*/ 29 w 306"/>
                  <a:gd name="T73" fmla="*/ 139 h 237"/>
                  <a:gd name="T74" fmla="*/ 43 w 306"/>
                  <a:gd name="T75" fmla="*/ 164 h 237"/>
                  <a:gd name="T76" fmla="*/ 68 w 306"/>
                  <a:gd name="T77" fmla="*/ 182 h 237"/>
                  <a:gd name="T78" fmla="*/ 96 w 306"/>
                  <a:gd name="T79" fmla="*/ 195 h 237"/>
                  <a:gd name="T80" fmla="*/ 131 w 306"/>
                  <a:gd name="T81" fmla="*/ 202 h 237"/>
                  <a:gd name="T82" fmla="*/ 158 w 306"/>
                  <a:gd name="T83" fmla="*/ 202 h 237"/>
                  <a:gd name="T84" fmla="*/ 201 w 306"/>
                  <a:gd name="T85" fmla="*/ 192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6" h="237">
                    <a:moveTo>
                      <a:pt x="306" y="237"/>
                    </a:moveTo>
                    <a:lnTo>
                      <a:pt x="206" y="214"/>
                    </a:lnTo>
                    <a:lnTo>
                      <a:pt x="206" y="214"/>
                    </a:lnTo>
                    <a:lnTo>
                      <a:pt x="191" y="220"/>
                    </a:lnTo>
                    <a:lnTo>
                      <a:pt x="175" y="223"/>
                    </a:lnTo>
                    <a:lnTo>
                      <a:pt x="160" y="225"/>
                    </a:lnTo>
                    <a:lnTo>
                      <a:pt x="144" y="225"/>
                    </a:lnTo>
                    <a:lnTo>
                      <a:pt x="144" y="225"/>
                    </a:lnTo>
                    <a:lnTo>
                      <a:pt x="129" y="225"/>
                    </a:lnTo>
                    <a:lnTo>
                      <a:pt x="115" y="224"/>
                    </a:lnTo>
                    <a:lnTo>
                      <a:pt x="101" y="221"/>
                    </a:lnTo>
                    <a:lnTo>
                      <a:pt x="88" y="217"/>
                    </a:lnTo>
                    <a:lnTo>
                      <a:pt x="75" y="213"/>
                    </a:lnTo>
                    <a:lnTo>
                      <a:pt x="63" y="207"/>
                    </a:lnTo>
                    <a:lnTo>
                      <a:pt x="52" y="200"/>
                    </a:lnTo>
                    <a:lnTo>
                      <a:pt x="42" y="192"/>
                    </a:lnTo>
                    <a:lnTo>
                      <a:pt x="33" y="185"/>
                    </a:lnTo>
                    <a:lnTo>
                      <a:pt x="25" y="175"/>
                    </a:lnTo>
                    <a:lnTo>
                      <a:pt x="17" y="167"/>
                    </a:lnTo>
                    <a:lnTo>
                      <a:pt x="12" y="156"/>
                    </a:lnTo>
                    <a:lnTo>
                      <a:pt x="6" y="146"/>
                    </a:lnTo>
                    <a:lnTo>
                      <a:pt x="3" y="135"/>
                    </a:lnTo>
                    <a:lnTo>
                      <a:pt x="0" y="123"/>
                    </a:lnTo>
                    <a:lnTo>
                      <a:pt x="0" y="112"/>
                    </a:lnTo>
                    <a:lnTo>
                      <a:pt x="0" y="112"/>
                    </a:lnTo>
                    <a:lnTo>
                      <a:pt x="0" y="100"/>
                    </a:lnTo>
                    <a:lnTo>
                      <a:pt x="3" y="90"/>
                    </a:lnTo>
                    <a:lnTo>
                      <a:pt x="6" y="79"/>
                    </a:lnTo>
                    <a:lnTo>
                      <a:pt x="12" y="69"/>
                    </a:lnTo>
                    <a:lnTo>
                      <a:pt x="17" y="59"/>
                    </a:lnTo>
                    <a:lnTo>
                      <a:pt x="25" y="49"/>
                    </a:lnTo>
                    <a:lnTo>
                      <a:pt x="33" y="40"/>
                    </a:lnTo>
                    <a:lnTo>
                      <a:pt x="42" y="33"/>
                    </a:lnTo>
                    <a:lnTo>
                      <a:pt x="52" y="26"/>
                    </a:lnTo>
                    <a:lnTo>
                      <a:pt x="63" y="18"/>
                    </a:lnTo>
                    <a:lnTo>
                      <a:pt x="75" y="13"/>
                    </a:lnTo>
                    <a:lnTo>
                      <a:pt x="88" y="8"/>
                    </a:lnTo>
                    <a:lnTo>
                      <a:pt x="101" y="4"/>
                    </a:lnTo>
                    <a:lnTo>
                      <a:pt x="115" y="1"/>
                    </a:lnTo>
                    <a:lnTo>
                      <a:pt x="129" y="0"/>
                    </a:lnTo>
                    <a:lnTo>
                      <a:pt x="144" y="0"/>
                    </a:lnTo>
                    <a:lnTo>
                      <a:pt x="144" y="0"/>
                    </a:lnTo>
                    <a:lnTo>
                      <a:pt x="158" y="0"/>
                    </a:lnTo>
                    <a:lnTo>
                      <a:pt x="173" y="1"/>
                    </a:lnTo>
                    <a:lnTo>
                      <a:pt x="187" y="4"/>
                    </a:lnTo>
                    <a:lnTo>
                      <a:pt x="200" y="8"/>
                    </a:lnTo>
                    <a:lnTo>
                      <a:pt x="213" y="13"/>
                    </a:lnTo>
                    <a:lnTo>
                      <a:pt x="224" y="18"/>
                    </a:lnTo>
                    <a:lnTo>
                      <a:pt x="236" y="26"/>
                    </a:lnTo>
                    <a:lnTo>
                      <a:pt x="246" y="33"/>
                    </a:lnTo>
                    <a:lnTo>
                      <a:pt x="254" y="40"/>
                    </a:lnTo>
                    <a:lnTo>
                      <a:pt x="263" y="49"/>
                    </a:lnTo>
                    <a:lnTo>
                      <a:pt x="270" y="59"/>
                    </a:lnTo>
                    <a:lnTo>
                      <a:pt x="276" y="69"/>
                    </a:lnTo>
                    <a:lnTo>
                      <a:pt x="280" y="79"/>
                    </a:lnTo>
                    <a:lnTo>
                      <a:pt x="285" y="90"/>
                    </a:lnTo>
                    <a:lnTo>
                      <a:pt x="286" y="100"/>
                    </a:lnTo>
                    <a:lnTo>
                      <a:pt x="288" y="112"/>
                    </a:lnTo>
                    <a:lnTo>
                      <a:pt x="288" y="112"/>
                    </a:lnTo>
                    <a:lnTo>
                      <a:pt x="286" y="126"/>
                    </a:lnTo>
                    <a:lnTo>
                      <a:pt x="283" y="139"/>
                    </a:lnTo>
                    <a:lnTo>
                      <a:pt x="279" y="152"/>
                    </a:lnTo>
                    <a:lnTo>
                      <a:pt x="272" y="165"/>
                    </a:lnTo>
                    <a:lnTo>
                      <a:pt x="306" y="237"/>
                    </a:lnTo>
                    <a:close/>
                    <a:moveTo>
                      <a:pt x="204" y="191"/>
                    </a:moveTo>
                    <a:lnTo>
                      <a:pt x="265" y="204"/>
                    </a:lnTo>
                    <a:lnTo>
                      <a:pt x="244" y="162"/>
                    </a:lnTo>
                    <a:lnTo>
                      <a:pt x="249" y="156"/>
                    </a:lnTo>
                    <a:lnTo>
                      <a:pt x="249" y="156"/>
                    </a:lnTo>
                    <a:lnTo>
                      <a:pt x="256" y="146"/>
                    </a:lnTo>
                    <a:lnTo>
                      <a:pt x="260" y="135"/>
                    </a:lnTo>
                    <a:lnTo>
                      <a:pt x="263" y="123"/>
                    </a:lnTo>
                    <a:lnTo>
                      <a:pt x="265" y="112"/>
                    </a:lnTo>
                    <a:lnTo>
                      <a:pt x="265" y="112"/>
                    </a:lnTo>
                    <a:lnTo>
                      <a:pt x="265" y="103"/>
                    </a:lnTo>
                    <a:lnTo>
                      <a:pt x="262" y="95"/>
                    </a:lnTo>
                    <a:lnTo>
                      <a:pt x="259" y="86"/>
                    </a:lnTo>
                    <a:lnTo>
                      <a:pt x="254" y="77"/>
                    </a:lnTo>
                    <a:lnTo>
                      <a:pt x="250" y="70"/>
                    </a:lnTo>
                    <a:lnTo>
                      <a:pt x="244" y="62"/>
                    </a:lnTo>
                    <a:lnTo>
                      <a:pt x="237" y="56"/>
                    </a:lnTo>
                    <a:lnTo>
                      <a:pt x="229" y="49"/>
                    </a:lnTo>
                    <a:lnTo>
                      <a:pt x="220" y="43"/>
                    </a:lnTo>
                    <a:lnTo>
                      <a:pt x="211" y="37"/>
                    </a:lnTo>
                    <a:lnTo>
                      <a:pt x="201" y="33"/>
                    </a:lnTo>
                    <a:lnTo>
                      <a:pt x="191" y="30"/>
                    </a:lnTo>
                    <a:lnTo>
                      <a:pt x="180" y="26"/>
                    </a:lnTo>
                    <a:lnTo>
                      <a:pt x="168" y="24"/>
                    </a:lnTo>
                    <a:lnTo>
                      <a:pt x="157" y="23"/>
                    </a:lnTo>
                    <a:lnTo>
                      <a:pt x="144" y="23"/>
                    </a:lnTo>
                    <a:lnTo>
                      <a:pt x="144" y="23"/>
                    </a:lnTo>
                    <a:lnTo>
                      <a:pt x="131" y="23"/>
                    </a:lnTo>
                    <a:lnTo>
                      <a:pt x="119" y="24"/>
                    </a:lnTo>
                    <a:lnTo>
                      <a:pt x="108" y="26"/>
                    </a:lnTo>
                    <a:lnTo>
                      <a:pt x="96" y="30"/>
                    </a:lnTo>
                    <a:lnTo>
                      <a:pt x="86" y="33"/>
                    </a:lnTo>
                    <a:lnTo>
                      <a:pt x="76" y="37"/>
                    </a:lnTo>
                    <a:lnTo>
                      <a:pt x="68" y="43"/>
                    </a:lnTo>
                    <a:lnTo>
                      <a:pt x="59" y="49"/>
                    </a:lnTo>
                    <a:lnTo>
                      <a:pt x="50" y="56"/>
                    </a:lnTo>
                    <a:lnTo>
                      <a:pt x="43" y="62"/>
                    </a:lnTo>
                    <a:lnTo>
                      <a:pt x="37" y="70"/>
                    </a:lnTo>
                    <a:lnTo>
                      <a:pt x="33" y="77"/>
                    </a:lnTo>
                    <a:lnTo>
                      <a:pt x="29" y="86"/>
                    </a:lnTo>
                    <a:lnTo>
                      <a:pt x="26" y="95"/>
                    </a:lnTo>
                    <a:lnTo>
                      <a:pt x="23" y="103"/>
                    </a:lnTo>
                    <a:lnTo>
                      <a:pt x="23" y="112"/>
                    </a:lnTo>
                    <a:lnTo>
                      <a:pt x="23" y="112"/>
                    </a:lnTo>
                    <a:lnTo>
                      <a:pt x="23" y="122"/>
                    </a:lnTo>
                    <a:lnTo>
                      <a:pt x="26" y="131"/>
                    </a:lnTo>
                    <a:lnTo>
                      <a:pt x="29" y="139"/>
                    </a:lnTo>
                    <a:lnTo>
                      <a:pt x="33" y="148"/>
                    </a:lnTo>
                    <a:lnTo>
                      <a:pt x="37" y="155"/>
                    </a:lnTo>
                    <a:lnTo>
                      <a:pt x="43" y="164"/>
                    </a:lnTo>
                    <a:lnTo>
                      <a:pt x="50" y="169"/>
                    </a:lnTo>
                    <a:lnTo>
                      <a:pt x="59" y="177"/>
                    </a:lnTo>
                    <a:lnTo>
                      <a:pt x="68" y="182"/>
                    </a:lnTo>
                    <a:lnTo>
                      <a:pt x="76" y="188"/>
                    </a:lnTo>
                    <a:lnTo>
                      <a:pt x="86" y="192"/>
                    </a:lnTo>
                    <a:lnTo>
                      <a:pt x="96" y="195"/>
                    </a:lnTo>
                    <a:lnTo>
                      <a:pt x="108" y="198"/>
                    </a:lnTo>
                    <a:lnTo>
                      <a:pt x="119" y="201"/>
                    </a:lnTo>
                    <a:lnTo>
                      <a:pt x="131" y="202"/>
                    </a:lnTo>
                    <a:lnTo>
                      <a:pt x="144" y="202"/>
                    </a:lnTo>
                    <a:lnTo>
                      <a:pt x="144" y="202"/>
                    </a:lnTo>
                    <a:lnTo>
                      <a:pt x="158" y="202"/>
                    </a:lnTo>
                    <a:lnTo>
                      <a:pt x="173" y="200"/>
                    </a:lnTo>
                    <a:lnTo>
                      <a:pt x="187" y="197"/>
                    </a:lnTo>
                    <a:lnTo>
                      <a:pt x="201" y="192"/>
                    </a:lnTo>
                    <a:lnTo>
                      <a:pt x="204" y="19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43" name="Freeform 156">
                <a:extLst>
                  <a:ext uri="{FF2B5EF4-FFF2-40B4-BE49-F238E27FC236}">
                    <a16:creationId xmlns:a16="http://schemas.microsoft.com/office/drawing/2014/main" id="{3427BB6B-3BFA-4479-9E3F-F61CE36590A8}"/>
                  </a:ext>
                </a:extLst>
              </p:cNvPr>
              <p:cNvSpPr>
                <a:spLocks/>
              </p:cNvSpPr>
              <p:nvPr/>
            </p:nvSpPr>
            <p:spPr bwMode="auto">
              <a:xfrm>
                <a:off x="4114676" y="5715619"/>
                <a:ext cx="168275" cy="255588"/>
              </a:xfrm>
              <a:custGeom>
                <a:avLst/>
                <a:gdLst>
                  <a:gd name="T0" fmla="*/ 92 w 106"/>
                  <a:gd name="T1" fmla="*/ 81 h 161"/>
                  <a:gd name="T2" fmla="*/ 67 w 106"/>
                  <a:gd name="T3" fmla="*/ 72 h 161"/>
                  <a:gd name="T4" fmla="*/ 56 w 106"/>
                  <a:gd name="T5" fmla="*/ 69 h 161"/>
                  <a:gd name="T6" fmla="*/ 35 w 106"/>
                  <a:gd name="T7" fmla="*/ 64 h 161"/>
                  <a:gd name="T8" fmla="*/ 30 w 106"/>
                  <a:gd name="T9" fmla="*/ 59 h 161"/>
                  <a:gd name="T10" fmla="*/ 27 w 106"/>
                  <a:gd name="T11" fmla="*/ 54 h 161"/>
                  <a:gd name="T12" fmla="*/ 28 w 106"/>
                  <a:gd name="T13" fmla="*/ 48 h 161"/>
                  <a:gd name="T14" fmla="*/ 34 w 106"/>
                  <a:gd name="T15" fmla="*/ 42 h 161"/>
                  <a:gd name="T16" fmla="*/ 53 w 106"/>
                  <a:gd name="T17" fmla="*/ 39 h 161"/>
                  <a:gd name="T18" fmla="*/ 70 w 106"/>
                  <a:gd name="T19" fmla="*/ 41 h 161"/>
                  <a:gd name="T20" fmla="*/ 83 w 106"/>
                  <a:gd name="T21" fmla="*/ 45 h 161"/>
                  <a:gd name="T22" fmla="*/ 86 w 106"/>
                  <a:gd name="T23" fmla="*/ 46 h 161"/>
                  <a:gd name="T24" fmla="*/ 92 w 106"/>
                  <a:gd name="T25" fmla="*/ 46 h 161"/>
                  <a:gd name="T26" fmla="*/ 97 w 106"/>
                  <a:gd name="T27" fmla="*/ 42 h 161"/>
                  <a:gd name="T28" fmla="*/ 97 w 106"/>
                  <a:gd name="T29" fmla="*/ 36 h 161"/>
                  <a:gd name="T30" fmla="*/ 92 w 106"/>
                  <a:gd name="T31" fmla="*/ 29 h 161"/>
                  <a:gd name="T32" fmla="*/ 80 w 106"/>
                  <a:gd name="T33" fmla="*/ 23 h 161"/>
                  <a:gd name="T34" fmla="*/ 58 w 106"/>
                  <a:gd name="T35" fmla="*/ 21 h 161"/>
                  <a:gd name="T36" fmla="*/ 57 w 106"/>
                  <a:gd name="T37" fmla="*/ 6 h 161"/>
                  <a:gd name="T38" fmla="*/ 50 w 106"/>
                  <a:gd name="T39" fmla="*/ 0 h 161"/>
                  <a:gd name="T40" fmla="*/ 46 w 106"/>
                  <a:gd name="T41" fmla="*/ 3 h 161"/>
                  <a:gd name="T42" fmla="*/ 43 w 106"/>
                  <a:gd name="T43" fmla="*/ 21 h 161"/>
                  <a:gd name="T44" fmla="*/ 31 w 106"/>
                  <a:gd name="T45" fmla="*/ 22 h 161"/>
                  <a:gd name="T46" fmla="*/ 15 w 106"/>
                  <a:gd name="T47" fmla="*/ 29 h 161"/>
                  <a:gd name="T48" fmla="*/ 4 w 106"/>
                  <a:gd name="T49" fmla="*/ 39 h 161"/>
                  <a:gd name="T50" fmla="*/ 0 w 106"/>
                  <a:gd name="T51" fmla="*/ 54 h 161"/>
                  <a:gd name="T52" fmla="*/ 2 w 106"/>
                  <a:gd name="T53" fmla="*/ 67 h 161"/>
                  <a:gd name="T54" fmla="*/ 10 w 106"/>
                  <a:gd name="T55" fmla="*/ 75 h 161"/>
                  <a:gd name="T56" fmla="*/ 20 w 106"/>
                  <a:gd name="T57" fmla="*/ 82 h 161"/>
                  <a:gd name="T58" fmla="*/ 48 w 106"/>
                  <a:gd name="T59" fmla="*/ 90 h 161"/>
                  <a:gd name="T60" fmla="*/ 64 w 106"/>
                  <a:gd name="T61" fmla="*/ 94 h 161"/>
                  <a:gd name="T62" fmla="*/ 76 w 106"/>
                  <a:gd name="T63" fmla="*/ 100 h 161"/>
                  <a:gd name="T64" fmla="*/ 79 w 106"/>
                  <a:gd name="T65" fmla="*/ 108 h 161"/>
                  <a:gd name="T66" fmla="*/ 77 w 106"/>
                  <a:gd name="T67" fmla="*/ 117 h 161"/>
                  <a:gd name="T68" fmla="*/ 71 w 106"/>
                  <a:gd name="T69" fmla="*/ 123 h 161"/>
                  <a:gd name="T70" fmla="*/ 53 w 106"/>
                  <a:gd name="T71" fmla="*/ 127 h 161"/>
                  <a:gd name="T72" fmla="*/ 38 w 106"/>
                  <a:gd name="T73" fmla="*/ 125 h 161"/>
                  <a:gd name="T74" fmla="*/ 25 w 106"/>
                  <a:gd name="T75" fmla="*/ 121 h 161"/>
                  <a:gd name="T76" fmla="*/ 10 w 106"/>
                  <a:gd name="T77" fmla="*/ 115 h 161"/>
                  <a:gd name="T78" fmla="*/ 2 w 106"/>
                  <a:gd name="T79" fmla="*/ 118 h 161"/>
                  <a:gd name="T80" fmla="*/ 0 w 106"/>
                  <a:gd name="T81" fmla="*/ 124 h 161"/>
                  <a:gd name="T82" fmla="*/ 4 w 106"/>
                  <a:gd name="T83" fmla="*/ 133 h 161"/>
                  <a:gd name="T84" fmla="*/ 15 w 106"/>
                  <a:gd name="T85" fmla="*/ 140 h 161"/>
                  <a:gd name="T86" fmla="*/ 31 w 106"/>
                  <a:gd name="T87" fmla="*/ 144 h 161"/>
                  <a:gd name="T88" fmla="*/ 43 w 106"/>
                  <a:gd name="T89" fmla="*/ 154 h 161"/>
                  <a:gd name="T90" fmla="*/ 46 w 106"/>
                  <a:gd name="T91" fmla="*/ 159 h 161"/>
                  <a:gd name="T92" fmla="*/ 50 w 106"/>
                  <a:gd name="T93" fmla="*/ 161 h 161"/>
                  <a:gd name="T94" fmla="*/ 57 w 106"/>
                  <a:gd name="T95" fmla="*/ 157 h 161"/>
                  <a:gd name="T96" fmla="*/ 58 w 106"/>
                  <a:gd name="T97" fmla="*/ 146 h 161"/>
                  <a:gd name="T98" fmla="*/ 81 w 106"/>
                  <a:gd name="T99" fmla="*/ 140 h 161"/>
                  <a:gd name="T100" fmla="*/ 96 w 106"/>
                  <a:gd name="T101" fmla="*/ 130 h 161"/>
                  <a:gd name="T102" fmla="*/ 104 w 106"/>
                  <a:gd name="T103" fmla="*/ 115 h 161"/>
                  <a:gd name="T104" fmla="*/ 106 w 106"/>
                  <a:gd name="T105" fmla="*/ 101 h 161"/>
                  <a:gd name="T106" fmla="*/ 99 w 106"/>
                  <a:gd name="T107" fmla="*/ 8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6" h="161">
                    <a:moveTo>
                      <a:pt x="99" y="88"/>
                    </a:moveTo>
                    <a:lnTo>
                      <a:pt x="99" y="88"/>
                    </a:lnTo>
                    <a:lnTo>
                      <a:pt x="92" y="81"/>
                    </a:lnTo>
                    <a:lnTo>
                      <a:pt x="81" y="77"/>
                    </a:lnTo>
                    <a:lnTo>
                      <a:pt x="81" y="77"/>
                    </a:lnTo>
                    <a:lnTo>
                      <a:pt x="67" y="72"/>
                    </a:lnTo>
                    <a:lnTo>
                      <a:pt x="67" y="72"/>
                    </a:lnTo>
                    <a:lnTo>
                      <a:pt x="56" y="69"/>
                    </a:lnTo>
                    <a:lnTo>
                      <a:pt x="56" y="69"/>
                    </a:lnTo>
                    <a:lnTo>
                      <a:pt x="44" y="67"/>
                    </a:lnTo>
                    <a:lnTo>
                      <a:pt x="44" y="67"/>
                    </a:lnTo>
                    <a:lnTo>
                      <a:pt x="35" y="64"/>
                    </a:lnTo>
                    <a:lnTo>
                      <a:pt x="35" y="64"/>
                    </a:lnTo>
                    <a:lnTo>
                      <a:pt x="31" y="62"/>
                    </a:lnTo>
                    <a:lnTo>
                      <a:pt x="30" y="59"/>
                    </a:lnTo>
                    <a:lnTo>
                      <a:pt x="30" y="59"/>
                    </a:lnTo>
                    <a:lnTo>
                      <a:pt x="27" y="56"/>
                    </a:lnTo>
                    <a:lnTo>
                      <a:pt x="27" y="54"/>
                    </a:lnTo>
                    <a:lnTo>
                      <a:pt x="27" y="54"/>
                    </a:lnTo>
                    <a:lnTo>
                      <a:pt x="28" y="48"/>
                    </a:lnTo>
                    <a:lnTo>
                      <a:pt x="28" y="48"/>
                    </a:lnTo>
                    <a:lnTo>
                      <a:pt x="31" y="45"/>
                    </a:lnTo>
                    <a:lnTo>
                      <a:pt x="34" y="42"/>
                    </a:lnTo>
                    <a:lnTo>
                      <a:pt x="34" y="42"/>
                    </a:lnTo>
                    <a:lnTo>
                      <a:pt x="43" y="39"/>
                    </a:lnTo>
                    <a:lnTo>
                      <a:pt x="43" y="39"/>
                    </a:lnTo>
                    <a:lnTo>
                      <a:pt x="53" y="39"/>
                    </a:lnTo>
                    <a:lnTo>
                      <a:pt x="53" y="39"/>
                    </a:lnTo>
                    <a:lnTo>
                      <a:pt x="63" y="39"/>
                    </a:lnTo>
                    <a:lnTo>
                      <a:pt x="70" y="41"/>
                    </a:lnTo>
                    <a:lnTo>
                      <a:pt x="70" y="41"/>
                    </a:lnTo>
                    <a:lnTo>
                      <a:pt x="77" y="42"/>
                    </a:lnTo>
                    <a:lnTo>
                      <a:pt x="83" y="45"/>
                    </a:lnTo>
                    <a:lnTo>
                      <a:pt x="83" y="45"/>
                    </a:lnTo>
                    <a:lnTo>
                      <a:pt x="86" y="46"/>
                    </a:lnTo>
                    <a:lnTo>
                      <a:pt x="86" y="46"/>
                    </a:lnTo>
                    <a:lnTo>
                      <a:pt x="89" y="46"/>
                    </a:lnTo>
                    <a:lnTo>
                      <a:pt x="89" y="46"/>
                    </a:lnTo>
                    <a:lnTo>
                      <a:pt x="92" y="46"/>
                    </a:lnTo>
                    <a:lnTo>
                      <a:pt x="94" y="45"/>
                    </a:lnTo>
                    <a:lnTo>
                      <a:pt x="94" y="45"/>
                    </a:lnTo>
                    <a:lnTo>
                      <a:pt x="97" y="42"/>
                    </a:lnTo>
                    <a:lnTo>
                      <a:pt x="97" y="39"/>
                    </a:lnTo>
                    <a:lnTo>
                      <a:pt x="97" y="39"/>
                    </a:lnTo>
                    <a:lnTo>
                      <a:pt x="97" y="36"/>
                    </a:lnTo>
                    <a:lnTo>
                      <a:pt x="94" y="32"/>
                    </a:lnTo>
                    <a:lnTo>
                      <a:pt x="94" y="32"/>
                    </a:lnTo>
                    <a:lnTo>
                      <a:pt x="92" y="29"/>
                    </a:lnTo>
                    <a:lnTo>
                      <a:pt x="86" y="26"/>
                    </a:lnTo>
                    <a:lnTo>
                      <a:pt x="86" y="26"/>
                    </a:lnTo>
                    <a:lnTo>
                      <a:pt x="80" y="23"/>
                    </a:lnTo>
                    <a:lnTo>
                      <a:pt x="71" y="22"/>
                    </a:lnTo>
                    <a:lnTo>
                      <a:pt x="71" y="22"/>
                    </a:lnTo>
                    <a:lnTo>
                      <a:pt x="58" y="21"/>
                    </a:lnTo>
                    <a:lnTo>
                      <a:pt x="58" y="9"/>
                    </a:lnTo>
                    <a:lnTo>
                      <a:pt x="58" y="9"/>
                    </a:lnTo>
                    <a:lnTo>
                      <a:pt x="57" y="6"/>
                    </a:lnTo>
                    <a:lnTo>
                      <a:pt x="56" y="3"/>
                    </a:lnTo>
                    <a:lnTo>
                      <a:pt x="53" y="2"/>
                    </a:lnTo>
                    <a:lnTo>
                      <a:pt x="50" y="0"/>
                    </a:lnTo>
                    <a:lnTo>
                      <a:pt x="50" y="0"/>
                    </a:lnTo>
                    <a:lnTo>
                      <a:pt x="47" y="2"/>
                    </a:lnTo>
                    <a:lnTo>
                      <a:pt x="46" y="3"/>
                    </a:lnTo>
                    <a:lnTo>
                      <a:pt x="43" y="6"/>
                    </a:lnTo>
                    <a:lnTo>
                      <a:pt x="43" y="9"/>
                    </a:lnTo>
                    <a:lnTo>
                      <a:pt x="43" y="21"/>
                    </a:lnTo>
                    <a:lnTo>
                      <a:pt x="43" y="21"/>
                    </a:lnTo>
                    <a:lnTo>
                      <a:pt x="31" y="22"/>
                    </a:lnTo>
                    <a:lnTo>
                      <a:pt x="31" y="22"/>
                    </a:lnTo>
                    <a:lnTo>
                      <a:pt x="23" y="25"/>
                    </a:lnTo>
                    <a:lnTo>
                      <a:pt x="15" y="29"/>
                    </a:lnTo>
                    <a:lnTo>
                      <a:pt x="15" y="29"/>
                    </a:lnTo>
                    <a:lnTo>
                      <a:pt x="8" y="33"/>
                    </a:lnTo>
                    <a:lnTo>
                      <a:pt x="4" y="39"/>
                    </a:lnTo>
                    <a:lnTo>
                      <a:pt x="4" y="39"/>
                    </a:lnTo>
                    <a:lnTo>
                      <a:pt x="1" y="46"/>
                    </a:lnTo>
                    <a:lnTo>
                      <a:pt x="0" y="54"/>
                    </a:lnTo>
                    <a:lnTo>
                      <a:pt x="0" y="54"/>
                    </a:lnTo>
                    <a:lnTo>
                      <a:pt x="1" y="61"/>
                    </a:lnTo>
                    <a:lnTo>
                      <a:pt x="2" y="67"/>
                    </a:lnTo>
                    <a:lnTo>
                      <a:pt x="2" y="67"/>
                    </a:lnTo>
                    <a:lnTo>
                      <a:pt x="5" y="72"/>
                    </a:lnTo>
                    <a:lnTo>
                      <a:pt x="10" y="75"/>
                    </a:lnTo>
                    <a:lnTo>
                      <a:pt x="10" y="75"/>
                    </a:lnTo>
                    <a:lnTo>
                      <a:pt x="14" y="79"/>
                    </a:lnTo>
                    <a:lnTo>
                      <a:pt x="20" y="82"/>
                    </a:lnTo>
                    <a:lnTo>
                      <a:pt x="20" y="82"/>
                    </a:lnTo>
                    <a:lnTo>
                      <a:pt x="33" y="87"/>
                    </a:lnTo>
                    <a:lnTo>
                      <a:pt x="33" y="87"/>
                    </a:lnTo>
                    <a:lnTo>
                      <a:pt x="48" y="90"/>
                    </a:lnTo>
                    <a:lnTo>
                      <a:pt x="48" y="90"/>
                    </a:lnTo>
                    <a:lnTo>
                      <a:pt x="64" y="94"/>
                    </a:lnTo>
                    <a:lnTo>
                      <a:pt x="64" y="94"/>
                    </a:lnTo>
                    <a:lnTo>
                      <a:pt x="70" y="97"/>
                    </a:lnTo>
                    <a:lnTo>
                      <a:pt x="76" y="100"/>
                    </a:lnTo>
                    <a:lnTo>
                      <a:pt x="76" y="100"/>
                    </a:lnTo>
                    <a:lnTo>
                      <a:pt x="79" y="104"/>
                    </a:lnTo>
                    <a:lnTo>
                      <a:pt x="79" y="108"/>
                    </a:lnTo>
                    <a:lnTo>
                      <a:pt x="79" y="108"/>
                    </a:lnTo>
                    <a:lnTo>
                      <a:pt x="79" y="113"/>
                    </a:lnTo>
                    <a:lnTo>
                      <a:pt x="77" y="117"/>
                    </a:lnTo>
                    <a:lnTo>
                      <a:pt x="77" y="117"/>
                    </a:lnTo>
                    <a:lnTo>
                      <a:pt x="74" y="120"/>
                    </a:lnTo>
                    <a:lnTo>
                      <a:pt x="71" y="123"/>
                    </a:lnTo>
                    <a:lnTo>
                      <a:pt x="71" y="123"/>
                    </a:lnTo>
                    <a:lnTo>
                      <a:pt x="63" y="125"/>
                    </a:lnTo>
                    <a:lnTo>
                      <a:pt x="63" y="125"/>
                    </a:lnTo>
                    <a:lnTo>
                      <a:pt x="53" y="127"/>
                    </a:lnTo>
                    <a:lnTo>
                      <a:pt x="53" y="127"/>
                    </a:lnTo>
                    <a:lnTo>
                      <a:pt x="46" y="127"/>
                    </a:lnTo>
                    <a:lnTo>
                      <a:pt x="38" y="125"/>
                    </a:lnTo>
                    <a:lnTo>
                      <a:pt x="38" y="125"/>
                    </a:lnTo>
                    <a:lnTo>
                      <a:pt x="25" y="121"/>
                    </a:lnTo>
                    <a:lnTo>
                      <a:pt x="25" y="121"/>
                    </a:lnTo>
                    <a:lnTo>
                      <a:pt x="17" y="117"/>
                    </a:lnTo>
                    <a:lnTo>
                      <a:pt x="17" y="117"/>
                    </a:lnTo>
                    <a:lnTo>
                      <a:pt x="10" y="115"/>
                    </a:lnTo>
                    <a:lnTo>
                      <a:pt x="10" y="115"/>
                    </a:lnTo>
                    <a:lnTo>
                      <a:pt x="5" y="117"/>
                    </a:lnTo>
                    <a:lnTo>
                      <a:pt x="2" y="118"/>
                    </a:lnTo>
                    <a:lnTo>
                      <a:pt x="2" y="118"/>
                    </a:lnTo>
                    <a:lnTo>
                      <a:pt x="1" y="121"/>
                    </a:lnTo>
                    <a:lnTo>
                      <a:pt x="0" y="124"/>
                    </a:lnTo>
                    <a:lnTo>
                      <a:pt x="0" y="124"/>
                    </a:lnTo>
                    <a:lnTo>
                      <a:pt x="1" y="128"/>
                    </a:lnTo>
                    <a:lnTo>
                      <a:pt x="4" y="133"/>
                    </a:lnTo>
                    <a:lnTo>
                      <a:pt x="4" y="133"/>
                    </a:lnTo>
                    <a:lnTo>
                      <a:pt x="8" y="136"/>
                    </a:lnTo>
                    <a:lnTo>
                      <a:pt x="15" y="140"/>
                    </a:lnTo>
                    <a:lnTo>
                      <a:pt x="15" y="140"/>
                    </a:lnTo>
                    <a:lnTo>
                      <a:pt x="23" y="141"/>
                    </a:lnTo>
                    <a:lnTo>
                      <a:pt x="31" y="144"/>
                    </a:lnTo>
                    <a:lnTo>
                      <a:pt x="31" y="144"/>
                    </a:lnTo>
                    <a:lnTo>
                      <a:pt x="43" y="146"/>
                    </a:lnTo>
                    <a:lnTo>
                      <a:pt x="43" y="154"/>
                    </a:lnTo>
                    <a:lnTo>
                      <a:pt x="43" y="154"/>
                    </a:lnTo>
                    <a:lnTo>
                      <a:pt x="43" y="157"/>
                    </a:lnTo>
                    <a:lnTo>
                      <a:pt x="46" y="159"/>
                    </a:lnTo>
                    <a:lnTo>
                      <a:pt x="47" y="160"/>
                    </a:lnTo>
                    <a:lnTo>
                      <a:pt x="50" y="161"/>
                    </a:lnTo>
                    <a:lnTo>
                      <a:pt x="50" y="161"/>
                    </a:lnTo>
                    <a:lnTo>
                      <a:pt x="53" y="160"/>
                    </a:lnTo>
                    <a:lnTo>
                      <a:pt x="56" y="159"/>
                    </a:lnTo>
                    <a:lnTo>
                      <a:pt x="57" y="157"/>
                    </a:lnTo>
                    <a:lnTo>
                      <a:pt x="58" y="154"/>
                    </a:lnTo>
                    <a:lnTo>
                      <a:pt x="58" y="146"/>
                    </a:lnTo>
                    <a:lnTo>
                      <a:pt x="58" y="146"/>
                    </a:lnTo>
                    <a:lnTo>
                      <a:pt x="73" y="143"/>
                    </a:lnTo>
                    <a:lnTo>
                      <a:pt x="73" y="143"/>
                    </a:lnTo>
                    <a:lnTo>
                      <a:pt x="81" y="140"/>
                    </a:lnTo>
                    <a:lnTo>
                      <a:pt x="90" y="136"/>
                    </a:lnTo>
                    <a:lnTo>
                      <a:pt x="90" y="136"/>
                    </a:lnTo>
                    <a:lnTo>
                      <a:pt x="96" y="130"/>
                    </a:lnTo>
                    <a:lnTo>
                      <a:pt x="102" y="123"/>
                    </a:lnTo>
                    <a:lnTo>
                      <a:pt x="102" y="123"/>
                    </a:lnTo>
                    <a:lnTo>
                      <a:pt x="104" y="115"/>
                    </a:lnTo>
                    <a:lnTo>
                      <a:pt x="106" y="107"/>
                    </a:lnTo>
                    <a:lnTo>
                      <a:pt x="106" y="107"/>
                    </a:lnTo>
                    <a:lnTo>
                      <a:pt x="106" y="101"/>
                    </a:lnTo>
                    <a:lnTo>
                      <a:pt x="104" y="97"/>
                    </a:lnTo>
                    <a:lnTo>
                      <a:pt x="102" y="92"/>
                    </a:lnTo>
                    <a:lnTo>
                      <a:pt x="99" y="88"/>
                    </a:lnTo>
                    <a:lnTo>
                      <a:pt x="99" y="8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44" name="Group 1443">
            <a:extLst>
              <a:ext uri="{FF2B5EF4-FFF2-40B4-BE49-F238E27FC236}">
                <a16:creationId xmlns:a16="http://schemas.microsoft.com/office/drawing/2014/main" id="{9F589CC8-BFD8-41D5-9EDA-A51FBDF5958E}"/>
              </a:ext>
            </a:extLst>
          </p:cNvPr>
          <p:cNvGrpSpPr/>
          <p:nvPr/>
        </p:nvGrpSpPr>
        <p:grpSpPr>
          <a:xfrm>
            <a:off x="5388906" y="5492984"/>
            <a:ext cx="612775" cy="612775"/>
            <a:chOff x="4234277" y="6131327"/>
            <a:chExt cx="612775" cy="612775"/>
          </a:xfrm>
        </p:grpSpPr>
        <p:sp>
          <p:nvSpPr>
            <p:cNvPr id="1445" name="Oval 1444">
              <a:extLst>
                <a:ext uri="{FF2B5EF4-FFF2-40B4-BE49-F238E27FC236}">
                  <a16:creationId xmlns:a16="http://schemas.microsoft.com/office/drawing/2014/main" id="{468D24EB-4FC8-4CE3-BB75-9B587CA0BD2A}"/>
                </a:ext>
              </a:extLst>
            </p:cNvPr>
            <p:cNvSpPr/>
            <p:nvPr/>
          </p:nvSpPr>
          <p:spPr bwMode="ltGray">
            <a:xfrm>
              <a:off x="4234277" y="6131327"/>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46" name="Group 1445">
              <a:extLst>
                <a:ext uri="{FF2B5EF4-FFF2-40B4-BE49-F238E27FC236}">
                  <a16:creationId xmlns:a16="http://schemas.microsoft.com/office/drawing/2014/main" id="{35C44BAE-30E7-442E-A52E-390452B182BF}"/>
                </a:ext>
              </a:extLst>
            </p:cNvPr>
            <p:cNvGrpSpPr/>
            <p:nvPr/>
          </p:nvGrpSpPr>
          <p:grpSpPr>
            <a:xfrm>
              <a:off x="4339426" y="6220230"/>
              <a:ext cx="430450" cy="409746"/>
              <a:chOff x="5346576" y="5552107"/>
              <a:chExt cx="627062" cy="596900"/>
            </a:xfrm>
          </p:grpSpPr>
          <p:sp>
            <p:nvSpPr>
              <p:cNvPr id="1447" name="Freeform 142">
                <a:extLst>
                  <a:ext uri="{FF2B5EF4-FFF2-40B4-BE49-F238E27FC236}">
                    <a16:creationId xmlns:a16="http://schemas.microsoft.com/office/drawing/2014/main" id="{9EDC26A0-6D47-4F44-BEA9-88084BA2715E}"/>
                  </a:ext>
                </a:extLst>
              </p:cNvPr>
              <p:cNvSpPr>
                <a:spLocks/>
              </p:cNvSpPr>
              <p:nvPr/>
            </p:nvSpPr>
            <p:spPr bwMode="auto">
              <a:xfrm>
                <a:off x="5749801" y="5598144"/>
                <a:ext cx="176213" cy="177800"/>
              </a:xfrm>
              <a:custGeom>
                <a:avLst/>
                <a:gdLst>
                  <a:gd name="T0" fmla="*/ 111 w 111"/>
                  <a:gd name="T1" fmla="*/ 110 h 112"/>
                  <a:gd name="T2" fmla="*/ 111 w 111"/>
                  <a:gd name="T3" fmla="*/ 110 h 112"/>
                  <a:gd name="T4" fmla="*/ 111 w 111"/>
                  <a:gd name="T5" fmla="*/ 99 h 112"/>
                  <a:gd name="T6" fmla="*/ 109 w 111"/>
                  <a:gd name="T7" fmla="*/ 89 h 112"/>
                  <a:gd name="T8" fmla="*/ 106 w 111"/>
                  <a:gd name="T9" fmla="*/ 77 h 112"/>
                  <a:gd name="T10" fmla="*/ 102 w 111"/>
                  <a:gd name="T11" fmla="*/ 67 h 112"/>
                  <a:gd name="T12" fmla="*/ 98 w 111"/>
                  <a:gd name="T13" fmla="*/ 57 h 112"/>
                  <a:gd name="T14" fmla="*/ 92 w 111"/>
                  <a:gd name="T15" fmla="*/ 49 h 112"/>
                  <a:gd name="T16" fmla="*/ 86 w 111"/>
                  <a:gd name="T17" fmla="*/ 40 h 112"/>
                  <a:gd name="T18" fmla="*/ 79 w 111"/>
                  <a:gd name="T19" fmla="*/ 31 h 112"/>
                  <a:gd name="T20" fmla="*/ 70 w 111"/>
                  <a:gd name="T21" fmla="*/ 24 h 112"/>
                  <a:gd name="T22" fmla="*/ 62 w 111"/>
                  <a:gd name="T23" fmla="*/ 18 h 112"/>
                  <a:gd name="T24" fmla="*/ 53 w 111"/>
                  <a:gd name="T25" fmla="*/ 13 h 112"/>
                  <a:gd name="T26" fmla="*/ 43 w 111"/>
                  <a:gd name="T27" fmla="*/ 8 h 112"/>
                  <a:gd name="T28" fmla="*/ 33 w 111"/>
                  <a:gd name="T29" fmla="*/ 4 h 112"/>
                  <a:gd name="T30" fmla="*/ 23 w 111"/>
                  <a:gd name="T31" fmla="*/ 1 h 112"/>
                  <a:gd name="T32" fmla="*/ 11 w 111"/>
                  <a:gd name="T33" fmla="*/ 0 h 112"/>
                  <a:gd name="T34" fmla="*/ 0 w 111"/>
                  <a:gd name="T35" fmla="*/ 0 h 112"/>
                  <a:gd name="T36" fmla="*/ 0 w 111"/>
                  <a:gd name="T37" fmla="*/ 0 h 112"/>
                  <a:gd name="T38" fmla="*/ 0 w 111"/>
                  <a:gd name="T39" fmla="*/ 0 h 112"/>
                  <a:gd name="T40" fmla="*/ 0 w 111"/>
                  <a:gd name="T41" fmla="*/ 112 h 112"/>
                  <a:gd name="T42" fmla="*/ 111 w 111"/>
                  <a:gd name="T43" fmla="*/ 112 h 112"/>
                  <a:gd name="T44" fmla="*/ 111 w 111"/>
                  <a:gd name="T45" fmla="*/ 112 h 112"/>
                  <a:gd name="T46" fmla="*/ 111 w 111"/>
                  <a:gd name="T47" fmla="*/ 110 h 112"/>
                  <a:gd name="T48" fmla="*/ 111 w 111"/>
                  <a:gd name="T49" fmla="*/ 110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1" h="112">
                    <a:moveTo>
                      <a:pt x="111" y="110"/>
                    </a:moveTo>
                    <a:lnTo>
                      <a:pt x="111" y="110"/>
                    </a:lnTo>
                    <a:lnTo>
                      <a:pt x="111" y="99"/>
                    </a:lnTo>
                    <a:lnTo>
                      <a:pt x="109" y="89"/>
                    </a:lnTo>
                    <a:lnTo>
                      <a:pt x="106" y="77"/>
                    </a:lnTo>
                    <a:lnTo>
                      <a:pt x="102" y="67"/>
                    </a:lnTo>
                    <a:lnTo>
                      <a:pt x="98" y="57"/>
                    </a:lnTo>
                    <a:lnTo>
                      <a:pt x="92" y="49"/>
                    </a:lnTo>
                    <a:lnTo>
                      <a:pt x="86" y="40"/>
                    </a:lnTo>
                    <a:lnTo>
                      <a:pt x="79" y="31"/>
                    </a:lnTo>
                    <a:lnTo>
                      <a:pt x="70" y="24"/>
                    </a:lnTo>
                    <a:lnTo>
                      <a:pt x="62" y="18"/>
                    </a:lnTo>
                    <a:lnTo>
                      <a:pt x="53" y="13"/>
                    </a:lnTo>
                    <a:lnTo>
                      <a:pt x="43" y="8"/>
                    </a:lnTo>
                    <a:lnTo>
                      <a:pt x="33" y="4"/>
                    </a:lnTo>
                    <a:lnTo>
                      <a:pt x="23" y="1"/>
                    </a:lnTo>
                    <a:lnTo>
                      <a:pt x="11" y="0"/>
                    </a:lnTo>
                    <a:lnTo>
                      <a:pt x="0" y="0"/>
                    </a:lnTo>
                    <a:lnTo>
                      <a:pt x="0" y="0"/>
                    </a:lnTo>
                    <a:lnTo>
                      <a:pt x="0" y="0"/>
                    </a:lnTo>
                    <a:lnTo>
                      <a:pt x="0" y="112"/>
                    </a:lnTo>
                    <a:lnTo>
                      <a:pt x="111" y="112"/>
                    </a:lnTo>
                    <a:lnTo>
                      <a:pt x="111" y="112"/>
                    </a:lnTo>
                    <a:lnTo>
                      <a:pt x="111" y="110"/>
                    </a:lnTo>
                    <a:lnTo>
                      <a:pt x="111" y="1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48" name="Freeform 143">
                <a:extLst>
                  <a:ext uri="{FF2B5EF4-FFF2-40B4-BE49-F238E27FC236}">
                    <a16:creationId xmlns:a16="http://schemas.microsoft.com/office/drawing/2014/main" id="{3A7FF29E-C814-424F-BC10-5CAB72F344EA}"/>
                  </a:ext>
                </a:extLst>
              </p:cNvPr>
              <p:cNvSpPr>
                <a:spLocks/>
              </p:cNvSpPr>
              <p:nvPr/>
            </p:nvSpPr>
            <p:spPr bwMode="auto">
              <a:xfrm>
                <a:off x="5719638" y="5791819"/>
                <a:ext cx="206375" cy="11113"/>
              </a:xfrm>
              <a:custGeom>
                <a:avLst/>
                <a:gdLst>
                  <a:gd name="T0" fmla="*/ 0 w 130"/>
                  <a:gd name="T1" fmla="*/ 7 h 7"/>
                  <a:gd name="T2" fmla="*/ 128 w 130"/>
                  <a:gd name="T3" fmla="*/ 7 h 7"/>
                  <a:gd name="T4" fmla="*/ 128 w 130"/>
                  <a:gd name="T5" fmla="*/ 7 h 7"/>
                  <a:gd name="T6" fmla="*/ 130 w 130"/>
                  <a:gd name="T7" fmla="*/ 0 h 7"/>
                  <a:gd name="T8" fmla="*/ 9 w 130"/>
                  <a:gd name="T9" fmla="*/ 0 h 7"/>
                  <a:gd name="T10" fmla="*/ 0 w 130"/>
                  <a:gd name="T11" fmla="*/ 7 h 7"/>
                </a:gdLst>
                <a:ahLst/>
                <a:cxnLst>
                  <a:cxn ang="0">
                    <a:pos x="T0" y="T1"/>
                  </a:cxn>
                  <a:cxn ang="0">
                    <a:pos x="T2" y="T3"/>
                  </a:cxn>
                  <a:cxn ang="0">
                    <a:pos x="T4" y="T5"/>
                  </a:cxn>
                  <a:cxn ang="0">
                    <a:pos x="T6" y="T7"/>
                  </a:cxn>
                  <a:cxn ang="0">
                    <a:pos x="T8" y="T9"/>
                  </a:cxn>
                  <a:cxn ang="0">
                    <a:pos x="T10" y="T11"/>
                  </a:cxn>
                </a:cxnLst>
                <a:rect l="0" t="0" r="r" b="b"/>
                <a:pathLst>
                  <a:path w="130" h="7">
                    <a:moveTo>
                      <a:pt x="0" y="7"/>
                    </a:moveTo>
                    <a:lnTo>
                      <a:pt x="128" y="7"/>
                    </a:lnTo>
                    <a:lnTo>
                      <a:pt x="128" y="7"/>
                    </a:lnTo>
                    <a:lnTo>
                      <a:pt x="130" y="0"/>
                    </a:lnTo>
                    <a:lnTo>
                      <a:pt x="9" y="0"/>
                    </a:lnTo>
                    <a:lnTo>
                      <a:pt x="0" y="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49" name="Freeform 144">
                <a:extLst>
                  <a:ext uri="{FF2B5EF4-FFF2-40B4-BE49-F238E27FC236}">
                    <a16:creationId xmlns:a16="http://schemas.microsoft.com/office/drawing/2014/main" id="{912B0A3C-ED32-4CBE-96C2-D97E1C321094}"/>
                  </a:ext>
                </a:extLst>
              </p:cNvPr>
              <p:cNvSpPr>
                <a:spLocks/>
              </p:cNvSpPr>
              <p:nvPr/>
            </p:nvSpPr>
            <p:spPr bwMode="auto">
              <a:xfrm>
                <a:off x="5691063" y="5817219"/>
                <a:ext cx="230188" cy="11113"/>
              </a:xfrm>
              <a:custGeom>
                <a:avLst/>
                <a:gdLst>
                  <a:gd name="T0" fmla="*/ 0 w 145"/>
                  <a:gd name="T1" fmla="*/ 7 h 7"/>
                  <a:gd name="T2" fmla="*/ 142 w 145"/>
                  <a:gd name="T3" fmla="*/ 7 h 7"/>
                  <a:gd name="T4" fmla="*/ 142 w 145"/>
                  <a:gd name="T5" fmla="*/ 7 h 7"/>
                  <a:gd name="T6" fmla="*/ 145 w 145"/>
                  <a:gd name="T7" fmla="*/ 0 h 7"/>
                  <a:gd name="T8" fmla="*/ 8 w 145"/>
                  <a:gd name="T9" fmla="*/ 0 h 7"/>
                  <a:gd name="T10" fmla="*/ 0 w 145"/>
                  <a:gd name="T11" fmla="*/ 7 h 7"/>
                </a:gdLst>
                <a:ahLst/>
                <a:cxnLst>
                  <a:cxn ang="0">
                    <a:pos x="T0" y="T1"/>
                  </a:cxn>
                  <a:cxn ang="0">
                    <a:pos x="T2" y="T3"/>
                  </a:cxn>
                  <a:cxn ang="0">
                    <a:pos x="T4" y="T5"/>
                  </a:cxn>
                  <a:cxn ang="0">
                    <a:pos x="T6" y="T7"/>
                  </a:cxn>
                  <a:cxn ang="0">
                    <a:pos x="T8" y="T9"/>
                  </a:cxn>
                  <a:cxn ang="0">
                    <a:pos x="T10" y="T11"/>
                  </a:cxn>
                </a:cxnLst>
                <a:rect l="0" t="0" r="r" b="b"/>
                <a:pathLst>
                  <a:path w="145" h="7">
                    <a:moveTo>
                      <a:pt x="0" y="7"/>
                    </a:moveTo>
                    <a:lnTo>
                      <a:pt x="142" y="7"/>
                    </a:lnTo>
                    <a:lnTo>
                      <a:pt x="142" y="7"/>
                    </a:lnTo>
                    <a:lnTo>
                      <a:pt x="145" y="0"/>
                    </a:lnTo>
                    <a:lnTo>
                      <a:pt x="8" y="0"/>
                    </a:lnTo>
                    <a:lnTo>
                      <a:pt x="0" y="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50" name="Freeform 145">
                <a:extLst>
                  <a:ext uri="{FF2B5EF4-FFF2-40B4-BE49-F238E27FC236}">
                    <a16:creationId xmlns:a16="http://schemas.microsoft.com/office/drawing/2014/main" id="{E20CD86A-113C-4D77-96C0-79D8343DAC34}"/>
                  </a:ext>
                </a:extLst>
              </p:cNvPr>
              <p:cNvSpPr>
                <a:spLocks/>
              </p:cNvSpPr>
              <p:nvPr/>
            </p:nvSpPr>
            <p:spPr bwMode="auto">
              <a:xfrm>
                <a:off x="5662488" y="5841032"/>
                <a:ext cx="249238" cy="12700"/>
              </a:xfrm>
              <a:custGeom>
                <a:avLst/>
                <a:gdLst>
                  <a:gd name="T0" fmla="*/ 0 w 157"/>
                  <a:gd name="T1" fmla="*/ 8 h 8"/>
                  <a:gd name="T2" fmla="*/ 154 w 157"/>
                  <a:gd name="T3" fmla="*/ 8 h 8"/>
                  <a:gd name="T4" fmla="*/ 154 w 157"/>
                  <a:gd name="T5" fmla="*/ 8 h 8"/>
                  <a:gd name="T6" fmla="*/ 157 w 157"/>
                  <a:gd name="T7" fmla="*/ 0 h 8"/>
                  <a:gd name="T8" fmla="*/ 9 w 157"/>
                  <a:gd name="T9" fmla="*/ 0 h 8"/>
                  <a:gd name="T10" fmla="*/ 0 w 157"/>
                  <a:gd name="T11" fmla="*/ 8 h 8"/>
                </a:gdLst>
                <a:ahLst/>
                <a:cxnLst>
                  <a:cxn ang="0">
                    <a:pos x="T0" y="T1"/>
                  </a:cxn>
                  <a:cxn ang="0">
                    <a:pos x="T2" y="T3"/>
                  </a:cxn>
                  <a:cxn ang="0">
                    <a:pos x="T4" y="T5"/>
                  </a:cxn>
                  <a:cxn ang="0">
                    <a:pos x="T6" y="T7"/>
                  </a:cxn>
                  <a:cxn ang="0">
                    <a:pos x="T8" y="T9"/>
                  </a:cxn>
                  <a:cxn ang="0">
                    <a:pos x="T10" y="T11"/>
                  </a:cxn>
                </a:cxnLst>
                <a:rect l="0" t="0" r="r" b="b"/>
                <a:pathLst>
                  <a:path w="157" h="8">
                    <a:moveTo>
                      <a:pt x="0" y="8"/>
                    </a:moveTo>
                    <a:lnTo>
                      <a:pt x="154" y="8"/>
                    </a:lnTo>
                    <a:lnTo>
                      <a:pt x="154" y="8"/>
                    </a:lnTo>
                    <a:lnTo>
                      <a:pt x="157" y="0"/>
                    </a:lnTo>
                    <a:lnTo>
                      <a:pt x="9" y="0"/>
                    </a:lnTo>
                    <a:lnTo>
                      <a:pt x="0" y="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51" name="Freeform 146">
                <a:extLst>
                  <a:ext uri="{FF2B5EF4-FFF2-40B4-BE49-F238E27FC236}">
                    <a16:creationId xmlns:a16="http://schemas.microsoft.com/office/drawing/2014/main" id="{EEBEC22A-F9D0-4DA8-A115-BA6CED54F73C}"/>
                  </a:ext>
                </a:extLst>
              </p:cNvPr>
              <p:cNvSpPr>
                <a:spLocks/>
              </p:cNvSpPr>
              <p:nvPr/>
            </p:nvSpPr>
            <p:spPr bwMode="auto">
              <a:xfrm>
                <a:off x="5633913" y="5866432"/>
                <a:ext cx="263525" cy="11113"/>
              </a:xfrm>
              <a:custGeom>
                <a:avLst/>
                <a:gdLst>
                  <a:gd name="T0" fmla="*/ 0 w 166"/>
                  <a:gd name="T1" fmla="*/ 7 h 7"/>
                  <a:gd name="T2" fmla="*/ 162 w 166"/>
                  <a:gd name="T3" fmla="*/ 7 h 7"/>
                  <a:gd name="T4" fmla="*/ 162 w 166"/>
                  <a:gd name="T5" fmla="*/ 7 h 7"/>
                  <a:gd name="T6" fmla="*/ 166 w 166"/>
                  <a:gd name="T7" fmla="*/ 0 h 7"/>
                  <a:gd name="T8" fmla="*/ 8 w 166"/>
                  <a:gd name="T9" fmla="*/ 0 h 7"/>
                  <a:gd name="T10" fmla="*/ 0 w 166"/>
                  <a:gd name="T11" fmla="*/ 7 h 7"/>
                </a:gdLst>
                <a:ahLst/>
                <a:cxnLst>
                  <a:cxn ang="0">
                    <a:pos x="T0" y="T1"/>
                  </a:cxn>
                  <a:cxn ang="0">
                    <a:pos x="T2" y="T3"/>
                  </a:cxn>
                  <a:cxn ang="0">
                    <a:pos x="T4" y="T5"/>
                  </a:cxn>
                  <a:cxn ang="0">
                    <a:pos x="T6" y="T7"/>
                  </a:cxn>
                  <a:cxn ang="0">
                    <a:pos x="T8" y="T9"/>
                  </a:cxn>
                  <a:cxn ang="0">
                    <a:pos x="T10" y="T11"/>
                  </a:cxn>
                </a:cxnLst>
                <a:rect l="0" t="0" r="r" b="b"/>
                <a:pathLst>
                  <a:path w="166" h="7">
                    <a:moveTo>
                      <a:pt x="0" y="7"/>
                    </a:moveTo>
                    <a:lnTo>
                      <a:pt x="162" y="7"/>
                    </a:lnTo>
                    <a:lnTo>
                      <a:pt x="162" y="7"/>
                    </a:lnTo>
                    <a:lnTo>
                      <a:pt x="166" y="0"/>
                    </a:lnTo>
                    <a:lnTo>
                      <a:pt x="8" y="0"/>
                    </a:lnTo>
                    <a:lnTo>
                      <a:pt x="0" y="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52" name="Freeform 147">
                <a:extLst>
                  <a:ext uri="{FF2B5EF4-FFF2-40B4-BE49-F238E27FC236}">
                    <a16:creationId xmlns:a16="http://schemas.microsoft.com/office/drawing/2014/main" id="{03FF6996-174D-4A71-8E51-AA716160E835}"/>
                  </a:ext>
                </a:extLst>
              </p:cNvPr>
              <p:cNvSpPr>
                <a:spLocks/>
              </p:cNvSpPr>
              <p:nvPr/>
            </p:nvSpPr>
            <p:spPr bwMode="auto">
              <a:xfrm>
                <a:off x="5641851" y="5917232"/>
                <a:ext cx="211138" cy="11113"/>
              </a:xfrm>
              <a:custGeom>
                <a:avLst/>
                <a:gdLst>
                  <a:gd name="T0" fmla="*/ 133 w 133"/>
                  <a:gd name="T1" fmla="*/ 0 h 7"/>
                  <a:gd name="T2" fmla="*/ 0 w 133"/>
                  <a:gd name="T3" fmla="*/ 0 h 7"/>
                  <a:gd name="T4" fmla="*/ 0 w 133"/>
                  <a:gd name="T5" fmla="*/ 0 h 7"/>
                  <a:gd name="T6" fmla="*/ 12 w 133"/>
                  <a:gd name="T7" fmla="*/ 7 h 7"/>
                  <a:gd name="T8" fmla="*/ 123 w 133"/>
                  <a:gd name="T9" fmla="*/ 7 h 7"/>
                  <a:gd name="T10" fmla="*/ 123 w 133"/>
                  <a:gd name="T11" fmla="*/ 7 h 7"/>
                  <a:gd name="T12" fmla="*/ 133 w 133"/>
                  <a:gd name="T13" fmla="*/ 0 h 7"/>
                  <a:gd name="T14" fmla="*/ 133 w 133"/>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3" h="7">
                    <a:moveTo>
                      <a:pt x="133" y="0"/>
                    </a:moveTo>
                    <a:lnTo>
                      <a:pt x="0" y="0"/>
                    </a:lnTo>
                    <a:lnTo>
                      <a:pt x="0" y="0"/>
                    </a:lnTo>
                    <a:lnTo>
                      <a:pt x="12" y="7"/>
                    </a:lnTo>
                    <a:lnTo>
                      <a:pt x="123" y="7"/>
                    </a:lnTo>
                    <a:lnTo>
                      <a:pt x="123" y="7"/>
                    </a:lnTo>
                    <a:lnTo>
                      <a:pt x="133" y="0"/>
                    </a:lnTo>
                    <a:lnTo>
                      <a:pt x="133"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53" name="Freeform 148">
                <a:extLst>
                  <a:ext uri="{FF2B5EF4-FFF2-40B4-BE49-F238E27FC236}">
                    <a16:creationId xmlns:a16="http://schemas.microsoft.com/office/drawing/2014/main" id="{F7EE68D5-CBA2-4738-B892-058E21375618}"/>
                  </a:ext>
                </a:extLst>
              </p:cNvPr>
              <p:cNvSpPr>
                <a:spLocks/>
              </p:cNvSpPr>
              <p:nvPr/>
            </p:nvSpPr>
            <p:spPr bwMode="auto">
              <a:xfrm>
                <a:off x="5618038" y="5891832"/>
                <a:ext cx="261938" cy="11113"/>
              </a:xfrm>
              <a:custGeom>
                <a:avLst/>
                <a:gdLst>
                  <a:gd name="T0" fmla="*/ 0 w 165"/>
                  <a:gd name="T1" fmla="*/ 0 h 7"/>
                  <a:gd name="T2" fmla="*/ 0 w 165"/>
                  <a:gd name="T3" fmla="*/ 0 h 7"/>
                  <a:gd name="T4" fmla="*/ 5 w 165"/>
                  <a:gd name="T5" fmla="*/ 7 h 7"/>
                  <a:gd name="T6" fmla="*/ 158 w 165"/>
                  <a:gd name="T7" fmla="*/ 7 h 7"/>
                  <a:gd name="T8" fmla="*/ 158 w 165"/>
                  <a:gd name="T9" fmla="*/ 7 h 7"/>
                  <a:gd name="T10" fmla="*/ 165 w 165"/>
                  <a:gd name="T11" fmla="*/ 0 h 7"/>
                  <a:gd name="T12" fmla="*/ 1 w 165"/>
                  <a:gd name="T13" fmla="*/ 0 h 7"/>
                  <a:gd name="T14" fmla="*/ 0 w 165"/>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5" h="7">
                    <a:moveTo>
                      <a:pt x="0" y="0"/>
                    </a:moveTo>
                    <a:lnTo>
                      <a:pt x="0" y="0"/>
                    </a:lnTo>
                    <a:lnTo>
                      <a:pt x="5" y="7"/>
                    </a:lnTo>
                    <a:lnTo>
                      <a:pt x="158" y="7"/>
                    </a:lnTo>
                    <a:lnTo>
                      <a:pt x="158" y="7"/>
                    </a:lnTo>
                    <a:lnTo>
                      <a:pt x="165" y="0"/>
                    </a:lnTo>
                    <a:lnTo>
                      <a:pt x="1" y="0"/>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54" name="Freeform 149">
                <a:extLst>
                  <a:ext uri="{FF2B5EF4-FFF2-40B4-BE49-F238E27FC236}">
                    <a16:creationId xmlns:a16="http://schemas.microsoft.com/office/drawing/2014/main" id="{137573B2-9507-4E3E-BD85-A78908ED4D68}"/>
                  </a:ext>
                </a:extLst>
              </p:cNvPr>
              <p:cNvSpPr>
                <a:spLocks/>
              </p:cNvSpPr>
              <p:nvPr/>
            </p:nvSpPr>
            <p:spPr bwMode="auto">
              <a:xfrm>
                <a:off x="5692651" y="5942632"/>
                <a:ext cx="115888" cy="7938"/>
              </a:xfrm>
              <a:custGeom>
                <a:avLst/>
                <a:gdLst>
                  <a:gd name="T0" fmla="*/ 73 w 73"/>
                  <a:gd name="T1" fmla="*/ 0 h 5"/>
                  <a:gd name="T2" fmla="*/ 0 w 73"/>
                  <a:gd name="T3" fmla="*/ 0 h 5"/>
                  <a:gd name="T4" fmla="*/ 0 w 73"/>
                  <a:gd name="T5" fmla="*/ 0 h 5"/>
                  <a:gd name="T6" fmla="*/ 14 w 73"/>
                  <a:gd name="T7" fmla="*/ 3 h 5"/>
                  <a:gd name="T8" fmla="*/ 30 w 73"/>
                  <a:gd name="T9" fmla="*/ 5 h 5"/>
                  <a:gd name="T10" fmla="*/ 30 w 73"/>
                  <a:gd name="T11" fmla="*/ 5 h 5"/>
                  <a:gd name="T12" fmla="*/ 42 w 73"/>
                  <a:gd name="T13" fmla="*/ 5 h 5"/>
                  <a:gd name="T14" fmla="*/ 52 w 73"/>
                  <a:gd name="T15" fmla="*/ 4 h 5"/>
                  <a:gd name="T16" fmla="*/ 63 w 73"/>
                  <a:gd name="T17" fmla="*/ 3 h 5"/>
                  <a:gd name="T18" fmla="*/ 73 w 73"/>
                  <a:gd name="T19" fmla="*/ 0 h 5"/>
                  <a:gd name="T20" fmla="*/ 73 w 73"/>
                  <a:gd name="T21" fmla="*/ 0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3" h="5">
                    <a:moveTo>
                      <a:pt x="73" y="0"/>
                    </a:moveTo>
                    <a:lnTo>
                      <a:pt x="0" y="0"/>
                    </a:lnTo>
                    <a:lnTo>
                      <a:pt x="0" y="0"/>
                    </a:lnTo>
                    <a:lnTo>
                      <a:pt x="14" y="3"/>
                    </a:lnTo>
                    <a:lnTo>
                      <a:pt x="30" y="5"/>
                    </a:lnTo>
                    <a:lnTo>
                      <a:pt x="30" y="5"/>
                    </a:lnTo>
                    <a:lnTo>
                      <a:pt x="42" y="5"/>
                    </a:lnTo>
                    <a:lnTo>
                      <a:pt x="52" y="4"/>
                    </a:lnTo>
                    <a:lnTo>
                      <a:pt x="63" y="3"/>
                    </a:lnTo>
                    <a:lnTo>
                      <a:pt x="73" y="0"/>
                    </a:lnTo>
                    <a:lnTo>
                      <a:pt x="73"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55" name="Freeform 150">
                <a:extLst>
                  <a:ext uri="{FF2B5EF4-FFF2-40B4-BE49-F238E27FC236}">
                    <a16:creationId xmlns:a16="http://schemas.microsoft.com/office/drawing/2014/main" id="{9BC9BA00-413F-4C40-8C74-B094DFA5C7F5}"/>
                  </a:ext>
                </a:extLst>
              </p:cNvPr>
              <p:cNvSpPr>
                <a:spLocks/>
              </p:cNvSpPr>
              <p:nvPr/>
            </p:nvSpPr>
            <p:spPr bwMode="auto">
              <a:xfrm>
                <a:off x="5525963" y="5552107"/>
                <a:ext cx="447675" cy="444500"/>
              </a:xfrm>
              <a:custGeom>
                <a:avLst/>
                <a:gdLst>
                  <a:gd name="T0" fmla="*/ 127 w 282"/>
                  <a:gd name="T1" fmla="*/ 0 h 280"/>
                  <a:gd name="T2" fmla="*/ 86 w 282"/>
                  <a:gd name="T3" fmla="*/ 10 h 280"/>
                  <a:gd name="T4" fmla="*/ 52 w 282"/>
                  <a:gd name="T5" fmla="*/ 32 h 280"/>
                  <a:gd name="T6" fmla="*/ 25 w 282"/>
                  <a:gd name="T7" fmla="*/ 62 h 280"/>
                  <a:gd name="T8" fmla="*/ 7 w 282"/>
                  <a:gd name="T9" fmla="*/ 98 h 280"/>
                  <a:gd name="T10" fmla="*/ 0 w 282"/>
                  <a:gd name="T11" fmla="*/ 139 h 280"/>
                  <a:gd name="T12" fmla="*/ 6 w 282"/>
                  <a:gd name="T13" fmla="*/ 175 h 280"/>
                  <a:gd name="T14" fmla="*/ 20 w 282"/>
                  <a:gd name="T15" fmla="*/ 155 h 280"/>
                  <a:gd name="T16" fmla="*/ 20 w 282"/>
                  <a:gd name="T17" fmla="*/ 128 h 280"/>
                  <a:gd name="T18" fmla="*/ 29 w 282"/>
                  <a:gd name="T19" fmla="*/ 92 h 280"/>
                  <a:gd name="T20" fmla="*/ 48 w 282"/>
                  <a:gd name="T21" fmla="*/ 62 h 280"/>
                  <a:gd name="T22" fmla="*/ 73 w 282"/>
                  <a:gd name="T23" fmla="*/ 39 h 280"/>
                  <a:gd name="T24" fmla="*/ 105 w 282"/>
                  <a:gd name="T25" fmla="*/ 24 h 280"/>
                  <a:gd name="T26" fmla="*/ 141 w 282"/>
                  <a:gd name="T27" fmla="*/ 19 h 280"/>
                  <a:gd name="T28" fmla="*/ 165 w 282"/>
                  <a:gd name="T29" fmla="*/ 20 h 280"/>
                  <a:gd name="T30" fmla="*/ 198 w 282"/>
                  <a:gd name="T31" fmla="*/ 33 h 280"/>
                  <a:gd name="T32" fmla="*/ 227 w 282"/>
                  <a:gd name="T33" fmla="*/ 53 h 280"/>
                  <a:gd name="T34" fmla="*/ 247 w 282"/>
                  <a:gd name="T35" fmla="*/ 82 h 280"/>
                  <a:gd name="T36" fmla="*/ 260 w 282"/>
                  <a:gd name="T37" fmla="*/ 115 h 280"/>
                  <a:gd name="T38" fmla="*/ 262 w 282"/>
                  <a:gd name="T39" fmla="*/ 139 h 280"/>
                  <a:gd name="T40" fmla="*/ 257 w 282"/>
                  <a:gd name="T41" fmla="*/ 175 h 280"/>
                  <a:gd name="T42" fmla="*/ 242 w 282"/>
                  <a:gd name="T43" fmla="*/ 207 h 280"/>
                  <a:gd name="T44" fmla="*/ 219 w 282"/>
                  <a:gd name="T45" fmla="*/ 233 h 280"/>
                  <a:gd name="T46" fmla="*/ 188 w 282"/>
                  <a:gd name="T47" fmla="*/ 251 h 280"/>
                  <a:gd name="T48" fmla="*/ 154 w 282"/>
                  <a:gd name="T49" fmla="*/ 260 h 280"/>
                  <a:gd name="T50" fmla="*/ 125 w 282"/>
                  <a:gd name="T51" fmla="*/ 260 h 280"/>
                  <a:gd name="T52" fmla="*/ 85 w 282"/>
                  <a:gd name="T53" fmla="*/ 247 h 280"/>
                  <a:gd name="T54" fmla="*/ 50 w 282"/>
                  <a:gd name="T55" fmla="*/ 221 h 280"/>
                  <a:gd name="T56" fmla="*/ 23 w 282"/>
                  <a:gd name="T57" fmla="*/ 216 h 280"/>
                  <a:gd name="T58" fmla="*/ 58 w 282"/>
                  <a:gd name="T59" fmla="*/ 253 h 280"/>
                  <a:gd name="T60" fmla="*/ 105 w 282"/>
                  <a:gd name="T61" fmla="*/ 276 h 280"/>
                  <a:gd name="T62" fmla="*/ 141 w 282"/>
                  <a:gd name="T63" fmla="*/ 280 h 280"/>
                  <a:gd name="T64" fmla="*/ 183 w 282"/>
                  <a:gd name="T65" fmla="*/ 273 h 280"/>
                  <a:gd name="T66" fmla="*/ 219 w 282"/>
                  <a:gd name="T67" fmla="*/ 256 h 280"/>
                  <a:gd name="T68" fmla="*/ 249 w 282"/>
                  <a:gd name="T69" fmla="*/ 228 h 280"/>
                  <a:gd name="T70" fmla="*/ 270 w 282"/>
                  <a:gd name="T71" fmla="*/ 194 h 280"/>
                  <a:gd name="T72" fmla="*/ 280 w 282"/>
                  <a:gd name="T73" fmla="*/ 154 h 280"/>
                  <a:gd name="T74" fmla="*/ 280 w 282"/>
                  <a:gd name="T75" fmla="*/ 125 h 280"/>
                  <a:gd name="T76" fmla="*/ 270 w 282"/>
                  <a:gd name="T77" fmla="*/ 85 h 280"/>
                  <a:gd name="T78" fmla="*/ 249 w 282"/>
                  <a:gd name="T79" fmla="*/ 50 h 280"/>
                  <a:gd name="T80" fmla="*/ 219 w 282"/>
                  <a:gd name="T81" fmla="*/ 23 h 280"/>
                  <a:gd name="T82" fmla="*/ 183 w 282"/>
                  <a:gd name="T83" fmla="*/ 6 h 280"/>
                  <a:gd name="T84" fmla="*/ 141 w 282"/>
                  <a:gd name="T85"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82" h="280">
                    <a:moveTo>
                      <a:pt x="141" y="0"/>
                    </a:moveTo>
                    <a:lnTo>
                      <a:pt x="141" y="0"/>
                    </a:lnTo>
                    <a:lnTo>
                      <a:pt x="127" y="0"/>
                    </a:lnTo>
                    <a:lnTo>
                      <a:pt x="112" y="1"/>
                    </a:lnTo>
                    <a:lnTo>
                      <a:pt x="99" y="6"/>
                    </a:lnTo>
                    <a:lnTo>
                      <a:pt x="86" y="10"/>
                    </a:lnTo>
                    <a:lnTo>
                      <a:pt x="73" y="16"/>
                    </a:lnTo>
                    <a:lnTo>
                      <a:pt x="62" y="23"/>
                    </a:lnTo>
                    <a:lnTo>
                      <a:pt x="52" y="32"/>
                    </a:lnTo>
                    <a:lnTo>
                      <a:pt x="42" y="40"/>
                    </a:lnTo>
                    <a:lnTo>
                      <a:pt x="33" y="50"/>
                    </a:lnTo>
                    <a:lnTo>
                      <a:pt x="25" y="62"/>
                    </a:lnTo>
                    <a:lnTo>
                      <a:pt x="17" y="73"/>
                    </a:lnTo>
                    <a:lnTo>
                      <a:pt x="12" y="85"/>
                    </a:lnTo>
                    <a:lnTo>
                      <a:pt x="7" y="98"/>
                    </a:lnTo>
                    <a:lnTo>
                      <a:pt x="3" y="112"/>
                    </a:lnTo>
                    <a:lnTo>
                      <a:pt x="2" y="125"/>
                    </a:lnTo>
                    <a:lnTo>
                      <a:pt x="0" y="139"/>
                    </a:lnTo>
                    <a:lnTo>
                      <a:pt x="0" y="139"/>
                    </a:lnTo>
                    <a:lnTo>
                      <a:pt x="2" y="158"/>
                    </a:lnTo>
                    <a:lnTo>
                      <a:pt x="6" y="175"/>
                    </a:lnTo>
                    <a:lnTo>
                      <a:pt x="23" y="171"/>
                    </a:lnTo>
                    <a:lnTo>
                      <a:pt x="23" y="171"/>
                    </a:lnTo>
                    <a:lnTo>
                      <a:pt x="20" y="155"/>
                    </a:lnTo>
                    <a:lnTo>
                      <a:pt x="19" y="139"/>
                    </a:lnTo>
                    <a:lnTo>
                      <a:pt x="19" y="139"/>
                    </a:lnTo>
                    <a:lnTo>
                      <a:pt x="20" y="128"/>
                    </a:lnTo>
                    <a:lnTo>
                      <a:pt x="22" y="115"/>
                    </a:lnTo>
                    <a:lnTo>
                      <a:pt x="25" y="103"/>
                    </a:lnTo>
                    <a:lnTo>
                      <a:pt x="29" y="92"/>
                    </a:lnTo>
                    <a:lnTo>
                      <a:pt x="35" y="82"/>
                    </a:lnTo>
                    <a:lnTo>
                      <a:pt x="40" y="72"/>
                    </a:lnTo>
                    <a:lnTo>
                      <a:pt x="48" y="62"/>
                    </a:lnTo>
                    <a:lnTo>
                      <a:pt x="55" y="53"/>
                    </a:lnTo>
                    <a:lnTo>
                      <a:pt x="63" y="46"/>
                    </a:lnTo>
                    <a:lnTo>
                      <a:pt x="73" y="39"/>
                    </a:lnTo>
                    <a:lnTo>
                      <a:pt x="84" y="33"/>
                    </a:lnTo>
                    <a:lnTo>
                      <a:pt x="94" y="27"/>
                    </a:lnTo>
                    <a:lnTo>
                      <a:pt x="105" y="24"/>
                    </a:lnTo>
                    <a:lnTo>
                      <a:pt x="117" y="20"/>
                    </a:lnTo>
                    <a:lnTo>
                      <a:pt x="128" y="19"/>
                    </a:lnTo>
                    <a:lnTo>
                      <a:pt x="141" y="19"/>
                    </a:lnTo>
                    <a:lnTo>
                      <a:pt x="141" y="19"/>
                    </a:lnTo>
                    <a:lnTo>
                      <a:pt x="154" y="19"/>
                    </a:lnTo>
                    <a:lnTo>
                      <a:pt x="165" y="20"/>
                    </a:lnTo>
                    <a:lnTo>
                      <a:pt x="177" y="24"/>
                    </a:lnTo>
                    <a:lnTo>
                      <a:pt x="188" y="27"/>
                    </a:lnTo>
                    <a:lnTo>
                      <a:pt x="198" y="33"/>
                    </a:lnTo>
                    <a:lnTo>
                      <a:pt x="209" y="39"/>
                    </a:lnTo>
                    <a:lnTo>
                      <a:pt x="219" y="46"/>
                    </a:lnTo>
                    <a:lnTo>
                      <a:pt x="227" y="53"/>
                    </a:lnTo>
                    <a:lnTo>
                      <a:pt x="234" y="62"/>
                    </a:lnTo>
                    <a:lnTo>
                      <a:pt x="242" y="72"/>
                    </a:lnTo>
                    <a:lnTo>
                      <a:pt x="247" y="82"/>
                    </a:lnTo>
                    <a:lnTo>
                      <a:pt x="253" y="92"/>
                    </a:lnTo>
                    <a:lnTo>
                      <a:pt x="257" y="103"/>
                    </a:lnTo>
                    <a:lnTo>
                      <a:pt x="260" y="115"/>
                    </a:lnTo>
                    <a:lnTo>
                      <a:pt x="262" y="128"/>
                    </a:lnTo>
                    <a:lnTo>
                      <a:pt x="262" y="139"/>
                    </a:lnTo>
                    <a:lnTo>
                      <a:pt x="262" y="139"/>
                    </a:lnTo>
                    <a:lnTo>
                      <a:pt x="262" y="152"/>
                    </a:lnTo>
                    <a:lnTo>
                      <a:pt x="260" y="164"/>
                    </a:lnTo>
                    <a:lnTo>
                      <a:pt x="257" y="175"/>
                    </a:lnTo>
                    <a:lnTo>
                      <a:pt x="253" y="187"/>
                    </a:lnTo>
                    <a:lnTo>
                      <a:pt x="247" y="197"/>
                    </a:lnTo>
                    <a:lnTo>
                      <a:pt x="242" y="207"/>
                    </a:lnTo>
                    <a:lnTo>
                      <a:pt x="234" y="217"/>
                    </a:lnTo>
                    <a:lnTo>
                      <a:pt x="227" y="226"/>
                    </a:lnTo>
                    <a:lnTo>
                      <a:pt x="219" y="233"/>
                    </a:lnTo>
                    <a:lnTo>
                      <a:pt x="209" y="240"/>
                    </a:lnTo>
                    <a:lnTo>
                      <a:pt x="198" y="247"/>
                    </a:lnTo>
                    <a:lnTo>
                      <a:pt x="188" y="251"/>
                    </a:lnTo>
                    <a:lnTo>
                      <a:pt x="177" y="256"/>
                    </a:lnTo>
                    <a:lnTo>
                      <a:pt x="165" y="259"/>
                    </a:lnTo>
                    <a:lnTo>
                      <a:pt x="154" y="260"/>
                    </a:lnTo>
                    <a:lnTo>
                      <a:pt x="141" y="262"/>
                    </a:lnTo>
                    <a:lnTo>
                      <a:pt x="141" y="262"/>
                    </a:lnTo>
                    <a:lnTo>
                      <a:pt x="125" y="260"/>
                    </a:lnTo>
                    <a:lnTo>
                      <a:pt x="111" y="257"/>
                    </a:lnTo>
                    <a:lnTo>
                      <a:pt x="98" y="253"/>
                    </a:lnTo>
                    <a:lnTo>
                      <a:pt x="85" y="247"/>
                    </a:lnTo>
                    <a:lnTo>
                      <a:pt x="72" y="240"/>
                    </a:lnTo>
                    <a:lnTo>
                      <a:pt x="62" y="231"/>
                    </a:lnTo>
                    <a:lnTo>
                      <a:pt x="50" y="221"/>
                    </a:lnTo>
                    <a:lnTo>
                      <a:pt x="42" y="210"/>
                    </a:lnTo>
                    <a:lnTo>
                      <a:pt x="23" y="216"/>
                    </a:lnTo>
                    <a:lnTo>
                      <a:pt x="23" y="216"/>
                    </a:lnTo>
                    <a:lnTo>
                      <a:pt x="33" y="230"/>
                    </a:lnTo>
                    <a:lnTo>
                      <a:pt x="45" y="241"/>
                    </a:lnTo>
                    <a:lnTo>
                      <a:pt x="58" y="253"/>
                    </a:lnTo>
                    <a:lnTo>
                      <a:pt x="73" y="263"/>
                    </a:lnTo>
                    <a:lnTo>
                      <a:pt x="88" y="270"/>
                    </a:lnTo>
                    <a:lnTo>
                      <a:pt x="105" y="276"/>
                    </a:lnTo>
                    <a:lnTo>
                      <a:pt x="122" y="279"/>
                    </a:lnTo>
                    <a:lnTo>
                      <a:pt x="141" y="280"/>
                    </a:lnTo>
                    <a:lnTo>
                      <a:pt x="141" y="280"/>
                    </a:lnTo>
                    <a:lnTo>
                      <a:pt x="155" y="279"/>
                    </a:lnTo>
                    <a:lnTo>
                      <a:pt x="170" y="277"/>
                    </a:lnTo>
                    <a:lnTo>
                      <a:pt x="183" y="273"/>
                    </a:lnTo>
                    <a:lnTo>
                      <a:pt x="196" y="269"/>
                    </a:lnTo>
                    <a:lnTo>
                      <a:pt x="207" y="263"/>
                    </a:lnTo>
                    <a:lnTo>
                      <a:pt x="219" y="256"/>
                    </a:lnTo>
                    <a:lnTo>
                      <a:pt x="230" y="247"/>
                    </a:lnTo>
                    <a:lnTo>
                      <a:pt x="240" y="239"/>
                    </a:lnTo>
                    <a:lnTo>
                      <a:pt x="249" y="228"/>
                    </a:lnTo>
                    <a:lnTo>
                      <a:pt x="257" y="218"/>
                    </a:lnTo>
                    <a:lnTo>
                      <a:pt x="265" y="207"/>
                    </a:lnTo>
                    <a:lnTo>
                      <a:pt x="270" y="194"/>
                    </a:lnTo>
                    <a:lnTo>
                      <a:pt x="275" y="181"/>
                    </a:lnTo>
                    <a:lnTo>
                      <a:pt x="279" y="168"/>
                    </a:lnTo>
                    <a:lnTo>
                      <a:pt x="280" y="154"/>
                    </a:lnTo>
                    <a:lnTo>
                      <a:pt x="282" y="139"/>
                    </a:lnTo>
                    <a:lnTo>
                      <a:pt x="282" y="139"/>
                    </a:lnTo>
                    <a:lnTo>
                      <a:pt x="280" y="125"/>
                    </a:lnTo>
                    <a:lnTo>
                      <a:pt x="279" y="112"/>
                    </a:lnTo>
                    <a:lnTo>
                      <a:pt x="275" y="98"/>
                    </a:lnTo>
                    <a:lnTo>
                      <a:pt x="270" y="85"/>
                    </a:lnTo>
                    <a:lnTo>
                      <a:pt x="265" y="73"/>
                    </a:lnTo>
                    <a:lnTo>
                      <a:pt x="257" y="62"/>
                    </a:lnTo>
                    <a:lnTo>
                      <a:pt x="249" y="50"/>
                    </a:lnTo>
                    <a:lnTo>
                      <a:pt x="240" y="40"/>
                    </a:lnTo>
                    <a:lnTo>
                      <a:pt x="230" y="32"/>
                    </a:lnTo>
                    <a:lnTo>
                      <a:pt x="219" y="23"/>
                    </a:lnTo>
                    <a:lnTo>
                      <a:pt x="207" y="16"/>
                    </a:lnTo>
                    <a:lnTo>
                      <a:pt x="196" y="10"/>
                    </a:lnTo>
                    <a:lnTo>
                      <a:pt x="183" y="6"/>
                    </a:lnTo>
                    <a:lnTo>
                      <a:pt x="170" y="1"/>
                    </a:lnTo>
                    <a:lnTo>
                      <a:pt x="155" y="0"/>
                    </a:lnTo>
                    <a:lnTo>
                      <a:pt x="141" y="0"/>
                    </a:lnTo>
                    <a:lnTo>
                      <a:pt x="141"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56" name="Freeform 151">
                <a:extLst>
                  <a:ext uri="{FF2B5EF4-FFF2-40B4-BE49-F238E27FC236}">
                    <a16:creationId xmlns:a16="http://schemas.microsoft.com/office/drawing/2014/main" id="{D202F12C-053F-4ACD-BF14-7DCE5CB596AA}"/>
                  </a:ext>
                </a:extLst>
              </p:cNvPr>
              <p:cNvSpPr>
                <a:spLocks/>
              </p:cNvSpPr>
              <p:nvPr/>
            </p:nvSpPr>
            <p:spPr bwMode="auto">
              <a:xfrm>
                <a:off x="5468813" y="5834682"/>
                <a:ext cx="3175" cy="0"/>
              </a:xfrm>
              <a:custGeom>
                <a:avLst/>
                <a:gdLst>
                  <a:gd name="T0" fmla="*/ 0 w 2"/>
                  <a:gd name="T1" fmla="*/ 0 w 2"/>
                  <a:gd name="T2" fmla="*/ 2 w 2"/>
                  <a:gd name="T3" fmla="*/ 0 w 2"/>
                </a:gdLst>
                <a:ahLst/>
                <a:cxnLst>
                  <a:cxn ang="0">
                    <a:pos x="T0" y="0"/>
                  </a:cxn>
                  <a:cxn ang="0">
                    <a:pos x="T1" y="0"/>
                  </a:cxn>
                  <a:cxn ang="0">
                    <a:pos x="T2" y="0"/>
                  </a:cxn>
                  <a:cxn ang="0">
                    <a:pos x="T3" y="0"/>
                  </a:cxn>
                </a:cxnLst>
                <a:rect l="0" t="0" r="r" b="b"/>
                <a:pathLst>
                  <a:path w="2">
                    <a:moveTo>
                      <a:pt x="0" y="0"/>
                    </a:moveTo>
                    <a:lnTo>
                      <a:pt x="0" y="0"/>
                    </a:lnTo>
                    <a:lnTo>
                      <a:pt x="2"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57" name="Freeform 152">
                <a:extLst>
                  <a:ext uri="{FF2B5EF4-FFF2-40B4-BE49-F238E27FC236}">
                    <a16:creationId xmlns:a16="http://schemas.microsoft.com/office/drawing/2014/main" id="{681BB636-D1DC-4D53-BF35-CC497EC174E3}"/>
                  </a:ext>
                </a:extLst>
              </p:cNvPr>
              <p:cNvSpPr>
                <a:spLocks/>
              </p:cNvSpPr>
              <p:nvPr/>
            </p:nvSpPr>
            <p:spPr bwMode="auto">
              <a:xfrm>
                <a:off x="5389438" y="5728319"/>
                <a:ext cx="88900" cy="88900"/>
              </a:xfrm>
              <a:custGeom>
                <a:avLst/>
                <a:gdLst>
                  <a:gd name="T0" fmla="*/ 27 w 56"/>
                  <a:gd name="T1" fmla="*/ 56 h 56"/>
                  <a:gd name="T2" fmla="*/ 27 w 56"/>
                  <a:gd name="T3" fmla="*/ 56 h 56"/>
                  <a:gd name="T4" fmla="*/ 33 w 56"/>
                  <a:gd name="T5" fmla="*/ 56 h 56"/>
                  <a:gd name="T6" fmla="*/ 39 w 56"/>
                  <a:gd name="T7" fmla="*/ 53 h 56"/>
                  <a:gd name="T8" fmla="*/ 43 w 56"/>
                  <a:gd name="T9" fmla="*/ 51 h 56"/>
                  <a:gd name="T10" fmla="*/ 47 w 56"/>
                  <a:gd name="T11" fmla="*/ 47 h 56"/>
                  <a:gd name="T12" fmla="*/ 52 w 56"/>
                  <a:gd name="T13" fmla="*/ 43 h 56"/>
                  <a:gd name="T14" fmla="*/ 53 w 56"/>
                  <a:gd name="T15" fmla="*/ 38 h 56"/>
                  <a:gd name="T16" fmla="*/ 56 w 56"/>
                  <a:gd name="T17" fmla="*/ 33 h 56"/>
                  <a:gd name="T18" fmla="*/ 56 w 56"/>
                  <a:gd name="T19" fmla="*/ 27 h 56"/>
                  <a:gd name="T20" fmla="*/ 56 w 56"/>
                  <a:gd name="T21" fmla="*/ 27 h 56"/>
                  <a:gd name="T22" fmla="*/ 56 w 56"/>
                  <a:gd name="T23" fmla="*/ 21 h 56"/>
                  <a:gd name="T24" fmla="*/ 53 w 56"/>
                  <a:gd name="T25" fmla="*/ 17 h 56"/>
                  <a:gd name="T26" fmla="*/ 52 w 56"/>
                  <a:gd name="T27" fmla="*/ 11 h 56"/>
                  <a:gd name="T28" fmla="*/ 47 w 56"/>
                  <a:gd name="T29" fmla="*/ 8 h 56"/>
                  <a:gd name="T30" fmla="*/ 43 w 56"/>
                  <a:gd name="T31" fmla="*/ 4 h 56"/>
                  <a:gd name="T32" fmla="*/ 39 w 56"/>
                  <a:gd name="T33" fmla="*/ 1 h 56"/>
                  <a:gd name="T34" fmla="*/ 33 w 56"/>
                  <a:gd name="T35" fmla="*/ 0 h 56"/>
                  <a:gd name="T36" fmla="*/ 27 w 56"/>
                  <a:gd name="T37" fmla="*/ 0 h 56"/>
                  <a:gd name="T38" fmla="*/ 27 w 56"/>
                  <a:gd name="T39" fmla="*/ 0 h 56"/>
                  <a:gd name="T40" fmla="*/ 21 w 56"/>
                  <a:gd name="T41" fmla="*/ 0 h 56"/>
                  <a:gd name="T42" fmla="*/ 17 w 56"/>
                  <a:gd name="T43" fmla="*/ 1 h 56"/>
                  <a:gd name="T44" fmla="*/ 11 w 56"/>
                  <a:gd name="T45" fmla="*/ 4 h 56"/>
                  <a:gd name="T46" fmla="*/ 7 w 56"/>
                  <a:gd name="T47" fmla="*/ 8 h 56"/>
                  <a:gd name="T48" fmla="*/ 4 w 56"/>
                  <a:gd name="T49" fmla="*/ 11 h 56"/>
                  <a:gd name="T50" fmla="*/ 1 w 56"/>
                  <a:gd name="T51" fmla="*/ 17 h 56"/>
                  <a:gd name="T52" fmla="*/ 0 w 56"/>
                  <a:gd name="T53" fmla="*/ 21 h 56"/>
                  <a:gd name="T54" fmla="*/ 0 w 56"/>
                  <a:gd name="T55" fmla="*/ 27 h 56"/>
                  <a:gd name="T56" fmla="*/ 0 w 56"/>
                  <a:gd name="T57" fmla="*/ 27 h 56"/>
                  <a:gd name="T58" fmla="*/ 0 w 56"/>
                  <a:gd name="T59" fmla="*/ 33 h 56"/>
                  <a:gd name="T60" fmla="*/ 1 w 56"/>
                  <a:gd name="T61" fmla="*/ 38 h 56"/>
                  <a:gd name="T62" fmla="*/ 4 w 56"/>
                  <a:gd name="T63" fmla="*/ 43 h 56"/>
                  <a:gd name="T64" fmla="*/ 7 w 56"/>
                  <a:gd name="T65" fmla="*/ 47 h 56"/>
                  <a:gd name="T66" fmla="*/ 11 w 56"/>
                  <a:gd name="T67" fmla="*/ 51 h 56"/>
                  <a:gd name="T68" fmla="*/ 17 w 56"/>
                  <a:gd name="T69" fmla="*/ 53 h 56"/>
                  <a:gd name="T70" fmla="*/ 21 w 56"/>
                  <a:gd name="T71" fmla="*/ 56 h 56"/>
                  <a:gd name="T72" fmla="*/ 27 w 56"/>
                  <a:gd name="T73" fmla="*/ 56 h 56"/>
                  <a:gd name="T74" fmla="*/ 27 w 56"/>
                  <a:gd name="T75"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6" h="56">
                    <a:moveTo>
                      <a:pt x="27" y="56"/>
                    </a:moveTo>
                    <a:lnTo>
                      <a:pt x="27" y="56"/>
                    </a:lnTo>
                    <a:lnTo>
                      <a:pt x="33" y="56"/>
                    </a:lnTo>
                    <a:lnTo>
                      <a:pt x="39" y="53"/>
                    </a:lnTo>
                    <a:lnTo>
                      <a:pt x="43" y="51"/>
                    </a:lnTo>
                    <a:lnTo>
                      <a:pt x="47" y="47"/>
                    </a:lnTo>
                    <a:lnTo>
                      <a:pt x="52" y="43"/>
                    </a:lnTo>
                    <a:lnTo>
                      <a:pt x="53" y="38"/>
                    </a:lnTo>
                    <a:lnTo>
                      <a:pt x="56" y="33"/>
                    </a:lnTo>
                    <a:lnTo>
                      <a:pt x="56" y="27"/>
                    </a:lnTo>
                    <a:lnTo>
                      <a:pt x="56" y="27"/>
                    </a:lnTo>
                    <a:lnTo>
                      <a:pt x="56" y="21"/>
                    </a:lnTo>
                    <a:lnTo>
                      <a:pt x="53" y="17"/>
                    </a:lnTo>
                    <a:lnTo>
                      <a:pt x="52" y="11"/>
                    </a:lnTo>
                    <a:lnTo>
                      <a:pt x="47" y="8"/>
                    </a:lnTo>
                    <a:lnTo>
                      <a:pt x="43" y="4"/>
                    </a:lnTo>
                    <a:lnTo>
                      <a:pt x="39" y="1"/>
                    </a:lnTo>
                    <a:lnTo>
                      <a:pt x="33" y="0"/>
                    </a:lnTo>
                    <a:lnTo>
                      <a:pt x="27" y="0"/>
                    </a:lnTo>
                    <a:lnTo>
                      <a:pt x="27" y="0"/>
                    </a:lnTo>
                    <a:lnTo>
                      <a:pt x="21" y="0"/>
                    </a:lnTo>
                    <a:lnTo>
                      <a:pt x="17" y="1"/>
                    </a:lnTo>
                    <a:lnTo>
                      <a:pt x="11" y="4"/>
                    </a:lnTo>
                    <a:lnTo>
                      <a:pt x="7" y="8"/>
                    </a:lnTo>
                    <a:lnTo>
                      <a:pt x="4" y="11"/>
                    </a:lnTo>
                    <a:lnTo>
                      <a:pt x="1" y="17"/>
                    </a:lnTo>
                    <a:lnTo>
                      <a:pt x="0" y="21"/>
                    </a:lnTo>
                    <a:lnTo>
                      <a:pt x="0" y="27"/>
                    </a:lnTo>
                    <a:lnTo>
                      <a:pt x="0" y="27"/>
                    </a:lnTo>
                    <a:lnTo>
                      <a:pt x="0" y="33"/>
                    </a:lnTo>
                    <a:lnTo>
                      <a:pt x="1" y="38"/>
                    </a:lnTo>
                    <a:lnTo>
                      <a:pt x="4" y="43"/>
                    </a:lnTo>
                    <a:lnTo>
                      <a:pt x="7" y="47"/>
                    </a:lnTo>
                    <a:lnTo>
                      <a:pt x="11" y="51"/>
                    </a:lnTo>
                    <a:lnTo>
                      <a:pt x="17" y="53"/>
                    </a:lnTo>
                    <a:lnTo>
                      <a:pt x="21" y="56"/>
                    </a:lnTo>
                    <a:lnTo>
                      <a:pt x="27" y="56"/>
                    </a:lnTo>
                    <a:lnTo>
                      <a:pt x="27" y="5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58" name="Freeform 153">
                <a:extLst>
                  <a:ext uri="{FF2B5EF4-FFF2-40B4-BE49-F238E27FC236}">
                    <a16:creationId xmlns:a16="http://schemas.microsoft.com/office/drawing/2014/main" id="{9B89355B-8868-4E90-B7E2-DEA570B4EAE7}"/>
                  </a:ext>
                </a:extLst>
              </p:cNvPr>
              <p:cNvSpPr>
                <a:spLocks/>
              </p:cNvSpPr>
              <p:nvPr/>
            </p:nvSpPr>
            <p:spPr bwMode="auto">
              <a:xfrm>
                <a:off x="5346576" y="5804519"/>
                <a:ext cx="258763" cy="344488"/>
              </a:xfrm>
              <a:custGeom>
                <a:avLst/>
                <a:gdLst>
                  <a:gd name="T0" fmla="*/ 163 w 163"/>
                  <a:gd name="T1" fmla="*/ 12 h 217"/>
                  <a:gd name="T2" fmla="*/ 163 w 163"/>
                  <a:gd name="T3" fmla="*/ 12 h 217"/>
                  <a:gd name="T4" fmla="*/ 161 w 163"/>
                  <a:gd name="T5" fmla="*/ 6 h 217"/>
                  <a:gd name="T6" fmla="*/ 155 w 163"/>
                  <a:gd name="T7" fmla="*/ 2 h 217"/>
                  <a:gd name="T8" fmla="*/ 149 w 163"/>
                  <a:gd name="T9" fmla="*/ 0 h 217"/>
                  <a:gd name="T10" fmla="*/ 140 w 163"/>
                  <a:gd name="T11" fmla="*/ 2 h 217"/>
                  <a:gd name="T12" fmla="*/ 79 w 163"/>
                  <a:gd name="T13" fmla="*/ 19 h 217"/>
                  <a:gd name="T14" fmla="*/ 77 w 163"/>
                  <a:gd name="T15" fmla="*/ 19 h 217"/>
                  <a:gd name="T16" fmla="*/ 54 w 163"/>
                  <a:gd name="T17" fmla="*/ 41 h 217"/>
                  <a:gd name="T18" fmla="*/ 54 w 163"/>
                  <a:gd name="T19" fmla="*/ 42 h 217"/>
                  <a:gd name="T20" fmla="*/ 31 w 163"/>
                  <a:gd name="T21" fmla="*/ 19 h 217"/>
                  <a:gd name="T22" fmla="*/ 23 w 163"/>
                  <a:gd name="T23" fmla="*/ 19 h 217"/>
                  <a:gd name="T24" fmla="*/ 23 w 163"/>
                  <a:gd name="T25" fmla="*/ 19 h 217"/>
                  <a:gd name="T26" fmla="*/ 18 w 163"/>
                  <a:gd name="T27" fmla="*/ 19 h 217"/>
                  <a:gd name="T28" fmla="*/ 14 w 163"/>
                  <a:gd name="T29" fmla="*/ 21 h 217"/>
                  <a:gd name="T30" fmla="*/ 7 w 163"/>
                  <a:gd name="T31" fmla="*/ 25 h 217"/>
                  <a:gd name="T32" fmla="*/ 2 w 163"/>
                  <a:gd name="T33" fmla="*/ 32 h 217"/>
                  <a:gd name="T34" fmla="*/ 1 w 163"/>
                  <a:gd name="T35" fmla="*/ 36 h 217"/>
                  <a:gd name="T36" fmla="*/ 0 w 163"/>
                  <a:gd name="T37" fmla="*/ 41 h 217"/>
                  <a:gd name="T38" fmla="*/ 0 w 163"/>
                  <a:gd name="T39" fmla="*/ 91 h 217"/>
                  <a:gd name="T40" fmla="*/ 0 w 163"/>
                  <a:gd name="T41" fmla="*/ 91 h 217"/>
                  <a:gd name="T42" fmla="*/ 1 w 163"/>
                  <a:gd name="T43" fmla="*/ 97 h 217"/>
                  <a:gd name="T44" fmla="*/ 2 w 163"/>
                  <a:gd name="T45" fmla="*/ 101 h 217"/>
                  <a:gd name="T46" fmla="*/ 7 w 163"/>
                  <a:gd name="T47" fmla="*/ 108 h 217"/>
                  <a:gd name="T48" fmla="*/ 14 w 163"/>
                  <a:gd name="T49" fmla="*/ 113 h 217"/>
                  <a:gd name="T50" fmla="*/ 18 w 163"/>
                  <a:gd name="T51" fmla="*/ 114 h 217"/>
                  <a:gd name="T52" fmla="*/ 23 w 163"/>
                  <a:gd name="T53" fmla="*/ 114 h 217"/>
                  <a:gd name="T54" fmla="*/ 24 w 163"/>
                  <a:gd name="T55" fmla="*/ 114 h 217"/>
                  <a:gd name="T56" fmla="*/ 24 w 163"/>
                  <a:gd name="T57" fmla="*/ 114 h 217"/>
                  <a:gd name="T58" fmla="*/ 23 w 163"/>
                  <a:gd name="T59" fmla="*/ 120 h 217"/>
                  <a:gd name="T60" fmla="*/ 23 w 163"/>
                  <a:gd name="T61" fmla="*/ 202 h 217"/>
                  <a:gd name="T62" fmla="*/ 23 w 163"/>
                  <a:gd name="T63" fmla="*/ 202 h 217"/>
                  <a:gd name="T64" fmla="*/ 24 w 163"/>
                  <a:gd name="T65" fmla="*/ 207 h 217"/>
                  <a:gd name="T66" fmla="*/ 27 w 163"/>
                  <a:gd name="T67" fmla="*/ 213 h 217"/>
                  <a:gd name="T68" fmla="*/ 33 w 163"/>
                  <a:gd name="T69" fmla="*/ 216 h 217"/>
                  <a:gd name="T70" fmla="*/ 38 w 163"/>
                  <a:gd name="T71" fmla="*/ 217 h 217"/>
                  <a:gd name="T72" fmla="*/ 38 w 163"/>
                  <a:gd name="T73" fmla="*/ 217 h 217"/>
                  <a:gd name="T74" fmla="*/ 46 w 163"/>
                  <a:gd name="T75" fmla="*/ 216 h 217"/>
                  <a:gd name="T76" fmla="*/ 50 w 163"/>
                  <a:gd name="T77" fmla="*/ 213 h 217"/>
                  <a:gd name="T78" fmla="*/ 54 w 163"/>
                  <a:gd name="T79" fmla="*/ 207 h 217"/>
                  <a:gd name="T80" fmla="*/ 56 w 163"/>
                  <a:gd name="T81" fmla="*/ 202 h 217"/>
                  <a:gd name="T82" fmla="*/ 56 w 163"/>
                  <a:gd name="T83" fmla="*/ 202 h 217"/>
                  <a:gd name="T84" fmla="*/ 56 w 163"/>
                  <a:gd name="T85" fmla="*/ 207 h 217"/>
                  <a:gd name="T86" fmla="*/ 60 w 163"/>
                  <a:gd name="T87" fmla="*/ 213 h 217"/>
                  <a:gd name="T88" fmla="*/ 66 w 163"/>
                  <a:gd name="T89" fmla="*/ 216 h 217"/>
                  <a:gd name="T90" fmla="*/ 71 w 163"/>
                  <a:gd name="T91" fmla="*/ 217 h 217"/>
                  <a:gd name="T92" fmla="*/ 71 w 163"/>
                  <a:gd name="T93" fmla="*/ 217 h 217"/>
                  <a:gd name="T94" fmla="*/ 77 w 163"/>
                  <a:gd name="T95" fmla="*/ 216 h 217"/>
                  <a:gd name="T96" fmla="*/ 83 w 163"/>
                  <a:gd name="T97" fmla="*/ 213 h 217"/>
                  <a:gd name="T98" fmla="*/ 86 w 163"/>
                  <a:gd name="T99" fmla="*/ 207 h 217"/>
                  <a:gd name="T100" fmla="*/ 87 w 163"/>
                  <a:gd name="T101" fmla="*/ 202 h 217"/>
                  <a:gd name="T102" fmla="*/ 87 w 163"/>
                  <a:gd name="T103" fmla="*/ 51 h 217"/>
                  <a:gd name="T104" fmla="*/ 149 w 163"/>
                  <a:gd name="T105" fmla="*/ 34 h 217"/>
                  <a:gd name="T106" fmla="*/ 149 w 163"/>
                  <a:gd name="T107" fmla="*/ 34 h 217"/>
                  <a:gd name="T108" fmla="*/ 156 w 163"/>
                  <a:gd name="T109" fmla="*/ 31 h 217"/>
                  <a:gd name="T110" fmla="*/ 162 w 163"/>
                  <a:gd name="T111" fmla="*/ 25 h 217"/>
                  <a:gd name="T112" fmla="*/ 163 w 163"/>
                  <a:gd name="T113" fmla="*/ 19 h 217"/>
                  <a:gd name="T114" fmla="*/ 163 w 163"/>
                  <a:gd name="T115" fmla="*/ 12 h 217"/>
                  <a:gd name="T116" fmla="*/ 163 w 163"/>
                  <a:gd name="T117" fmla="*/ 12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3" h="217">
                    <a:moveTo>
                      <a:pt x="163" y="12"/>
                    </a:moveTo>
                    <a:lnTo>
                      <a:pt x="163" y="12"/>
                    </a:lnTo>
                    <a:lnTo>
                      <a:pt x="161" y="6"/>
                    </a:lnTo>
                    <a:lnTo>
                      <a:pt x="155" y="2"/>
                    </a:lnTo>
                    <a:lnTo>
                      <a:pt x="149" y="0"/>
                    </a:lnTo>
                    <a:lnTo>
                      <a:pt x="140" y="2"/>
                    </a:lnTo>
                    <a:lnTo>
                      <a:pt x="79" y="19"/>
                    </a:lnTo>
                    <a:lnTo>
                      <a:pt x="77" y="19"/>
                    </a:lnTo>
                    <a:lnTo>
                      <a:pt x="54" y="41"/>
                    </a:lnTo>
                    <a:lnTo>
                      <a:pt x="54" y="42"/>
                    </a:lnTo>
                    <a:lnTo>
                      <a:pt x="31" y="19"/>
                    </a:lnTo>
                    <a:lnTo>
                      <a:pt x="23" y="19"/>
                    </a:lnTo>
                    <a:lnTo>
                      <a:pt x="23" y="19"/>
                    </a:lnTo>
                    <a:lnTo>
                      <a:pt x="18" y="19"/>
                    </a:lnTo>
                    <a:lnTo>
                      <a:pt x="14" y="21"/>
                    </a:lnTo>
                    <a:lnTo>
                      <a:pt x="7" y="25"/>
                    </a:lnTo>
                    <a:lnTo>
                      <a:pt x="2" y="32"/>
                    </a:lnTo>
                    <a:lnTo>
                      <a:pt x="1" y="36"/>
                    </a:lnTo>
                    <a:lnTo>
                      <a:pt x="0" y="41"/>
                    </a:lnTo>
                    <a:lnTo>
                      <a:pt x="0" y="91"/>
                    </a:lnTo>
                    <a:lnTo>
                      <a:pt x="0" y="91"/>
                    </a:lnTo>
                    <a:lnTo>
                      <a:pt x="1" y="97"/>
                    </a:lnTo>
                    <a:lnTo>
                      <a:pt x="2" y="101"/>
                    </a:lnTo>
                    <a:lnTo>
                      <a:pt x="7" y="108"/>
                    </a:lnTo>
                    <a:lnTo>
                      <a:pt x="14" y="113"/>
                    </a:lnTo>
                    <a:lnTo>
                      <a:pt x="18" y="114"/>
                    </a:lnTo>
                    <a:lnTo>
                      <a:pt x="23" y="114"/>
                    </a:lnTo>
                    <a:lnTo>
                      <a:pt x="24" y="114"/>
                    </a:lnTo>
                    <a:lnTo>
                      <a:pt x="24" y="114"/>
                    </a:lnTo>
                    <a:lnTo>
                      <a:pt x="23" y="120"/>
                    </a:lnTo>
                    <a:lnTo>
                      <a:pt x="23" y="202"/>
                    </a:lnTo>
                    <a:lnTo>
                      <a:pt x="23" y="202"/>
                    </a:lnTo>
                    <a:lnTo>
                      <a:pt x="24" y="207"/>
                    </a:lnTo>
                    <a:lnTo>
                      <a:pt x="27" y="213"/>
                    </a:lnTo>
                    <a:lnTo>
                      <a:pt x="33" y="216"/>
                    </a:lnTo>
                    <a:lnTo>
                      <a:pt x="38" y="217"/>
                    </a:lnTo>
                    <a:lnTo>
                      <a:pt x="38" y="217"/>
                    </a:lnTo>
                    <a:lnTo>
                      <a:pt x="46" y="216"/>
                    </a:lnTo>
                    <a:lnTo>
                      <a:pt x="50" y="213"/>
                    </a:lnTo>
                    <a:lnTo>
                      <a:pt x="54" y="207"/>
                    </a:lnTo>
                    <a:lnTo>
                      <a:pt x="56" y="202"/>
                    </a:lnTo>
                    <a:lnTo>
                      <a:pt x="56" y="202"/>
                    </a:lnTo>
                    <a:lnTo>
                      <a:pt x="56" y="207"/>
                    </a:lnTo>
                    <a:lnTo>
                      <a:pt x="60" y="213"/>
                    </a:lnTo>
                    <a:lnTo>
                      <a:pt x="66" y="216"/>
                    </a:lnTo>
                    <a:lnTo>
                      <a:pt x="71" y="217"/>
                    </a:lnTo>
                    <a:lnTo>
                      <a:pt x="71" y="217"/>
                    </a:lnTo>
                    <a:lnTo>
                      <a:pt x="77" y="216"/>
                    </a:lnTo>
                    <a:lnTo>
                      <a:pt x="83" y="213"/>
                    </a:lnTo>
                    <a:lnTo>
                      <a:pt x="86" y="207"/>
                    </a:lnTo>
                    <a:lnTo>
                      <a:pt x="87" y="202"/>
                    </a:lnTo>
                    <a:lnTo>
                      <a:pt x="87" y="51"/>
                    </a:lnTo>
                    <a:lnTo>
                      <a:pt x="149" y="34"/>
                    </a:lnTo>
                    <a:lnTo>
                      <a:pt x="149" y="34"/>
                    </a:lnTo>
                    <a:lnTo>
                      <a:pt x="156" y="31"/>
                    </a:lnTo>
                    <a:lnTo>
                      <a:pt x="162" y="25"/>
                    </a:lnTo>
                    <a:lnTo>
                      <a:pt x="163" y="19"/>
                    </a:lnTo>
                    <a:lnTo>
                      <a:pt x="163" y="12"/>
                    </a:lnTo>
                    <a:lnTo>
                      <a:pt x="163" y="1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59" name="Group 1458">
            <a:extLst>
              <a:ext uri="{FF2B5EF4-FFF2-40B4-BE49-F238E27FC236}">
                <a16:creationId xmlns:a16="http://schemas.microsoft.com/office/drawing/2014/main" id="{49E800D3-8B9E-4FE8-9096-62F06264D713}"/>
              </a:ext>
            </a:extLst>
          </p:cNvPr>
          <p:cNvGrpSpPr/>
          <p:nvPr/>
        </p:nvGrpSpPr>
        <p:grpSpPr>
          <a:xfrm>
            <a:off x="6117820" y="5492984"/>
            <a:ext cx="612775" cy="612775"/>
            <a:chOff x="4963191" y="6131327"/>
            <a:chExt cx="612775" cy="612775"/>
          </a:xfrm>
        </p:grpSpPr>
        <p:sp>
          <p:nvSpPr>
            <p:cNvPr id="1460" name="Oval 1459">
              <a:extLst>
                <a:ext uri="{FF2B5EF4-FFF2-40B4-BE49-F238E27FC236}">
                  <a16:creationId xmlns:a16="http://schemas.microsoft.com/office/drawing/2014/main" id="{282ED9BF-5C49-47D5-B7A0-2A4EDC874B06}"/>
                </a:ext>
              </a:extLst>
            </p:cNvPr>
            <p:cNvSpPr/>
            <p:nvPr/>
          </p:nvSpPr>
          <p:spPr bwMode="ltGray">
            <a:xfrm>
              <a:off x="4963191" y="6131327"/>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61" name="Group 1460">
              <a:extLst>
                <a:ext uri="{FF2B5EF4-FFF2-40B4-BE49-F238E27FC236}">
                  <a16:creationId xmlns:a16="http://schemas.microsoft.com/office/drawing/2014/main" id="{E3A4B827-AA08-444B-ABAA-7155EFF0B83B}"/>
                </a:ext>
              </a:extLst>
            </p:cNvPr>
            <p:cNvGrpSpPr/>
            <p:nvPr/>
          </p:nvGrpSpPr>
          <p:grpSpPr>
            <a:xfrm>
              <a:off x="5097716" y="6250293"/>
              <a:ext cx="387060" cy="367426"/>
              <a:chOff x="7440488" y="1107107"/>
              <a:chExt cx="438151" cy="415925"/>
            </a:xfrm>
          </p:grpSpPr>
          <p:sp>
            <p:nvSpPr>
              <p:cNvPr id="1462" name="Freeform 171">
                <a:extLst>
                  <a:ext uri="{FF2B5EF4-FFF2-40B4-BE49-F238E27FC236}">
                    <a16:creationId xmlns:a16="http://schemas.microsoft.com/office/drawing/2014/main" id="{DF230732-8398-4723-9CB9-721AA3CABFEB}"/>
                  </a:ext>
                </a:extLst>
              </p:cNvPr>
              <p:cNvSpPr>
                <a:spLocks/>
              </p:cNvSpPr>
              <p:nvPr/>
            </p:nvSpPr>
            <p:spPr bwMode="auto">
              <a:xfrm>
                <a:off x="7456363" y="1107107"/>
                <a:ext cx="246063" cy="101600"/>
              </a:xfrm>
              <a:custGeom>
                <a:avLst/>
                <a:gdLst>
                  <a:gd name="T0" fmla="*/ 19 w 155"/>
                  <a:gd name="T1" fmla="*/ 48 h 64"/>
                  <a:gd name="T2" fmla="*/ 19 w 155"/>
                  <a:gd name="T3" fmla="*/ 48 h 64"/>
                  <a:gd name="T4" fmla="*/ 19 w 155"/>
                  <a:gd name="T5" fmla="*/ 42 h 64"/>
                  <a:gd name="T6" fmla="*/ 22 w 155"/>
                  <a:gd name="T7" fmla="*/ 36 h 64"/>
                  <a:gd name="T8" fmla="*/ 23 w 155"/>
                  <a:gd name="T9" fmla="*/ 32 h 64"/>
                  <a:gd name="T10" fmla="*/ 27 w 155"/>
                  <a:gd name="T11" fmla="*/ 28 h 64"/>
                  <a:gd name="T12" fmla="*/ 32 w 155"/>
                  <a:gd name="T13" fmla="*/ 25 h 64"/>
                  <a:gd name="T14" fmla="*/ 36 w 155"/>
                  <a:gd name="T15" fmla="*/ 22 h 64"/>
                  <a:gd name="T16" fmla="*/ 40 w 155"/>
                  <a:gd name="T17" fmla="*/ 21 h 64"/>
                  <a:gd name="T18" fmla="*/ 46 w 155"/>
                  <a:gd name="T19" fmla="*/ 19 h 64"/>
                  <a:gd name="T20" fmla="*/ 109 w 155"/>
                  <a:gd name="T21" fmla="*/ 19 h 64"/>
                  <a:gd name="T22" fmla="*/ 109 w 155"/>
                  <a:gd name="T23" fmla="*/ 19 h 64"/>
                  <a:gd name="T24" fmla="*/ 115 w 155"/>
                  <a:gd name="T25" fmla="*/ 21 h 64"/>
                  <a:gd name="T26" fmla="*/ 121 w 155"/>
                  <a:gd name="T27" fmla="*/ 22 h 64"/>
                  <a:gd name="T28" fmla="*/ 125 w 155"/>
                  <a:gd name="T29" fmla="*/ 25 h 64"/>
                  <a:gd name="T30" fmla="*/ 129 w 155"/>
                  <a:gd name="T31" fmla="*/ 28 h 64"/>
                  <a:gd name="T32" fmla="*/ 132 w 155"/>
                  <a:gd name="T33" fmla="*/ 32 h 64"/>
                  <a:gd name="T34" fmla="*/ 135 w 155"/>
                  <a:gd name="T35" fmla="*/ 36 h 64"/>
                  <a:gd name="T36" fmla="*/ 137 w 155"/>
                  <a:gd name="T37" fmla="*/ 42 h 64"/>
                  <a:gd name="T38" fmla="*/ 137 w 155"/>
                  <a:gd name="T39" fmla="*/ 48 h 64"/>
                  <a:gd name="T40" fmla="*/ 137 w 155"/>
                  <a:gd name="T41" fmla="*/ 64 h 64"/>
                  <a:gd name="T42" fmla="*/ 155 w 155"/>
                  <a:gd name="T43" fmla="*/ 64 h 64"/>
                  <a:gd name="T44" fmla="*/ 155 w 155"/>
                  <a:gd name="T45" fmla="*/ 48 h 64"/>
                  <a:gd name="T46" fmla="*/ 155 w 155"/>
                  <a:gd name="T47" fmla="*/ 48 h 64"/>
                  <a:gd name="T48" fmla="*/ 155 w 155"/>
                  <a:gd name="T49" fmla="*/ 38 h 64"/>
                  <a:gd name="T50" fmla="*/ 152 w 155"/>
                  <a:gd name="T51" fmla="*/ 29 h 64"/>
                  <a:gd name="T52" fmla="*/ 148 w 155"/>
                  <a:gd name="T53" fmla="*/ 22 h 64"/>
                  <a:gd name="T54" fmla="*/ 142 w 155"/>
                  <a:gd name="T55" fmla="*/ 15 h 64"/>
                  <a:gd name="T56" fmla="*/ 135 w 155"/>
                  <a:gd name="T57" fmla="*/ 9 h 64"/>
                  <a:gd name="T58" fmla="*/ 128 w 155"/>
                  <a:gd name="T59" fmla="*/ 5 h 64"/>
                  <a:gd name="T60" fmla="*/ 119 w 155"/>
                  <a:gd name="T61" fmla="*/ 2 h 64"/>
                  <a:gd name="T62" fmla="*/ 109 w 155"/>
                  <a:gd name="T63" fmla="*/ 0 h 64"/>
                  <a:gd name="T64" fmla="*/ 46 w 155"/>
                  <a:gd name="T65" fmla="*/ 0 h 64"/>
                  <a:gd name="T66" fmla="*/ 46 w 155"/>
                  <a:gd name="T67" fmla="*/ 0 h 64"/>
                  <a:gd name="T68" fmla="*/ 37 w 155"/>
                  <a:gd name="T69" fmla="*/ 2 h 64"/>
                  <a:gd name="T70" fmla="*/ 29 w 155"/>
                  <a:gd name="T71" fmla="*/ 5 h 64"/>
                  <a:gd name="T72" fmla="*/ 20 w 155"/>
                  <a:gd name="T73" fmla="*/ 9 h 64"/>
                  <a:gd name="T74" fmla="*/ 14 w 155"/>
                  <a:gd name="T75" fmla="*/ 15 h 64"/>
                  <a:gd name="T76" fmla="*/ 9 w 155"/>
                  <a:gd name="T77" fmla="*/ 22 h 64"/>
                  <a:gd name="T78" fmla="*/ 4 w 155"/>
                  <a:gd name="T79" fmla="*/ 29 h 64"/>
                  <a:gd name="T80" fmla="*/ 1 w 155"/>
                  <a:gd name="T81" fmla="*/ 38 h 64"/>
                  <a:gd name="T82" fmla="*/ 0 w 155"/>
                  <a:gd name="T83" fmla="*/ 48 h 64"/>
                  <a:gd name="T84" fmla="*/ 0 w 155"/>
                  <a:gd name="T85" fmla="*/ 64 h 64"/>
                  <a:gd name="T86" fmla="*/ 19 w 155"/>
                  <a:gd name="T87" fmla="*/ 64 h 64"/>
                  <a:gd name="T88" fmla="*/ 19 w 155"/>
                  <a:gd name="T89" fmla="*/ 48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64">
                    <a:moveTo>
                      <a:pt x="19" y="48"/>
                    </a:moveTo>
                    <a:lnTo>
                      <a:pt x="19" y="48"/>
                    </a:lnTo>
                    <a:lnTo>
                      <a:pt x="19" y="42"/>
                    </a:lnTo>
                    <a:lnTo>
                      <a:pt x="22" y="36"/>
                    </a:lnTo>
                    <a:lnTo>
                      <a:pt x="23" y="32"/>
                    </a:lnTo>
                    <a:lnTo>
                      <a:pt x="27" y="28"/>
                    </a:lnTo>
                    <a:lnTo>
                      <a:pt x="32" y="25"/>
                    </a:lnTo>
                    <a:lnTo>
                      <a:pt x="36" y="22"/>
                    </a:lnTo>
                    <a:lnTo>
                      <a:pt x="40" y="21"/>
                    </a:lnTo>
                    <a:lnTo>
                      <a:pt x="46" y="19"/>
                    </a:lnTo>
                    <a:lnTo>
                      <a:pt x="109" y="19"/>
                    </a:lnTo>
                    <a:lnTo>
                      <a:pt x="109" y="19"/>
                    </a:lnTo>
                    <a:lnTo>
                      <a:pt x="115" y="21"/>
                    </a:lnTo>
                    <a:lnTo>
                      <a:pt x="121" y="22"/>
                    </a:lnTo>
                    <a:lnTo>
                      <a:pt x="125" y="25"/>
                    </a:lnTo>
                    <a:lnTo>
                      <a:pt x="129" y="28"/>
                    </a:lnTo>
                    <a:lnTo>
                      <a:pt x="132" y="32"/>
                    </a:lnTo>
                    <a:lnTo>
                      <a:pt x="135" y="36"/>
                    </a:lnTo>
                    <a:lnTo>
                      <a:pt x="137" y="42"/>
                    </a:lnTo>
                    <a:lnTo>
                      <a:pt x="137" y="48"/>
                    </a:lnTo>
                    <a:lnTo>
                      <a:pt x="137" y="64"/>
                    </a:lnTo>
                    <a:lnTo>
                      <a:pt x="155" y="64"/>
                    </a:lnTo>
                    <a:lnTo>
                      <a:pt x="155" y="48"/>
                    </a:lnTo>
                    <a:lnTo>
                      <a:pt x="155" y="48"/>
                    </a:lnTo>
                    <a:lnTo>
                      <a:pt x="155" y="38"/>
                    </a:lnTo>
                    <a:lnTo>
                      <a:pt x="152" y="29"/>
                    </a:lnTo>
                    <a:lnTo>
                      <a:pt x="148" y="22"/>
                    </a:lnTo>
                    <a:lnTo>
                      <a:pt x="142" y="15"/>
                    </a:lnTo>
                    <a:lnTo>
                      <a:pt x="135" y="9"/>
                    </a:lnTo>
                    <a:lnTo>
                      <a:pt x="128" y="5"/>
                    </a:lnTo>
                    <a:lnTo>
                      <a:pt x="119" y="2"/>
                    </a:lnTo>
                    <a:lnTo>
                      <a:pt x="109" y="0"/>
                    </a:lnTo>
                    <a:lnTo>
                      <a:pt x="46" y="0"/>
                    </a:lnTo>
                    <a:lnTo>
                      <a:pt x="46" y="0"/>
                    </a:lnTo>
                    <a:lnTo>
                      <a:pt x="37" y="2"/>
                    </a:lnTo>
                    <a:lnTo>
                      <a:pt x="29" y="5"/>
                    </a:lnTo>
                    <a:lnTo>
                      <a:pt x="20" y="9"/>
                    </a:lnTo>
                    <a:lnTo>
                      <a:pt x="14" y="15"/>
                    </a:lnTo>
                    <a:lnTo>
                      <a:pt x="9" y="22"/>
                    </a:lnTo>
                    <a:lnTo>
                      <a:pt x="4" y="29"/>
                    </a:lnTo>
                    <a:lnTo>
                      <a:pt x="1" y="38"/>
                    </a:lnTo>
                    <a:lnTo>
                      <a:pt x="0" y="48"/>
                    </a:lnTo>
                    <a:lnTo>
                      <a:pt x="0" y="64"/>
                    </a:lnTo>
                    <a:lnTo>
                      <a:pt x="19" y="64"/>
                    </a:lnTo>
                    <a:lnTo>
                      <a:pt x="19" y="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63" name="Freeform 172">
                <a:extLst>
                  <a:ext uri="{FF2B5EF4-FFF2-40B4-BE49-F238E27FC236}">
                    <a16:creationId xmlns:a16="http://schemas.microsoft.com/office/drawing/2014/main" id="{DF030A24-882D-405A-BA29-D11A634B4E7F}"/>
                  </a:ext>
                </a:extLst>
              </p:cNvPr>
              <p:cNvSpPr>
                <a:spLocks/>
              </p:cNvSpPr>
              <p:nvPr/>
            </p:nvSpPr>
            <p:spPr bwMode="auto">
              <a:xfrm>
                <a:off x="7684963" y="1381744"/>
                <a:ext cx="33338" cy="57150"/>
              </a:xfrm>
              <a:custGeom>
                <a:avLst/>
                <a:gdLst>
                  <a:gd name="T0" fmla="*/ 3 w 21"/>
                  <a:gd name="T1" fmla="*/ 10 h 36"/>
                  <a:gd name="T2" fmla="*/ 3 w 21"/>
                  <a:gd name="T3" fmla="*/ 10 h 36"/>
                  <a:gd name="T4" fmla="*/ 1 w 21"/>
                  <a:gd name="T5" fmla="*/ 14 h 36"/>
                  <a:gd name="T6" fmla="*/ 0 w 21"/>
                  <a:gd name="T7" fmla="*/ 19 h 36"/>
                  <a:gd name="T8" fmla="*/ 0 w 21"/>
                  <a:gd name="T9" fmla="*/ 23 h 36"/>
                  <a:gd name="T10" fmla="*/ 1 w 21"/>
                  <a:gd name="T11" fmla="*/ 27 h 36"/>
                  <a:gd name="T12" fmla="*/ 1 w 21"/>
                  <a:gd name="T13" fmla="*/ 27 h 36"/>
                  <a:gd name="T14" fmla="*/ 3 w 21"/>
                  <a:gd name="T15" fmla="*/ 32 h 36"/>
                  <a:gd name="T16" fmla="*/ 4 w 21"/>
                  <a:gd name="T17" fmla="*/ 36 h 36"/>
                  <a:gd name="T18" fmla="*/ 4 w 21"/>
                  <a:gd name="T19" fmla="*/ 36 h 36"/>
                  <a:gd name="T20" fmla="*/ 11 w 21"/>
                  <a:gd name="T21" fmla="*/ 34 h 36"/>
                  <a:gd name="T22" fmla="*/ 17 w 21"/>
                  <a:gd name="T23" fmla="*/ 30 h 36"/>
                  <a:gd name="T24" fmla="*/ 20 w 21"/>
                  <a:gd name="T25" fmla="*/ 24 h 36"/>
                  <a:gd name="T26" fmla="*/ 21 w 21"/>
                  <a:gd name="T27" fmla="*/ 17 h 36"/>
                  <a:gd name="T28" fmla="*/ 21 w 21"/>
                  <a:gd name="T29" fmla="*/ 0 h 36"/>
                  <a:gd name="T30" fmla="*/ 21 w 21"/>
                  <a:gd name="T31" fmla="*/ 0 h 36"/>
                  <a:gd name="T32" fmla="*/ 16 w 21"/>
                  <a:gd name="T33" fmla="*/ 0 h 36"/>
                  <a:gd name="T34" fmla="*/ 11 w 21"/>
                  <a:gd name="T35" fmla="*/ 3 h 36"/>
                  <a:gd name="T36" fmla="*/ 7 w 21"/>
                  <a:gd name="T37" fmla="*/ 6 h 36"/>
                  <a:gd name="T38" fmla="*/ 3 w 21"/>
                  <a:gd name="T39" fmla="*/ 10 h 36"/>
                  <a:gd name="T40" fmla="*/ 3 w 21"/>
                  <a:gd name="T41" fmla="*/ 1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1" h="36">
                    <a:moveTo>
                      <a:pt x="3" y="10"/>
                    </a:moveTo>
                    <a:lnTo>
                      <a:pt x="3" y="10"/>
                    </a:lnTo>
                    <a:lnTo>
                      <a:pt x="1" y="14"/>
                    </a:lnTo>
                    <a:lnTo>
                      <a:pt x="0" y="19"/>
                    </a:lnTo>
                    <a:lnTo>
                      <a:pt x="0" y="23"/>
                    </a:lnTo>
                    <a:lnTo>
                      <a:pt x="1" y="27"/>
                    </a:lnTo>
                    <a:lnTo>
                      <a:pt x="1" y="27"/>
                    </a:lnTo>
                    <a:lnTo>
                      <a:pt x="3" y="32"/>
                    </a:lnTo>
                    <a:lnTo>
                      <a:pt x="4" y="36"/>
                    </a:lnTo>
                    <a:lnTo>
                      <a:pt x="4" y="36"/>
                    </a:lnTo>
                    <a:lnTo>
                      <a:pt x="11" y="34"/>
                    </a:lnTo>
                    <a:lnTo>
                      <a:pt x="17" y="30"/>
                    </a:lnTo>
                    <a:lnTo>
                      <a:pt x="20" y="24"/>
                    </a:lnTo>
                    <a:lnTo>
                      <a:pt x="21" y="17"/>
                    </a:lnTo>
                    <a:lnTo>
                      <a:pt x="21" y="0"/>
                    </a:lnTo>
                    <a:lnTo>
                      <a:pt x="21" y="0"/>
                    </a:lnTo>
                    <a:lnTo>
                      <a:pt x="16" y="0"/>
                    </a:lnTo>
                    <a:lnTo>
                      <a:pt x="11" y="3"/>
                    </a:lnTo>
                    <a:lnTo>
                      <a:pt x="7" y="6"/>
                    </a:lnTo>
                    <a:lnTo>
                      <a:pt x="3" y="10"/>
                    </a:lnTo>
                    <a:lnTo>
                      <a:pt x="3" y="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64" name="Freeform 173">
                <a:extLst>
                  <a:ext uri="{FF2B5EF4-FFF2-40B4-BE49-F238E27FC236}">
                    <a16:creationId xmlns:a16="http://schemas.microsoft.com/office/drawing/2014/main" id="{80779832-12C9-4C43-8E62-598FB8BCEAC6}"/>
                  </a:ext>
                </a:extLst>
              </p:cNvPr>
              <p:cNvSpPr>
                <a:spLocks noEditPoints="1"/>
              </p:cNvSpPr>
              <p:nvPr/>
            </p:nvSpPr>
            <p:spPr bwMode="auto">
              <a:xfrm>
                <a:off x="7440488" y="1224582"/>
                <a:ext cx="277813" cy="214313"/>
              </a:xfrm>
              <a:custGeom>
                <a:avLst/>
                <a:gdLst>
                  <a:gd name="T0" fmla="*/ 118 w 175"/>
                  <a:gd name="T1" fmla="*/ 86 h 135"/>
                  <a:gd name="T2" fmla="*/ 129 w 175"/>
                  <a:gd name="T3" fmla="*/ 72 h 135"/>
                  <a:gd name="T4" fmla="*/ 142 w 175"/>
                  <a:gd name="T5" fmla="*/ 62 h 135"/>
                  <a:gd name="T6" fmla="*/ 158 w 175"/>
                  <a:gd name="T7" fmla="*/ 56 h 135"/>
                  <a:gd name="T8" fmla="*/ 175 w 175"/>
                  <a:gd name="T9" fmla="*/ 53 h 135"/>
                  <a:gd name="T10" fmla="*/ 175 w 175"/>
                  <a:gd name="T11" fmla="*/ 18 h 135"/>
                  <a:gd name="T12" fmla="*/ 171 w 175"/>
                  <a:gd name="T13" fmla="*/ 5 h 135"/>
                  <a:gd name="T14" fmla="*/ 157 w 175"/>
                  <a:gd name="T15" fmla="*/ 0 h 135"/>
                  <a:gd name="T16" fmla="*/ 19 w 175"/>
                  <a:gd name="T17" fmla="*/ 0 h 135"/>
                  <a:gd name="T18" fmla="*/ 6 w 175"/>
                  <a:gd name="T19" fmla="*/ 5 h 135"/>
                  <a:gd name="T20" fmla="*/ 0 w 175"/>
                  <a:gd name="T21" fmla="*/ 18 h 135"/>
                  <a:gd name="T22" fmla="*/ 0 w 175"/>
                  <a:gd name="T23" fmla="*/ 116 h 135"/>
                  <a:gd name="T24" fmla="*/ 6 w 175"/>
                  <a:gd name="T25" fmla="*/ 131 h 135"/>
                  <a:gd name="T26" fmla="*/ 19 w 175"/>
                  <a:gd name="T27" fmla="*/ 135 h 135"/>
                  <a:gd name="T28" fmla="*/ 111 w 175"/>
                  <a:gd name="T29" fmla="*/ 135 h 135"/>
                  <a:gd name="T30" fmla="*/ 109 w 175"/>
                  <a:gd name="T31" fmla="*/ 110 h 135"/>
                  <a:gd name="T32" fmla="*/ 118 w 175"/>
                  <a:gd name="T33" fmla="*/ 86 h 135"/>
                  <a:gd name="T34" fmla="*/ 101 w 175"/>
                  <a:gd name="T35" fmla="*/ 70 h 135"/>
                  <a:gd name="T36" fmla="*/ 101 w 175"/>
                  <a:gd name="T37" fmla="*/ 86 h 135"/>
                  <a:gd name="T38" fmla="*/ 96 w 175"/>
                  <a:gd name="T39" fmla="*/ 95 h 135"/>
                  <a:gd name="T40" fmla="*/ 88 w 175"/>
                  <a:gd name="T41" fmla="*/ 99 h 135"/>
                  <a:gd name="T42" fmla="*/ 83 w 175"/>
                  <a:gd name="T43" fmla="*/ 97 h 135"/>
                  <a:gd name="T44" fmla="*/ 76 w 175"/>
                  <a:gd name="T45" fmla="*/ 90 h 135"/>
                  <a:gd name="T46" fmla="*/ 76 w 175"/>
                  <a:gd name="T47" fmla="*/ 70 h 135"/>
                  <a:gd name="T48" fmla="*/ 72 w 175"/>
                  <a:gd name="T49" fmla="*/ 67 h 135"/>
                  <a:gd name="T50" fmla="*/ 69 w 175"/>
                  <a:gd name="T51" fmla="*/ 59 h 135"/>
                  <a:gd name="T52" fmla="*/ 68 w 175"/>
                  <a:gd name="T53" fmla="*/ 54 h 135"/>
                  <a:gd name="T54" fmla="*/ 73 w 175"/>
                  <a:gd name="T55" fmla="*/ 40 h 135"/>
                  <a:gd name="T56" fmla="*/ 88 w 175"/>
                  <a:gd name="T57" fmla="*/ 34 h 135"/>
                  <a:gd name="T58" fmla="*/ 96 w 175"/>
                  <a:gd name="T59" fmla="*/ 36 h 135"/>
                  <a:gd name="T60" fmla="*/ 106 w 175"/>
                  <a:gd name="T61" fmla="*/ 47 h 135"/>
                  <a:gd name="T62" fmla="*/ 108 w 175"/>
                  <a:gd name="T63" fmla="*/ 54 h 135"/>
                  <a:gd name="T64" fmla="*/ 106 w 175"/>
                  <a:gd name="T65" fmla="*/ 63 h 135"/>
                  <a:gd name="T66" fmla="*/ 101 w 175"/>
                  <a:gd name="T67" fmla="*/ 7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5" h="135">
                    <a:moveTo>
                      <a:pt x="118" y="86"/>
                    </a:moveTo>
                    <a:lnTo>
                      <a:pt x="118" y="86"/>
                    </a:lnTo>
                    <a:lnTo>
                      <a:pt x="124" y="79"/>
                    </a:lnTo>
                    <a:lnTo>
                      <a:pt x="129" y="72"/>
                    </a:lnTo>
                    <a:lnTo>
                      <a:pt x="135" y="66"/>
                    </a:lnTo>
                    <a:lnTo>
                      <a:pt x="142" y="62"/>
                    </a:lnTo>
                    <a:lnTo>
                      <a:pt x="151" y="59"/>
                    </a:lnTo>
                    <a:lnTo>
                      <a:pt x="158" y="56"/>
                    </a:lnTo>
                    <a:lnTo>
                      <a:pt x="167" y="53"/>
                    </a:lnTo>
                    <a:lnTo>
                      <a:pt x="175" y="53"/>
                    </a:lnTo>
                    <a:lnTo>
                      <a:pt x="175" y="18"/>
                    </a:lnTo>
                    <a:lnTo>
                      <a:pt x="175" y="18"/>
                    </a:lnTo>
                    <a:lnTo>
                      <a:pt x="174" y="11"/>
                    </a:lnTo>
                    <a:lnTo>
                      <a:pt x="171" y="5"/>
                    </a:lnTo>
                    <a:lnTo>
                      <a:pt x="164" y="1"/>
                    </a:lnTo>
                    <a:lnTo>
                      <a:pt x="157" y="0"/>
                    </a:lnTo>
                    <a:lnTo>
                      <a:pt x="19" y="0"/>
                    </a:lnTo>
                    <a:lnTo>
                      <a:pt x="19" y="0"/>
                    </a:lnTo>
                    <a:lnTo>
                      <a:pt x="11" y="1"/>
                    </a:lnTo>
                    <a:lnTo>
                      <a:pt x="6" y="5"/>
                    </a:lnTo>
                    <a:lnTo>
                      <a:pt x="1" y="11"/>
                    </a:lnTo>
                    <a:lnTo>
                      <a:pt x="0" y="18"/>
                    </a:lnTo>
                    <a:lnTo>
                      <a:pt x="0" y="116"/>
                    </a:lnTo>
                    <a:lnTo>
                      <a:pt x="0" y="116"/>
                    </a:lnTo>
                    <a:lnTo>
                      <a:pt x="1" y="123"/>
                    </a:lnTo>
                    <a:lnTo>
                      <a:pt x="6" y="131"/>
                    </a:lnTo>
                    <a:lnTo>
                      <a:pt x="11" y="133"/>
                    </a:lnTo>
                    <a:lnTo>
                      <a:pt x="19" y="135"/>
                    </a:lnTo>
                    <a:lnTo>
                      <a:pt x="111" y="135"/>
                    </a:lnTo>
                    <a:lnTo>
                      <a:pt x="111" y="135"/>
                    </a:lnTo>
                    <a:lnTo>
                      <a:pt x="109" y="123"/>
                    </a:lnTo>
                    <a:lnTo>
                      <a:pt x="109" y="110"/>
                    </a:lnTo>
                    <a:lnTo>
                      <a:pt x="112" y="97"/>
                    </a:lnTo>
                    <a:lnTo>
                      <a:pt x="118" y="86"/>
                    </a:lnTo>
                    <a:lnTo>
                      <a:pt x="118" y="86"/>
                    </a:lnTo>
                    <a:close/>
                    <a:moveTo>
                      <a:pt x="101" y="70"/>
                    </a:moveTo>
                    <a:lnTo>
                      <a:pt x="101" y="86"/>
                    </a:lnTo>
                    <a:lnTo>
                      <a:pt x="101" y="86"/>
                    </a:lnTo>
                    <a:lnTo>
                      <a:pt x="99" y="90"/>
                    </a:lnTo>
                    <a:lnTo>
                      <a:pt x="96" y="95"/>
                    </a:lnTo>
                    <a:lnTo>
                      <a:pt x="92" y="97"/>
                    </a:lnTo>
                    <a:lnTo>
                      <a:pt x="88" y="99"/>
                    </a:lnTo>
                    <a:lnTo>
                      <a:pt x="88" y="99"/>
                    </a:lnTo>
                    <a:lnTo>
                      <a:pt x="83" y="97"/>
                    </a:lnTo>
                    <a:lnTo>
                      <a:pt x="79" y="95"/>
                    </a:lnTo>
                    <a:lnTo>
                      <a:pt x="76" y="90"/>
                    </a:lnTo>
                    <a:lnTo>
                      <a:pt x="76" y="86"/>
                    </a:lnTo>
                    <a:lnTo>
                      <a:pt x="76" y="70"/>
                    </a:lnTo>
                    <a:lnTo>
                      <a:pt x="76" y="70"/>
                    </a:lnTo>
                    <a:lnTo>
                      <a:pt x="72" y="67"/>
                    </a:lnTo>
                    <a:lnTo>
                      <a:pt x="70" y="63"/>
                    </a:lnTo>
                    <a:lnTo>
                      <a:pt x="69" y="59"/>
                    </a:lnTo>
                    <a:lnTo>
                      <a:pt x="68" y="54"/>
                    </a:lnTo>
                    <a:lnTo>
                      <a:pt x="68" y="54"/>
                    </a:lnTo>
                    <a:lnTo>
                      <a:pt x="69" y="47"/>
                    </a:lnTo>
                    <a:lnTo>
                      <a:pt x="73" y="40"/>
                    </a:lnTo>
                    <a:lnTo>
                      <a:pt x="80" y="36"/>
                    </a:lnTo>
                    <a:lnTo>
                      <a:pt x="88" y="34"/>
                    </a:lnTo>
                    <a:lnTo>
                      <a:pt x="88" y="34"/>
                    </a:lnTo>
                    <a:lnTo>
                      <a:pt x="96" y="36"/>
                    </a:lnTo>
                    <a:lnTo>
                      <a:pt x="102" y="40"/>
                    </a:lnTo>
                    <a:lnTo>
                      <a:pt x="106" y="47"/>
                    </a:lnTo>
                    <a:lnTo>
                      <a:pt x="108" y="54"/>
                    </a:lnTo>
                    <a:lnTo>
                      <a:pt x="108" y="54"/>
                    </a:lnTo>
                    <a:lnTo>
                      <a:pt x="108" y="59"/>
                    </a:lnTo>
                    <a:lnTo>
                      <a:pt x="106" y="63"/>
                    </a:lnTo>
                    <a:lnTo>
                      <a:pt x="103" y="67"/>
                    </a:lnTo>
                    <a:lnTo>
                      <a:pt x="101" y="70"/>
                    </a:lnTo>
                    <a:lnTo>
                      <a:pt x="101" y="7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65" name="Freeform 174">
                <a:extLst>
                  <a:ext uri="{FF2B5EF4-FFF2-40B4-BE49-F238E27FC236}">
                    <a16:creationId xmlns:a16="http://schemas.microsoft.com/office/drawing/2014/main" id="{35F18AE0-8D09-4460-A8FA-13EDC1FB3958}"/>
                  </a:ext>
                </a:extLst>
              </p:cNvPr>
              <p:cNvSpPr>
                <a:spLocks noEditPoints="1"/>
              </p:cNvSpPr>
              <p:nvPr/>
            </p:nvSpPr>
            <p:spPr bwMode="auto">
              <a:xfrm>
                <a:off x="7632576" y="1326182"/>
                <a:ext cx="246063" cy="196850"/>
              </a:xfrm>
              <a:custGeom>
                <a:avLst/>
                <a:gdLst>
                  <a:gd name="T0" fmla="*/ 86 w 155"/>
                  <a:gd name="T1" fmla="*/ 9 h 124"/>
                  <a:gd name="T2" fmla="*/ 64 w 155"/>
                  <a:gd name="T3" fmla="*/ 0 h 124"/>
                  <a:gd name="T4" fmla="*/ 43 w 155"/>
                  <a:gd name="T5" fmla="*/ 2 h 124"/>
                  <a:gd name="T6" fmla="*/ 23 w 155"/>
                  <a:gd name="T7" fmla="*/ 10 h 124"/>
                  <a:gd name="T8" fmla="*/ 7 w 155"/>
                  <a:gd name="T9" fmla="*/ 28 h 124"/>
                  <a:gd name="T10" fmla="*/ 3 w 155"/>
                  <a:gd name="T11" fmla="*/ 38 h 124"/>
                  <a:gd name="T12" fmla="*/ 0 w 155"/>
                  <a:gd name="T13" fmla="*/ 59 h 124"/>
                  <a:gd name="T14" fmla="*/ 4 w 155"/>
                  <a:gd name="T15" fmla="*/ 81 h 124"/>
                  <a:gd name="T16" fmla="*/ 17 w 155"/>
                  <a:gd name="T17" fmla="*/ 100 h 124"/>
                  <a:gd name="T18" fmla="*/ 27 w 155"/>
                  <a:gd name="T19" fmla="*/ 105 h 124"/>
                  <a:gd name="T20" fmla="*/ 43 w 155"/>
                  <a:gd name="T21" fmla="*/ 113 h 124"/>
                  <a:gd name="T22" fmla="*/ 60 w 155"/>
                  <a:gd name="T23" fmla="*/ 114 h 124"/>
                  <a:gd name="T24" fmla="*/ 77 w 155"/>
                  <a:gd name="T25" fmla="*/ 110 h 124"/>
                  <a:gd name="T26" fmla="*/ 93 w 155"/>
                  <a:gd name="T27" fmla="*/ 101 h 124"/>
                  <a:gd name="T28" fmla="*/ 95 w 155"/>
                  <a:gd name="T29" fmla="*/ 102 h 124"/>
                  <a:gd name="T30" fmla="*/ 126 w 155"/>
                  <a:gd name="T31" fmla="*/ 123 h 124"/>
                  <a:gd name="T32" fmla="*/ 141 w 155"/>
                  <a:gd name="T33" fmla="*/ 124 h 124"/>
                  <a:gd name="T34" fmla="*/ 152 w 155"/>
                  <a:gd name="T35" fmla="*/ 115 h 124"/>
                  <a:gd name="T36" fmla="*/ 155 w 155"/>
                  <a:gd name="T37" fmla="*/ 110 h 124"/>
                  <a:gd name="T38" fmla="*/ 151 w 155"/>
                  <a:gd name="T39" fmla="*/ 95 h 124"/>
                  <a:gd name="T40" fmla="*/ 113 w 155"/>
                  <a:gd name="T41" fmla="*/ 71 h 124"/>
                  <a:gd name="T42" fmla="*/ 112 w 155"/>
                  <a:gd name="T43" fmla="*/ 69 h 124"/>
                  <a:gd name="T44" fmla="*/ 113 w 155"/>
                  <a:gd name="T45" fmla="*/ 61 h 124"/>
                  <a:gd name="T46" fmla="*/ 112 w 155"/>
                  <a:gd name="T47" fmla="*/ 44 h 124"/>
                  <a:gd name="T48" fmla="*/ 105 w 155"/>
                  <a:gd name="T49" fmla="*/ 28 h 124"/>
                  <a:gd name="T50" fmla="*/ 93 w 155"/>
                  <a:gd name="T51" fmla="*/ 13 h 124"/>
                  <a:gd name="T52" fmla="*/ 86 w 155"/>
                  <a:gd name="T53" fmla="*/ 9 h 124"/>
                  <a:gd name="T54" fmla="*/ 86 w 155"/>
                  <a:gd name="T55" fmla="*/ 75 h 124"/>
                  <a:gd name="T56" fmla="*/ 76 w 155"/>
                  <a:gd name="T57" fmla="*/ 85 h 124"/>
                  <a:gd name="T58" fmla="*/ 64 w 155"/>
                  <a:gd name="T59" fmla="*/ 91 h 124"/>
                  <a:gd name="T60" fmla="*/ 51 w 155"/>
                  <a:gd name="T61" fmla="*/ 92 h 124"/>
                  <a:gd name="T62" fmla="*/ 39 w 155"/>
                  <a:gd name="T63" fmla="*/ 87 h 124"/>
                  <a:gd name="T64" fmla="*/ 33 w 155"/>
                  <a:gd name="T65" fmla="*/ 82 h 124"/>
                  <a:gd name="T66" fmla="*/ 24 w 155"/>
                  <a:gd name="T67" fmla="*/ 72 h 124"/>
                  <a:gd name="T68" fmla="*/ 21 w 155"/>
                  <a:gd name="T69" fmla="*/ 59 h 124"/>
                  <a:gd name="T70" fmla="*/ 23 w 155"/>
                  <a:gd name="T71" fmla="*/ 45 h 124"/>
                  <a:gd name="T72" fmla="*/ 27 w 155"/>
                  <a:gd name="T73" fmla="*/ 39 h 124"/>
                  <a:gd name="T74" fmla="*/ 36 w 155"/>
                  <a:gd name="T75" fmla="*/ 29 h 124"/>
                  <a:gd name="T76" fmla="*/ 47 w 155"/>
                  <a:gd name="T77" fmla="*/ 23 h 124"/>
                  <a:gd name="T78" fmla="*/ 61 w 155"/>
                  <a:gd name="T79" fmla="*/ 23 h 124"/>
                  <a:gd name="T80" fmla="*/ 74 w 155"/>
                  <a:gd name="T81" fmla="*/ 28 h 124"/>
                  <a:gd name="T82" fmla="*/ 80 w 155"/>
                  <a:gd name="T83" fmla="*/ 32 h 124"/>
                  <a:gd name="T84" fmla="*/ 87 w 155"/>
                  <a:gd name="T85" fmla="*/ 44 h 124"/>
                  <a:gd name="T86" fmla="*/ 90 w 155"/>
                  <a:gd name="T87" fmla="*/ 56 h 124"/>
                  <a:gd name="T88" fmla="*/ 89 w 155"/>
                  <a:gd name="T89" fmla="*/ 69 h 124"/>
                  <a:gd name="T90" fmla="*/ 86 w 155"/>
                  <a:gd name="T91" fmla="*/ 75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5" h="124">
                    <a:moveTo>
                      <a:pt x="86" y="9"/>
                    </a:moveTo>
                    <a:lnTo>
                      <a:pt x="86" y="9"/>
                    </a:lnTo>
                    <a:lnTo>
                      <a:pt x="76" y="3"/>
                    </a:lnTo>
                    <a:lnTo>
                      <a:pt x="64" y="0"/>
                    </a:lnTo>
                    <a:lnTo>
                      <a:pt x="53" y="0"/>
                    </a:lnTo>
                    <a:lnTo>
                      <a:pt x="43" y="2"/>
                    </a:lnTo>
                    <a:lnTo>
                      <a:pt x="33" y="6"/>
                    </a:lnTo>
                    <a:lnTo>
                      <a:pt x="23" y="10"/>
                    </a:lnTo>
                    <a:lnTo>
                      <a:pt x="14" y="19"/>
                    </a:lnTo>
                    <a:lnTo>
                      <a:pt x="7" y="28"/>
                    </a:lnTo>
                    <a:lnTo>
                      <a:pt x="7" y="28"/>
                    </a:lnTo>
                    <a:lnTo>
                      <a:pt x="3" y="38"/>
                    </a:lnTo>
                    <a:lnTo>
                      <a:pt x="0" y="49"/>
                    </a:lnTo>
                    <a:lnTo>
                      <a:pt x="0" y="59"/>
                    </a:lnTo>
                    <a:lnTo>
                      <a:pt x="1" y="71"/>
                    </a:lnTo>
                    <a:lnTo>
                      <a:pt x="4" y="81"/>
                    </a:lnTo>
                    <a:lnTo>
                      <a:pt x="10" y="91"/>
                    </a:lnTo>
                    <a:lnTo>
                      <a:pt x="17" y="100"/>
                    </a:lnTo>
                    <a:lnTo>
                      <a:pt x="27" y="105"/>
                    </a:lnTo>
                    <a:lnTo>
                      <a:pt x="27" y="105"/>
                    </a:lnTo>
                    <a:lnTo>
                      <a:pt x="34" y="110"/>
                    </a:lnTo>
                    <a:lnTo>
                      <a:pt x="43" y="113"/>
                    </a:lnTo>
                    <a:lnTo>
                      <a:pt x="51" y="114"/>
                    </a:lnTo>
                    <a:lnTo>
                      <a:pt x="60" y="114"/>
                    </a:lnTo>
                    <a:lnTo>
                      <a:pt x="69" y="113"/>
                    </a:lnTo>
                    <a:lnTo>
                      <a:pt x="77" y="110"/>
                    </a:lnTo>
                    <a:lnTo>
                      <a:pt x="86" y="107"/>
                    </a:lnTo>
                    <a:lnTo>
                      <a:pt x="93" y="101"/>
                    </a:lnTo>
                    <a:lnTo>
                      <a:pt x="93" y="101"/>
                    </a:lnTo>
                    <a:lnTo>
                      <a:pt x="95" y="102"/>
                    </a:lnTo>
                    <a:lnTo>
                      <a:pt x="126" y="123"/>
                    </a:lnTo>
                    <a:lnTo>
                      <a:pt x="126" y="123"/>
                    </a:lnTo>
                    <a:lnTo>
                      <a:pt x="133" y="124"/>
                    </a:lnTo>
                    <a:lnTo>
                      <a:pt x="141" y="124"/>
                    </a:lnTo>
                    <a:lnTo>
                      <a:pt x="146" y="121"/>
                    </a:lnTo>
                    <a:lnTo>
                      <a:pt x="152" y="115"/>
                    </a:lnTo>
                    <a:lnTo>
                      <a:pt x="152" y="115"/>
                    </a:lnTo>
                    <a:lnTo>
                      <a:pt x="155" y="110"/>
                    </a:lnTo>
                    <a:lnTo>
                      <a:pt x="155" y="102"/>
                    </a:lnTo>
                    <a:lnTo>
                      <a:pt x="151" y="95"/>
                    </a:lnTo>
                    <a:lnTo>
                      <a:pt x="146" y="91"/>
                    </a:lnTo>
                    <a:lnTo>
                      <a:pt x="113" y="71"/>
                    </a:lnTo>
                    <a:lnTo>
                      <a:pt x="113" y="71"/>
                    </a:lnTo>
                    <a:lnTo>
                      <a:pt x="112" y="69"/>
                    </a:lnTo>
                    <a:lnTo>
                      <a:pt x="112" y="69"/>
                    </a:lnTo>
                    <a:lnTo>
                      <a:pt x="113" y="61"/>
                    </a:lnTo>
                    <a:lnTo>
                      <a:pt x="113" y="52"/>
                    </a:lnTo>
                    <a:lnTo>
                      <a:pt x="112" y="44"/>
                    </a:lnTo>
                    <a:lnTo>
                      <a:pt x="109" y="35"/>
                    </a:lnTo>
                    <a:lnTo>
                      <a:pt x="105" y="28"/>
                    </a:lnTo>
                    <a:lnTo>
                      <a:pt x="99" y="21"/>
                    </a:lnTo>
                    <a:lnTo>
                      <a:pt x="93" y="13"/>
                    </a:lnTo>
                    <a:lnTo>
                      <a:pt x="86" y="9"/>
                    </a:lnTo>
                    <a:lnTo>
                      <a:pt x="86" y="9"/>
                    </a:lnTo>
                    <a:close/>
                    <a:moveTo>
                      <a:pt x="86" y="75"/>
                    </a:moveTo>
                    <a:lnTo>
                      <a:pt x="86" y="75"/>
                    </a:lnTo>
                    <a:lnTo>
                      <a:pt x="82" y="81"/>
                    </a:lnTo>
                    <a:lnTo>
                      <a:pt x="76" y="85"/>
                    </a:lnTo>
                    <a:lnTo>
                      <a:pt x="70" y="90"/>
                    </a:lnTo>
                    <a:lnTo>
                      <a:pt x="64" y="91"/>
                    </a:lnTo>
                    <a:lnTo>
                      <a:pt x="57" y="92"/>
                    </a:lnTo>
                    <a:lnTo>
                      <a:pt x="51" y="92"/>
                    </a:lnTo>
                    <a:lnTo>
                      <a:pt x="44" y="90"/>
                    </a:lnTo>
                    <a:lnTo>
                      <a:pt x="39" y="87"/>
                    </a:lnTo>
                    <a:lnTo>
                      <a:pt x="39" y="87"/>
                    </a:lnTo>
                    <a:lnTo>
                      <a:pt x="33" y="82"/>
                    </a:lnTo>
                    <a:lnTo>
                      <a:pt x="27" y="78"/>
                    </a:lnTo>
                    <a:lnTo>
                      <a:pt x="24" y="72"/>
                    </a:lnTo>
                    <a:lnTo>
                      <a:pt x="23" y="65"/>
                    </a:lnTo>
                    <a:lnTo>
                      <a:pt x="21" y="59"/>
                    </a:lnTo>
                    <a:lnTo>
                      <a:pt x="21" y="52"/>
                    </a:lnTo>
                    <a:lnTo>
                      <a:pt x="23" y="45"/>
                    </a:lnTo>
                    <a:lnTo>
                      <a:pt x="27" y="39"/>
                    </a:lnTo>
                    <a:lnTo>
                      <a:pt x="27" y="39"/>
                    </a:lnTo>
                    <a:lnTo>
                      <a:pt x="30" y="33"/>
                    </a:lnTo>
                    <a:lnTo>
                      <a:pt x="36" y="29"/>
                    </a:lnTo>
                    <a:lnTo>
                      <a:pt x="41" y="26"/>
                    </a:lnTo>
                    <a:lnTo>
                      <a:pt x="47" y="23"/>
                    </a:lnTo>
                    <a:lnTo>
                      <a:pt x="54" y="22"/>
                    </a:lnTo>
                    <a:lnTo>
                      <a:pt x="61" y="23"/>
                    </a:lnTo>
                    <a:lnTo>
                      <a:pt x="67" y="25"/>
                    </a:lnTo>
                    <a:lnTo>
                      <a:pt x="74" y="28"/>
                    </a:lnTo>
                    <a:lnTo>
                      <a:pt x="74" y="28"/>
                    </a:lnTo>
                    <a:lnTo>
                      <a:pt x="80" y="32"/>
                    </a:lnTo>
                    <a:lnTo>
                      <a:pt x="84" y="36"/>
                    </a:lnTo>
                    <a:lnTo>
                      <a:pt x="87" y="44"/>
                    </a:lnTo>
                    <a:lnTo>
                      <a:pt x="90" y="49"/>
                    </a:lnTo>
                    <a:lnTo>
                      <a:pt x="90" y="56"/>
                    </a:lnTo>
                    <a:lnTo>
                      <a:pt x="90" y="62"/>
                    </a:lnTo>
                    <a:lnTo>
                      <a:pt x="89" y="69"/>
                    </a:lnTo>
                    <a:lnTo>
                      <a:pt x="86" y="75"/>
                    </a:lnTo>
                    <a:lnTo>
                      <a:pt x="86" y="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66" name="Group 1465">
            <a:extLst>
              <a:ext uri="{FF2B5EF4-FFF2-40B4-BE49-F238E27FC236}">
                <a16:creationId xmlns:a16="http://schemas.microsoft.com/office/drawing/2014/main" id="{30984779-B6C7-4FDD-A070-6AD5DE1E61C0}"/>
              </a:ext>
            </a:extLst>
          </p:cNvPr>
          <p:cNvGrpSpPr/>
          <p:nvPr/>
        </p:nvGrpSpPr>
        <p:grpSpPr>
          <a:xfrm>
            <a:off x="9762521" y="3168578"/>
            <a:ext cx="612775" cy="612775"/>
            <a:chOff x="8607892" y="3806921"/>
            <a:chExt cx="612775" cy="612775"/>
          </a:xfrm>
        </p:grpSpPr>
        <p:sp>
          <p:nvSpPr>
            <p:cNvPr id="1467" name="Oval 1466">
              <a:extLst>
                <a:ext uri="{FF2B5EF4-FFF2-40B4-BE49-F238E27FC236}">
                  <a16:creationId xmlns:a16="http://schemas.microsoft.com/office/drawing/2014/main" id="{73E8F5B3-71D3-42A8-8A18-27527257C8CE}"/>
                </a:ext>
              </a:extLst>
            </p:cNvPr>
            <p:cNvSpPr/>
            <p:nvPr/>
          </p:nvSpPr>
          <p:spPr bwMode="ltGray">
            <a:xfrm>
              <a:off x="860789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68" name="Group 1467">
              <a:extLst>
                <a:ext uri="{FF2B5EF4-FFF2-40B4-BE49-F238E27FC236}">
                  <a16:creationId xmlns:a16="http://schemas.microsoft.com/office/drawing/2014/main" id="{59E4115B-509E-481C-BB11-64235B4ECF34}"/>
                </a:ext>
              </a:extLst>
            </p:cNvPr>
            <p:cNvGrpSpPr/>
            <p:nvPr/>
          </p:nvGrpSpPr>
          <p:grpSpPr>
            <a:xfrm>
              <a:off x="8747588" y="3884456"/>
              <a:ext cx="370926" cy="491382"/>
              <a:chOff x="6386388" y="1710357"/>
              <a:chExt cx="307975" cy="407987"/>
            </a:xfrm>
          </p:grpSpPr>
          <p:sp>
            <p:nvSpPr>
              <p:cNvPr id="1469" name="Freeform 168">
                <a:extLst>
                  <a:ext uri="{FF2B5EF4-FFF2-40B4-BE49-F238E27FC236}">
                    <a16:creationId xmlns:a16="http://schemas.microsoft.com/office/drawing/2014/main" id="{2B4B4B55-8C2C-4903-B0A2-3934ED38E18F}"/>
                  </a:ext>
                </a:extLst>
              </p:cNvPr>
              <p:cNvSpPr>
                <a:spLocks/>
              </p:cNvSpPr>
              <p:nvPr/>
            </p:nvSpPr>
            <p:spPr bwMode="auto">
              <a:xfrm>
                <a:off x="6522913" y="1777032"/>
                <a:ext cx="93663" cy="101600"/>
              </a:xfrm>
              <a:custGeom>
                <a:avLst/>
                <a:gdLst>
                  <a:gd name="T0" fmla="*/ 51 w 59"/>
                  <a:gd name="T1" fmla="*/ 64 h 64"/>
                  <a:gd name="T2" fmla="*/ 9 w 59"/>
                  <a:gd name="T3" fmla="*/ 64 h 64"/>
                  <a:gd name="T4" fmla="*/ 9 w 59"/>
                  <a:gd name="T5" fmla="*/ 64 h 64"/>
                  <a:gd name="T6" fmla="*/ 6 w 59"/>
                  <a:gd name="T7" fmla="*/ 63 h 64"/>
                  <a:gd name="T8" fmla="*/ 3 w 59"/>
                  <a:gd name="T9" fmla="*/ 61 h 64"/>
                  <a:gd name="T10" fmla="*/ 2 w 59"/>
                  <a:gd name="T11" fmla="*/ 58 h 64"/>
                  <a:gd name="T12" fmla="*/ 0 w 59"/>
                  <a:gd name="T13" fmla="*/ 56 h 64"/>
                  <a:gd name="T14" fmla="*/ 0 w 59"/>
                  <a:gd name="T15" fmla="*/ 7 h 64"/>
                  <a:gd name="T16" fmla="*/ 0 w 59"/>
                  <a:gd name="T17" fmla="*/ 7 h 64"/>
                  <a:gd name="T18" fmla="*/ 2 w 59"/>
                  <a:gd name="T19" fmla="*/ 4 h 64"/>
                  <a:gd name="T20" fmla="*/ 3 w 59"/>
                  <a:gd name="T21" fmla="*/ 1 h 64"/>
                  <a:gd name="T22" fmla="*/ 6 w 59"/>
                  <a:gd name="T23" fmla="*/ 0 h 64"/>
                  <a:gd name="T24" fmla="*/ 9 w 59"/>
                  <a:gd name="T25" fmla="*/ 0 h 64"/>
                  <a:gd name="T26" fmla="*/ 9 w 59"/>
                  <a:gd name="T27" fmla="*/ 0 h 64"/>
                  <a:gd name="T28" fmla="*/ 12 w 59"/>
                  <a:gd name="T29" fmla="*/ 0 h 64"/>
                  <a:gd name="T30" fmla="*/ 15 w 59"/>
                  <a:gd name="T31" fmla="*/ 1 h 64"/>
                  <a:gd name="T32" fmla="*/ 16 w 59"/>
                  <a:gd name="T33" fmla="*/ 4 h 64"/>
                  <a:gd name="T34" fmla="*/ 16 w 59"/>
                  <a:gd name="T35" fmla="*/ 7 h 64"/>
                  <a:gd name="T36" fmla="*/ 16 w 59"/>
                  <a:gd name="T37" fmla="*/ 47 h 64"/>
                  <a:gd name="T38" fmla="*/ 51 w 59"/>
                  <a:gd name="T39" fmla="*/ 47 h 64"/>
                  <a:gd name="T40" fmla="*/ 51 w 59"/>
                  <a:gd name="T41" fmla="*/ 47 h 64"/>
                  <a:gd name="T42" fmla="*/ 53 w 59"/>
                  <a:gd name="T43" fmla="*/ 48 h 64"/>
                  <a:gd name="T44" fmla="*/ 56 w 59"/>
                  <a:gd name="T45" fmla="*/ 50 h 64"/>
                  <a:gd name="T46" fmla="*/ 58 w 59"/>
                  <a:gd name="T47" fmla="*/ 53 h 64"/>
                  <a:gd name="T48" fmla="*/ 59 w 59"/>
                  <a:gd name="T49" fmla="*/ 56 h 64"/>
                  <a:gd name="T50" fmla="*/ 59 w 59"/>
                  <a:gd name="T51" fmla="*/ 56 h 64"/>
                  <a:gd name="T52" fmla="*/ 58 w 59"/>
                  <a:gd name="T53" fmla="*/ 58 h 64"/>
                  <a:gd name="T54" fmla="*/ 56 w 59"/>
                  <a:gd name="T55" fmla="*/ 61 h 64"/>
                  <a:gd name="T56" fmla="*/ 53 w 59"/>
                  <a:gd name="T57" fmla="*/ 63 h 64"/>
                  <a:gd name="T58" fmla="*/ 51 w 59"/>
                  <a:gd name="T59" fmla="*/ 64 h 64"/>
                  <a:gd name="T60" fmla="*/ 51 w 59"/>
                  <a:gd name="T61"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9" h="64">
                    <a:moveTo>
                      <a:pt x="51" y="64"/>
                    </a:moveTo>
                    <a:lnTo>
                      <a:pt x="9" y="64"/>
                    </a:lnTo>
                    <a:lnTo>
                      <a:pt x="9" y="64"/>
                    </a:lnTo>
                    <a:lnTo>
                      <a:pt x="6" y="63"/>
                    </a:lnTo>
                    <a:lnTo>
                      <a:pt x="3" y="61"/>
                    </a:lnTo>
                    <a:lnTo>
                      <a:pt x="2" y="58"/>
                    </a:lnTo>
                    <a:lnTo>
                      <a:pt x="0" y="56"/>
                    </a:lnTo>
                    <a:lnTo>
                      <a:pt x="0" y="7"/>
                    </a:lnTo>
                    <a:lnTo>
                      <a:pt x="0" y="7"/>
                    </a:lnTo>
                    <a:lnTo>
                      <a:pt x="2" y="4"/>
                    </a:lnTo>
                    <a:lnTo>
                      <a:pt x="3" y="1"/>
                    </a:lnTo>
                    <a:lnTo>
                      <a:pt x="6" y="0"/>
                    </a:lnTo>
                    <a:lnTo>
                      <a:pt x="9" y="0"/>
                    </a:lnTo>
                    <a:lnTo>
                      <a:pt x="9" y="0"/>
                    </a:lnTo>
                    <a:lnTo>
                      <a:pt x="12" y="0"/>
                    </a:lnTo>
                    <a:lnTo>
                      <a:pt x="15" y="1"/>
                    </a:lnTo>
                    <a:lnTo>
                      <a:pt x="16" y="4"/>
                    </a:lnTo>
                    <a:lnTo>
                      <a:pt x="16" y="7"/>
                    </a:lnTo>
                    <a:lnTo>
                      <a:pt x="16" y="47"/>
                    </a:lnTo>
                    <a:lnTo>
                      <a:pt x="51" y="47"/>
                    </a:lnTo>
                    <a:lnTo>
                      <a:pt x="51" y="47"/>
                    </a:lnTo>
                    <a:lnTo>
                      <a:pt x="53" y="48"/>
                    </a:lnTo>
                    <a:lnTo>
                      <a:pt x="56" y="50"/>
                    </a:lnTo>
                    <a:lnTo>
                      <a:pt x="58" y="53"/>
                    </a:lnTo>
                    <a:lnTo>
                      <a:pt x="59" y="56"/>
                    </a:lnTo>
                    <a:lnTo>
                      <a:pt x="59" y="56"/>
                    </a:lnTo>
                    <a:lnTo>
                      <a:pt x="58" y="58"/>
                    </a:lnTo>
                    <a:lnTo>
                      <a:pt x="56" y="61"/>
                    </a:lnTo>
                    <a:lnTo>
                      <a:pt x="53" y="63"/>
                    </a:lnTo>
                    <a:lnTo>
                      <a:pt x="51" y="64"/>
                    </a:lnTo>
                    <a:lnTo>
                      <a:pt x="51" y="6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70" name="Freeform 169">
                <a:extLst>
                  <a:ext uri="{FF2B5EF4-FFF2-40B4-BE49-F238E27FC236}">
                    <a16:creationId xmlns:a16="http://schemas.microsoft.com/office/drawing/2014/main" id="{9DCC4572-F195-4D6E-9EB7-BAC98C7BDAF4}"/>
                  </a:ext>
                </a:extLst>
              </p:cNvPr>
              <p:cNvSpPr>
                <a:spLocks/>
              </p:cNvSpPr>
              <p:nvPr/>
            </p:nvSpPr>
            <p:spPr bwMode="auto">
              <a:xfrm>
                <a:off x="6386388" y="1710357"/>
                <a:ext cx="307975" cy="303213"/>
              </a:xfrm>
              <a:custGeom>
                <a:avLst/>
                <a:gdLst>
                  <a:gd name="T0" fmla="*/ 96 w 194"/>
                  <a:gd name="T1" fmla="*/ 0 h 191"/>
                  <a:gd name="T2" fmla="*/ 78 w 194"/>
                  <a:gd name="T3" fmla="*/ 1 h 191"/>
                  <a:gd name="T4" fmla="*/ 59 w 194"/>
                  <a:gd name="T5" fmla="*/ 7 h 191"/>
                  <a:gd name="T6" fmla="*/ 43 w 194"/>
                  <a:gd name="T7" fmla="*/ 16 h 191"/>
                  <a:gd name="T8" fmla="*/ 29 w 194"/>
                  <a:gd name="T9" fmla="*/ 29 h 191"/>
                  <a:gd name="T10" fmla="*/ 16 w 194"/>
                  <a:gd name="T11" fmla="*/ 43 h 191"/>
                  <a:gd name="T12" fmla="*/ 7 w 194"/>
                  <a:gd name="T13" fmla="*/ 59 h 191"/>
                  <a:gd name="T14" fmla="*/ 1 w 194"/>
                  <a:gd name="T15" fmla="*/ 77 h 191"/>
                  <a:gd name="T16" fmla="*/ 0 w 194"/>
                  <a:gd name="T17" fmla="*/ 96 h 191"/>
                  <a:gd name="T18" fmla="*/ 0 w 194"/>
                  <a:gd name="T19" fmla="*/ 109 h 191"/>
                  <a:gd name="T20" fmla="*/ 3 w 194"/>
                  <a:gd name="T21" fmla="*/ 121 h 191"/>
                  <a:gd name="T22" fmla="*/ 11 w 194"/>
                  <a:gd name="T23" fmla="*/ 113 h 191"/>
                  <a:gd name="T24" fmla="*/ 24 w 194"/>
                  <a:gd name="T25" fmla="*/ 108 h 191"/>
                  <a:gd name="T26" fmla="*/ 24 w 194"/>
                  <a:gd name="T27" fmla="*/ 96 h 191"/>
                  <a:gd name="T28" fmla="*/ 26 w 194"/>
                  <a:gd name="T29" fmla="*/ 82 h 191"/>
                  <a:gd name="T30" fmla="*/ 36 w 194"/>
                  <a:gd name="T31" fmla="*/ 56 h 191"/>
                  <a:gd name="T32" fmla="*/ 56 w 194"/>
                  <a:gd name="T33" fmla="*/ 36 h 191"/>
                  <a:gd name="T34" fmla="*/ 82 w 194"/>
                  <a:gd name="T35" fmla="*/ 26 h 191"/>
                  <a:gd name="T36" fmla="*/ 96 w 194"/>
                  <a:gd name="T37" fmla="*/ 24 h 191"/>
                  <a:gd name="T38" fmla="*/ 125 w 194"/>
                  <a:gd name="T39" fmla="*/ 30 h 191"/>
                  <a:gd name="T40" fmla="*/ 148 w 194"/>
                  <a:gd name="T41" fmla="*/ 44 h 191"/>
                  <a:gd name="T42" fmla="*/ 164 w 194"/>
                  <a:gd name="T43" fmla="*/ 69 h 191"/>
                  <a:gd name="T44" fmla="*/ 170 w 194"/>
                  <a:gd name="T45" fmla="*/ 96 h 191"/>
                  <a:gd name="T46" fmla="*/ 168 w 194"/>
                  <a:gd name="T47" fmla="*/ 111 h 191"/>
                  <a:gd name="T48" fmla="*/ 160 w 194"/>
                  <a:gd name="T49" fmla="*/ 135 h 191"/>
                  <a:gd name="T50" fmla="*/ 142 w 194"/>
                  <a:gd name="T51" fmla="*/ 154 h 191"/>
                  <a:gd name="T52" fmla="*/ 119 w 194"/>
                  <a:gd name="T53" fmla="*/ 167 h 191"/>
                  <a:gd name="T54" fmla="*/ 106 w 194"/>
                  <a:gd name="T55" fmla="*/ 169 h 191"/>
                  <a:gd name="T56" fmla="*/ 112 w 194"/>
                  <a:gd name="T57" fmla="*/ 175 h 191"/>
                  <a:gd name="T58" fmla="*/ 121 w 194"/>
                  <a:gd name="T59" fmla="*/ 191 h 191"/>
                  <a:gd name="T60" fmla="*/ 137 w 194"/>
                  <a:gd name="T61" fmla="*/ 185 h 191"/>
                  <a:gd name="T62" fmla="*/ 162 w 194"/>
                  <a:gd name="T63" fmla="*/ 168 h 191"/>
                  <a:gd name="T64" fmla="*/ 183 w 194"/>
                  <a:gd name="T65" fmla="*/ 144 h 191"/>
                  <a:gd name="T66" fmla="*/ 193 w 194"/>
                  <a:gd name="T67" fmla="*/ 113 h 191"/>
                  <a:gd name="T68" fmla="*/ 194 w 194"/>
                  <a:gd name="T69" fmla="*/ 96 h 191"/>
                  <a:gd name="T70" fmla="*/ 193 w 194"/>
                  <a:gd name="T71" fmla="*/ 77 h 191"/>
                  <a:gd name="T72" fmla="*/ 187 w 194"/>
                  <a:gd name="T73" fmla="*/ 59 h 191"/>
                  <a:gd name="T74" fmla="*/ 178 w 194"/>
                  <a:gd name="T75" fmla="*/ 43 h 191"/>
                  <a:gd name="T76" fmla="*/ 165 w 194"/>
                  <a:gd name="T77" fmla="*/ 29 h 191"/>
                  <a:gd name="T78" fmla="*/ 151 w 194"/>
                  <a:gd name="T79" fmla="*/ 16 h 191"/>
                  <a:gd name="T80" fmla="*/ 135 w 194"/>
                  <a:gd name="T81" fmla="*/ 7 h 191"/>
                  <a:gd name="T82" fmla="*/ 116 w 194"/>
                  <a:gd name="T83" fmla="*/ 1 h 191"/>
                  <a:gd name="T84" fmla="*/ 96 w 194"/>
                  <a:gd name="T85"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4" h="191">
                    <a:moveTo>
                      <a:pt x="96" y="0"/>
                    </a:moveTo>
                    <a:lnTo>
                      <a:pt x="96" y="0"/>
                    </a:lnTo>
                    <a:lnTo>
                      <a:pt x="88" y="0"/>
                    </a:lnTo>
                    <a:lnTo>
                      <a:pt x="78" y="1"/>
                    </a:lnTo>
                    <a:lnTo>
                      <a:pt x="68" y="4"/>
                    </a:lnTo>
                    <a:lnTo>
                      <a:pt x="59" y="7"/>
                    </a:lnTo>
                    <a:lnTo>
                      <a:pt x="50" y="11"/>
                    </a:lnTo>
                    <a:lnTo>
                      <a:pt x="43" y="16"/>
                    </a:lnTo>
                    <a:lnTo>
                      <a:pt x="34" y="21"/>
                    </a:lnTo>
                    <a:lnTo>
                      <a:pt x="29" y="29"/>
                    </a:lnTo>
                    <a:lnTo>
                      <a:pt x="22" y="34"/>
                    </a:lnTo>
                    <a:lnTo>
                      <a:pt x="16" y="43"/>
                    </a:lnTo>
                    <a:lnTo>
                      <a:pt x="11" y="50"/>
                    </a:lnTo>
                    <a:lnTo>
                      <a:pt x="7" y="59"/>
                    </a:lnTo>
                    <a:lnTo>
                      <a:pt x="4" y="67"/>
                    </a:lnTo>
                    <a:lnTo>
                      <a:pt x="1" y="77"/>
                    </a:lnTo>
                    <a:lnTo>
                      <a:pt x="0" y="88"/>
                    </a:lnTo>
                    <a:lnTo>
                      <a:pt x="0" y="96"/>
                    </a:lnTo>
                    <a:lnTo>
                      <a:pt x="0" y="96"/>
                    </a:lnTo>
                    <a:lnTo>
                      <a:pt x="0" y="109"/>
                    </a:lnTo>
                    <a:lnTo>
                      <a:pt x="3" y="121"/>
                    </a:lnTo>
                    <a:lnTo>
                      <a:pt x="3" y="121"/>
                    </a:lnTo>
                    <a:lnTo>
                      <a:pt x="11" y="113"/>
                    </a:lnTo>
                    <a:lnTo>
                      <a:pt x="11" y="113"/>
                    </a:lnTo>
                    <a:lnTo>
                      <a:pt x="17" y="109"/>
                    </a:lnTo>
                    <a:lnTo>
                      <a:pt x="24" y="108"/>
                    </a:lnTo>
                    <a:lnTo>
                      <a:pt x="24" y="108"/>
                    </a:lnTo>
                    <a:lnTo>
                      <a:pt x="24" y="96"/>
                    </a:lnTo>
                    <a:lnTo>
                      <a:pt x="24" y="96"/>
                    </a:lnTo>
                    <a:lnTo>
                      <a:pt x="26" y="82"/>
                    </a:lnTo>
                    <a:lnTo>
                      <a:pt x="30" y="69"/>
                    </a:lnTo>
                    <a:lnTo>
                      <a:pt x="36" y="56"/>
                    </a:lnTo>
                    <a:lnTo>
                      <a:pt x="45" y="44"/>
                    </a:lnTo>
                    <a:lnTo>
                      <a:pt x="56" y="36"/>
                    </a:lnTo>
                    <a:lnTo>
                      <a:pt x="69" y="30"/>
                    </a:lnTo>
                    <a:lnTo>
                      <a:pt x="82" y="26"/>
                    </a:lnTo>
                    <a:lnTo>
                      <a:pt x="96" y="24"/>
                    </a:lnTo>
                    <a:lnTo>
                      <a:pt x="96" y="24"/>
                    </a:lnTo>
                    <a:lnTo>
                      <a:pt x="112" y="26"/>
                    </a:lnTo>
                    <a:lnTo>
                      <a:pt x="125" y="30"/>
                    </a:lnTo>
                    <a:lnTo>
                      <a:pt x="138" y="36"/>
                    </a:lnTo>
                    <a:lnTo>
                      <a:pt x="148" y="44"/>
                    </a:lnTo>
                    <a:lnTo>
                      <a:pt x="158" y="56"/>
                    </a:lnTo>
                    <a:lnTo>
                      <a:pt x="164" y="69"/>
                    </a:lnTo>
                    <a:lnTo>
                      <a:pt x="168" y="82"/>
                    </a:lnTo>
                    <a:lnTo>
                      <a:pt x="170" y="96"/>
                    </a:lnTo>
                    <a:lnTo>
                      <a:pt x="170" y="96"/>
                    </a:lnTo>
                    <a:lnTo>
                      <a:pt x="168" y="111"/>
                    </a:lnTo>
                    <a:lnTo>
                      <a:pt x="165" y="123"/>
                    </a:lnTo>
                    <a:lnTo>
                      <a:pt x="160" y="135"/>
                    </a:lnTo>
                    <a:lnTo>
                      <a:pt x="151" y="145"/>
                    </a:lnTo>
                    <a:lnTo>
                      <a:pt x="142" y="154"/>
                    </a:lnTo>
                    <a:lnTo>
                      <a:pt x="131" y="161"/>
                    </a:lnTo>
                    <a:lnTo>
                      <a:pt x="119" y="167"/>
                    </a:lnTo>
                    <a:lnTo>
                      <a:pt x="106" y="169"/>
                    </a:lnTo>
                    <a:lnTo>
                      <a:pt x="106" y="169"/>
                    </a:lnTo>
                    <a:lnTo>
                      <a:pt x="112" y="175"/>
                    </a:lnTo>
                    <a:lnTo>
                      <a:pt x="112" y="175"/>
                    </a:lnTo>
                    <a:lnTo>
                      <a:pt x="118" y="182"/>
                    </a:lnTo>
                    <a:lnTo>
                      <a:pt x="121" y="191"/>
                    </a:lnTo>
                    <a:lnTo>
                      <a:pt x="121" y="191"/>
                    </a:lnTo>
                    <a:lnTo>
                      <a:pt x="137" y="185"/>
                    </a:lnTo>
                    <a:lnTo>
                      <a:pt x="149" y="178"/>
                    </a:lnTo>
                    <a:lnTo>
                      <a:pt x="162" y="168"/>
                    </a:lnTo>
                    <a:lnTo>
                      <a:pt x="172" y="157"/>
                    </a:lnTo>
                    <a:lnTo>
                      <a:pt x="183" y="144"/>
                    </a:lnTo>
                    <a:lnTo>
                      <a:pt x="188" y="129"/>
                    </a:lnTo>
                    <a:lnTo>
                      <a:pt x="193" y="113"/>
                    </a:lnTo>
                    <a:lnTo>
                      <a:pt x="194" y="96"/>
                    </a:lnTo>
                    <a:lnTo>
                      <a:pt x="194" y="96"/>
                    </a:lnTo>
                    <a:lnTo>
                      <a:pt x="194" y="88"/>
                    </a:lnTo>
                    <a:lnTo>
                      <a:pt x="193" y="77"/>
                    </a:lnTo>
                    <a:lnTo>
                      <a:pt x="190" y="67"/>
                    </a:lnTo>
                    <a:lnTo>
                      <a:pt x="187" y="59"/>
                    </a:lnTo>
                    <a:lnTo>
                      <a:pt x="183" y="50"/>
                    </a:lnTo>
                    <a:lnTo>
                      <a:pt x="178" y="43"/>
                    </a:lnTo>
                    <a:lnTo>
                      <a:pt x="172" y="34"/>
                    </a:lnTo>
                    <a:lnTo>
                      <a:pt x="165" y="29"/>
                    </a:lnTo>
                    <a:lnTo>
                      <a:pt x="158" y="21"/>
                    </a:lnTo>
                    <a:lnTo>
                      <a:pt x="151" y="16"/>
                    </a:lnTo>
                    <a:lnTo>
                      <a:pt x="144" y="11"/>
                    </a:lnTo>
                    <a:lnTo>
                      <a:pt x="135" y="7"/>
                    </a:lnTo>
                    <a:lnTo>
                      <a:pt x="126" y="4"/>
                    </a:lnTo>
                    <a:lnTo>
                      <a:pt x="116" y="1"/>
                    </a:lnTo>
                    <a:lnTo>
                      <a:pt x="106" y="0"/>
                    </a:lnTo>
                    <a:lnTo>
                      <a:pt x="96" y="0"/>
                    </a:lnTo>
                    <a:lnTo>
                      <a:pt x="9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sp>
            <p:nvSpPr>
              <p:cNvPr id="1471" name="Freeform 170">
                <a:extLst>
                  <a:ext uri="{FF2B5EF4-FFF2-40B4-BE49-F238E27FC236}">
                    <a16:creationId xmlns:a16="http://schemas.microsoft.com/office/drawing/2014/main" id="{CA798EC4-1AEA-46B3-9371-6FCBDD18FFD0}"/>
                  </a:ext>
                </a:extLst>
              </p:cNvPr>
              <p:cNvSpPr>
                <a:spLocks/>
              </p:cNvSpPr>
              <p:nvPr/>
            </p:nvSpPr>
            <p:spPr bwMode="auto">
              <a:xfrm>
                <a:off x="6391151" y="1861169"/>
                <a:ext cx="168275" cy="257175"/>
              </a:xfrm>
              <a:custGeom>
                <a:avLst/>
                <a:gdLst>
                  <a:gd name="T0" fmla="*/ 92 w 106"/>
                  <a:gd name="T1" fmla="*/ 82 h 162"/>
                  <a:gd name="T2" fmla="*/ 69 w 106"/>
                  <a:gd name="T3" fmla="*/ 73 h 162"/>
                  <a:gd name="T4" fmla="*/ 56 w 106"/>
                  <a:gd name="T5" fmla="*/ 70 h 162"/>
                  <a:gd name="T6" fmla="*/ 36 w 106"/>
                  <a:gd name="T7" fmla="*/ 63 h 162"/>
                  <a:gd name="T8" fmla="*/ 30 w 106"/>
                  <a:gd name="T9" fmla="*/ 59 h 162"/>
                  <a:gd name="T10" fmla="*/ 27 w 106"/>
                  <a:gd name="T11" fmla="*/ 53 h 162"/>
                  <a:gd name="T12" fmla="*/ 31 w 106"/>
                  <a:gd name="T13" fmla="*/ 44 h 162"/>
                  <a:gd name="T14" fmla="*/ 43 w 106"/>
                  <a:gd name="T15" fmla="*/ 40 h 162"/>
                  <a:gd name="T16" fmla="*/ 53 w 106"/>
                  <a:gd name="T17" fmla="*/ 39 h 162"/>
                  <a:gd name="T18" fmla="*/ 72 w 106"/>
                  <a:gd name="T19" fmla="*/ 40 h 162"/>
                  <a:gd name="T20" fmla="*/ 83 w 106"/>
                  <a:gd name="T21" fmla="*/ 44 h 162"/>
                  <a:gd name="T22" fmla="*/ 89 w 106"/>
                  <a:gd name="T23" fmla="*/ 46 h 162"/>
                  <a:gd name="T24" fmla="*/ 96 w 106"/>
                  <a:gd name="T25" fmla="*/ 44 h 162"/>
                  <a:gd name="T26" fmla="*/ 99 w 106"/>
                  <a:gd name="T27" fmla="*/ 39 h 162"/>
                  <a:gd name="T28" fmla="*/ 96 w 106"/>
                  <a:gd name="T29" fmla="*/ 31 h 162"/>
                  <a:gd name="T30" fmla="*/ 88 w 106"/>
                  <a:gd name="T31" fmla="*/ 26 h 162"/>
                  <a:gd name="T32" fmla="*/ 73 w 106"/>
                  <a:gd name="T33" fmla="*/ 21 h 162"/>
                  <a:gd name="T34" fmla="*/ 59 w 106"/>
                  <a:gd name="T35" fmla="*/ 8 h 162"/>
                  <a:gd name="T36" fmla="*/ 56 w 106"/>
                  <a:gd name="T37" fmla="*/ 3 h 162"/>
                  <a:gd name="T38" fmla="*/ 50 w 106"/>
                  <a:gd name="T39" fmla="*/ 0 h 162"/>
                  <a:gd name="T40" fmla="*/ 44 w 106"/>
                  <a:gd name="T41" fmla="*/ 5 h 162"/>
                  <a:gd name="T42" fmla="*/ 43 w 106"/>
                  <a:gd name="T43" fmla="*/ 20 h 162"/>
                  <a:gd name="T44" fmla="*/ 23 w 106"/>
                  <a:gd name="T45" fmla="*/ 24 h 162"/>
                  <a:gd name="T46" fmla="*/ 8 w 106"/>
                  <a:gd name="T47" fmla="*/ 33 h 162"/>
                  <a:gd name="T48" fmla="*/ 1 w 106"/>
                  <a:gd name="T49" fmla="*/ 46 h 162"/>
                  <a:gd name="T50" fmla="*/ 1 w 106"/>
                  <a:gd name="T51" fmla="*/ 60 h 162"/>
                  <a:gd name="T52" fmla="*/ 6 w 106"/>
                  <a:gd name="T53" fmla="*/ 72 h 162"/>
                  <a:gd name="T54" fmla="*/ 14 w 106"/>
                  <a:gd name="T55" fmla="*/ 79 h 162"/>
                  <a:gd name="T56" fmla="*/ 34 w 106"/>
                  <a:gd name="T57" fmla="*/ 86 h 162"/>
                  <a:gd name="T58" fmla="*/ 49 w 106"/>
                  <a:gd name="T59" fmla="*/ 90 h 162"/>
                  <a:gd name="T60" fmla="*/ 72 w 106"/>
                  <a:gd name="T61" fmla="*/ 96 h 162"/>
                  <a:gd name="T62" fmla="*/ 79 w 106"/>
                  <a:gd name="T63" fmla="*/ 105 h 162"/>
                  <a:gd name="T64" fmla="*/ 79 w 106"/>
                  <a:gd name="T65" fmla="*/ 113 h 162"/>
                  <a:gd name="T66" fmla="*/ 75 w 106"/>
                  <a:gd name="T67" fmla="*/ 120 h 162"/>
                  <a:gd name="T68" fmla="*/ 63 w 106"/>
                  <a:gd name="T69" fmla="*/ 126 h 162"/>
                  <a:gd name="T70" fmla="*/ 54 w 106"/>
                  <a:gd name="T71" fmla="*/ 126 h 162"/>
                  <a:gd name="T72" fmla="*/ 26 w 106"/>
                  <a:gd name="T73" fmla="*/ 122 h 162"/>
                  <a:gd name="T74" fmla="*/ 17 w 106"/>
                  <a:gd name="T75" fmla="*/ 118 h 162"/>
                  <a:gd name="T76" fmla="*/ 6 w 106"/>
                  <a:gd name="T77" fmla="*/ 116 h 162"/>
                  <a:gd name="T78" fmla="*/ 1 w 106"/>
                  <a:gd name="T79" fmla="*/ 120 h 162"/>
                  <a:gd name="T80" fmla="*/ 1 w 106"/>
                  <a:gd name="T81" fmla="*/ 129 h 162"/>
                  <a:gd name="T82" fmla="*/ 8 w 106"/>
                  <a:gd name="T83" fmla="*/ 136 h 162"/>
                  <a:gd name="T84" fmla="*/ 23 w 106"/>
                  <a:gd name="T85" fmla="*/ 142 h 162"/>
                  <a:gd name="T86" fmla="*/ 43 w 106"/>
                  <a:gd name="T87" fmla="*/ 146 h 162"/>
                  <a:gd name="T88" fmla="*/ 44 w 106"/>
                  <a:gd name="T89" fmla="*/ 158 h 162"/>
                  <a:gd name="T90" fmla="*/ 50 w 106"/>
                  <a:gd name="T91" fmla="*/ 162 h 162"/>
                  <a:gd name="T92" fmla="*/ 56 w 106"/>
                  <a:gd name="T93" fmla="*/ 159 h 162"/>
                  <a:gd name="T94" fmla="*/ 59 w 106"/>
                  <a:gd name="T95" fmla="*/ 145 h 162"/>
                  <a:gd name="T96" fmla="*/ 73 w 106"/>
                  <a:gd name="T97" fmla="*/ 143 h 162"/>
                  <a:gd name="T98" fmla="*/ 90 w 106"/>
                  <a:gd name="T99" fmla="*/ 136 h 162"/>
                  <a:gd name="T100" fmla="*/ 103 w 106"/>
                  <a:gd name="T101" fmla="*/ 123 h 162"/>
                  <a:gd name="T102" fmla="*/ 106 w 106"/>
                  <a:gd name="T103" fmla="*/ 106 h 162"/>
                  <a:gd name="T104" fmla="*/ 103 w 106"/>
                  <a:gd name="T105" fmla="*/ 92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 h="162">
                    <a:moveTo>
                      <a:pt x="100" y="87"/>
                    </a:moveTo>
                    <a:lnTo>
                      <a:pt x="100" y="87"/>
                    </a:lnTo>
                    <a:lnTo>
                      <a:pt x="92" y="82"/>
                    </a:lnTo>
                    <a:lnTo>
                      <a:pt x="82" y="77"/>
                    </a:lnTo>
                    <a:lnTo>
                      <a:pt x="82" y="77"/>
                    </a:lnTo>
                    <a:lnTo>
                      <a:pt x="69" y="73"/>
                    </a:lnTo>
                    <a:lnTo>
                      <a:pt x="69" y="73"/>
                    </a:lnTo>
                    <a:lnTo>
                      <a:pt x="56" y="70"/>
                    </a:lnTo>
                    <a:lnTo>
                      <a:pt x="56" y="70"/>
                    </a:lnTo>
                    <a:lnTo>
                      <a:pt x="44" y="67"/>
                    </a:lnTo>
                    <a:lnTo>
                      <a:pt x="44" y="67"/>
                    </a:lnTo>
                    <a:lnTo>
                      <a:pt x="36" y="63"/>
                    </a:lnTo>
                    <a:lnTo>
                      <a:pt x="36" y="63"/>
                    </a:lnTo>
                    <a:lnTo>
                      <a:pt x="30" y="59"/>
                    </a:lnTo>
                    <a:lnTo>
                      <a:pt x="30" y="59"/>
                    </a:lnTo>
                    <a:lnTo>
                      <a:pt x="29" y="56"/>
                    </a:lnTo>
                    <a:lnTo>
                      <a:pt x="27" y="53"/>
                    </a:lnTo>
                    <a:lnTo>
                      <a:pt x="27" y="53"/>
                    </a:lnTo>
                    <a:lnTo>
                      <a:pt x="29" y="47"/>
                    </a:lnTo>
                    <a:lnTo>
                      <a:pt x="29" y="47"/>
                    </a:lnTo>
                    <a:lnTo>
                      <a:pt x="31" y="44"/>
                    </a:lnTo>
                    <a:lnTo>
                      <a:pt x="34" y="41"/>
                    </a:lnTo>
                    <a:lnTo>
                      <a:pt x="34" y="41"/>
                    </a:lnTo>
                    <a:lnTo>
                      <a:pt x="43" y="40"/>
                    </a:lnTo>
                    <a:lnTo>
                      <a:pt x="43" y="40"/>
                    </a:lnTo>
                    <a:lnTo>
                      <a:pt x="53" y="39"/>
                    </a:lnTo>
                    <a:lnTo>
                      <a:pt x="53" y="39"/>
                    </a:lnTo>
                    <a:lnTo>
                      <a:pt x="63" y="39"/>
                    </a:lnTo>
                    <a:lnTo>
                      <a:pt x="72" y="40"/>
                    </a:lnTo>
                    <a:lnTo>
                      <a:pt x="72" y="40"/>
                    </a:lnTo>
                    <a:lnTo>
                      <a:pt x="77" y="43"/>
                    </a:lnTo>
                    <a:lnTo>
                      <a:pt x="83" y="44"/>
                    </a:lnTo>
                    <a:lnTo>
                      <a:pt x="83" y="44"/>
                    </a:lnTo>
                    <a:lnTo>
                      <a:pt x="86" y="46"/>
                    </a:lnTo>
                    <a:lnTo>
                      <a:pt x="86" y="46"/>
                    </a:lnTo>
                    <a:lnTo>
                      <a:pt x="89" y="46"/>
                    </a:lnTo>
                    <a:lnTo>
                      <a:pt x="89" y="46"/>
                    </a:lnTo>
                    <a:lnTo>
                      <a:pt x="93" y="46"/>
                    </a:lnTo>
                    <a:lnTo>
                      <a:pt x="96" y="44"/>
                    </a:lnTo>
                    <a:lnTo>
                      <a:pt x="96" y="44"/>
                    </a:lnTo>
                    <a:lnTo>
                      <a:pt x="98" y="41"/>
                    </a:lnTo>
                    <a:lnTo>
                      <a:pt x="99" y="39"/>
                    </a:lnTo>
                    <a:lnTo>
                      <a:pt x="99" y="39"/>
                    </a:lnTo>
                    <a:lnTo>
                      <a:pt x="98" y="36"/>
                    </a:lnTo>
                    <a:lnTo>
                      <a:pt x="96" y="31"/>
                    </a:lnTo>
                    <a:lnTo>
                      <a:pt x="96" y="31"/>
                    </a:lnTo>
                    <a:lnTo>
                      <a:pt x="92" y="28"/>
                    </a:lnTo>
                    <a:lnTo>
                      <a:pt x="88" y="26"/>
                    </a:lnTo>
                    <a:lnTo>
                      <a:pt x="88" y="26"/>
                    </a:lnTo>
                    <a:lnTo>
                      <a:pt x="80" y="23"/>
                    </a:lnTo>
                    <a:lnTo>
                      <a:pt x="73" y="21"/>
                    </a:lnTo>
                    <a:lnTo>
                      <a:pt x="73" y="21"/>
                    </a:lnTo>
                    <a:lnTo>
                      <a:pt x="59" y="20"/>
                    </a:lnTo>
                    <a:lnTo>
                      <a:pt x="59" y="8"/>
                    </a:lnTo>
                    <a:lnTo>
                      <a:pt x="59" y="8"/>
                    </a:lnTo>
                    <a:lnTo>
                      <a:pt x="57" y="5"/>
                    </a:lnTo>
                    <a:lnTo>
                      <a:pt x="56" y="3"/>
                    </a:lnTo>
                    <a:lnTo>
                      <a:pt x="54" y="1"/>
                    </a:lnTo>
                    <a:lnTo>
                      <a:pt x="50" y="0"/>
                    </a:lnTo>
                    <a:lnTo>
                      <a:pt x="50" y="0"/>
                    </a:lnTo>
                    <a:lnTo>
                      <a:pt x="47" y="1"/>
                    </a:lnTo>
                    <a:lnTo>
                      <a:pt x="46" y="3"/>
                    </a:lnTo>
                    <a:lnTo>
                      <a:pt x="44" y="5"/>
                    </a:lnTo>
                    <a:lnTo>
                      <a:pt x="43" y="8"/>
                    </a:lnTo>
                    <a:lnTo>
                      <a:pt x="43" y="20"/>
                    </a:lnTo>
                    <a:lnTo>
                      <a:pt x="43" y="20"/>
                    </a:lnTo>
                    <a:lnTo>
                      <a:pt x="31" y="21"/>
                    </a:lnTo>
                    <a:lnTo>
                      <a:pt x="31" y="21"/>
                    </a:lnTo>
                    <a:lnTo>
                      <a:pt x="23" y="24"/>
                    </a:lnTo>
                    <a:lnTo>
                      <a:pt x="16" y="28"/>
                    </a:lnTo>
                    <a:lnTo>
                      <a:pt x="16" y="28"/>
                    </a:lnTo>
                    <a:lnTo>
                      <a:pt x="8" y="33"/>
                    </a:lnTo>
                    <a:lnTo>
                      <a:pt x="4" y="39"/>
                    </a:lnTo>
                    <a:lnTo>
                      <a:pt x="4" y="39"/>
                    </a:lnTo>
                    <a:lnTo>
                      <a:pt x="1" y="46"/>
                    </a:lnTo>
                    <a:lnTo>
                      <a:pt x="0" y="53"/>
                    </a:lnTo>
                    <a:lnTo>
                      <a:pt x="0" y="53"/>
                    </a:lnTo>
                    <a:lnTo>
                      <a:pt x="1" y="60"/>
                    </a:lnTo>
                    <a:lnTo>
                      <a:pt x="3" y="66"/>
                    </a:lnTo>
                    <a:lnTo>
                      <a:pt x="3" y="66"/>
                    </a:lnTo>
                    <a:lnTo>
                      <a:pt x="6" y="72"/>
                    </a:lnTo>
                    <a:lnTo>
                      <a:pt x="10" y="76"/>
                    </a:lnTo>
                    <a:lnTo>
                      <a:pt x="10" y="76"/>
                    </a:lnTo>
                    <a:lnTo>
                      <a:pt x="14" y="79"/>
                    </a:lnTo>
                    <a:lnTo>
                      <a:pt x="20" y="82"/>
                    </a:lnTo>
                    <a:lnTo>
                      <a:pt x="20" y="82"/>
                    </a:lnTo>
                    <a:lnTo>
                      <a:pt x="34" y="86"/>
                    </a:lnTo>
                    <a:lnTo>
                      <a:pt x="34" y="86"/>
                    </a:lnTo>
                    <a:lnTo>
                      <a:pt x="49" y="90"/>
                    </a:lnTo>
                    <a:lnTo>
                      <a:pt x="49" y="90"/>
                    </a:lnTo>
                    <a:lnTo>
                      <a:pt x="65" y="95"/>
                    </a:lnTo>
                    <a:lnTo>
                      <a:pt x="65" y="95"/>
                    </a:lnTo>
                    <a:lnTo>
                      <a:pt x="72" y="96"/>
                    </a:lnTo>
                    <a:lnTo>
                      <a:pt x="76" y="100"/>
                    </a:lnTo>
                    <a:lnTo>
                      <a:pt x="76" y="100"/>
                    </a:lnTo>
                    <a:lnTo>
                      <a:pt x="79" y="105"/>
                    </a:lnTo>
                    <a:lnTo>
                      <a:pt x="80" y="109"/>
                    </a:lnTo>
                    <a:lnTo>
                      <a:pt x="80" y="109"/>
                    </a:lnTo>
                    <a:lnTo>
                      <a:pt x="79" y="113"/>
                    </a:lnTo>
                    <a:lnTo>
                      <a:pt x="77" y="116"/>
                    </a:lnTo>
                    <a:lnTo>
                      <a:pt x="77" y="116"/>
                    </a:lnTo>
                    <a:lnTo>
                      <a:pt x="75" y="120"/>
                    </a:lnTo>
                    <a:lnTo>
                      <a:pt x="72" y="122"/>
                    </a:lnTo>
                    <a:lnTo>
                      <a:pt x="72" y="122"/>
                    </a:lnTo>
                    <a:lnTo>
                      <a:pt x="63" y="126"/>
                    </a:lnTo>
                    <a:lnTo>
                      <a:pt x="63" y="126"/>
                    </a:lnTo>
                    <a:lnTo>
                      <a:pt x="54" y="126"/>
                    </a:lnTo>
                    <a:lnTo>
                      <a:pt x="54" y="126"/>
                    </a:lnTo>
                    <a:lnTo>
                      <a:pt x="39" y="125"/>
                    </a:lnTo>
                    <a:lnTo>
                      <a:pt x="39" y="125"/>
                    </a:lnTo>
                    <a:lnTo>
                      <a:pt x="26" y="122"/>
                    </a:lnTo>
                    <a:lnTo>
                      <a:pt x="26" y="122"/>
                    </a:lnTo>
                    <a:lnTo>
                      <a:pt x="17" y="118"/>
                    </a:lnTo>
                    <a:lnTo>
                      <a:pt x="17" y="118"/>
                    </a:lnTo>
                    <a:lnTo>
                      <a:pt x="10" y="116"/>
                    </a:lnTo>
                    <a:lnTo>
                      <a:pt x="10" y="116"/>
                    </a:lnTo>
                    <a:lnTo>
                      <a:pt x="6" y="116"/>
                    </a:lnTo>
                    <a:lnTo>
                      <a:pt x="3" y="119"/>
                    </a:lnTo>
                    <a:lnTo>
                      <a:pt x="3" y="119"/>
                    </a:lnTo>
                    <a:lnTo>
                      <a:pt x="1" y="120"/>
                    </a:lnTo>
                    <a:lnTo>
                      <a:pt x="0" y="125"/>
                    </a:lnTo>
                    <a:lnTo>
                      <a:pt x="0" y="125"/>
                    </a:lnTo>
                    <a:lnTo>
                      <a:pt x="1" y="129"/>
                    </a:lnTo>
                    <a:lnTo>
                      <a:pt x="4" y="132"/>
                    </a:lnTo>
                    <a:lnTo>
                      <a:pt x="4" y="132"/>
                    </a:lnTo>
                    <a:lnTo>
                      <a:pt x="8" y="136"/>
                    </a:lnTo>
                    <a:lnTo>
                      <a:pt x="16" y="139"/>
                    </a:lnTo>
                    <a:lnTo>
                      <a:pt x="16" y="139"/>
                    </a:lnTo>
                    <a:lnTo>
                      <a:pt x="23" y="142"/>
                    </a:lnTo>
                    <a:lnTo>
                      <a:pt x="31" y="145"/>
                    </a:lnTo>
                    <a:lnTo>
                      <a:pt x="31" y="145"/>
                    </a:lnTo>
                    <a:lnTo>
                      <a:pt x="43" y="146"/>
                    </a:lnTo>
                    <a:lnTo>
                      <a:pt x="43" y="153"/>
                    </a:lnTo>
                    <a:lnTo>
                      <a:pt x="43" y="153"/>
                    </a:lnTo>
                    <a:lnTo>
                      <a:pt x="44" y="158"/>
                    </a:lnTo>
                    <a:lnTo>
                      <a:pt x="46" y="159"/>
                    </a:lnTo>
                    <a:lnTo>
                      <a:pt x="47" y="161"/>
                    </a:lnTo>
                    <a:lnTo>
                      <a:pt x="50" y="162"/>
                    </a:lnTo>
                    <a:lnTo>
                      <a:pt x="50" y="162"/>
                    </a:lnTo>
                    <a:lnTo>
                      <a:pt x="54" y="161"/>
                    </a:lnTo>
                    <a:lnTo>
                      <a:pt x="56" y="159"/>
                    </a:lnTo>
                    <a:lnTo>
                      <a:pt x="57" y="158"/>
                    </a:lnTo>
                    <a:lnTo>
                      <a:pt x="59" y="153"/>
                    </a:lnTo>
                    <a:lnTo>
                      <a:pt x="59" y="145"/>
                    </a:lnTo>
                    <a:lnTo>
                      <a:pt x="59" y="145"/>
                    </a:lnTo>
                    <a:lnTo>
                      <a:pt x="73" y="143"/>
                    </a:lnTo>
                    <a:lnTo>
                      <a:pt x="73" y="143"/>
                    </a:lnTo>
                    <a:lnTo>
                      <a:pt x="83" y="141"/>
                    </a:lnTo>
                    <a:lnTo>
                      <a:pt x="90" y="136"/>
                    </a:lnTo>
                    <a:lnTo>
                      <a:pt x="90" y="136"/>
                    </a:lnTo>
                    <a:lnTo>
                      <a:pt x="98" y="130"/>
                    </a:lnTo>
                    <a:lnTo>
                      <a:pt x="103" y="123"/>
                    </a:lnTo>
                    <a:lnTo>
                      <a:pt x="103" y="123"/>
                    </a:lnTo>
                    <a:lnTo>
                      <a:pt x="106" y="115"/>
                    </a:lnTo>
                    <a:lnTo>
                      <a:pt x="106" y="106"/>
                    </a:lnTo>
                    <a:lnTo>
                      <a:pt x="106" y="106"/>
                    </a:lnTo>
                    <a:lnTo>
                      <a:pt x="106" y="100"/>
                    </a:lnTo>
                    <a:lnTo>
                      <a:pt x="105" y="96"/>
                    </a:lnTo>
                    <a:lnTo>
                      <a:pt x="103" y="92"/>
                    </a:lnTo>
                    <a:lnTo>
                      <a:pt x="100" y="87"/>
                    </a:lnTo>
                    <a:lnTo>
                      <a:pt x="100" y="8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grpSp>
        <p:nvGrpSpPr>
          <p:cNvPr id="1472" name="Group 1471">
            <a:extLst>
              <a:ext uri="{FF2B5EF4-FFF2-40B4-BE49-F238E27FC236}">
                <a16:creationId xmlns:a16="http://schemas.microsoft.com/office/drawing/2014/main" id="{ACFEF7E3-97A8-4BE6-A940-AAD0273B811A}"/>
              </a:ext>
            </a:extLst>
          </p:cNvPr>
          <p:cNvGrpSpPr/>
          <p:nvPr/>
        </p:nvGrpSpPr>
        <p:grpSpPr>
          <a:xfrm>
            <a:off x="9033736" y="3168578"/>
            <a:ext cx="612775" cy="612775"/>
            <a:chOff x="7879107" y="3806921"/>
            <a:chExt cx="612775" cy="612775"/>
          </a:xfrm>
        </p:grpSpPr>
        <p:sp>
          <p:nvSpPr>
            <p:cNvPr id="1473" name="Oval 1472">
              <a:extLst>
                <a:ext uri="{FF2B5EF4-FFF2-40B4-BE49-F238E27FC236}">
                  <a16:creationId xmlns:a16="http://schemas.microsoft.com/office/drawing/2014/main" id="{243F0D2D-C3C5-4021-91FD-F93C3F0D19C9}"/>
                </a:ext>
              </a:extLst>
            </p:cNvPr>
            <p:cNvSpPr/>
            <p:nvPr/>
          </p:nvSpPr>
          <p:spPr bwMode="ltGray">
            <a:xfrm>
              <a:off x="7879107"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74" name="Group 1473">
              <a:extLst>
                <a:ext uri="{FF2B5EF4-FFF2-40B4-BE49-F238E27FC236}">
                  <a16:creationId xmlns:a16="http://schemas.microsoft.com/office/drawing/2014/main" id="{64CE67F6-C199-40AB-825B-AEF843C0F94B}"/>
                </a:ext>
              </a:extLst>
            </p:cNvPr>
            <p:cNvGrpSpPr/>
            <p:nvPr/>
          </p:nvGrpSpPr>
          <p:grpSpPr>
            <a:xfrm>
              <a:off x="7974515" y="3927243"/>
              <a:ext cx="443922" cy="363868"/>
              <a:chOff x="4764038" y="6012879"/>
              <a:chExt cx="774700" cy="634996"/>
            </a:xfrm>
          </p:grpSpPr>
          <p:sp>
            <p:nvSpPr>
              <p:cNvPr id="1475" name="Freeform 800">
                <a:extLst>
                  <a:ext uri="{FF2B5EF4-FFF2-40B4-BE49-F238E27FC236}">
                    <a16:creationId xmlns:a16="http://schemas.microsoft.com/office/drawing/2014/main" id="{FEA94DB3-E1A7-4995-9FB9-26A9FFE5975E}"/>
                  </a:ext>
                </a:extLst>
              </p:cNvPr>
              <p:cNvSpPr>
                <a:spLocks noEditPoints="1"/>
              </p:cNvSpPr>
              <p:nvPr/>
            </p:nvSpPr>
            <p:spPr bwMode="auto">
              <a:xfrm>
                <a:off x="4995813" y="6060500"/>
                <a:ext cx="295275" cy="587375"/>
              </a:xfrm>
              <a:custGeom>
                <a:avLst/>
                <a:gdLst>
                  <a:gd name="T0" fmla="*/ 106 w 186"/>
                  <a:gd name="T1" fmla="*/ 364 h 370"/>
                  <a:gd name="T2" fmla="*/ 98 w 186"/>
                  <a:gd name="T3" fmla="*/ 370 h 370"/>
                  <a:gd name="T4" fmla="*/ 82 w 186"/>
                  <a:gd name="T5" fmla="*/ 370 h 370"/>
                  <a:gd name="T6" fmla="*/ 78 w 186"/>
                  <a:gd name="T7" fmla="*/ 362 h 370"/>
                  <a:gd name="T8" fmla="*/ 56 w 186"/>
                  <a:gd name="T9" fmla="*/ 340 h 370"/>
                  <a:gd name="T10" fmla="*/ 8 w 186"/>
                  <a:gd name="T11" fmla="*/ 326 h 370"/>
                  <a:gd name="T12" fmla="*/ 0 w 186"/>
                  <a:gd name="T13" fmla="*/ 318 h 370"/>
                  <a:gd name="T14" fmla="*/ 14 w 186"/>
                  <a:gd name="T15" fmla="*/ 276 h 370"/>
                  <a:gd name="T16" fmla="*/ 18 w 186"/>
                  <a:gd name="T17" fmla="*/ 272 h 370"/>
                  <a:gd name="T18" fmla="*/ 24 w 186"/>
                  <a:gd name="T19" fmla="*/ 274 h 370"/>
                  <a:gd name="T20" fmla="*/ 78 w 186"/>
                  <a:gd name="T21" fmla="*/ 292 h 370"/>
                  <a:gd name="T22" fmla="*/ 70 w 186"/>
                  <a:gd name="T23" fmla="*/ 202 h 370"/>
                  <a:gd name="T24" fmla="*/ 24 w 186"/>
                  <a:gd name="T25" fmla="*/ 174 h 370"/>
                  <a:gd name="T26" fmla="*/ 2 w 186"/>
                  <a:gd name="T27" fmla="*/ 136 h 370"/>
                  <a:gd name="T28" fmla="*/ 2 w 186"/>
                  <a:gd name="T29" fmla="*/ 100 h 370"/>
                  <a:gd name="T30" fmla="*/ 18 w 186"/>
                  <a:gd name="T31" fmla="*/ 64 h 370"/>
                  <a:gd name="T32" fmla="*/ 44 w 186"/>
                  <a:gd name="T33" fmla="*/ 42 h 370"/>
                  <a:gd name="T34" fmla="*/ 78 w 186"/>
                  <a:gd name="T35" fmla="*/ 10 h 370"/>
                  <a:gd name="T36" fmla="*/ 80 w 186"/>
                  <a:gd name="T37" fmla="*/ 4 h 370"/>
                  <a:gd name="T38" fmla="*/ 98 w 186"/>
                  <a:gd name="T39" fmla="*/ 0 h 370"/>
                  <a:gd name="T40" fmla="*/ 106 w 186"/>
                  <a:gd name="T41" fmla="*/ 4 h 370"/>
                  <a:gd name="T42" fmla="*/ 106 w 186"/>
                  <a:gd name="T43" fmla="*/ 32 h 370"/>
                  <a:gd name="T44" fmla="*/ 150 w 186"/>
                  <a:gd name="T45" fmla="*/ 40 h 370"/>
                  <a:gd name="T46" fmla="*/ 170 w 186"/>
                  <a:gd name="T47" fmla="*/ 50 h 370"/>
                  <a:gd name="T48" fmla="*/ 178 w 186"/>
                  <a:gd name="T49" fmla="*/ 60 h 370"/>
                  <a:gd name="T50" fmla="*/ 162 w 186"/>
                  <a:gd name="T51" fmla="*/ 94 h 370"/>
                  <a:gd name="T52" fmla="*/ 158 w 186"/>
                  <a:gd name="T53" fmla="*/ 96 h 370"/>
                  <a:gd name="T54" fmla="*/ 148 w 186"/>
                  <a:gd name="T55" fmla="*/ 92 h 370"/>
                  <a:gd name="T56" fmla="*/ 106 w 186"/>
                  <a:gd name="T57" fmla="*/ 78 h 370"/>
                  <a:gd name="T58" fmla="*/ 114 w 186"/>
                  <a:gd name="T59" fmla="*/ 166 h 370"/>
                  <a:gd name="T60" fmla="*/ 164 w 186"/>
                  <a:gd name="T61" fmla="*/ 198 h 370"/>
                  <a:gd name="T62" fmla="*/ 184 w 186"/>
                  <a:gd name="T63" fmla="*/ 236 h 370"/>
                  <a:gd name="T64" fmla="*/ 184 w 186"/>
                  <a:gd name="T65" fmla="*/ 270 h 370"/>
                  <a:gd name="T66" fmla="*/ 164 w 186"/>
                  <a:gd name="T67" fmla="*/ 312 h 370"/>
                  <a:gd name="T68" fmla="*/ 124 w 186"/>
                  <a:gd name="T69" fmla="*/ 338 h 370"/>
                  <a:gd name="T70" fmla="*/ 82 w 186"/>
                  <a:gd name="T71" fmla="*/ 78 h 370"/>
                  <a:gd name="T72" fmla="*/ 68 w 186"/>
                  <a:gd name="T73" fmla="*/ 84 h 370"/>
                  <a:gd name="T74" fmla="*/ 58 w 186"/>
                  <a:gd name="T75" fmla="*/ 94 h 370"/>
                  <a:gd name="T76" fmla="*/ 52 w 186"/>
                  <a:gd name="T77" fmla="*/ 114 h 370"/>
                  <a:gd name="T78" fmla="*/ 60 w 186"/>
                  <a:gd name="T79" fmla="*/ 138 h 370"/>
                  <a:gd name="T80" fmla="*/ 82 w 186"/>
                  <a:gd name="T81" fmla="*/ 78 h 370"/>
                  <a:gd name="T82" fmla="*/ 112 w 186"/>
                  <a:gd name="T83" fmla="*/ 290 h 370"/>
                  <a:gd name="T84" fmla="*/ 130 w 186"/>
                  <a:gd name="T85" fmla="*/ 274 h 370"/>
                  <a:gd name="T86" fmla="*/ 134 w 186"/>
                  <a:gd name="T87" fmla="*/ 258 h 370"/>
                  <a:gd name="T88" fmla="*/ 126 w 186"/>
                  <a:gd name="T89" fmla="*/ 234 h 370"/>
                  <a:gd name="T90" fmla="*/ 104 w 186"/>
                  <a:gd name="T91" fmla="*/ 216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370">
                    <a:moveTo>
                      <a:pt x="106" y="362"/>
                    </a:moveTo>
                    <a:lnTo>
                      <a:pt x="106" y="362"/>
                    </a:lnTo>
                    <a:lnTo>
                      <a:pt x="106" y="364"/>
                    </a:lnTo>
                    <a:lnTo>
                      <a:pt x="106" y="368"/>
                    </a:lnTo>
                    <a:lnTo>
                      <a:pt x="104" y="370"/>
                    </a:lnTo>
                    <a:lnTo>
                      <a:pt x="98" y="370"/>
                    </a:lnTo>
                    <a:lnTo>
                      <a:pt x="88" y="370"/>
                    </a:lnTo>
                    <a:lnTo>
                      <a:pt x="88" y="370"/>
                    </a:lnTo>
                    <a:lnTo>
                      <a:pt x="82" y="370"/>
                    </a:lnTo>
                    <a:lnTo>
                      <a:pt x="80" y="368"/>
                    </a:lnTo>
                    <a:lnTo>
                      <a:pt x="78" y="364"/>
                    </a:lnTo>
                    <a:lnTo>
                      <a:pt x="78" y="362"/>
                    </a:lnTo>
                    <a:lnTo>
                      <a:pt x="78" y="342"/>
                    </a:lnTo>
                    <a:lnTo>
                      <a:pt x="78" y="342"/>
                    </a:lnTo>
                    <a:lnTo>
                      <a:pt x="56" y="340"/>
                    </a:lnTo>
                    <a:lnTo>
                      <a:pt x="36" y="336"/>
                    </a:lnTo>
                    <a:lnTo>
                      <a:pt x="18" y="330"/>
                    </a:lnTo>
                    <a:lnTo>
                      <a:pt x="8" y="326"/>
                    </a:lnTo>
                    <a:lnTo>
                      <a:pt x="8" y="326"/>
                    </a:lnTo>
                    <a:lnTo>
                      <a:pt x="4" y="322"/>
                    </a:lnTo>
                    <a:lnTo>
                      <a:pt x="0" y="318"/>
                    </a:lnTo>
                    <a:lnTo>
                      <a:pt x="0" y="318"/>
                    </a:lnTo>
                    <a:lnTo>
                      <a:pt x="2" y="314"/>
                    </a:lnTo>
                    <a:lnTo>
                      <a:pt x="14" y="276"/>
                    </a:lnTo>
                    <a:lnTo>
                      <a:pt x="14" y="276"/>
                    </a:lnTo>
                    <a:lnTo>
                      <a:pt x="16" y="274"/>
                    </a:lnTo>
                    <a:lnTo>
                      <a:pt x="18" y="272"/>
                    </a:lnTo>
                    <a:lnTo>
                      <a:pt x="18" y="272"/>
                    </a:lnTo>
                    <a:lnTo>
                      <a:pt x="24" y="274"/>
                    </a:lnTo>
                    <a:lnTo>
                      <a:pt x="24" y="274"/>
                    </a:lnTo>
                    <a:lnTo>
                      <a:pt x="44" y="284"/>
                    </a:lnTo>
                    <a:lnTo>
                      <a:pt x="60" y="290"/>
                    </a:lnTo>
                    <a:lnTo>
                      <a:pt x="78" y="292"/>
                    </a:lnTo>
                    <a:lnTo>
                      <a:pt x="78" y="204"/>
                    </a:lnTo>
                    <a:lnTo>
                      <a:pt x="70" y="202"/>
                    </a:lnTo>
                    <a:lnTo>
                      <a:pt x="70" y="202"/>
                    </a:lnTo>
                    <a:lnTo>
                      <a:pt x="48" y="190"/>
                    </a:lnTo>
                    <a:lnTo>
                      <a:pt x="36" y="184"/>
                    </a:lnTo>
                    <a:lnTo>
                      <a:pt x="24" y="174"/>
                    </a:lnTo>
                    <a:lnTo>
                      <a:pt x="14" y="164"/>
                    </a:lnTo>
                    <a:lnTo>
                      <a:pt x="6" y="152"/>
                    </a:lnTo>
                    <a:lnTo>
                      <a:pt x="2" y="136"/>
                    </a:lnTo>
                    <a:lnTo>
                      <a:pt x="0" y="118"/>
                    </a:lnTo>
                    <a:lnTo>
                      <a:pt x="0" y="118"/>
                    </a:lnTo>
                    <a:lnTo>
                      <a:pt x="2" y="100"/>
                    </a:lnTo>
                    <a:lnTo>
                      <a:pt x="6" y="86"/>
                    </a:lnTo>
                    <a:lnTo>
                      <a:pt x="10" y="74"/>
                    </a:lnTo>
                    <a:lnTo>
                      <a:pt x="18" y="64"/>
                    </a:lnTo>
                    <a:lnTo>
                      <a:pt x="18" y="64"/>
                    </a:lnTo>
                    <a:lnTo>
                      <a:pt x="30" y="52"/>
                    </a:lnTo>
                    <a:lnTo>
                      <a:pt x="44" y="42"/>
                    </a:lnTo>
                    <a:lnTo>
                      <a:pt x="60" y="36"/>
                    </a:lnTo>
                    <a:lnTo>
                      <a:pt x="78" y="32"/>
                    </a:lnTo>
                    <a:lnTo>
                      <a:pt x="78" y="10"/>
                    </a:lnTo>
                    <a:lnTo>
                      <a:pt x="78" y="10"/>
                    </a:lnTo>
                    <a:lnTo>
                      <a:pt x="78" y="6"/>
                    </a:lnTo>
                    <a:lnTo>
                      <a:pt x="80" y="4"/>
                    </a:lnTo>
                    <a:lnTo>
                      <a:pt x="82" y="2"/>
                    </a:lnTo>
                    <a:lnTo>
                      <a:pt x="88" y="0"/>
                    </a:lnTo>
                    <a:lnTo>
                      <a:pt x="98" y="0"/>
                    </a:lnTo>
                    <a:lnTo>
                      <a:pt x="98" y="0"/>
                    </a:lnTo>
                    <a:lnTo>
                      <a:pt x="104" y="2"/>
                    </a:lnTo>
                    <a:lnTo>
                      <a:pt x="106" y="4"/>
                    </a:lnTo>
                    <a:lnTo>
                      <a:pt x="106" y="6"/>
                    </a:lnTo>
                    <a:lnTo>
                      <a:pt x="106" y="10"/>
                    </a:lnTo>
                    <a:lnTo>
                      <a:pt x="106" y="32"/>
                    </a:lnTo>
                    <a:lnTo>
                      <a:pt x="106" y="32"/>
                    </a:lnTo>
                    <a:lnTo>
                      <a:pt x="130" y="34"/>
                    </a:lnTo>
                    <a:lnTo>
                      <a:pt x="150" y="40"/>
                    </a:lnTo>
                    <a:lnTo>
                      <a:pt x="162" y="44"/>
                    </a:lnTo>
                    <a:lnTo>
                      <a:pt x="170" y="50"/>
                    </a:lnTo>
                    <a:lnTo>
                      <a:pt x="170" y="50"/>
                    </a:lnTo>
                    <a:lnTo>
                      <a:pt x="174" y="52"/>
                    </a:lnTo>
                    <a:lnTo>
                      <a:pt x="176" y="56"/>
                    </a:lnTo>
                    <a:lnTo>
                      <a:pt x="178" y="60"/>
                    </a:lnTo>
                    <a:lnTo>
                      <a:pt x="178" y="60"/>
                    </a:lnTo>
                    <a:lnTo>
                      <a:pt x="176" y="62"/>
                    </a:lnTo>
                    <a:lnTo>
                      <a:pt x="162" y="94"/>
                    </a:lnTo>
                    <a:lnTo>
                      <a:pt x="162" y="94"/>
                    </a:lnTo>
                    <a:lnTo>
                      <a:pt x="160" y="96"/>
                    </a:lnTo>
                    <a:lnTo>
                      <a:pt x="158" y="96"/>
                    </a:lnTo>
                    <a:lnTo>
                      <a:pt x="158" y="96"/>
                    </a:lnTo>
                    <a:lnTo>
                      <a:pt x="148" y="92"/>
                    </a:lnTo>
                    <a:lnTo>
                      <a:pt x="148" y="92"/>
                    </a:lnTo>
                    <a:lnTo>
                      <a:pt x="132" y="84"/>
                    </a:lnTo>
                    <a:lnTo>
                      <a:pt x="120" y="82"/>
                    </a:lnTo>
                    <a:lnTo>
                      <a:pt x="106" y="78"/>
                    </a:lnTo>
                    <a:lnTo>
                      <a:pt x="106" y="162"/>
                    </a:lnTo>
                    <a:lnTo>
                      <a:pt x="114" y="166"/>
                    </a:lnTo>
                    <a:lnTo>
                      <a:pt x="114" y="166"/>
                    </a:lnTo>
                    <a:lnTo>
                      <a:pt x="142" y="180"/>
                    </a:lnTo>
                    <a:lnTo>
                      <a:pt x="154" y="188"/>
                    </a:lnTo>
                    <a:lnTo>
                      <a:pt x="164" y="198"/>
                    </a:lnTo>
                    <a:lnTo>
                      <a:pt x="172" y="210"/>
                    </a:lnTo>
                    <a:lnTo>
                      <a:pt x="180" y="222"/>
                    </a:lnTo>
                    <a:lnTo>
                      <a:pt x="184" y="236"/>
                    </a:lnTo>
                    <a:lnTo>
                      <a:pt x="186" y="254"/>
                    </a:lnTo>
                    <a:lnTo>
                      <a:pt x="186" y="254"/>
                    </a:lnTo>
                    <a:lnTo>
                      <a:pt x="184" y="270"/>
                    </a:lnTo>
                    <a:lnTo>
                      <a:pt x="180" y="284"/>
                    </a:lnTo>
                    <a:lnTo>
                      <a:pt x="174" y="298"/>
                    </a:lnTo>
                    <a:lnTo>
                      <a:pt x="164" y="312"/>
                    </a:lnTo>
                    <a:lnTo>
                      <a:pt x="154" y="322"/>
                    </a:lnTo>
                    <a:lnTo>
                      <a:pt x="140" y="330"/>
                    </a:lnTo>
                    <a:lnTo>
                      <a:pt x="124" y="338"/>
                    </a:lnTo>
                    <a:lnTo>
                      <a:pt x="106" y="342"/>
                    </a:lnTo>
                    <a:lnTo>
                      <a:pt x="106" y="362"/>
                    </a:lnTo>
                    <a:close/>
                    <a:moveTo>
                      <a:pt x="82" y="78"/>
                    </a:moveTo>
                    <a:lnTo>
                      <a:pt x="82" y="78"/>
                    </a:lnTo>
                    <a:lnTo>
                      <a:pt x="74" y="82"/>
                    </a:lnTo>
                    <a:lnTo>
                      <a:pt x="68" y="84"/>
                    </a:lnTo>
                    <a:lnTo>
                      <a:pt x="62" y="88"/>
                    </a:lnTo>
                    <a:lnTo>
                      <a:pt x="62" y="88"/>
                    </a:lnTo>
                    <a:lnTo>
                      <a:pt x="58" y="94"/>
                    </a:lnTo>
                    <a:lnTo>
                      <a:pt x="54" y="100"/>
                    </a:lnTo>
                    <a:lnTo>
                      <a:pt x="52" y="106"/>
                    </a:lnTo>
                    <a:lnTo>
                      <a:pt x="52" y="114"/>
                    </a:lnTo>
                    <a:lnTo>
                      <a:pt x="52" y="114"/>
                    </a:lnTo>
                    <a:lnTo>
                      <a:pt x="54" y="126"/>
                    </a:lnTo>
                    <a:lnTo>
                      <a:pt x="60" y="138"/>
                    </a:lnTo>
                    <a:lnTo>
                      <a:pt x="70" y="146"/>
                    </a:lnTo>
                    <a:lnTo>
                      <a:pt x="82" y="152"/>
                    </a:lnTo>
                    <a:lnTo>
                      <a:pt x="82" y="78"/>
                    </a:lnTo>
                    <a:close/>
                    <a:moveTo>
                      <a:pt x="104" y="292"/>
                    </a:moveTo>
                    <a:lnTo>
                      <a:pt x="104" y="292"/>
                    </a:lnTo>
                    <a:lnTo>
                      <a:pt x="112" y="290"/>
                    </a:lnTo>
                    <a:lnTo>
                      <a:pt x="122" y="284"/>
                    </a:lnTo>
                    <a:lnTo>
                      <a:pt x="126" y="280"/>
                    </a:lnTo>
                    <a:lnTo>
                      <a:pt x="130" y="274"/>
                    </a:lnTo>
                    <a:lnTo>
                      <a:pt x="132" y="266"/>
                    </a:lnTo>
                    <a:lnTo>
                      <a:pt x="134" y="258"/>
                    </a:lnTo>
                    <a:lnTo>
                      <a:pt x="134" y="258"/>
                    </a:lnTo>
                    <a:lnTo>
                      <a:pt x="132" y="248"/>
                    </a:lnTo>
                    <a:lnTo>
                      <a:pt x="130" y="240"/>
                    </a:lnTo>
                    <a:lnTo>
                      <a:pt x="126" y="234"/>
                    </a:lnTo>
                    <a:lnTo>
                      <a:pt x="122" y="228"/>
                    </a:lnTo>
                    <a:lnTo>
                      <a:pt x="112" y="220"/>
                    </a:lnTo>
                    <a:lnTo>
                      <a:pt x="104" y="216"/>
                    </a:lnTo>
                    <a:lnTo>
                      <a:pt x="104" y="216"/>
                    </a:lnTo>
                    <a:lnTo>
                      <a:pt x="104" y="29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76" name="Freeform 801">
                <a:extLst>
                  <a:ext uri="{FF2B5EF4-FFF2-40B4-BE49-F238E27FC236}">
                    <a16:creationId xmlns:a16="http://schemas.microsoft.com/office/drawing/2014/main" id="{D7E1C3FE-7D14-4894-B2DF-E2753C5E48A3}"/>
                  </a:ext>
                </a:extLst>
              </p:cNvPr>
              <p:cNvSpPr>
                <a:spLocks noEditPoints="1"/>
              </p:cNvSpPr>
              <p:nvPr/>
            </p:nvSpPr>
            <p:spPr bwMode="auto">
              <a:xfrm>
                <a:off x="4868813" y="6022404"/>
                <a:ext cx="117475" cy="231775"/>
              </a:xfrm>
              <a:custGeom>
                <a:avLst/>
                <a:gdLst>
                  <a:gd name="T0" fmla="*/ 42 w 74"/>
                  <a:gd name="T1" fmla="*/ 142 h 146"/>
                  <a:gd name="T2" fmla="*/ 38 w 74"/>
                  <a:gd name="T3" fmla="*/ 146 h 146"/>
                  <a:gd name="T4" fmla="*/ 34 w 74"/>
                  <a:gd name="T5" fmla="*/ 146 h 146"/>
                  <a:gd name="T6" fmla="*/ 32 w 74"/>
                  <a:gd name="T7" fmla="*/ 142 h 146"/>
                  <a:gd name="T8" fmla="*/ 32 w 74"/>
                  <a:gd name="T9" fmla="*/ 134 h 146"/>
                  <a:gd name="T10" fmla="*/ 14 w 74"/>
                  <a:gd name="T11" fmla="*/ 132 h 146"/>
                  <a:gd name="T12" fmla="*/ 2 w 74"/>
                  <a:gd name="T13" fmla="*/ 128 h 146"/>
                  <a:gd name="T14" fmla="*/ 0 w 74"/>
                  <a:gd name="T15" fmla="*/ 126 h 146"/>
                  <a:gd name="T16" fmla="*/ 6 w 74"/>
                  <a:gd name="T17" fmla="*/ 108 h 146"/>
                  <a:gd name="T18" fmla="*/ 8 w 74"/>
                  <a:gd name="T19" fmla="*/ 108 h 146"/>
                  <a:gd name="T20" fmla="*/ 10 w 74"/>
                  <a:gd name="T21" fmla="*/ 108 h 146"/>
                  <a:gd name="T22" fmla="*/ 18 w 74"/>
                  <a:gd name="T23" fmla="*/ 112 h 146"/>
                  <a:gd name="T24" fmla="*/ 32 w 74"/>
                  <a:gd name="T25" fmla="*/ 80 h 146"/>
                  <a:gd name="T26" fmla="*/ 28 w 74"/>
                  <a:gd name="T27" fmla="*/ 80 h 146"/>
                  <a:gd name="T28" fmla="*/ 10 w 74"/>
                  <a:gd name="T29" fmla="*/ 68 h 146"/>
                  <a:gd name="T30" fmla="*/ 2 w 74"/>
                  <a:gd name="T31" fmla="*/ 60 h 146"/>
                  <a:gd name="T32" fmla="*/ 0 w 74"/>
                  <a:gd name="T33" fmla="*/ 46 h 146"/>
                  <a:gd name="T34" fmla="*/ 2 w 74"/>
                  <a:gd name="T35" fmla="*/ 34 h 146"/>
                  <a:gd name="T36" fmla="*/ 6 w 74"/>
                  <a:gd name="T37" fmla="*/ 24 h 146"/>
                  <a:gd name="T38" fmla="*/ 18 w 74"/>
                  <a:gd name="T39" fmla="*/ 16 h 146"/>
                  <a:gd name="T40" fmla="*/ 32 w 74"/>
                  <a:gd name="T41" fmla="*/ 4 h 146"/>
                  <a:gd name="T42" fmla="*/ 32 w 74"/>
                  <a:gd name="T43" fmla="*/ 2 h 146"/>
                  <a:gd name="T44" fmla="*/ 38 w 74"/>
                  <a:gd name="T45" fmla="*/ 0 h 146"/>
                  <a:gd name="T46" fmla="*/ 42 w 74"/>
                  <a:gd name="T47" fmla="*/ 2 h 146"/>
                  <a:gd name="T48" fmla="*/ 42 w 74"/>
                  <a:gd name="T49" fmla="*/ 12 h 146"/>
                  <a:gd name="T50" fmla="*/ 52 w 74"/>
                  <a:gd name="T51" fmla="*/ 14 h 146"/>
                  <a:gd name="T52" fmla="*/ 68 w 74"/>
                  <a:gd name="T53" fmla="*/ 20 h 146"/>
                  <a:gd name="T54" fmla="*/ 68 w 74"/>
                  <a:gd name="T55" fmla="*/ 20 h 146"/>
                  <a:gd name="T56" fmla="*/ 70 w 74"/>
                  <a:gd name="T57" fmla="*/ 24 h 146"/>
                  <a:gd name="T58" fmla="*/ 64 w 74"/>
                  <a:gd name="T59" fmla="*/ 36 h 146"/>
                  <a:gd name="T60" fmla="*/ 62 w 74"/>
                  <a:gd name="T61" fmla="*/ 38 h 146"/>
                  <a:gd name="T62" fmla="*/ 58 w 74"/>
                  <a:gd name="T63" fmla="*/ 36 h 146"/>
                  <a:gd name="T64" fmla="*/ 42 w 74"/>
                  <a:gd name="T65" fmla="*/ 30 h 146"/>
                  <a:gd name="T66" fmla="*/ 44 w 74"/>
                  <a:gd name="T67" fmla="*/ 64 h 146"/>
                  <a:gd name="T68" fmla="*/ 56 w 74"/>
                  <a:gd name="T69" fmla="*/ 70 h 146"/>
                  <a:gd name="T70" fmla="*/ 70 w 74"/>
                  <a:gd name="T71" fmla="*/ 88 h 146"/>
                  <a:gd name="T72" fmla="*/ 74 w 74"/>
                  <a:gd name="T73" fmla="*/ 100 h 146"/>
                  <a:gd name="T74" fmla="*/ 70 w 74"/>
                  <a:gd name="T75" fmla="*/ 112 h 146"/>
                  <a:gd name="T76" fmla="*/ 56 w 74"/>
                  <a:gd name="T77" fmla="*/ 130 h 146"/>
                  <a:gd name="T78" fmla="*/ 42 w 74"/>
                  <a:gd name="T79" fmla="*/ 142 h 146"/>
                  <a:gd name="T80" fmla="*/ 32 w 74"/>
                  <a:gd name="T81" fmla="*/ 30 h 146"/>
                  <a:gd name="T82" fmla="*/ 24 w 74"/>
                  <a:gd name="T83" fmla="*/ 34 h 146"/>
                  <a:gd name="T84" fmla="*/ 22 w 74"/>
                  <a:gd name="T85" fmla="*/ 40 h 146"/>
                  <a:gd name="T86" fmla="*/ 20 w 74"/>
                  <a:gd name="T87" fmla="*/ 44 h 146"/>
                  <a:gd name="T88" fmla="*/ 24 w 74"/>
                  <a:gd name="T89" fmla="*/ 54 h 146"/>
                  <a:gd name="T90" fmla="*/ 32 w 74"/>
                  <a:gd name="T91" fmla="*/ 60 h 146"/>
                  <a:gd name="T92" fmla="*/ 40 w 74"/>
                  <a:gd name="T93" fmla="*/ 116 h 146"/>
                  <a:gd name="T94" fmla="*/ 48 w 74"/>
                  <a:gd name="T95" fmla="*/ 112 h 146"/>
                  <a:gd name="T96" fmla="*/ 52 w 74"/>
                  <a:gd name="T97" fmla="*/ 102 h 146"/>
                  <a:gd name="T98" fmla="*/ 52 w 74"/>
                  <a:gd name="T99" fmla="*/ 94 h 146"/>
                  <a:gd name="T100" fmla="*/ 42 w 74"/>
                  <a:gd name="T101" fmla="*/ 84 h 146"/>
                  <a:gd name="T102" fmla="*/ 40 w 74"/>
                  <a:gd name="T103" fmla="*/ 11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4" h="146">
                    <a:moveTo>
                      <a:pt x="42" y="142"/>
                    </a:moveTo>
                    <a:lnTo>
                      <a:pt x="42" y="142"/>
                    </a:lnTo>
                    <a:lnTo>
                      <a:pt x="42" y="146"/>
                    </a:lnTo>
                    <a:lnTo>
                      <a:pt x="38" y="146"/>
                    </a:lnTo>
                    <a:lnTo>
                      <a:pt x="34" y="146"/>
                    </a:lnTo>
                    <a:lnTo>
                      <a:pt x="34" y="146"/>
                    </a:lnTo>
                    <a:lnTo>
                      <a:pt x="32" y="146"/>
                    </a:lnTo>
                    <a:lnTo>
                      <a:pt x="32" y="142"/>
                    </a:lnTo>
                    <a:lnTo>
                      <a:pt x="32" y="134"/>
                    </a:lnTo>
                    <a:lnTo>
                      <a:pt x="32" y="134"/>
                    </a:lnTo>
                    <a:lnTo>
                      <a:pt x="22" y="134"/>
                    </a:lnTo>
                    <a:lnTo>
                      <a:pt x="14" y="132"/>
                    </a:lnTo>
                    <a:lnTo>
                      <a:pt x="2" y="128"/>
                    </a:lnTo>
                    <a:lnTo>
                      <a:pt x="2" y="128"/>
                    </a:lnTo>
                    <a:lnTo>
                      <a:pt x="2" y="128"/>
                    </a:lnTo>
                    <a:lnTo>
                      <a:pt x="0" y="126"/>
                    </a:lnTo>
                    <a:lnTo>
                      <a:pt x="0" y="124"/>
                    </a:lnTo>
                    <a:lnTo>
                      <a:pt x="6" y="108"/>
                    </a:lnTo>
                    <a:lnTo>
                      <a:pt x="6" y="108"/>
                    </a:lnTo>
                    <a:lnTo>
                      <a:pt x="8" y="108"/>
                    </a:lnTo>
                    <a:lnTo>
                      <a:pt x="8" y="108"/>
                    </a:lnTo>
                    <a:lnTo>
                      <a:pt x="10" y="108"/>
                    </a:lnTo>
                    <a:lnTo>
                      <a:pt x="10" y="108"/>
                    </a:lnTo>
                    <a:lnTo>
                      <a:pt x="18" y="112"/>
                    </a:lnTo>
                    <a:lnTo>
                      <a:pt x="32" y="116"/>
                    </a:lnTo>
                    <a:lnTo>
                      <a:pt x="32" y="80"/>
                    </a:lnTo>
                    <a:lnTo>
                      <a:pt x="28" y="80"/>
                    </a:lnTo>
                    <a:lnTo>
                      <a:pt x="28" y="80"/>
                    </a:lnTo>
                    <a:lnTo>
                      <a:pt x="18" y="74"/>
                    </a:lnTo>
                    <a:lnTo>
                      <a:pt x="10" y="68"/>
                    </a:lnTo>
                    <a:lnTo>
                      <a:pt x="6" y="64"/>
                    </a:lnTo>
                    <a:lnTo>
                      <a:pt x="2" y="60"/>
                    </a:lnTo>
                    <a:lnTo>
                      <a:pt x="0" y="54"/>
                    </a:lnTo>
                    <a:lnTo>
                      <a:pt x="0" y="46"/>
                    </a:lnTo>
                    <a:lnTo>
                      <a:pt x="0" y="46"/>
                    </a:lnTo>
                    <a:lnTo>
                      <a:pt x="2" y="34"/>
                    </a:lnTo>
                    <a:lnTo>
                      <a:pt x="6" y="24"/>
                    </a:lnTo>
                    <a:lnTo>
                      <a:pt x="6" y="24"/>
                    </a:lnTo>
                    <a:lnTo>
                      <a:pt x="12" y="20"/>
                    </a:lnTo>
                    <a:lnTo>
                      <a:pt x="18" y="16"/>
                    </a:lnTo>
                    <a:lnTo>
                      <a:pt x="32" y="12"/>
                    </a:lnTo>
                    <a:lnTo>
                      <a:pt x="32" y="4"/>
                    </a:lnTo>
                    <a:lnTo>
                      <a:pt x="32" y="4"/>
                    </a:lnTo>
                    <a:lnTo>
                      <a:pt x="32" y="2"/>
                    </a:lnTo>
                    <a:lnTo>
                      <a:pt x="34" y="0"/>
                    </a:lnTo>
                    <a:lnTo>
                      <a:pt x="38" y="0"/>
                    </a:lnTo>
                    <a:lnTo>
                      <a:pt x="38" y="0"/>
                    </a:lnTo>
                    <a:lnTo>
                      <a:pt x="42" y="2"/>
                    </a:lnTo>
                    <a:lnTo>
                      <a:pt x="42" y="4"/>
                    </a:lnTo>
                    <a:lnTo>
                      <a:pt x="42" y="12"/>
                    </a:lnTo>
                    <a:lnTo>
                      <a:pt x="42" y="12"/>
                    </a:lnTo>
                    <a:lnTo>
                      <a:pt x="52" y="14"/>
                    </a:lnTo>
                    <a:lnTo>
                      <a:pt x="58" y="16"/>
                    </a:lnTo>
                    <a:lnTo>
                      <a:pt x="68" y="20"/>
                    </a:lnTo>
                    <a:lnTo>
                      <a:pt x="68" y="20"/>
                    </a:lnTo>
                    <a:lnTo>
                      <a:pt x="68" y="20"/>
                    </a:lnTo>
                    <a:lnTo>
                      <a:pt x="70" y="24"/>
                    </a:lnTo>
                    <a:lnTo>
                      <a:pt x="70" y="24"/>
                    </a:lnTo>
                    <a:lnTo>
                      <a:pt x="64" y="36"/>
                    </a:lnTo>
                    <a:lnTo>
                      <a:pt x="64" y="36"/>
                    </a:lnTo>
                    <a:lnTo>
                      <a:pt x="62" y="38"/>
                    </a:lnTo>
                    <a:lnTo>
                      <a:pt x="62" y="38"/>
                    </a:lnTo>
                    <a:lnTo>
                      <a:pt x="58" y="36"/>
                    </a:lnTo>
                    <a:lnTo>
                      <a:pt x="58" y="36"/>
                    </a:lnTo>
                    <a:lnTo>
                      <a:pt x="52" y="34"/>
                    </a:lnTo>
                    <a:lnTo>
                      <a:pt x="42" y="30"/>
                    </a:lnTo>
                    <a:lnTo>
                      <a:pt x="42" y="64"/>
                    </a:lnTo>
                    <a:lnTo>
                      <a:pt x="44" y="64"/>
                    </a:lnTo>
                    <a:lnTo>
                      <a:pt x="44" y="64"/>
                    </a:lnTo>
                    <a:lnTo>
                      <a:pt x="56" y="70"/>
                    </a:lnTo>
                    <a:lnTo>
                      <a:pt x="64" y="78"/>
                    </a:lnTo>
                    <a:lnTo>
                      <a:pt x="70" y="88"/>
                    </a:lnTo>
                    <a:lnTo>
                      <a:pt x="72" y="94"/>
                    </a:lnTo>
                    <a:lnTo>
                      <a:pt x="74" y="100"/>
                    </a:lnTo>
                    <a:lnTo>
                      <a:pt x="74" y="100"/>
                    </a:lnTo>
                    <a:lnTo>
                      <a:pt x="70" y="112"/>
                    </a:lnTo>
                    <a:lnTo>
                      <a:pt x="64" y="122"/>
                    </a:lnTo>
                    <a:lnTo>
                      <a:pt x="56" y="130"/>
                    </a:lnTo>
                    <a:lnTo>
                      <a:pt x="42" y="134"/>
                    </a:lnTo>
                    <a:lnTo>
                      <a:pt x="42" y="142"/>
                    </a:lnTo>
                    <a:close/>
                    <a:moveTo>
                      <a:pt x="32" y="30"/>
                    </a:moveTo>
                    <a:lnTo>
                      <a:pt x="32" y="30"/>
                    </a:lnTo>
                    <a:lnTo>
                      <a:pt x="28" y="32"/>
                    </a:lnTo>
                    <a:lnTo>
                      <a:pt x="24" y="34"/>
                    </a:lnTo>
                    <a:lnTo>
                      <a:pt x="24" y="34"/>
                    </a:lnTo>
                    <a:lnTo>
                      <a:pt x="22" y="40"/>
                    </a:lnTo>
                    <a:lnTo>
                      <a:pt x="20" y="44"/>
                    </a:lnTo>
                    <a:lnTo>
                      <a:pt x="20" y="44"/>
                    </a:lnTo>
                    <a:lnTo>
                      <a:pt x="22" y="50"/>
                    </a:lnTo>
                    <a:lnTo>
                      <a:pt x="24" y="54"/>
                    </a:lnTo>
                    <a:lnTo>
                      <a:pt x="28" y="58"/>
                    </a:lnTo>
                    <a:lnTo>
                      <a:pt x="32" y="60"/>
                    </a:lnTo>
                    <a:lnTo>
                      <a:pt x="32" y="30"/>
                    </a:lnTo>
                    <a:close/>
                    <a:moveTo>
                      <a:pt x="40" y="116"/>
                    </a:moveTo>
                    <a:lnTo>
                      <a:pt x="40" y="116"/>
                    </a:lnTo>
                    <a:lnTo>
                      <a:pt x="48" y="112"/>
                    </a:lnTo>
                    <a:lnTo>
                      <a:pt x="52" y="108"/>
                    </a:lnTo>
                    <a:lnTo>
                      <a:pt x="52" y="102"/>
                    </a:lnTo>
                    <a:lnTo>
                      <a:pt x="52" y="102"/>
                    </a:lnTo>
                    <a:lnTo>
                      <a:pt x="52" y="94"/>
                    </a:lnTo>
                    <a:lnTo>
                      <a:pt x="48" y="90"/>
                    </a:lnTo>
                    <a:lnTo>
                      <a:pt x="42" y="84"/>
                    </a:lnTo>
                    <a:lnTo>
                      <a:pt x="40" y="84"/>
                    </a:lnTo>
                    <a:lnTo>
                      <a:pt x="40" y="1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77" name="Freeform 802">
                <a:extLst>
                  <a:ext uri="{FF2B5EF4-FFF2-40B4-BE49-F238E27FC236}">
                    <a16:creationId xmlns:a16="http://schemas.microsoft.com/office/drawing/2014/main" id="{CAC855B4-F01A-4657-94DA-AB43177621AE}"/>
                  </a:ext>
                </a:extLst>
              </p:cNvPr>
              <p:cNvSpPr>
                <a:spLocks noEditPoints="1"/>
              </p:cNvSpPr>
              <p:nvPr/>
            </p:nvSpPr>
            <p:spPr bwMode="auto">
              <a:xfrm>
                <a:off x="4932313" y="6304979"/>
                <a:ext cx="69850" cy="142875"/>
              </a:xfrm>
              <a:custGeom>
                <a:avLst/>
                <a:gdLst>
                  <a:gd name="T0" fmla="*/ 26 w 44"/>
                  <a:gd name="T1" fmla="*/ 86 h 90"/>
                  <a:gd name="T2" fmla="*/ 24 w 44"/>
                  <a:gd name="T3" fmla="*/ 90 h 90"/>
                  <a:gd name="T4" fmla="*/ 22 w 44"/>
                  <a:gd name="T5" fmla="*/ 90 h 90"/>
                  <a:gd name="T6" fmla="*/ 18 w 44"/>
                  <a:gd name="T7" fmla="*/ 86 h 90"/>
                  <a:gd name="T8" fmla="*/ 18 w 44"/>
                  <a:gd name="T9" fmla="*/ 82 h 90"/>
                  <a:gd name="T10" fmla="*/ 2 w 44"/>
                  <a:gd name="T11" fmla="*/ 78 h 90"/>
                  <a:gd name="T12" fmla="*/ 0 w 44"/>
                  <a:gd name="T13" fmla="*/ 76 h 90"/>
                  <a:gd name="T14" fmla="*/ 4 w 44"/>
                  <a:gd name="T15" fmla="*/ 66 h 90"/>
                  <a:gd name="T16" fmla="*/ 4 w 44"/>
                  <a:gd name="T17" fmla="*/ 66 h 90"/>
                  <a:gd name="T18" fmla="*/ 6 w 44"/>
                  <a:gd name="T19" fmla="*/ 66 h 90"/>
                  <a:gd name="T20" fmla="*/ 18 w 44"/>
                  <a:gd name="T21" fmla="*/ 70 h 90"/>
                  <a:gd name="T22" fmla="*/ 16 w 44"/>
                  <a:gd name="T23" fmla="*/ 48 h 90"/>
                  <a:gd name="T24" fmla="*/ 12 w 44"/>
                  <a:gd name="T25" fmla="*/ 46 h 90"/>
                  <a:gd name="T26" fmla="*/ 2 w 44"/>
                  <a:gd name="T27" fmla="*/ 36 h 90"/>
                  <a:gd name="T28" fmla="*/ 0 w 44"/>
                  <a:gd name="T29" fmla="*/ 28 h 90"/>
                  <a:gd name="T30" fmla="*/ 4 w 44"/>
                  <a:gd name="T31" fmla="*/ 16 h 90"/>
                  <a:gd name="T32" fmla="*/ 10 w 44"/>
                  <a:gd name="T33" fmla="*/ 10 h 90"/>
                  <a:gd name="T34" fmla="*/ 18 w 44"/>
                  <a:gd name="T35" fmla="*/ 2 h 90"/>
                  <a:gd name="T36" fmla="*/ 18 w 44"/>
                  <a:gd name="T37" fmla="*/ 0 h 90"/>
                  <a:gd name="T38" fmla="*/ 24 w 44"/>
                  <a:gd name="T39" fmla="*/ 0 h 90"/>
                  <a:gd name="T40" fmla="*/ 26 w 44"/>
                  <a:gd name="T41" fmla="*/ 0 h 90"/>
                  <a:gd name="T42" fmla="*/ 26 w 44"/>
                  <a:gd name="T43" fmla="*/ 8 h 90"/>
                  <a:gd name="T44" fmla="*/ 36 w 44"/>
                  <a:gd name="T45" fmla="*/ 10 h 90"/>
                  <a:gd name="T46" fmla="*/ 40 w 44"/>
                  <a:gd name="T47" fmla="*/ 12 h 90"/>
                  <a:gd name="T48" fmla="*/ 42 w 44"/>
                  <a:gd name="T49" fmla="*/ 14 h 90"/>
                  <a:gd name="T50" fmla="*/ 38 w 44"/>
                  <a:gd name="T51" fmla="*/ 24 h 90"/>
                  <a:gd name="T52" fmla="*/ 36 w 44"/>
                  <a:gd name="T53" fmla="*/ 22 h 90"/>
                  <a:gd name="T54" fmla="*/ 32 w 44"/>
                  <a:gd name="T55" fmla="*/ 20 h 90"/>
                  <a:gd name="T56" fmla="*/ 26 w 44"/>
                  <a:gd name="T57" fmla="*/ 38 h 90"/>
                  <a:gd name="T58" fmla="*/ 28 w 44"/>
                  <a:gd name="T59" fmla="*/ 40 h 90"/>
                  <a:gd name="T60" fmla="*/ 40 w 44"/>
                  <a:gd name="T61" fmla="*/ 48 h 90"/>
                  <a:gd name="T62" fmla="*/ 44 w 44"/>
                  <a:gd name="T63" fmla="*/ 60 h 90"/>
                  <a:gd name="T64" fmla="*/ 44 w 44"/>
                  <a:gd name="T65" fmla="*/ 68 h 90"/>
                  <a:gd name="T66" fmla="*/ 34 w 44"/>
                  <a:gd name="T67" fmla="*/ 80 h 90"/>
                  <a:gd name="T68" fmla="*/ 26 w 44"/>
                  <a:gd name="T69" fmla="*/ 86 h 90"/>
                  <a:gd name="T70" fmla="*/ 20 w 44"/>
                  <a:gd name="T71" fmla="*/ 18 h 90"/>
                  <a:gd name="T72" fmla="*/ 14 w 44"/>
                  <a:gd name="T73" fmla="*/ 22 h 90"/>
                  <a:gd name="T74" fmla="*/ 12 w 44"/>
                  <a:gd name="T75" fmla="*/ 28 h 90"/>
                  <a:gd name="T76" fmla="*/ 14 w 44"/>
                  <a:gd name="T77" fmla="*/ 32 h 90"/>
                  <a:gd name="T78" fmla="*/ 20 w 44"/>
                  <a:gd name="T79" fmla="*/ 18 h 90"/>
                  <a:gd name="T80" fmla="*/ 24 w 44"/>
                  <a:gd name="T81" fmla="*/ 70 h 90"/>
                  <a:gd name="T82" fmla="*/ 32 w 44"/>
                  <a:gd name="T83" fmla="*/ 66 h 90"/>
                  <a:gd name="T84" fmla="*/ 32 w 44"/>
                  <a:gd name="T85" fmla="*/ 62 h 90"/>
                  <a:gd name="T86" fmla="*/ 30 w 44"/>
                  <a:gd name="T87" fmla="*/ 54 h 90"/>
                  <a:gd name="T88" fmla="*/ 24 w 44"/>
                  <a:gd name="T89" fmla="*/ 5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4" h="90">
                    <a:moveTo>
                      <a:pt x="26" y="86"/>
                    </a:moveTo>
                    <a:lnTo>
                      <a:pt x="26" y="86"/>
                    </a:lnTo>
                    <a:lnTo>
                      <a:pt x="26" y="88"/>
                    </a:lnTo>
                    <a:lnTo>
                      <a:pt x="24" y="90"/>
                    </a:lnTo>
                    <a:lnTo>
                      <a:pt x="22" y="90"/>
                    </a:lnTo>
                    <a:lnTo>
                      <a:pt x="22" y="90"/>
                    </a:lnTo>
                    <a:lnTo>
                      <a:pt x="18" y="88"/>
                    </a:lnTo>
                    <a:lnTo>
                      <a:pt x="18" y="86"/>
                    </a:lnTo>
                    <a:lnTo>
                      <a:pt x="18" y="82"/>
                    </a:lnTo>
                    <a:lnTo>
                      <a:pt x="18" y="82"/>
                    </a:lnTo>
                    <a:lnTo>
                      <a:pt x="8" y="80"/>
                    </a:lnTo>
                    <a:lnTo>
                      <a:pt x="2" y="78"/>
                    </a:lnTo>
                    <a:lnTo>
                      <a:pt x="2" y="78"/>
                    </a:lnTo>
                    <a:lnTo>
                      <a:pt x="0" y="76"/>
                    </a:lnTo>
                    <a:lnTo>
                      <a:pt x="0" y="76"/>
                    </a:lnTo>
                    <a:lnTo>
                      <a:pt x="4" y="66"/>
                    </a:lnTo>
                    <a:lnTo>
                      <a:pt x="4" y="66"/>
                    </a:lnTo>
                    <a:lnTo>
                      <a:pt x="4" y="66"/>
                    </a:lnTo>
                    <a:lnTo>
                      <a:pt x="6" y="66"/>
                    </a:lnTo>
                    <a:lnTo>
                      <a:pt x="6" y="66"/>
                    </a:lnTo>
                    <a:lnTo>
                      <a:pt x="10" y="68"/>
                    </a:lnTo>
                    <a:lnTo>
                      <a:pt x="18" y="70"/>
                    </a:lnTo>
                    <a:lnTo>
                      <a:pt x="18" y="50"/>
                    </a:lnTo>
                    <a:lnTo>
                      <a:pt x="16" y="48"/>
                    </a:lnTo>
                    <a:lnTo>
                      <a:pt x="16" y="48"/>
                    </a:lnTo>
                    <a:lnTo>
                      <a:pt x="12" y="46"/>
                    </a:lnTo>
                    <a:lnTo>
                      <a:pt x="6" y="42"/>
                    </a:lnTo>
                    <a:lnTo>
                      <a:pt x="2" y="36"/>
                    </a:lnTo>
                    <a:lnTo>
                      <a:pt x="0" y="28"/>
                    </a:lnTo>
                    <a:lnTo>
                      <a:pt x="0" y="28"/>
                    </a:lnTo>
                    <a:lnTo>
                      <a:pt x="2" y="20"/>
                    </a:lnTo>
                    <a:lnTo>
                      <a:pt x="4" y="16"/>
                    </a:lnTo>
                    <a:lnTo>
                      <a:pt x="4" y="16"/>
                    </a:lnTo>
                    <a:lnTo>
                      <a:pt x="10" y="10"/>
                    </a:lnTo>
                    <a:lnTo>
                      <a:pt x="18" y="8"/>
                    </a:lnTo>
                    <a:lnTo>
                      <a:pt x="18" y="2"/>
                    </a:lnTo>
                    <a:lnTo>
                      <a:pt x="18" y="2"/>
                    </a:lnTo>
                    <a:lnTo>
                      <a:pt x="18" y="0"/>
                    </a:lnTo>
                    <a:lnTo>
                      <a:pt x="22" y="0"/>
                    </a:lnTo>
                    <a:lnTo>
                      <a:pt x="24" y="0"/>
                    </a:lnTo>
                    <a:lnTo>
                      <a:pt x="24" y="0"/>
                    </a:lnTo>
                    <a:lnTo>
                      <a:pt x="26" y="0"/>
                    </a:lnTo>
                    <a:lnTo>
                      <a:pt x="26" y="2"/>
                    </a:lnTo>
                    <a:lnTo>
                      <a:pt x="26" y="8"/>
                    </a:lnTo>
                    <a:lnTo>
                      <a:pt x="26" y="8"/>
                    </a:lnTo>
                    <a:lnTo>
                      <a:pt x="36" y="10"/>
                    </a:lnTo>
                    <a:lnTo>
                      <a:pt x="40" y="12"/>
                    </a:lnTo>
                    <a:lnTo>
                      <a:pt x="40" y="12"/>
                    </a:lnTo>
                    <a:lnTo>
                      <a:pt x="42" y="14"/>
                    </a:lnTo>
                    <a:lnTo>
                      <a:pt x="42" y="14"/>
                    </a:lnTo>
                    <a:lnTo>
                      <a:pt x="38" y="22"/>
                    </a:lnTo>
                    <a:lnTo>
                      <a:pt x="38" y="24"/>
                    </a:lnTo>
                    <a:lnTo>
                      <a:pt x="38" y="24"/>
                    </a:lnTo>
                    <a:lnTo>
                      <a:pt x="36" y="22"/>
                    </a:lnTo>
                    <a:lnTo>
                      <a:pt x="36" y="22"/>
                    </a:lnTo>
                    <a:lnTo>
                      <a:pt x="32" y="20"/>
                    </a:lnTo>
                    <a:lnTo>
                      <a:pt x="26" y="18"/>
                    </a:lnTo>
                    <a:lnTo>
                      <a:pt x="26" y="38"/>
                    </a:lnTo>
                    <a:lnTo>
                      <a:pt x="28" y="40"/>
                    </a:lnTo>
                    <a:lnTo>
                      <a:pt x="28" y="40"/>
                    </a:lnTo>
                    <a:lnTo>
                      <a:pt x="34" y="44"/>
                    </a:lnTo>
                    <a:lnTo>
                      <a:pt x="40" y="48"/>
                    </a:lnTo>
                    <a:lnTo>
                      <a:pt x="44" y="54"/>
                    </a:lnTo>
                    <a:lnTo>
                      <a:pt x="44" y="60"/>
                    </a:lnTo>
                    <a:lnTo>
                      <a:pt x="44" y="60"/>
                    </a:lnTo>
                    <a:lnTo>
                      <a:pt x="44" y="68"/>
                    </a:lnTo>
                    <a:lnTo>
                      <a:pt x="40" y="74"/>
                    </a:lnTo>
                    <a:lnTo>
                      <a:pt x="34" y="80"/>
                    </a:lnTo>
                    <a:lnTo>
                      <a:pt x="26" y="82"/>
                    </a:lnTo>
                    <a:lnTo>
                      <a:pt x="26" y="86"/>
                    </a:lnTo>
                    <a:close/>
                    <a:moveTo>
                      <a:pt x="20" y="18"/>
                    </a:moveTo>
                    <a:lnTo>
                      <a:pt x="20" y="18"/>
                    </a:lnTo>
                    <a:lnTo>
                      <a:pt x="14" y="22"/>
                    </a:lnTo>
                    <a:lnTo>
                      <a:pt x="14" y="22"/>
                    </a:lnTo>
                    <a:lnTo>
                      <a:pt x="12" y="24"/>
                    </a:lnTo>
                    <a:lnTo>
                      <a:pt x="12" y="28"/>
                    </a:lnTo>
                    <a:lnTo>
                      <a:pt x="12" y="28"/>
                    </a:lnTo>
                    <a:lnTo>
                      <a:pt x="14" y="32"/>
                    </a:lnTo>
                    <a:lnTo>
                      <a:pt x="20" y="36"/>
                    </a:lnTo>
                    <a:lnTo>
                      <a:pt x="20" y="18"/>
                    </a:lnTo>
                    <a:close/>
                    <a:moveTo>
                      <a:pt x="24" y="70"/>
                    </a:moveTo>
                    <a:lnTo>
                      <a:pt x="24" y="70"/>
                    </a:lnTo>
                    <a:lnTo>
                      <a:pt x="30" y="68"/>
                    </a:lnTo>
                    <a:lnTo>
                      <a:pt x="32" y="66"/>
                    </a:lnTo>
                    <a:lnTo>
                      <a:pt x="32" y="62"/>
                    </a:lnTo>
                    <a:lnTo>
                      <a:pt x="32" y="62"/>
                    </a:lnTo>
                    <a:lnTo>
                      <a:pt x="32" y="58"/>
                    </a:lnTo>
                    <a:lnTo>
                      <a:pt x="30" y="54"/>
                    </a:lnTo>
                    <a:lnTo>
                      <a:pt x="24" y="52"/>
                    </a:lnTo>
                    <a:lnTo>
                      <a:pt x="24" y="52"/>
                    </a:lnTo>
                    <a:lnTo>
                      <a:pt x="24" y="7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78" name="Freeform 803">
                <a:extLst>
                  <a:ext uri="{FF2B5EF4-FFF2-40B4-BE49-F238E27FC236}">
                    <a16:creationId xmlns:a16="http://schemas.microsoft.com/office/drawing/2014/main" id="{1C87736D-F2BC-4B2D-8D90-18361DE804C2}"/>
                  </a:ext>
                </a:extLst>
              </p:cNvPr>
              <p:cNvSpPr>
                <a:spLocks noEditPoints="1"/>
              </p:cNvSpPr>
              <p:nvPr/>
            </p:nvSpPr>
            <p:spPr bwMode="auto">
              <a:xfrm>
                <a:off x="5310138" y="6444679"/>
                <a:ext cx="82550" cy="168275"/>
              </a:xfrm>
              <a:custGeom>
                <a:avLst/>
                <a:gdLst>
                  <a:gd name="T0" fmla="*/ 30 w 52"/>
                  <a:gd name="T1" fmla="*/ 102 h 106"/>
                  <a:gd name="T2" fmla="*/ 26 w 52"/>
                  <a:gd name="T3" fmla="*/ 106 h 106"/>
                  <a:gd name="T4" fmla="*/ 24 w 52"/>
                  <a:gd name="T5" fmla="*/ 106 h 106"/>
                  <a:gd name="T6" fmla="*/ 22 w 52"/>
                  <a:gd name="T7" fmla="*/ 102 h 106"/>
                  <a:gd name="T8" fmla="*/ 22 w 52"/>
                  <a:gd name="T9" fmla="*/ 96 h 106"/>
                  <a:gd name="T10" fmla="*/ 2 w 52"/>
                  <a:gd name="T11" fmla="*/ 92 h 106"/>
                  <a:gd name="T12" fmla="*/ 0 w 52"/>
                  <a:gd name="T13" fmla="*/ 90 h 106"/>
                  <a:gd name="T14" fmla="*/ 4 w 52"/>
                  <a:gd name="T15" fmla="*/ 78 h 106"/>
                  <a:gd name="T16" fmla="*/ 4 w 52"/>
                  <a:gd name="T17" fmla="*/ 78 h 106"/>
                  <a:gd name="T18" fmla="*/ 6 w 52"/>
                  <a:gd name="T19" fmla="*/ 78 h 106"/>
                  <a:gd name="T20" fmla="*/ 22 w 52"/>
                  <a:gd name="T21" fmla="*/ 84 h 106"/>
                  <a:gd name="T22" fmla="*/ 20 w 52"/>
                  <a:gd name="T23" fmla="*/ 58 h 106"/>
                  <a:gd name="T24" fmla="*/ 12 w 52"/>
                  <a:gd name="T25" fmla="*/ 54 h 106"/>
                  <a:gd name="T26" fmla="*/ 2 w 52"/>
                  <a:gd name="T27" fmla="*/ 44 h 106"/>
                  <a:gd name="T28" fmla="*/ 0 w 52"/>
                  <a:gd name="T29" fmla="*/ 34 h 106"/>
                  <a:gd name="T30" fmla="*/ 4 w 52"/>
                  <a:gd name="T31" fmla="*/ 18 h 106"/>
                  <a:gd name="T32" fmla="*/ 12 w 52"/>
                  <a:gd name="T33" fmla="*/ 12 h 106"/>
                  <a:gd name="T34" fmla="*/ 22 w 52"/>
                  <a:gd name="T35" fmla="*/ 4 h 106"/>
                  <a:gd name="T36" fmla="*/ 22 w 52"/>
                  <a:gd name="T37" fmla="*/ 2 h 106"/>
                  <a:gd name="T38" fmla="*/ 26 w 52"/>
                  <a:gd name="T39" fmla="*/ 0 h 106"/>
                  <a:gd name="T40" fmla="*/ 30 w 52"/>
                  <a:gd name="T41" fmla="*/ 2 h 106"/>
                  <a:gd name="T42" fmla="*/ 30 w 52"/>
                  <a:gd name="T43" fmla="*/ 10 h 106"/>
                  <a:gd name="T44" fmla="*/ 42 w 52"/>
                  <a:gd name="T45" fmla="*/ 12 h 106"/>
                  <a:gd name="T46" fmla="*/ 48 w 52"/>
                  <a:gd name="T47" fmla="*/ 14 h 106"/>
                  <a:gd name="T48" fmla="*/ 48 w 52"/>
                  <a:gd name="T49" fmla="*/ 18 h 106"/>
                  <a:gd name="T50" fmla="*/ 44 w 52"/>
                  <a:gd name="T51" fmla="*/ 26 h 106"/>
                  <a:gd name="T52" fmla="*/ 44 w 52"/>
                  <a:gd name="T53" fmla="*/ 28 h 106"/>
                  <a:gd name="T54" fmla="*/ 42 w 52"/>
                  <a:gd name="T55" fmla="*/ 26 h 106"/>
                  <a:gd name="T56" fmla="*/ 30 w 52"/>
                  <a:gd name="T57" fmla="*/ 22 h 106"/>
                  <a:gd name="T58" fmla="*/ 32 w 52"/>
                  <a:gd name="T59" fmla="*/ 48 h 106"/>
                  <a:gd name="T60" fmla="*/ 40 w 52"/>
                  <a:gd name="T61" fmla="*/ 52 h 106"/>
                  <a:gd name="T62" fmla="*/ 50 w 52"/>
                  <a:gd name="T63" fmla="*/ 64 h 106"/>
                  <a:gd name="T64" fmla="*/ 52 w 52"/>
                  <a:gd name="T65" fmla="*/ 72 h 106"/>
                  <a:gd name="T66" fmla="*/ 46 w 52"/>
                  <a:gd name="T67" fmla="*/ 88 h 106"/>
                  <a:gd name="T68" fmla="*/ 30 w 52"/>
                  <a:gd name="T69" fmla="*/ 96 h 106"/>
                  <a:gd name="T70" fmla="*/ 22 w 52"/>
                  <a:gd name="T71" fmla="*/ 22 h 106"/>
                  <a:gd name="T72" fmla="*/ 20 w 52"/>
                  <a:gd name="T73" fmla="*/ 24 h 106"/>
                  <a:gd name="T74" fmla="*/ 16 w 52"/>
                  <a:gd name="T75" fmla="*/ 26 h 106"/>
                  <a:gd name="T76" fmla="*/ 14 w 52"/>
                  <a:gd name="T77" fmla="*/ 32 h 106"/>
                  <a:gd name="T78" fmla="*/ 14 w 52"/>
                  <a:gd name="T79" fmla="*/ 36 h 106"/>
                  <a:gd name="T80" fmla="*/ 22 w 52"/>
                  <a:gd name="T81" fmla="*/ 44 h 106"/>
                  <a:gd name="T82" fmla="*/ 28 w 52"/>
                  <a:gd name="T83" fmla="*/ 84 h 106"/>
                  <a:gd name="T84" fmla="*/ 34 w 52"/>
                  <a:gd name="T85" fmla="*/ 80 h 106"/>
                  <a:gd name="T86" fmla="*/ 36 w 52"/>
                  <a:gd name="T87" fmla="*/ 74 h 106"/>
                  <a:gd name="T88" fmla="*/ 36 w 52"/>
                  <a:gd name="T89" fmla="*/ 68 h 106"/>
                  <a:gd name="T90" fmla="*/ 28 w 52"/>
                  <a:gd name="T91" fmla="*/ 62 h 106"/>
                  <a:gd name="T92" fmla="*/ 28 w 52"/>
                  <a:gd name="T93" fmla="*/ 8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2" h="106">
                    <a:moveTo>
                      <a:pt x="30" y="102"/>
                    </a:moveTo>
                    <a:lnTo>
                      <a:pt x="30" y="102"/>
                    </a:lnTo>
                    <a:lnTo>
                      <a:pt x="30" y="104"/>
                    </a:lnTo>
                    <a:lnTo>
                      <a:pt x="26" y="106"/>
                    </a:lnTo>
                    <a:lnTo>
                      <a:pt x="24" y="106"/>
                    </a:lnTo>
                    <a:lnTo>
                      <a:pt x="24" y="106"/>
                    </a:lnTo>
                    <a:lnTo>
                      <a:pt x="22" y="104"/>
                    </a:lnTo>
                    <a:lnTo>
                      <a:pt x="22" y="102"/>
                    </a:lnTo>
                    <a:lnTo>
                      <a:pt x="22" y="96"/>
                    </a:lnTo>
                    <a:lnTo>
                      <a:pt x="22" y="96"/>
                    </a:lnTo>
                    <a:lnTo>
                      <a:pt x="10" y="96"/>
                    </a:lnTo>
                    <a:lnTo>
                      <a:pt x="2" y="92"/>
                    </a:lnTo>
                    <a:lnTo>
                      <a:pt x="2" y="92"/>
                    </a:lnTo>
                    <a:lnTo>
                      <a:pt x="0" y="90"/>
                    </a:lnTo>
                    <a:lnTo>
                      <a:pt x="0" y="88"/>
                    </a:lnTo>
                    <a:lnTo>
                      <a:pt x="4" y="78"/>
                    </a:lnTo>
                    <a:lnTo>
                      <a:pt x="4" y="78"/>
                    </a:lnTo>
                    <a:lnTo>
                      <a:pt x="4" y="78"/>
                    </a:lnTo>
                    <a:lnTo>
                      <a:pt x="6" y="78"/>
                    </a:lnTo>
                    <a:lnTo>
                      <a:pt x="6" y="78"/>
                    </a:lnTo>
                    <a:lnTo>
                      <a:pt x="12" y="80"/>
                    </a:lnTo>
                    <a:lnTo>
                      <a:pt x="22" y="84"/>
                    </a:lnTo>
                    <a:lnTo>
                      <a:pt x="22" y="58"/>
                    </a:lnTo>
                    <a:lnTo>
                      <a:pt x="20" y="58"/>
                    </a:lnTo>
                    <a:lnTo>
                      <a:pt x="20" y="58"/>
                    </a:lnTo>
                    <a:lnTo>
                      <a:pt x="12" y="54"/>
                    </a:lnTo>
                    <a:lnTo>
                      <a:pt x="6" y="50"/>
                    </a:lnTo>
                    <a:lnTo>
                      <a:pt x="2" y="44"/>
                    </a:lnTo>
                    <a:lnTo>
                      <a:pt x="0" y="34"/>
                    </a:lnTo>
                    <a:lnTo>
                      <a:pt x="0" y="34"/>
                    </a:lnTo>
                    <a:lnTo>
                      <a:pt x="0" y="24"/>
                    </a:lnTo>
                    <a:lnTo>
                      <a:pt x="4" y="18"/>
                    </a:lnTo>
                    <a:lnTo>
                      <a:pt x="4" y="18"/>
                    </a:lnTo>
                    <a:lnTo>
                      <a:pt x="12" y="12"/>
                    </a:lnTo>
                    <a:lnTo>
                      <a:pt x="22" y="10"/>
                    </a:lnTo>
                    <a:lnTo>
                      <a:pt x="22" y="4"/>
                    </a:lnTo>
                    <a:lnTo>
                      <a:pt x="22" y="4"/>
                    </a:lnTo>
                    <a:lnTo>
                      <a:pt x="22" y="2"/>
                    </a:lnTo>
                    <a:lnTo>
                      <a:pt x="24" y="0"/>
                    </a:lnTo>
                    <a:lnTo>
                      <a:pt x="26" y="0"/>
                    </a:lnTo>
                    <a:lnTo>
                      <a:pt x="26" y="0"/>
                    </a:lnTo>
                    <a:lnTo>
                      <a:pt x="30" y="2"/>
                    </a:lnTo>
                    <a:lnTo>
                      <a:pt x="30" y="4"/>
                    </a:lnTo>
                    <a:lnTo>
                      <a:pt x="30" y="10"/>
                    </a:lnTo>
                    <a:lnTo>
                      <a:pt x="30" y="10"/>
                    </a:lnTo>
                    <a:lnTo>
                      <a:pt x="42" y="12"/>
                    </a:lnTo>
                    <a:lnTo>
                      <a:pt x="48" y="14"/>
                    </a:lnTo>
                    <a:lnTo>
                      <a:pt x="48" y="14"/>
                    </a:lnTo>
                    <a:lnTo>
                      <a:pt x="50" y="18"/>
                    </a:lnTo>
                    <a:lnTo>
                      <a:pt x="48" y="18"/>
                    </a:lnTo>
                    <a:lnTo>
                      <a:pt x="44" y="26"/>
                    </a:lnTo>
                    <a:lnTo>
                      <a:pt x="44" y="26"/>
                    </a:lnTo>
                    <a:lnTo>
                      <a:pt x="44" y="28"/>
                    </a:lnTo>
                    <a:lnTo>
                      <a:pt x="44" y="28"/>
                    </a:lnTo>
                    <a:lnTo>
                      <a:pt x="42" y="26"/>
                    </a:lnTo>
                    <a:lnTo>
                      <a:pt x="42" y="26"/>
                    </a:lnTo>
                    <a:lnTo>
                      <a:pt x="36" y="24"/>
                    </a:lnTo>
                    <a:lnTo>
                      <a:pt x="30" y="22"/>
                    </a:lnTo>
                    <a:lnTo>
                      <a:pt x="30" y="46"/>
                    </a:lnTo>
                    <a:lnTo>
                      <a:pt x="32" y="48"/>
                    </a:lnTo>
                    <a:lnTo>
                      <a:pt x="32" y="48"/>
                    </a:lnTo>
                    <a:lnTo>
                      <a:pt x="40" y="52"/>
                    </a:lnTo>
                    <a:lnTo>
                      <a:pt x="46" y="56"/>
                    </a:lnTo>
                    <a:lnTo>
                      <a:pt x="50" y="64"/>
                    </a:lnTo>
                    <a:lnTo>
                      <a:pt x="52" y="72"/>
                    </a:lnTo>
                    <a:lnTo>
                      <a:pt x="52" y="72"/>
                    </a:lnTo>
                    <a:lnTo>
                      <a:pt x="50" y="80"/>
                    </a:lnTo>
                    <a:lnTo>
                      <a:pt x="46" y="88"/>
                    </a:lnTo>
                    <a:lnTo>
                      <a:pt x="38" y="94"/>
                    </a:lnTo>
                    <a:lnTo>
                      <a:pt x="30" y="96"/>
                    </a:lnTo>
                    <a:lnTo>
                      <a:pt x="30" y="102"/>
                    </a:lnTo>
                    <a:close/>
                    <a:moveTo>
                      <a:pt x="22" y="22"/>
                    </a:moveTo>
                    <a:lnTo>
                      <a:pt x="22" y="22"/>
                    </a:lnTo>
                    <a:lnTo>
                      <a:pt x="20" y="24"/>
                    </a:lnTo>
                    <a:lnTo>
                      <a:pt x="16" y="26"/>
                    </a:lnTo>
                    <a:lnTo>
                      <a:pt x="16" y="26"/>
                    </a:lnTo>
                    <a:lnTo>
                      <a:pt x="14" y="28"/>
                    </a:lnTo>
                    <a:lnTo>
                      <a:pt x="14" y="32"/>
                    </a:lnTo>
                    <a:lnTo>
                      <a:pt x="14" y="32"/>
                    </a:lnTo>
                    <a:lnTo>
                      <a:pt x="14" y="36"/>
                    </a:lnTo>
                    <a:lnTo>
                      <a:pt x="16" y="40"/>
                    </a:lnTo>
                    <a:lnTo>
                      <a:pt x="22" y="44"/>
                    </a:lnTo>
                    <a:lnTo>
                      <a:pt x="22" y="22"/>
                    </a:lnTo>
                    <a:close/>
                    <a:moveTo>
                      <a:pt x="28" y="84"/>
                    </a:moveTo>
                    <a:lnTo>
                      <a:pt x="28" y="84"/>
                    </a:lnTo>
                    <a:lnTo>
                      <a:pt x="34" y="80"/>
                    </a:lnTo>
                    <a:lnTo>
                      <a:pt x="36" y="78"/>
                    </a:lnTo>
                    <a:lnTo>
                      <a:pt x="36" y="74"/>
                    </a:lnTo>
                    <a:lnTo>
                      <a:pt x="36" y="74"/>
                    </a:lnTo>
                    <a:lnTo>
                      <a:pt x="36" y="68"/>
                    </a:lnTo>
                    <a:lnTo>
                      <a:pt x="34" y="64"/>
                    </a:lnTo>
                    <a:lnTo>
                      <a:pt x="28" y="62"/>
                    </a:lnTo>
                    <a:lnTo>
                      <a:pt x="28" y="62"/>
                    </a:lnTo>
                    <a:lnTo>
                      <a:pt x="28" y="8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79" name="Freeform 804">
                <a:extLst>
                  <a:ext uri="{FF2B5EF4-FFF2-40B4-BE49-F238E27FC236}">
                    <a16:creationId xmlns:a16="http://schemas.microsoft.com/office/drawing/2014/main" id="{C87B4042-6A9F-4015-A95E-A16AA53FBEE9}"/>
                  </a:ext>
                </a:extLst>
              </p:cNvPr>
              <p:cNvSpPr>
                <a:spLocks noEditPoints="1"/>
              </p:cNvSpPr>
              <p:nvPr/>
            </p:nvSpPr>
            <p:spPr bwMode="auto">
              <a:xfrm>
                <a:off x="5433963" y="6298629"/>
                <a:ext cx="104775" cy="209550"/>
              </a:xfrm>
              <a:custGeom>
                <a:avLst/>
                <a:gdLst>
                  <a:gd name="T0" fmla="*/ 38 w 66"/>
                  <a:gd name="T1" fmla="*/ 128 h 132"/>
                  <a:gd name="T2" fmla="*/ 36 w 66"/>
                  <a:gd name="T3" fmla="*/ 132 h 132"/>
                  <a:gd name="T4" fmla="*/ 32 w 66"/>
                  <a:gd name="T5" fmla="*/ 132 h 132"/>
                  <a:gd name="T6" fmla="*/ 28 w 66"/>
                  <a:gd name="T7" fmla="*/ 128 h 132"/>
                  <a:gd name="T8" fmla="*/ 28 w 66"/>
                  <a:gd name="T9" fmla="*/ 122 h 132"/>
                  <a:gd name="T10" fmla="*/ 4 w 66"/>
                  <a:gd name="T11" fmla="*/ 116 h 132"/>
                  <a:gd name="T12" fmla="*/ 0 w 66"/>
                  <a:gd name="T13" fmla="*/ 112 h 132"/>
                  <a:gd name="T14" fmla="*/ 6 w 66"/>
                  <a:gd name="T15" fmla="*/ 98 h 132"/>
                  <a:gd name="T16" fmla="*/ 8 w 66"/>
                  <a:gd name="T17" fmla="*/ 96 h 132"/>
                  <a:gd name="T18" fmla="*/ 10 w 66"/>
                  <a:gd name="T19" fmla="*/ 98 h 132"/>
                  <a:gd name="T20" fmla="*/ 16 w 66"/>
                  <a:gd name="T21" fmla="*/ 100 h 132"/>
                  <a:gd name="T22" fmla="*/ 28 w 66"/>
                  <a:gd name="T23" fmla="*/ 72 h 132"/>
                  <a:gd name="T24" fmla="*/ 26 w 66"/>
                  <a:gd name="T25" fmla="*/ 72 h 132"/>
                  <a:gd name="T26" fmla="*/ 10 w 66"/>
                  <a:gd name="T27" fmla="*/ 62 h 132"/>
                  <a:gd name="T28" fmla="*/ 2 w 66"/>
                  <a:gd name="T29" fmla="*/ 48 h 132"/>
                  <a:gd name="T30" fmla="*/ 0 w 66"/>
                  <a:gd name="T31" fmla="*/ 42 h 132"/>
                  <a:gd name="T32" fmla="*/ 6 w 66"/>
                  <a:gd name="T33" fmla="*/ 22 h 132"/>
                  <a:gd name="T34" fmla="*/ 12 w 66"/>
                  <a:gd name="T35" fmla="*/ 18 h 132"/>
                  <a:gd name="T36" fmla="*/ 28 w 66"/>
                  <a:gd name="T37" fmla="*/ 12 h 132"/>
                  <a:gd name="T38" fmla="*/ 28 w 66"/>
                  <a:gd name="T39" fmla="*/ 4 h 132"/>
                  <a:gd name="T40" fmla="*/ 32 w 66"/>
                  <a:gd name="T41" fmla="*/ 0 h 132"/>
                  <a:gd name="T42" fmla="*/ 36 w 66"/>
                  <a:gd name="T43" fmla="*/ 0 h 132"/>
                  <a:gd name="T44" fmla="*/ 38 w 66"/>
                  <a:gd name="T45" fmla="*/ 4 h 132"/>
                  <a:gd name="T46" fmla="*/ 38 w 66"/>
                  <a:gd name="T47" fmla="*/ 12 h 132"/>
                  <a:gd name="T48" fmla="*/ 62 w 66"/>
                  <a:gd name="T49" fmla="*/ 18 h 132"/>
                  <a:gd name="T50" fmla="*/ 62 w 66"/>
                  <a:gd name="T51" fmla="*/ 18 h 132"/>
                  <a:gd name="T52" fmla="*/ 64 w 66"/>
                  <a:gd name="T53" fmla="*/ 22 h 132"/>
                  <a:gd name="T54" fmla="*/ 58 w 66"/>
                  <a:gd name="T55" fmla="*/ 34 h 132"/>
                  <a:gd name="T56" fmla="*/ 56 w 66"/>
                  <a:gd name="T57" fmla="*/ 34 h 132"/>
                  <a:gd name="T58" fmla="*/ 54 w 66"/>
                  <a:gd name="T59" fmla="*/ 32 h 132"/>
                  <a:gd name="T60" fmla="*/ 38 w 66"/>
                  <a:gd name="T61" fmla="*/ 28 h 132"/>
                  <a:gd name="T62" fmla="*/ 42 w 66"/>
                  <a:gd name="T63" fmla="*/ 58 h 132"/>
                  <a:gd name="T64" fmla="*/ 52 w 66"/>
                  <a:gd name="T65" fmla="*/ 64 h 132"/>
                  <a:gd name="T66" fmla="*/ 64 w 66"/>
                  <a:gd name="T67" fmla="*/ 78 h 132"/>
                  <a:gd name="T68" fmla="*/ 66 w 66"/>
                  <a:gd name="T69" fmla="*/ 90 h 132"/>
                  <a:gd name="T70" fmla="*/ 60 w 66"/>
                  <a:gd name="T71" fmla="*/ 110 h 132"/>
                  <a:gd name="T72" fmla="*/ 38 w 66"/>
                  <a:gd name="T73" fmla="*/ 122 h 132"/>
                  <a:gd name="T74" fmla="*/ 30 w 66"/>
                  <a:gd name="T75" fmla="*/ 28 h 132"/>
                  <a:gd name="T76" fmla="*/ 26 w 66"/>
                  <a:gd name="T77" fmla="*/ 28 h 132"/>
                  <a:gd name="T78" fmla="*/ 22 w 66"/>
                  <a:gd name="T79" fmla="*/ 32 h 132"/>
                  <a:gd name="T80" fmla="*/ 20 w 66"/>
                  <a:gd name="T81" fmla="*/ 40 h 132"/>
                  <a:gd name="T82" fmla="*/ 20 w 66"/>
                  <a:gd name="T83" fmla="*/ 44 h 132"/>
                  <a:gd name="T84" fmla="*/ 26 w 66"/>
                  <a:gd name="T85" fmla="*/ 52 h 132"/>
                  <a:gd name="T86" fmla="*/ 30 w 66"/>
                  <a:gd name="T87" fmla="*/ 28 h 132"/>
                  <a:gd name="T88" fmla="*/ 38 w 66"/>
                  <a:gd name="T89" fmla="*/ 104 h 132"/>
                  <a:gd name="T90" fmla="*/ 48 w 66"/>
                  <a:gd name="T91" fmla="*/ 98 h 132"/>
                  <a:gd name="T92" fmla="*/ 48 w 66"/>
                  <a:gd name="T93" fmla="*/ 92 h 132"/>
                  <a:gd name="T94" fmla="*/ 44 w 66"/>
                  <a:gd name="T95" fmla="*/ 80 h 132"/>
                  <a:gd name="T96" fmla="*/ 38 w 66"/>
                  <a:gd name="T97" fmla="*/ 7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6" h="132">
                    <a:moveTo>
                      <a:pt x="38" y="128"/>
                    </a:moveTo>
                    <a:lnTo>
                      <a:pt x="38" y="128"/>
                    </a:lnTo>
                    <a:lnTo>
                      <a:pt x="38" y="130"/>
                    </a:lnTo>
                    <a:lnTo>
                      <a:pt x="36" y="132"/>
                    </a:lnTo>
                    <a:lnTo>
                      <a:pt x="32" y="132"/>
                    </a:lnTo>
                    <a:lnTo>
                      <a:pt x="32" y="132"/>
                    </a:lnTo>
                    <a:lnTo>
                      <a:pt x="30" y="130"/>
                    </a:lnTo>
                    <a:lnTo>
                      <a:pt x="28" y="128"/>
                    </a:lnTo>
                    <a:lnTo>
                      <a:pt x="28" y="122"/>
                    </a:lnTo>
                    <a:lnTo>
                      <a:pt x="28" y="122"/>
                    </a:lnTo>
                    <a:lnTo>
                      <a:pt x="14" y="120"/>
                    </a:lnTo>
                    <a:lnTo>
                      <a:pt x="4" y="116"/>
                    </a:lnTo>
                    <a:lnTo>
                      <a:pt x="4" y="116"/>
                    </a:lnTo>
                    <a:lnTo>
                      <a:pt x="0" y="112"/>
                    </a:lnTo>
                    <a:lnTo>
                      <a:pt x="2" y="112"/>
                    </a:lnTo>
                    <a:lnTo>
                      <a:pt x="6" y="98"/>
                    </a:lnTo>
                    <a:lnTo>
                      <a:pt x="6" y="98"/>
                    </a:lnTo>
                    <a:lnTo>
                      <a:pt x="8" y="96"/>
                    </a:lnTo>
                    <a:lnTo>
                      <a:pt x="8" y="96"/>
                    </a:lnTo>
                    <a:lnTo>
                      <a:pt x="10" y="98"/>
                    </a:lnTo>
                    <a:lnTo>
                      <a:pt x="10" y="98"/>
                    </a:lnTo>
                    <a:lnTo>
                      <a:pt x="16" y="100"/>
                    </a:lnTo>
                    <a:lnTo>
                      <a:pt x="28" y="104"/>
                    </a:lnTo>
                    <a:lnTo>
                      <a:pt x="28" y="72"/>
                    </a:lnTo>
                    <a:lnTo>
                      <a:pt x="26" y="72"/>
                    </a:lnTo>
                    <a:lnTo>
                      <a:pt x="26" y="72"/>
                    </a:lnTo>
                    <a:lnTo>
                      <a:pt x="18" y="68"/>
                    </a:lnTo>
                    <a:lnTo>
                      <a:pt x="10" y="62"/>
                    </a:lnTo>
                    <a:lnTo>
                      <a:pt x="4" y="54"/>
                    </a:lnTo>
                    <a:lnTo>
                      <a:pt x="2" y="48"/>
                    </a:lnTo>
                    <a:lnTo>
                      <a:pt x="0" y="42"/>
                    </a:lnTo>
                    <a:lnTo>
                      <a:pt x="0" y="42"/>
                    </a:lnTo>
                    <a:lnTo>
                      <a:pt x="2" y="30"/>
                    </a:lnTo>
                    <a:lnTo>
                      <a:pt x="6" y="22"/>
                    </a:lnTo>
                    <a:lnTo>
                      <a:pt x="6" y="22"/>
                    </a:lnTo>
                    <a:lnTo>
                      <a:pt x="12" y="18"/>
                    </a:lnTo>
                    <a:lnTo>
                      <a:pt x="16" y="14"/>
                    </a:lnTo>
                    <a:lnTo>
                      <a:pt x="28" y="12"/>
                    </a:lnTo>
                    <a:lnTo>
                      <a:pt x="28" y="4"/>
                    </a:lnTo>
                    <a:lnTo>
                      <a:pt x="28" y="4"/>
                    </a:lnTo>
                    <a:lnTo>
                      <a:pt x="30" y="2"/>
                    </a:lnTo>
                    <a:lnTo>
                      <a:pt x="32" y="0"/>
                    </a:lnTo>
                    <a:lnTo>
                      <a:pt x="36" y="0"/>
                    </a:lnTo>
                    <a:lnTo>
                      <a:pt x="36" y="0"/>
                    </a:lnTo>
                    <a:lnTo>
                      <a:pt x="38" y="2"/>
                    </a:lnTo>
                    <a:lnTo>
                      <a:pt x="38" y="4"/>
                    </a:lnTo>
                    <a:lnTo>
                      <a:pt x="38" y="12"/>
                    </a:lnTo>
                    <a:lnTo>
                      <a:pt x="38" y="12"/>
                    </a:lnTo>
                    <a:lnTo>
                      <a:pt x="54" y="14"/>
                    </a:lnTo>
                    <a:lnTo>
                      <a:pt x="62" y="18"/>
                    </a:lnTo>
                    <a:lnTo>
                      <a:pt x="62" y="18"/>
                    </a:lnTo>
                    <a:lnTo>
                      <a:pt x="62" y="18"/>
                    </a:lnTo>
                    <a:lnTo>
                      <a:pt x="64" y="20"/>
                    </a:lnTo>
                    <a:lnTo>
                      <a:pt x="64" y="22"/>
                    </a:lnTo>
                    <a:lnTo>
                      <a:pt x="58" y="34"/>
                    </a:lnTo>
                    <a:lnTo>
                      <a:pt x="58" y="34"/>
                    </a:lnTo>
                    <a:lnTo>
                      <a:pt x="56" y="34"/>
                    </a:lnTo>
                    <a:lnTo>
                      <a:pt x="56" y="34"/>
                    </a:lnTo>
                    <a:lnTo>
                      <a:pt x="54" y="32"/>
                    </a:lnTo>
                    <a:lnTo>
                      <a:pt x="54" y="32"/>
                    </a:lnTo>
                    <a:lnTo>
                      <a:pt x="48" y="30"/>
                    </a:lnTo>
                    <a:lnTo>
                      <a:pt x="38" y="28"/>
                    </a:lnTo>
                    <a:lnTo>
                      <a:pt x="38" y="58"/>
                    </a:lnTo>
                    <a:lnTo>
                      <a:pt x="42" y="58"/>
                    </a:lnTo>
                    <a:lnTo>
                      <a:pt x="42" y="58"/>
                    </a:lnTo>
                    <a:lnTo>
                      <a:pt x="52" y="64"/>
                    </a:lnTo>
                    <a:lnTo>
                      <a:pt x="60" y="70"/>
                    </a:lnTo>
                    <a:lnTo>
                      <a:pt x="64" y="78"/>
                    </a:lnTo>
                    <a:lnTo>
                      <a:pt x="66" y="90"/>
                    </a:lnTo>
                    <a:lnTo>
                      <a:pt x="66" y="90"/>
                    </a:lnTo>
                    <a:lnTo>
                      <a:pt x="64" y="102"/>
                    </a:lnTo>
                    <a:lnTo>
                      <a:pt x="60" y="110"/>
                    </a:lnTo>
                    <a:lnTo>
                      <a:pt x="50" y="118"/>
                    </a:lnTo>
                    <a:lnTo>
                      <a:pt x="38" y="122"/>
                    </a:lnTo>
                    <a:lnTo>
                      <a:pt x="38" y="128"/>
                    </a:lnTo>
                    <a:close/>
                    <a:moveTo>
                      <a:pt x="30" y="28"/>
                    </a:moveTo>
                    <a:lnTo>
                      <a:pt x="30" y="28"/>
                    </a:lnTo>
                    <a:lnTo>
                      <a:pt x="26" y="28"/>
                    </a:lnTo>
                    <a:lnTo>
                      <a:pt x="22" y="32"/>
                    </a:lnTo>
                    <a:lnTo>
                      <a:pt x="22" y="32"/>
                    </a:lnTo>
                    <a:lnTo>
                      <a:pt x="20" y="36"/>
                    </a:lnTo>
                    <a:lnTo>
                      <a:pt x="20" y="40"/>
                    </a:lnTo>
                    <a:lnTo>
                      <a:pt x="20" y="40"/>
                    </a:lnTo>
                    <a:lnTo>
                      <a:pt x="20" y="44"/>
                    </a:lnTo>
                    <a:lnTo>
                      <a:pt x="22" y="48"/>
                    </a:lnTo>
                    <a:lnTo>
                      <a:pt x="26" y="52"/>
                    </a:lnTo>
                    <a:lnTo>
                      <a:pt x="30" y="54"/>
                    </a:lnTo>
                    <a:lnTo>
                      <a:pt x="30" y="28"/>
                    </a:lnTo>
                    <a:close/>
                    <a:moveTo>
                      <a:pt x="38" y="104"/>
                    </a:moveTo>
                    <a:lnTo>
                      <a:pt x="38" y="104"/>
                    </a:lnTo>
                    <a:lnTo>
                      <a:pt x="44" y="100"/>
                    </a:lnTo>
                    <a:lnTo>
                      <a:pt x="48" y="98"/>
                    </a:lnTo>
                    <a:lnTo>
                      <a:pt x="48" y="92"/>
                    </a:lnTo>
                    <a:lnTo>
                      <a:pt x="48" y="92"/>
                    </a:lnTo>
                    <a:lnTo>
                      <a:pt x="48" y="86"/>
                    </a:lnTo>
                    <a:lnTo>
                      <a:pt x="44" y="80"/>
                    </a:lnTo>
                    <a:lnTo>
                      <a:pt x="38" y="76"/>
                    </a:lnTo>
                    <a:lnTo>
                      <a:pt x="38" y="76"/>
                    </a:lnTo>
                    <a:lnTo>
                      <a:pt x="38" y="10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80" name="Freeform 805">
                <a:extLst>
                  <a:ext uri="{FF2B5EF4-FFF2-40B4-BE49-F238E27FC236}">
                    <a16:creationId xmlns:a16="http://schemas.microsoft.com/office/drawing/2014/main" id="{FD2F78CE-58A6-4B09-BC16-37A6E43D2900}"/>
                  </a:ext>
                </a:extLst>
              </p:cNvPr>
              <p:cNvSpPr>
                <a:spLocks noEditPoints="1"/>
              </p:cNvSpPr>
              <p:nvPr/>
            </p:nvSpPr>
            <p:spPr bwMode="auto">
              <a:xfrm>
                <a:off x="4779913" y="6139879"/>
                <a:ext cx="50800" cy="101600"/>
              </a:xfrm>
              <a:custGeom>
                <a:avLst/>
                <a:gdLst>
                  <a:gd name="T0" fmla="*/ 20 w 32"/>
                  <a:gd name="T1" fmla="*/ 62 h 64"/>
                  <a:gd name="T2" fmla="*/ 18 w 32"/>
                  <a:gd name="T3" fmla="*/ 64 h 64"/>
                  <a:gd name="T4" fmla="*/ 16 w 32"/>
                  <a:gd name="T5" fmla="*/ 64 h 64"/>
                  <a:gd name="T6" fmla="*/ 14 w 32"/>
                  <a:gd name="T7" fmla="*/ 62 h 64"/>
                  <a:gd name="T8" fmla="*/ 14 w 32"/>
                  <a:gd name="T9" fmla="*/ 58 h 64"/>
                  <a:gd name="T10" fmla="*/ 2 w 32"/>
                  <a:gd name="T11" fmla="*/ 56 h 64"/>
                  <a:gd name="T12" fmla="*/ 2 w 32"/>
                  <a:gd name="T13" fmla="*/ 54 h 64"/>
                  <a:gd name="T14" fmla="*/ 4 w 32"/>
                  <a:gd name="T15" fmla="*/ 46 h 64"/>
                  <a:gd name="T16" fmla="*/ 6 w 32"/>
                  <a:gd name="T17" fmla="*/ 46 h 64"/>
                  <a:gd name="T18" fmla="*/ 14 w 32"/>
                  <a:gd name="T19" fmla="*/ 50 h 64"/>
                  <a:gd name="T20" fmla="*/ 12 w 32"/>
                  <a:gd name="T21" fmla="*/ 34 h 64"/>
                  <a:gd name="T22" fmla="*/ 6 w 32"/>
                  <a:gd name="T23" fmla="*/ 30 h 64"/>
                  <a:gd name="T24" fmla="*/ 0 w 32"/>
                  <a:gd name="T25" fmla="*/ 20 h 64"/>
                  <a:gd name="T26" fmla="*/ 2 w 32"/>
                  <a:gd name="T27" fmla="*/ 16 h 64"/>
                  <a:gd name="T28" fmla="*/ 4 w 32"/>
                  <a:gd name="T29" fmla="*/ 12 h 64"/>
                  <a:gd name="T30" fmla="*/ 14 w 32"/>
                  <a:gd name="T31" fmla="*/ 6 h 64"/>
                  <a:gd name="T32" fmla="*/ 14 w 32"/>
                  <a:gd name="T33" fmla="*/ 2 h 64"/>
                  <a:gd name="T34" fmla="*/ 16 w 32"/>
                  <a:gd name="T35" fmla="*/ 0 h 64"/>
                  <a:gd name="T36" fmla="*/ 18 w 32"/>
                  <a:gd name="T37" fmla="*/ 0 h 64"/>
                  <a:gd name="T38" fmla="*/ 20 w 32"/>
                  <a:gd name="T39" fmla="*/ 2 h 64"/>
                  <a:gd name="T40" fmla="*/ 20 w 32"/>
                  <a:gd name="T41" fmla="*/ 6 h 64"/>
                  <a:gd name="T42" fmla="*/ 30 w 32"/>
                  <a:gd name="T43" fmla="*/ 8 h 64"/>
                  <a:gd name="T44" fmla="*/ 30 w 32"/>
                  <a:gd name="T45" fmla="*/ 10 h 64"/>
                  <a:gd name="T46" fmla="*/ 28 w 32"/>
                  <a:gd name="T47" fmla="*/ 16 h 64"/>
                  <a:gd name="T48" fmla="*/ 28 w 32"/>
                  <a:gd name="T49" fmla="*/ 16 h 64"/>
                  <a:gd name="T50" fmla="*/ 26 w 32"/>
                  <a:gd name="T51" fmla="*/ 16 h 64"/>
                  <a:gd name="T52" fmla="*/ 20 w 32"/>
                  <a:gd name="T53" fmla="*/ 28 h 64"/>
                  <a:gd name="T54" fmla="*/ 20 w 32"/>
                  <a:gd name="T55" fmla="*/ 28 h 64"/>
                  <a:gd name="T56" fmla="*/ 32 w 32"/>
                  <a:gd name="T57" fmla="*/ 38 h 64"/>
                  <a:gd name="T58" fmla="*/ 32 w 32"/>
                  <a:gd name="T59" fmla="*/ 44 h 64"/>
                  <a:gd name="T60" fmla="*/ 28 w 32"/>
                  <a:gd name="T61" fmla="*/ 54 h 64"/>
                  <a:gd name="T62" fmla="*/ 20 w 32"/>
                  <a:gd name="T63" fmla="*/ 58 h 64"/>
                  <a:gd name="T64" fmla="*/ 14 w 32"/>
                  <a:gd name="T65" fmla="*/ 14 h 64"/>
                  <a:gd name="T66" fmla="*/ 12 w 32"/>
                  <a:gd name="T67" fmla="*/ 16 h 64"/>
                  <a:gd name="T68" fmla="*/ 10 w 32"/>
                  <a:gd name="T69" fmla="*/ 20 h 64"/>
                  <a:gd name="T70" fmla="*/ 12 w 32"/>
                  <a:gd name="T71" fmla="*/ 24 h 64"/>
                  <a:gd name="T72" fmla="*/ 14 w 32"/>
                  <a:gd name="T73" fmla="*/ 14 h 64"/>
                  <a:gd name="T74" fmla="*/ 18 w 32"/>
                  <a:gd name="T75" fmla="*/ 50 h 64"/>
                  <a:gd name="T76" fmla="*/ 22 w 32"/>
                  <a:gd name="T77" fmla="*/ 46 h 64"/>
                  <a:gd name="T78" fmla="*/ 24 w 32"/>
                  <a:gd name="T79" fmla="*/ 44 h 64"/>
                  <a:gd name="T80" fmla="*/ 22 w 32"/>
                  <a:gd name="T81" fmla="*/ 38 h 64"/>
                  <a:gd name="T82" fmla="*/ 18 w 32"/>
                  <a:gd name="T83" fmla="*/ 36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 h="64">
                    <a:moveTo>
                      <a:pt x="20" y="62"/>
                    </a:moveTo>
                    <a:lnTo>
                      <a:pt x="20" y="62"/>
                    </a:lnTo>
                    <a:lnTo>
                      <a:pt x="18" y="62"/>
                    </a:lnTo>
                    <a:lnTo>
                      <a:pt x="18" y="64"/>
                    </a:lnTo>
                    <a:lnTo>
                      <a:pt x="16" y="64"/>
                    </a:lnTo>
                    <a:lnTo>
                      <a:pt x="16" y="64"/>
                    </a:lnTo>
                    <a:lnTo>
                      <a:pt x="14" y="62"/>
                    </a:lnTo>
                    <a:lnTo>
                      <a:pt x="14" y="62"/>
                    </a:lnTo>
                    <a:lnTo>
                      <a:pt x="14" y="58"/>
                    </a:lnTo>
                    <a:lnTo>
                      <a:pt x="14" y="58"/>
                    </a:lnTo>
                    <a:lnTo>
                      <a:pt x="6" y="58"/>
                    </a:lnTo>
                    <a:lnTo>
                      <a:pt x="2" y="56"/>
                    </a:lnTo>
                    <a:lnTo>
                      <a:pt x="2" y="54"/>
                    </a:lnTo>
                    <a:lnTo>
                      <a:pt x="2" y="54"/>
                    </a:lnTo>
                    <a:lnTo>
                      <a:pt x="4" y="48"/>
                    </a:lnTo>
                    <a:lnTo>
                      <a:pt x="4" y="46"/>
                    </a:lnTo>
                    <a:lnTo>
                      <a:pt x="6" y="46"/>
                    </a:lnTo>
                    <a:lnTo>
                      <a:pt x="6" y="46"/>
                    </a:lnTo>
                    <a:lnTo>
                      <a:pt x="8" y="48"/>
                    </a:lnTo>
                    <a:lnTo>
                      <a:pt x="14" y="50"/>
                    </a:lnTo>
                    <a:lnTo>
                      <a:pt x="14" y="36"/>
                    </a:lnTo>
                    <a:lnTo>
                      <a:pt x="12" y="34"/>
                    </a:lnTo>
                    <a:lnTo>
                      <a:pt x="12" y="34"/>
                    </a:lnTo>
                    <a:lnTo>
                      <a:pt x="6" y="30"/>
                    </a:lnTo>
                    <a:lnTo>
                      <a:pt x="2" y="26"/>
                    </a:lnTo>
                    <a:lnTo>
                      <a:pt x="0" y="20"/>
                    </a:lnTo>
                    <a:lnTo>
                      <a:pt x="0" y="20"/>
                    </a:lnTo>
                    <a:lnTo>
                      <a:pt x="2" y="16"/>
                    </a:lnTo>
                    <a:lnTo>
                      <a:pt x="4" y="12"/>
                    </a:lnTo>
                    <a:lnTo>
                      <a:pt x="4" y="12"/>
                    </a:lnTo>
                    <a:lnTo>
                      <a:pt x="8" y="8"/>
                    </a:lnTo>
                    <a:lnTo>
                      <a:pt x="14" y="6"/>
                    </a:lnTo>
                    <a:lnTo>
                      <a:pt x="14" y="2"/>
                    </a:lnTo>
                    <a:lnTo>
                      <a:pt x="14" y="2"/>
                    </a:lnTo>
                    <a:lnTo>
                      <a:pt x="14" y="2"/>
                    </a:lnTo>
                    <a:lnTo>
                      <a:pt x="16" y="0"/>
                    </a:lnTo>
                    <a:lnTo>
                      <a:pt x="18" y="0"/>
                    </a:lnTo>
                    <a:lnTo>
                      <a:pt x="18" y="0"/>
                    </a:lnTo>
                    <a:lnTo>
                      <a:pt x="18" y="2"/>
                    </a:lnTo>
                    <a:lnTo>
                      <a:pt x="20" y="2"/>
                    </a:lnTo>
                    <a:lnTo>
                      <a:pt x="20" y="6"/>
                    </a:lnTo>
                    <a:lnTo>
                      <a:pt x="20" y="6"/>
                    </a:lnTo>
                    <a:lnTo>
                      <a:pt x="26" y="8"/>
                    </a:lnTo>
                    <a:lnTo>
                      <a:pt x="30" y="8"/>
                    </a:lnTo>
                    <a:lnTo>
                      <a:pt x="30" y="8"/>
                    </a:lnTo>
                    <a:lnTo>
                      <a:pt x="30" y="10"/>
                    </a:lnTo>
                    <a:lnTo>
                      <a:pt x="30" y="12"/>
                    </a:lnTo>
                    <a:lnTo>
                      <a:pt x="28" y="16"/>
                    </a:lnTo>
                    <a:lnTo>
                      <a:pt x="28" y="16"/>
                    </a:lnTo>
                    <a:lnTo>
                      <a:pt x="28" y="16"/>
                    </a:lnTo>
                    <a:lnTo>
                      <a:pt x="26" y="16"/>
                    </a:lnTo>
                    <a:lnTo>
                      <a:pt x="26" y="16"/>
                    </a:lnTo>
                    <a:lnTo>
                      <a:pt x="20" y="14"/>
                    </a:lnTo>
                    <a:lnTo>
                      <a:pt x="20" y="28"/>
                    </a:lnTo>
                    <a:lnTo>
                      <a:pt x="20" y="28"/>
                    </a:lnTo>
                    <a:lnTo>
                      <a:pt x="20" y="28"/>
                    </a:lnTo>
                    <a:lnTo>
                      <a:pt x="28" y="34"/>
                    </a:lnTo>
                    <a:lnTo>
                      <a:pt x="32" y="38"/>
                    </a:lnTo>
                    <a:lnTo>
                      <a:pt x="32" y="44"/>
                    </a:lnTo>
                    <a:lnTo>
                      <a:pt x="32" y="44"/>
                    </a:lnTo>
                    <a:lnTo>
                      <a:pt x="32" y="48"/>
                    </a:lnTo>
                    <a:lnTo>
                      <a:pt x="28" y="54"/>
                    </a:lnTo>
                    <a:lnTo>
                      <a:pt x="24" y="56"/>
                    </a:lnTo>
                    <a:lnTo>
                      <a:pt x="20" y="58"/>
                    </a:lnTo>
                    <a:lnTo>
                      <a:pt x="20" y="62"/>
                    </a:lnTo>
                    <a:close/>
                    <a:moveTo>
                      <a:pt x="14" y="14"/>
                    </a:moveTo>
                    <a:lnTo>
                      <a:pt x="14" y="14"/>
                    </a:lnTo>
                    <a:lnTo>
                      <a:pt x="12" y="16"/>
                    </a:lnTo>
                    <a:lnTo>
                      <a:pt x="12" y="16"/>
                    </a:lnTo>
                    <a:lnTo>
                      <a:pt x="10" y="20"/>
                    </a:lnTo>
                    <a:lnTo>
                      <a:pt x="10" y="20"/>
                    </a:lnTo>
                    <a:lnTo>
                      <a:pt x="12" y="24"/>
                    </a:lnTo>
                    <a:lnTo>
                      <a:pt x="14" y="26"/>
                    </a:lnTo>
                    <a:lnTo>
                      <a:pt x="14" y="14"/>
                    </a:lnTo>
                    <a:close/>
                    <a:moveTo>
                      <a:pt x="18" y="50"/>
                    </a:moveTo>
                    <a:lnTo>
                      <a:pt x="18" y="50"/>
                    </a:lnTo>
                    <a:lnTo>
                      <a:pt x="22" y="48"/>
                    </a:lnTo>
                    <a:lnTo>
                      <a:pt x="22" y="46"/>
                    </a:lnTo>
                    <a:lnTo>
                      <a:pt x="24" y="44"/>
                    </a:lnTo>
                    <a:lnTo>
                      <a:pt x="24" y="44"/>
                    </a:lnTo>
                    <a:lnTo>
                      <a:pt x="24" y="40"/>
                    </a:lnTo>
                    <a:lnTo>
                      <a:pt x="22" y="38"/>
                    </a:lnTo>
                    <a:lnTo>
                      <a:pt x="18" y="36"/>
                    </a:lnTo>
                    <a:lnTo>
                      <a:pt x="18" y="36"/>
                    </a:lnTo>
                    <a:lnTo>
                      <a:pt x="18" y="5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81" name="Freeform 806">
                <a:extLst>
                  <a:ext uri="{FF2B5EF4-FFF2-40B4-BE49-F238E27FC236}">
                    <a16:creationId xmlns:a16="http://schemas.microsoft.com/office/drawing/2014/main" id="{39C492F0-5B0D-4788-9C95-65F0A44EACCD}"/>
                  </a:ext>
                </a:extLst>
              </p:cNvPr>
              <p:cNvSpPr>
                <a:spLocks noEditPoints="1"/>
              </p:cNvSpPr>
              <p:nvPr/>
            </p:nvSpPr>
            <p:spPr bwMode="auto">
              <a:xfrm>
                <a:off x="5018038" y="6012879"/>
                <a:ext cx="50800" cy="98425"/>
              </a:xfrm>
              <a:custGeom>
                <a:avLst/>
                <a:gdLst>
                  <a:gd name="T0" fmla="*/ 18 w 32"/>
                  <a:gd name="T1" fmla="*/ 60 h 62"/>
                  <a:gd name="T2" fmla="*/ 16 w 32"/>
                  <a:gd name="T3" fmla="*/ 62 h 62"/>
                  <a:gd name="T4" fmla="*/ 16 w 32"/>
                  <a:gd name="T5" fmla="*/ 62 h 62"/>
                  <a:gd name="T6" fmla="*/ 14 w 32"/>
                  <a:gd name="T7" fmla="*/ 60 h 62"/>
                  <a:gd name="T8" fmla="*/ 14 w 32"/>
                  <a:gd name="T9" fmla="*/ 56 h 62"/>
                  <a:gd name="T10" fmla="*/ 2 w 32"/>
                  <a:gd name="T11" fmla="*/ 54 h 62"/>
                  <a:gd name="T12" fmla="*/ 0 w 32"/>
                  <a:gd name="T13" fmla="*/ 52 h 62"/>
                  <a:gd name="T14" fmla="*/ 4 w 32"/>
                  <a:gd name="T15" fmla="*/ 46 h 62"/>
                  <a:gd name="T16" fmla="*/ 4 w 32"/>
                  <a:gd name="T17" fmla="*/ 46 h 62"/>
                  <a:gd name="T18" fmla="*/ 14 w 32"/>
                  <a:gd name="T19" fmla="*/ 48 h 62"/>
                  <a:gd name="T20" fmla="*/ 12 w 32"/>
                  <a:gd name="T21" fmla="*/ 34 h 62"/>
                  <a:gd name="T22" fmla="*/ 4 w 32"/>
                  <a:gd name="T23" fmla="*/ 28 h 62"/>
                  <a:gd name="T24" fmla="*/ 0 w 32"/>
                  <a:gd name="T25" fmla="*/ 20 h 62"/>
                  <a:gd name="T26" fmla="*/ 2 w 32"/>
                  <a:gd name="T27" fmla="*/ 14 h 62"/>
                  <a:gd name="T28" fmla="*/ 4 w 32"/>
                  <a:gd name="T29" fmla="*/ 10 h 62"/>
                  <a:gd name="T30" fmla="*/ 14 w 32"/>
                  <a:gd name="T31" fmla="*/ 4 h 62"/>
                  <a:gd name="T32" fmla="*/ 14 w 32"/>
                  <a:gd name="T33" fmla="*/ 0 h 62"/>
                  <a:gd name="T34" fmla="*/ 16 w 32"/>
                  <a:gd name="T35" fmla="*/ 0 h 62"/>
                  <a:gd name="T36" fmla="*/ 16 w 32"/>
                  <a:gd name="T37" fmla="*/ 0 h 62"/>
                  <a:gd name="T38" fmla="*/ 18 w 32"/>
                  <a:gd name="T39" fmla="*/ 0 h 62"/>
                  <a:gd name="T40" fmla="*/ 18 w 32"/>
                  <a:gd name="T41" fmla="*/ 4 h 62"/>
                  <a:gd name="T42" fmla="*/ 30 w 32"/>
                  <a:gd name="T43" fmla="*/ 8 h 62"/>
                  <a:gd name="T44" fmla="*/ 30 w 32"/>
                  <a:gd name="T45" fmla="*/ 10 h 62"/>
                  <a:gd name="T46" fmla="*/ 28 w 32"/>
                  <a:gd name="T47" fmla="*/ 14 h 62"/>
                  <a:gd name="T48" fmla="*/ 26 w 32"/>
                  <a:gd name="T49" fmla="*/ 16 h 62"/>
                  <a:gd name="T50" fmla="*/ 26 w 32"/>
                  <a:gd name="T51" fmla="*/ 14 h 62"/>
                  <a:gd name="T52" fmla="*/ 18 w 32"/>
                  <a:gd name="T53" fmla="*/ 26 h 62"/>
                  <a:gd name="T54" fmla="*/ 20 w 32"/>
                  <a:gd name="T55" fmla="*/ 28 h 62"/>
                  <a:gd name="T56" fmla="*/ 30 w 32"/>
                  <a:gd name="T57" fmla="*/ 36 h 62"/>
                  <a:gd name="T58" fmla="*/ 32 w 32"/>
                  <a:gd name="T59" fmla="*/ 42 h 62"/>
                  <a:gd name="T60" fmla="*/ 28 w 32"/>
                  <a:gd name="T61" fmla="*/ 52 h 62"/>
                  <a:gd name="T62" fmla="*/ 18 w 32"/>
                  <a:gd name="T63" fmla="*/ 56 h 62"/>
                  <a:gd name="T64" fmla="*/ 14 w 32"/>
                  <a:gd name="T65" fmla="*/ 12 h 62"/>
                  <a:gd name="T66" fmla="*/ 10 w 32"/>
                  <a:gd name="T67" fmla="*/ 14 h 62"/>
                  <a:gd name="T68" fmla="*/ 10 w 32"/>
                  <a:gd name="T69" fmla="*/ 18 h 62"/>
                  <a:gd name="T70" fmla="*/ 10 w 32"/>
                  <a:gd name="T71" fmla="*/ 22 h 62"/>
                  <a:gd name="T72" fmla="*/ 14 w 32"/>
                  <a:gd name="T73" fmla="*/ 12 h 62"/>
                  <a:gd name="T74" fmla="*/ 18 w 32"/>
                  <a:gd name="T75" fmla="*/ 48 h 62"/>
                  <a:gd name="T76" fmla="*/ 22 w 32"/>
                  <a:gd name="T77" fmla="*/ 46 h 62"/>
                  <a:gd name="T78" fmla="*/ 22 w 32"/>
                  <a:gd name="T79" fmla="*/ 42 h 62"/>
                  <a:gd name="T80" fmla="*/ 20 w 32"/>
                  <a:gd name="T81" fmla="*/ 38 h 62"/>
                  <a:gd name="T82" fmla="*/ 18 w 32"/>
                  <a:gd name="T83" fmla="*/ 3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2" h="62">
                    <a:moveTo>
                      <a:pt x="18" y="60"/>
                    </a:moveTo>
                    <a:lnTo>
                      <a:pt x="18" y="60"/>
                    </a:lnTo>
                    <a:lnTo>
                      <a:pt x="18" y="62"/>
                    </a:lnTo>
                    <a:lnTo>
                      <a:pt x="16" y="62"/>
                    </a:lnTo>
                    <a:lnTo>
                      <a:pt x="16" y="62"/>
                    </a:lnTo>
                    <a:lnTo>
                      <a:pt x="16" y="62"/>
                    </a:lnTo>
                    <a:lnTo>
                      <a:pt x="14" y="62"/>
                    </a:lnTo>
                    <a:lnTo>
                      <a:pt x="14" y="60"/>
                    </a:lnTo>
                    <a:lnTo>
                      <a:pt x="14" y="56"/>
                    </a:lnTo>
                    <a:lnTo>
                      <a:pt x="14" y="56"/>
                    </a:lnTo>
                    <a:lnTo>
                      <a:pt x="6" y="56"/>
                    </a:lnTo>
                    <a:lnTo>
                      <a:pt x="2" y="54"/>
                    </a:lnTo>
                    <a:lnTo>
                      <a:pt x="0" y="52"/>
                    </a:lnTo>
                    <a:lnTo>
                      <a:pt x="0" y="52"/>
                    </a:lnTo>
                    <a:lnTo>
                      <a:pt x="2" y="46"/>
                    </a:lnTo>
                    <a:lnTo>
                      <a:pt x="4" y="46"/>
                    </a:lnTo>
                    <a:lnTo>
                      <a:pt x="4" y="46"/>
                    </a:lnTo>
                    <a:lnTo>
                      <a:pt x="4" y="46"/>
                    </a:lnTo>
                    <a:lnTo>
                      <a:pt x="8" y="48"/>
                    </a:lnTo>
                    <a:lnTo>
                      <a:pt x="14" y="48"/>
                    </a:lnTo>
                    <a:lnTo>
                      <a:pt x="14" y="34"/>
                    </a:lnTo>
                    <a:lnTo>
                      <a:pt x="12" y="34"/>
                    </a:lnTo>
                    <a:lnTo>
                      <a:pt x="12" y="34"/>
                    </a:lnTo>
                    <a:lnTo>
                      <a:pt x="4" y="28"/>
                    </a:lnTo>
                    <a:lnTo>
                      <a:pt x="2" y="24"/>
                    </a:lnTo>
                    <a:lnTo>
                      <a:pt x="0" y="20"/>
                    </a:lnTo>
                    <a:lnTo>
                      <a:pt x="0" y="20"/>
                    </a:lnTo>
                    <a:lnTo>
                      <a:pt x="2" y="14"/>
                    </a:lnTo>
                    <a:lnTo>
                      <a:pt x="4" y="10"/>
                    </a:lnTo>
                    <a:lnTo>
                      <a:pt x="4" y="10"/>
                    </a:lnTo>
                    <a:lnTo>
                      <a:pt x="8" y="6"/>
                    </a:lnTo>
                    <a:lnTo>
                      <a:pt x="14" y="4"/>
                    </a:lnTo>
                    <a:lnTo>
                      <a:pt x="14" y="0"/>
                    </a:lnTo>
                    <a:lnTo>
                      <a:pt x="14" y="0"/>
                    </a:lnTo>
                    <a:lnTo>
                      <a:pt x="14" y="0"/>
                    </a:lnTo>
                    <a:lnTo>
                      <a:pt x="16" y="0"/>
                    </a:lnTo>
                    <a:lnTo>
                      <a:pt x="16" y="0"/>
                    </a:lnTo>
                    <a:lnTo>
                      <a:pt x="16" y="0"/>
                    </a:lnTo>
                    <a:lnTo>
                      <a:pt x="18" y="0"/>
                    </a:lnTo>
                    <a:lnTo>
                      <a:pt x="18" y="0"/>
                    </a:lnTo>
                    <a:lnTo>
                      <a:pt x="18" y="4"/>
                    </a:lnTo>
                    <a:lnTo>
                      <a:pt x="18" y="4"/>
                    </a:lnTo>
                    <a:lnTo>
                      <a:pt x="26" y="6"/>
                    </a:lnTo>
                    <a:lnTo>
                      <a:pt x="30" y="8"/>
                    </a:lnTo>
                    <a:lnTo>
                      <a:pt x="30" y="8"/>
                    </a:lnTo>
                    <a:lnTo>
                      <a:pt x="30" y="10"/>
                    </a:lnTo>
                    <a:lnTo>
                      <a:pt x="30" y="10"/>
                    </a:lnTo>
                    <a:lnTo>
                      <a:pt x="28" y="14"/>
                    </a:lnTo>
                    <a:lnTo>
                      <a:pt x="26" y="16"/>
                    </a:lnTo>
                    <a:lnTo>
                      <a:pt x="26" y="16"/>
                    </a:lnTo>
                    <a:lnTo>
                      <a:pt x="26" y="14"/>
                    </a:lnTo>
                    <a:lnTo>
                      <a:pt x="26" y="14"/>
                    </a:lnTo>
                    <a:lnTo>
                      <a:pt x="18" y="12"/>
                    </a:lnTo>
                    <a:lnTo>
                      <a:pt x="18" y="26"/>
                    </a:lnTo>
                    <a:lnTo>
                      <a:pt x="20" y="28"/>
                    </a:lnTo>
                    <a:lnTo>
                      <a:pt x="20" y="28"/>
                    </a:lnTo>
                    <a:lnTo>
                      <a:pt x="28" y="32"/>
                    </a:lnTo>
                    <a:lnTo>
                      <a:pt x="30" y="36"/>
                    </a:lnTo>
                    <a:lnTo>
                      <a:pt x="32" y="42"/>
                    </a:lnTo>
                    <a:lnTo>
                      <a:pt x="32" y="42"/>
                    </a:lnTo>
                    <a:lnTo>
                      <a:pt x="30" y="48"/>
                    </a:lnTo>
                    <a:lnTo>
                      <a:pt x="28" y="52"/>
                    </a:lnTo>
                    <a:lnTo>
                      <a:pt x="24" y="56"/>
                    </a:lnTo>
                    <a:lnTo>
                      <a:pt x="18" y="56"/>
                    </a:lnTo>
                    <a:lnTo>
                      <a:pt x="18" y="60"/>
                    </a:lnTo>
                    <a:close/>
                    <a:moveTo>
                      <a:pt x="14" y="12"/>
                    </a:moveTo>
                    <a:lnTo>
                      <a:pt x="14" y="12"/>
                    </a:lnTo>
                    <a:lnTo>
                      <a:pt x="10" y="14"/>
                    </a:lnTo>
                    <a:lnTo>
                      <a:pt x="10" y="14"/>
                    </a:lnTo>
                    <a:lnTo>
                      <a:pt x="10" y="18"/>
                    </a:lnTo>
                    <a:lnTo>
                      <a:pt x="10" y="18"/>
                    </a:lnTo>
                    <a:lnTo>
                      <a:pt x="10" y="22"/>
                    </a:lnTo>
                    <a:lnTo>
                      <a:pt x="14" y="24"/>
                    </a:lnTo>
                    <a:lnTo>
                      <a:pt x="14" y="12"/>
                    </a:lnTo>
                    <a:close/>
                    <a:moveTo>
                      <a:pt x="18" y="48"/>
                    </a:moveTo>
                    <a:lnTo>
                      <a:pt x="18" y="48"/>
                    </a:lnTo>
                    <a:lnTo>
                      <a:pt x="20" y="48"/>
                    </a:lnTo>
                    <a:lnTo>
                      <a:pt x="22" y="46"/>
                    </a:lnTo>
                    <a:lnTo>
                      <a:pt x="22" y="42"/>
                    </a:lnTo>
                    <a:lnTo>
                      <a:pt x="22" y="42"/>
                    </a:lnTo>
                    <a:lnTo>
                      <a:pt x="22" y="40"/>
                    </a:lnTo>
                    <a:lnTo>
                      <a:pt x="20" y="38"/>
                    </a:lnTo>
                    <a:lnTo>
                      <a:pt x="18" y="36"/>
                    </a:lnTo>
                    <a:lnTo>
                      <a:pt x="18" y="36"/>
                    </a:lnTo>
                    <a:lnTo>
                      <a:pt x="18" y="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82" name="Freeform 807">
                <a:extLst>
                  <a:ext uri="{FF2B5EF4-FFF2-40B4-BE49-F238E27FC236}">
                    <a16:creationId xmlns:a16="http://schemas.microsoft.com/office/drawing/2014/main" id="{8A44443E-3F31-4C06-8661-8B50DE384444}"/>
                  </a:ext>
                </a:extLst>
              </p:cNvPr>
              <p:cNvSpPr>
                <a:spLocks noEditPoints="1"/>
              </p:cNvSpPr>
              <p:nvPr/>
            </p:nvSpPr>
            <p:spPr bwMode="auto">
              <a:xfrm>
                <a:off x="5287913" y="6130354"/>
                <a:ext cx="139700" cy="279400"/>
              </a:xfrm>
              <a:custGeom>
                <a:avLst/>
                <a:gdLst>
                  <a:gd name="T0" fmla="*/ 50 w 88"/>
                  <a:gd name="T1" fmla="*/ 172 h 176"/>
                  <a:gd name="T2" fmla="*/ 48 w 88"/>
                  <a:gd name="T3" fmla="*/ 176 h 176"/>
                  <a:gd name="T4" fmla="*/ 42 w 88"/>
                  <a:gd name="T5" fmla="*/ 176 h 176"/>
                  <a:gd name="T6" fmla="*/ 38 w 88"/>
                  <a:gd name="T7" fmla="*/ 176 h 176"/>
                  <a:gd name="T8" fmla="*/ 36 w 88"/>
                  <a:gd name="T9" fmla="*/ 172 h 176"/>
                  <a:gd name="T10" fmla="*/ 36 w 88"/>
                  <a:gd name="T11" fmla="*/ 162 h 176"/>
                  <a:gd name="T12" fmla="*/ 16 w 88"/>
                  <a:gd name="T13" fmla="*/ 160 h 176"/>
                  <a:gd name="T14" fmla="*/ 2 w 88"/>
                  <a:gd name="T15" fmla="*/ 154 h 176"/>
                  <a:gd name="T16" fmla="*/ 0 w 88"/>
                  <a:gd name="T17" fmla="*/ 150 h 176"/>
                  <a:gd name="T18" fmla="*/ 6 w 88"/>
                  <a:gd name="T19" fmla="*/ 130 h 176"/>
                  <a:gd name="T20" fmla="*/ 8 w 88"/>
                  <a:gd name="T21" fmla="*/ 130 h 176"/>
                  <a:gd name="T22" fmla="*/ 10 w 88"/>
                  <a:gd name="T23" fmla="*/ 130 h 176"/>
                  <a:gd name="T24" fmla="*/ 20 w 88"/>
                  <a:gd name="T25" fmla="*/ 134 h 176"/>
                  <a:gd name="T26" fmla="*/ 36 w 88"/>
                  <a:gd name="T27" fmla="*/ 138 h 176"/>
                  <a:gd name="T28" fmla="*/ 32 w 88"/>
                  <a:gd name="T29" fmla="*/ 96 h 176"/>
                  <a:gd name="T30" fmla="*/ 22 w 88"/>
                  <a:gd name="T31" fmla="*/ 90 h 176"/>
                  <a:gd name="T32" fmla="*/ 6 w 88"/>
                  <a:gd name="T33" fmla="*/ 78 h 176"/>
                  <a:gd name="T34" fmla="*/ 0 w 88"/>
                  <a:gd name="T35" fmla="*/ 64 h 176"/>
                  <a:gd name="T36" fmla="*/ 0 w 88"/>
                  <a:gd name="T37" fmla="*/ 56 h 176"/>
                  <a:gd name="T38" fmla="*/ 2 w 88"/>
                  <a:gd name="T39" fmla="*/ 40 h 176"/>
                  <a:gd name="T40" fmla="*/ 8 w 88"/>
                  <a:gd name="T41" fmla="*/ 30 h 176"/>
                  <a:gd name="T42" fmla="*/ 20 w 88"/>
                  <a:gd name="T43" fmla="*/ 20 h 176"/>
                  <a:gd name="T44" fmla="*/ 36 w 88"/>
                  <a:gd name="T45" fmla="*/ 14 h 176"/>
                  <a:gd name="T46" fmla="*/ 36 w 88"/>
                  <a:gd name="T47" fmla="*/ 4 h 176"/>
                  <a:gd name="T48" fmla="*/ 38 w 88"/>
                  <a:gd name="T49" fmla="*/ 0 h 176"/>
                  <a:gd name="T50" fmla="*/ 46 w 88"/>
                  <a:gd name="T51" fmla="*/ 0 h 176"/>
                  <a:gd name="T52" fmla="*/ 48 w 88"/>
                  <a:gd name="T53" fmla="*/ 0 h 176"/>
                  <a:gd name="T54" fmla="*/ 50 w 88"/>
                  <a:gd name="T55" fmla="*/ 4 h 176"/>
                  <a:gd name="T56" fmla="*/ 50 w 88"/>
                  <a:gd name="T57" fmla="*/ 14 h 176"/>
                  <a:gd name="T58" fmla="*/ 70 w 88"/>
                  <a:gd name="T59" fmla="*/ 18 h 176"/>
                  <a:gd name="T60" fmla="*/ 80 w 88"/>
                  <a:gd name="T61" fmla="*/ 22 h 176"/>
                  <a:gd name="T62" fmla="*/ 84 w 88"/>
                  <a:gd name="T63" fmla="*/ 28 h 176"/>
                  <a:gd name="T64" fmla="*/ 84 w 88"/>
                  <a:gd name="T65" fmla="*/ 30 h 176"/>
                  <a:gd name="T66" fmla="*/ 76 w 88"/>
                  <a:gd name="T67" fmla="*/ 44 h 176"/>
                  <a:gd name="T68" fmla="*/ 74 w 88"/>
                  <a:gd name="T69" fmla="*/ 46 h 176"/>
                  <a:gd name="T70" fmla="*/ 70 w 88"/>
                  <a:gd name="T71" fmla="*/ 44 h 176"/>
                  <a:gd name="T72" fmla="*/ 62 w 88"/>
                  <a:gd name="T73" fmla="*/ 40 h 176"/>
                  <a:gd name="T74" fmla="*/ 50 w 88"/>
                  <a:gd name="T75" fmla="*/ 76 h 176"/>
                  <a:gd name="T76" fmla="*/ 54 w 88"/>
                  <a:gd name="T77" fmla="*/ 78 h 176"/>
                  <a:gd name="T78" fmla="*/ 78 w 88"/>
                  <a:gd name="T79" fmla="*/ 94 h 176"/>
                  <a:gd name="T80" fmla="*/ 84 w 88"/>
                  <a:gd name="T81" fmla="*/ 106 h 176"/>
                  <a:gd name="T82" fmla="*/ 88 w 88"/>
                  <a:gd name="T83" fmla="*/ 120 h 176"/>
                  <a:gd name="T84" fmla="*/ 88 w 88"/>
                  <a:gd name="T85" fmla="*/ 128 h 176"/>
                  <a:gd name="T86" fmla="*/ 82 w 88"/>
                  <a:gd name="T87" fmla="*/ 142 h 176"/>
                  <a:gd name="T88" fmla="*/ 72 w 88"/>
                  <a:gd name="T89" fmla="*/ 152 h 176"/>
                  <a:gd name="T90" fmla="*/ 58 w 88"/>
                  <a:gd name="T91" fmla="*/ 160 h 176"/>
                  <a:gd name="T92" fmla="*/ 50 w 88"/>
                  <a:gd name="T93" fmla="*/ 172 h 176"/>
                  <a:gd name="T94" fmla="*/ 38 w 88"/>
                  <a:gd name="T95" fmla="*/ 36 h 176"/>
                  <a:gd name="T96" fmla="*/ 28 w 88"/>
                  <a:gd name="T97" fmla="*/ 42 h 176"/>
                  <a:gd name="T98" fmla="*/ 24 w 88"/>
                  <a:gd name="T99" fmla="*/ 48 h 176"/>
                  <a:gd name="T100" fmla="*/ 24 w 88"/>
                  <a:gd name="T101" fmla="*/ 54 h 176"/>
                  <a:gd name="T102" fmla="*/ 28 w 88"/>
                  <a:gd name="T103" fmla="*/ 64 h 176"/>
                  <a:gd name="T104" fmla="*/ 38 w 88"/>
                  <a:gd name="T105" fmla="*/ 72 h 176"/>
                  <a:gd name="T106" fmla="*/ 48 w 88"/>
                  <a:gd name="T107" fmla="*/ 138 h 176"/>
                  <a:gd name="T108" fmla="*/ 52 w 88"/>
                  <a:gd name="T109" fmla="*/ 138 h 176"/>
                  <a:gd name="T110" fmla="*/ 62 w 88"/>
                  <a:gd name="T111" fmla="*/ 130 h 176"/>
                  <a:gd name="T112" fmla="*/ 64 w 88"/>
                  <a:gd name="T113" fmla="*/ 122 h 176"/>
                  <a:gd name="T114" fmla="*/ 58 w 88"/>
                  <a:gd name="T115" fmla="*/ 108 h 176"/>
                  <a:gd name="T116" fmla="*/ 50 w 88"/>
                  <a:gd name="T117" fmla="*/ 102 h 176"/>
                  <a:gd name="T118" fmla="*/ 48 w 88"/>
                  <a:gd name="T119" fmla="*/ 13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 h="176">
                    <a:moveTo>
                      <a:pt x="50" y="172"/>
                    </a:moveTo>
                    <a:lnTo>
                      <a:pt x="50" y="172"/>
                    </a:lnTo>
                    <a:lnTo>
                      <a:pt x="50" y="174"/>
                    </a:lnTo>
                    <a:lnTo>
                      <a:pt x="48" y="176"/>
                    </a:lnTo>
                    <a:lnTo>
                      <a:pt x="46" y="176"/>
                    </a:lnTo>
                    <a:lnTo>
                      <a:pt x="42" y="176"/>
                    </a:lnTo>
                    <a:lnTo>
                      <a:pt x="42" y="176"/>
                    </a:lnTo>
                    <a:lnTo>
                      <a:pt x="38" y="176"/>
                    </a:lnTo>
                    <a:lnTo>
                      <a:pt x="38" y="174"/>
                    </a:lnTo>
                    <a:lnTo>
                      <a:pt x="36" y="172"/>
                    </a:lnTo>
                    <a:lnTo>
                      <a:pt x="36" y="162"/>
                    </a:lnTo>
                    <a:lnTo>
                      <a:pt x="36" y="162"/>
                    </a:lnTo>
                    <a:lnTo>
                      <a:pt x="26" y="162"/>
                    </a:lnTo>
                    <a:lnTo>
                      <a:pt x="16" y="160"/>
                    </a:lnTo>
                    <a:lnTo>
                      <a:pt x="2" y="154"/>
                    </a:lnTo>
                    <a:lnTo>
                      <a:pt x="2" y="154"/>
                    </a:lnTo>
                    <a:lnTo>
                      <a:pt x="0" y="152"/>
                    </a:lnTo>
                    <a:lnTo>
                      <a:pt x="0" y="150"/>
                    </a:lnTo>
                    <a:lnTo>
                      <a:pt x="0" y="148"/>
                    </a:lnTo>
                    <a:lnTo>
                      <a:pt x="6" y="130"/>
                    </a:lnTo>
                    <a:lnTo>
                      <a:pt x="6" y="130"/>
                    </a:lnTo>
                    <a:lnTo>
                      <a:pt x="8" y="130"/>
                    </a:lnTo>
                    <a:lnTo>
                      <a:pt x="8" y="130"/>
                    </a:lnTo>
                    <a:lnTo>
                      <a:pt x="10" y="130"/>
                    </a:lnTo>
                    <a:lnTo>
                      <a:pt x="10" y="130"/>
                    </a:lnTo>
                    <a:lnTo>
                      <a:pt x="20" y="134"/>
                    </a:lnTo>
                    <a:lnTo>
                      <a:pt x="28" y="138"/>
                    </a:lnTo>
                    <a:lnTo>
                      <a:pt x="36" y="138"/>
                    </a:lnTo>
                    <a:lnTo>
                      <a:pt x="36" y="96"/>
                    </a:lnTo>
                    <a:lnTo>
                      <a:pt x="32" y="96"/>
                    </a:lnTo>
                    <a:lnTo>
                      <a:pt x="32" y="96"/>
                    </a:lnTo>
                    <a:lnTo>
                      <a:pt x="22" y="90"/>
                    </a:lnTo>
                    <a:lnTo>
                      <a:pt x="10" y="82"/>
                    </a:lnTo>
                    <a:lnTo>
                      <a:pt x="6" y="78"/>
                    </a:lnTo>
                    <a:lnTo>
                      <a:pt x="2" y="72"/>
                    </a:lnTo>
                    <a:lnTo>
                      <a:pt x="0" y="64"/>
                    </a:lnTo>
                    <a:lnTo>
                      <a:pt x="0" y="56"/>
                    </a:lnTo>
                    <a:lnTo>
                      <a:pt x="0" y="56"/>
                    </a:lnTo>
                    <a:lnTo>
                      <a:pt x="0" y="48"/>
                    </a:lnTo>
                    <a:lnTo>
                      <a:pt x="2" y="40"/>
                    </a:lnTo>
                    <a:lnTo>
                      <a:pt x="8" y="30"/>
                    </a:lnTo>
                    <a:lnTo>
                      <a:pt x="8" y="30"/>
                    </a:lnTo>
                    <a:lnTo>
                      <a:pt x="14" y="24"/>
                    </a:lnTo>
                    <a:lnTo>
                      <a:pt x="20" y="20"/>
                    </a:lnTo>
                    <a:lnTo>
                      <a:pt x="28" y="16"/>
                    </a:lnTo>
                    <a:lnTo>
                      <a:pt x="36" y="14"/>
                    </a:lnTo>
                    <a:lnTo>
                      <a:pt x="36" y="4"/>
                    </a:lnTo>
                    <a:lnTo>
                      <a:pt x="36" y="4"/>
                    </a:lnTo>
                    <a:lnTo>
                      <a:pt x="38" y="0"/>
                    </a:lnTo>
                    <a:lnTo>
                      <a:pt x="38" y="0"/>
                    </a:lnTo>
                    <a:lnTo>
                      <a:pt x="42" y="0"/>
                    </a:lnTo>
                    <a:lnTo>
                      <a:pt x="46" y="0"/>
                    </a:lnTo>
                    <a:lnTo>
                      <a:pt x="46" y="0"/>
                    </a:lnTo>
                    <a:lnTo>
                      <a:pt x="48" y="0"/>
                    </a:lnTo>
                    <a:lnTo>
                      <a:pt x="50" y="0"/>
                    </a:lnTo>
                    <a:lnTo>
                      <a:pt x="50" y="4"/>
                    </a:lnTo>
                    <a:lnTo>
                      <a:pt x="50" y="14"/>
                    </a:lnTo>
                    <a:lnTo>
                      <a:pt x="50" y="14"/>
                    </a:lnTo>
                    <a:lnTo>
                      <a:pt x="62" y="16"/>
                    </a:lnTo>
                    <a:lnTo>
                      <a:pt x="70" y="18"/>
                    </a:lnTo>
                    <a:lnTo>
                      <a:pt x="80" y="22"/>
                    </a:lnTo>
                    <a:lnTo>
                      <a:pt x="80" y="22"/>
                    </a:lnTo>
                    <a:lnTo>
                      <a:pt x="82" y="24"/>
                    </a:lnTo>
                    <a:lnTo>
                      <a:pt x="84" y="28"/>
                    </a:lnTo>
                    <a:lnTo>
                      <a:pt x="84" y="28"/>
                    </a:lnTo>
                    <a:lnTo>
                      <a:pt x="84" y="30"/>
                    </a:lnTo>
                    <a:lnTo>
                      <a:pt x="76" y="44"/>
                    </a:lnTo>
                    <a:lnTo>
                      <a:pt x="76" y="44"/>
                    </a:lnTo>
                    <a:lnTo>
                      <a:pt x="76" y="44"/>
                    </a:lnTo>
                    <a:lnTo>
                      <a:pt x="74" y="46"/>
                    </a:lnTo>
                    <a:lnTo>
                      <a:pt x="74" y="46"/>
                    </a:lnTo>
                    <a:lnTo>
                      <a:pt x="70" y="44"/>
                    </a:lnTo>
                    <a:lnTo>
                      <a:pt x="70" y="44"/>
                    </a:lnTo>
                    <a:lnTo>
                      <a:pt x="62" y="40"/>
                    </a:lnTo>
                    <a:lnTo>
                      <a:pt x="50" y="36"/>
                    </a:lnTo>
                    <a:lnTo>
                      <a:pt x="50" y="76"/>
                    </a:lnTo>
                    <a:lnTo>
                      <a:pt x="54" y="78"/>
                    </a:lnTo>
                    <a:lnTo>
                      <a:pt x="54" y="78"/>
                    </a:lnTo>
                    <a:lnTo>
                      <a:pt x="66" y="86"/>
                    </a:lnTo>
                    <a:lnTo>
                      <a:pt x="78" y="94"/>
                    </a:lnTo>
                    <a:lnTo>
                      <a:pt x="82" y="100"/>
                    </a:lnTo>
                    <a:lnTo>
                      <a:pt x="84" y="106"/>
                    </a:lnTo>
                    <a:lnTo>
                      <a:pt x="86" y="112"/>
                    </a:lnTo>
                    <a:lnTo>
                      <a:pt x="88" y="120"/>
                    </a:lnTo>
                    <a:lnTo>
                      <a:pt x="88" y="120"/>
                    </a:lnTo>
                    <a:lnTo>
                      <a:pt x="88" y="128"/>
                    </a:lnTo>
                    <a:lnTo>
                      <a:pt x="86" y="136"/>
                    </a:lnTo>
                    <a:lnTo>
                      <a:pt x="82" y="142"/>
                    </a:lnTo>
                    <a:lnTo>
                      <a:pt x="78" y="148"/>
                    </a:lnTo>
                    <a:lnTo>
                      <a:pt x="72" y="152"/>
                    </a:lnTo>
                    <a:lnTo>
                      <a:pt x="66" y="158"/>
                    </a:lnTo>
                    <a:lnTo>
                      <a:pt x="58" y="160"/>
                    </a:lnTo>
                    <a:lnTo>
                      <a:pt x="50" y="162"/>
                    </a:lnTo>
                    <a:lnTo>
                      <a:pt x="50" y="172"/>
                    </a:lnTo>
                    <a:close/>
                    <a:moveTo>
                      <a:pt x="38" y="36"/>
                    </a:moveTo>
                    <a:lnTo>
                      <a:pt x="38" y="36"/>
                    </a:lnTo>
                    <a:lnTo>
                      <a:pt x="34" y="38"/>
                    </a:lnTo>
                    <a:lnTo>
                      <a:pt x="28" y="42"/>
                    </a:lnTo>
                    <a:lnTo>
                      <a:pt x="28" y="42"/>
                    </a:lnTo>
                    <a:lnTo>
                      <a:pt x="24" y="48"/>
                    </a:lnTo>
                    <a:lnTo>
                      <a:pt x="24" y="54"/>
                    </a:lnTo>
                    <a:lnTo>
                      <a:pt x="24" y="54"/>
                    </a:lnTo>
                    <a:lnTo>
                      <a:pt x="24" y="60"/>
                    </a:lnTo>
                    <a:lnTo>
                      <a:pt x="28" y="64"/>
                    </a:lnTo>
                    <a:lnTo>
                      <a:pt x="32" y="68"/>
                    </a:lnTo>
                    <a:lnTo>
                      <a:pt x="38" y="72"/>
                    </a:lnTo>
                    <a:lnTo>
                      <a:pt x="38" y="36"/>
                    </a:lnTo>
                    <a:close/>
                    <a:moveTo>
                      <a:pt x="48" y="138"/>
                    </a:moveTo>
                    <a:lnTo>
                      <a:pt x="48" y="138"/>
                    </a:lnTo>
                    <a:lnTo>
                      <a:pt x="52" y="138"/>
                    </a:lnTo>
                    <a:lnTo>
                      <a:pt x="58" y="134"/>
                    </a:lnTo>
                    <a:lnTo>
                      <a:pt x="62" y="130"/>
                    </a:lnTo>
                    <a:lnTo>
                      <a:pt x="64" y="122"/>
                    </a:lnTo>
                    <a:lnTo>
                      <a:pt x="64" y="122"/>
                    </a:lnTo>
                    <a:lnTo>
                      <a:pt x="62" y="114"/>
                    </a:lnTo>
                    <a:lnTo>
                      <a:pt x="58" y="108"/>
                    </a:lnTo>
                    <a:lnTo>
                      <a:pt x="52" y="104"/>
                    </a:lnTo>
                    <a:lnTo>
                      <a:pt x="50" y="102"/>
                    </a:lnTo>
                    <a:lnTo>
                      <a:pt x="48" y="102"/>
                    </a:lnTo>
                    <a:lnTo>
                      <a:pt x="48" y="1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83" name="Freeform 808">
                <a:extLst>
                  <a:ext uri="{FF2B5EF4-FFF2-40B4-BE49-F238E27FC236}">
                    <a16:creationId xmlns:a16="http://schemas.microsoft.com/office/drawing/2014/main" id="{DBC93050-3E6C-4023-B110-0D98C49DD2C4}"/>
                  </a:ext>
                </a:extLst>
              </p:cNvPr>
              <p:cNvSpPr>
                <a:spLocks noEditPoints="1"/>
              </p:cNvSpPr>
              <p:nvPr/>
            </p:nvSpPr>
            <p:spPr bwMode="auto">
              <a:xfrm>
                <a:off x="4764038" y="6260529"/>
                <a:ext cx="155575" cy="314325"/>
              </a:xfrm>
              <a:custGeom>
                <a:avLst/>
                <a:gdLst>
                  <a:gd name="T0" fmla="*/ 56 w 98"/>
                  <a:gd name="T1" fmla="*/ 194 h 198"/>
                  <a:gd name="T2" fmla="*/ 54 w 98"/>
                  <a:gd name="T3" fmla="*/ 198 h 198"/>
                  <a:gd name="T4" fmla="*/ 46 w 98"/>
                  <a:gd name="T5" fmla="*/ 198 h 198"/>
                  <a:gd name="T6" fmla="*/ 44 w 98"/>
                  <a:gd name="T7" fmla="*/ 198 h 198"/>
                  <a:gd name="T8" fmla="*/ 42 w 98"/>
                  <a:gd name="T9" fmla="*/ 194 h 198"/>
                  <a:gd name="T10" fmla="*/ 42 w 98"/>
                  <a:gd name="T11" fmla="*/ 184 h 198"/>
                  <a:gd name="T12" fmla="*/ 18 w 98"/>
                  <a:gd name="T13" fmla="*/ 180 h 198"/>
                  <a:gd name="T14" fmla="*/ 4 w 98"/>
                  <a:gd name="T15" fmla="*/ 174 h 198"/>
                  <a:gd name="T16" fmla="*/ 0 w 98"/>
                  <a:gd name="T17" fmla="*/ 170 h 198"/>
                  <a:gd name="T18" fmla="*/ 8 w 98"/>
                  <a:gd name="T19" fmla="*/ 148 h 198"/>
                  <a:gd name="T20" fmla="*/ 10 w 98"/>
                  <a:gd name="T21" fmla="*/ 146 h 198"/>
                  <a:gd name="T22" fmla="*/ 12 w 98"/>
                  <a:gd name="T23" fmla="*/ 148 h 198"/>
                  <a:gd name="T24" fmla="*/ 22 w 98"/>
                  <a:gd name="T25" fmla="*/ 152 h 198"/>
                  <a:gd name="T26" fmla="*/ 42 w 98"/>
                  <a:gd name="T27" fmla="*/ 158 h 198"/>
                  <a:gd name="T28" fmla="*/ 38 w 98"/>
                  <a:gd name="T29" fmla="*/ 108 h 198"/>
                  <a:gd name="T30" fmla="*/ 24 w 98"/>
                  <a:gd name="T31" fmla="*/ 102 h 198"/>
                  <a:gd name="T32" fmla="*/ 8 w 98"/>
                  <a:gd name="T33" fmla="*/ 88 h 198"/>
                  <a:gd name="T34" fmla="*/ 0 w 98"/>
                  <a:gd name="T35" fmla="*/ 74 h 198"/>
                  <a:gd name="T36" fmla="*/ 0 w 98"/>
                  <a:gd name="T37" fmla="*/ 62 h 198"/>
                  <a:gd name="T38" fmla="*/ 2 w 98"/>
                  <a:gd name="T39" fmla="*/ 46 h 198"/>
                  <a:gd name="T40" fmla="*/ 8 w 98"/>
                  <a:gd name="T41" fmla="*/ 34 h 198"/>
                  <a:gd name="T42" fmla="*/ 22 w 98"/>
                  <a:gd name="T43" fmla="*/ 22 h 198"/>
                  <a:gd name="T44" fmla="*/ 42 w 98"/>
                  <a:gd name="T45" fmla="*/ 16 h 198"/>
                  <a:gd name="T46" fmla="*/ 42 w 98"/>
                  <a:gd name="T47" fmla="*/ 6 h 198"/>
                  <a:gd name="T48" fmla="*/ 44 w 98"/>
                  <a:gd name="T49" fmla="*/ 0 h 198"/>
                  <a:gd name="T50" fmla="*/ 52 w 98"/>
                  <a:gd name="T51" fmla="*/ 0 h 198"/>
                  <a:gd name="T52" fmla="*/ 54 w 98"/>
                  <a:gd name="T53" fmla="*/ 0 h 198"/>
                  <a:gd name="T54" fmla="*/ 56 w 98"/>
                  <a:gd name="T55" fmla="*/ 6 h 198"/>
                  <a:gd name="T56" fmla="*/ 56 w 98"/>
                  <a:gd name="T57" fmla="*/ 16 h 198"/>
                  <a:gd name="T58" fmla="*/ 80 w 98"/>
                  <a:gd name="T59" fmla="*/ 20 h 198"/>
                  <a:gd name="T60" fmla="*/ 90 w 98"/>
                  <a:gd name="T61" fmla="*/ 26 h 198"/>
                  <a:gd name="T62" fmla="*/ 94 w 98"/>
                  <a:gd name="T63" fmla="*/ 32 h 198"/>
                  <a:gd name="T64" fmla="*/ 94 w 98"/>
                  <a:gd name="T65" fmla="*/ 34 h 198"/>
                  <a:gd name="T66" fmla="*/ 86 w 98"/>
                  <a:gd name="T67" fmla="*/ 50 h 198"/>
                  <a:gd name="T68" fmla="*/ 84 w 98"/>
                  <a:gd name="T69" fmla="*/ 52 h 198"/>
                  <a:gd name="T70" fmla="*/ 80 w 98"/>
                  <a:gd name="T71" fmla="*/ 50 h 198"/>
                  <a:gd name="T72" fmla="*/ 70 w 98"/>
                  <a:gd name="T73" fmla="*/ 46 h 198"/>
                  <a:gd name="T74" fmla="*/ 56 w 98"/>
                  <a:gd name="T75" fmla="*/ 86 h 198"/>
                  <a:gd name="T76" fmla="*/ 60 w 98"/>
                  <a:gd name="T77" fmla="*/ 88 h 198"/>
                  <a:gd name="T78" fmla="*/ 88 w 98"/>
                  <a:gd name="T79" fmla="*/ 106 h 198"/>
                  <a:gd name="T80" fmla="*/ 96 w 98"/>
                  <a:gd name="T81" fmla="*/ 120 h 198"/>
                  <a:gd name="T82" fmla="*/ 98 w 98"/>
                  <a:gd name="T83" fmla="*/ 136 h 198"/>
                  <a:gd name="T84" fmla="*/ 98 w 98"/>
                  <a:gd name="T85" fmla="*/ 144 h 198"/>
                  <a:gd name="T86" fmla="*/ 92 w 98"/>
                  <a:gd name="T87" fmla="*/ 160 h 198"/>
                  <a:gd name="T88" fmla="*/ 82 w 98"/>
                  <a:gd name="T89" fmla="*/ 172 h 198"/>
                  <a:gd name="T90" fmla="*/ 66 w 98"/>
                  <a:gd name="T91" fmla="*/ 180 h 198"/>
                  <a:gd name="T92" fmla="*/ 56 w 98"/>
                  <a:gd name="T93" fmla="*/ 194 h 198"/>
                  <a:gd name="T94" fmla="*/ 44 w 98"/>
                  <a:gd name="T95" fmla="*/ 42 h 198"/>
                  <a:gd name="T96" fmla="*/ 32 w 98"/>
                  <a:gd name="T97" fmla="*/ 48 h 198"/>
                  <a:gd name="T98" fmla="*/ 28 w 98"/>
                  <a:gd name="T99" fmla="*/ 54 h 198"/>
                  <a:gd name="T100" fmla="*/ 26 w 98"/>
                  <a:gd name="T101" fmla="*/ 62 h 198"/>
                  <a:gd name="T102" fmla="*/ 32 w 98"/>
                  <a:gd name="T103" fmla="*/ 74 h 198"/>
                  <a:gd name="T104" fmla="*/ 44 w 98"/>
                  <a:gd name="T105" fmla="*/ 82 h 198"/>
                  <a:gd name="T106" fmla="*/ 54 w 98"/>
                  <a:gd name="T107" fmla="*/ 158 h 198"/>
                  <a:gd name="T108" fmla="*/ 60 w 98"/>
                  <a:gd name="T109" fmla="*/ 156 h 198"/>
                  <a:gd name="T110" fmla="*/ 70 w 98"/>
                  <a:gd name="T111" fmla="*/ 146 h 198"/>
                  <a:gd name="T112" fmla="*/ 72 w 98"/>
                  <a:gd name="T113" fmla="*/ 138 h 198"/>
                  <a:gd name="T114" fmla="*/ 66 w 98"/>
                  <a:gd name="T115" fmla="*/ 122 h 198"/>
                  <a:gd name="T116" fmla="*/ 56 w 98"/>
                  <a:gd name="T117" fmla="*/ 116 h 198"/>
                  <a:gd name="T118" fmla="*/ 54 w 98"/>
                  <a:gd name="T119" fmla="*/ 15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8" h="198">
                    <a:moveTo>
                      <a:pt x="56" y="194"/>
                    </a:moveTo>
                    <a:lnTo>
                      <a:pt x="56" y="194"/>
                    </a:lnTo>
                    <a:lnTo>
                      <a:pt x="56" y="198"/>
                    </a:lnTo>
                    <a:lnTo>
                      <a:pt x="54" y="198"/>
                    </a:lnTo>
                    <a:lnTo>
                      <a:pt x="52" y="198"/>
                    </a:lnTo>
                    <a:lnTo>
                      <a:pt x="46" y="198"/>
                    </a:lnTo>
                    <a:lnTo>
                      <a:pt x="46" y="198"/>
                    </a:lnTo>
                    <a:lnTo>
                      <a:pt x="44" y="198"/>
                    </a:lnTo>
                    <a:lnTo>
                      <a:pt x="42" y="198"/>
                    </a:lnTo>
                    <a:lnTo>
                      <a:pt x="42" y="194"/>
                    </a:lnTo>
                    <a:lnTo>
                      <a:pt x="42" y="184"/>
                    </a:lnTo>
                    <a:lnTo>
                      <a:pt x="42" y="184"/>
                    </a:lnTo>
                    <a:lnTo>
                      <a:pt x="30" y="182"/>
                    </a:lnTo>
                    <a:lnTo>
                      <a:pt x="18" y="180"/>
                    </a:lnTo>
                    <a:lnTo>
                      <a:pt x="4" y="174"/>
                    </a:lnTo>
                    <a:lnTo>
                      <a:pt x="4" y="174"/>
                    </a:lnTo>
                    <a:lnTo>
                      <a:pt x="0" y="172"/>
                    </a:lnTo>
                    <a:lnTo>
                      <a:pt x="0" y="170"/>
                    </a:lnTo>
                    <a:lnTo>
                      <a:pt x="0" y="168"/>
                    </a:lnTo>
                    <a:lnTo>
                      <a:pt x="8" y="148"/>
                    </a:lnTo>
                    <a:lnTo>
                      <a:pt x="8" y="148"/>
                    </a:lnTo>
                    <a:lnTo>
                      <a:pt x="10" y="146"/>
                    </a:lnTo>
                    <a:lnTo>
                      <a:pt x="10" y="146"/>
                    </a:lnTo>
                    <a:lnTo>
                      <a:pt x="12" y="148"/>
                    </a:lnTo>
                    <a:lnTo>
                      <a:pt x="12" y="148"/>
                    </a:lnTo>
                    <a:lnTo>
                      <a:pt x="22" y="152"/>
                    </a:lnTo>
                    <a:lnTo>
                      <a:pt x="32" y="156"/>
                    </a:lnTo>
                    <a:lnTo>
                      <a:pt x="42" y="158"/>
                    </a:lnTo>
                    <a:lnTo>
                      <a:pt x="42" y="110"/>
                    </a:lnTo>
                    <a:lnTo>
                      <a:pt x="38" y="108"/>
                    </a:lnTo>
                    <a:lnTo>
                      <a:pt x="38" y="108"/>
                    </a:lnTo>
                    <a:lnTo>
                      <a:pt x="24" y="102"/>
                    </a:lnTo>
                    <a:lnTo>
                      <a:pt x="12" y="94"/>
                    </a:lnTo>
                    <a:lnTo>
                      <a:pt x="8" y="88"/>
                    </a:lnTo>
                    <a:lnTo>
                      <a:pt x="2" y="82"/>
                    </a:lnTo>
                    <a:lnTo>
                      <a:pt x="0" y="74"/>
                    </a:lnTo>
                    <a:lnTo>
                      <a:pt x="0" y="62"/>
                    </a:lnTo>
                    <a:lnTo>
                      <a:pt x="0" y="62"/>
                    </a:lnTo>
                    <a:lnTo>
                      <a:pt x="0" y="54"/>
                    </a:lnTo>
                    <a:lnTo>
                      <a:pt x="2" y="46"/>
                    </a:lnTo>
                    <a:lnTo>
                      <a:pt x="8" y="34"/>
                    </a:lnTo>
                    <a:lnTo>
                      <a:pt x="8" y="34"/>
                    </a:lnTo>
                    <a:lnTo>
                      <a:pt x="16" y="28"/>
                    </a:lnTo>
                    <a:lnTo>
                      <a:pt x="22" y="22"/>
                    </a:lnTo>
                    <a:lnTo>
                      <a:pt x="32" y="20"/>
                    </a:lnTo>
                    <a:lnTo>
                      <a:pt x="42" y="16"/>
                    </a:lnTo>
                    <a:lnTo>
                      <a:pt x="42" y="6"/>
                    </a:lnTo>
                    <a:lnTo>
                      <a:pt x="42" y="6"/>
                    </a:lnTo>
                    <a:lnTo>
                      <a:pt x="42" y="2"/>
                    </a:lnTo>
                    <a:lnTo>
                      <a:pt x="44" y="0"/>
                    </a:lnTo>
                    <a:lnTo>
                      <a:pt x="46" y="0"/>
                    </a:lnTo>
                    <a:lnTo>
                      <a:pt x="52" y="0"/>
                    </a:lnTo>
                    <a:lnTo>
                      <a:pt x="52" y="0"/>
                    </a:lnTo>
                    <a:lnTo>
                      <a:pt x="54" y="0"/>
                    </a:lnTo>
                    <a:lnTo>
                      <a:pt x="56" y="2"/>
                    </a:lnTo>
                    <a:lnTo>
                      <a:pt x="56" y="6"/>
                    </a:lnTo>
                    <a:lnTo>
                      <a:pt x="56" y="16"/>
                    </a:lnTo>
                    <a:lnTo>
                      <a:pt x="56" y="16"/>
                    </a:lnTo>
                    <a:lnTo>
                      <a:pt x="70" y="18"/>
                    </a:lnTo>
                    <a:lnTo>
                      <a:pt x="80" y="20"/>
                    </a:lnTo>
                    <a:lnTo>
                      <a:pt x="90" y="26"/>
                    </a:lnTo>
                    <a:lnTo>
                      <a:pt x="90" y="26"/>
                    </a:lnTo>
                    <a:lnTo>
                      <a:pt x="94" y="28"/>
                    </a:lnTo>
                    <a:lnTo>
                      <a:pt x="94" y="32"/>
                    </a:lnTo>
                    <a:lnTo>
                      <a:pt x="94" y="32"/>
                    </a:lnTo>
                    <a:lnTo>
                      <a:pt x="94" y="34"/>
                    </a:lnTo>
                    <a:lnTo>
                      <a:pt x="86" y="50"/>
                    </a:lnTo>
                    <a:lnTo>
                      <a:pt x="86" y="50"/>
                    </a:lnTo>
                    <a:lnTo>
                      <a:pt x="86" y="52"/>
                    </a:lnTo>
                    <a:lnTo>
                      <a:pt x="84" y="52"/>
                    </a:lnTo>
                    <a:lnTo>
                      <a:pt x="84" y="52"/>
                    </a:lnTo>
                    <a:lnTo>
                      <a:pt x="80" y="50"/>
                    </a:lnTo>
                    <a:lnTo>
                      <a:pt x="80" y="50"/>
                    </a:lnTo>
                    <a:lnTo>
                      <a:pt x="70" y="46"/>
                    </a:lnTo>
                    <a:lnTo>
                      <a:pt x="56" y="42"/>
                    </a:lnTo>
                    <a:lnTo>
                      <a:pt x="56" y="86"/>
                    </a:lnTo>
                    <a:lnTo>
                      <a:pt x="60" y="88"/>
                    </a:lnTo>
                    <a:lnTo>
                      <a:pt x="60" y="88"/>
                    </a:lnTo>
                    <a:lnTo>
                      <a:pt x="76" y="96"/>
                    </a:lnTo>
                    <a:lnTo>
                      <a:pt x="88" y="106"/>
                    </a:lnTo>
                    <a:lnTo>
                      <a:pt x="92" y="112"/>
                    </a:lnTo>
                    <a:lnTo>
                      <a:pt x="96" y="120"/>
                    </a:lnTo>
                    <a:lnTo>
                      <a:pt x="98" y="126"/>
                    </a:lnTo>
                    <a:lnTo>
                      <a:pt x="98" y="136"/>
                    </a:lnTo>
                    <a:lnTo>
                      <a:pt x="98" y="136"/>
                    </a:lnTo>
                    <a:lnTo>
                      <a:pt x="98" y="144"/>
                    </a:lnTo>
                    <a:lnTo>
                      <a:pt x="96" y="152"/>
                    </a:lnTo>
                    <a:lnTo>
                      <a:pt x="92" y="160"/>
                    </a:lnTo>
                    <a:lnTo>
                      <a:pt x="88" y="166"/>
                    </a:lnTo>
                    <a:lnTo>
                      <a:pt x="82" y="172"/>
                    </a:lnTo>
                    <a:lnTo>
                      <a:pt x="74" y="178"/>
                    </a:lnTo>
                    <a:lnTo>
                      <a:pt x="66" y="180"/>
                    </a:lnTo>
                    <a:lnTo>
                      <a:pt x="56" y="184"/>
                    </a:lnTo>
                    <a:lnTo>
                      <a:pt x="56" y="194"/>
                    </a:lnTo>
                    <a:close/>
                    <a:moveTo>
                      <a:pt x="44" y="42"/>
                    </a:moveTo>
                    <a:lnTo>
                      <a:pt x="44" y="42"/>
                    </a:lnTo>
                    <a:lnTo>
                      <a:pt x="38" y="44"/>
                    </a:lnTo>
                    <a:lnTo>
                      <a:pt x="32" y="48"/>
                    </a:lnTo>
                    <a:lnTo>
                      <a:pt x="32" y="48"/>
                    </a:lnTo>
                    <a:lnTo>
                      <a:pt x="28" y="54"/>
                    </a:lnTo>
                    <a:lnTo>
                      <a:pt x="26" y="62"/>
                    </a:lnTo>
                    <a:lnTo>
                      <a:pt x="26" y="62"/>
                    </a:lnTo>
                    <a:lnTo>
                      <a:pt x="28" y="68"/>
                    </a:lnTo>
                    <a:lnTo>
                      <a:pt x="32" y="74"/>
                    </a:lnTo>
                    <a:lnTo>
                      <a:pt x="36" y="78"/>
                    </a:lnTo>
                    <a:lnTo>
                      <a:pt x="44" y="82"/>
                    </a:lnTo>
                    <a:lnTo>
                      <a:pt x="44" y="42"/>
                    </a:lnTo>
                    <a:close/>
                    <a:moveTo>
                      <a:pt x="54" y="158"/>
                    </a:moveTo>
                    <a:lnTo>
                      <a:pt x="54" y="158"/>
                    </a:lnTo>
                    <a:lnTo>
                      <a:pt x="60" y="156"/>
                    </a:lnTo>
                    <a:lnTo>
                      <a:pt x="64" y="152"/>
                    </a:lnTo>
                    <a:lnTo>
                      <a:pt x="70" y="146"/>
                    </a:lnTo>
                    <a:lnTo>
                      <a:pt x="72" y="138"/>
                    </a:lnTo>
                    <a:lnTo>
                      <a:pt x="72" y="138"/>
                    </a:lnTo>
                    <a:lnTo>
                      <a:pt x="70" y="128"/>
                    </a:lnTo>
                    <a:lnTo>
                      <a:pt x="66" y="122"/>
                    </a:lnTo>
                    <a:lnTo>
                      <a:pt x="60" y="118"/>
                    </a:lnTo>
                    <a:lnTo>
                      <a:pt x="56" y="116"/>
                    </a:lnTo>
                    <a:lnTo>
                      <a:pt x="54" y="116"/>
                    </a:lnTo>
                    <a:lnTo>
                      <a:pt x="54" y="15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484" name="Group 1483">
            <a:extLst>
              <a:ext uri="{FF2B5EF4-FFF2-40B4-BE49-F238E27FC236}">
                <a16:creationId xmlns:a16="http://schemas.microsoft.com/office/drawing/2014/main" id="{8A8FE655-6B88-4702-8F48-C782ADFB2BAA}"/>
              </a:ext>
            </a:extLst>
          </p:cNvPr>
          <p:cNvGrpSpPr/>
          <p:nvPr/>
        </p:nvGrpSpPr>
        <p:grpSpPr>
          <a:xfrm>
            <a:off x="9762390" y="3943380"/>
            <a:ext cx="612775" cy="612775"/>
            <a:chOff x="8607761" y="4581723"/>
            <a:chExt cx="612775" cy="612775"/>
          </a:xfrm>
        </p:grpSpPr>
        <p:sp>
          <p:nvSpPr>
            <p:cNvPr id="1485" name="Oval 1484">
              <a:extLst>
                <a:ext uri="{FF2B5EF4-FFF2-40B4-BE49-F238E27FC236}">
                  <a16:creationId xmlns:a16="http://schemas.microsoft.com/office/drawing/2014/main" id="{7D6CBF0E-B448-4A36-9C5D-D603ADD97AF6}"/>
                </a:ext>
              </a:extLst>
            </p:cNvPr>
            <p:cNvSpPr/>
            <p:nvPr/>
          </p:nvSpPr>
          <p:spPr bwMode="ltGray">
            <a:xfrm>
              <a:off x="8607761"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486" name="Freeform 19">
              <a:extLst>
                <a:ext uri="{FF2B5EF4-FFF2-40B4-BE49-F238E27FC236}">
                  <a16:creationId xmlns:a16="http://schemas.microsoft.com/office/drawing/2014/main" id="{C4524CE3-A10B-4BA5-AE0A-E06FC8108061}"/>
                </a:ext>
              </a:extLst>
            </p:cNvPr>
            <p:cNvSpPr>
              <a:spLocks noEditPoints="1"/>
            </p:cNvSpPr>
            <p:nvPr/>
          </p:nvSpPr>
          <p:spPr bwMode="auto">
            <a:xfrm>
              <a:off x="8705968" y="4694382"/>
              <a:ext cx="422368" cy="375302"/>
            </a:xfrm>
            <a:custGeom>
              <a:avLst/>
              <a:gdLst>
                <a:gd name="T0" fmla="*/ 3908 w 4164"/>
                <a:gd name="T1" fmla="*/ 574 h 3700"/>
                <a:gd name="T2" fmla="*/ 4056 w 4164"/>
                <a:gd name="T3" fmla="*/ 408 h 3700"/>
                <a:gd name="T4" fmla="*/ 3894 w 4164"/>
                <a:gd name="T5" fmla="*/ 268 h 3700"/>
                <a:gd name="T6" fmla="*/ 3686 w 4164"/>
                <a:gd name="T7" fmla="*/ 248 h 3700"/>
                <a:gd name="T8" fmla="*/ 3104 w 4164"/>
                <a:gd name="T9" fmla="*/ 4 h 3700"/>
                <a:gd name="T10" fmla="*/ 2318 w 4164"/>
                <a:gd name="T11" fmla="*/ 350 h 3700"/>
                <a:gd name="T12" fmla="*/ 1584 w 4164"/>
                <a:gd name="T13" fmla="*/ 678 h 3700"/>
                <a:gd name="T14" fmla="*/ 978 w 4164"/>
                <a:gd name="T15" fmla="*/ 1338 h 3700"/>
                <a:gd name="T16" fmla="*/ 414 w 4164"/>
                <a:gd name="T17" fmla="*/ 1744 h 3700"/>
                <a:gd name="T18" fmla="*/ 204 w 4164"/>
                <a:gd name="T19" fmla="*/ 2126 h 3700"/>
                <a:gd name="T20" fmla="*/ 12 w 4164"/>
                <a:gd name="T21" fmla="*/ 2410 h 3700"/>
                <a:gd name="T22" fmla="*/ 192 w 4164"/>
                <a:gd name="T23" fmla="*/ 2876 h 3700"/>
                <a:gd name="T24" fmla="*/ 122 w 4164"/>
                <a:gd name="T25" fmla="*/ 3320 h 3700"/>
                <a:gd name="T26" fmla="*/ 442 w 4164"/>
                <a:gd name="T27" fmla="*/ 3674 h 3700"/>
                <a:gd name="T28" fmla="*/ 862 w 4164"/>
                <a:gd name="T29" fmla="*/ 3682 h 3700"/>
                <a:gd name="T30" fmla="*/ 714 w 4164"/>
                <a:gd name="T31" fmla="*/ 3356 h 3700"/>
                <a:gd name="T32" fmla="*/ 1080 w 4164"/>
                <a:gd name="T33" fmla="*/ 3182 h 3700"/>
                <a:gd name="T34" fmla="*/ 1496 w 4164"/>
                <a:gd name="T35" fmla="*/ 2766 h 3700"/>
                <a:gd name="T36" fmla="*/ 1648 w 4164"/>
                <a:gd name="T37" fmla="*/ 2704 h 3700"/>
                <a:gd name="T38" fmla="*/ 1198 w 4164"/>
                <a:gd name="T39" fmla="*/ 3218 h 3700"/>
                <a:gd name="T40" fmla="*/ 1202 w 4164"/>
                <a:gd name="T41" fmla="*/ 3470 h 3700"/>
                <a:gd name="T42" fmla="*/ 1770 w 4164"/>
                <a:gd name="T43" fmla="*/ 3564 h 3700"/>
                <a:gd name="T44" fmla="*/ 1772 w 4164"/>
                <a:gd name="T45" fmla="*/ 3316 h 3700"/>
                <a:gd name="T46" fmla="*/ 1644 w 4164"/>
                <a:gd name="T47" fmla="*/ 3126 h 3700"/>
                <a:gd name="T48" fmla="*/ 1924 w 4164"/>
                <a:gd name="T49" fmla="*/ 2692 h 3700"/>
                <a:gd name="T50" fmla="*/ 1440 w 4164"/>
                <a:gd name="T51" fmla="*/ 2180 h 3700"/>
                <a:gd name="T52" fmla="*/ 1422 w 4164"/>
                <a:gd name="T53" fmla="*/ 1774 h 3700"/>
                <a:gd name="T54" fmla="*/ 1504 w 4164"/>
                <a:gd name="T55" fmla="*/ 2034 h 3700"/>
                <a:gd name="T56" fmla="*/ 1968 w 4164"/>
                <a:gd name="T57" fmla="*/ 2536 h 3700"/>
                <a:gd name="T58" fmla="*/ 2330 w 4164"/>
                <a:gd name="T59" fmla="*/ 3222 h 3700"/>
                <a:gd name="T60" fmla="*/ 2718 w 4164"/>
                <a:gd name="T61" fmla="*/ 3490 h 3700"/>
                <a:gd name="T62" fmla="*/ 3136 w 4164"/>
                <a:gd name="T63" fmla="*/ 3466 h 3700"/>
                <a:gd name="T64" fmla="*/ 3196 w 4164"/>
                <a:gd name="T65" fmla="*/ 3268 h 3700"/>
                <a:gd name="T66" fmla="*/ 2976 w 4164"/>
                <a:gd name="T67" fmla="*/ 2984 h 3700"/>
                <a:gd name="T68" fmla="*/ 2854 w 4164"/>
                <a:gd name="T69" fmla="*/ 2524 h 3700"/>
                <a:gd name="T70" fmla="*/ 2672 w 4164"/>
                <a:gd name="T71" fmla="*/ 1890 h 3700"/>
                <a:gd name="T72" fmla="*/ 2728 w 4164"/>
                <a:gd name="T73" fmla="*/ 1654 h 3700"/>
                <a:gd name="T74" fmla="*/ 2764 w 4164"/>
                <a:gd name="T75" fmla="*/ 1968 h 3700"/>
                <a:gd name="T76" fmla="*/ 3298 w 4164"/>
                <a:gd name="T77" fmla="*/ 2280 h 3700"/>
                <a:gd name="T78" fmla="*/ 3098 w 4164"/>
                <a:gd name="T79" fmla="*/ 2408 h 3700"/>
                <a:gd name="T80" fmla="*/ 3120 w 4164"/>
                <a:gd name="T81" fmla="*/ 2736 h 3700"/>
                <a:gd name="T82" fmla="*/ 3406 w 4164"/>
                <a:gd name="T83" fmla="*/ 2850 h 3700"/>
                <a:gd name="T84" fmla="*/ 3922 w 4164"/>
                <a:gd name="T85" fmla="*/ 2564 h 3700"/>
                <a:gd name="T86" fmla="*/ 3928 w 4164"/>
                <a:gd name="T87" fmla="*/ 2134 h 3700"/>
                <a:gd name="T88" fmla="*/ 3278 w 4164"/>
                <a:gd name="T89" fmla="*/ 1632 h 3700"/>
                <a:gd name="T90" fmla="*/ 3330 w 4164"/>
                <a:gd name="T91" fmla="*/ 1496 h 3700"/>
                <a:gd name="T92" fmla="*/ 3644 w 4164"/>
                <a:gd name="T93" fmla="*/ 1756 h 3700"/>
                <a:gd name="T94" fmla="*/ 3946 w 4164"/>
                <a:gd name="T95" fmla="*/ 1646 h 3700"/>
                <a:gd name="T96" fmla="*/ 4156 w 4164"/>
                <a:gd name="T97" fmla="*/ 1418 h 3700"/>
                <a:gd name="T98" fmla="*/ 4002 w 4164"/>
                <a:gd name="T99" fmla="*/ 1070 h 3700"/>
                <a:gd name="T100" fmla="*/ 3094 w 4164"/>
                <a:gd name="T101" fmla="*/ 582 h 3700"/>
                <a:gd name="T102" fmla="*/ 3068 w 4164"/>
                <a:gd name="T103" fmla="*/ 376 h 3700"/>
                <a:gd name="T104" fmla="*/ 3212 w 4164"/>
                <a:gd name="T105" fmla="*/ 294 h 3700"/>
                <a:gd name="T106" fmla="*/ 3362 w 4164"/>
                <a:gd name="T107" fmla="*/ 538 h 3700"/>
                <a:gd name="T108" fmla="*/ 3410 w 4164"/>
                <a:gd name="T109" fmla="*/ 938 h 3700"/>
                <a:gd name="T110" fmla="*/ 3418 w 4164"/>
                <a:gd name="T111" fmla="*/ 758 h 3700"/>
                <a:gd name="T112" fmla="*/ 3480 w 4164"/>
                <a:gd name="T113" fmla="*/ 988 h 3700"/>
                <a:gd name="T114" fmla="*/ 3938 w 4164"/>
                <a:gd name="T115" fmla="*/ 1356 h 3700"/>
                <a:gd name="T116" fmla="*/ 3846 w 4164"/>
                <a:gd name="T117" fmla="*/ 1636 h 3700"/>
                <a:gd name="T118" fmla="*/ 3586 w 4164"/>
                <a:gd name="T119" fmla="*/ 1588 h 3700"/>
                <a:gd name="T120" fmla="*/ 3598 w 4164"/>
                <a:gd name="T121" fmla="*/ 1218 h 3700"/>
                <a:gd name="T122" fmla="*/ 3844 w 4164"/>
                <a:gd name="T123" fmla="*/ 1042 h 3700"/>
                <a:gd name="T124" fmla="*/ 4058 w 4164"/>
                <a:gd name="T125" fmla="*/ 1316 h 3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64" h="3700">
                  <a:moveTo>
                    <a:pt x="3954" y="1002"/>
                  </a:moveTo>
                  <a:lnTo>
                    <a:pt x="3954" y="1002"/>
                  </a:lnTo>
                  <a:lnTo>
                    <a:pt x="3950" y="958"/>
                  </a:lnTo>
                  <a:lnTo>
                    <a:pt x="3950" y="918"/>
                  </a:lnTo>
                  <a:lnTo>
                    <a:pt x="3952" y="880"/>
                  </a:lnTo>
                  <a:lnTo>
                    <a:pt x="3956" y="846"/>
                  </a:lnTo>
                  <a:lnTo>
                    <a:pt x="3960" y="810"/>
                  </a:lnTo>
                  <a:lnTo>
                    <a:pt x="3960" y="774"/>
                  </a:lnTo>
                  <a:lnTo>
                    <a:pt x="3958" y="736"/>
                  </a:lnTo>
                  <a:lnTo>
                    <a:pt x="3956" y="716"/>
                  </a:lnTo>
                  <a:lnTo>
                    <a:pt x="3952" y="694"/>
                  </a:lnTo>
                  <a:lnTo>
                    <a:pt x="3952" y="694"/>
                  </a:lnTo>
                  <a:lnTo>
                    <a:pt x="3930" y="632"/>
                  </a:lnTo>
                  <a:lnTo>
                    <a:pt x="3908" y="574"/>
                  </a:lnTo>
                  <a:lnTo>
                    <a:pt x="3908" y="574"/>
                  </a:lnTo>
                  <a:lnTo>
                    <a:pt x="3918" y="588"/>
                  </a:lnTo>
                  <a:lnTo>
                    <a:pt x="3918" y="588"/>
                  </a:lnTo>
                  <a:lnTo>
                    <a:pt x="3928" y="582"/>
                  </a:lnTo>
                  <a:lnTo>
                    <a:pt x="3954" y="564"/>
                  </a:lnTo>
                  <a:lnTo>
                    <a:pt x="3986" y="538"/>
                  </a:lnTo>
                  <a:lnTo>
                    <a:pt x="4002" y="522"/>
                  </a:lnTo>
                  <a:lnTo>
                    <a:pt x="4018" y="504"/>
                  </a:lnTo>
                  <a:lnTo>
                    <a:pt x="4034" y="486"/>
                  </a:lnTo>
                  <a:lnTo>
                    <a:pt x="4044" y="464"/>
                  </a:lnTo>
                  <a:lnTo>
                    <a:pt x="4052" y="442"/>
                  </a:lnTo>
                  <a:lnTo>
                    <a:pt x="4054" y="430"/>
                  </a:lnTo>
                  <a:lnTo>
                    <a:pt x="4056" y="420"/>
                  </a:lnTo>
                  <a:lnTo>
                    <a:pt x="4056" y="408"/>
                  </a:lnTo>
                  <a:lnTo>
                    <a:pt x="4054" y="396"/>
                  </a:lnTo>
                  <a:lnTo>
                    <a:pt x="4050" y="384"/>
                  </a:lnTo>
                  <a:lnTo>
                    <a:pt x="4044" y="372"/>
                  </a:lnTo>
                  <a:lnTo>
                    <a:pt x="4038" y="360"/>
                  </a:lnTo>
                  <a:lnTo>
                    <a:pt x="4030" y="346"/>
                  </a:lnTo>
                  <a:lnTo>
                    <a:pt x="4018" y="334"/>
                  </a:lnTo>
                  <a:lnTo>
                    <a:pt x="4004" y="322"/>
                  </a:lnTo>
                  <a:lnTo>
                    <a:pt x="4004" y="322"/>
                  </a:lnTo>
                  <a:lnTo>
                    <a:pt x="3984" y="306"/>
                  </a:lnTo>
                  <a:lnTo>
                    <a:pt x="3964" y="292"/>
                  </a:lnTo>
                  <a:lnTo>
                    <a:pt x="3946" y="282"/>
                  </a:lnTo>
                  <a:lnTo>
                    <a:pt x="3928" y="274"/>
                  </a:lnTo>
                  <a:lnTo>
                    <a:pt x="3910" y="270"/>
                  </a:lnTo>
                  <a:lnTo>
                    <a:pt x="3894" y="268"/>
                  </a:lnTo>
                  <a:lnTo>
                    <a:pt x="3878" y="270"/>
                  </a:lnTo>
                  <a:lnTo>
                    <a:pt x="3864" y="272"/>
                  </a:lnTo>
                  <a:lnTo>
                    <a:pt x="3850" y="276"/>
                  </a:lnTo>
                  <a:lnTo>
                    <a:pt x="3838" y="284"/>
                  </a:lnTo>
                  <a:lnTo>
                    <a:pt x="3824" y="292"/>
                  </a:lnTo>
                  <a:lnTo>
                    <a:pt x="3814" y="300"/>
                  </a:lnTo>
                  <a:lnTo>
                    <a:pt x="3802" y="312"/>
                  </a:lnTo>
                  <a:lnTo>
                    <a:pt x="3794" y="322"/>
                  </a:lnTo>
                  <a:lnTo>
                    <a:pt x="3776" y="346"/>
                  </a:lnTo>
                  <a:lnTo>
                    <a:pt x="3776" y="346"/>
                  </a:lnTo>
                  <a:lnTo>
                    <a:pt x="3754" y="320"/>
                  </a:lnTo>
                  <a:lnTo>
                    <a:pt x="3732" y="296"/>
                  </a:lnTo>
                  <a:lnTo>
                    <a:pt x="3710" y="272"/>
                  </a:lnTo>
                  <a:lnTo>
                    <a:pt x="3686" y="248"/>
                  </a:lnTo>
                  <a:lnTo>
                    <a:pt x="3640" y="208"/>
                  </a:lnTo>
                  <a:lnTo>
                    <a:pt x="3592" y="172"/>
                  </a:lnTo>
                  <a:lnTo>
                    <a:pt x="3544" y="140"/>
                  </a:lnTo>
                  <a:lnTo>
                    <a:pt x="3496" y="112"/>
                  </a:lnTo>
                  <a:lnTo>
                    <a:pt x="3448" y="90"/>
                  </a:lnTo>
                  <a:lnTo>
                    <a:pt x="3402" y="70"/>
                  </a:lnTo>
                  <a:lnTo>
                    <a:pt x="3356" y="54"/>
                  </a:lnTo>
                  <a:lnTo>
                    <a:pt x="3312" y="40"/>
                  </a:lnTo>
                  <a:lnTo>
                    <a:pt x="3268" y="28"/>
                  </a:lnTo>
                  <a:lnTo>
                    <a:pt x="3230" y="20"/>
                  </a:lnTo>
                  <a:lnTo>
                    <a:pt x="3192" y="14"/>
                  </a:lnTo>
                  <a:lnTo>
                    <a:pt x="3158" y="10"/>
                  </a:lnTo>
                  <a:lnTo>
                    <a:pt x="3104" y="4"/>
                  </a:lnTo>
                  <a:lnTo>
                    <a:pt x="3104" y="4"/>
                  </a:lnTo>
                  <a:lnTo>
                    <a:pt x="3040" y="0"/>
                  </a:lnTo>
                  <a:lnTo>
                    <a:pt x="2980" y="0"/>
                  </a:lnTo>
                  <a:lnTo>
                    <a:pt x="2922" y="6"/>
                  </a:lnTo>
                  <a:lnTo>
                    <a:pt x="2866" y="14"/>
                  </a:lnTo>
                  <a:lnTo>
                    <a:pt x="2810" y="28"/>
                  </a:lnTo>
                  <a:lnTo>
                    <a:pt x="2756" y="46"/>
                  </a:lnTo>
                  <a:lnTo>
                    <a:pt x="2704" y="68"/>
                  </a:lnTo>
                  <a:lnTo>
                    <a:pt x="2650" y="96"/>
                  </a:lnTo>
                  <a:lnTo>
                    <a:pt x="2598" y="128"/>
                  </a:lnTo>
                  <a:lnTo>
                    <a:pt x="2544" y="162"/>
                  </a:lnTo>
                  <a:lnTo>
                    <a:pt x="2490" y="204"/>
                  </a:lnTo>
                  <a:lnTo>
                    <a:pt x="2434" y="248"/>
                  </a:lnTo>
                  <a:lnTo>
                    <a:pt x="2378" y="296"/>
                  </a:lnTo>
                  <a:lnTo>
                    <a:pt x="2318" y="350"/>
                  </a:lnTo>
                  <a:lnTo>
                    <a:pt x="2256" y="408"/>
                  </a:lnTo>
                  <a:lnTo>
                    <a:pt x="2192" y="470"/>
                  </a:lnTo>
                  <a:lnTo>
                    <a:pt x="2192" y="470"/>
                  </a:lnTo>
                  <a:lnTo>
                    <a:pt x="2090" y="490"/>
                  </a:lnTo>
                  <a:lnTo>
                    <a:pt x="1994" y="512"/>
                  </a:lnTo>
                  <a:lnTo>
                    <a:pt x="1902" y="536"/>
                  </a:lnTo>
                  <a:lnTo>
                    <a:pt x="1860" y="550"/>
                  </a:lnTo>
                  <a:lnTo>
                    <a:pt x="1816" y="566"/>
                  </a:lnTo>
                  <a:lnTo>
                    <a:pt x="1776" y="582"/>
                  </a:lnTo>
                  <a:lnTo>
                    <a:pt x="1736" y="598"/>
                  </a:lnTo>
                  <a:lnTo>
                    <a:pt x="1696" y="616"/>
                  </a:lnTo>
                  <a:lnTo>
                    <a:pt x="1658" y="636"/>
                  </a:lnTo>
                  <a:lnTo>
                    <a:pt x="1620" y="656"/>
                  </a:lnTo>
                  <a:lnTo>
                    <a:pt x="1584" y="678"/>
                  </a:lnTo>
                  <a:lnTo>
                    <a:pt x="1548" y="702"/>
                  </a:lnTo>
                  <a:lnTo>
                    <a:pt x="1512" y="726"/>
                  </a:lnTo>
                  <a:lnTo>
                    <a:pt x="1478" y="752"/>
                  </a:lnTo>
                  <a:lnTo>
                    <a:pt x="1444" y="778"/>
                  </a:lnTo>
                  <a:lnTo>
                    <a:pt x="1410" y="808"/>
                  </a:lnTo>
                  <a:lnTo>
                    <a:pt x="1376" y="838"/>
                  </a:lnTo>
                  <a:lnTo>
                    <a:pt x="1344" y="870"/>
                  </a:lnTo>
                  <a:lnTo>
                    <a:pt x="1310" y="904"/>
                  </a:lnTo>
                  <a:lnTo>
                    <a:pt x="1278" y="938"/>
                  </a:lnTo>
                  <a:lnTo>
                    <a:pt x="1244" y="976"/>
                  </a:lnTo>
                  <a:lnTo>
                    <a:pt x="1180" y="1054"/>
                  </a:lnTo>
                  <a:lnTo>
                    <a:pt x="1114" y="1142"/>
                  </a:lnTo>
                  <a:lnTo>
                    <a:pt x="1046" y="1236"/>
                  </a:lnTo>
                  <a:lnTo>
                    <a:pt x="978" y="1338"/>
                  </a:lnTo>
                  <a:lnTo>
                    <a:pt x="978" y="1338"/>
                  </a:lnTo>
                  <a:lnTo>
                    <a:pt x="930" y="1358"/>
                  </a:lnTo>
                  <a:lnTo>
                    <a:pt x="884" y="1378"/>
                  </a:lnTo>
                  <a:lnTo>
                    <a:pt x="842" y="1400"/>
                  </a:lnTo>
                  <a:lnTo>
                    <a:pt x="802" y="1420"/>
                  </a:lnTo>
                  <a:lnTo>
                    <a:pt x="764" y="1442"/>
                  </a:lnTo>
                  <a:lnTo>
                    <a:pt x="728" y="1464"/>
                  </a:lnTo>
                  <a:lnTo>
                    <a:pt x="694" y="1486"/>
                  </a:lnTo>
                  <a:lnTo>
                    <a:pt x="662" y="1510"/>
                  </a:lnTo>
                  <a:lnTo>
                    <a:pt x="630" y="1534"/>
                  </a:lnTo>
                  <a:lnTo>
                    <a:pt x="600" y="1560"/>
                  </a:lnTo>
                  <a:lnTo>
                    <a:pt x="538" y="1614"/>
                  </a:lnTo>
                  <a:lnTo>
                    <a:pt x="478" y="1676"/>
                  </a:lnTo>
                  <a:lnTo>
                    <a:pt x="414" y="1744"/>
                  </a:lnTo>
                  <a:lnTo>
                    <a:pt x="414" y="1744"/>
                  </a:lnTo>
                  <a:lnTo>
                    <a:pt x="376" y="1792"/>
                  </a:lnTo>
                  <a:lnTo>
                    <a:pt x="344" y="1838"/>
                  </a:lnTo>
                  <a:lnTo>
                    <a:pt x="314" y="1886"/>
                  </a:lnTo>
                  <a:lnTo>
                    <a:pt x="288" y="1932"/>
                  </a:lnTo>
                  <a:lnTo>
                    <a:pt x="266" y="1978"/>
                  </a:lnTo>
                  <a:lnTo>
                    <a:pt x="246" y="2024"/>
                  </a:lnTo>
                  <a:lnTo>
                    <a:pt x="230" y="2070"/>
                  </a:lnTo>
                  <a:lnTo>
                    <a:pt x="216" y="2114"/>
                  </a:lnTo>
                  <a:lnTo>
                    <a:pt x="216" y="2114"/>
                  </a:lnTo>
                  <a:lnTo>
                    <a:pt x="214" y="2108"/>
                  </a:lnTo>
                  <a:lnTo>
                    <a:pt x="214" y="2108"/>
                  </a:lnTo>
                  <a:lnTo>
                    <a:pt x="210" y="2116"/>
                  </a:lnTo>
                  <a:lnTo>
                    <a:pt x="204" y="2126"/>
                  </a:lnTo>
                  <a:lnTo>
                    <a:pt x="180" y="2150"/>
                  </a:lnTo>
                  <a:lnTo>
                    <a:pt x="112" y="2214"/>
                  </a:lnTo>
                  <a:lnTo>
                    <a:pt x="74" y="2252"/>
                  </a:lnTo>
                  <a:lnTo>
                    <a:pt x="56" y="2272"/>
                  </a:lnTo>
                  <a:lnTo>
                    <a:pt x="40" y="2292"/>
                  </a:lnTo>
                  <a:lnTo>
                    <a:pt x="26" y="2312"/>
                  </a:lnTo>
                  <a:lnTo>
                    <a:pt x="14" y="2332"/>
                  </a:lnTo>
                  <a:lnTo>
                    <a:pt x="6" y="2352"/>
                  </a:lnTo>
                  <a:lnTo>
                    <a:pt x="0" y="2372"/>
                  </a:lnTo>
                  <a:lnTo>
                    <a:pt x="0" y="2372"/>
                  </a:lnTo>
                  <a:lnTo>
                    <a:pt x="0" y="2382"/>
                  </a:lnTo>
                  <a:lnTo>
                    <a:pt x="2" y="2392"/>
                  </a:lnTo>
                  <a:lnTo>
                    <a:pt x="6" y="2402"/>
                  </a:lnTo>
                  <a:lnTo>
                    <a:pt x="12" y="2410"/>
                  </a:lnTo>
                  <a:lnTo>
                    <a:pt x="20" y="2418"/>
                  </a:lnTo>
                  <a:lnTo>
                    <a:pt x="30" y="2424"/>
                  </a:lnTo>
                  <a:lnTo>
                    <a:pt x="42" y="2430"/>
                  </a:lnTo>
                  <a:lnTo>
                    <a:pt x="54" y="2434"/>
                  </a:lnTo>
                  <a:lnTo>
                    <a:pt x="84" y="2442"/>
                  </a:lnTo>
                  <a:lnTo>
                    <a:pt x="116" y="2446"/>
                  </a:lnTo>
                  <a:lnTo>
                    <a:pt x="150" y="2448"/>
                  </a:lnTo>
                  <a:lnTo>
                    <a:pt x="184" y="2446"/>
                  </a:lnTo>
                  <a:lnTo>
                    <a:pt x="184" y="2446"/>
                  </a:lnTo>
                  <a:lnTo>
                    <a:pt x="190" y="2534"/>
                  </a:lnTo>
                  <a:lnTo>
                    <a:pt x="200" y="2620"/>
                  </a:lnTo>
                  <a:lnTo>
                    <a:pt x="220" y="2782"/>
                  </a:lnTo>
                  <a:lnTo>
                    <a:pt x="220" y="2782"/>
                  </a:lnTo>
                  <a:lnTo>
                    <a:pt x="192" y="2876"/>
                  </a:lnTo>
                  <a:lnTo>
                    <a:pt x="168" y="2958"/>
                  </a:lnTo>
                  <a:lnTo>
                    <a:pt x="136" y="3080"/>
                  </a:lnTo>
                  <a:lnTo>
                    <a:pt x="118" y="3152"/>
                  </a:lnTo>
                  <a:lnTo>
                    <a:pt x="114" y="3174"/>
                  </a:lnTo>
                  <a:lnTo>
                    <a:pt x="114" y="3174"/>
                  </a:lnTo>
                  <a:lnTo>
                    <a:pt x="112" y="3178"/>
                  </a:lnTo>
                  <a:lnTo>
                    <a:pt x="108" y="3192"/>
                  </a:lnTo>
                  <a:lnTo>
                    <a:pt x="102" y="3214"/>
                  </a:lnTo>
                  <a:lnTo>
                    <a:pt x="102" y="3228"/>
                  </a:lnTo>
                  <a:lnTo>
                    <a:pt x="102" y="3242"/>
                  </a:lnTo>
                  <a:lnTo>
                    <a:pt x="104" y="3260"/>
                  </a:lnTo>
                  <a:lnTo>
                    <a:pt x="108" y="3278"/>
                  </a:lnTo>
                  <a:lnTo>
                    <a:pt x="114" y="3298"/>
                  </a:lnTo>
                  <a:lnTo>
                    <a:pt x="122" y="3320"/>
                  </a:lnTo>
                  <a:lnTo>
                    <a:pt x="134" y="3342"/>
                  </a:lnTo>
                  <a:lnTo>
                    <a:pt x="148" y="3368"/>
                  </a:lnTo>
                  <a:lnTo>
                    <a:pt x="166" y="3392"/>
                  </a:lnTo>
                  <a:lnTo>
                    <a:pt x="188" y="3420"/>
                  </a:lnTo>
                  <a:lnTo>
                    <a:pt x="188" y="3420"/>
                  </a:lnTo>
                  <a:lnTo>
                    <a:pt x="232" y="3470"/>
                  </a:lnTo>
                  <a:lnTo>
                    <a:pt x="270" y="3516"/>
                  </a:lnTo>
                  <a:lnTo>
                    <a:pt x="306" y="3560"/>
                  </a:lnTo>
                  <a:lnTo>
                    <a:pt x="340" y="3598"/>
                  </a:lnTo>
                  <a:lnTo>
                    <a:pt x="372" y="3630"/>
                  </a:lnTo>
                  <a:lnTo>
                    <a:pt x="388" y="3644"/>
                  </a:lnTo>
                  <a:lnTo>
                    <a:pt x="406" y="3656"/>
                  </a:lnTo>
                  <a:lnTo>
                    <a:pt x="424" y="3666"/>
                  </a:lnTo>
                  <a:lnTo>
                    <a:pt x="442" y="3674"/>
                  </a:lnTo>
                  <a:lnTo>
                    <a:pt x="462" y="3682"/>
                  </a:lnTo>
                  <a:lnTo>
                    <a:pt x="482" y="3686"/>
                  </a:lnTo>
                  <a:lnTo>
                    <a:pt x="482" y="3686"/>
                  </a:lnTo>
                  <a:lnTo>
                    <a:pt x="516" y="3692"/>
                  </a:lnTo>
                  <a:lnTo>
                    <a:pt x="558" y="3696"/>
                  </a:lnTo>
                  <a:lnTo>
                    <a:pt x="604" y="3698"/>
                  </a:lnTo>
                  <a:lnTo>
                    <a:pt x="652" y="3700"/>
                  </a:lnTo>
                  <a:lnTo>
                    <a:pt x="700" y="3698"/>
                  </a:lnTo>
                  <a:lnTo>
                    <a:pt x="746" y="3696"/>
                  </a:lnTo>
                  <a:lnTo>
                    <a:pt x="786" y="3692"/>
                  </a:lnTo>
                  <a:lnTo>
                    <a:pt x="820" y="3686"/>
                  </a:lnTo>
                  <a:lnTo>
                    <a:pt x="820" y="3686"/>
                  </a:lnTo>
                  <a:lnTo>
                    <a:pt x="840" y="3684"/>
                  </a:lnTo>
                  <a:lnTo>
                    <a:pt x="862" y="3682"/>
                  </a:lnTo>
                  <a:lnTo>
                    <a:pt x="906" y="3682"/>
                  </a:lnTo>
                  <a:lnTo>
                    <a:pt x="954" y="3686"/>
                  </a:lnTo>
                  <a:lnTo>
                    <a:pt x="954" y="3686"/>
                  </a:lnTo>
                  <a:lnTo>
                    <a:pt x="954" y="3672"/>
                  </a:lnTo>
                  <a:lnTo>
                    <a:pt x="950" y="3656"/>
                  </a:lnTo>
                  <a:lnTo>
                    <a:pt x="942" y="3634"/>
                  </a:lnTo>
                  <a:lnTo>
                    <a:pt x="930" y="3606"/>
                  </a:lnTo>
                  <a:lnTo>
                    <a:pt x="910" y="3574"/>
                  </a:lnTo>
                  <a:lnTo>
                    <a:pt x="884" y="3536"/>
                  </a:lnTo>
                  <a:lnTo>
                    <a:pt x="850" y="3494"/>
                  </a:lnTo>
                  <a:lnTo>
                    <a:pt x="850" y="3494"/>
                  </a:lnTo>
                  <a:lnTo>
                    <a:pt x="810" y="3452"/>
                  </a:lnTo>
                  <a:lnTo>
                    <a:pt x="774" y="3416"/>
                  </a:lnTo>
                  <a:lnTo>
                    <a:pt x="714" y="3356"/>
                  </a:lnTo>
                  <a:lnTo>
                    <a:pt x="672" y="3320"/>
                  </a:lnTo>
                  <a:lnTo>
                    <a:pt x="658" y="3308"/>
                  </a:lnTo>
                  <a:lnTo>
                    <a:pt x="658" y="3308"/>
                  </a:lnTo>
                  <a:lnTo>
                    <a:pt x="722" y="3294"/>
                  </a:lnTo>
                  <a:lnTo>
                    <a:pt x="778" y="3282"/>
                  </a:lnTo>
                  <a:lnTo>
                    <a:pt x="828" y="3270"/>
                  </a:lnTo>
                  <a:lnTo>
                    <a:pt x="872" y="3256"/>
                  </a:lnTo>
                  <a:lnTo>
                    <a:pt x="908" y="3244"/>
                  </a:lnTo>
                  <a:lnTo>
                    <a:pt x="940" y="3234"/>
                  </a:lnTo>
                  <a:lnTo>
                    <a:pt x="986" y="3214"/>
                  </a:lnTo>
                  <a:lnTo>
                    <a:pt x="986" y="3214"/>
                  </a:lnTo>
                  <a:lnTo>
                    <a:pt x="1016" y="3204"/>
                  </a:lnTo>
                  <a:lnTo>
                    <a:pt x="1048" y="3194"/>
                  </a:lnTo>
                  <a:lnTo>
                    <a:pt x="1080" y="3182"/>
                  </a:lnTo>
                  <a:lnTo>
                    <a:pt x="1112" y="3168"/>
                  </a:lnTo>
                  <a:lnTo>
                    <a:pt x="1146" y="3150"/>
                  </a:lnTo>
                  <a:lnTo>
                    <a:pt x="1178" y="3132"/>
                  </a:lnTo>
                  <a:lnTo>
                    <a:pt x="1212" y="3110"/>
                  </a:lnTo>
                  <a:lnTo>
                    <a:pt x="1246" y="3084"/>
                  </a:lnTo>
                  <a:lnTo>
                    <a:pt x="1278" y="3058"/>
                  </a:lnTo>
                  <a:lnTo>
                    <a:pt x="1312" y="3026"/>
                  </a:lnTo>
                  <a:lnTo>
                    <a:pt x="1344" y="2992"/>
                  </a:lnTo>
                  <a:lnTo>
                    <a:pt x="1376" y="2954"/>
                  </a:lnTo>
                  <a:lnTo>
                    <a:pt x="1408" y="2914"/>
                  </a:lnTo>
                  <a:lnTo>
                    <a:pt x="1438" y="2868"/>
                  </a:lnTo>
                  <a:lnTo>
                    <a:pt x="1468" y="2820"/>
                  </a:lnTo>
                  <a:lnTo>
                    <a:pt x="1496" y="2766"/>
                  </a:lnTo>
                  <a:lnTo>
                    <a:pt x="1496" y="2766"/>
                  </a:lnTo>
                  <a:lnTo>
                    <a:pt x="1512" y="2736"/>
                  </a:lnTo>
                  <a:lnTo>
                    <a:pt x="1522" y="2724"/>
                  </a:lnTo>
                  <a:lnTo>
                    <a:pt x="1532" y="2714"/>
                  </a:lnTo>
                  <a:lnTo>
                    <a:pt x="1542" y="2704"/>
                  </a:lnTo>
                  <a:lnTo>
                    <a:pt x="1550" y="2696"/>
                  </a:lnTo>
                  <a:lnTo>
                    <a:pt x="1562" y="2690"/>
                  </a:lnTo>
                  <a:lnTo>
                    <a:pt x="1572" y="2686"/>
                  </a:lnTo>
                  <a:lnTo>
                    <a:pt x="1592" y="2680"/>
                  </a:lnTo>
                  <a:lnTo>
                    <a:pt x="1616" y="2676"/>
                  </a:lnTo>
                  <a:lnTo>
                    <a:pt x="1638" y="2678"/>
                  </a:lnTo>
                  <a:lnTo>
                    <a:pt x="1662" y="2680"/>
                  </a:lnTo>
                  <a:lnTo>
                    <a:pt x="1662" y="2680"/>
                  </a:lnTo>
                  <a:lnTo>
                    <a:pt x="1656" y="2692"/>
                  </a:lnTo>
                  <a:lnTo>
                    <a:pt x="1648" y="2704"/>
                  </a:lnTo>
                  <a:lnTo>
                    <a:pt x="1648" y="2704"/>
                  </a:lnTo>
                  <a:lnTo>
                    <a:pt x="1614" y="2774"/>
                  </a:lnTo>
                  <a:lnTo>
                    <a:pt x="1578" y="2838"/>
                  </a:lnTo>
                  <a:lnTo>
                    <a:pt x="1542" y="2896"/>
                  </a:lnTo>
                  <a:lnTo>
                    <a:pt x="1506" y="2950"/>
                  </a:lnTo>
                  <a:lnTo>
                    <a:pt x="1470" y="2998"/>
                  </a:lnTo>
                  <a:lnTo>
                    <a:pt x="1434" y="3040"/>
                  </a:lnTo>
                  <a:lnTo>
                    <a:pt x="1398" y="3078"/>
                  </a:lnTo>
                  <a:lnTo>
                    <a:pt x="1364" y="3110"/>
                  </a:lnTo>
                  <a:lnTo>
                    <a:pt x="1328" y="3140"/>
                  </a:lnTo>
                  <a:lnTo>
                    <a:pt x="1294" y="3164"/>
                  </a:lnTo>
                  <a:lnTo>
                    <a:pt x="1262" y="3186"/>
                  </a:lnTo>
                  <a:lnTo>
                    <a:pt x="1228" y="3204"/>
                  </a:lnTo>
                  <a:lnTo>
                    <a:pt x="1198" y="3218"/>
                  </a:lnTo>
                  <a:lnTo>
                    <a:pt x="1168" y="3230"/>
                  </a:lnTo>
                  <a:lnTo>
                    <a:pt x="1138" y="3240"/>
                  </a:lnTo>
                  <a:lnTo>
                    <a:pt x="1110" y="3248"/>
                  </a:lnTo>
                  <a:lnTo>
                    <a:pt x="1110" y="3248"/>
                  </a:lnTo>
                  <a:lnTo>
                    <a:pt x="1112" y="3278"/>
                  </a:lnTo>
                  <a:lnTo>
                    <a:pt x="1114" y="3310"/>
                  </a:lnTo>
                  <a:lnTo>
                    <a:pt x="1118" y="3344"/>
                  </a:lnTo>
                  <a:lnTo>
                    <a:pt x="1126" y="3380"/>
                  </a:lnTo>
                  <a:lnTo>
                    <a:pt x="1126" y="3380"/>
                  </a:lnTo>
                  <a:lnTo>
                    <a:pt x="1134" y="3392"/>
                  </a:lnTo>
                  <a:lnTo>
                    <a:pt x="1148" y="3414"/>
                  </a:lnTo>
                  <a:lnTo>
                    <a:pt x="1172" y="3440"/>
                  </a:lnTo>
                  <a:lnTo>
                    <a:pt x="1186" y="3456"/>
                  </a:lnTo>
                  <a:lnTo>
                    <a:pt x="1202" y="3470"/>
                  </a:lnTo>
                  <a:lnTo>
                    <a:pt x="1220" y="3486"/>
                  </a:lnTo>
                  <a:lnTo>
                    <a:pt x="1240" y="3500"/>
                  </a:lnTo>
                  <a:lnTo>
                    <a:pt x="1262" y="3514"/>
                  </a:lnTo>
                  <a:lnTo>
                    <a:pt x="1286" y="3528"/>
                  </a:lnTo>
                  <a:lnTo>
                    <a:pt x="1312" y="3540"/>
                  </a:lnTo>
                  <a:lnTo>
                    <a:pt x="1340" y="3548"/>
                  </a:lnTo>
                  <a:lnTo>
                    <a:pt x="1372" y="3556"/>
                  </a:lnTo>
                  <a:lnTo>
                    <a:pt x="1404" y="3560"/>
                  </a:lnTo>
                  <a:lnTo>
                    <a:pt x="1404" y="3560"/>
                  </a:lnTo>
                  <a:lnTo>
                    <a:pt x="1472" y="3566"/>
                  </a:lnTo>
                  <a:lnTo>
                    <a:pt x="1552" y="3568"/>
                  </a:lnTo>
                  <a:lnTo>
                    <a:pt x="1648" y="3568"/>
                  </a:lnTo>
                  <a:lnTo>
                    <a:pt x="1770" y="3564"/>
                  </a:lnTo>
                  <a:lnTo>
                    <a:pt x="1770" y="3564"/>
                  </a:lnTo>
                  <a:lnTo>
                    <a:pt x="1832" y="3562"/>
                  </a:lnTo>
                  <a:lnTo>
                    <a:pt x="1864" y="3562"/>
                  </a:lnTo>
                  <a:lnTo>
                    <a:pt x="1876" y="3564"/>
                  </a:lnTo>
                  <a:lnTo>
                    <a:pt x="1878" y="3564"/>
                  </a:lnTo>
                  <a:lnTo>
                    <a:pt x="1878" y="3564"/>
                  </a:lnTo>
                  <a:lnTo>
                    <a:pt x="1880" y="3522"/>
                  </a:lnTo>
                  <a:lnTo>
                    <a:pt x="1876" y="3484"/>
                  </a:lnTo>
                  <a:lnTo>
                    <a:pt x="1870" y="3450"/>
                  </a:lnTo>
                  <a:lnTo>
                    <a:pt x="1860" y="3420"/>
                  </a:lnTo>
                  <a:lnTo>
                    <a:pt x="1846" y="3394"/>
                  </a:lnTo>
                  <a:lnTo>
                    <a:pt x="1830" y="3370"/>
                  </a:lnTo>
                  <a:lnTo>
                    <a:pt x="1812" y="3350"/>
                  </a:lnTo>
                  <a:lnTo>
                    <a:pt x="1792" y="3332"/>
                  </a:lnTo>
                  <a:lnTo>
                    <a:pt x="1772" y="3316"/>
                  </a:lnTo>
                  <a:lnTo>
                    <a:pt x="1750" y="3300"/>
                  </a:lnTo>
                  <a:lnTo>
                    <a:pt x="1706" y="3274"/>
                  </a:lnTo>
                  <a:lnTo>
                    <a:pt x="1664" y="3250"/>
                  </a:lnTo>
                  <a:lnTo>
                    <a:pt x="1644" y="3238"/>
                  </a:lnTo>
                  <a:lnTo>
                    <a:pt x="1628" y="3224"/>
                  </a:lnTo>
                  <a:lnTo>
                    <a:pt x="1628" y="3224"/>
                  </a:lnTo>
                  <a:lnTo>
                    <a:pt x="1622" y="3220"/>
                  </a:lnTo>
                  <a:lnTo>
                    <a:pt x="1620" y="3214"/>
                  </a:lnTo>
                  <a:lnTo>
                    <a:pt x="1616" y="3208"/>
                  </a:lnTo>
                  <a:lnTo>
                    <a:pt x="1616" y="3202"/>
                  </a:lnTo>
                  <a:lnTo>
                    <a:pt x="1618" y="3188"/>
                  </a:lnTo>
                  <a:lnTo>
                    <a:pt x="1622" y="3170"/>
                  </a:lnTo>
                  <a:lnTo>
                    <a:pt x="1632" y="3150"/>
                  </a:lnTo>
                  <a:lnTo>
                    <a:pt x="1644" y="3126"/>
                  </a:lnTo>
                  <a:lnTo>
                    <a:pt x="1674" y="3070"/>
                  </a:lnTo>
                  <a:lnTo>
                    <a:pt x="1710" y="3002"/>
                  </a:lnTo>
                  <a:lnTo>
                    <a:pt x="1730" y="2962"/>
                  </a:lnTo>
                  <a:lnTo>
                    <a:pt x="1748" y="2920"/>
                  </a:lnTo>
                  <a:lnTo>
                    <a:pt x="1766" y="2874"/>
                  </a:lnTo>
                  <a:lnTo>
                    <a:pt x="1784" y="2822"/>
                  </a:lnTo>
                  <a:lnTo>
                    <a:pt x="1800" y="2768"/>
                  </a:lnTo>
                  <a:lnTo>
                    <a:pt x="1814" y="2710"/>
                  </a:lnTo>
                  <a:lnTo>
                    <a:pt x="1814" y="2710"/>
                  </a:lnTo>
                  <a:lnTo>
                    <a:pt x="1844" y="2710"/>
                  </a:lnTo>
                  <a:lnTo>
                    <a:pt x="1876" y="2706"/>
                  </a:lnTo>
                  <a:lnTo>
                    <a:pt x="1892" y="2702"/>
                  </a:lnTo>
                  <a:lnTo>
                    <a:pt x="1908" y="2698"/>
                  </a:lnTo>
                  <a:lnTo>
                    <a:pt x="1924" y="2692"/>
                  </a:lnTo>
                  <a:lnTo>
                    <a:pt x="1942" y="2684"/>
                  </a:lnTo>
                  <a:lnTo>
                    <a:pt x="1942" y="2684"/>
                  </a:lnTo>
                  <a:lnTo>
                    <a:pt x="1826" y="2596"/>
                  </a:lnTo>
                  <a:lnTo>
                    <a:pt x="1720" y="2510"/>
                  </a:lnTo>
                  <a:lnTo>
                    <a:pt x="1672" y="2470"/>
                  </a:lnTo>
                  <a:lnTo>
                    <a:pt x="1626" y="2430"/>
                  </a:lnTo>
                  <a:lnTo>
                    <a:pt x="1586" y="2390"/>
                  </a:lnTo>
                  <a:lnTo>
                    <a:pt x="1550" y="2354"/>
                  </a:lnTo>
                  <a:lnTo>
                    <a:pt x="1550" y="2354"/>
                  </a:lnTo>
                  <a:lnTo>
                    <a:pt x="1522" y="2320"/>
                  </a:lnTo>
                  <a:lnTo>
                    <a:pt x="1496" y="2286"/>
                  </a:lnTo>
                  <a:lnTo>
                    <a:pt x="1474" y="2252"/>
                  </a:lnTo>
                  <a:lnTo>
                    <a:pt x="1456" y="2216"/>
                  </a:lnTo>
                  <a:lnTo>
                    <a:pt x="1440" y="2180"/>
                  </a:lnTo>
                  <a:lnTo>
                    <a:pt x="1426" y="2142"/>
                  </a:lnTo>
                  <a:lnTo>
                    <a:pt x="1416" y="2106"/>
                  </a:lnTo>
                  <a:lnTo>
                    <a:pt x="1406" y="2070"/>
                  </a:lnTo>
                  <a:lnTo>
                    <a:pt x="1400" y="2034"/>
                  </a:lnTo>
                  <a:lnTo>
                    <a:pt x="1396" y="1998"/>
                  </a:lnTo>
                  <a:lnTo>
                    <a:pt x="1394" y="1964"/>
                  </a:lnTo>
                  <a:lnTo>
                    <a:pt x="1394" y="1930"/>
                  </a:lnTo>
                  <a:lnTo>
                    <a:pt x="1394" y="1900"/>
                  </a:lnTo>
                  <a:lnTo>
                    <a:pt x="1398" y="1870"/>
                  </a:lnTo>
                  <a:lnTo>
                    <a:pt x="1402" y="1840"/>
                  </a:lnTo>
                  <a:lnTo>
                    <a:pt x="1408" y="1814"/>
                  </a:lnTo>
                  <a:lnTo>
                    <a:pt x="1408" y="1814"/>
                  </a:lnTo>
                  <a:lnTo>
                    <a:pt x="1414" y="1792"/>
                  </a:lnTo>
                  <a:lnTo>
                    <a:pt x="1422" y="1774"/>
                  </a:lnTo>
                  <a:lnTo>
                    <a:pt x="1432" y="1762"/>
                  </a:lnTo>
                  <a:lnTo>
                    <a:pt x="1442" y="1754"/>
                  </a:lnTo>
                  <a:lnTo>
                    <a:pt x="1452" y="1748"/>
                  </a:lnTo>
                  <a:lnTo>
                    <a:pt x="1460" y="1746"/>
                  </a:lnTo>
                  <a:lnTo>
                    <a:pt x="1470" y="1746"/>
                  </a:lnTo>
                  <a:lnTo>
                    <a:pt x="1478" y="1748"/>
                  </a:lnTo>
                  <a:lnTo>
                    <a:pt x="1478" y="1748"/>
                  </a:lnTo>
                  <a:lnTo>
                    <a:pt x="1476" y="1796"/>
                  </a:lnTo>
                  <a:lnTo>
                    <a:pt x="1476" y="1840"/>
                  </a:lnTo>
                  <a:lnTo>
                    <a:pt x="1478" y="1884"/>
                  </a:lnTo>
                  <a:lnTo>
                    <a:pt x="1480" y="1924"/>
                  </a:lnTo>
                  <a:lnTo>
                    <a:pt x="1486" y="1962"/>
                  </a:lnTo>
                  <a:lnTo>
                    <a:pt x="1494" y="2000"/>
                  </a:lnTo>
                  <a:lnTo>
                    <a:pt x="1504" y="2034"/>
                  </a:lnTo>
                  <a:lnTo>
                    <a:pt x="1516" y="2068"/>
                  </a:lnTo>
                  <a:lnTo>
                    <a:pt x="1530" y="2100"/>
                  </a:lnTo>
                  <a:lnTo>
                    <a:pt x="1546" y="2130"/>
                  </a:lnTo>
                  <a:lnTo>
                    <a:pt x="1562" y="2158"/>
                  </a:lnTo>
                  <a:lnTo>
                    <a:pt x="1580" y="2186"/>
                  </a:lnTo>
                  <a:lnTo>
                    <a:pt x="1600" y="2214"/>
                  </a:lnTo>
                  <a:lnTo>
                    <a:pt x="1622" y="2240"/>
                  </a:lnTo>
                  <a:lnTo>
                    <a:pt x="1644" y="2266"/>
                  </a:lnTo>
                  <a:lnTo>
                    <a:pt x="1668" y="2290"/>
                  </a:lnTo>
                  <a:lnTo>
                    <a:pt x="1720" y="2340"/>
                  </a:lnTo>
                  <a:lnTo>
                    <a:pt x="1778" y="2386"/>
                  </a:lnTo>
                  <a:lnTo>
                    <a:pt x="1838" y="2434"/>
                  </a:lnTo>
                  <a:lnTo>
                    <a:pt x="1902" y="2484"/>
                  </a:lnTo>
                  <a:lnTo>
                    <a:pt x="1968" y="2536"/>
                  </a:lnTo>
                  <a:lnTo>
                    <a:pt x="2038" y="2592"/>
                  </a:lnTo>
                  <a:lnTo>
                    <a:pt x="2110" y="2650"/>
                  </a:lnTo>
                  <a:lnTo>
                    <a:pt x="2182" y="2716"/>
                  </a:lnTo>
                  <a:lnTo>
                    <a:pt x="2182" y="2716"/>
                  </a:lnTo>
                  <a:lnTo>
                    <a:pt x="2190" y="2726"/>
                  </a:lnTo>
                  <a:lnTo>
                    <a:pt x="2198" y="2742"/>
                  </a:lnTo>
                  <a:lnTo>
                    <a:pt x="2206" y="2760"/>
                  </a:lnTo>
                  <a:lnTo>
                    <a:pt x="2214" y="2784"/>
                  </a:lnTo>
                  <a:lnTo>
                    <a:pt x="2232" y="2838"/>
                  </a:lnTo>
                  <a:lnTo>
                    <a:pt x="2250" y="2904"/>
                  </a:lnTo>
                  <a:lnTo>
                    <a:pt x="2286" y="3050"/>
                  </a:lnTo>
                  <a:lnTo>
                    <a:pt x="2320" y="3190"/>
                  </a:lnTo>
                  <a:lnTo>
                    <a:pt x="2320" y="3190"/>
                  </a:lnTo>
                  <a:lnTo>
                    <a:pt x="2330" y="3222"/>
                  </a:lnTo>
                  <a:lnTo>
                    <a:pt x="2336" y="3240"/>
                  </a:lnTo>
                  <a:lnTo>
                    <a:pt x="2346" y="3258"/>
                  </a:lnTo>
                  <a:lnTo>
                    <a:pt x="2356" y="3278"/>
                  </a:lnTo>
                  <a:lnTo>
                    <a:pt x="2370" y="3298"/>
                  </a:lnTo>
                  <a:lnTo>
                    <a:pt x="2386" y="3318"/>
                  </a:lnTo>
                  <a:lnTo>
                    <a:pt x="2406" y="3338"/>
                  </a:lnTo>
                  <a:lnTo>
                    <a:pt x="2428" y="3360"/>
                  </a:lnTo>
                  <a:lnTo>
                    <a:pt x="2454" y="3380"/>
                  </a:lnTo>
                  <a:lnTo>
                    <a:pt x="2486" y="3400"/>
                  </a:lnTo>
                  <a:lnTo>
                    <a:pt x="2522" y="3420"/>
                  </a:lnTo>
                  <a:lnTo>
                    <a:pt x="2562" y="3438"/>
                  </a:lnTo>
                  <a:lnTo>
                    <a:pt x="2608" y="3456"/>
                  </a:lnTo>
                  <a:lnTo>
                    <a:pt x="2660" y="3474"/>
                  </a:lnTo>
                  <a:lnTo>
                    <a:pt x="2718" y="3490"/>
                  </a:lnTo>
                  <a:lnTo>
                    <a:pt x="2718" y="3490"/>
                  </a:lnTo>
                  <a:lnTo>
                    <a:pt x="2746" y="3496"/>
                  </a:lnTo>
                  <a:lnTo>
                    <a:pt x="2774" y="3500"/>
                  </a:lnTo>
                  <a:lnTo>
                    <a:pt x="2802" y="3502"/>
                  </a:lnTo>
                  <a:lnTo>
                    <a:pt x="2830" y="3502"/>
                  </a:lnTo>
                  <a:lnTo>
                    <a:pt x="2858" y="3500"/>
                  </a:lnTo>
                  <a:lnTo>
                    <a:pt x="2884" y="3498"/>
                  </a:lnTo>
                  <a:lnTo>
                    <a:pt x="2936" y="3490"/>
                  </a:lnTo>
                  <a:lnTo>
                    <a:pt x="2984" y="3480"/>
                  </a:lnTo>
                  <a:lnTo>
                    <a:pt x="3028" y="3468"/>
                  </a:lnTo>
                  <a:lnTo>
                    <a:pt x="3070" y="3458"/>
                  </a:lnTo>
                  <a:lnTo>
                    <a:pt x="3106" y="3450"/>
                  </a:lnTo>
                  <a:lnTo>
                    <a:pt x="3106" y="3450"/>
                  </a:lnTo>
                  <a:lnTo>
                    <a:pt x="3136" y="3466"/>
                  </a:lnTo>
                  <a:lnTo>
                    <a:pt x="3160" y="3478"/>
                  </a:lnTo>
                  <a:lnTo>
                    <a:pt x="3182" y="3484"/>
                  </a:lnTo>
                  <a:lnTo>
                    <a:pt x="3198" y="3488"/>
                  </a:lnTo>
                  <a:lnTo>
                    <a:pt x="3210" y="3488"/>
                  </a:lnTo>
                  <a:lnTo>
                    <a:pt x="3220" y="3486"/>
                  </a:lnTo>
                  <a:lnTo>
                    <a:pt x="3226" y="3484"/>
                  </a:lnTo>
                  <a:lnTo>
                    <a:pt x="3226" y="3484"/>
                  </a:lnTo>
                  <a:lnTo>
                    <a:pt x="3226" y="3470"/>
                  </a:lnTo>
                  <a:lnTo>
                    <a:pt x="3226" y="3432"/>
                  </a:lnTo>
                  <a:lnTo>
                    <a:pt x="3224" y="3404"/>
                  </a:lnTo>
                  <a:lnTo>
                    <a:pt x="3220" y="3374"/>
                  </a:lnTo>
                  <a:lnTo>
                    <a:pt x="3214" y="3340"/>
                  </a:lnTo>
                  <a:lnTo>
                    <a:pt x="3206" y="3304"/>
                  </a:lnTo>
                  <a:lnTo>
                    <a:pt x="3196" y="3268"/>
                  </a:lnTo>
                  <a:lnTo>
                    <a:pt x="3182" y="3228"/>
                  </a:lnTo>
                  <a:lnTo>
                    <a:pt x="3166" y="3190"/>
                  </a:lnTo>
                  <a:lnTo>
                    <a:pt x="3144" y="3150"/>
                  </a:lnTo>
                  <a:lnTo>
                    <a:pt x="3120" y="3114"/>
                  </a:lnTo>
                  <a:lnTo>
                    <a:pt x="3104" y="3096"/>
                  </a:lnTo>
                  <a:lnTo>
                    <a:pt x="3088" y="3078"/>
                  </a:lnTo>
                  <a:lnTo>
                    <a:pt x="3072" y="3060"/>
                  </a:lnTo>
                  <a:lnTo>
                    <a:pt x="3054" y="3044"/>
                  </a:lnTo>
                  <a:lnTo>
                    <a:pt x="3034" y="3030"/>
                  </a:lnTo>
                  <a:lnTo>
                    <a:pt x="3012" y="3014"/>
                  </a:lnTo>
                  <a:lnTo>
                    <a:pt x="3012" y="3014"/>
                  </a:lnTo>
                  <a:lnTo>
                    <a:pt x="3000" y="3006"/>
                  </a:lnTo>
                  <a:lnTo>
                    <a:pt x="2988" y="2994"/>
                  </a:lnTo>
                  <a:lnTo>
                    <a:pt x="2976" y="2984"/>
                  </a:lnTo>
                  <a:lnTo>
                    <a:pt x="2966" y="2970"/>
                  </a:lnTo>
                  <a:lnTo>
                    <a:pt x="2958" y="2958"/>
                  </a:lnTo>
                  <a:lnTo>
                    <a:pt x="2950" y="2944"/>
                  </a:lnTo>
                  <a:lnTo>
                    <a:pt x="2936" y="2914"/>
                  </a:lnTo>
                  <a:lnTo>
                    <a:pt x="2926" y="2880"/>
                  </a:lnTo>
                  <a:lnTo>
                    <a:pt x="2916" y="2846"/>
                  </a:lnTo>
                  <a:lnTo>
                    <a:pt x="2910" y="2810"/>
                  </a:lnTo>
                  <a:lnTo>
                    <a:pt x="2906" y="2774"/>
                  </a:lnTo>
                  <a:lnTo>
                    <a:pt x="2898" y="2702"/>
                  </a:lnTo>
                  <a:lnTo>
                    <a:pt x="2890" y="2632"/>
                  </a:lnTo>
                  <a:lnTo>
                    <a:pt x="2884" y="2602"/>
                  </a:lnTo>
                  <a:lnTo>
                    <a:pt x="2876" y="2572"/>
                  </a:lnTo>
                  <a:lnTo>
                    <a:pt x="2866" y="2546"/>
                  </a:lnTo>
                  <a:lnTo>
                    <a:pt x="2854" y="2524"/>
                  </a:lnTo>
                  <a:lnTo>
                    <a:pt x="2854" y="2524"/>
                  </a:lnTo>
                  <a:lnTo>
                    <a:pt x="2804" y="2450"/>
                  </a:lnTo>
                  <a:lnTo>
                    <a:pt x="2756" y="2370"/>
                  </a:lnTo>
                  <a:lnTo>
                    <a:pt x="2708" y="2288"/>
                  </a:lnTo>
                  <a:lnTo>
                    <a:pt x="2664" y="2210"/>
                  </a:lnTo>
                  <a:lnTo>
                    <a:pt x="2596" y="2082"/>
                  </a:lnTo>
                  <a:lnTo>
                    <a:pt x="2570" y="2032"/>
                  </a:lnTo>
                  <a:lnTo>
                    <a:pt x="2570" y="2032"/>
                  </a:lnTo>
                  <a:lnTo>
                    <a:pt x="2596" y="2008"/>
                  </a:lnTo>
                  <a:lnTo>
                    <a:pt x="2616" y="1984"/>
                  </a:lnTo>
                  <a:lnTo>
                    <a:pt x="2636" y="1960"/>
                  </a:lnTo>
                  <a:lnTo>
                    <a:pt x="2650" y="1936"/>
                  </a:lnTo>
                  <a:lnTo>
                    <a:pt x="2662" y="1914"/>
                  </a:lnTo>
                  <a:lnTo>
                    <a:pt x="2672" y="1890"/>
                  </a:lnTo>
                  <a:lnTo>
                    <a:pt x="2680" y="1868"/>
                  </a:lnTo>
                  <a:lnTo>
                    <a:pt x="2686" y="1846"/>
                  </a:lnTo>
                  <a:lnTo>
                    <a:pt x="2692" y="1826"/>
                  </a:lnTo>
                  <a:lnTo>
                    <a:pt x="2694" y="1804"/>
                  </a:lnTo>
                  <a:lnTo>
                    <a:pt x="2698" y="1762"/>
                  </a:lnTo>
                  <a:lnTo>
                    <a:pt x="2700" y="1686"/>
                  </a:lnTo>
                  <a:lnTo>
                    <a:pt x="2700" y="1686"/>
                  </a:lnTo>
                  <a:lnTo>
                    <a:pt x="2702" y="1672"/>
                  </a:lnTo>
                  <a:lnTo>
                    <a:pt x="2704" y="1662"/>
                  </a:lnTo>
                  <a:lnTo>
                    <a:pt x="2708" y="1654"/>
                  </a:lnTo>
                  <a:lnTo>
                    <a:pt x="2712" y="1650"/>
                  </a:lnTo>
                  <a:lnTo>
                    <a:pt x="2716" y="1648"/>
                  </a:lnTo>
                  <a:lnTo>
                    <a:pt x="2722" y="1650"/>
                  </a:lnTo>
                  <a:lnTo>
                    <a:pt x="2728" y="1654"/>
                  </a:lnTo>
                  <a:lnTo>
                    <a:pt x="2734" y="1660"/>
                  </a:lnTo>
                  <a:lnTo>
                    <a:pt x="2746" y="1676"/>
                  </a:lnTo>
                  <a:lnTo>
                    <a:pt x="2758" y="1698"/>
                  </a:lnTo>
                  <a:lnTo>
                    <a:pt x="2768" y="1722"/>
                  </a:lnTo>
                  <a:lnTo>
                    <a:pt x="2776" y="1746"/>
                  </a:lnTo>
                  <a:lnTo>
                    <a:pt x="2776" y="1746"/>
                  </a:lnTo>
                  <a:lnTo>
                    <a:pt x="2780" y="1770"/>
                  </a:lnTo>
                  <a:lnTo>
                    <a:pt x="2784" y="1792"/>
                  </a:lnTo>
                  <a:lnTo>
                    <a:pt x="2786" y="1816"/>
                  </a:lnTo>
                  <a:lnTo>
                    <a:pt x="2786" y="1838"/>
                  </a:lnTo>
                  <a:lnTo>
                    <a:pt x="2786" y="1862"/>
                  </a:lnTo>
                  <a:lnTo>
                    <a:pt x="2784" y="1884"/>
                  </a:lnTo>
                  <a:lnTo>
                    <a:pt x="2776" y="1926"/>
                  </a:lnTo>
                  <a:lnTo>
                    <a:pt x="2764" y="1968"/>
                  </a:lnTo>
                  <a:lnTo>
                    <a:pt x="2748" y="2006"/>
                  </a:lnTo>
                  <a:lnTo>
                    <a:pt x="2732" y="2042"/>
                  </a:lnTo>
                  <a:lnTo>
                    <a:pt x="2714" y="2074"/>
                  </a:lnTo>
                  <a:lnTo>
                    <a:pt x="2714" y="2074"/>
                  </a:lnTo>
                  <a:lnTo>
                    <a:pt x="2748" y="2086"/>
                  </a:lnTo>
                  <a:lnTo>
                    <a:pt x="2822" y="2106"/>
                  </a:lnTo>
                  <a:lnTo>
                    <a:pt x="3034" y="2166"/>
                  </a:lnTo>
                  <a:lnTo>
                    <a:pt x="3240" y="2226"/>
                  </a:lnTo>
                  <a:lnTo>
                    <a:pt x="3308" y="2246"/>
                  </a:lnTo>
                  <a:lnTo>
                    <a:pt x="3334" y="2256"/>
                  </a:lnTo>
                  <a:lnTo>
                    <a:pt x="3334" y="2256"/>
                  </a:lnTo>
                  <a:lnTo>
                    <a:pt x="3330" y="2260"/>
                  </a:lnTo>
                  <a:lnTo>
                    <a:pt x="3324" y="2266"/>
                  </a:lnTo>
                  <a:lnTo>
                    <a:pt x="3298" y="2280"/>
                  </a:lnTo>
                  <a:lnTo>
                    <a:pt x="3262" y="2302"/>
                  </a:lnTo>
                  <a:lnTo>
                    <a:pt x="3244" y="2316"/>
                  </a:lnTo>
                  <a:lnTo>
                    <a:pt x="3224" y="2334"/>
                  </a:lnTo>
                  <a:lnTo>
                    <a:pt x="3224" y="2334"/>
                  </a:lnTo>
                  <a:lnTo>
                    <a:pt x="3198" y="2338"/>
                  </a:lnTo>
                  <a:lnTo>
                    <a:pt x="3176" y="2344"/>
                  </a:lnTo>
                  <a:lnTo>
                    <a:pt x="3154" y="2354"/>
                  </a:lnTo>
                  <a:lnTo>
                    <a:pt x="3134" y="2366"/>
                  </a:lnTo>
                  <a:lnTo>
                    <a:pt x="3118" y="2378"/>
                  </a:lnTo>
                  <a:lnTo>
                    <a:pt x="3106" y="2388"/>
                  </a:lnTo>
                  <a:lnTo>
                    <a:pt x="3098" y="2396"/>
                  </a:lnTo>
                  <a:lnTo>
                    <a:pt x="3094" y="2400"/>
                  </a:lnTo>
                  <a:lnTo>
                    <a:pt x="3094" y="2400"/>
                  </a:lnTo>
                  <a:lnTo>
                    <a:pt x="3098" y="2408"/>
                  </a:lnTo>
                  <a:lnTo>
                    <a:pt x="3106" y="2418"/>
                  </a:lnTo>
                  <a:lnTo>
                    <a:pt x="3144" y="2456"/>
                  </a:lnTo>
                  <a:lnTo>
                    <a:pt x="3144" y="2456"/>
                  </a:lnTo>
                  <a:lnTo>
                    <a:pt x="3134" y="2478"/>
                  </a:lnTo>
                  <a:lnTo>
                    <a:pt x="3124" y="2498"/>
                  </a:lnTo>
                  <a:lnTo>
                    <a:pt x="3116" y="2518"/>
                  </a:lnTo>
                  <a:lnTo>
                    <a:pt x="3108" y="2538"/>
                  </a:lnTo>
                  <a:lnTo>
                    <a:pt x="3104" y="2558"/>
                  </a:lnTo>
                  <a:lnTo>
                    <a:pt x="3100" y="2578"/>
                  </a:lnTo>
                  <a:lnTo>
                    <a:pt x="3096" y="2614"/>
                  </a:lnTo>
                  <a:lnTo>
                    <a:pt x="3098" y="2648"/>
                  </a:lnTo>
                  <a:lnTo>
                    <a:pt x="3102" y="2680"/>
                  </a:lnTo>
                  <a:lnTo>
                    <a:pt x="3110" y="2710"/>
                  </a:lnTo>
                  <a:lnTo>
                    <a:pt x="3120" y="2736"/>
                  </a:lnTo>
                  <a:lnTo>
                    <a:pt x="3132" y="2762"/>
                  </a:lnTo>
                  <a:lnTo>
                    <a:pt x="3144" y="2782"/>
                  </a:lnTo>
                  <a:lnTo>
                    <a:pt x="3156" y="2802"/>
                  </a:lnTo>
                  <a:lnTo>
                    <a:pt x="3168" y="2818"/>
                  </a:lnTo>
                  <a:lnTo>
                    <a:pt x="3188" y="2838"/>
                  </a:lnTo>
                  <a:lnTo>
                    <a:pt x="3196" y="2846"/>
                  </a:lnTo>
                  <a:lnTo>
                    <a:pt x="3196" y="2846"/>
                  </a:lnTo>
                  <a:lnTo>
                    <a:pt x="3208" y="2852"/>
                  </a:lnTo>
                  <a:lnTo>
                    <a:pt x="3222" y="2856"/>
                  </a:lnTo>
                  <a:lnTo>
                    <a:pt x="3252" y="2862"/>
                  </a:lnTo>
                  <a:lnTo>
                    <a:pt x="3286" y="2864"/>
                  </a:lnTo>
                  <a:lnTo>
                    <a:pt x="3324" y="2864"/>
                  </a:lnTo>
                  <a:lnTo>
                    <a:pt x="3364" y="2858"/>
                  </a:lnTo>
                  <a:lnTo>
                    <a:pt x="3406" y="2850"/>
                  </a:lnTo>
                  <a:lnTo>
                    <a:pt x="3452" y="2838"/>
                  </a:lnTo>
                  <a:lnTo>
                    <a:pt x="3498" y="2824"/>
                  </a:lnTo>
                  <a:lnTo>
                    <a:pt x="3546" y="2806"/>
                  </a:lnTo>
                  <a:lnTo>
                    <a:pt x="3596" y="2784"/>
                  </a:lnTo>
                  <a:lnTo>
                    <a:pt x="3646" y="2760"/>
                  </a:lnTo>
                  <a:lnTo>
                    <a:pt x="3694" y="2734"/>
                  </a:lnTo>
                  <a:lnTo>
                    <a:pt x="3744" y="2706"/>
                  </a:lnTo>
                  <a:lnTo>
                    <a:pt x="3790" y="2674"/>
                  </a:lnTo>
                  <a:lnTo>
                    <a:pt x="3838" y="2640"/>
                  </a:lnTo>
                  <a:lnTo>
                    <a:pt x="3882" y="2604"/>
                  </a:lnTo>
                  <a:lnTo>
                    <a:pt x="3882" y="2604"/>
                  </a:lnTo>
                  <a:lnTo>
                    <a:pt x="3896" y="2592"/>
                  </a:lnTo>
                  <a:lnTo>
                    <a:pt x="3910" y="2578"/>
                  </a:lnTo>
                  <a:lnTo>
                    <a:pt x="3922" y="2564"/>
                  </a:lnTo>
                  <a:lnTo>
                    <a:pt x="3932" y="2548"/>
                  </a:lnTo>
                  <a:lnTo>
                    <a:pt x="3942" y="2532"/>
                  </a:lnTo>
                  <a:lnTo>
                    <a:pt x="3950" y="2516"/>
                  </a:lnTo>
                  <a:lnTo>
                    <a:pt x="3962" y="2482"/>
                  </a:lnTo>
                  <a:lnTo>
                    <a:pt x="3972" y="2446"/>
                  </a:lnTo>
                  <a:lnTo>
                    <a:pt x="3978" y="2410"/>
                  </a:lnTo>
                  <a:lnTo>
                    <a:pt x="3980" y="2372"/>
                  </a:lnTo>
                  <a:lnTo>
                    <a:pt x="3980" y="2334"/>
                  </a:lnTo>
                  <a:lnTo>
                    <a:pt x="3976" y="2298"/>
                  </a:lnTo>
                  <a:lnTo>
                    <a:pt x="3970" y="2260"/>
                  </a:lnTo>
                  <a:lnTo>
                    <a:pt x="3962" y="2226"/>
                  </a:lnTo>
                  <a:lnTo>
                    <a:pt x="3952" y="2192"/>
                  </a:lnTo>
                  <a:lnTo>
                    <a:pt x="3940" y="2162"/>
                  </a:lnTo>
                  <a:lnTo>
                    <a:pt x="3928" y="2134"/>
                  </a:lnTo>
                  <a:lnTo>
                    <a:pt x="3912" y="2110"/>
                  </a:lnTo>
                  <a:lnTo>
                    <a:pt x="3898" y="2090"/>
                  </a:lnTo>
                  <a:lnTo>
                    <a:pt x="3898" y="2090"/>
                  </a:lnTo>
                  <a:lnTo>
                    <a:pt x="3894" y="2080"/>
                  </a:lnTo>
                  <a:lnTo>
                    <a:pt x="3884" y="2068"/>
                  </a:lnTo>
                  <a:lnTo>
                    <a:pt x="3874" y="2054"/>
                  </a:lnTo>
                  <a:lnTo>
                    <a:pt x="3860" y="2040"/>
                  </a:lnTo>
                  <a:lnTo>
                    <a:pt x="3824" y="2008"/>
                  </a:lnTo>
                  <a:lnTo>
                    <a:pt x="3778" y="1970"/>
                  </a:lnTo>
                  <a:lnTo>
                    <a:pt x="3726" y="1932"/>
                  </a:lnTo>
                  <a:lnTo>
                    <a:pt x="3668" y="1888"/>
                  </a:lnTo>
                  <a:lnTo>
                    <a:pt x="3540" y="1800"/>
                  </a:lnTo>
                  <a:lnTo>
                    <a:pt x="3406" y="1714"/>
                  </a:lnTo>
                  <a:lnTo>
                    <a:pt x="3278" y="1632"/>
                  </a:lnTo>
                  <a:lnTo>
                    <a:pt x="3096" y="1520"/>
                  </a:lnTo>
                  <a:lnTo>
                    <a:pt x="3096" y="1520"/>
                  </a:lnTo>
                  <a:lnTo>
                    <a:pt x="3112" y="1510"/>
                  </a:lnTo>
                  <a:lnTo>
                    <a:pt x="3130" y="1502"/>
                  </a:lnTo>
                  <a:lnTo>
                    <a:pt x="3146" y="1494"/>
                  </a:lnTo>
                  <a:lnTo>
                    <a:pt x="3164" y="1488"/>
                  </a:lnTo>
                  <a:lnTo>
                    <a:pt x="3182" y="1484"/>
                  </a:lnTo>
                  <a:lnTo>
                    <a:pt x="3202" y="1480"/>
                  </a:lnTo>
                  <a:lnTo>
                    <a:pt x="3220" y="1478"/>
                  </a:lnTo>
                  <a:lnTo>
                    <a:pt x="3242" y="1478"/>
                  </a:lnTo>
                  <a:lnTo>
                    <a:pt x="3262" y="1480"/>
                  </a:lnTo>
                  <a:lnTo>
                    <a:pt x="3284" y="1484"/>
                  </a:lnTo>
                  <a:lnTo>
                    <a:pt x="3306" y="1488"/>
                  </a:lnTo>
                  <a:lnTo>
                    <a:pt x="3330" y="1496"/>
                  </a:lnTo>
                  <a:lnTo>
                    <a:pt x="3354" y="1504"/>
                  </a:lnTo>
                  <a:lnTo>
                    <a:pt x="3380" y="1514"/>
                  </a:lnTo>
                  <a:lnTo>
                    <a:pt x="3406" y="1528"/>
                  </a:lnTo>
                  <a:lnTo>
                    <a:pt x="3432" y="1542"/>
                  </a:lnTo>
                  <a:lnTo>
                    <a:pt x="3432" y="1542"/>
                  </a:lnTo>
                  <a:lnTo>
                    <a:pt x="3446" y="1552"/>
                  </a:lnTo>
                  <a:lnTo>
                    <a:pt x="3460" y="1562"/>
                  </a:lnTo>
                  <a:lnTo>
                    <a:pt x="3488" y="1592"/>
                  </a:lnTo>
                  <a:lnTo>
                    <a:pt x="3516" y="1624"/>
                  </a:lnTo>
                  <a:lnTo>
                    <a:pt x="3542" y="1660"/>
                  </a:lnTo>
                  <a:lnTo>
                    <a:pt x="3582" y="1720"/>
                  </a:lnTo>
                  <a:lnTo>
                    <a:pt x="3598" y="1746"/>
                  </a:lnTo>
                  <a:lnTo>
                    <a:pt x="3598" y="1746"/>
                  </a:lnTo>
                  <a:lnTo>
                    <a:pt x="3644" y="1756"/>
                  </a:lnTo>
                  <a:lnTo>
                    <a:pt x="3686" y="1760"/>
                  </a:lnTo>
                  <a:lnTo>
                    <a:pt x="3726" y="1762"/>
                  </a:lnTo>
                  <a:lnTo>
                    <a:pt x="3760" y="1758"/>
                  </a:lnTo>
                  <a:lnTo>
                    <a:pt x="3792" y="1752"/>
                  </a:lnTo>
                  <a:lnTo>
                    <a:pt x="3820" y="1742"/>
                  </a:lnTo>
                  <a:lnTo>
                    <a:pt x="3846" y="1732"/>
                  </a:lnTo>
                  <a:lnTo>
                    <a:pt x="3868" y="1720"/>
                  </a:lnTo>
                  <a:lnTo>
                    <a:pt x="3886" y="1708"/>
                  </a:lnTo>
                  <a:lnTo>
                    <a:pt x="3904" y="1694"/>
                  </a:lnTo>
                  <a:lnTo>
                    <a:pt x="3916" y="1682"/>
                  </a:lnTo>
                  <a:lnTo>
                    <a:pt x="3928" y="1670"/>
                  </a:lnTo>
                  <a:lnTo>
                    <a:pt x="3940" y="1652"/>
                  </a:lnTo>
                  <a:lnTo>
                    <a:pt x="3946" y="1646"/>
                  </a:lnTo>
                  <a:lnTo>
                    <a:pt x="3946" y="1646"/>
                  </a:lnTo>
                  <a:lnTo>
                    <a:pt x="3954" y="1642"/>
                  </a:lnTo>
                  <a:lnTo>
                    <a:pt x="3978" y="1632"/>
                  </a:lnTo>
                  <a:lnTo>
                    <a:pt x="4012" y="1616"/>
                  </a:lnTo>
                  <a:lnTo>
                    <a:pt x="4030" y="1604"/>
                  </a:lnTo>
                  <a:lnTo>
                    <a:pt x="4050" y="1592"/>
                  </a:lnTo>
                  <a:lnTo>
                    <a:pt x="4068" y="1578"/>
                  </a:lnTo>
                  <a:lnTo>
                    <a:pt x="4088" y="1560"/>
                  </a:lnTo>
                  <a:lnTo>
                    <a:pt x="4106" y="1542"/>
                  </a:lnTo>
                  <a:lnTo>
                    <a:pt x="4122" y="1520"/>
                  </a:lnTo>
                  <a:lnTo>
                    <a:pt x="4136" y="1498"/>
                  </a:lnTo>
                  <a:lnTo>
                    <a:pt x="4146" y="1474"/>
                  </a:lnTo>
                  <a:lnTo>
                    <a:pt x="4154" y="1446"/>
                  </a:lnTo>
                  <a:lnTo>
                    <a:pt x="4156" y="1418"/>
                  </a:lnTo>
                  <a:lnTo>
                    <a:pt x="4156" y="1418"/>
                  </a:lnTo>
                  <a:lnTo>
                    <a:pt x="4160" y="1416"/>
                  </a:lnTo>
                  <a:lnTo>
                    <a:pt x="4162" y="1412"/>
                  </a:lnTo>
                  <a:lnTo>
                    <a:pt x="4164" y="1406"/>
                  </a:lnTo>
                  <a:lnTo>
                    <a:pt x="4164" y="1398"/>
                  </a:lnTo>
                  <a:lnTo>
                    <a:pt x="4164" y="1388"/>
                  </a:lnTo>
                  <a:lnTo>
                    <a:pt x="4162" y="1372"/>
                  </a:lnTo>
                  <a:lnTo>
                    <a:pt x="4158" y="1354"/>
                  </a:lnTo>
                  <a:lnTo>
                    <a:pt x="4150" y="1332"/>
                  </a:lnTo>
                  <a:lnTo>
                    <a:pt x="4138" y="1302"/>
                  </a:lnTo>
                  <a:lnTo>
                    <a:pt x="4122" y="1270"/>
                  </a:lnTo>
                  <a:lnTo>
                    <a:pt x="4100" y="1230"/>
                  </a:lnTo>
                  <a:lnTo>
                    <a:pt x="4074" y="1184"/>
                  </a:lnTo>
                  <a:lnTo>
                    <a:pt x="4040" y="1130"/>
                  </a:lnTo>
                  <a:lnTo>
                    <a:pt x="4002" y="1070"/>
                  </a:lnTo>
                  <a:lnTo>
                    <a:pt x="3954" y="1002"/>
                  </a:lnTo>
                  <a:lnTo>
                    <a:pt x="3954" y="1002"/>
                  </a:lnTo>
                  <a:close/>
                  <a:moveTo>
                    <a:pt x="3110" y="646"/>
                  </a:moveTo>
                  <a:lnTo>
                    <a:pt x="3110" y="646"/>
                  </a:lnTo>
                  <a:lnTo>
                    <a:pt x="3104" y="650"/>
                  </a:lnTo>
                  <a:lnTo>
                    <a:pt x="3098" y="650"/>
                  </a:lnTo>
                  <a:lnTo>
                    <a:pt x="3094" y="648"/>
                  </a:lnTo>
                  <a:lnTo>
                    <a:pt x="3090" y="644"/>
                  </a:lnTo>
                  <a:lnTo>
                    <a:pt x="3086" y="638"/>
                  </a:lnTo>
                  <a:lnTo>
                    <a:pt x="3086" y="628"/>
                  </a:lnTo>
                  <a:lnTo>
                    <a:pt x="3084" y="618"/>
                  </a:lnTo>
                  <a:lnTo>
                    <a:pt x="3086" y="608"/>
                  </a:lnTo>
                  <a:lnTo>
                    <a:pt x="3088" y="594"/>
                  </a:lnTo>
                  <a:lnTo>
                    <a:pt x="3094" y="582"/>
                  </a:lnTo>
                  <a:lnTo>
                    <a:pt x="3100" y="568"/>
                  </a:lnTo>
                  <a:lnTo>
                    <a:pt x="3110" y="552"/>
                  </a:lnTo>
                  <a:lnTo>
                    <a:pt x="3120" y="538"/>
                  </a:lnTo>
                  <a:lnTo>
                    <a:pt x="3134" y="524"/>
                  </a:lnTo>
                  <a:lnTo>
                    <a:pt x="3150" y="512"/>
                  </a:lnTo>
                  <a:lnTo>
                    <a:pt x="3170" y="500"/>
                  </a:lnTo>
                  <a:lnTo>
                    <a:pt x="3170" y="500"/>
                  </a:lnTo>
                  <a:lnTo>
                    <a:pt x="3134" y="470"/>
                  </a:lnTo>
                  <a:lnTo>
                    <a:pt x="3108" y="444"/>
                  </a:lnTo>
                  <a:lnTo>
                    <a:pt x="3088" y="420"/>
                  </a:lnTo>
                  <a:lnTo>
                    <a:pt x="3080" y="408"/>
                  </a:lnTo>
                  <a:lnTo>
                    <a:pt x="3076" y="396"/>
                  </a:lnTo>
                  <a:lnTo>
                    <a:pt x="3072" y="386"/>
                  </a:lnTo>
                  <a:lnTo>
                    <a:pt x="3068" y="376"/>
                  </a:lnTo>
                  <a:lnTo>
                    <a:pt x="3068" y="366"/>
                  </a:lnTo>
                  <a:lnTo>
                    <a:pt x="3068" y="356"/>
                  </a:lnTo>
                  <a:lnTo>
                    <a:pt x="3070" y="338"/>
                  </a:lnTo>
                  <a:lnTo>
                    <a:pt x="3078" y="322"/>
                  </a:lnTo>
                  <a:lnTo>
                    <a:pt x="3088" y="310"/>
                  </a:lnTo>
                  <a:lnTo>
                    <a:pt x="3100" y="298"/>
                  </a:lnTo>
                  <a:lnTo>
                    <a:pt x="3114" y="288"/>
                  </a:lnTo>
                  <a:lnTo>
                    <a:pt x="3128" y="282"/>
                  </a:lnTo>
                  <a:lnTo>
                    <a:pt x="3142" y="278"/>
                  </a:lnTo>
                  <a:lnTo>
                    <a:pt x="3154" y="274"/>
                  </a:lnTo>
                  <a:lnTo>
                    <a:pt x="3166" y="274"/>
                  </a:lnTo>
                  <a:lnTo>
                    <a:pt x="3176" y="276"/>
                  </a:lnTo>
                  <a:lnTo>
                    <a:pt x="3176" y="276"/>
                  </a:lnTo>
                  <a:lnTo>
                    <a:pt x="3212" y="294"/>
                  </a:lnTo>
                  <a:lnTo>
                    <a:pt x="3242" y="314"/>
                  </a:lnTo>
                  <a:lnTo>
                    <a:pt x="3270" y="334"/>
                  </a:lnTo>
                  <a:lnTo>
                    <a:pt x="3294" y="356"/>
                  </a:lnTo>
                  <a:lnTo>
                    <a:pt x="3314" y="378"/>
                  </a:lnTo>
                  <a:lnTo>
                    <a:pt x="3332" y="398"/>
                  </a:lnTo>
                  <a:lnTo>
                    <a:pt x="3346" y="420"/>
                  </a:lnTo>
                  <a:lnTo>
                    <a:pt x="3358" y="440"/>
                  </a:lnTo>
                  <a:lnTo>
                    <a:pt x="3368" y="460"/>
                  </a:lnTo>
                  <a:lnTo>
                    <a:pt x="3376" y="478"/>
                  </a:lnTo>
                  <a:lnTo>
                    <a:pt x="3384" y="508"/>
                  </a:lnTo>
                  <a:lnTo>
                    <a:pt x="3388" y="528"/>
                  </a:lnTo>
                  <a:lnTo>
                    <a:pt x="3390" y="536"/>
                  </a:lnTo>
                  <a:lnTo>
                    <a:pt x="3390" y="536"/>
                  </a:lnTo>
                  <a:lnTo>
                    <a:pt x="3362" y="538"/>
                  </a:lnTo>
                  <a:lnTo>
                    <a:pt x="3330" y="544"/>
                  </a:lnTo>
                  <a:lnTo>
                    <a:pt x="3292" y="554"/>
                  </a:lnTo>
                  <a:lnTo>
                    <a:pt x="3248" y="568"/>
                  </a:lnTo>
                  <a:lnTo>
                    <a:pt x="3224" y="576"/>
                  </a:lnTo>
                  <a:lnTo>
                    <a:pt x="3200" y="588"/>
                  </a:lnTo>
                  <a:lnTo>
                    <a:pt x="3176" y="600"/>
                  </a:lnTo>
                  <a:lnTo>
                    <a:pt x="3154" y="612"/>
                  </a:lnTo>
                  <a:lnTo>
                    <a:pt x="3132" y="628"/>
                  </a:lnTo>
                  <a:lnTo>
                    <a:pt x="3110" y="646"/>
                  </a:lnTo>
                  <a:lnTo>
                    <a:pt x="3110" y="646"/>
                  </a:lnTo>
                  <a:close/>
                  <a:moveTo>
                    <a:pt x="3430" y="960"/>
                  </a:moveTo>
                  <a:lnTo>
                    <a:pt x="3430" y="960"/>
                  </a:lnTo>
                  <a:lnTo>
                    <a:pt x="3420" y="948"/>
                  </a:lnTo>
                  <a:lnTo>
                    <a:pt x="3410" y="938"/>
                  </a:lnTo>
                  <a:lnTo>
                    <a:pt x="3402" y="926"/>
                  </a:lnTo>
                  <a:lnTo>
                    <a:pt x="3396" y="914"/>
                  </a:lnTo>
                  <a:lnTo>
                    <a:pt x="3390" y="902"/>
                  </a:lnTo>
                  <a:lnTo>
                    <a:pt x="3386" y="888"/>
                  </a:lnTo>
                  <a:lnTo>
                    <a:pt x="3384" y="876"/>
                  </a:lnTo>
                  <a:lnTo>
                    <a:pt x="3382" y="862"/>
                  </a:lnTo>
                  <a:lnTo>
                    <a:pt x="3382" y="848"/>
                  </a:lnTo>
                  <a:lnTo>
                    <a:pt x="3384" y="834"/>
                  </a:lnTo>
                  <a:lnTo>
                    <a:pt x="3386" y="822"/>
                  </a:lnTo>
                  <a:lnTo>
                    <a:pt x="3390" y="808"/>
                  </a:lnTo>
                  <a:lnTo>
                    <a:pt x="3394" y="794"/>
                  </a:lnTo>
                  <a:lnTo>
                    <a:pt x="3400" y="782"/>
                  </a:lnTo>
                  <a:lnTo>
                    <a:pt x="3408" y="770"/>
                  </a:lnTo>
                  <a:lnTo>
                    <a:pt x="3418" y="758"/>
                  </a:lnTo>
                  <a:lnTo>
                    <a:pt x="3630" y="946"/>
                  </a:lnTo>
                  <a:lnTo>
                    <a:pt x="3630" y="946"/>
                  </a:lnTo>
                  <a:lnTo>
                    <a:pt x="3620" y="956"/>
                  </a:lnTo>
                  <a:lnTo>
                    <a:pt x="3610" y="966"/>
                  </a:lnTo>
                  <a:lnTo>
                    <a:pt x="3598" y="974"/>
                  </a:lnTo>
                  <a:lnTo>
                    <a:pt x="3586" y="980"/>
                  </a:lnTo>
                  <a:lnTo>
                    <a:pt x="3574" y="986"/>
                  </a:lnTo>
                  <a:lnTo>
                    <a:pt x="3560" y="990"/>
                  </a:lnTo>
                  <a:lnTo>
                    <a:pt x="3546" y="992"/>
                  </a:lnTo>
                  <a:lnTo>
                    <a:pt x="3534" y="994"/>
                  </a:lnTo>
                  <a:lnTo>
                    <a:pt x="3520" y="994"/>
                  </a:lnTo>
                  <a:lnTo>
                    <a:pt x="3506" y="994"/>
                  </a:lnTo>
                  <a:lnTo>
                    <a:pt x="3492" y="990"/>
                  </a:lnTo>
                  <a:lnTo>
                    <a:pt x="3480" y="988"/>
                  </a:lnTo>
                  <a:lnTo>
                    <a:pt x="3466" y="982"/>
                  </a:lnTo>
                  <a:lnTo>
                    <a:pt x="3454" y="976"/>
                  </a:lnTo>
                  <a:lnTo>
                    <a:pt x="3442" y="968"/>
                  </a:lnTo>
                  <a:lnTo>
                    <a:pt x="3430" y="960"/>
                  </a:lnTo>
                  <a:lnTo>
                    <a:pt x="3430" y="960"/>
                  </a:lnTo>
                  <a:close/>
                  <a:moveTo>
                    <a:pt x="4042" y="1356"/>
                  </a:moveTo>
                  <a:lnTo>
                    <a:pt x="4042" y="1356"/>
                  </a:lnTo>
                  <a:lnTo>
                    <a:pt x="4026" y="1350"/>
                  </a:lnTo>
                  <a:lnTo>
                    <a:pt x="4010" y="1346"/>
                  </a:lnTo>
                  <a:lnTo>
                    <a:pt x="3994" y="1344"/>
                  </a:lnTo>
                  <a:lnTo>
                    <a:pt x="3980" y="1344"/>
                  </a:lnTo>
                  <a:lnTo>
                    <a:pt x="3964" y="1346"/>
                  </a:lnTo>
                  <a:lnTo>
                    <a:pt x="3950" y="1350"/>
                  </a:lnTo>
                  <a:lnTo>
                    <a:pt x="3938" y="1356"/>
                  </a:lnTo>
                  <a:lnTo>
                    <a:pt x="3928" y="1362"/>
                  </a:lnTo>
                  <a:lnTo>
                    <a:pt x="3928" y="1362"/>
                  </a:lnTo>
                  <a:lnTo>
                    <a:pt x="3920" y="1370"/>
                  </a:lnTo>
                  <a:lnTo>
                    <a:pt x="3912" y="1380"/>
                  </a:lnTo>
                  <a:lnTo>
                    <a:pt x="3906" y="1394"/>
                  </a:lnTo>
                  <a:lnTo>
                    <a:pt x="3902" y="1412"/>
                  </a:lnTo>
                  <a:lnTo>
                    <a:pt x="3894" y="1450"/>
                  </a:lnTo>
                  <a:lnTo>
                    <a:pt x="3890" y="1494"/>
                  </a:lnTo>
                  <a:lnTo>
                    <a:pt x="3888" y="1536"/>
                  </a:lnTo>
                  <a:lnTo>
                    <a:pt x="3886" y="1572"/>
                  </a:lnTo>
                  <a:lnTo>
                    <a:pt x="3886" y="1606"/>
                  </a:lnTo>
                  <a:lnTo>
                    <a:pt x="3886" y="1606"/>
                  </a:lnTo>
                  <a:lnTo>
                    <a:pt x="3868" y="1620"/>
                  </a:lnTo>
                  <a:lnTo>
                    <a:pt x="3846" y="1636"/>
                  </a:lnTo>
                  <a:lnTo>
                    <a:pt x="3818" y="1650"/>
                  </a:lnTo>
                  <a:lnTo>
                    <a:pt x="3802" y="1658"/>
                  </a:lnTo>
                  <a:lnTo>
                    <a:pt x="3784" y="1664"/>
                  </a:lnTo>
                  <a:lnTo>
                    <a:pt x="3766" y="1668"/>
                  </a:lnTo>
                  <a:lnTo>
                    <a:pt x="3748" y="1670"/>
                  </a:lnTo>
                  <a:lnTo>
                    <a:pt x="3728" y="1672"/>
                  </a:lnTo>
                  <a:lnTo>
                    <a:pt x="3710" y="1670"/>
                  </a:lnTo>
                  <a:lnTo>
                    <a:pt x="3690" y="1664"/>
                  </a:lnTo>
                  <a:lnTo>
                    <a:pt x="3670" y="1656"/>
                  </a:lnTo>
                  <a:lnTo>
                    <a:pt x="3670" y="1656"/>
                  </a:lnTo>
                  <a:lnTo>
                    <a:pt x="3654" y="1646"/>
                  </a:lnTo>
                  <a:lnTo>
                    <a:pt x="3638" y="1636"/>
                  </a:lnTo>
                  <a:lnTo>
                    <a:pt x="3610" y="1614"/>
                  </a:lnTo>
                  <a:lnTo>
                    <a:pt x="3586" y="1588"/>
                  </a:lnTo>
                  <a:lnTo>
                    <a:pt x="3568" y="1562"/>
                  </a:lnTo>
                  <a:lnTo>
                    <a:pt x="3552" y="1536"/>
                  </a:lnTo>
                  <a:lnTo>
                    <a:pt x="3540" y="1512"/>
                  </a:lnTo>
                  <a:lnTo>
                    <a:pt x="3534" y="1492"/>
                  </a:lnTo>
                  <a:lnTo>
                    <a:pt x="3532" y="1474"/>
                  </a:lnTo>
                  <a:lnTo>
                    <a:pt x="3532" y="1474"/>
                  </a:lnTo>
                  <a:lnTo>
                    <a:pt x="3532" y="1450"/>
                  </a:lnTo>
                  <a:lnTo>
                    <a:pt x="3534" y="1424"/>
                  </a:lnTo>
                  <a:lnTo>
                    <a:pt x="3538" y="1396"/>
                  </a:lnTo>
                  <a:lnTo>
                    <a:pt x="3544" y="1364"/>
                  </a:lnTo>
                  <a:lnTo>
                    <a:pt x="3554" y="1332"/>
                  </a:lnTo>
                  <a:lnTo>
                    <a:pt x="3564" y="1296"/>
                  </a:lnTo>
                  <a:lnTo>
                    <a:pt x="3580" y="1258"/>
                  </a:lnTo>
                  <a:lnTo>
                    <a:pt x="3598" y="1218"/>
                  </a:lnTo>
                  <a:lnTo>
                    <a:pt x="3598" y="1218"/>
                  </a:lnTo>
                  <a:lnTo>
                    <a:pt x="3622" y="1174"/>
                  </a:lnTo>
                  <a:lnTo>
                    <a:pt x="3646" y="1138"/>
                  </a:lnTo>
                  <a:lnTo>
                    <a:pt x="3668" y="1108"/>
                  </a:lnTo>
                  <a:lnTo>
                    <a:pt x="3692" y="1084"/>
                  </a:lnTo>
                  <a:lnTo>
                    <a:pt x="3712" y="1066"/>
                  </a:lnTo>
                  <a:lnTo>
                    <a:pt x="3734" y="1052"/>
                  </a:lnTo>
                  <a:lnTo>
                    <a:pt x="3754" y="1042"/>
                  </a:lnTo>
                  <a:lnTo>
                    <a:pt x="3772" y="1038"/>
                  </a:lnTo>
                  <a:lnTo>
                    <a:pt x="3788" y="1034"/>
                  </a:lnTo>
                  <a:lnTo>
                    <a:pt x="3804" y="1034"/>
                  </a:lnTo>
                  <a:lnTo>
                    <a:pt x="3818" y="1034"/>
                  </a:lnTo>
                  <a:lnTo>
                    <a:pt x="3828" y="1036"/>
                  </a:lnTo>
                  <a:lnTo>
                    <a:pt x="3844" y="1042"/>
                  </a:lnTo>
                  <a:lnTo>
                    <a:pt x="3850" y="1046"/>
                  </a:lnTo>
                  <a:lnTo>
                    <a:pt x="3850" y="1046"/>
                  </a:lnTo>
                  <a:lnTo>
                    <a:pt x="3860" y="1046"/>
                  </a:lnTo>
                  <a:lnTo>
                    <a:pt x="3870" y="1050"/>
                  </a:lnTo>
                  <a:lnTo>
                    <a:pt x="3880" y="1056"/>
                  </a:lnTo>
                  <a:lnTo>
                    <a:pt x="3892" y="1064"/>
                  </a:lnTo>
                  <a:lnTo>
                    <a:pt x="3914" y="1086"/>
                  </a:lnTo>
                  <a:lnTo>
                    <a:pt x="3940" y="1116"/>
                  </a:lnTo>
                  <a:lnTo>
                    <a:pt x="3966" y="1154"/>
                  </a:lnTo>
                  <a:lnTo>
                    <a:pt x="3994" y="1198"/>
                  </a:lnTo>
                  <a:lnTo>
                    <a:pt x="4024" y="1250"/>
                  </a:lnTo>
                  <a:lnTo>
                    <a:pt x="4056" y="1308"/>
                  </a:lnTo>
                  <a:lnTo>
                    <a:pt x="4056" y="1308"/>
                  </a:lnTo>
                  <a:lnTo>
                    <a:pt x="4058" y="1316"/>
                  </a:lnTo>
                  <a:lnTo>
                    <a:pt x="4060" y="1324"/>
                  </a:lnTo>
                  <a:lnTo>
                    <a:pt x="4060" y="1334"/>
                  </a:lnTo>
                  <a:lnTo>
                    <a:pt x="4058" y="1342"/>
                  </a:lnTo>
                  <a:lnTo>
                    <a:pt x="4056" y="1348"/>
                  </a:lnTo>
                  <a:lnTo>
                    <a:pt x="4052" y="1354"/>
                  </a:lnTo>
                  <a:lnTo>
                    <a:pt x="4048" y="1356"/>
                  </a:lnTo>
                  <a:lnTo>
                    <a:pt x="4042" y="1356"/>
                  </a:lnTo>
                  <a:lnTo>
                    <a:pt x="4042" y="135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487" name="Group 1486">
            <a:extLst>
              <a:ext uri="{FF2B5EF4-FFF2-40B4-BE49-F238E27FC236}">
                <a16:creationId xmlns:a16="http://schemas.microsoft.com/office/drawing/2014/main" id="{74DDA6F7-DBB9-4E10-B6AE-A14BAC39FFB8}"/>
              </a:ext>
            </a:extLst>
          </p:cNvPr>
          <p:cNvGrpSpPr/>
          <p:nvPr/>
        </p:nvGrpSpPr>
        <p:grpSpPr>
          <a:xfrm>
            <a:off x="9050541" y="5492984"/>
            <a:ext cx="612775" cy="612775"/>
            <a:chOff x="9336672" y="4581723"/>
            <a:chExt cx="612775" cy="612775"/>
          </a:xfrm>
        </p:grpSpPr>
        <p:sp>
          <p:nvSpPr>
            <p:cNvPr id="1488" name="Oval 1487">
              <a:extLst>
                <a:ext uri="{FF2B5EF4-FFF2-40B4-BE49-F238E27FC236}">
                  <a16:creationId xmlns:a16="http://schemas.microsoft.com/office/drawing/2014/main" id="{28241738-911C-4FA4-A352-A42546AD7172}"/>
                </a:ext>
              </a:extLst>
            </p:cNvPr>
            <p:cNvSpPr/>
            <p:nvPr/>
          </p:nvSpPr>
          <p:spPr bwMode="ltGray">
            <a:xfrm>
              <a:off x="9336672"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89" name="Group 1488">
              <a:extLst>
                <a:ext uri="{FF2B5EF4-FFF2-40B4-BE49-F238E27FC236}">
                  <a16:creationId xmlns:a16="http://schemas.microsoft.com/office/drawing/2014/main" id="{A18E8619-DCBC-4DD2-98A4-325980694E54}"/>
                </a:ext>
              </a:extLst>
            </p:cNvPr>
            <p:cNvGrpSpPr/>
            <p:nvPr/>
          </p:nvGrpSpPr>
          <p:grpSpPr>
            <a:xfrm>
              <a:off x="9433527" y="4689949"/>
              <a:ext cx="448136" cy="389638"/>
              <a:chOff x="144463" y="144463"/>
              <a:chExt cx="7102475" cy="6175375"/>
            </a:xfrm>
            <a:solidFill>
              <a:srgbClr val="3C3C3E"/>
            </a:solidFill>
          </p:grpSpPr>
          <p:sp>
            <p:nvSpPr>
              <p:cNvPr id="1490" name="Freeform 8">
                <a:extLst>
                  <a:ext uri="{FF2B5EF4-FFF2-40B4-BE49-F238E27FC236}">
                    <a16:creationId xmlns:a16="http://schemas.microsoft.com/office/drawing/2014/main" id="{6F61B2AC-27BB-4361-BEDC-976C90114EA0}"/>
                  </a:ext>
                </a:extLst>
              </p:cNvPr>
              <p:cNvSpPr>
                <a:spLocks noEditPoints="1"/>
              </p:cNvSpPr>
              <p:nvPr/>
            </p:nvSpPr>
            <p:spPr bwMode="auto">
              <a:xfrm>
                <a:off x="144463" y="144463"/>
                <a:ext cx="7102475" cy="6175375"/>
              </a:xfrm>
              <a:custGeom>
                <a:avLst/>
                <a:gdLst>
                  <a:gd name="T0" fmla="*/ 368 w 4474"/>
                  <a:gd name="T1" fmla="*/ 1998 h 3890"/>
                  <a:gd name="T2" fmla="*/ 438 w 4474"/>
                  <a:gd name="T3" fmla="*/ 2182 h 3890"/>
                  <a:gd name="T4" fmla="*/ 394 w 4474"/>
                  <a:gd name="T5" fmla="*/ 2098 h 3890"/>
                  <a:gd name="T6" fmla="*/ 766 w 4474"/>
                  <a:gd name="T7" fmla="*/ 1366 h 3890"/>
                  <a:gd name="T8" fmla="*/ 1262 w 4474"/>
                  <a:gd name="T9" fmla="*/ 1426 h 3890"/>
                  <a:gd name="T10" fmla="*/ 1008 w 4474"/>
                  <a:gd name="T11" fmla="*/ 1150 h 3890"/>
                  <a:gd name="T12" fmla="*/ 1382 w 4474"/>
                  <a:gd name="T13" fmla="*/ 1068 h 3890"/>
                  <a:gd name="T14" fmla="*/ 1280 w 4474"/>
                  <a:gd name="T15" fmla="*/ 1410 h 3890"/>
                  <a:gd name="T16" fmla="*/ 324 w 4474"/>
                  <a:gd name="T17" fmla="*/ 510 h 3890"/>
                  <a:gd name="T18" fmla="*/ 714 w 4474"/>
                  <a:gd name="T19" fmla="*/ 990 h 3890"/>
                  <a:gd name="T20" fmla="*/ 996 w 4474"/>
                  <a:gd name="T21" fmla="*/ 974 h 3890"/>
                  <a:gd name="T22" fmla="*/ 934 w 4474"/>
                  <a:gd name="T23" fmla="*/ 1112 h 3890"/>
                  <a:gd name="T24" fmla="*/ 626 w 4474"/>
                  <a:gd name="T25" fmla="*/ 990 h 3890"/>
                  <a:gd name="T26" fmla="*/ 202 w 4474"/>
                  <a:gd name="T27" fmla="*/ 702 h 3890"/>
                  <a:gd name="T28" fmla="*/ 28 w 4474"/>
                  <a:gd name="T29" fmla="*/ 710 h 3890"/>
                  <a:gd name="T30" fmla="*/ 210 w 4474"/>
                  <a:gd name="T31" fmla="*/ 1316 h 3890"/>
                  <a:gd name="T32" fmla="*/ 430 w 4474"/>
                  <a:gd name="T33" fmla="*/ 1296 h 3890"/>
                  <a:gd name="T34" fmla="*/ 500 w 4474"/>
                  <a:gd name="T35" fmla="*/ 1374 h 3890"/>
                  <a:gd name="T36" fmla="*/ 252 w 4474"/>
                  <a:gd name="T37" fmla="*/ 1950 h 3890"/>
                  <a:gd name="T38" fmla="*/ 250 w 4474"/>
                  <a:gd name="T39" fmla="*/ 2278 h 3890"/>
                  <a:gd name="T40" fmla="*/ 632 w 4474"/>
                  <a:gd name="T41" fmla="*/ 2342 h 3890"/>
                  <a:gd name="T42" fmla="*/ 1216 w 4474"/>
                  <a:gd name="T43" fmla="*/ 1970 h 3890"/>
                  <a:gd name="T44" fmla="*/ 1496 w 4474"/>
                  <a:gd name="T45" fmla="*/ 1908 h 3890"/>
                  <a:gd name="T46" fmla="*/ 1604 w 4474"/>
                  <a:gd name="T47" fmla="*/ 1874 h 3890"/>
                  <a:gd name="T48" fmla="*/ 1440 w 4474"/>
                  <a:gd name="T49" fmla="*/ 2574 h 3890"/>
                  <a:gd name="T50" fmla="*/ 2096 w 4474"/>
                  <a:gd name="T51" fmla="*/ 2812 h 3890"/>
                  <a:gd name="T52" fmla="*/ 2266 w 4474"/>
                  <a:gd name="T53" fmla="*/ 2556 h 3890"/>
                  <a:gd name="T54" fmla="*/ 2086 w 4474"/>
                  <a:gd name="T55" fmla="*/ 2558 h 3890"/>
                  <a:gd name="T56" fmla="*/ 1956 w 4474"/>
                  <a:gd name="T57" fmla="*/ 2464 h 3890"/>
                  <a:gd name="T58" fmla="*/ 1888 w 4474"/>
                  <a:gd name="T59" fmla="*/ 2276 h 3890"/>
                  <a:gd name="T60" fmla="*/ 2486 w 4474"/>
                  <a:gd name="T61" fmla="*/ 1718 h 3890"/>
                  <a:gd name="T62" fmla="*/ 2538 w 4474"/>
                  <a:gd name="T63" fmla="*/ 1786 h 3890"/>
                  <a:gd name="T64" fmla="*/ 2344 w 4474"/>
                  <a:gd name="T65" fmla="*/ 2344 h 3890"/>
                  <a:gd name="T66" fmla="*/ 2734 w 4474"/>
                  <a:gd name="T67" fmla="*/ 2290 h 3890"/>
                  <a:gd name="T68" fmla="*/ 2802 w 4474"/>
                  <a:gd name="T69" fmla="*/ 2854 h 3890"/>
                  <a:gd name="T70" fmla="*/ 3424 w 4474"/>
                  <a:gd name="T71" fmla="*/ 3054 h 3890"/>
                  <a:gd name="T72" fmla="*/ 3210 w 4474"/>
                  <a:gd name="T73" fmla="*/ 3600 h 3890"/>
                  <a:gd name="T74" fmla="*/ 3406 w 4474"/>
                  <a:gd name="T75" fmla="*/ 3880 h 3890"/>
                  <a:gd name="T76" fmla="*/ 3554 w 4474"/>
                  <a:gd name="T77" fmla="*/ 3552 h 3890"/>
                  <a:gd name="T78" fmla="*/ 3608 w 4474"/>
                  <a:gd name="T79" fmla="*/ 3372 h 3890"/>
                  <a:gd name="T80" fmla="*/ 3904 w 4474"/>
                  <a:gd name="T81" fmla="*/ 3588 h 3890"/>
                  <a:gd name="T82" fmla="*/ 4234 w 4474"/>
                  <a:gd name="T83" fmla="*/ 3680 h 3890"/>
                  <a:gd name="T84" fmla="*/ 4162 w 4474"/>
                  <a:gd name="T85" fmla="*/ 3378 h 3890"/>
                  <a:gd name="T86" fmla="*/ 4102 w 4474"/>
                  <a:gd name="T87" fmla="*/ 3308 h 3890"/>
                  <a:gd name="T88" fmla="*/ 3928 w 4474"/>
                  <a:gd name="T89" fmla="*/ 2738 h 3890"/>
                  <a:gd name="T90" fmla="*/ 3816 w 4474"/>
                  <a:gd name="T91" fmla="*/ 2662 h 3890"/>
                  <a:gd name="T92" fmla="*/ 3970 w 4474"/>
                  <a:gd name="T93" fmla="*/ 2108 h 3890"/>
                  <a:gd name="T94" fmla="*/ 4396 w 4474"/>
                  <a:gd name="T95" fmla="*/ 1926 h 3890"/>
                  <a:gd name="T96" fmla="*/ 4322 w 4474"/>
                  <a:gd name="T97" fmla="*/ 1354 h 3890"/>
                  <a:gd name="T98" fmla="*/ 3906 w 4474"/>
                  <a:gd name="T99" fmla="*/ 1236 h 3890"/>
                  <a:gd name="T100" fmla="*/ 3376 w 4474"/>
                  <a:gd name="T101" fmla="*/ 1022 h 3890"/>
                  <a:gd name="T102" fmla="*/ 3382 w 4474"/>
                  <a:gd name="T103" fmla="*/ 620 h 3890"/>
                  <a:gd name="T104" fmla="*/ 2978 w 4474"/>
                  <a:gd name="T105" fmla="*/ 574 h 3890"/>
                  <a:gd name="T106" fmla="*/ 3170 w 4474"/>
                  <a:gd name="T107" fmla="*/ 806 h 3890"/>
                  <a:gd name="T108" fmla="*/ 3332 w 4474"/>
                  <a:gd name="T109" fmla="*/ 1284 h 3890"/>
                  <a:gd name="T110" fmla="*/ 4220 w 4474"/>
                  <a:gd name="T111" fmla="*/ 1456 h 3890"/>
                  <a:gd name="T112" fmla="*/ 4248 w 4474"/>
                  <a:gd name="T113" fmla="*/ 1884 h 3890"/>
                  <a:gd name="T114" fmla="*/ 3814 w 4474"/>
                  <a:gd name="T115" fmla="*/ 1760 h 3890"/>
                  <a:gd name="T116" fmla="*/ 2936 w 4474"/>
                  <a:gd name="T117" fmla="*/ 1060 h 3890"/>
                  <a:gd name="T118" fmla="*/ 2192 w 4474"/>
                  <a:gd name="T119" fmla="*/ 308 h 3890"/>
                  <a:gd name="T120" fmla="*/ 1094 w 4474"/>
                  <a:gd name="T121" fmla="*/ 382 h 3890"/>
                  <a:gd name="T122" fmla="*/ 382 w 4474"/>
                  <a:gd name="T123" fmla="*/ 262 h 3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474" h="3890">
                    <a:moveTo>
                      <a:pt x="302" y="2178"/>
                    </a:moveTo>
                    <a:lnTo>
                      <a:pt x="302" y="2178"/>
                    </a:lnTo>
                    <a:lnTo>
                      <a:pt x="288" y="2176"/>
                    </a:lnTo>
                    <a:lnTo>
                      <a:pt x="276" y="2170"/>
                    </a:lnTo>
                    <a:lnTo>
                      <a:pt x="270" y="2166"/>
                    </a:lnTo>
                    <a:lnTo>
                      <a:pt x="264" y="2160"/>
                    </a:lnTo>
                    <a:lnTo>
                      <a:pt x="260" y="2152"/>
                    </a:lnTo>
                    <a:lnTo>
                      <a:pt x="256" y="2144"/>
                    </a:lnTo>
                    <a:lnTo>
                      <a:pt x="254" y="2136"/>
                    </a:lnTo>
                    <a:lnTo>
                      <a:pt x="254" y="2126"/>
                    </a:lnTo>
                    <a:lnTo>
                      <a:pt x="254" y="2116"/>
                    </a:lnTo>
                    <a:lnTo>
                      <a:pt x="258" y="2104"/>
                    </a:lnTo>
                    <a:lnTo>
                      <a:pt x="264" y="2090"/>
                    </a:lnTo>
                    <a:lnTo>
                      <a:pt x="272" y="2078"/>
                    </a:lnTo>
                    <a:lnTo>
                      <a:pt x="282" y="2062"/>
                    </a:lnTo>
                    <a:lnTo>
                      <a:pt x="298" y="2048"/>
                    </a:lnTo>
                    <a:lnTo>
                      <a:pt x="298" y="2048"/>
                    </a:lnTo>
                    <a:lnTo>
                      <a:pt x="314" y="2032"/>
                    </a:lnTo>
                    <a:lnTo>
                      <a:pt x="332" y="2018"/>
                    </a:lnTo>
                    <a:lnTo>
                      <a:pt x="350" y="2008"/>
                    </a:lnTo>
                    <a:lnTo>
                      <a:pt x="368" y="1998"/>
                    </a:lnTo>
                    <a:lnTo>
                      <a:pt x="384" y="1992"/>
                    </a:lnTo>
                    <a:lnTo>
                      <a:pt x="402" y="1986"/>
                    </a:lnTo>
                    <a:lnTo>
                      <a:pt x="420" y="1984"/>
                    </a:lnTo>
                    <a:lnTo>
                      <a:pt x="436" y="1982"/>
                    </a:lnTo>
                    <a:lnTo>
                      <a:pt x="436" y="1982"/>
                    </a:lnTo>
                    <a:lnTo>
                      <a:pt x="454" y="1984"/>
                    </a:lnTo>
                    <a:lnTo>
                      <a:pt x="470" y="1988"/>
                    </a:lnTo>
                    <a:lnTo>
                      <a:pt x="486" y="1994"/>
                    </a:lnTo>
                    <a:lnTo>
                      <a:pt x="498" y="2004"/>
                    </a:lnTo>
                    <a:lnTo>
                      <a:pt x="508" y="2016"/>
                    </a:lnTo>
                    <a:lnTo>
                      <a:pt x="516" y="2030"/>
                    </a:lnTo>
                    <a:lnTo>
                      <a:pt x="520" y="2046"/>
                    </a:lnTo>
                    <a:lnTo>
                      <a:pt x="520" y="2064"/>
                    </a:lnTo>
                    <a:lnTo>
                      <a:pt x="520" y="2064"/>
                    </a:lnTo>
                    <a:lnTo>
                      <a:pt x="518" y="2086"/>
                    </a:lnTo>
                    <a:lnTo>
                      <a:pt x="510" y="2106"/>
                    </a:lnTo>
                    <a:lnTo>
                      <a:pt x="500" y="2124"/>
                    </a:lnTo>
                    <a:lnTo>
                      <a:pt x="486" y="2140"/>
                    </a:lnTo>
                    <a:lnTo>
                      <a:pt x="470" y="2156"/>
                    </a:lnTo>
                    <a:lnTo>
                      <a:pt x="454" y="2170"/>
                    </a:lnTo>
                    <a:lnTo>
                      <a:pt x="438" y="2182"/>
                    </a:lnTo>
                    <a:lnTo>
                      <a:pt x="422" y="2192"/>
                    </a:lnTo>
                    <a:lnTo>
                      <a:pt x="422" y="2192"/>
                    </a:lnTo>
                    <a:lnTo>
                      <a:pt x="416" y="2192"/>
                    </a:lnTo>
                    <a:lnTo>
                      <a:pt x="416" y="2192"/>
                    </a:lnTo>
                    <a:lnTo>
                      <a:pt x="410" y="2192"/>
                    </a:lnTo>
                    <a:lnTo>
                      <a:pt x="406" y="2188"/>
                    </a:lnTo>
                    <a:lnTo>
                      <a:pt x="406" y="2184"/>
                    </a:lnTo>
                    <a:lnTo>
                      <a:pt x="406" y="2180"/>
                    </a:lnTo>
                    <a:lnTo>
                      <a:pt x="412" y="2166"/>
                    </a:lnTo>
                    <a:lnTo>
                      <a:pt x="422" y="2150"/>
                    </a:lnTo>
                    <a:lnTo>
                      <a:pt x="430" y="2134"/>
                    </a:lnTo>
                    <a:lnTo>
                      <a:pt x="434" y="2126"/>
                    </a:lnTo>
                    <a:lnTo>
                      <a:pt x="436" y="2118"/>
                    </a:lnTo>
                    <a:lnTo>
                      <a:pt x="436" y="2112"/>
                    </a:lnTo>
                    <a:lnTo>
                      <a:pt x="434" y="2106"/>
                    </a:lnTo>
                    <a:lnTo>
                      <a:pt x="428" y="2102"/>
                    </a:lnTo>
                    <a:lnTo>
                      <a:pt x="422" y="2098"/>
                    </a:lnTo>
                    <a:lnTo>
                      <a:pt x="422" y="2098"/>
                    </a:lnTo>
                    <a:lnTo>
                      <a:pt x="408" y="2096"/>
                    </a:lnTo>
                    <a:lnTo>
                      <a:pt x="408" y="2096"/>
                    </a:lnTo>
                    <a:lnTo>
                      <a:pt x="394" y="2098"/>
                    </a:lnTo>
                    <a:lnTo>
                      <a:pt x="380" y="2104"/>
                    </a:lnTo>
                    <a:lnTo>
                      <a:pt x="366" y="2114"/>
                    </a:lnTo>
                    <a:lnTo>
                      <a:pt x="354" y="2126"/>
                    </a:lnTo>
                    <a:lnTo>
                      <a:pt x="332" y="2150"/>
                    </a:lnTo>
                    <a:lnTo>
                      <a:pt x="314" y="2174"/>
                    </a:lnTo>
                    <a:lnTo>
                      <a:pt x="314" y="2174"/>
                    </a:lnTo>
                    <a:lnTo>
                      <a:pt x="310" y="2178"/>
                    </a:lnTo>
                    <a:lnTo>
                      <a:pt x="302" y="2178"/>
                    </a:lnTo>
                    <a:close/>
                    <a:moveTo>
                      <a:pt x="642" y="1620"/>
                    </a:moveTo>
                    <a:lnTo>
                      <a:pt x="642" y="1620"/>
                    </a:lnTo>
                    <a:lnTo>
                      <a:pt x="626" y="1620"/>
                    </a:lnTo>
                    <a:lnTo>
                      <a:pt x="612" y="1616"/>
                    </a:lnTo>
                    <a:lnTo>
                      <a:pt x="596" y="1612"/>
                    </a:lnTo>
                    <a:lnTo>
                      <a:pt x="580" y="1608"/>
                    </a:lnTo>
                    <a:lnTo>
                      <a:pt x="706" y="1320"/>
                    </a:lnTo>
                    <a:lnTo>
                      <a:pt x="706" y="1320"/>
                    </a:lnTo>
                    <a:lnTo>
                      <a:pt x="720" y="1326"/>
                    </a:lnTo>
                    <a:lnTo>
                      <a:pt x="734" y="1334"/>
                    </a:lnTo>
                    <a:lnTo>
                      <a:pt x="746" y="1344"/>
                    </a:lnTo>
                    <a:lnTo>
                      <a:pt x="756" y="1356"/>
                    </a:lnTo>
                    <a:lnTo>
                      <a:pt x="766" y="1366"/>
                    </a:lnTo>
                    <a:lnTo>
                      <a:pt x="776" y="1380"/>
                    </a:lnTo>
                    <a:lnTo>
                      <a:pt x="782" y="1392"/>
                    </a:lnTo>
                    <a:lnTo>
                      <a:pt x="788" y="1406"/>
                    </a:lnTo>
                    <a:lnTo>
                      <a:pt x="794" y="1420"/>
                    </a:lnTo>
                    <a:lnTo>
                      <a:pt x="798" y="1434"/>
                    </a:lnTo>
                    <a:lnTo>
                      <a:pt x="800" y="1450"/>
                    </a:lnTo>
                    <a:lnTo>
                      <a:pt x="800" y="1464"/>
                    </a:lnTo>
                    <a:lnTo>
                      <a:pt x="798" y="1480"/>
                    </a:lnTo>
                    <a:lnTo>
                      <a:pt x="796" y="1496"/>
                    </a:lnTo>
                    <a:lnTo>
                      <a:pt x="792" y="1510"/>
                    </a:lnTo>
                    <a:lnTo>
                      <a:pt x="786" y="1526"/>
                    </a:lnTo>
                    <a:lnTo>
                      <a:pt x="786" y="1526"/>
                    </a:lnTo>
                    <a:lnTo>
                      <a:pt x="776" y="1546"/>
                    </a:lnTo>
                    <a:lnTo>
                      <a:pt x="762" y="1566"/>
                    </a:lnTo>
                    <a:lnTo>
                      <a:pt x="746" y="1582"/>
                    </a:lnTo>
                    <a:lnTo>
                      <a:pt x="728" y="1596"/>
                    </a:lnTo>
                    <a:lnTo>
                      <a:pt x="708" y="1606"/>
                    </a:lnTo>
                    <a:lnTo>
                      <a:pt x="688" y="1614"/>
                    </a:lnTo>
                    <a:lnTo>
                      <a:pt x="666" y="1618"/>
                    </a:lnTo>
                    <a:lnTo>
                      <a:pt x="642" y="1620"/>
                    </a:lnTo>
                    <a:close/>
                    <a:moveTo>
                      <a:pt x="1262" y="1426"/>
                    </a:moveTo>
                    <a:lnTo>
                      <a:pt x="1262" y="1426"/>
                    </a:lnTo>
                    <a:lnTo>
                      <a:pt x="1254" y="1424"/>
                    </a:lnTo>
                    <a:lnTo>
                      <a:pt x="1244" y="1418"/>
                    </a:lnTo>
                    <a:lnTo>
                      <a:pt x="1238" y="1412"/>
                    </a:lnTo>
                    <a:lnTo>
                      <a:pt x="1236" y="1404"/>
                    </a:lnTo>
                    <a:lnTo>
                      <a:pt x="1236" y="1404"/>
                    </a:lnTo>
                    <a:lnTo>
                      <a:pt x="1222" y="1368"/>
                    </a:lnTo>
                    <a:lnTo>
                      <a:pt x="1208" y="1336"/>
                    </a:lnTo>
                    <a:lnTo>
                      <a:pt x="1192" y="1308"/>
                    </a:lnTo>
                    <a:lnTo>
                      <a:pt x="1174" y="1282"/>
                    </a:lnTo>
                    <a:lnTo>
                      <a:pt x="1156" y="1258"/>
                    </a:lnTo>
                    <a:lnTo>
                      <a:pt x="1136" y="1238"/>
                    </a:lnTo>
                    <a:lnTo>
                      <a:pt x="1116" y="1220"/>
                    </a:lnTo>
                    <a:lnTo>
                      <a:pt x="1098" y="1206"/>
                    </a:lnTo>
                    <a:lnTo>
                      <a:pt x="1080" y="1192"/>
                    </a:lnTo>
                    <a:lnTo>
                      <a:pt x="1062" y="1182"/>
                    </a:lnTo>
                    <a:lnTo>
                      <a:pt x="1032" y="1166"/>
                    </a:lnTo>
                    <a:lnTo>
                      <a:pt x="1012" y="1158"/>
                    </a:lnTo>
                    <a:lnTo>
                      <a:pt x="1006" y="1156"/>
                    </a:lnTo>
                    <a:lnTo>
                      <a:pt x="1006" y="1156"/>
                    </a:lnTo>
                    <a:lnTo>
                      <a:pt x="1008" y="1150"/>
                    </a:lnTo>
                    <a:lnTo>
                      <a:pt x="1020" y="1132"/>
                    </a:lnTo>
                    <a:lnTo>
                      <a:pt x="1038" y="1108"/>
                    </a:lnTo>
                    <a:lnTo>
                      <a:pt x="1052" y="1094"/>
                    </a:lnTo>
                    <a:lnTo>
                      <a:pt x="1068" y="1082"/>
                    </a:lnTo>
                    <a:lnTo>
                      <a:pt x="1086" y="1068"/>
                    </a:lnTo>
                    <a:lnTo>
                      <a:pt x="1106" y="1054"/>
                    </a:lnTo>
                    <a:lnTo>
                      <a:pt x="1130" y="1042"/>
                    </a:lnTo>
                    <a:lnTo>
                      <a:pt x="1156" y="1030"/>
                    </a:lnTo>
                    <a:lnTo>
                      <a:pt x="1186" y="1020"/>
                    </a:lnTo>
                    <a:lnTo>
                      <a:pt x="1220" y="1012"/>
                    </a:lnTo>
                    <a:lnTo>
                      <a:pt x="1256" y="1008"/>
                    </a:lnTo>
                    <a:lnTo>
                      <a:pt x="1296" y="1006"/>
                    </a:lnTo>
                    <a:lnTo>
                      <a:pt x="1296" y="1006"/>
                    </a:lnTo>
                    <a:lnTo>
                      <a:pt x="1322" y="1008"/>
                    </a:lnTo>
                    <a:lnTo>
                      <a:pt x="1348" y="1010"/>
                    </a:lnTo>
                    <a:lnTo>
                      <a:pt x="1378" y="1012"/>
                    </a:lnTo>
                    <a:lnTo>
                      <a:pt x="1408" y="1018"/>
                    </a:lnTo>
                    <a:lnTo>
                      <a:pt x="1408" y="1018"/>
                    </a:lnTo>
                    <a:lnTo>
                      <a:pt x="1404" y="1024"/>
                    </a:lnTo>
                    <a:lnTo>
                      <a:pt x="1396" y="1042"/>
                    </a:lnTo>
                    <a:lnTo>
                      <a:pt x="1382" y="1068"/>
                    </a:lnTo>
                    <a:lnTo>
                      <a:pt x="1360" y="1098"/>
                    </a:lnTo>
                    <a:lnTo>
                      <a:pt x="1348" y="1114"/>
                    </a:lnTo>
                    <a:lnTo>
                      <a:pt x="1332" y="1130"/>
                    </a:lnTo>
                    <a:lnTo>
                      <a:pt x="1316" y="1144"/>
                    </a:lnTo>
                    <a:lnTo>
                      <a:pt x="1298" y="1158"/>
                    </a:lnTo>
                    <a:lnTo>
                      <a:pt x="1276" y="1172"/>
                    </a:lnTo>
                    <a:lnTo>
                      <a:pt x="1254" y="1182"/>
                    </a:lnTo>
                    <a:lnTo>
                      <a:pt x="1228" y="1190"/>
                    </a:lnTo>
                    <a:lnTo>
                      <a:pt x="1200" y="1196"/>
                    </a:lnTo>
                    <a:lnTo>
                      <a:pt x="1200" y="1196"/>
                    </a:lnTo>
                    <a:lnTo>
                      <a:pt x="1228" y="1230"/>
                    </a:lnTo>
                    <a:lnTo>
                      <a:pt x="1244" y="1252"/>
                    </a:lnTo>
                    <a:lnTo>
                      <a:pt x="1256" y="1276"/>
                    </a:lnTo>
                    <a:lnTo>
                      <a:pt x="1268" y="1302"/>
                    </a:lnTo>
                    <a:lnTo>
                      <a:pt x="1278" y="1332"/>
                    </a:lnTo>
                    <a:lnTo>
                      <a:pt x="1280" y="1346"/>
                    </a:lnTo>
                    <a:lnTo>
                      <a:pt x="1282" y="1362"/>
                    </a:lnTo>
                    <a:lnTo>
                      <a:pt x="1282" y="1378"/>
                    </a:lnTo>
                    <a:lnTo>
                      <a:pt x="1282" y="1394"/>
                    </a:lnTo>
                    <a:lnTo>
                      <a:pt x="1282" y="1394"/>
                    </a:lnTo>
                    <a:lnTo>
                      <a:pt x="1280" y="1410"/>
                    </a:lnTo>
                    <a:lnTo>
                      <a:pt x="1276" y="1418"/>
                    </a:lnTo>
                    <a:lnTo>
                      <a:pt x="1270" y="1424"/>
                    </a:lnTo>
                    <a:lnTo>
                      <a:pt x="1262" y="1426"/>
                    </a:lnTo>
                    <a:close/>
                    <a:moveTo>
                      <a:pt x="302" y="0"/>
                    </a:moveTo>
                    <a:lnTo>
                      <a:pt x="302" y="0"/>
                    </a:lnTo>
                    <a:lnTo>
                      <a:pt x="282" y="34"/>
                    </a:lnTo>
                    <a:lnTo>
                      <a:pt x="266" y="70"/>
                    </a:lnTo>
                    <a:lnTo>
                      <a:pt x="252" y="110"/>
                    </a:lnTo>
                    <a:lnTo>
                      <a:pt x="242" y="150"/>
                    </a:lnTo>
                    <a:lnTo>
                      <a:pt x="238" y="194"/>
                    </a:lnTo>
                    <a:lnTo>
                      <a:pt x="236" y="240"/>
                    </a:lnTo>
                    <a:lnTo>
                      <a:pt x="240" y="286"/>
                    </a:lnTo>
                    <a:lnTo>
                      <a:pt x="244" y="310"/>
                    </a:lnTo>
                    <a:lnTo>
                      <a:pt x="248" y="334"/>
                    </a:lnTo>
                    <a:lnTo>
                      <a:pt x="256" y="358"/>
                    </a:lnTo>
                    <a:lnTo>
                      <a:pt x="262" y="384"/>
                    </a:lnTo>
                    <a:lnTo>
                      <a:pt x="272" y="408"/>
                    </a:lnTo>
                    <a:lnTo>
                      <a:pt x="282" y="434"/>
                    </a:lnTo>
                    <a:lnTo>
                      <a:pt x="294" y="460"/>
                    </a:lnTo>
                    <a:lnTo>
                      <a:pt x="308" y="484"/>
                    </a:lnTo>
                    <a:lnTo>
                      <a:pt x="324" y="510"/>
                    </a:lnTo>
                    <a:lnTo>
                      <a:pt x="340" y="536"/>
                    </a:lnTo>
                    <a:lnTo>
                      <a:pt x="358" y="560"/>
                    </a:lnTo>
                    <a:lnTo>
                      <a:pt x="378" y="586"/>
                    </a:lnTo>
                    <a:lnTo>
                      <a:pt x="400" y="612"/>
                    </a:lnTo>
                    <a:lnTo>
                      <a:pt x="424" y="638"/>
                    </a:lnTo>
                    <a:lnTo>
                      <a:pt x="448" y="662"/>
                    </a:lnTo>
                    <a:lnTo>
                      <a:pt x="476" y="688"/>
                    </a:lnTo>
                    <a:lnTo>
                      <a:pt x="504" y="712"/>
                    </a:lnTo>
                    <a:lnTo>
                      <a:pt x="536" y="736"/>
                    </a:lnTo>
                    <a:lnTo>
                      <a:pt x="536" y="736"/>
                    </a:lnTo>
                    <a:lnTo>
                      <a:pt x="576" y="768"/>
                    </a:lnTo>
                    <a:lnTo>
                      <a:pt x="608" y="800"/>
                    </a:lnTo>
                    <a:lnTo>
                      <a:pt x="636" y="828"/>
                    </a:lnTo>
                    <a:lnTo>
                      <a:pt x="660" y="856"/>
                    </a:lnTo>
                    <a:lnTo>
                      <a:pt x="678" y="880"/>
                    </a:lnTo>
                    <a:lnTo>
                      <a:pt x="692" y="904"/>
                    </a:lnTo>
                    <a:lnTo>
                      <a:pt x="702" y="926"/>
                    </a:lnTo>
                    <a:lnTo>
                      <a:pt x="708" y="944"/>
                    </a:lnTo>
                    <a:lnTo>
                      <a:pt x="712" y="962"/>
                    </a:lnTo>
                    <a:lnTo>
                      <a:pt x="714" y="976"/>
                    </a:lnTo>
                    <a:lnTo>
                      <a:pt x="714" y="990"/>
                    </a:lnTo>
                    <a:lnTo>
                      <a:pt x="714" y="1000"/>
                    </a:lnTo>
                    <a:lnTo>
                      <a:pt x="710" y="1014"/>
                    </a:lnTo>
                    <a:lnTo>
                      <a:pt x="708" y="1020"/>
                    </a:lnTo>
                    <a:lnTo>
                      <a:pt x="708" y="1020"/>
                    </a:lnTo>
                    <a:lnTo>
                      <a:pt x="722" y="1028"/>
                    </a:lnTo>
                    <a:lnTo>
                      <a:pt x="736" y="1036"/>
                    </a:lnTo>
                    <a:lnTo>
                      <a:pt x="750" y="1042"/>
                    </a:lnTo>
                    <a:lnTo>
                      <a:pt x="766" y="1046"/>
                    </a:lnTo>
                    <a:lnTo>
                      <a:pt x="798" y="1052"/>
                    </a:lnTo>
                    <a:lnTo>
                      <a:pt x="832" y="1054"/>
                    </a:lnTo>
                    <a:lnTo>
                      <a:pt x="832" y="1054"/>
                    </a:lnTo>
                    <a:lnTo>
                      <a:pt x="862" y="1052"/>
                    </a:lnTo>
                    <a:lnTo>
                      <a:pt x="890" y="1048"/>
                    </a:lnTo>
                    <a:lnTo>
                      <a:pt x="912" y="1044"/>
                    </a:lnTo>
                    <a:lnTo>
                      <a:pt x="928" y="1036"/>
                    </a:lnTo>
                    <a:lnTo>
                      <a:pt x="928" y="1036"/>
                    </a:lnTo>
                    <a:lnTo>
                      <a:pt x="946" y="1026"/>
                    </a:lnTo>
                    <a:lnTo>
                      <a:pt x="962" y="1014"/>
                    </a:lnTo>
                    <a:lnTo>
                      <a:pt x="976" y="1002"/>
                    </a:lnTo>
                    <a:lnTo>
                      <a:pt x="986" y="988"/>
                    </a:lnTo>
                    <a:lnTo>
                      <a:pt x="996" y="974"/>
                    </a:lnTo>
                    <a:lnTo>
                      <a:pt x="1004" y="962"/>
                    </a:lnTo>
                    <a:lnTo>
                      <a:pt x="1010" y="950"/>
                    </a:lnTo>
                    <a:lnTo>
                      <a:pt x="1012" y="940"/>
                    </a:lnTo>
                    <a:lnTo>
                      <a:pt x="1012" y="940"/>
                    </a:lnTo>
                    <a:lnTo>
                      <a:pt x="1018" y="942"/>
                    </a:lnTo>
                    <a:lnTo>
                      <a:pt x="1024" y="946"/>
                    </a:lnTo>
                    <a:lnTo>
                      <a:pt x="1026" y="952"/>
                    </a:lnTo>
                    <a:lnTo>
                      <a:pt x="1028" y="960"/>
                    </a:lnTo>
                    <a:lnTo>
                      <a:pt x="1028" y="970"/>
                    </a:lnTo>
                    <a:lnTo>
                      <a:pt x="1028" y="982"/>
                    </a:lnTo>
                    <a:lnTo>
                      <a:pt x="1026" y="996"/>
                    </a:lnTo>
                    <a:lnTo>
                      <a:pt x="1022" y="1008"/>
                    </a:lnTo>
                    <a:lnTo>
                      <a:pt x="1016" y="1022"/>
                    </a:lnTo>
                    <a:lnTo>
                      <a:pt x="1008" y="1038"/>
                    </a:lnTo>
                    <a:lnTo>
                      <a:pt x="1000" y="1052"/>
                    </a:lnTo>
                    <a:lnTo>
                      <a:pt x="990" y="1066"/>
                    </a:lnTo>
                    <a:lnTo>
                      <a:pt x="978" y="1078"/>
                    </a:lnTo>
                    <a:lnTo>
                      <a:pt x="966" y="1092"/>
                    </a:lnTo>
                    <a:lnTo>
                      <a:pt x="950" y="1102"/>
                    </a:lnTo>
                    <a:lnTo>
                      <a:pt x="934" y="1112"/>
                    </a:lnTo>
                    <a:lnTo>
                      <a:pt x="934" y="1112"/>
                    </a:lnTo>
                    <a:lnTo>
                      <a:pt x="916" y="1120"/>
                    </a:lnTo>
                    <a:lnTo>
                      <a:pt x="888" y="1126"/>
                    </a:lnTo>
                    <a:lnTo>
                      <a:pt x="850" y="1134"/>
                    </a:lnTo>
                    <a:lnTo>
                      <a:pt x="830" y="1136"/>
                    </a:lnTo>
                    <a:lnTo>
                      <a:pt x="808" y="1136"/>
                    </a:lnTo>
                    <a:lnTo>
                      <a:pt x="808" y="1136"/>
                    </a:lnTo>
                    <a:lnTo>
                      <a:pt x="784" y="1134"/>
                    </a:lnTo>
                    <a:lnTo>
                      <a:pt x="758" y="1132"/>
                    </a:lnTo>
                    <a:lnTo>
                      <a:pt x="732" y="1126"/>
                    </a:lnTo>
                    <a:lnTo>
                      <a:pt x="708" y="1116"/>
                    </a:lnTo>
                    <a:lnTo>
                      <a:pt x="684" y="1104"/>
                    </a:lnTo>
                    <a:lnTo>
                      <a:pt x="660" y="1086"/>
                    </a:lnTo>
                    <a:lnTo>
                      <a:pt x="650" y="1076"/>
                    </a:lnTo>
                    <a:lnTo>
                      <a:pt x="640" y="1064"/>
                    </a:lnTo>
                    <a:lnTo>
                      <a:pt x="632" y="1052"/>
                    </a:lnTo>
                    <a:lnTo>
                      <a:pt x="622" y="1038"/>
                    </a:lnTo>
                    <a:lnTo>
                      <a:pt x="622" y="1038"/>
                    </a:lnTo>
                    <a:lnTo>
                      <a:pt x="624" y="1034"/>
                    </a:lnTo>
                    <a:lnTo>
                      <a:pt x="626" y="1022"/>
                    </a:lnTo>
                    <a:lnTo>
                      <a:pt x="628" y="1002"/>
                    </a:lnTo>
                    <a:lnTo>
                      <a:pt x="626" y="990"/>
                    </a:lnTo>
                    <a:lnTo>
                      <a:pt x="622" y="976"/>
                    </a:lnTo>
                    <a:lnTo>
                      <a:pt x="618" y="960"/>
                    </a:lnTo>
                    <a:lnTo>
                      <a:pt x="608" y="940"/>
                    </a:lnTo>
                    <a:lnTo>
                      <a:pt x="598" y="920"/>
                    </a:lnTo>
                    <a:lnTo>
                      <a:pt x="584" y="900"/>
                    </a:lnTo>
                    <a:lnTo>
                      <a:pt x="566" y="876"/>
                    </a:lnTo>
                    <a:lnTo>
                      <a:pt x="542" y="850"/>
                    </a:lnTo>
                    <a:lnTo>
                      <a:pt x="516" y="824"/>
                    </a:lnTo>
                    <a:lnTo>
                      <a:pt x="484" y="796"/>
                    </a:lnTo>
                    <a:lnTo>
                      <a:pt x="484" y="796"/>
                    </a:lnTo>
                    <a:lnTo>
                      <a:pt x="454" y="818"/>
                    </a:lnTo>
                    <a:lnTo>
                      <a:pt x="426" y="844"/>
                    </a:lnTo>
                    <a:lnTo>
                      <a:pt x="426" y="844"/>
                    </a:lnTo>
                    <a:lnTo>
                      <a:pt x="374" y="812"/>
                    </a:lnTo>
                    <a:lnTo>
                      <a:pt x="324" y="786"/>
                    </a:lnTo>
                    <a:lnTo>
                      <a:pt x="324" y="786"/>
                    </a:lnTo>
                    <a:lnTo>
                      <a:pt x="300" y="772"/>
                    </a:lnTo>
                    <a:lnTo>
                      <a:pt x="278" y="760"/>
                    </a:lnTo>
                    <a:lnTo>
                      <a:pt x="258" y="746"/>
                    </a:lnTo>
                    <a:lnTo>
                      <a:pt x="238" y="732"/>
                    </a:lnTo>
                    <a:lnTo>
                      <a:pt x="202" y="702"/>
                    </a:lnTo>
                    <a:lnTo>
                      <a:pt x="172" y="670"/>
                    </a:lnTo>
                    <a:lnTo>
                      <a:pt x="146" y="636"/>
                    </a:lnTo>
                    <a:lnTo>
                      <a:pt x="124" y="604"/>
                    </a:lnTo>
                    <a:lnTo>
                      <a:pt x="104" y="570"/>
                    </a:lnTo>
                    <a:lnTo>
                      <a:pt x="90" y="538"/>
                    </a:lnTo>
                    <a:lnTo>
                      <a:pt x="78" y="508"/>
                    </a:lnTo>
                    <a:lnTo>
                      <a:pt x="68" y="480"/>
                    </a:lnTo>
                    <a:lnTo>
                      <a:pt x="60" y="454"/>
                    </a:lnTo>
                    <a:lnTo>
                      <a:pt x="54" y="432"/>
                    </a:lnTo>
                    <a:lnTo>
                      <a:pt x="50" y="398"/>
                    </a:lnTo>
                    <a:lnTo>
                      <a:pt x="48" y="388"/>
                    </a:lnTo>
                    <a:lnTo>
                      <a:pt x="48" y="388"/>
                    </a:lnTo>
                    <a:lnTo>
                      <a:pt x="32" y="416"/>
                    </a:lnTo>
                    <a:lnTo>
                      <a:pt x="20" y="446"/>
                    </a:lnTo>
                    <a:lnTo>
                      <a:pt x="10" y="480"/>
                    </a:lnTo>
                    <a:lnTo>
                      <a:pt x="4" y="514"/>
                    </a:lnTo>
                    <a:lnTo>
                      <a:pt x="0" y="550"/>
                    </a:lnTo>
                    <a:lnTo>
                      <a:pt x="0" y="588"/>
                    </a:lnTo>
                    <a:lnTo>
                      <a:pt x="6" y="628"/>
                    </a:lnTo>
                    <a:lnTo>
                      <a:pt x="14" y="668"/>
                    </a:lnTo>
                    <a:lnTo>
                      <a:pt x="28" y="710"/>
                    </a:lnTo>
                    <a:lnTo>
                      <a:pt x="44" y="750"/>
                    </a:lnTo>
                    <a:lnTo>
                      <a:pt x="68" y="792"/>
                    </a:lnTo>
                    <a:lnTo>
                      <a:pt x="96" y="834"/>
                    </a:lnTo>
                    <a:lnTo>
                      <a:pt x="130" y="876"/>
                    </a:lnTo>
                    <a:lnTo>
                      <a:pt x="168" y="916"/>
                    </a:lnTo>
                    <a:lnTo>
                      <a:pt x="214" y="956"/>
                    </a:lnTo>
                    <a:lnTo>
                      <a:pt x="266" y="996"/>
                    </a:lnTo>
                    <a:lnTo>
                      <a:pt x="266" y="996"/>
                    </a:lnTo>
                    <a:lnTo>
                      <a:pt x="282" y="1008"/>
                    </a:lnTo>
                    <a:lnTo>
                      <a:pt x="282" y="1008"/>
                    </a:lnTo>
                    <a:lnTo>
                      <a:pt x="264" y="1036"/>
                    </a:lnTo>
                    <a:lnTo>
                      <a:pt x="248" y="1066"/>
                    </a:lnTo>
                    <a:lnTo>
                      <a:pt x="234" y="1094"/>
                    </a:lnTo>
                    <a:lnTo>
                      <a:pt x="222" y="1124"/>
                    </a:lnTo>
                    <a:lnTo>
                      <a:pt x="212" y="1152"/>
                    </a:lnTo>
                    <a:lnTo>
                      <a:pt x="204" y="1180"/>
                    </a:lnTo>
                    <a:lnTo>
                      <a:pt x="200" y="1208"/>
                    </a:lnTo>
                    <a:lnTo>
                      <a:pt x="198" y="1236"/>
                    </a:lnTo>
                    <a:lnTo>
                      <a:pt x="198" y="1264"/>
                    </a:lnTo>
                    <a:lnTo>
                      <a:pt x="204" y="1290"/>
                    </a:lnTo>
                    <a:lnTo>
                      <a:pt x="210" y="1316"/>
                    </a:lnTo>
                    <a:lnTo>
                      <a:pt x="222" y="1342"/>
                    </a:lnTo>
                    <a:lnTo>
                      <a:pt x="236" y="1366"/>
                    </a:lnTo>
                    <a:lnTo>
                      <a:pt x="256" y="1388"/>
                    </a:lnTo>
                    <a:lnTo>
                      <a:pt x="278" y="1410"/>
                    </a:lnTo>
                    <a:lnTo>
                      <a:pt x="306" y="1430"/>
                    </a:lnTo>
                    <a:lnTo>
                      <a:pt x="306" y="1430"/>
                    </a:lnTo>
                    <a:lnTo>
                      <a:pt x="314" y="1394"/>
                    </a:lnTo>
                    <a:lnTo>
                      <a:pt x="332" y="1314"/>
                    </a:lnTo>
                    <a:lnTo>
                      <a:pt x="342" y="1272"/>
                    </a:lnTo>
                    <a:lnTo>
                      <a:pt x="354" y="1234"/>
                    </a:lnTo>
                    <a:lnTo>
                      <a:pt x="362" y="1208"/>
                    </a:lnTo>
                    <a:lnTo>
                      <a:pt x="366" y="1200"/>
                    </a:lnTo>
                    <a:lnTo>
                      <a:pt x="370" y="1198"/>
                    </a:lnTo>
                    <a:lnTo>
                      <a:pt x="370" y="1198"/>
                    </a:lnTo>
                    <a:lnTo>
                      <a:pt x="370" y="1198"/>
                    </a:lnTo>
                    <a:lnTo>
                      <a:pt x="370" y="1198"/>
                    </a:lnTo>
                    <a:lnTo>
                      <a:pt x="374" y="1200"/>
                    </a:lnTo>
                    <a:lnTo>
                      <a:pt x="378" y="1204"/>
                    </a:lnTo>
                    <a:lnTo>
                      <a:pt x="386" y="1216"/>
                    </a:lnTo>
                    <a:lnTo>
                      <a:pt x="408" y="1256"/>
                    </a:lnTo>
                    <a:lnTo>
                      <a:pt x="430" y="1296"/>
                    </a:lnTo>
                    <a:lnTo>
                      <a:pt x="438" y="1308"/>
                    </a:lnTo>
                    <a:lnTo>
                      <a:pt x="442" y="1312"/>
                    </a:lnTo>
                    <a:lnTo>
                      <a:pt x="446" y="1312"/>
                    </a:lnTo>
                    <a:lnTo>
                      <a:pt x="446" y="1312"/>
                    </a:lnTo>
                    <a:lnTo>
                      <a:pt x="448" y="1312"/>
                    </a:lnTo>
                    <a:lnTo>
                      <a:pt x="452" y="1308"/>
                    </a:lnTo>
                    <a:lnTo>
                      <a:pt x="460" y="1296"/>
                    </a:lnTo>
                    <a:lnTo>
                      <a:pt x="482" y="1262"/>
                    </a:lnTo>
                    <a:lnTo>
                      <a:pt x="502" y="1226"/>
                    </a:lnTo>
                    <a:lnTo>
                      <a:pt x="510" y="1216"/>
                    </a:lnTo>
                    <a:lnTo>
                      <a:pt x="514" y="1212"/>
                    </a:lnTo>
                    <a:lnTo>
                      <a:pt x="518" y="1212"/>
                    </a:lnTo>
                    <a:lnTo>
                      <a:pt x="518" y="1212"/>
                    </a:lnTo>
                    <a:lnTo>
                      <a:pt x="520" y="1214"/>
                    </a:lnTo>
                    <a:lnTo>
                      <a:pt x="520" y="1214"/>
                    </a:lnTo>
                    <a:lnTo>
                      <a:pt x="522" y="1224"/>
                    </a:lnTo>
                    <a:lnTo>
                      <a:pt x="522" y="1244"/>
                    </a:lnTo>
                    <a:lnTo>
                      <a:pt x="520" y="1272"/>
                    </a:lnTo>
                    <a:lnTo>
                      <a:pt x="516" y="1304"/>
                    </a:lnTo>
                    <a:lnTo>
                      <a:pt x="508" y="1338"/>
                    </a:lnTo>
                    <a:lnTo>
                      <a:pt x="500" y="1374"/>
                    </a:lnTo>
                    <a:lnTo>
                      <a:pt x="490" y="1406"/>
                    </a:lnTo>
                    <a:lnTo>
                      <a:pt x="478" y="1434"/>
                    </a:lnTo>
                    <a:lnTo>
                      <a:pt x="478" y="1434"/>
                    </a:lnTo>
                    <a:lnTo>
                      <a:pt x="476" y="1436"/>
                    </a:lnTo>
                    <a:lnTo>
                      <a:pt x="476" y="1436"/>
                    </a:lnTo>
                    <a:lnTo>
                      <a:pt x="472" y="1436"/>
                    </a:lnTo>
                    <a:lnTo>
                      <a:pt x="468" y="1432"/>
                    </a:lnTo>
                    <a:lnTo>
                      <a:pt x="456" y="1422"/>
                    </a:lnTo>
                    <a:lnTo>
                      <a:pt x="426" y="1392"/>
                    </a:lnTo>
                    <a:lnTo>
                      <a:pt x="390" y="1348"/>
                    </a:lnTo>
                    <a:lnTo>
                      <a:pt x="390" y="1348"/>
                    </a:lnTo>
                    <a:lnTo>
                      <a:pt x="378" y="1414"/>
                    </a:lnTo>
                    <a:lnTo>
                      <a:pt x="348" y="1570"/>
                    </a:lnTo>
                    <a:lnTo>
                      <a:pt x="328" y="1664"/>
                    </a:lnTo>
                    <a:lnTo>
                      <a:pt x="308" y="1758"/>
                    </a:lnTo>
                    <a:lnTo>
                      <a:pt x="286" y="1846"/>
                    </a:lnTo>
                    <a:lnTo>
                      <a:pt x="266" y="1918"/>
                    </a:lnTo>
                    <a:lnTo>
                      <a:pt x="266" y="1918"/>
                    </a:lnTo>
                    <a:lnTo>
                      <a:pt x="256" y="1948"/>
                    </a:lnTo>
                    <a:lnTo>
                      <a:pt x="256" y="1948"/>
                    </a:lnTo>
                    <a:lnTo>
                      <a:pt x="252" y="1950"/>
                    </a:lnTo>
                    <a:lnTo>
                      <a:pt x="252" y="1950"/>
                    </a:lnTo>
                    <a:lnTo>
                      <a:pt x="236" y="1968"/>
                    </a:lnTo>
                    <a:lnTo>
                      <a:pt x="222" y="1986"/>
                    </a:lnTo>
                    <a:lnTo>
                      <a:pt x="210" y="2004"/>
                    </a:lnTo>
                    <a:lnTo>
                      <a:pt x="198" y="2020"/>
                    </a:lnTo>
                    <a:lnTo>
                      <a:pt x="190" y="2036"/>
                    </a:lnTo>
                    <a:lnTo>
                      <a:pt x="182" y="2052"/>
                    </a:lnTo>
                    <a:lnTo>
                      <a:pt x="176" y="2068"/>
                    </a:lnTo>
                    <a:lnTo>
                      <a:pt x="172" y="2082"/>
                    </a:lnTo>
                    <a:lnTo>
                      <a:pt x="168" y="2110"/>
                    </a:lnTo>
                    <a:lnTo>
                      <a:pt x="168" y="2134"/>
                    </a:lnTo>
                    <a:lnTo>
                      <a:pt x="170" y="2158"/>
                    </a:lnTo>
                    <a:lnTo>
                      <a:pt x="178" y="2178"/>
                    </a:lnTo>
                    <a:lnTo>
                      <a:pt x="186" y="2196"/>
                    </a:lnTo>
                    <a:lnTo>
                      <a:pt x="196" y="2212"/>
                    </a:lnTo>
                    <a:lnTo>
                      <a:pt x="206" y="2226"/>
                    </a:lnTo>
                    <a:lnTo>
                      <a:pt x="216" y="2238"/>
                    </a:lnTo>
                    <a:lnTo>
                      <a:pt x="234" y="2254"/>
                    </a:lnTo>
                    <a:lnTo>
                      <a:pt x="242" y="2258"/>
                    </a:lnTo>
                    <a:lnTo>
                      <a:pt x="242" y="2258"/>
                    </a:lnTo>
                    <a:lnTo>
                      <a:pt x="250" y="2278"/>
                    </a:lnTo>
                    <a:lnTo>
                      <a:pt x="262" y="2294"/>
                    </a:lnTo>
                    <a:lnTo>
                      <a:pt x="276" y="2310"/>
                    </a:lnTo>
                    <a:lnTo>
                      <a:pt x="290" y="2322"/>
                    </a:lnTo>
                    <a:lnTo>
                      <a:pt x="306" y="2334"/>
                    </a:lnTo>
                    <a:lnTo>
                      <a:pt x="324" y="2342"/>
                    </a:lnTo>
                    <a:lnTo>
                      <a:pt x="342" y="2350"/>
                    </a:lnTo>
                    <a:lnTo>
                      <a:pt x="360" y="2356"/>
                    </a:lnTo>
                    <a:lnTo>
                      <a:pt x="396" y="2366"/>
                    </a:lnTo>
                    <a:lnTo>
                      <a:pt x="428" y="2372"/>
                    </a:lnTo>
                    <a:lnTo>
                      <a:pt x="454" y="2374"/>
                    </a:lnTo>
                    <a:lnTo>
                      <a:pt x="474" y="2376"/>
                    </a:lnTo>
                    <a:lnTo>
                      <a:pt x="474" y="2376"/>
                    </a:lnTo>
                    <a:lnTo>
                      <a:pt x="504" y="2376"/>
                    </a:lnTo>
                    <a:lnTo>
                      <a:pt x="504" y="2376"/>
                    </a:lnTo>
                    <a:lnTo>
                      <a:pt x="544" y="2374"/>
                    </a:lnTo>
                    <a:lnTo>
                      <a:pt x="562" y="2372"/>
                    </a:lnTo>
                    <a:lnTo>
                      <a:pt x="578" y="2368"/>
                    </a:lnTo>
                    <a:lnTo>
                      <a:pt x="592" y="2364"/>
                    </a:lnTo>
                    <a:lnTo>
                      <a:pt x="606" y="2358"/>
                    </a:lnTo>
                    <a:lnTo>
                      <a:pt x="618" y="2350"/>
                    </a:lnTo>
                    <a:lnTo>
                      <a:pt x="632" y="2342"/>
                    </a:lnTo>
                    <a:lnTo>
                      <a:pt x="644" y="2332"/>
                    </a:lnTo>
                    <a:lnTo>
                      <a:pt x="656" y="2320"/>
                    </a:lnTo>
                    <a:lnTo>
                      <a:pt x="680" y="2294"/>
                    </a:lnTo>
                    <a:lnTo>
                      <a:pt x="708" y="2258"/>
                    </a:lnTo>
                    <a:lnTo>
                      <a:pt x="738" y="2216"/>
                    </a:lnTo>
                    <a:lnTo>
                      <a:pt x="738" y="2216"/>
                    </a:lnTo>
                    <a:lnTo>
                      <a:pt x="760" y="2212"/>
                    </a:lnTo>
                    <a:lnTo>
                      <a:pt x="816" y="2200"/>
                    </a:lnTo>
                    <a:lnTo>
                      <a:pt x="854" y="2190"/>
                    </a:lnTo>
                    <a:lnTo>
                      <a:pt x="898" y="2176"/>
                    </a:lnTo>
                    <a:lnTo>
                      <a:pt x="944" y="2160"/>
                    </a:lnTo>
                    <a:lnTo>
                      <a:pt x="992" y="2140"/>
                    </a:lnTo>
                    <a:lnTo>
                      <a:pt x="1040" y="2116"/>
                    </a:lnTo>
                    <a:lnTo>
                      <a:pt x="1064" y="2102"/>
                    </a:lnTo>
                    <a:lnTo>
                      <a:pt x="1088" y="2088"/>
                    </a:lnTo>
                    <a:lnTo>
                      <a:pt x="1112" y="2072"/>
                    </a:lnTo>
                    <a:lnTo>
                      <a:pt x="1134" y="2054"/>
                    </a:lnTo>
                    <a:lnTo>
                      <a:pt x="1156" y="2036"/>
                    </a:lnTo>
                    <a:lnTo>
                      <a:pt x="1178" y="2016"/>
                    </a:lnTo>
                    <a:lnTo>
                      <a:pt x="1198" y="1994"/>
                    </a:lnTo>
                    <a:lnTo>
                      <a:pt x="1216" y="1970"/>
                    </a:lnTo>
                    <a:lnTo>
                      <a:pt x="1232" y="1946"/>
                    </a:lnTo>
                    <a:lnTo>
                      <a:pt x="1248" y="1920"/>
                    </a:lnTo>
                    <a:lnTo>
                      <a:pt x="1262" y="1892"/>
                    </a:lnTo>
                    <a:lnTo>
                      <a:pt x="1274" y="1864"/>
                    </a:lnTo>
                    <a:lnTo>
                      <a:pt x="1282" y="1832"/>
                    </a:lnTo>
                    <a:lnTo>
                      <a:pt x="1290" y="1800"/>
                    </a:lnTo>
                    <a:lnTo>
                      <a:pt x="1290" y="1800"/>
                    </a:lnTo>
                    <a:lnTo>
                      <a:pt x="1290" y="1798"/>
                    </a:lnTo>
                    <a:lnTo>
                      <a:pt x="1290" y="1798"/>
                    </a:lnTo>
                    <a:lnTo>
                      <a:pt x="1298" y="1802"/>
                    </a:lnTo>
                    <a:lnTo>
                      <a:pt x="1312" y="1812"/>
                    </a:lnTo>
                    <a:lnTo>
                      <a:pt x="1332" y="1826"/>
                    </a:lnTo>
                    <a:lnTo>
                      <a:pt x="1356" y="1846"/>
                    </a:lnTo>
                    <a:lnTo>
                      <a:pt x="1382" y="1870"/>
                    </a:lnTo>
                    <a:lnTo>
                      <a:pt x="1410" y="1900"/>
                    </a:lnTo>
                    <a:lnTo>
                      <a:pt x="1438" y="1932"/>
                    </a:lnTo>
                    <a:lnTo>
                      <a:pt x="1464" y="1968"/>
                    </a:lnTo>
                    <a:lnTo>
                      <a:pt x="1464" y="1968"/>
                    </a:lnTo>
                    <a:lnTo>
                      <a:pt x="1476" y="1952"/>
                    </a:lnTo>
                    <a:lnTo>
                      <a:pt x="1486" y="1930"/>
                    </a:lnTo>
                    <a:lnTo>
                      <a:pt x="1496" y="1908"/>
                    </a:lnTo>
                    <a:lnTo>
                      <a:pt x="1504" y="1882"/>
                    </a:lnTo>
                    <a:lnTo>
                      <a:pt x="1510" y="1852"/>
                    </a:lnTo>
                    <a:lnTo>
                      <a:pt x="1516" y="1818"/>
                    </a:lnTo>
                    <a:lnTo>
                      <a:pt x="1518" y="1782"/>
                    </a:lnTo>
                    <a:lnTo>
                      <a:pt x="1520" y="1740"/>
                    </a:lnTo>
                    <a:lnTo>
                      <a:pt x="1520" y="1740"/>
                    </a:lnTo>
                    <a:lnTo>
                      <a:pt x="1520" y="1732"/>
                    </a:lnTo>
                    <a:lnTo>
                      <a:pt x="1524" y="1724"/>
                    </a:lnTo>
                    <a:lnTo>
                      <a:pt x="1530" y="1718"/>
                    </a:lnTo>
                    <a:lnTo>
                      <a:pt x="1534" y="1716"/>
                    </a:lnTo>
                    <a:lnTo>
                      <a:pt x="1540" y="1714"/>
                    </a:lnTo>
                    <a:lnTo>
                      <a:pt x="1540" y="1714"/>
                    </a:lnTo>
                    <a:lnTo>
                      <a:pt x="1546" y="1716"/>
                    </a:lnTo>
                    <a:lnTo>
                      <a:pt x="1554" y="1720"/>
                    </a:lnTo>
                    <a:lnTo>
                      <a:pt x="1554" y="1720"/>
                    </a:lnTo>
                    <a:lnTo>
                      <a:pt x="1568" y="1738"/>
                    </a:lnTo>
                    <a:lnTo>
                      <a:pt x="1582" y="1760"/>
                    </a:lnTo>
                    <a:lnTo>
                      <a:pt x="1592" y="1786"/>
                    </a:lnTo>
                    <a:lnTo>
                      <a:pt x="1600" y="1812"/>
                    </a:lnTo>
                    <a:lnTo>
                      <a:pt x="1604" y="1842"/>
                    </a:lnTo>
                    <a:lnTo>
                      <a:pt x="1604" y="1874"/>
                    </a:lnTo>
                    <a:lnTo>
                      <a:pt x="1602" y="1908"/>
                    </a:lnTo>
                    <a:lnTo>
                      <a:pt x="1596" y="1946"/>
                    </a:lnTo>
                    <a:lnTo>
                      <a:pt x="1596" y="1946"/>
                    </a:lnTo>
                    <a:lnTo>
                      <a:pt x="1586" y="1984"/>
                    </a:lnTo>
                    <a:lnTo>
                      <a:pt x="1576" y="2022"/>
                    </a:lnTo>
                    <a:lnTo>
                      <a:pt x="1562" y="2062"/>
                    </a:lnTo>
                    <a:lnTo>
                      <a:pt x="1546" y="2104"/>
                    </a:lnTo>
                    <a:lnTo>
                      <a:pt x="1508" y="2196"/>
                    </a:lnTo>
                    <a:lnTo>
                      <a:pt x="1458" y="2302"/>
                    </a:lnTo>
                    <a:lnTo>
                      <a:pt x="1458" y="2302"/>
                    </a:lnTo>
                    <a:lnTo>
                      <a:pt x="1446" y="2330"/>
                    </a:lnTo>
                    <a:lnTo>
                      <a:pt x="1436" y="2358"/>
                    </a:lnTo>
                    <a:lnTo>
                      <a:pt x="1428" y="2386"/>
                    </a:lnTo>
                    <a:lnTo>
                      <a:pt x="1422" y="2412"/>
                    </a:lnTo>
                    <a:lnTo>
                      <a:pt x="1418" y="2438"/>
                    </a:lnTo>
                    <a:lnTo>
                      <a:pt x="1416" y="2464"/>
                    </a:lnTo>
                    <a:lnTo>
                      <a:pt x="1416" y="2488"/>
                    </a:lnTo>
                    <a:lnTo>
                      <a:pt x="1418" y="2512"/>
                    </a:lnTo>
                    <a:lnTo>
                      <a:pt x="1424" y="2534"/>
                    </a:lnTo>
                    <a:lnTo>
                      <a:pt x="1430" y="2554"/>
                    </a:lnTo>
                    <a:lnTo>
                      <a:pt x="1440" y="2574"/>
                    </a:lnTo>
                    <a:lnTo>
                      <a:pt x="1450" y="2592"/>
                    </a:lnTo>
                    <a:lnTo>
                      <a:pt x="1464" y="2610"/>
                    </a:lnTo>
                    <a:lnTo>
                      <a:pt x="1480" y="2624"/>
                    </a:lnTo>
                    <a:lnTo>
                      <a:pt x="1500" y="2638"/>
                    </a:lnTo>
                    <a:lnTo>
                      <a:pt x="1520" y="2650"/>
                    </a:lnTo>
                    <a:lnTo>
                      <a:pt x="1520" y="2650"/>
                    </a:lnTo>
                    <a:lnTo>
                      <a:pt x="1558" y="2668"/>
                    </a:lnTo>
                    <a:lnTo>
                      <a:pt x="1608" y="2690"/>
                    </a:lnTo>
                    <a:lnTo>
                      <a:pt x="1666" y="2710"/>
                    </a:lnTo>
                    <a:lnTo>
                      <a:pt x="1730" y="2732"/>
                    </a:lnTo>
                    <a:lnTo>
                      <a:pt x="1796" y="2752"/>
                    </a:lnTo>
                    <a:lnTo>
                      <a:pt x="1864" y="2768"/>
                    </a:lnTo>
                    <a:lnTo>
                      <a:pt x="1930" y="2782"/>
                    </a:lnTo>
                    <a:lnTo>
                      <a:pt x="1960" y="2786"/>
                    </a:lnTo>
                    <a:lnTo>
                      <a:pt x="1990" y="2790"/>
                    </a:lnTo>
                    <a:lnTo>
                      <a:pt x="1990" y="2790"/>
                    </a:lnTo>
                    <a:lnTo>
                      <a:pt x="1988" y="2796"/>
                    </a:lnTo>
                    <a:lnTo>
                      <a:pt x="1988" y="2796"/>
                    </a:lnTo>
                    <a:lnTo>
                      <a:pt x="2028" y="2804"/>
                    </a:lnTo>
                    <a:lnTo>
                      <a:pt x="2064" y="2810"/>
                    </a:lnTo>
                    <a:lnTo>
                      <a:pt x="2096" y="2812"/>
                    </a:lnTo>
                    <a:lnTo>
                      <a:pt x="2126" y="2814"/>
                    </a:lnTo>
                    <a:lnTo>
                      <a:pt x="2126" y="2814"/>
                    </a:lnTo>
                    <a:lnTo>
                      <a:pt x="2164" y="2812"/>
                    </a:lnTo>
                    <a:lnTo>
                      <a:pt x="2180" y="2810"/>
                    </a:lnTo>
                    <a:lnTo>
                      <a:pt x="2196" y="2806"/>
                    </a:lnTo>
                    <a:lnTo>
                      <a:pt x="2210" y="2800"/>
                    </a:lnTo>
                    <a:lnTo>
                      <a:pt x="2224" y="2796"/>
                    </a:lnTo>
                    <a:lnTo>
                      <a:pt x="2234" y="2790"/>
                    </a:lnTo>
                    <a:lnTo>
                      <a:pt x="2246" y="2782"/>
                    </a:lnTo>
                    <a:lnTo>
                      <a:pt x="2254" y="2774"/>
                    </a:lnTo>
                    <a:lnTo>
                      <a:pt x="2262" y="2766"/>
                    </a:lnTo>
                    <a:lnTo>
                      <a:pt x="2276" y="2748"/>
                    </a:lnTo>
                    <a:lnTo>
                      <a:pt x="2284" y="2728"/>
                    </a:lnTo>
                    <a:lnTo>
                      <a:pt x="2290" y="2708"/>
                    </a:lnTo>
                    <a:lnTo>
                      <a:pt x="2294" y="2686"/>
                    </a:lnTo>
                    <a:lnTo>
                      <a:pt x="2294" y="2662"/>
                    </a:lnTo>
                    <a:lnTo>
                      <a:pt x="2292" y="2640"/>
                    </a:lnTo>
                    <a:lnTo>
                      <a:pt x="2286" y="2618"/>
                    </a:lnTo>
                    <a:lnTo>
                      <a:pt x="2280" y="2596"/>
                    </a:lnTo>
                    <a:lnTo>
                      <a:pt x="2274" y="2574"/>
                    </a:lnTo>
                    <a:lnTo>
                      <a:pt x="2266" y="2556"/>
                    </a:lnTo>
                    <a:lnTo>
                      <a:pt x="2258" y="2540"/>
                    </a:lnTo>
                    <a:lnTo>
                      <a:pt x="2258" y="2540"/>
                    </a:lnTo>
                    <a:lnTo>
                      <a:pt x="2240" y="2512"/>
                    </a:lnTo>
                    <a:lnTo>
                      <a:pt x="2224" y="2488"/>
                    </a:lnTo>
                    <a:lnTo>
                      <a:pt x="2204" y="2466"/>
                    </a:lnTo>
                    <a:lnTo>
                      <a:pt x="2186" y="2450"/>
                    </a:lnTo>
                    <a:lnTo>
                      <a:pt x="2166" y="2436"/>
                    </a:lnTo>
                    <a:lnTo>
                      <a:pt x="2146" y="2426"/>
                    </a:lnTo>
                    <a:lnTo>
                      <a:pt x="2126" y="2420"/>
                    </a:lnTo>
                    <a:lnTo>
                      <a:pt x="2106" y="2418"/>
                    </a:lnTo>
                    <a:lnTo>
                      <a:pt x="2106" y="2418"/>
                    </a:lnTo>
                    <a:lnTo>
                      <a:pt x="2092" y="2420"/>
                    </a:lnTo>
                    <a:lnTo>
                      <a:pt x="2076" y="2424"/>
                    </a:lnTo>
                    <a:lnTo>
                      <a:pt x="2076" y="2424"/>
                    </a:lnTo>
                    <a:lnTo>
                      <a:pt x="2044" y="2434"/>
                    </a:lnTo>
                    <a:lnTo>
                      <a:pt x="2044" y="2434"/>
                    </a:lnTo>
                    <a:lnTo>
                      <a:pt x="2058" y="2462"/>
                    </a:lnTo>
                    <a:lnTo>
                      <a:pt x="2070" y="2488"/>
                    </a:lnTo>
                    <a:lnTo>
                      <a:pt x="2078" y="2512"/>
                    </a:lnTo>
                    <a:lnTo>
                      <a:pt x="2084" y="2536"/>
                    </a:lnTo>
                    <a:lnTo>
                      <a:pt x="2086" y="2558"/>
                    </a:lnTo>
                    <a:lnTo>
                      <a:pt x="2088" y="2576"/>
                    </a:lnTo>
                    <a:lnTo>
                      <a:pt x="2086" y="2594"/>
                    </a:lnTo>
                    <a:lnTo>
                      <a:pt x="2084" y="2610"/>
                    </a:lnTo>
                    <a:lnTo>
                      <a:pt x="2080" y="2624"/>
                    </a:lnTo>
                    <a:lnTo>
                      <a:pt x="2078" y="2636"/>
                    </a:lnTo>
                    <a:lnTo>
                      <a:pt x="2068" y="2656"/>
                    </a:lnTo>
                    <a:lnTo>
                      <a:pt x="2062" y="2668"/>
                    </a:lnTo>
                    <a:lnTo>
                      <a:pt x="2058" y="2672"/>
                    </a:lnTo>
                    <a:lnTo>
                      <a:pt x="2058" y="2672"/>
                    </a:lnTo>
                    <a:lnTo>
                      <a:pt x="2054" y="2636"/>
                    </a:lnTo>
                    <a:lnTo>
                      <a:pt x="2046" y="2606"/>
                    </a:lnTo>
                    <a:lnTo>
                      <a:pt x="2040" y="2580"/>
                    </a:lnTo>
                    <a:lnTo>
                      <a:pt x="2032" y="2556"/>
                    </a:lnTo>
                    <a:lnTo>
                      <a:pt x="2022" y="2536"/>
                    </a:lnTo>
                    <a:lnTo>
                      <a:pt x="2014" y="2518"/>
                    </a:lnTo>
                    <a:lnTo>
                      <a:pt x="2004" y="2504"/>
                    </a:lnTo>
                    <a:lnTo>
                      <a:pt x="1994" y="2492"/>
                    </a:lnTo>
                    <a:lnTo>
                      <a:pt x="1984" y="2482"/>
                    </a:lnTo>
                    <a:lnTo>
                      <a:pt x="1974" y="2474"/>
                    </a:lnTo>
                    <a:lnTo>
                      <a:pt x="1964" y="2468"/>
                    </a:lnTo>
                    <a:lnTo>
                      <a:pt x="1956" y="2464"/>
                    </a:lnTo>
                    <a:lnTo>
                      <a:pt x="1938" y="2458"/>
                    </a:lnTo>
                    <a:lnTo>
                      <a:pt x="1926" y="2458"/>
                    </a:lnTo>
                    <a:lnTo>
                      <a:pt x="1926" y="2458"/>
                    </a:lnTo>
                    <a:lnTo>
                      <a:pt x="1914" y="2458"/>
                    </a:lnTo>
                    <a:lnTo>
                      <a:pt x="1914" y="2458"/>
                    </a:lnTo>
                    <a:lnTo>
                      <a:pt x="1890" y="2458"/>
                    </a:lnTo>
                    <a:lnTo>
                      <a:pt x="1870" y="2454"/>
                    </a:lnTo>
                    <a:lnTo>
                      <a:pt x="1852" y="2450"/>
                    </a:lnTo>
                    <a:lnTo>
                      <a:pt x="1838" y="2446"/>
                    </a:lnTo>
                    <a:lnTo>
                      <a:pt x="1820" y="2440"/>
                    </a:lnTo>
                    <a:lnTo>
                      <a:pt x="1814" y="2436"/>
                    </a:lnTo>
                    <a:lnTo>
                      <a:pt x="1814" y="2436"/>
                    </a:lnTo>
                    <a:lnTo>
                      <a:pt x="1812" y="2422"/>
                    </a:lnTo>
                    <a:lnTo>
                      <a:pt x="1812" y="2408"/>
                    </a:lnTo>
                    <a:lnTo>
                      <a:pt x="1814" y="2394"/>
                    </a:lnTo>
                    <a:lnTo>
                      <a:pt x="1818" y="2380"/>
                    </a:lnTo>
                    <a:lnTo>
                      <a:pt x="1822" y="2366"/>
                    </a:lnTo>
                    <a:lnTo>
                      <a:pt x="1828" y="2352"/>
                    </a:lnTo>
                    <a:lnTo>
                      <a:pt x="1844" y="2326"/>
                    </a:lnTo>
                    <a:lnTo>
                      <a:pt x="1864" y="2300"/>
                    </a:lnTo>
                    <a:lnTo>
                      <a:pt x="1888" y="2276"/>
                    </a:lnTo>
                    <a:lnTo>
                      <a:pt x="1912" y="2254"/>
                    </a:lnTo>
                    <a:lnTo>
                      <a:pt x="1938" y="2232"/>
                    </a:lnTo>
                    <a:lnTo>
                      <a:pt x="1966" y="2212"/>
                    </a:lnTo>
                    <a:lnTo>
                      <a:pt x="1992" y="2194"/>
                    </a:lnTo>
                    <a:lnTo>
                      <a:pt x="2038" y="2166"/>
                    </a:lnTo>
                    <a:lnTo>
                      <a:pt x="2072" y="2148"/>
                    </a:lnTo>
                    <a:lnTo>
                      <a:pt x="2084" y="2142"/>
                    </a:lnTo>
                    <a:lnTo>
                      <a:pt x="2084" y="2142"/>
                    </a:lnTo>
                    <a:lnTo>
                      <a:pt x="2098" y="2134"/>
                    </a:lnTo>
                    <a:lnTo>
                      <a:pt x="2136" y="2110"/>
                    </a:lnTo>
                    <a:lnTo>
                      <a:pt x="2162" y="2092"/>
                    </a:lnTo>
                    <a:lnTo>
                      <a:pt x="2192" y="2072"/>
                    </a:lnTo>
                    <a:lnTo>
                      <a:pt x="2224" y="2046"/>
                    </a:lnTo>
                    <a:lnTo>
                      <a:pt x="2258" y="2016"/>
                    </a:lnTo>
                    <a:lnTo>
                      <a:pt x="2294" y="1982"/>
                    </a:lnTo>
                    <a:lnTo>
                      <a:pt x="2330" y="1944"/>
                    </a:lnTo>
                    <a:lnTo>
                      <a:pt x="2368" y="1900"/>
                    </a:lnTo>
                    <a:lnTo>
                      <a:pt x="2404" y="1854"/>
                    </a:lnTo>
                    <a:lnTo>
                      <a:pt x="2438" y="1802"/>
                    </a:lnTo>
                    <a:lnTo>
                      <a:pt x="2470" y="1748"/>
                    </a:lnTo>
                    <a:lnTo>
                      <a:pt x="2486" y="1718"/>
                    </a:lnTo>
                    <a:lnTo>
                      <a:pt x="2500" y="1688"/>
                    </a:lnTo>
                    <a:lnTo>
                      <a:pt x="2514" y="1656"/>
                    </a:lnTo>
                    <a:lnTo>
                      <a:pt x="2526" y="1622"/>
                    </a:lnTo>
                    <a:lnTo>
                      <a:pt x="2526" y="1622"/>
                    </a:lnTo>
                    <a:lnTo>
                      <a:pt x="2530" y="1610"/>
                    </a:lnTo>
                    <a:lnTo>
                      <a:pt x="2536" y="1600"/>
                    </a:lnTo>
                    <a:lnTo>
                      <a:pt x="2542" y="1596"/>
                    </a:lnTo>
                    <a:lnTo>
                      <a:pt x="2548" y="1594"/>
                    </a:lnTo>
                    <a:lnTo>
                      <a:pt x="2548" y="1594"/>
                    </a:lnTo>
                    <a:lnTo>
                      <a:pt x="2552" y="1594"/>
                    </a:lnTo>
                    <a:lnTo>
                      <a:pt x="2556" y="1596"/>
                    </a:lnTo>
                    <a:lnTo>
                      <a:pt x="2562" y="1604"/>
                    </a:lnTo>
                    <a:lnTo>
                      <a:pt x="2568" y="1614"/>
                    </a:lnTo>
                    <a:lnTo>
                      <a:pt x="2572" y="1630"/>
                    </a:lnTo>
                    <a:lnTo>
                      <a:pt x="2572" y="1648"/>
                    </a:lnTo>
                    <a:lnTo>
                      <a:pt x="2572" y="1668"/>
                    </a:lnTo>
                    <a:lnTo>
                      <a:pt x="2570" y="1692"/>
                    </a:lnTo>
                    <a:lnTo>
                      <a:pt x="2562" y="1716"/>
                    </a:lnTo>
                    <a:lnTo>
                      <a:pt x="2562" y="1716"/>
                    </a:lnTo>
                    <a:lnTo>
                      <a:pt x="2552" y="1752"/>
                    </a:lnTo>
                    <a:lnTo>
                      <a:pt x="2538" y="1786"/>
                    </a:lnTo>
                    <a:lnTo>
                      <a:pt x="2526" y="1818"/>
                    </a:lnTo>
                    <a:lnTo>
                      <a:pt x="2512" y="1850"/>
                    </a:lnTo>
                    <a:lnTo>
                      <a:pt x="2482" y="1906"/>
                    </a:lnTo>
                    <a:lnTo>
                      <a:pt x="2450" y="1958"/>
                    </a:lnTo>
                    <a:lnTo>
                      <a:pt x="2418" y="2004"/>
                    </a:lnTo>
                    <a:lnTo>
                      <a:pt x="2384" y="2044"/>
                    </a:lnTo>
                    <a:lnTo>
                      <a:pt x="2350" y="2080"/>
                    </a:lnTo>
                    <a:lnTo>
                      <a:pt x="2316" y="2110"/>
                    </a:lnTo>
                    <a:lnTo>
                      <a:pt x="2284" y="2138"/>
                    </a:lnTo>
                    <a:lnTo>
                      <a:pt x="2252" y="2162"/>
                    </a:lnTo>
                    <a:lnTo>
                      <a:pt x="2222" y="2182"/>
                    </a:lnTo>
                    <a:lnTo>
                      <a:pt x="2194" y="2200"/>
                    </a:lnTo>
                    <a:lnTo>
                      <a:pt x="2144" y="2228"/>
                    </a:lnTo>
                    <a:lnTo>
                      <a:pt x="2112" y="2248"/>
                    </a:lnTo>
                    <a:lnTo>
                      <a:pt x="2112" y="2248"/>
                    </a:lnTo>
                    <a:lnTo>
                      <a:pt x="2138" y="2254"/>
                    </a:lnTo>
                    <a:lnTo>
                      <a:pt x="2164" y="2262"/>
                    </a:lnTo>
                    <a:lnTo>
                      <a:pt x="2192" y="2272"/>
                    </a:lnTo>
                    <a:lnTo>
                      <a:pt x="2220" y="2282"/>
                    </a:lnTo>
                    <a:lnTo>
                      <a:pt x="2282" y="2310"/>
                    </a:lnTo>
                    <a:lnTo>
                      <a:pt x="2344" y="2344"/>
                    </a:lnTo>
                    <a:lnTo>
                      <a:pt x="2406" y="2384"/>
                    </a:lnTo>
                    <a:lnTo>
                      <a:pt x="2468" y="2428"/>
                    </a:lnTo>
                    <a:lnTo>
                      <a:pt x="2498" y="2452"/>
                    </a:lnTo>
                    <a:lnTo>
                      <a:pt x="2528" y="2476"/>
                    </a:lnTo>
                    <a:lnTo>
                      <a:pt x="2556" y="2502"/>
                    </a:lnTo>
                    <a:lnTo>
                      <a:pt x="2584" y="2528"/>
                    </a:lnTo>
                    <a:lnTo>
                      <a:pt x="2584" y="2528"/>
                    </a:lnTo>
                    <a:lnTo>
                      <a:pt x="2588" y="2506"/>
                    </a:lnTo>
                    <a:lnTo>
                      <a:pt x="2594" y="2482"/>
                    </a:lnTo>
                    <a:lnTo>
                      <a:pt x="2602" y="2460"/>
                    </a:lnTo>
                    <a:lnTo>
                      <a:pt x="2610" y="2438"/>
                    </a:lnTo>
                    <a:lnTo>
                      <a:pt x="2628" y="2398"/>
                    </a:lnTo>
                    <a:lnTo>
                      <a:pt x="2650" y="2362"/>
                    </a:lnTo>
                    <a:lnTo>
                      <a:pt x="2670" y="2332"/>
                    </a:lnTo>
                    <a:lnTo>
                      <a:pt x="2692" y="2308"/>
                    </a:lnTo>
                    <a:lnTo>
                      <a:pt x="2702" y="2300"/>
                    </a:lnTo>
                    <a:lnTo>
                      <a:pt x="2712" y="2294"/>
                    </a:lnTo>
                    <a:lnTo>
                      <a:pt x="2720" y="2290"/>
                    </a:lnTo>
                    <a:lnTo>
                      <a:pt x="2728" y="2288"/>
                    </a:lnTo>
                    <a:lnTo>
                      <a:pt x="2728" y="2288"/>
                    </a:lnTo>
                    <a:lnTo>
                      <a:pt x="2734" y="2290"/>
                    </a:lnTo>
                    <a:lnTo>
                      <a:pt x="2740" y="2292"/>
                    </a:lnTo>
                    <a:lnTo>
                      <a:pt x="2744" y="2296"/>
                    </a:lnTo>
                    <a:lnTo>
                      <a:pt x="2746" y="2304"/>
                    </a:lnTo>
                    <a:lnTo>
                      <a:pt x="2748" y="2312"/>
                    </a:lnTo>
                    <a:lnTo>
                      <a:pt x="2750" y="2322"/>
                    </a:lnTo>
                    <a:lnTo>
                      <a:pt x="2748" y="2350"/>
                    </a:lnTo>
                    <a:lnTo>
                      <a:pt x="2748" y="2350"/>
                    </a:lnTo>
                    <a:lnTo>
                      <a:pt x="2742" y="2404"/>
                    </a:lnTo>
                    <a:lnTo>
                      <a:pt x="2732" y="2464"/>
                    </a:lnTo>
                    <a:lnTo>
                      <a:pt x="2724" y="2528"/>
                    </a:lnTo>
                    <a:lnTo>
                      <a:pt x="2722" y="2560"/>
                    </a:lnTo>
                    <a:lnTo>
                      <a:pt x="2720" y="2594"/>
                    </a:lnTo>
                    <a:lnTo>
                      <a:pt x="2722" y="2628"/>
                    </a:lnTo>
                    <a:lnTo>
                      <a:pt x="2724" y="2660"/>
                    </a:lnTo>
                    <a:lnTo>
                      <a:pt x="2728" y="2694"/>
                    </a:lnTo>
                    <a:lnTo>
                      <a:pt x="2736" y="2728"/>
                    </a:lnTo>
                    <a:lnTo>
                      <a:pt x="2748" y="2760"/>
                    </a:lnTo>
                    <a:lnTo>
                      <a:pt x="2762" y="2792"/>
                    </a:lnTo>
                    <a:lnTo>
                      <a:pt x="2780" y="2824"/>
                    </a:lnTo>
                    <a:lnTo>
                      <a:pt x="2802" y="2854"/>
                    </a:lnTo>
                    <a:lnTo>
                      <a:pt x="2802" y="2854"/>
                    </a:lnTo>
                    <a:lnTo>
                      <a:pt x="2818" y="2874"/>
                    </a:lnTo>
                    <a:lnTo>
                      <a:pt x="2836" y="2894"/>
                    </a:lnTo>
                    <a:lnTo>
                      <a:pt x="2856" y="2910"/>
                    </a:lnTo>
                    <a:lnTo>
                      <a:pt x="2874" y="2926"/>
                    </a:lnTo>
                    <a:lnTo>
                      <a:pt x="2894" y="2940"/>
                    </a:lnTo>
                    <a:lnTo>
                      <a:pt x="2916" y="2952"/>
                    </a:lnTo>
                    <a:lnTo>
                      <a:pt x="2936" y="2964"/>
                    </a:lnTo>
                    <a:lnTo>
                      <a:pt x="2956" y="2976"/>
                    </a:lnTo>
                    <a:lnTo>
                      <a:pt x="3000" y="2992"/>
                    </a:lnTo>
                    <a:lnTo>
                      <a:pt x="3044" y="3006"/>
                    </a:lnTo>
                    <a:lnTo>
                      <a:pt x="3088" y="3016"/>
                    </a:lnTo>
                    <a:lnTo>
                      <a:pt x="3132" y="3024"/>
                    </a:lnTo>
                    <a:lnTo>
                      <a:pt x="3176" y="3030"/>
                    </a:lnTo>
                    <a:lnTo>
                      <a:pt x="3216" y="3034"/>
                    </a:lnTo>
                    <a:lnTo>
                      <a:pt x="3294" y="3038"/>
                    </a:lnTo>
                    <a:lnTo>
                      <a:pt x="3362" y="3040"/>
                    </a:lnTo>
                    <a:lnTo>
                      <a:pt x="3388" y="3044"/>
                    </a:lnTo>
                    <a:lnTo>
                      <a:pt x="3412" y="3048"/>
                    </a:lnTo>
                    <a:lnTo>
                      <a:pt x="3412" y="3048"/>
                    </a:lnTo>
                    <a:lnTo>
                      <a:pt x="3418" y="3050"/>
                    </a:lnTo>
                    <a:lnTo>
                      <a:pt x="3424" y="3054"/>
                    </a:lnTo>
                    <a:lnTo>
                      <a:pt x="3426" y="3060"/>
                    </a:lnTo>
                    <a:lnTo>
                      <a:pt x="3428" y="3066"/>
                    </a:lnTo>
                    <a:lnTo>
                      <a:pt x="3430" y="3074"/>
                    </a:lnTo>
                    <a:lnTo>
                      <a:pt x="3430" y="3084"/>
                    </a:lnTo>
                    <a:lnTo>
                      <a:pt x="3426" y="3108"/>
                    </a:lnTo>
                    <a:lnTo>
                      <a:pt x="3418" y="3134"/>
                    </a:lnTo>
                    <a:lnTo>
                      <a:pt x="3406" y="3164"/>
                    </a:lnTo>
                    <a:lnTo>
                      <a:pt x="3376" y="3230"/>
                    </a:lnTo>
                    <a:lnTo>
                      <a:pt x="3342" y="3300"/>
                    </a:lnTo>
                    <a:lnTo>
                      <a:pt x="3306" y="3370"/>
                    </a:lnTo>
                    <a:lnTo>
                      <a:pt x="3274" y="3434"/>
                    </a:lnTo>
                    <a:lnTo>
                      <a:pt x="3250" y="3486"/>
                    </a:lnTo>
                    <a:lnTo>
                      <a:pt x="3250" y="3486"/>
                    </a:lnTo>
                    <a:lnTo>
                      <a:pt x="3246" y="3496"/>
                    </a:lnTo>
                    <a:lnTo>
                      <a:pt x="3234" y="3522"/>
                    </a:lnTo>
                    <a:lnTo>
                      <a:pt x="3226" y="3540"/>
                    </a:lnTo>
                    <a:lnTo>
                      <a:pt x="3220" y="3558"/>
                    </a:lnTo>
                    <a:lnTo>
                      <a:pt x="3216" y="3580"/>
                    </a:lnTo>
                    <a:lnTo>
                      <a:pt x="3212" y="3600"/>
                    </a:lnTo>
                    <a:lnTo>
                      <a:pt x="3212" y="3600"/>
                    </a:lnTo>
                    <a:lnTo>
                      <a:pt x="3210" y="3600"/>
                    </a:lnTo>
                    <a:lnTo>
                      <a:pt x="3210" y="3600"/>
                    </a:lnTo>
                    <a:lnTo>
                      <a:pt x="3206" y="3640"/>
                    </a:lnTo>
                    <a:lnTo>
                      <a:pt x="3204" y="3678"/>
                    </a:lnTo>
                    <a:lnTo>
                      <a:pt x="3204" y="3712"/>
                    </a:lnTo>
                    <a:lnTo>
                      <a:pt x="3208" y="3742"/>
                    </a:lnTo>
                    <a:lnTo>
                      <a:pt x="3212" y="3768"/>
                    </a:lnTo>
                    <a:lnTo>
                      <a:pt x="3218" y="3792"/>
                    </a:lnTo>
                    <a:lnTo>
                      <a:pt x="3226" y="3812"/>
                    </a:lnTo>
                    <a:lnTo>
                      <a:pt x="3234" y="3830"/>
                    </a:lnTo>
                    <a:lnTo>
                      <a:pt x="3246" y="3846"/>
                    </a:lnTo>
                    <a:lnTo>
                      <a:pt x="3256" y="3858"/>
                    </a:lnTo>
                    <a:lnTo>
                      <a:pt x="3270" y="3868"/>
                    </a:lnTo>
                    <a:lnTo>
                      <a:pt x="3282" y="3878"/>
                    </a:lnTo>
                    <a:lnTo>
                      <a:pt x="3298" y="3884"/>
                    </a:lnTo>
                    <a:lnTo>
                      <a:pt x="3312" y="3888"/>
                    </a:lnTo>
                    <a:lnTo>
                      <a:pt x="3328" y="3890"/>
                    </a:lnTo>
                    <a:lnTo>
                      <a:pt x="3344" y="3890"/>
                    </a:lnTo>
                    <a:lnTo>
                      <a:pt x="3344" y="3890"/>
                    </a:lnTo>
                    <a:lnTo>
                      <a:pt x="3364" y="3890"/>
                    </a:lnTo>
                    <a:lnTo>
                      <a:pt x="3386" y="3886"/>
                    </a:lnTo>
                    <a:lnTo>
                      <a:pt x="3406" y="3880"/>
                    </a:lnTo>
                    <a:lnTo>
                      <a:pt x="3426" y="3874"/>
                    </a:lnTo>
                    <a:lnTo>
                      <a:pt x="3446" y="3866"/>
                    </a:lnTo>
                    <a:lnTo>
                      <a:pt x="3464" y="3856"/>
                    </a:lnTo>
                    <a:lnTo>
                      <a:pt x="3494" y="3838"/>
                    </a:lnTo>
                    <a:lnTo>
                      <a:pt x="3494" y="3838"/>
                    </a:lnTo>
                    <a:lnTo>
                      <a:pt x="3524" y="3814"/>
                    </a:lnTo>
                    <a:lnTo>
                      <a:pt x="3550" y="3788"/>
                    </a:lnTo>
                    <a:lnTo>
                      <a:pt x="3570" y="3764"/>
                    </a:lnTo>
                    <a:lnTo>
                      <a:pt x="3586" y="3738"/>
                    </a:lnTo>
                    <a:lnTo>
                      <a:pt x="3590" y="3726"/>
                    </a:lnTo>
                    <a:lnTo>
                      <a:pt x="3594" y="3712"/>
                    </a:lnTo>
                    <a:lnTo>
                      <a:pt x="3596" y="3700"/>
                    </a:lnTo>
                    <a:lnTo>
                      <a:pt x="3598" y="3688"/>
                    </a:lnTo>
                    <a:lnTo>
                      <a:pt x="3598" y="3676"/>
                    </a:lnTo>
                    <a:lnTo>
                      <a:pt x="3596" y="3666"/>
                    </a:lnTo>
                    <a:lnTo>
                      <a:pt x="3594" y="3654"/>
                    </a:lnTo>
                    <a:lnTo>
                      <a:pt x="3588" y="3644"/>
                    </a:lnTo>
                    <a:lnTo>
                      <a:pt x="3588" y="3644"/>
                    </a:lnTo>
                    <a:lnTo>
                      <a:pt x="3578" y="3622"/>
                    </a:lnTo>
                    <a:lnTo>
                      <a:pt x="3568" y="3598"/>
                    </a:lnTo>
                    <a:lnTo>
                      <a:pt x="3554" y="3552"/>
                    </a:lnTo>
                    <a:lnTo>
                      <a:pt x="3554" y="3552"/>
                    </a:lnTo>
                    <a:lnTo>
                      <a:pt x="3522" y="3564"/>
                    </a:lnTo>
                    <a:lnTo>
                      <a:pt x="3492" y="3574"/>
                    </a:lnTo>
                    <a:lnTo>
                      <a:pt x="3464" y="3582"/>
                    </a:lnTo>
                    <a:lnTo>
                      <a:pt x="3438" y="3588"/>
                    </a:lnTo>
                    <a:lnTo>
                      <a:pt x="3398" y="3592"/>
                    </a:lnTo>
                    <a:lnTo>
                      <a:pt x="3374" y="3594"/>
                    </a:lnTo>
                    <a:lnTo>
                      <a:pt x="3374" y="3594"/>
                    </a:lnTo>
                    <a:lnTo>
                      <a:pt x="3370" y="3594"/>
                    </a:lnTo>
                    <a:lnTo>
                      <a:pt x="3370" y="3594"/>
                    </a:lnTo>
                    <a:lnTo>
                      <a:pt x="3402" y="3582"/>
                    </a:lnTo>
                    <a:lnTo>
                      <a:pt x="3434" y="3570"/>
                    </a:lnTo>
                    <a:lnTo>
                      <a:pt x="3460" y="3554"/>
                    </a:lnTo>
                    <a:lnTo>
                      <a:pt x="3484" y="3538"/>
                    </a:lnTo>
                    <a:lnTo>
                      <a:pt x="3506" y="3522"/>
                    </a:lnTo>
                    <a:lnTo>
                      <a:pt x="3526" y="3504"/>
                    </a:lnTo>
                    <a:lnTo>
                      <a:pt x="3542" y="3486"/>
                    </a:lnTo>
                    <a:lnTo>
                      <a:pt x="3556" y="3468"/>
                    </a:lnTo>
                    <a:lnTo>
                      <a:pt x="3556" y="3468"/>
                    </a:lnTo>
                    <a:lnTo>
                      <a:pt x="3580" y="3422"/>
                    </a:lnTo>
                    <a:lnTo>
                      <a:pt x="3608" y="3372"/>
                    </a:lnTo>
                    <a:lnTo>
                      <a:pt x="3670" y="3272"/>
                    </a:lnTo>
                    <a:lnTo>
                      <a:pt x="3730" y="3174"/>
                    </a:lnTo>
                    <a:lnTo>
                      <a:pt x="3758" y="3130"/>
                    </a:lnTo>
                    <a:lnTo>
                      <a:pt x="3780" y="3088"/>
                    </a:lnTo>
                    <a:lnTo>
                      <a:pt x="3780" y="3088"/>
                    </a:lnTo>
                    <a:lnTo>
                      <a:pt x="3788" y="3102"/>
                    </a:lnTo>
                    <a:lnTo>
                      <a:pt x="3796" y="3116"/>
                    </a:lnTo>
                    <a:lnTo>
                      <a:pt x="3804" y="3136"/>
                    </a:lnTo>
                    <a:lnTo>
                      <a:pt x="3810" y="3158"/>
                    </a:lnTo>
                    <a:lnTo>
                      <a:pt x="3820" y="3208"/>
                    </a:lnTo>
                    <a:lnTo>
                      <a:pt x="3830" y="3262"/>
                    </a:lnTo>
                    <a:lnTo>
                      <a:pt x="3844" y="3378"/>
                    </a:lnTo>
                    <a:lnTo>
                      <a:pt x="3852" y="3428"/>
                    </a:lnTo>
                    <a:lnTo>
                      <a:pt x="3862" y="3474"/>
                    </a:lnTo>
                    <a:lnTo>
                      <a:pt x="3862" y="3474"/>
                    </a:lnTo>
                    <a:lnTo>
                      <a:pt x="3864" y="3484"/>
                    </a:lnTo>
                    <a:lnTo>
                      <a:pt x="3872" y="3512"/>
                    </a:lnTo>
                    <a:lnTo>
                      <a:pt x="3876" y="3530"/>
                    </a:lnTo>
                    <a:lnTo>
                      <a:pt x="3884" y="3550"/>
                    </a:lnTo>
                    <a:lnTo>
                      <a:pt x="3892" y="3570"/>
                    </a:lnTo>
                    <a:lnTo>
                      <a:pt x="3904" y="3588"/>
                    </a:lnTo>
                    <a:lnTo>
                      <a:pt x="3904" y="3588"/>
                    </a:lnTo>
                    <a:lnTo>
                      <a:pt x="3900" y="3588"/>
                    </a:lnTo>
                    <a:lnTo>
                      <a:pt x="3900" y="3588"/>
                    </a:lnTo>
                    <a:lnTo>
                      <a:pt x="3930" y="3634"/>
                    </a:lnTo>
                    <a:lnTo>
                      <a:pt x="3958" y="3672"/>
                    </a:lnTo>
                    <a:lnTo>
                      <a:pt x="3986" y="3702"/>
                    </a:lnTo>
                    <a:lnTo>
                      <a:pt x="4012" y="3726"/>
                    </a:lnTo>
                    <a:lnTo>
                      <a:pt x="4038" y="3744"/>
                    </a:lnTo>
                    <a:lnTo>
                      <a:pt x="4062" y="3756"/>
                    </a:lnTo>
                    <a:lnTo>
                      <a:pt x="4086" y="3762"/>
                    </a:lnTo>
                    <a:lnTo>
                      <a:pt x="4108" y="3764"/>
                    </a:lnTo>
                    <a:lnTo>
                      <a:pt x="4108" y="3764"/>
                    </a:lnTo>
                    <a:lnTo>
                      <a:pt x="4124" y="3764"/>
                    </a:lnTo>
                    <a:lnTo>
                      <a:pt x="4138" y="3760"/>
                    </a:lnTo>
                    <a:lnTo>
                      <a:pt x="4154" y="3754"/>
                    </a:lnTo>
                    <a:lnTo>
                      <a:pt x="4168" y="3748"/>
                    </a:lnTo>
                    <a:lnTo>
                      <a:pt x="4180" y="3740"/>
                    </a:lnTo>
                    <a:lnTo>
                      <a:pt x="4192" y="3730"/>
                    </a:lnTo>
                    <a:lnTo>
                      <a:pt x="4204" y="3718"/>
                    </a:lnTo>
                    <a:lnTo>
                      <a:pt x="4216" y="3706"/>
                    </a:lnTo>
                    <a:lnTo>
                      <a:pt x="4234" y="3680"/>
                    </a:lnTo>
                    <a:lnTo>
                      <a:pt x="4250" y="3654"/>
                    </a:lnTo>
                    <a:lnTo>
                      <a:pt x="4262" y="3626"/>
                    </a:lnTo>
                    <a:lnTo>
                      <a:pt x="4272" y="3602"/>
                    </a:lnTo>
                    <a:lnTo>
                      <a:pt x="4272" y="3602"/>
                    </a:lnTo>
                    <a:lnTo>
                      <a:pt x="4280" y="3564"/>
                    </a:lnTo>
                    <a:lnTo>
                      <a:pt x="4286" y="3528"/>
                    </a:lnTo>
                    <a:lnTo>
                      <a:pt x="4286" y="3496"/>
                    </a:lnTo>
                    <a:lnTo>
                      <a:pt x="4282" y="3466"/>
                    </a:lnTo>
                    <a:lnTo>
                      <a:pt x="4278" y="3454"/>
                    </a:lnTo>
                    <a:lnTo>
                      <a:pt x="4274" y="3442"/>
                    </a:lnTo>
                    <a:lnTo>
                      <a:pt x="4268" y="3430"/>
                    </a:lnTo>
                    <a:lnTo>
                      <a:pt x="4262" y="3420"/>
                    </a:lnTo>
                    <a:lnTo>
                      <a:pt x="4254" y="3410"/>
                    </a:lnTo>
                    <a:lnTo>
                      <a:pt x="4246" y="3402"/>
                    </a:lnTo>
                    <a:lnTo>
                      <a:pt x="4236" y="3396"/>
                    </a:lnTo>
                    <a:lnTo>
                      <a:pt x="4226" y="3390"/>
                    </a:lnTo>
                    <a:lnTo>
                      <a:pt x="4226" y="3390"/>
                    </a:lnTo>
                    <a:lnTo>
                      <a:pt x="4196" y="3374"/>
                    </a:lnTo>
                    <a:lnTo>
                      <a:pt x="4166" y="3356"/>
                    </a:lnTo>
                    <a:lnTo>
                      <a:pt x="4166" y="3356"/>
                    </a:lnTo>
                    <a:lnTo>
                      <a:pt x="4162" y="3378"/>
                    </a:lnTo>
                    <a:lnTo>
                      <a:pt x="4156" y="3400"/>
                    </a:lnTo>
                    <a:lnTo>
                      <a:pt x="4150" y="3420"/>
                    </a:lnTo>
                    <a:lnTo>
                      <a:pt x="4142" y="3440"/>
                    </a:lnTo>
                    <a:lnTo>
                      <a:pt x="4126" y="3474"/>
                    </a:lnTo>
                    <a:lnTo>
                      <a:pt x="4108" y="3502"/>
                    </a:lnTo>
                    <a:lnTo>
                      <a:pt x="4090" y="3524"/>
                    </a:lnTo>
                    <a:lnTo>
                      <a:pt x="4076" y="3540"/>
                    </a:lnTo>
                    <a:lnTo>
                      <a:pt x="4062" y="3552"/>
                    </a:lnTo>
                    <a:lnTo>
                      <a:pt x="4062" y="3552"/>
                    </a:lnTo>
                    <a:lnTo>
                      <a:pt x="4078" y="3520"/>
                    </a:lnTo>
                    <a:lnTo>
                      <a:pt x="4090" y="3488"/>
                    </a:lnTo>
                    <a:lnTo>
                      <a:pt x="4098" y="3456"/>
                    </a:lnTo>
                    <a:lnTo>
                      <a:pt x="4104" y="3426"/>
                    </a:lnTo>
                    <a:lnTo>
                      <a:pt x="4108" y="3396"/>
                    </a:lnTo>
                    <a:lnTo>
                      <a:pt x="4110" y="3366"/>
                    </a:lnTo>
                    <a:lnTo>
                      <a:pt x="4110" y="3340"/>
                    </a:lnTo>
                    <a:lnTo>
                      <a:pt x="4108" y="3316"/>
                    </a:lnTo>
                    <a:lnTo>
                      <a:pt x="4108" y="3316"/>
                    </a:lnTo>
                    <a:lnTo>
                      <a:pt x="4104" y="3310"/>
                    </a:lnTo>
                    <a:lnTo>
                      <a:pt x="4104" y="3310"/>
                    </a:lnTo>
                    <a:lnTo>
                      <a:pt x="4102" y="3308"/>
                    </a:lnTo>
                    <a:lnTo>
                      <a:pt x="4102" y="3308"/>
                    </a:lnTo>
                    <a:lnTo>
                      <a:pt x="4088" y="3260"/>
                    </a:lnTo>
                    <a:lnTo>
                      <a:pt x="4078" y="3210"/>
                    </a:lnTo>
                    <a:lnTo>
                      <a:pt x="4070" y="3160"/>
                    </a:lnTo>
                    <a:lnTo>
                      <a:pt x="4064" y="3110"/>
                    </a:lnTo>
                    <a:lnTo>
                      <a:pt x="4054" y="3012"/>
                    </a:lnTo>
                    <a:lnTo>
                      <a:pt x="4048" y="2920"/>
                    </a:lnTo>
                    <a:lnTo>
                      <a:pt x="4042" y="2878"/>
                    </a:lnTo>
                    <a:lnTo>
                      <a:pt x="4038" y="2840"/>
                    </a:lnTo>
                    <a:lnTo>
                      <a:pt x="4030" y="2806"/>
                    </a:lnTo>
                    <a:lnTo>
                      <a:pt x="4020" y="2776"/>
                    </a:lnTo>
                    <a:lnTo>
                      <a:pt x="4014" y="2762"/>
                    </a:lnTo>
                    <a:lnTo>
                      <a:pt x="4008" y="2750"/>
                    </a:lnTo>
                    <a:lnTo>
                      <a:pt x="4000" y="2740"/>
                    </a:lnTo>
                    <a:lnTo>
                      <a:pt x="3992" y="2732"/>
                    </a:lnTo>
                    <a:lnTo>
                      <a:pt x="3984" y="2724"/>
                    </a:lnTo>
                    <a:lnTo>
                      <a:pt x="3972" y="2720"/>
                    </a:lnTo>
                    <a:lnTo>
                      <a:pt x="3962" y="2716"/>
                    </a:lnTo>
                    <a:lnTo>
                      <a:pt x="3948" y="2714"/>
                    </a:lnTo>
                    <a:lnTo>
                      <a:pt x="3948" y="2714"/>
                    </a:lnTo>
                    <a:lnTo>
                      <a:pt x="3928" y="2738"/>
                    </a:lnTo>
                    <a:lnTo>
                      <a:pt x="3904" y="2764"/>
                    </a:lnTo>
                    <a:lnTo>
                      <a:pt x="3880" y="2788"/>
                    </a:lnTo>
                    <a:lnTo>
                      <a:pt x="3856" y="2814"/>
                    </a:lnTo>
                    <a:lnTo>
                      <a:pt x="3830" y="2836"/>
                    </a:lnTo>
                    <a:lnTo>
                      <a:pt x="3802" y="2860"/>
                    </a:lnTo>
                    <a:lnTo>
                      <a:pt x="3772" y="2880"/>
                    </a:lnTo>
                    <a:lnTo>
                      <a:pt x="3742" y="2902"/>
                    </a:lnTo>
                    <a:lnTo>
                      <a:pt x="3742" y="2902"/>
                    </a:lnTo>
                    <a:lnTo>
                      <a:pt x="3730" y="2890"/>
                    </a:lnTo>
                    <a:lnTo>
                      <a:pt x="3720" y="2880"/>
                    </a:lnTo>
                    <a:lnTo>
                      <a:pt x="3714" y="2870"/>
                    </a:lnTo>
                    <a:lnTo>
                      <a:pt x="3708" y="2860"/>
                    </a:lnTo>
                    <a:lnTo>
                      <a:pt x="3706" y="2850"/>
                    </a:lnTo>
                    <a:lnTo>
                      <a:pt x="3704" y="2840"/>
                    </a:lnTo>
                    <a:lnTo>
                      <a:pt x="3706" y="2828"/>
                    </a:lnTo>
                    <a:lnTo>
                      <a:pt x="3710" y="2816"/>
                    </a:lnTo>
                    <a:lnTo>
                      <a:pt x="3716" y="2804"/>
                    </a:lnTo>
                    <a:lnTo>
                      <a:pt x="3724" y="2788"/>
                    </a:lnTo>
                    <a:lnTo>
                      <a:pt x="3746" y="2756"/>
                    </a:lnTo>
                    <a:lnTo>
                      <a:pt x="3776" y="2714"/>
                    </a:lnTo>
                    <a:lnTo>
                      <a:pt x="3816" y="2662"/>
                    </a:lnTo>
                    <a:lnTo>
                      <a:pt x="3816" y="2662"/>
                    </a:lnTo>
                    <a:lnTo>
                      <a:pt x="3844" y="2628"/>
                    </a:lnTo>
                    <a:lnTo>
                      <a:pt x="3868" y="2592"/>
                    </a:lnTo>
                    <a:lnTo>
                      <a:pt x="3868" y="2592"/>
                    </a:lnTo>
                    <a:lnTo>
                      <a:pt x="3890" y="2562"/>
                    </a:lnTo>
                    <a:lnTo>
                      <a:pt x="3908" y="2532"/>
                    </a:lnTo>
                    <a:lnTo>
                      <a:pt x="3922" y="2504"/>
                    </a:lnTo>
                    <a:lnTo>
                      <a:pt x="3936" y="2474"/>
                    </a:lnTo>
                    <a:lnTo>
                      <a:pt x="3946" y="2446"/>
                    </a:lnTo>
                    <a:lnTo>
                      <a:pt x="3954" y="2418"/>
                    </a:lnTo>
                    <a:lnTo>
                      <a:pt x="3960" y="2390"/>
                    </a:lnTo>
                    <a:lnTo>
                      <a:pt x="3962" y="2362"/>
                    </a:lnTo>
                    <a:lnTo>
                      <a:pt x="3962" y="2362"/>
                    </a:lnTo>
                    <a:lnTo>
                      <a:pt x="3972" y="2310"/>
                    </a:lnTo>
                    <a:lnTo>
                      <a:pt x="3976" y="2262"/>
                    </a:lnTo>
                    <a:lnTo>
                      <a:pt x="3978" y="2218"/>
                    </a:lnTo>
                    <a:lnTo>
                      <a:pt x="3978" y="2180"/>
                    </a:lnTo>
                    <a:lnTo>
                      <a:pt x="3976" y="2150"/>
                    </a:lnTo>
                    <a:lnTo>
                      <a:pt x="3972" y="2126"/>
                    </a:lnTo>
                    <a:lnTo>
                      <a:pt x="3970" y="2108"/>
                    </a:lnTo>
                    <a:lnTo>
                      <a:pt x="3970" y="2108"/>
                    </a:lnTo>
                    <a:lnTo>
                      <a:pt x="3964" y="2064"/>
                    </a:lnTo>
                    <a:lnTo>
                      <a:pt x="3964" y="2064"/>
                    </a:lnTo>
                    <a:lnTo>
                      <a:pt x="4000" y="2076"/>
                    </a:lnTo>
                    <a:lnTo>
                      <a:pt x="4034" y="2082"/>
                    </a:lnTo>
                    <a:lnTo>
                      <a:pt x="4066" y="2088"/>
                    </a:lnTo>
                    <a:lnTo>
                      <a:pt x="4100" y="2090"/>
                    </a:lnTo>
                    <a:lnTo>
                      <a:pt x="4100" y="2090"/>
                    </a:lnTo>
                    <a:lnTo>
                      <a:pt x="4100" y="2090"/>
                    </a:lnTo>
                    <a:lnTo>
                      <a:pt x="4100" y="2090"/>
                    </a:lnTo>
                    <a:lnTo>
                      <a:pt x="4122" y="2088"/>
                    </a:lnTo>
                    <a:lnTo>
                      <a:pt x="4142" y="2086"/>
                    </a:lnTo>
                    <a:lnTo>
                      <a:pt x="4162" y="2084"/>
                    </a:lnTo>
                    <a:lnTo>
                      <a:pt x="4182" y="2080"/>
                    </a:lnTo>
                    <a:lnTo>
                      <a:pt x="4220" y="2068"/>
                    </a:lnTo>
                    <a:lnTo>
                      <a:pt x="4256" y="2052"/>
                    </a:lnTo>
                    <a:lnTo>
                      <a:pt x="4288" y="2032"/>
                    </a:lnTo>
                    <a:lnTo>
                      <a:pt x="4320" y="2010"/>
                    </a:lnTo>
                    <a:lnTo>
                      <a:pt x="4348" y="1984"/>
                    </a:lnTo>
                    <a:lnTo>
                      <a:pt x="4374" y="1958"/>
                    </a:lnTo>
                    <a:lnTo>
                      <a:pt x="4374" y="1958"/>
                    </a:lnTo>
                    <a:lnTo>
                      <a:pt x="4396" y="1926"/>
                    </a:lnTo>
                    <a:lnTo>
                      <a:pt x="4416" y="1894"/>
                    </a:lnTo>
                    <a:lnTo>
                      <a:pt x="4434" y="1862"/>
                    </a:lnTo>
                    <a:lnTo>
                      <a:pt x="4448" y="1826"/>
                    </a:lnTo>
                    <a:lnTo>
                      <a:pt x="4458" y="1790"/>
                    </a:lnTo>
                    <a:lnTo>
                      <a:pt x="4468" y="1752"/>
                    </a:lnTo>
                    <a:lnTo>
                      <a:pt x="4472" y="1714"/>
                    </a:lnTo>
                    <a:lnTo>
                      <a:pt x="4474" y="1676"/>
                    </a:lnTo>
                    <a:lnTo>
                      <a:pt x="4474" y="1676"/>
                    </a:lnTo>
                    <a:lnTo>
                      <a:pt x="4472" y="1634"/>
                    </a:lnTo>
                    <a:lnTo>
                      <a:pt x="4466" y="1594"/>
                    </a:lnTo>
                    <a:lnTo>
                      <a:pt x="4456" y="1554"/>
                    </a:lnTo>
                    <a:lnTo>
                      <a:pt x="4442" y="1514"/>
                    </a:lnTo>
                    <a:lnTo>
                      <a:pt x="4422" y="1474"/>
                    </a:lnTo>
                    <a:lnTo>
                      <a:pt x="4412" y="1456"/>
                    </a:lnTo>
                    <a:lnTo>
                      <a:pt x="4400" y="1438"/>
                    </a:lnTo>
                    <a:lnTo>
                      <a:pt x="4386" y="1420"/>
                    </a:lnTo>
                    <a:lnTo>
                      <a:pt x="4372" y="1402"/>
                    </a:lnTo>
                    <a:lnTo>
                      <a:pt x="4356" y="1386"/>
                    </a:lnTo>
                    <a:lnTo>
                      <a:pt x="4340" y="1370"/>
                    </a:lnTo>
                    <a:lnTo>
                      <a:pt x="4340" y="1370"/>
                    </a:lnTo>
                    <a:lnTo>
                      <a:pt x="4322" y="1354"/>
                    </a:lnTo>
                    <a:lnTo>
                      <a:pt x="4302" y="1340"/>
                    </a:lnTo>
                    <a:lnTo>
                      <a:pt x="4282" y="1326"/>
                    </a:lnTo>
                    <a:lnTo>
                      <a:pt x="4262" y="1314"/>
                    </a:lnTo>
                    <a:lnTo>
                      <a:pt x="4240" y="1302"/>
                    </a:lnTo>
                    <a:lnTo>
                      <a:pt x="4216" y="1290"/>
                    </a:lnTo>
                    <a:lnTo>
                      <a:pt x="4192" y="1280"/>
                    </a:lnTo>
                    <a:lnTo>
                      <a:pt x="4166" y="1272"/>
                    </a:lnTo>
                    <a:lnTo>
                      <a:pt x="4140" y="1264"/>
                    </a:lnTo>
                    <a:lnTo>
                      <a:pt x="4112" y="1256"/>
                    </a:lnTo>
                    <a:lnTo>
                      <a:pt x="4084" y="1250"/>
                    </a:lnTo>
                    <a:lnTo>
                      <a:pt x="4054" y="1244"/>
                    </a:lnTo>
                    <a:lnTo>
                      <a:pt x="4024" y="1240"/>
                    </a:lnTo>
                    <a:lnTo>
                      <a:pt x="3992" y="1238"/>
                    </a:lnTo>
                    <a:lnTo>
                      <a:pt x="3958" y="1236"/>
                    </a:lnTo>
                    <a:lnTo>
                      <a:pt x="3924" y="1236"/>
                    </a:lnTo>
                    <a:lnTo>
                      <a:pt x="3924" y="1236"/>
                    </a:lnTo>
                    <a:lnTo>
                      <a:pt x="3924" y="1236"/>
                    </a:lnTo>
                    <a:lnTo>
                      <a:pt x="3922" y="1236"/>
                    </a:lnTo>
                    <a:lnTo>
                      <a:pt x="3912" y="1236"/>
                    </a:lnTo>
                    <a:lnTo>
                      <a:pt x="3912" y="1236"/>
                    </a:lnTo>
                    <a:lnTo>
                      <a:pt x="3906" y="1236"/>
                    </a:lnTo>
                    <a:lnTo>
                      <a:pt x="3906" y="1236"/>
                    </a:lnTo>
                    <a:lnTo>
                      <a:pt x="3814" y="1234"/>
                    </a:lnTo>
                    <a:lnTo>
                      <a:pt x="3732" y="1232"/>
                    </a:lnTo>
                    <a:lnTo>
                      <a:pt x="3660" y="1226"/>
                    </a:lnTo>
                    <a:lnTo>
                      <a:pt x="3600" y="1220"/>
                    </a:lnTo>
                    <a:lnTo>
                      <a:pt x="3548" y="1212"/>
                    </a:lnTo>
                    <a:lnTo>
                      <a:pt x="3506" y="1202"/>
                    </a:lnTo>
                    <a:lnTo>
                      <a:pt x="3472" y="1192"/>
                    </a:lnTo>
                    <a:lnTo>
                      <a:pt x="3444" y="1182"/>
                    </a:lnTo>
                    <a:lnTo>
                      <a:pt x="3444" y="1182"/>
                    </a:lnTo>
                    <a:lnTo>
                      <a:pt x="3428" y="1174"/>
                    </a:lnTo>
                    <a:lnTo>
                      <a:pt x="3428" y="1174"/>
                    </a:lnTo>
                    <a:lnTo>
                      <a:pt x="3410" y="1156"/>
                    </a:lnTo>
                    <a:lnTo>
                      <a:pt x="3394" y="1136"/>
                    </a:lnTo>
                    <a:lnTo>
                      <a:pt x="3380" y="1114"/>
                    </a:lnTo>
                    <a:lnTo>
                      <a:pt x="3372" y="1090"/>
                    </a:lnTo>
                    <a:lnTo>
                      <a:pt x="3370" y="1066"/>
                    </a:lnTo>
                    <a:lnTo>
                      <a:pt x="3368" y="1056"/>
                    </a:lnTo>
                    <a:lnTo>
                      <a:pt x="3370" y="1044"/>
                    </a:lnTo>
                    <a:lnTo>
                      <a:pt x="3372" y="1032"/>
                    </a:lnTo>
                    <a:lnTo>
                      <a:pt x="3376" y="1022"/>
                    </a:lnTo>
                    <a:lnTo>
                      <a:pt x="3382" y="1012"/>
                    </a:lnTo>
                    <a:lnTo>
                      <a:pt x="3388" y="1002"/>
                    </a:lnTo>
                    <a:lnTo>
                      <a:pt x="3388" y="1002"/>
                    </a:lnTo>
                    <a:lnTo>
                      <a:pt x="3416" y="960"/>
                    </a:lnTo>
                    <a:lnTo>
                      <a:pt x="3428" y="940"/>
                    </a:lnTo>
                    <a:lnTo>
                      <a:pt x="3438" y="920"/>
                    </a:lnTo>
                    <a:lnTo>
                      <a:pt x="3446" y="902"/>
                    </a:lnTo>
                    <a:lnTo>
                      <a:pt x="3452" y="882"/>
                    </a:lnTo>
                    <a:lnTo>
                      <a:pt x="3456" y="862"/>
                    </a:lnTo>
                    <a:lnTo>
                      <a:pt x="3460" y="842"/>
                    </a:lnTo>
                    <a:lnTo>
                      <a:pt x="3460" y="822"/>
                    </a:lnTo>
                    <a:lnTo>
                      <a:pt x="3460" y="800"/>
                    </a:lnTo>
                    <a:lnTo>
                      <a:pt x="3456" y="778"/>
                    </a:lnTo>
                    <a:lnTo>
                      <a:pt x="3450" y="756"/>
                    </a:lnTo>
                    <a:lnTo>
                      <a:pt x="3442" y="732"/>
                    </a:lnTo>
                    <a:lnTo>
                      <a:pt x="3432" y="708"/>
                    </a:lnTo>
                    <a:lnTo>
                      <a:pt x="3420" y="682"/>
                    </a:lnTo>
                    <a:lnTo>
                      <a:pt x="3406" y="654"/>
                    </a:lnTo>
                    <a:lnTo>
                      <a:pt x="3406" y="654"/>
                    </a:lnTo>
                    <a:lnTo>
                      <a:pt x="3394" y="636"/>
                    </a:lnTo>
                    <a:lnTo>
                      <a:pt x="3382" y="620"/>
                    </a:lnTo>
                    <a:lnTo>
                      <a:pt x="3370" y="604"/>
                    </a:lnTo>
                    <a:lnTo>
                      <a:pt x="3358" y="590"/>
                    </a:lnTo>
                    <a:lnTo>
                      <a:pt x="3346" y="578"/>
                    </a:lnTo>
                    <a:lnTo>
                      <a:pt x="3332" y="566"/>
                    </a:lnTo>
                    <a:lnTo>
                      <a:pt x="3318" y="556"/>
                    </a:lnTo>
                    <a:lnTo>
                      <a:pt x="3302" y="546"/>
                    </a:lnTo>
                    <a:lnTo>
                      <a:pt x="3288" y="540"/>
                    </a:lnTo>
                    <a:lnTo>
                      <a:pt x="3272" y="532"/>
                    </a:lnTo>
                    <a:lnTo>
                      <a:pt x="3240" y="522"/>
                    </a:lnTo>
                    <a:lnTo>
                      <a:pt x="3206" y="516"/>
                    </a:lnTo>
                    <a:lnTo>
                      <a:pt x="3170" y="514"/>
                    </a:lnTo>
                    <a:lnTo>
                      <a:pt x="3170" y="514"/>
                    </a:lnTo>
                    <a:lnTo>
                      <a:pt x="3132" y="516"/>
                    </a:lnTo>
                    <a:lnTo>
                      <a:pt x="3092" y="522"/>
                    </a:lnTo>
                    <a:lnTo>
                      <a:pt x="3092" y="522"/>
                    </a:lnTo>
                    <a:lnTo>
                      <a:pt x="3070" y="526"/>
                    </a:lnTo>
                    <a:lnTo>
                      <a:pt x="3052" y="532"/>
                    </a:lnTo>
                    <a:lnTo>
                      <a:pt x="3036" y="538"/>
                    </a:lnTo>
                    <a:lnTo>
                      <a:pt x="3020" y="544"/>
                    </a:lnTo>
                    <a:lnTo>
                      <a:pt x="2996" y="560"/>
                    </a:lnTo>
                    <a:lnTo>
                      <a:pt x="2978" y="574"/>
                    </a:lnTo>
                    <a:lnTo>
                      <a:pt x="2964" y="588"/>
                    </a:lnTo>
                    <a:lnTo>
                      <a:pt x="2956" y="598"/>
                    </a:lnTo>
                    <a:lnTo>
                      <a:pt x="2952" y="610"/>
                    </a:lnTo>
                    <a:lnTo>
                      <a:pt x="2952" y="610"/>
                    </a:lnTo>
                    <a:lnTo>
                      <a:pt x="2980" y="606"/>
                    </a:lnTo>
                    <a:lnTo>
                      <a:pt x="3006" y="606"/>
                    </a:lnTo>
                    <a:lnTo>
                      <a:pt x="3006" y="606"/>
                    </a:lnTo>
                    <a:lnTo>
                      <a:pt x="3034" y="608"/>
                    </a:lnTo>
                    <a:lnTo>
                      <a:pt x="3058" y="612"/>
                    </a:lnTo>
                    <a:lnTo>
                      <a:pt x="3080" y="618"/>
                    </a:lnTo>
                    <a:lnTo>
                      <a:pt x="3098" y="626"/>
                    </a:lnTo>
                    <a:lnTo>
                      <a:pt x="3114" y="636"/>
                    </a:lnTo>
                    <a:lnTo>
                      <a:pt x="3126" y="648"/>
                    </a:lnTo>
                    <a:lnTo>
                      <a:pt x="3138" y="660"/>
                    </a:lnTo>
                    <a:lnTo>
                      <a:pt x="3146" y="674"/>
                    </a:lnTo>
                    <a:lnTo>
                      <a:pt x="3152" y="690"/>
                    </a:lnTo>
                    <a:lnTo>
                      <a:pt x="3158" y="706"/>
                    </a:lnTo>
                    <a:lnTo>
                      <a:pt x="3164" y="740"/>
                    </a:lnTo>
                    <a:lnTo>
                      <a:pt x="3168" y="774"/>
                    </a:lnTo>
                    <a:lnTo>
                      <a:pt x="3170" y="806"/>
                    </a:lnTo>
                    <a:lnTo>
                      <a:pt x="3170" y="806"/>
                    </a:lnTo>
                    <a:lnTo>
                      <a:pt x="3170" y="836"/>
                    </a:lnTo>
                    <a:lnTo>
                      <a:pt x="3168" y="882"/>
                    </a:lnTo>
                    <a:lnTo>
                      <a:pt x="3166" y="938"/>
                    </a:lnTo>
                    <a:lnTo>
                      <a:pt x="3166" y="968"/>
                    </a:lnTo>
                    <a:lnTo>
                      <a:pt x="3168" y="1000"/>
                    </a:lnTo>
                    <a:lnTo>
                      <a:pt x="3172" y="1032"/>
                    </a:lnTo>
                    <a:lnTo>
                      <a:pt x="3178" y="1064"/>
                    </a:lnTo>
                    <a:lnTo>
                      <a:pt x="3186" y="1096"/>
                    </a:lnTo>
                    <a:lnTo>
                      <a:pt x="3196" y="1128"/>
                    </a:lnTo>
                    <a:lnTo>
                      <a:pt x="3210" y="1158"/>
                    </a:lnTo>
                    <a:lnTo>
                      <a:pt x="3228" y="1184"/>
                    </a:lnTo>
                    <a:lnTo>
                      <a:pt x="3236" y="1198"/>
                    </a:lnTo>
                    <a:lnTo>
                      <a:pt x="3248" y="1210"/>
                    </a:lnTo>
                    <a:lnTo>
                      <a:pt x="3260" y="1222"/>
                    </a:lnTo>
                    <a:lnTo>
                      <a:pt x="3272" y="1232"/>
                    </a:lnTo>
                    <a:lnTo>
                      <a:pt x="3272" y="1232"/>
                    </a:lnTo>
                    <a:lnTo>
                      <a:pt x="3280" y="1240"/>
                    </a:lnTo>
                    <a:lnTo>
                      <a:pt x="3280" y="1240"/>
                    </a:lnTo>
                    <a:lnTo>
                      <a:pt x="3294" y="1254"/>
                    </a:lnTo>
                    <a:lnTo>
                      <a:pt x="3312" y="1270"/>
                    </a:lnTo>
                    <a:lnTo>
                      <a:pt x="3332" y="1284"/>
                    </a:lnTo>
                    <a:lnTo>
                      <a:pt x="3354" y="1298"/>
                    </a:lnTo>
                    <a:lnTo>
                      <a:pt x="3354" y="1298"/>
                    </a:lnTo>
                    <a:lnTo>
                      <a:pt x="3392" y="1316"/>
                    </a:lnTo>
                    <a:lnTo>
                      <a:pt x="3438" y="1332"/>
                    </a:lnTo>
                    <a:lnTo>
                      <a:pt x="3490" y="1346"/>
                    </a:lnTo>
                    <a:lnTo>
                      <a:pt x="3552" y="1358"/>
                    </a:lnTo>
                    <a:lnTo>
                      <a:pt x="3552" y="1358"/>
                    </a:lnTo>
                    <a:lnTo>
                      <a:pt x="3624" y="1366"/>
                    </a:lnTo>
                    <a:lnTo>
                      <a:pt x="3706" y="1374"/>
                    </a:lnTo>
                    <a:lnTo>
                      <a:pt x="3802" y="1378"/>
                    </a:lnTo>
                    <a:lnTo>
                      <a:pt x="3912" y="1378"/>
                    </a:lnTo>
                    <a:lnTo>
                      <a:pt x="3922" y="1378"/>
                    </a:lnTo>
                    <a:lnTo>
                      <a:pt x="3924" y="1378"/>
                    </a:lnTo>
                    <a:lnTo>
                      <a:pt x="3924" y="1378"/>
                    </a:lnTo>
                    <a:lnTo>
                      <a:pt x="3980" y="1380"/>
                    </a:lnTo>
                    <a:lnTo>
                      <a:pt x="4032" y="1386"/>
                    </a:lnTo>
                    <a:lnTo>
                      <a:pt x="4078" y="1396"/>
                    </a:lnTo>
                    <a:lnTo>
                      <a:pt x="4120" y="1406"/>
                    </a:lnTo>
                    <a:lnTo>
                      <a:pt x="4158" y="1422"/>
                    </a:lnTo>
                    <a:lnTo>
                      <a:pt x="4190" y="1438"/>
                    </a:lnTo>
                    <a:lnTo>
                      <a:pt x="4220" y="1456"/>
                    </a:lnTo>
                    <a:lnTo>
                      <a:pt x="4244" y="1476"/>
                    </a:lnTo>
                    <a:lnTo>
                      <a:pt x="4244" y="1476"/>
                    </a:lnTo>
                    <a:lnTo>
                      <a:pt x="4264" y="1498"/>
                    </a:lnTo>
                    <a:lnTo>
                      <a:pt x="4282" y="1520"/>
                    </a:lnTo>
                    <a:lnTo>
                      <a:pt x="4298" y="1544"/>
                    </a:lnTo>
                    <a:lnTo>
                      <a:pt x="4310" y="1568"/>
                    </a:lnTo>
                    <a:lnTo>
                      <a:pt x="4318" y="1594"/>
                    </a:lnTo>
                    <a:lnTo>
                      <a:pt x="4326" y="1622"/>
                    </a:lnTo>
                    <a:lnTo>
                      <a:pt x="4330" y="1648"/>
                    </a:lnTo>
                    <a:lnTo>
                      <a:pt x="4330" y="1676"/>
                    </a:lnTo>
                    <a:lnTo>
                      <a:pt x="4330" y="1676"/>
                    </a:lnTo>
                    <a:lnTo>
                      <a:pt x="4330" y="1702"/>
                    </a:lnTo>
                    <a:lnTo>
                      <a:pt x="4326" y="1728"/>
                    </a:lnTo>
                    <a:lnTo>
                      <a:pt x="4320" y="1754"/>
                    </a:lnTo>
                    <a:lnTo>
                      <a:pt x="4312" y="1778"/>
                    </a:lnTo>
                    <a:lnTo>
                      <a:pt x="4304" y="1802"/>
                    </a:lnTo>
                    <a:lnTo>
                      <a:pt x="4292" y="1824"/>
                    </a:lnTo>
                    <a:lnTo>
                      <a:pt x="4278" y="1846"/>
                    </a:lnTo>
                    <a:lnTo>
                      <a:pt x="4264" y="1866"/>
                    </a:lnTo>
                    <a:lnTo>
                      <a:pt x="4264" y="1866"/>
                    </a:lnTo>
                    <a:lnTo>
                      <a:pt x="4248" y="1884"/>
                    </a:lnTo>
                    <a:lnTo>
                      <a:pt x="4230" y="1900"/>
                    </a:lnTo>
                    <a:lnTo>
                      <a:pt x="4210" y="1912"/>
                    </a:lnTo>
                    <a:lnTo>
                      <a:pt x="4190" y="1924"/>
                    </a:lnTo>
                    <a:lnTo>
                      <a:pt x="4170" y="1934"/>
                    </a:lnTo>
                    <a:lnTo>
                      <a:pt x="4148" y="1940"/>
                    </a:lnTo>
                    <a:lnTo>
                      <a:pt x="4124" y="1944"/>
                    </a:lnTo>
                    <a:lnTo>
                      <a:pt x="4100" y="1946"/>
                    </a:lnTo>
                    <a:lnTo>
                      <a:pt x="4100" y="1946"/>
                    </a:lnTo>
                    <a:lnTo>
                      <a:pt x="4078" y="1944"/>
                    </a:lnTo>
                    <a:lnTo>
                      <a:pt x="4056" y="1942"/>
                    </a:lnTo>
                    <a:lnTo>
                      <a:pt x="4032" y="1936"/>
                    </a:lnTo>
                    <a:lnTo>
                      <a:pt x="4006" y="1928"/>
                    </a:lnTo>
                    <a:lnTo>
                      <a:pt x="3980" y="1916"/>
                    </a:lnTo>
                    <a:lnTo>
                      <a:pt x="3954" y="1902"/>
                    </a:lnTo>
                    <a:lnTo>
                      <a:pt x="3924" y="1884"/>
                    </a:lnTo>
                    <a:lnTo>
                      <a:pt x="3896" y="1862"/>
                    </a:lnTo>
                    <a:lnTo>
                      <a:pt x="3896" y="1862"/>
                    </a:lnTo>
                    <a:lnTo>
                      <a:pt x="3878" y="1836"/>
                    </a:lnTo>
                    <a:lnTo>
                      <a:pt x="3858" y="1808"/>
                    </a:lnTo>
                    <a:lnTo>
                      <a:pt x="3836" y="1784"/>
                    </a:lnTo>
                    <a:lnTo>
                      <a:pt x="3814" y="1760"/>
                    </a:lnTo>
                    <a:lnTo>
                      <a:pt x="3788" y="1736"/>
                    </a:lnTo>
                    <a:lnTo>
                      <a:pt x="3764" y="1714"/>
                    </a:lnTo>
                    <a:lnTo>
                      <a:pt x="3736" y="1694"/>
                    </a:lnTo>
                    <a:lnTo>
                      <a:pt x="3708" y="1674"/>
                    </a:lnTo>
                    <a:lnTo>
                      <a:pt x="3650" y="1636"/>
                    </a:lnTo>
                    <a:lnTo>
                      <a:pt x="3590" y="1598"/>
                    </a:lnTo>
                    <a:lnTo>
                      <a:pt x="3526" y="1564"/>
                    </a:lnTo>
                    <a:lnTo>
                      <a:pt x="3460" y="1530"/>
                    </a:lnTo>
                    <a:lnTo>
                      <a:pt x="3332" y="1460"/>
                    </a:lnTo>
                    <a:lnTo>
                      <a:pt x="3268" y="1424"/>
                    </a:lnTo>
                    <a:lnTo>
                      <a:pt x="3206" y="1384"/>
                    </a:lnTo>
                    <a:lnTo>
                      <a:pt x="3148" y="1344"/>
                    </a:lnTo>
                    <a:lnTo>
                      <a:pt x="3120" y="1322"/>
                    </a:lnTo>
                    <a:lnTo>
                      <a:pt x="3094" y="1298"/>
                    </a:lnTo>
                    <a:lnTo>
                      <a:pt x="3068" y="1274"/>
                    </a:lnTo>
                    <a:lnTo>
                      <a:pt x="3044" y="1250"/>
                    </a:lnTo>
                    <a:lnTo>
                      <a:pt x="3022" y="1224"/>
                    </a:lnTo>
                    <a:lnTo>
                      <a:pt x="3000" y="1196"/>
                    </a:lnTo>
                    <a:lnTo>
                      <a:pt x="3000" y="1196"/>
                    </a:lnTo>
                    <a:lnTo>
                      <a:pt x="2968" y="1126"/>
                    </a:lnTo>
                    <a:lnTo>
                      <a:pt x="2936" y="1060"/>
                    </a:lnTo>
                    <a:lnTo>
                      <a:pt x="2902" y="996"/>
                    </a:lnTo>
                    <a:lnTo>
                      <a:pt x="2868" y="938"/>
                    </a:lnTo>
                    <a:lnTo>
                      <a:pt x="2834" y="882"/>
                    </a:lnTo>
                    <a:lnTo>
                      <a:pt x="2800" y="828"/>
                    </a:lnTo>
                    <a:lnTo>
                      <a:pt x="2766" y="778"/>
                    </a:lnTo>
                    <a:lnTo>
                      <a:pt x="2732" y="732"/>
                    </a:lnTo>
                    <a:lnTo>
                      <a:pt x="2698" y="688"/>
                    </a:lnTo>
                    <a:lnTo>
                      <a:pt x="2662" y="646"/>
                    </a:lnTo>
                    <a:lnTo>
                      <a:pt x="2628" y="608"/>
                    </a:lnTo>
                    <a:lnTo>
                      <a:pt x="2594" y="572"/>
                    </a:lnTo>
                    <a:lnTo>
                      <a:pt x="2558" y="538"/>
                    </a:lnTo>
                    <a:lnTo>
                      <a:pt x="2524" y="508"/>
                    </a:lnTo>
                    <a:lnTo>
                      <a:pt x="2490" y="478"/>
                    </a:lnTo>
                    <a:lnTo>
                      <a:pt x="2456" y="452"/>
                    </a:lnTo>
                    <a:lnTo>
                      <a:pt x="2422" y="428"/>
                    </a:lnTo>
                    <a:lnTo>
                      <a:pt x="2388" y="406"/>
                    </a:lnTo>
                    <a:lnTo>
                      <a:pt x="2354" y="384"/>
                    </a:lnTo>
                    <a:lnTo>
                      <a:pt x="2320" y="366"/>
                    </a:lnTo>
                    <a:lnTo>
                      <a:pt x="2288" y="350"/>
                    </a:lnTo>
                    <a:lnTo>
                      <a:pt x="2256" y="334"/>
                    </a:lnTo>
                    <a:lnTo>
                      <a:pt x="2192" y="308"/>
                    </a:lnTo>
                    <a:lnTo>
                      <a:pt x="2130" y="286"/>
                    </a:lnTo>
                    <a:lnTo>
                      <a:pt x="2072" y="270"/>
                    </a:lnTo>
                    <a:lnTo>
                      <a:pt x="2016" y="258"/>
                    </a:lnTo>
                    <a:lnTo>
                      <a:pt x="1962" y="248"/>
                    </a:lnTo>
                    <a:lnTo>
                      <a:pt x="1962" y="248"/>
                    </a:lnTo>
                    <a:lnTo>
                      <a:pt x="1902" y="238"/>
                    </a:lnTo>
                    <a:lnTo>
                      <a:pt x="1836" y="230"/>
                    </a:lnTo>
                    <a:lnTo>
                      <a:pt x="1764" y="224"/>
                    </a:lnTo>
                    <a:lnTo>
                      <a:pt x="1686" y="222"/>
                    </a:lnTo>
                    <a:lnTo>
                      <a:pt x="1686" y="222"/>
                    </a:lnTo>
                    <a:lnTo>
                      <a:pt x="1640" y="224"/>
                    </a:lnTo>
                    <a:lnTo>
                      <a:pt x="1590" y="226"/>
                    </a:lnTo>
                    <a:lnTo>
                      <a:pt x="1540" y="230"/>
                    </a:lnTo>
                    <a:lnTo>
                      <a:pt x="1488" y="238"/>
                    </a:lnTo>
                    <a:lnTo>
                      <a:pt x="1436" y="248"/>
                    </a:lnTo>
                    <a:lnTo>
                      <a:pt x="1382" y="262"/>
                    </a:lnTo>
                    <a:lnTo>
                      <a:pt x="1326" y="278"/>
                    </a:lnTo>
                    <a:lnTo>
                      <a:pt x="1270" y="298"/>
                    </a:lnTo>
                    <a:lnTo>
                      <a:pt x="1212" y="322"/>
                    </a:lnTo>
                    <a:lnTo>
                      <a:pt x="1154" y="350"/>
                    </a:lnTo>
                    <a:lnTo>
                      <a:pt x="1094" y="382"/>
                    </a:lnTo>
                    <a:lnTo>
                      <a:pt x="1036" y="418"/>
                    </a:lnTo>
                    <a:lnTo>
                      <a:pt x="974" y="458"/>
                    </a:lnTo>
                    <a:lnTo>
                      <a:pt x="914" y="504"/>
                    </a:lnTo>
                    <a:lnTo>
                      <a:pt x="852" y="556"/>
                    </a:lnTo>
                    <a:lnTo>
                      <a:pt x="790" y="614"/>
                    </a:lnTo>
                    <a:lnTo>
                      <a:pt x="790" y="614"/>
                    </a:lnTo>
                    <a:lnTo>
                      <a:pt x="754" y="580"/>
                    </a:lnTo>
                    <a:lnTo>
                      <a:pt x="712" y="548"/>
                    </a:lnTo>
                    <a:lnTo>
                      <a:pt x="666" y="518"/>
                    </a:lnTo>
                    <a:lnTo>
                      <a:pt x="614" y="488"/>
                    </a:lnTo>
                    <a:lnTo>
                      <a:pt x="614" y="488"/>
                    </a:lnTo>
                    <a:lnTo>
                      <a:pt x="586" y="472"/>
                    </a:lnTo>
                    <a:lnTo>
                      <a:pt x="560" y="454"/>
                    </a:lnTo>
                    <a:lnTo>
                      <a:pt x="536" y="438"/>
                    </a:lnTo>
                    <a:lnTo>
                      <a:pt x="514" y="420"/>
                    </a:lnTo>
                    <a:lnTo>
                      <a:pt x="492" y="400"/>
                    </a:lnTo>
                    <a:lnTo>
                      <a:pt x="474" y="382"/>
                    </a:lnTo>
                    <a:lnTo>
                      <a:pt x="454" y="362"/>
                    </a:lnTo>
                    <a:lnTo>
                      <a:pt x="438" y="342"/>
                    </a:lnTo>
                    <a:lnTo>
                      <a:pt x="408" y="302"/>
                    </a:lnTo>
                    <a:lnTo>
                      <a:pt x="382" y="262"/>
                    </a:lnTo>
                    <a:lnTo>
                      <a:pt x="362" y="222"/>
                    </a:lnTo>
                    <a:lnTo>
                      <a:pt x="344" y="182"/>
                    </a:lnTo>
                    <a:lnTo>
                      <a:pt x="332" y="146"/>
                    </a:lnTo>
                    <a:lnTo>
                      <a:pt x="322" y="112"/>
                    </a:lnTo>
                    <a:lnTo>
                      <a:pt x="314" y="80"/>
                    </a:lnTo>
                    <a:lnTo>
                      <a:pt x="308" y="54"/>
                    </a:lnTo>
                    <a:lnTo>
                      <a:pt x="302" y="14"/>
                    </a:lnTo>
                    <a:lnTo>
                      <a:pt x="302"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91" name="Freeform 13">
                <a:extLst>
                  <a:ext uri="{FF2B5EF4-FFF2-40B4-BE49-F238E27FC236}">
                    <a16:creationId xmlns:a16="http://schemas.microsoft.com/office/drawing/2014/main" id="{5DA518D6-237F-4336-BF11-31CBC551DB8E}"/>
                  </a:ext>
                </a:extLst>
              </p:cNvPr>
              <p:cNvSpPr>
                <a:spLocks/>
              </p:cNvSpPr>
              <p:nvPr/>
            </p:nvSpPr>
            <p:spPr bwMode="auto">
              <a:xfrm>
                <a:off x="1865313" y="3754438"/>
                <a:ext cx="1038225" cy="1355725"/>
              </a:xfrm>
              <a:custGeom>
                <a:avLst/>
                <a:gdLst>
                  <a:gd name="T0" fmla="*/ 296 w 654"/>
                  <a:gd name="T1" fmla="*/ 0 h 854"/>
                  <a:gd name="T2" fmla="*/ 178 w 654"/>
                  <a:gd name="T3" fmla="*/ 104 h 854"/>
                  <a:gd name="T4" fmla="*/ 120 w 654"/>
                  <a:gd name="T5" fmla="*/ 164 h 854"/>
                  <a:gd name="T6" fmla="*/ 70 w 654"/>
                  <a:gd name="T7" fmla="*/ 226 h 854"/>
                  <a:gd name="T8" fmla="*/ 30 w 654"/>
                  <a:gd name="T9" fmla="*/ 288 h 854"/>
                  <a:gd name="T10" fmla="*/ 6 w 654"/>
                  <a:gd name="T11" fmla="*/ 348 h 854"/>
                  <a:gd name="T12" fmla="*/ 0 w 654"/>
                  <a:gd name="T13" fmla="*/ 378 h 854"/>
                  <a:gd name="T14" fmla="*/ 2 w 654"/>
                  <a:gd name="T15" fmla="*/ 406 h 854"/>
                  <a:gd name="T16" fmla="*/ 8 w 654"/>
                  <a:gd name="T17" fmla="*/ 432 h 854"/>
                  <a:gd name="T18" fmla="*/ 22 w 654"/>
                  <a:gd name="T19" fmla="*/ 456 h 854"/>
                  <a:gd name="T20" fmla="*/ 46 w 654"/>
                  <a:gd name="T21" fmla="*/ 486 h 854"/>
                  <a:gd name="T22" fmla="*/ 114 w 654"/>
                  <a:gd name="T23" fmla="*/ 562 h 854"/>
                  <a:gd name="T24" fmla="*/ 202 w 654"/>
                  <a:gd name="T25" fmla="*/ 648 h 854"/>
                  <a:gd name="T26" fmla="*/ 294 w 654"/>
                  <a:gd name="T27" fmla="*/ 726 h 854"/>
                  <a:gd name="T28" fmla="*/ 340 w 654"/>
                  <a:gd name="T29" fmla="*/ 756 h 854"/>
                  <a:gd name="T30" fmla="*/ 336 w 654"/>
                  <a:gd name="T31" fmla="*/ 760 h 854"/>
                  <a:gd name="T32" fmla="*/ 394 w 654"/>
                  <a:gd name="T33" fmla="*/ 804 h 854"/>
                  <a:gd name="T34" fmla="*/ 444 w 654"/>
                  <a:gd name="T35" fmla="*/ 834 h 854"/>
                  <a:gd name="T36" fmla="*/ 488 w 654"/>
                  <a:gd name="T37" fmla="*/ 850 h 854"/>
                  <a:gd name="T38" fmla="*/ 526 w 654"/>
                  <a:gd name="T39" fmla="*/ 854 h 854"/>
                  <a:gd name="T40" fmla="*/ 544 w 654"/>
                  <a:gd name="T41" fmla="*/ 854 h 854"/>
                  <a:gd name="T42" fmla="*/ 576 w 654"/>
                  <a:gd name="T43" fmla="*/ 844 h 854"/>
                  <a:gd name="T44" fmla="*/ 602 w 654"/>
                  <a:gd name="T45" fmla="*/ 824 h 854"/>
                  <a:gd name="T46" fmla="*/ 620 w 654"/>
                  <a:gd name="T47" fmla="*/ 800 h 854"/>
                  <a:gd name="T48" fmla="*/ 636 w 654"/>
                  <a:gd name="T49" fmla="*/ 770 h 854"/>
                  <a:gd name="T50" fmla="*/ 648 w 654"/>
                  <a:gd name="T51" fmla="*/ 722 h 854"/>
                  <a:gd name="T52" fmla="*/ 654 w 654"/>
                  <a:gd name="T53" fmla="*/ 666 h 854"/>
                  <a:gd name="T54" fmla="*/ 652 w 654"/>
                  <a:gd name="T55" fmla="*/ 642 h 854"/>
                  <a:gd name="T56" fmla="*/ 644 w 654"/>
                  <a:gd name="T57" fmla="*/ 598 h 854"/>
                  <a:gd name="T58" fmla="*/ 638 w 654"/>
                  <a:gd name="T59" fmla="*/ 580 h 854"/>
                  <a:gd name="T60" fmla="*/ 632 w 654"/>
                  <a:gd name="T61" fmla="*/ 576 h 854"/>
                  <a:gd name="T62" fmla="*/ 634 w 654"/>
                  <a:gd name="T63" fmla="*/ 572 h 854"/>
                  <a:gd name="T64" fmla="*/ 518 w 654"/>
                  <a:gd name="T65" fmla="*/ 530 h 854"/>
                  <a:gd name="T66" fmla="*/ 518 w 654"/>
                  <a:gd name="T67" fmla="*/ 554 h 854"/>
                  <a:gd name="T68" fmla="*/ 512 w 654"/>
                  <a:gd name="T69" fmla="*/ 594 h 854"/>
                  <a:gd name="T70" fmla="*/ 504 w 654"/>
                  <a:gd name="T71" fmla="*/ 624 h 854"/>
                  <a:gd name="T72" fmla="*/ 488 w 654"/>
                  <a:gd name="T73" fmla="*/ 654 h 854"/>
                  <a:gd name="T74" fmla="*/ 468 w 654"/>
                  <a:gd name="T75" fmla="*/ 670 h 854"/>
                  <a:gd name="T76" fmla="*/ 456 w 654"/>
                  <a:gd name="T77" fmla="*/ 672 h 854"/>
                  <a:gd name="T78" fmla="*/ 456 w 654"/>
                  <a:gd name="T79" fmla="*/ 672 h 854"/>
                  <a:gd name="T80" fmla="*/ 464 w 654"/>
                  <a:gd name="T81" fmla="*/ 634 h 854"/>
                  <a:gd name="T82" fmla="*/ 470 w 654"/>
                  <a:gd name="T83" fmla="*/ 574 h 854"/>
                  <a:gd name="T84" fmla="*/ 466 w 654"/>
                  <a:gd name="T85" fmla="*/ 534 h 854"/>
                  <a:gd name="T86" fmla="*/ 456 w 654"/>
                  <a:gd name="T87" fmla="*/ 504 h 854"/>
                  <a:gd name="T88" fmla="*/ 450 w 654"/>
                  <a:gd name="T89" fmla="*/ 492 h 854"/>
                  <a:gd name="T90" fmla="*/ 330 w 654"/>
                  <a:gd name="T91" fmla="*/ 426 h 854"/>
                  <a:gd name="T92" fmla="*/ 248 w 654"/>
                  <a:gd name="T93" fmla="*/ 370 h 854"/>
                  <a:gd name="T94" fmla="*/ 232 w 654"/>
                  <a:gd name="T95" fmla="*/ 356 h 854"/>
                  <a:gd name="T96" fmla="*/ 212 w 654"/>
                  <a:gd name="T97" fmla="*/ 322 h 854"/>
                  <a:gd name="T98" fmla="*/ 202 w 654"/>
                  <a:gd name="T99" fmla="*/ 282 h 854"/>
                  <a:gd name="T100" fmla="*/ 204 w 654"/>
                  <a:gd name="T101" fmla="*/ 236 h 854"/>
                  <a:gd name="T102" fmla="*/ 214 w 654"/>
                  <a:gd name="T103" fmla="*/ 186 h 854"/>
                  <a:gd name="T104" fmla="*/ 232 w 654"/>
                  <a:gd name="T105" fmla="*/ 134 h 854"/>
                  <a:gd name="T106" fmla="*/ 268 w 654"/>
                  <a:gd name="T107" fmla="*/ 54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4" h="854">
                    <a:moveTo>
                      <a:pt x="296" y="0"/>
                    </a:moveTo>
                    <a:lnTo>
                      <a:pt x="296" y="0"/>
                    </a:lnTo>
                    <a:lnTo>
                      <a:pt x="238" y="48"/>
                    </a:lnTo>
                    <a:lnTo>
                      <a:pt x="178" y="104"/>
                    </a:lnTo>
                    <a:lnTo>
                      <a:pt x="148" y="134"/>
                    </a:lnTo>
                    <a:lnTo>
                      <a:pt x="120" y="164"/>
                    </a:lnTo>
                    <a:lnTo>
                      <a:pt x="94" y="196"/>
                    </a:lnTo>
                    <a:lnTo>
                      <a:pt x="70" y="226"/>
                    </a:lnTo>
                    <a:lnTo>
                      <a:pt x="48" y="258"/>
                    </a:lnTo>
                    <a:lnTo>
                      <a:pt x="30" y="288"/>
                    </a:lnTo>
                    <a:lnTo>
                      <a:pt x="16" y="320"/>
                    </a:lnTo>
                    <a:lnTo>
                      <a:pt x="6" y="348"/>
                    </a:lnTo>
                    <a:lnTo>
                      <a:pt x="2" y="364"/>
                    </a:lnTo>
                    <a:lnTo>
                      <a:pt x="0" y="378"/>
                    </a:lnTo>
                    <a:lnTo>
                      <a:pt x="0" y="392"/>
                    </a:lnTo>
                    <a:lnTo>
                      <a:pt x="2" y="406"/>
                    </a:lnTo>
                    <a:lnTo>
                      <a:pt x="4" y="418"/>
                    </a:lnTo>
                    <a:lnTo>
                      <a:pt x="8" y="432"/>
                    </a:lnTo>
                    <a:lnTo>
                      <a:pt x="14" y="444"/>
                    </a:lnTo>
                    <a:lnTo>
                      <a:pt x="22" y="456"/>
                    </a:lnTo>
                    <a:lnTo>
                      <a:pt x="22" y="456"/>
                    </a:lnTo>
                    <a:lnTo>
                      <a:pt x="46" y="486"/>
                    </a:lnTo>
                    <a:lnTo>
                      <a:pt x="76" y="522"/>
                    </a:lnTo>
                    <a:lnTo>
                      <a:pt x="114" y="562"/>
                    </a:lnTo>
                    <a:lnTo>
                      <a:pt x="156" y="606"/>
                    </a:lnTo>
                    <a:lnTo>
                      <a:pt x="202" y="648"/>
                    </a:lnTo>
                    <a:lnTo>
                      <a:pt x="248" y="688"/>
                    </a:lnTo>
                    <a:lnTo>
                      <a:pt x="294" y="726"/>
                    </a:lnTo>
                    <a:lnTo>
                      <a:pt x="340" y="756"/>
                    </a:lnTo>
                    <a:lnTo>
                      <a:pt x="340" y="756"/>
                    </a:lnTo>
                    <a:lnTo>
                      <a:pt x="336" y="760"/>
                    </a:lnTo>
                    <a:lnTo>
                      <a:pt x="336" y="760"/>
                    </a:lnTo>
                    <a:lnTo>
                      <a:pt x="366" y="784"/>
                    </a:lnTo>
                    <a:lnTo>
                      <a:pt x="394" y="804"/>
                    </a:lnTo>
                    <a:lnTo>
                      <a:pt x="420" y="820"/>
                    </a:lnTo>
                    <a:lnTo>
                      <a:pt x="444" y="834"/>
                    </a:lnTo>
                    <a:lnTo>
                      <a:pt x="468" y="842"/>
                    </a:lnTo>
                    <a:lnTo>
                      <a:pt x="488" y="850"/>
                    </a:lnTo>
                    <a:lnTo>
                      <a:pt x="508" y="854"/>
                    </a:lnTo>
                    <a:lnTo>
                      <a:pt x="526" y="854"/>
                    </a:lnTo>
                    <a:lnTo>
                      <a:pt x="526" y="854"/>
                    </a:lnTo>
                    <a:lnTo>
                      <a:pt x="544" y="854"/>
                    </a:lnTo>
                    <a:lnTo>
                      <a:pt x="562" y="850"/>
                    </a:lnTo>
                    <a:lnTo>
                      <a:pt x="576" y="844"/>
                    </a:lnTo>
                    <a:lnTo>
                      <a:pt x="590" y="834"/>
                    </a:lnTo>
                    <a:lnTo>
                      <a:pt x="602" y="824"/>
                    </a:lnTo>
                    <a:lnTo>
                      <a:pt x="612" y="812"/>
                    </a:lnTo>
                    <a:lnTo>
                      <a:pt x="620" y="800"/>
                    </a:lnTo>
                    <a:lnTo>
                      <a:pt x="628" y="784"/>
                    </a:lnTo>
                    <a:lnTo>
                      <a:pt x="636" y="770"/>
                    </a:lnTo>
                    <a:lnTo>
                      <a:pt x="640" y="754"/>
                    </a:lnTo>
                    <a:lnTo>
                      <a:pt x="648" y="722"/>
                    </a:lnTo>
                    <a:lnTo>
                      <a:pt x="652" y="692"/>
                    </a:lnTo>
                    <a:lnTo>
                      <a:pt x="654" y="666"/>
                    </a:lnTo>
                    <a:lnTo>
                      <a:pt x="654" y="666"/>
                    </a:lnTo>
                    <a:lnTo>
                      <a:pt x="652" y="642"/>
                    </a:lnTo>
                    <a:lnTo>
                      <a:pt x="648" y="620"/>
                    </a:lnTo>
                    <a:lnTo>
                      <a:pt x="644" y="598"/>
                    </a:lnTo>
                    <a:lnTo>
                      <a:pt x="638" y="580"/>
                    </a:lnTo>
                    <a:lnTo>
                      <a:pt x="638" y="580"/>
                    </a:lnTo>
                    <a:lnTo>
                      <a:pt x="632" y="576"/>
                    </a:lnTo>
                    <a:lnTo>
                      <a:pt x="632" y="576"/>
                    </a:lnTo>
                    <a:lnTo>
                      <a:pt x="634" y="572"/>
                    </a:lnTo>
                    <a:lnTo>
                      <a:pt x="634" y="572"/>
                    </a:lnTo>
                    <a:lnTo>
                      <a:pt x="578" y="554"/>
                    </a:lnTo>
                    <a:lnTo>
                      <a:pt x="518" y="530"/>
                    </a:lnTo>
                    <a:lnTo>
                      <a:pt x="518" y="530"/>
                    </a:lnTo>
                    <a:lnTo>
                      <a:pt x="518" y="554"/>
                    </a:lnTo>
                    <a:lnTo>
                      <a:pt x="514" y="576"/>
                    </a:lnTo>
                    <a:lnTo>
                      <a:pt x="512" y="594"/>
                    </a:lnTo>
                    <a:lnTo>
                      <a:pt x="508" y="610"/>
                    </a:lnTo>
                    <a:lnTo>
                      <a:pt x="504" y="624"/>
                    </a:lnTo>
                    <a:lnTo>
                      <a:pt x="498" y="636"/>
                    </a:lnTo>
                    <a:lnTo>
                      <a:pt x="488" y="654"/>
                    </a:lnTo>
                    <a:lnTo>
                      <a:pt x="476" y="664"/>
                    </a:lnTo>
                    <a:lnTo>
                      <a:pt x="468" y="670"/>
                    </a:lnTo>
                    <a:lnTo>
                      <a:pt x="460" y="672"/>
                    </a:lnTo>
                    <a:lnTo>
                      <a:pt x="456" y="672"/>
                    </a:lnTo>
                    <a:lnTo>
                      <a:pt x="456" y="672"/>
                    </a:lnTo>
                    <a:lnTo>
                      <a:pt x="456" y="672"/>
                    </a:lnTo>
                    <a:lnTo>
                      <a:pt x="456" y="672"/>
                    </a:lnTo>
                    <a:lnTo>
                      <a:pt x="464" y="634"/>
                    </a:lnTo>
                    <a:lnTo>
                      <a:pt x="470" y="602"/>
                    </a:lnTo>
                    <a:lnTo>
                      <a:pt x="470" y="574"/>
                    </a:lnTo>
                    <a:lnTo>
                      <a:pt x="470" y="552"/>
                    </a:lnTo>
                    <a:lnTo>
                      <a:pt x="466" y="534"/>
                    </a:lnTo>
                    <a:lnTo>
                      <a:pt x="462" y="518"/>
                    </a:lnTo>
                    <a:lnTo>
                      <a:pt x="456" y="504"/>
                    </a:lnTo>
                    <a:lnTo>
                      <a:pt x="450" y="492"/>
                    </a:lnTo>
                    <a:lnTo>
                      <a:pt x="450" y="492"/>
                    </a:lnTo>
                    <a:lnTo>
                      <a:pt x="386" y="458"/>
                    </a:lnTo>
                    <a:lnTo>
                      <a:pt x="330" y="426"/>
                    </a:lnTo>
                    <a:lnTo>
                      <a:pt x="284" y="396"/>
                    </a:lnTo>
                    <a:lnTo>
                      <a:pt x="248" y="370"/>
                    </a:lnTo>
                    <a:lnTo>
                      <a:pt x="248" y="370"/>
                    </a:lnTo>
                    <a:lnTo>
                      <a:pt x="232" y="356"/>
                    </a:lnTo>
                    <a:lnTo>
                      <a:pt x="220" y="340"/>
                    </a:lnTo>
                    <a:lnTo>
                      <a:pt x="212" y="322"/>
                    </a:lnTo>
                    <a:lnTo>
                      <a:pt x="206" y="302"/>
                    </a:lnTo>
                    <a:lnTo>
                      <a:pt x="202" y="282"/>
                    </a:lnTo>
                    <a:lnTo>
                      <a:pt x="202" y="258"/>
                    </a:lnTo>
                    <a:lnTo>
                      <a:pt x="204" y="236"/>
                    </a:lnTo>
                    <a:lnTo>
                      <a:pt x="208" y="212"/>
                    </a:lnTo>
                    <a:lnTo>
                      <a:pt x="214" y="186"/>
                    </a:lnTo>
                    <a:lnTo>
                      <a:pt x="222" y="160"/>
                    </a:lnTo>
                    <a:lnTo>
                      <a:pt x="232" y="134"/>
                    </a:lnTo>
                    <a:lnTo>
                      <a:pt x="242" y="108"/>
                    </a:lnTo>
                    <a:lnTo>
                      <a:pt x="268" y="54"/>
                    </a:lnTo>
                    <a:lnTo>
                      <a:pt x="296"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492" name="Group 1491">
            <a:extLst>
              <a:ext uri="{FF2B5EF4-FFF2-40B4-BE49-F238E27FC236}">
                <a16:creationId xmlns:a16="http://schemas.microsoft.com/office/drawing/2014/main" id="{55C2A248-8E31-4EC8-BC06-4611E8FEDE60}"/>
              </a:ext>
            </a:extLst>
          </p:cNvPr>
          <p:cNvGrpSpPr/>
          <p:nvPr/>
        </p:nvGrpSpPr>
        <p:grpSpPr>
          <a:xfrm>
            <a:off x="2475575" y="5493759"/>
            <a:ext cx="612000" cy="612000"/>
            <a:chOff x="1320946" y="6132102"/>
            <a:chExt cx="612000" cy="612000"/>
          </a:xfrm>
        </p:grpSpPr>
        <p:sp>
          <p:nvSpPr>
            <p:cNvPr id="1493" name="Oval 1492">
              <a:extLst>
                <a:ext uri="{FF2B5EF4-FFF2-40B4-BE49-F238E27FC236}">
                  <a16:creationId xmlns:a16="http://schemas.microsoft.com/office/drawing/2014/main" id="{6E4D9858-8406-489A-B985-C3833FD04DCE}"/>
                </a:ext>
              </a:extLst>
            </p:cNvPr>
            <p:cNvSpPr/>
            <p:nvPr/>
          </p:nvSpPr>
          <p:spPr bwMode="ltGray">
            <a:xfrm>
              <a:off x="1320946" y="613210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494" name="Group 1493">
              <a:extLst>
                <a:ext uri="{FF2B5EF4-FFF2-40B4-BE49-F238E27FC236}">
                  <a16:creationId xmlns:a16="http://schemas.microsoft.com/office/drawing/2014/main" id="{C13BB739-5F57-4616-83D8-AB5175631061}"/>
                </a:ext>
              </a:extLst>
            </p:cNvPr>
            <p:cNvGrpSpPr/>
            <p:nvPr/>
          </p:nvGrpSpPr>
          <p:grpSpPr>
            <a:xfrm>
              <a:off x="1424524" y="6241416"/>
              <a:ext cx="412038" cy="412038"/>
              <a:chOff x="7103092" y="5689659"/>
              <a:chExt cx="412038" cy="412038"/>
            </a:xfrm>
          </p:grpSpPr>
          <p:sp>
            <p:nvSpPr>
              <p:cNvPr id="1495" name="Freeform 302">
                <a:extLst>
                  <a:ext uri="{FF2B5EF4-FFF2-40B4-BE49-F238E27FC236}">
                    <a16:creationId xmlns:a16="http://schemas.microsoft.com/office/drawing/2014/main" id="{A165CB82-8B6E-487A-9CAE-0CBA6619355F}"/>
                  </a:ext>
                </a:extLst>
              </p:cNvPr>
              <p:cNvSpPr>
                <a:spLocks noEditPoints="1"/>
              </p:cNvSpPr>
              <p:nvPr/>
            </p:nvSpPr>
            <p:spPr bwMode="auto">
              <a:xfrm>
                <a:off x="7103092" y="5689659"/>
                <a:ext cx="412038" cy="412038"/>
              </a:xfrm>
              <a:custGeom>
                <a:avLst/>
                <a:gdLst>
                  <a:gd name="T0" fmla="*/ 25 w 282"/>
                  <a:gd name="T1" fmla="*/ 223 h 282"/>
                  <a:gd name="T2" fmla="*/ 116 w 282"/>
                  <a:gd name="T3" fmla="*/ 253 h 282"/>
                  <a:gd name="T4" fmla="*/ 194 w 282"/>
                  <a:gd name="T5" fmla="*/ 244 h 282"/>
                  <a:gd name="T6" fmla="*/ 247 w 282"/>
                  <a:gd name="T7" fmla="*/ 185 h 282"/>
                  <a:gd name="T8" fmla="*/ 251 w 282"/>
                  <a:gd name="T9" fmla="*/ 106 h 282"/>
                  <a:gd name="T10" fmla="*/ 204 w 282"/>
                  <a:gd name="T11" fmla="*/ 44 h 282"/>
                  <a:gd name="T12" fmla="*/ 116 w 282"/>
                  <a:gd name="T13" fmla="*/ 28 h 282"/>
                  <a:gd name="T14" fmla="*/ 25 w 282"/>
                  <a:gd name="T15" fmla="*/ 59 h 282"/>
                  <a:gd name="T16" fmla="*/ 0 w 282"/>
                  <a:gd name="T17" fmla="*/ 117 h 282"/>
                  <a:gd name="T18" fmla="*/ 47 w 282"/>
                  <a:gd name="T19" fmla="*/ 166 h 282"/>
                  <a:gd name="T20" fmla="*/ 44 w 282"/>
                  <a:gd name="T21" fmla="*/ 156 h 282"/>
                  <a:gd name="T22" fmla="*/ 44 w 282"/>
                  <a:gd name="T23" fmla="*/ 150 h 282"/>
                  <a:gd name="T24" fmla="*/ 43 w 282"/>
                  <a:gd name="T25" fmla="*/ 136 h 282"/>
                  <a:gd name="T26" fmla="*/ 44 w 282"/>
                  <a:gd name="T27" fmla="*/ 130 h 282"/>
                  <a:gd name="T28" fmla="*/ 45 w 282"/>
                  <a:gd name="T29" fmla="*/ 121 h 282"/>
                  <a:gd name="T30" fmla="*/ 48 w 282"/>
                  <a:gd name="T31" fmla="*/ 112 h 282"/>
                  <a:gd name="T32" fmla="*/ 56 w 282"/>
                  <a:gd name="T33" fmla="*/ 93 h 282"/>
                  <a:gd name="T34" fmla="*/ 59 w 282"/>
                  <a:gd name="T35" fmla="*/ 89 h 282"/>
                  <a:gd name="T36" fmla="*/ 67 w 282"/>
                  <a:gd name="T37" fmla="*/ 77 h 282"/>
                  <a:gd name="T38" fmla="*/ 79 w 282"/>
                  <a:gd name="T39" fmla="*/ 65 h 282"/>
                  <a:gd name="T40" fmla="*/ 92 w 282"/>
                  <a:gd name="T41" fmla="*/ 56 h 282"/>
                  <a:gd name="T42" fmla="*/ 104 w 282"/>
                  <a:gd name="T43" fmla="*/ 51 h 282"/>
                  <a:gd name="T44" fmla="*/ 116 w 282"/>
                  <a:gd name="T45" fmla="*/ 46 h 282"/>
                  <a:gd name="T46" fmla="*/ 126 w 282"/>
                  <a:gd name="T47" fmla="*/ 45 h 282"/>
                  <a:gd name="T48" fmla="*/ 132 w 282"/>
                  <a:gd name="T49" fmla="*/ 44 h 282"/>
                  <a:gd name="T50" fmla="*/ 145 w 282"/>
                  <a:gd name="T51" fmla="*/ 44 h 282"/>
                  <a:gd name="T52" fmla="*/ 151 w 282"/>
                  <a:gd name="T53" fmla="*/ 44 h 282"/>
                  <a:gd name="T54" fmla="*/ 161 w 282"/>
                  <a:gd name="T55" fmla="*/ 45 h 282"/>
                  <a:gd name="T56" fmla="*/ 170 w 282"/>
                  <a:gd name="T57" fmla="*/ 48 h 282"/>
                  <a:gd name="T58" fmla="*/ 189 w 282"/>
                  <a:gd name="T59" fmla="*/ 56 h 282"/>
                  <a:gd name="T60" fmla="*/ 193 w 282"/>
                  <a:gd name="T61" fmla="*/ 59 h 282"/>
                  <a:gd name="T62" fmla="*/ 205 w 282"/>
                  <a:gd name="T63" fmla="*/ 67 h 282"/>
                  <a:gd name="T64" fmla="*/ 217 w 282"/>
                  <a:gd name="T65" fmla="*/ 80 h 282"/>
                  <a:gd name="T66" fmla="*/ 226 w 282"/>
                  <a:gd name="T67" fmla="*/ 93 h 282"/>
                  <a:gd name="T68" fmla="*/ 232 w 282"/>
                  <a:gd name="T69" fmla="*/ 104 h 282"/>
                  <a:gd name="T70" fmla="*/ 235 w 282"/>
                  <a:gd name="T71" fmla="*/ 116 h 282"/>
                  <a:gd name="T72" fmla="*/ 238 w 282"/>
                  <a:gd name="T73" fmla="*/ 125 h 282"/>
                  <a:gd name="T74" fmla="*/ 238 w 282"/>
                  <a:gd name="T75" fmla="*/ 132 h 282"/>
                  <a:gd name="T76" fmla="*/ 239 w 282"/>
                  <a:gd name="T77" fmla="*/ 146 h 282"/>
                  <a:gd name="T78" fmla="*/ 238 w 282"/>
                  <a:gd name="T79" fmla="*/ 151 h 282"/>
                  <a:gd name="T80" fmla="*/ 237 w 282"/>
                  <a:gd name="T81" fmla="*/ 162 h 282"/>
                  <a:gd name="T82" fmla="*/ 228 w 282"/>
                  <a:gd name="T83" fmla="*/ 186 h 282"/>
                  <a:gd name="T84" fmla="*/ 224 w 282"/>
                  <a:gd name="T85" fmla="*/ 192 h 282"/>
                  <a:gd name="T86" fmla="*/ 216 w 282"/>
                  <a:gd name="T87" fmla="*/ 205 h 282"/>
                  <a:gd name="T88" fmla="*/ 205 w 282"/>
                  <a:gd name="T89" fmla="*/ 216 h 282"/>
                  <a:gd name="T90" fmla="*/ 193 w 282"/>
                  <a:gd name="T91" fmla="*/ 224 h 282"/>
                  <a:gd name="T92" fmla="*/ 187 w 282"/>
                  <a:gd name="T93" fmla="*/ 228 h 282"/>
                  <a:gd name="T94" fmla="*/ 166 w 282"/>
                  <a:gd name="T95" fmla="*/ 235 h 282"/>
                  <a:gd name="T96" fmla="*/ 156 w 282"/>
                  <a:gd name="T97" fmla="*/ 237 h 282"/>
                  <a:gd name="T98" fmla="*/ 150 w 282"/>
                  <a:gd name="T99" fmla="*/ 239 h 282"/>
                  <a:gd name="T100" fmla="*/ 137 w 282"/>
                  <a:gd name="T101" fmla="*/ 239 h 282"/>
                  <a:gd name="T102" fmla="*/ 131 w 282"/>
                  <a:gd name="T103" fmla="*/ 239 h 282"/>
                  <a:gd name="T104" fmla="*/ 121 w 282"/>
                  <a:gd name="T105" fmla="*/ 236 h 282"/>
                  <a:gd name="T106" fmla="*/ 112 w 282"/>
                  <a:gd name="T107" fmla="*/ 235 h 282"/>
                  <a:gd name="T108" fmla="*/ 95 w 282"/>
                  <a:gd name="T109" fmla="*/ 228 h 282"/>
                  <a:gd name="T110" fmla="*/ 89 w 282"/>
                  <a:gd name="T111" fmla="*/ 224 h 282"/>
                  <a:gd name="T112" fmla="*/ 77 w 282"/>
                  <a:gd name="T113" fmla="*/ 216 h 282"/>
                  <a:gd name="T114" fmla="*/ 65 w 282"/>
                  <a:gd name="T115" fmla="*/ 202 h 282"/>
                  <a:gd name="T116" fmla="*/ 58 w 282"/>
                  <a:gd name="T117" fmla="*/ 19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82" h="282">
                    <a:moveTo>
                      <a:pt x="28" y="166"/>
                    </a:moveTo>
                    <a:lnTo>
                      <a:pt x="28" y="166"/>
                    </a:lnTo>
                    <a:lnTo>
                      <a:pt x="31" y="175"/>
                    </a:lnTo>
                    <a:lnTo>
                      <a:pt x="34" y="185"/>
                    </a:lnTo>
                    <a:lnTo>
                      <a:pt x="39" y="195"/>
                    </a:lnTo>
                    <a:lnTo>
                      <a:pt x="44" y="203"/>
                    </a:lnTo>
                    <a:lnTo>
                      <a:pt x="25" y="223"/>
                    </a:lnTo>
                    <a:lnTo>
                      <a:pt x="59" y="258"/>
                    </a:lnTo>
                    <a:lnTo>
                      <a:pt x="78" y="237"/>
                    </a:lnTo>
                    <a:lnTo>
                      <a:pt x="78" y="237"/>
                    </a:lnTo>
                    <a:lnTo>
                      <a:pt x="88" y="244"/>
                    </a:lnTo>
                    <a:lnTo>
                      <a:pt x="97" y="247"/>
                    </a:lnTo>
                    <a:lnTo>
                      <a:pt x="106" y="251"/>
                    </a:lnTo>
                    <a:lnTo>
                      <a:pt x="116" y="253"/>
                    </a:lnTo>
                    <a:lnTo>
                      <a:pt x="116" y="282"/>
                    </a:lnTo>
                    <a:lnTo>
                      <a:pt x="166" y="282"/>
                    </a:lnTo>
                    <a:lnTo>
                      <a:pt x="166" y="253"/>
                    </a:lnTo>
                    <a:lnTo>
                      <a:pt x="166" y="253"/>
                    </a:lnTo>
                    <a:lnTo>
                      <a:pt x="176" y="251"/>
                    </a:lnTo>
                    <a:lnTo>
                      <a:pt x="185" y="247"/>
                    </a:lnTo>
                    <a:lnTo>
                      <a:pt x="194" y="244"/>
                    </a:lnTo>
                    <a:lnTo>
                      <a:pt x="204" y="237"/>
                    </a:lnTo>
                    <a:lnTo>
                      <a:pt x="223" y="258"/>
                    </a:lnTo>
                    <a:lnTo>
                      <a:pt x="258" y="223"/>
                    </a:lnTo>
                    <a:lnTo>
                      <a:pt x="238" y="203"/>
                    </a:lnTo>
                    <a:lnTo>
                      <a:pt x="238" y="203"/>
                    </a:lnTo>
                    <a:lnTo>
                      <a:pt x="243" y="195"/>
                    </a:lnTo>
                    <a:lnTo>
                      <a:pt x="247" y="185"/>
                    </a:lnTo>
                    <a:lnTo>
                      <a:pt x="251" y="175"/>
                    </a:lnTo>
                    <a:lnTo>
                      <a:pt x="254" y="166"/>
                    </a:lnTo>
                    <a:lnTo>
                      <a:pt x="282" y="166"/>
                    </a:lnTo>
                    <a:lnTo>
                      <a:pt x="282" y="117"/>
                    </a:lnTo>
                    <a:lnTo>
                      <a:pt x="254" y="117"/>
                    </a:lnTo>
                    <a:lnTo>
                      <a:pt x="254" y="117"/>
                    </a:lnTo>
                    <a:lnTo>
                      <a:pt x="251" y="106"/>
                    </a:lnTo>
                    <a:lnTo>
                      <a:pt x="247" y="97"/>
                    </a:lnTo>
                    <a:lnTo>
                      <a:pt x="243" y="88"/>
                    </a:lnTo>
                    <a:lnTo>
                      <a:pt x="238" y="79"/>
                    </a:lnTo>
                    <a:lnTo>
                      <a:pt x="258" y="59"/>
                    </a:lnTo>
                    <a:lnTo>
                      <a:pt x="223" y="24"/>
                    </a:lnTo>
                    <a:lnTo>
                      <a:pt x="204" y="44"/>
                    </a:lnTo>
                    <a:lnTo>
                      <a:pt x="204" y="44"/>
                    </a:lnTo>
                    <a:lnTo>
                      <a:pt x="194" y="39"/>
                    </a:lnTo>
                    <a:lnTo>
                      <a:pt x="185" y="35"/>
                    </a:lnTo>
                    <a:lnTo>
                      <a:pt x="176" y="32"/>
                    </a:lnTo>
                    <a:lnTo>
                      <a:pt x="166" y="28"/>
                    </a:lnTo>
                    <a:lnTo>
                      <a:pt x="166" y="0"/>
                    </a:lnTo>
                    <a:lnTo>
                      <a:pt x="116" y="0"/>
                    </a:lnTo>
                    <a:lnTo>
                      <a:pt x="116" y="28"/>
                    </a:lnTo>
                    <a:lnTo>
                      <a:pt x="116" y="28"/>
                    </a:lnTo>
                    <a:lnTo>
                      <a:pt x="106" y="32"/>
                    </a:lnTo>
                    <a:lnTo>
                      <a:pt x="97" y="35"/>
                    </a:lnTo>
                    <a:lnTo>
                      <a:pt x="88" y="39"/>
                    </a:lnTo>
                    <a:lnTo>
                      <a:pt x="78" y="44"/>
                    </a:lnTo>
                    <a:lnTo>
                      <a:pt x="59" y="24"/>
                    </a:lnTo>
                    <a:lnTo>
                      <a:pt x="25" y="59"/>
                    </a:lnTo>
                    <a:lnTo>
                      <a:pt x="44" y="79"/>
                    </a:lnTo>
                    <a:lnTo>
                      <a:pt x="44" y="79"/>
                    </a:lnTo>
                    <a:lnTo>
                      <a:pt x="39" y="88"/>
                    </a:lnTo>
                    <a:lnTo>
                      <a:pt x="34" y="97"/>
                    </a:lnTo>
                    <a:lnTo>
                      <a:pt x="31" y="106"/>
                    </a:lnTo>
                    <a:lnTo>
                      <a:pt x="28" y="117"/>
                    </a:lnTo>
                    <a:lnTo>
                      <a:pt x="0" y="117"/>
                    </a:lnTo>
                    <a:lnTo>
                      <a:pt x="0" y="166"/>
                    </a:lnTo>
                    <a:lnTo>
                      <a:pt x="28" y="166"/>
                    </a:lnTo>
                    <a:close/>
                    <a:moveTo>
                      <a:pt x="55" y="186"/>
                    </a:moveTo>
                    <a:lnTo>
                      <a:pt x="55" y="186"/>
                    </a:lnTo>
                    <a:lnTo>
                      <a:pt x="50" y="177"/>
                    </a:lnTo>
                    <a:lnTo>
                      <a:pt x="47" y="166"/>
                    </a:lnTo>
                    <a:lnTo>
                      <a:pt x="47" y="166"/>
                    </a:lnTo>
                    <a:lnTo>
                      <a:pt x="47" y="164"/>
                    </a:lnTo>
                    <a:lnTo>
                      <a:pt x="47" y="164"/>
                    </a:lnTo>
                    <a:lnTo>
                      <a:pt x="45" y="162"/>
                    </a:lnTo>
                    <a:lnTo>
                      <a:pt x="45" y="162"/>
                    </a:lnTo>
                    <a:lnTo>
                      <a:pt x="45" y="161"/>
                    </a:lnTo>
                    <a:lnTo>
                      <a:pt x="45" y="161"/>
                    </a:lnTo>
                    <a:lnTo>
                      <a:pt x="44" y="156"/>
                    </a:lnTo>
                    <a:lnTo>
                      <a:pt x="44" y="156"/>
                    </a:lnTo>
                    <a:lnTo>
                      <a:pt x="44" y="156"/>
                    </a:lnTo>
                    <a:lnTo>
                      <a:pt x="44" y="156"/>
                    </a:lnTo>
                    <a:lnTo>
                      <a:pt x="44" y="151"/>
                    </a:lnTo>
                    <a:lnTo>
                      <a:pt x="44" y="151"/>
                    </a:lnTo>
                    <a:lnTo>
                      <a:pt x="44" y="150"/>
                    </a:lnTo>
                    <a:lnTo>
                      <a:pt x="44" y="150"/>
                    </a:lnTo>
                    <a:lnTo>
                      <a:pt x="43" y="147"/>
                    </a:lnTo>
                    <a:lnTo>
                      <a:pt x="43" y="147"/>
                    </a:lnTo>
                    <a:lnTo>
                      <a:pt x="43" y="146"/>
                    </a:lnTo>
                    <a:lnTo>
                      <a:pt x="43" y="146"/>
                    </a:lnTo>
                    <a:lnTo>
                      <a:pt x="43" y="141"/>
                    </a:lnTo>
                    <a:lnTo>
                      <a:pt x="43" y="141"/>
                    </a:lnTo>
                    <a:lnTo>
                      <a:pt x="43" y="136"/>
                    </a:lnTo>
                    <a:lnTo>
                      <a:pt x="43" y="136"/>
                    </a:lnTo>
                    <a:lnTo>
                      <a:pt x="43" y="135"/>
                    </a:lnTo>
                    <a:lnTo>
                      <a:pt x="43" y="135"/>
                    </a:lnTo>
                    <a:lnTo>
                      <a:pt x="44" y="132"/>
                    </a:lnTo>
                    <a:lnTo>
                      <a:pt x="44" y="132"/>
                    </a:lnTo>
                    <a:lnTo>
                      <a:pt x="44" y="130"/>
                    </a:lnTo>
                    <a:lnTo>
                      <a:pt x="44" y="130"/>
                    </a:lnTo>
                    <a:lnTo>
                      <a:pt x="44" y="127"/>
                    </a:lnTo>
                    <a:lnTo>
                      <a:pt x="44" y="127"/>
                    </a:lnTo>
                    <a:lnTo>
                      <a:pt x="44" y="125"/>
                    </a:lnTo>
                    <a:lnTo>
                      <a:pt x="44" y="125"/>
                    </a:lnTo>
                    <a:lnTo>
                      <a:pt x="45" y="122"/>
                    </a:lnTo>
                    <a:lnTo>
                      <a:pt x="45" y="122"/>
                    </a:lnTo>
                    <a:lnTo>
                      <a:pt x="45" y="121"/>
                    </a:lnTo>
                    <a:lnTo>
                      <a:pt x="45" y="121"/>
                    </a:lnTo>
                    <a:lnTo>
                      <a:pt x="47" y="118"/>
                    </a:lnTo>
                    <a:lnTo>
                      <a:pt x="47" y="118"/>
                    </a:lnTo>
                    <a:lnTo>
                      <a:pt x="47" y="116"/>
                    </a:lnTo>
                    <a:lnTo>
                      <a:pt x="47" y="116"/>
                    </a:lnTo>
                    <a:lnTo>
                      <a:pt x="48" y="112"/>
                    </a:lnTo>
                    <a:lnTo>
                      <a:pt x="48" y="112"/>
                    </a:lnTo>
                    <a:lnTo>
                      <a:pt x="48" y="112"/>
                    </a:lnTo>
                    <a:lnTo>
                      <a:pt x="48" y="112"/>
                    </a:lnTo>
                    <a:lnTo>
                      <a:pt x="48" y="112"/>
                    </a:lnTo>
                    <a:lnTo>
                      <a:pt x="50" y="104"/>
                    </a:lnTo>
                    <a:lnTo>
                      <a:pt x="55" y="95"/>
                    </a:lnTo>
                    <a:lnTo>
                      <a:pt x="55" y="95"/>
                    </a:lnTo>
                    <a:lnTo>
                      <a:pt x="56" y="93"/>
                    </a:lnTo>
                    <a:lnTo>
                      <a:pt x="56" y="93"/>
                    </a:lnTo>
                    <a:lnTo>
                      <a:pt x="56" y="93"/>
                    </a:lnTo>
                    <a:lnTo>
                      <a:pt x="56" y="93"/>
                    </a:lnTo>
                    <a:lnTo>
                      <a:pt x="58" y="89"/>
                    </a:lnTo>
                    <a:lnTo>
                      <a:pt x="58" y="89"/>
                    </a:lnTo>
                    <a:lnTo>
                      <a:pt x="59" y="89"/>
                    </a:lnTo>
                    <a:lnTo>
                      <a:pt x="59" y="89"/>
                    </a:lnTo>
                    <a:lnTo>
                      <a:pt x="65" y="80"/>
                    </a:lnTo>
                    <a:lnTo>
                      <a:pt x="65" y="80"/>
                    </a:lnTo>
                    <a:lnTo>
                      <a:pt x="65" y="80"/>
                    </a:lnTo>
                    <a:lnTo>
                      <a:pt x="65" y="80"/>
                    </a:lnTo>
                    <a:lnTo>
                      <a:pt x="67" y="78"/>
                    </a:lnTo>
                    <a:lnTo>
                      <a:pt x="67" y="78"/>
                    </a:lnTo>
                    <a:lnTo>
                      <a:pt x="67" y="77"/>
                    </a:lnTo>
                    <a:lnTo>
                      <a:pt x="67" y="77"/>
                    </a:lnTo>
                    <a:lnTo>
                      <a:pt x="77" y="67"/>
                    </a:lnTo>
                    <a:lnTo>
                      <a:pt x="77" y="67"/>
                    </a:lnTo>
                    <a:lnTo>
                      <a:pt x="77" y="67"/>
                    </a:lnTo>
                    <a:lnTo>
                      <a:pt x="77" y="67"/>
                    </a:lnTo>
                    <a:lnTo>
                      <a:pt x="79" y="65"/>
                    </a:lnTo>
                    <a:lnTo>
                      <a:pt x="79" y="65"/>
                    </a:lnTo>
                    <a:lnTo>
                      <a:pt x="81" y="65"/>
                    </a:lnTo>
                    <a:lnTo>
                      <a:pt x="81" y="65"/>
                    </a:lnTo>
                    <a:lnTo>
                      <a:pt x="89" y="59"/>
                    </a:lnTo>
                    <a:lnTo>
                      <a:pt x="89" y="59"/>
                    </a:lnTo>
                    <a:lnTo>
                      <a:pt x="89" y="59"/>
                    </a:lnTo>
                    <a:lnTo>
                      <a:pt x="89" y="59"/>
                    </a:lnTo>
                    <a:lnTo>
                      <a:pt x="92" y="56"/>
                    </a:lnTo>
                    <a:lnTo>
                      <a:pt x="92" y="56"/>
                    </a:lnTo>
                    <a:lnTo>
                      <a:pt x="93" y="56"/>
                    </a:lnTo>
                    <a:lnTo>
                      <a:pt x="93" y="56"/>
                    </a:lnTo>
                    <a:lnTo>
                      <a:pt x="95" y="55"/>
                    </a:lnTo>
                    <a:lnTo>
                      <a:pt x="95" y="55"/>
                    </a:lnTo>
                    <a:lnTo>
                      <a:pt x="95" y="55"/>
                    </a:lnTo>
                    <a:lnTo>
                      <a:pt x="104" y="51"/>
                    </a:lnTo>
                    <a:lnTo>
                      <a:pt x="112" y="48"/>
                    </a:lnTo>
                    <a:lnTo>
                      <a:pt x="112" y="48"/>
                    </a:lnTo>
                    <a:lnTo>
                      <a:pt x="112" y="48"/>
                    </a:lnTo>
                    <a:lnTo>
                      <a:pt x="112" y="48"/>
                    </a:lnTo>
                    <a:lnTo>
                      <a:pt x="112" y="48"/>
                    </a:lnTo>
                    <a:lnTo>
                      <a:pt x="116" y="46"/>
                    </a:lnTo>
                    <a:lnTo>
                      <a:pt x="116" y="46"/>
                    </a:lnTo>
                    <a:lnTo>
                      <a:pt x="117" y="46"/>
                    </a:lnTo>
                    <a:lnTo>
                      <a:pt x="117" y="46"/>
                    </a:lnTo>
                    <a:lnTo>
                      <a:pt x="121" y="45"/>
                    </a:lnTo>
                    <a:lnTo>
                      <a:pt x="121" y="45"/>
                    </a:lnTo>
                    <a:lnTo>
                      <a:pt x="122" y="45"/>
                    </a:lnTo>
                    <a:lnTo>
                      <a:pt x="122" y="45"/>
                    </a:lnTo>
                    <a:lnTo>
                      <a:pt x="126" y="45"/>
                    </a:lnTo>
                    <a:lnTo>
                      <a:pt x="126" y="45"/>
                    </a:lnTo>
                    <a:lnTo>
                      <a:pt x="126" y="45"/>
                    </a:lnTo>
                    <a:lnTo>
                      <a:pt x="126" y="45"/>
                    </a:lnTo>
                    <a:lnTo>
                      <a:pt x="131" y="44"/>
                    </a:lnTo>
                    <a:lnTo>
                      <a:pt x="131" y="44"/>
                    </a:lnTo>
                    <a:lnTo>
                      <a:pt x="132" y="44"/>
                    </a:lnTo>
                    <a:lnTo>
                      <a:pt x="132" y="44"/>
                    </a:lnTo>
                    <a:lnTo>
                      <a:pt x="135" y="44"/>
                    </a:lnTo>
                    <a:lnTo>
                      <a:pt x="135" y="44"/>
                    </a:lnTo>
                    <a:lnTo>
                      <a:pt x="137" y="44"/>
                    </a:lnTo>
                    <a:lnTo>
                      <a:pt x="137" y="44"/>
                    </a:lnTo>
                    <a:lnTo>
                      <a:pt x="142" y="44"/>
                    </a:lnTo>
                    <a:lnTo>
                      <a:pt x="142" y="44"/>
                    </a:lnTo>
                    <a:lnTo>
                      <a:pt x="145" y="44"/>
                    </a:lnTo>
                    <a:lnTo>
                      <a:pt x="145" y="44"/>
                    </a:lnTo>
                    <a:lnTo>
                      <a:pt x="146" y="44"/>
                    </a:lnTo>
                    <a:lnTo>
                      <a:pt x="146" y="44"/>
                    </a:lnTo>
                    <a:lnTo>
                      <a:pt x="150" y="44"/>
                    </a:lnTo>
                    <a:lnTo>
                      <a:pt x="150" y="44"/>
                    </a:lnTo>
                    <a:lnTo>
                      <a:pt x="151" y="44"/>
                    </a:lnTo>
                    <a:lnTo>
                      <a:pt x="151" y="44"/>
                    </a:lnTo>
                    <a:lnTo>
                      <a:pt x="156" y="45"/>
                    </a:lnTo>
                    <a:lnTo>
                      <a:pt x="156" y="45"/>
                    </a:lnTo>
                    <a:lnTo>
                      <a:pt x="156" y="45"/>
                    </a:lnTo>
                    <a:lnTo>
                      <a:pt x="156" y="45"/>
                    </a:lnTo>
                    <a:lnTo>
                      <a:pt x="160" y="45"/>
                    </a:lnTo>
                    <a:lnTo>
                      <a:pt x="160" y="45"/>
                    </a:lnTo>
                    <a:lnTo>
                      <a:pt x="161" y="45"/>
                    </a:lnTo>
                    <a:lnTo>
                      <a:pt x="161" y="45"/>
                    </a:lnTo>
                    <a:lnTo>
                      <a:pt x="165" y="46"/>
                    </a:lnTo>
                    <a:lnTo>
                      <a:pt x="165" y="46"/>
                    </a:lnTo>
                    <a:lnTo>
                      <a:pt x="166" y="46"/>
                    </a:lnTo>
                    <a:lnTo>
                      <a:pt x="166" y="46"/>
                    </a:lnTo>
                    <a:lnTo>
                      <a:pt x="170" y="48"/>
                    </a:lnTo>
                    <a:lnTo>
                      <a:pt x="170" y="48"/>
                    </a:lnTo>
                    <a:lnTo>
                      <a:pt x="170" y="48"/>
                    </a:lnTo>
                    <a:lnTo>
                      <a:pt x="170" y="48"/>
                    </a:lnTo>
                    <a:lnTo>
                      <a:pt x="178" y="51"/>
                    </a:lnTo>
                    <a:lnTo>
                      <a:pt x="187" y="55"/>
                    </a:lnTo>
                    <a:lnTo>
                      <a:pt x="187" y="55"/>
                    </a:lnTo>
                    <a:lnTo>
                      <a:pt x="187" y="55"/>
                    </a:lnTo>
                    <a:lnTo>
                      <a:pt x="189" y="56"/>
                    </a:lnTo>
                    <a:lnTo>
                      <a:pt x="189" y="56"/>
                    </a:lnTo>
                    <a:lnTo>
                      <a:pt x="190" y="56"/>
                    </a:lnTo>
                    <a:lnTo>
                      <a:pt x="190" y="56"/>
                    </a:lnTo>
                    <a:lnTo>
                      <a:pt x="193" y="59"/>
                    </a:lnTo>
                    <a:lnTo>
                      <a:pt x="193" y="59"/>
                    </a:lnTo>
                    <a:lnTo>
                      <a:pt x="193" y="59"/>
                    </a:lnTo>
                    <a:lnTo>
                      <a:pt x="193" y="59"/>
                    </a:lnTo>
                    <a:lnTo>
                      <a:pt x="201" y="65"/>
                    </a:lnTo>
                    <a:lnTo>
                      <a:pt x="201" y="65"/>
                    </a:lnTo>
                    <a:lnTo>
                      <a:pt x="202" y="65"/>
                    </a:lnTo>
                    <a:lnTo>
                      <a:pt x="202" y="65"/>
                    </a:lnTo>
                    <a:lnTo>
                      <a:pt x="205" y="67"/>
                    </a:lnTo>
                    <a:lnTo>
                      <a:pt x="205" y="67"/>
                    </a:lnTo>
                    <a:lnTo>
                      <a:pt x="205" y="67"/>
                    </a:lnTo>
                    <a:lnTo>
                      <a:pt x="205" y="67"/>
                    </a:lnTo>
                    <a:lnTo>
                      <a:pt x="215" y="77"/>
                    </a:lnTo>
                    <a:lnTo>
                      <a:pt x="215" y="77"/>
                    </a:lnTo>
                    <a:lnTo>
                      <a:pt x="216" y="78"/>
                    </a:lnTo>
                    <a:lnTo>
                      <a:pt x="216" y="78"/>
                    </a:lnTo>
                    <a:lnTo>
                      <a:pt x="217" y="80"/>
                    </a:lnTo>
                    <a:lnTo>
                      <a:pt x="217" y="80"/>
                    </a:lnTo>
                    <a:lnTo>
                      <a:pt x="217" y="80"/>
                    </a:lnTo>
                    <a:lnTo>
                      <a:pt x="217" y="80"/>
                    </a:lnTo>
                    <a:lnTo>
                      <a:pt x="223" y="89"/>
                    </a:lnTo>
                    <a:lnTo>
                      <a:pt x="223" y="89"/>
                    </a:lnTo>
                    <a:lnTo>
                      <a:pt x="224" y="89"/>
                    </a:lnTo>
                    <a:lnTo>
                      <a:pt x="224" y="89"/>
                    </a:lnTo>
                    <a:lnTo>
                      <a:pt x="226" y="93"/>
                    </a:lnTo>
                    <a:lnTo>
                      <a:pt x="226" y="93"/>
                    </a:lnTo>
                    <a:lnTo>
                      <a:pt x="226" y="93"/>
                    </a:lnTo>
                    <a:lnTo>
                      <a:pt x="226" y="93"/>
                    </a:lnTo>
                    <a:lnTo>
                      <a:pt x="228" y="95"/>
                    </a:lnTo>
                    <a:lnTo>
                      <a:pt x="228" y="95"/>
                    </a:lnTo>
                    <a:lnTo>
                      <a:pt x="228" y="95"/>
                    </a:lnTo>
                    <a:lnTo>
                      <a:pt x="232" y="104"/>
                    </a:lnTo>
                    <a:lnTo>
                      <a:pt x="234" y="112"/>
                    </a:lnTo>
                    <a:lnTo>
                      <a:pt x="234" y="112"/>
                    </a:lnTo>
                    <a:lnTo>
                      <a:pt x="234" y="112"/>
                    </a:lnTo>
                    <a:lnTo>
                      <a:pt x="234" y="112"/>
                    </a:lnTo>
                    <a:lnTo>
                      <a:pt x="234" y="112"/>
                    </a:lnTo>
                    <a:lnTo>
                      <a:pt x="235" y="116"/>
                    </a:lnTo>
                    <a:lnTo>
                      <a:pt x="235" y="116"/>
                    </a:lnTo>
                    <a:lnTo>
                      <a:pt x="235" y="118"/>
                    </a:lnTo>
                    <a:lnTo>
                      <a:pt x="235" y="118"/>
                    </a:lnTo>
                    <a:lnTo>
                      <a:pt x="237" y="121"/>
                    </a:lnTo>
                    <a:lnTo>
                      <a:pt x="237" y="121"/>
                    </a:lnTo>
                    <a:lnTo>
                      <a:pt x="237" y="122"/>
                    </a:lnTo>
                    <a:lnTo>
                      <a:pt x="237" y="122"/>
                    </a:lnTo>
                    <a:lnTo>
                      <a:pt x="238" y="125"/>
                    </a:lnTo>
                    <a:lnTo>
                      <a:pt x="238" y="125"/>
                    </a:lnTo>
                    <a:lnTo>
                      <a:pt x="238" y="127"/>
                    </a:lnTo>
                    <a:lnTo>
                      <a:pt x="238" y="127"/>
                    </a:lnTo>
                    <a:lnTo>
                      <a:pt x="238" y="130"/>
                    </a:lnTo>
                    <a:lnTo>
                      <a:pt x="238" y="130"/>
                    </a:lnTo>
                    <a:lnTo>
                      <a:pt x="238" y="132"/>
                    </a:lnTo>
                    <a:lnTo>
                      <a:pt x="238" y="132"/>
                    </a:lnTo>
                    <a:lnTo>
                      <a:pt x="239" y="135"/>
                    </a:lnTo>
                    <a:lnTo>
                      <a:pt x="239" y="135"/>
                    </a:lnTo>
                    <a:lnTo>
                      <a:pt x="239" y="136"/>
                    </a:lnTo>
                    <a:lnTo>
                      <a:pt x="239" y="136"/>
                    </a:lnTo>
                    <a:lnTo>
                      <a:pt x="239" y="141"/>
                    </a:lnTo>
                    <a:lnTo>
                      <a:pt x="239" y="141"/>
                    </a:lnTo>
                    <a:lnTo>
                      <a:pt x="239" y="146"/>
                    </a:lnTo>
                    <a:lnTo>
                      <a:pt x="239" y="146"/>
                    </a:lnTo>
                    <a:lnTo>
                      <a:pt x="239" y="147"/>
                    </a:lnTo>
                    <a:lnTo>
                      <a:pt x="239" y="147"/>
                    </a:lnTo>
                    <a:lnTo>
                      <a:pt x="238" y="150"/>
                    </a:lnTo>
                    <a:lnTo>
                      <a:pt x="238" y="150"/>
                    </a:lnTo>
                    <a:lnTo>
                      <a:pt x="238" y="151"/>
                    </a:lnTo>
                    <a:lnTo>
                      <a:pt x="238" y="151"/>
                    </a:lnTo>
                    <a:lnTo>
                      <a:pt x="238" y="156"/>
                    </a:lnTo>
                    <a:lnTo>
                      <a:pt x="238" y="156"/>
                    </a:lnTo>
                    <a:lnTo>
                      <a:pt x="238" y="156"/>
                    </a:lnTo>
                    <a:lnTo>
                      <a:pt x="238" y="156"/>
                    </a:lnTo>
                    <a:lnTo>
                      <a:pt x="237" y="161"/>
                    </a:lnTo>
                    <a:lnTo>
                      <a:pt x="237" y="161"/>
                    </a:lnTo>
                    <a:lnTo>
                      <a:pt x="237" y="162"/>
                    </a:lnTo>
                    <a:lnTo>
                      <a:pt x="237" y="162"/>
                    </a:lnTo>
                    <a:lnTo>
                      <a:pt x="235" y="164"/>
                    </a:lnTo>
                    <a:lnTo>
                      <a:pt x="235" y="164"/>
                    </a:lnTo>
                    <a:lnTo>
                      <a:pt x="235" y="166"/>
                    </a:lnTo>
                    <a:lnTo>
                      <a:pt x="235" y="166"/>
                    </a:lnTo>
                    <a:lnTo>
                      <a:pt x="232" y="177"/>
                    </a:lnTo>
                    <a:lnTo>
                      <a:pt x="228" y="186"/>
                    </a:lnTo>
                    <a:lnTo>
                      <a:pt x="228" y="186"/>
                    </a:lnTo>
                    <a:lnTo>
                      <a:pt x="226" y="190"/>
                    </a:lnTo>
                    <a:lnTo>
                      <a:pt x="226" y="190"/>
                    </a:lnTo>
                    <a:lnTo>
                      <a:pt x="226" y="190"/>
                    </a:lnTo>
                    <a:lnTo>
                      <a:pt x="226" y="190"/>
                    </a:lnTo>
                    <a:lnTo>
                      <a:pt x="224" y="192"/>
                    </a:lnTo>
                    <a:lnTo>
                      <a:pt x="224" y="192"/>
                    </a:lnTo>
                    <a:lnTo>
                      <a:pt x="223" y="194"/>
                    </a:lnTo>
                    <a:lnTo>
                      <a:pt x="223" y="194"/>
                    </a:lnTo>
                    <a:lnTo>
                      <a:pt x="217" y="202"/>
                    </a:lnTo>
                    <a:lnTo>
                      <a:pt x="217" y="202"/>
                    </a:lnTo>
                    <a:lnTo>
                      <a:pt x="217" y="202"/>
                    </a:lnTo>
                    <a:lnTo>
                      <a:pt x="217" y="202"/>
                    </a:lnTo>
                    <a:lnTo>
                      <a:pt x="216" y="205"/>
                    </a:lnTo>
                    <a:lnTo>
                      <a:pt x="216" y="205"/>
                    </a:lnTo>
                    <a:lnTo>
                      <a:pt x="215" y="205"/>
                    </a:lnTo>
                    <a:lnTo>
                      <a:pt x="215" y="205"/>
                    </a:lnTo>
                    <a:lnTo>
                      <a:pt x="205" y="214"/>
                    </a:lnTo>
                    <a:lnTo>
                      <a:pt x="205" y="214"/>
                    </a:lnTo>
                    <a:lnTo>
                      <a:pt x="205" y="216"/>
                    </a:lnTo>
                    <a:lnTo>
                      <a:pt x="205" y="216"/>
                    </a:lnTo>
                    <a:lnTo>
                      <a:pt x="202" y="218"/>
                    </a:lnTo>
                    <a:lnTo>
                      <a:pt x="202" y="218"/>
                    </a:lnTo>
                    <a:lnTo>
                      <a:pt x="201" y="218"/>
                    </a:lnTo>
                    <a:lnTo>
                      <a:pt x="201" y="218"/>
                    </a:lnTo>
                    <a:lnTo>
                      <a:pt x="193" y="224"/>
                    </a:lnTo>
                    <a:lnTo>
                      <a:pt x="193" y="224"/>
                    </a:lnTo>
                    <a:lnTo>
                      <a:pt x="193" y="224"/>
                    </a:lnTo>
                    <a:lnTo>
                      <a:pt x="193" y="224"/>
                    </a:lnTo>
                    <a:lnTo>
                      <a:pt x="190" y="225"/>
                    </a:lnTo>
                    <a:lnTo>
                      <a:pt x="190" y="225"/>
                    </a:lnTo>
                    <a:lnTo>
                      <a:pt x="189" y="226"/>
                    </a:lnTo>
                    <a:lnTo>
                      <a:pt x="189" y="226"/>
                    </a:lnTo>
                    <a:lnTo>
                      <a:pt x="187" y="228"/>
                    </a:lnTo>
                    <a:lnTo>
                      <a:pt x="187" y="228"/>
                    </a:lnTo>
                    <a:lnTo>
                      <a:pt x="178" y="231"/>
                    </a:lnTo>
                    <a:lnTo>
                      <a:pt x="170" y="235"/>
                    </a:lnTo>
                    <a:lnTo>
                      <a:pt x="170" y="235"/>
                    </a:lnTo>
                    <a:lnTo>
                      <a:pt x="170" y="235"/>
                    </a:lnTo>
                    <a:lnTo>
                      <a:pt x="170" y="235"/>
                    </a:lnTo>
                    <a:lnTo>
                      <a:pt x="166" y="235"/>
                    </a:lnTo>
                    <a:lnTo>
                      <a:pt x="166" y="235"/>
                    </a:lnTo>
                    <a:lnTo>
                      <a:pt x="165" y="236"/>
                    </a:lnTo>
                    <a:lnTo>
                      <a:pt x="165" y="236"/>
                    </a:lnTo>
                    <a:lnTo>
                      <a:pt x="161" y="236"/>
                    </a:lnTo>
                    <a:lnTo>
                      <a:pt x="161" y="236"/>
                    </a:lnTo>
                    <a:lnTo>
                      <a:pt x="160" y="237"/>
                    </a:lnTo>
                    <a:lnTo>
                      <a:pt x="160" y="237"/>
                    </a:lnTo>
                    <a:lnTo>
                      <a:pt x="156" y="237"/>
                    </a:lnTo>
                    <a:lnTo>
                      <a:pt x="156" y="237"/>
                    </a:lnTo>
                    <a:lnTo>
                      <a:pt x="156" y="237"/>
                    </a:lnTo>
                    <a:lnTo>
                      <a:pt x="156" y="237"/>
                    </a:lnTo>
                    <a:lnTo>
                      <a:pt x="151" y="239"/>
                    </a:lnTo>
                    <a:lnTo>
                      <a:pt x="151" y="239"/>
                    </a:lnTo>
                    <a:lnTo>
                      <a:pt x="150" y="239"/>
                    </a:lnTo>
                    <a:lnTo>
                      <a:pt x="150" y="239"/>
                    </a:lnTo>
                    <a:lnTo>
                      <a:pt x="146" y="239"/>
                    </a:lnTo>
                    <a:lnTo>
                      <a:pt x="146" y="239"/>
                    </a:lnTo>
                    <a:lnTo>
                      <a:pt x="145" y="239"/>
                    </a:lnTo>
                    <a:lnTo>
                      <a:pt x="145" y="239"/>
                    </a:lnTo>
                    <a:lnTo>
                      <a:pt x="142" y="239"/>
                    </a:lnTo>
                    <a:lnTo>
                      <a:pt x="142" y="239"/>
                    </a:lnTo>
                    <a:lnTo>
                      <a:pt x="137" y="239"/>
                    </a:lnTo>
                    <a:lnTo>
                      <a:pt x="137" y="239"/>
                    </a:lnTo>
                    <a:lnTo>
                      <a:pt x="135" y="239"/>
                    </a:lnTo>
                    <a:lnTo>
                      <a:pt x="135" y="239"/>
                    </a:lnTo>
                    <a:lnTo>
                      <a:pt x="132" y="239"/>
                    </a:lnTo>
                    <a:lnTo>
                      <a:pt x="132" y="239"/>
                    </a:lnTo>
                    <a:lnTo>
                      <a:pt x="131" y="239"/>
                    </a:lnTo>
                    <a:lnTo>
                      <a:pt x="131" y="239"/>
                    </a:lnTo>
                    <a:lnTo>
                      <a:pt x="126" y="237"/>
                    </a:lnTo>
                    <a:lnTo>
                      <a:pt x="126" y="237"/>
                    </a:lnTo>
                    <a:lnTo>
                      <a:pt x="126" y="237"/>
                    </a:lnTo>
                    <a:lnTo>
                      <a:pt x="126" y="237"/>
                    </a:lnTo>
                    <a:lnTo>
                      <a:pt x="122" y="237"/>
                    </a:lnTo>
                    <a:lnTo>
                      <a:pt x="122" y="237"/>
                    </a:lnTo>
                    <a:lnTo>
                      <a:pt x="121" y="236"/>
                    </a:lnTo>
                    <a:lnTo>
                      <a:pt x="121" y="236"/>
                    </a:lnTo>
                    <a:lnTo>
                      <a:pt x="117" y="236"/>
                    </a:lnTo>
                    <a:lnTo>
                      <a:pt x="117" y="236"/>
                    </a:lnTo>
                    <a:lnTo>
                      <a:pt x="116" y="235"/>
                    </a:lnTo>
                    <a:lnTo>
                      <a:pt x="116" y="235"/>
                    </a:lnTo>
                    <a:lnTo>
                      <a:pt x="112" y="235"/>
                    </a:lnTo>
                    <a:lnTo>
                      <a:pt x="112" y="235"/>
                    </a:lnTo>
                    <a:lnTo>
                      <a:pt x="112" y="235"/>
                    </a:lnTo>
                    <a:lnTo>
                      <a:pt x="112" y="235"/>
                    </a:lnTo>
                    <a:lnTo>
                      <a:pt x="112" y="235"/>
                    </a:lnTo>
                    <a:lnTo>
                      <a:pt x="104" y="231"/>
                    </a:lnTo>
                    <a:lnTo>
                      <a:pt x="95" y="228"/>
                    </a:lnTo>
                    <a:lnTo>
                      <a:pt x="95" y="228"/>
                    </a:lnTo>
                    <a:lnTo>
                      <a:pt x="95" y="228"/>
                    </a:lnTo>
                    <a:lnTo>
                      <a:pt x="93" y="226"/>
                    </a:lnTo>
                    <a:lnTo>
                      <a:pt x="93" y="226"/>
                    </a:lnTo>
                    <a:lnTo>
                      <a:pt x="92" y="225"/>
                    </a:lnTo>
                    <a:lnTo>
                      <a:pt x="92" y="225"/>
                    </a:lnTo>
                    <a:lnTo>
                      <a:pt x="89" y="224"/>
                    </a:lnTo>
                    <a:lnTo>
                      <a:pt x="89" y="224"/>
                    </a:lnTo>
                    <a:lnTo>
                      <a:pt x="89" y="224"/>
                    </a:lnTo>
                    <a:lnTo>
                      <a:pt x="89" y="224"/>
                    </a:lnTo>
                    <a:lnTo>
                      <a:pt x="81" y="218"/>
                    </a:lnTo>
                    <a:lnTo>
                      <a:pt x="81" y="218"/>
                    </a:lnTo>
                    <a:lnTo>
                      <a:pt x="79" y="218"/>
                    </a:lnTo>
                    <a:lnTo>
                      <a:pt x="79" y="218"/>
                    </a:lnTo>
                    <a:lnTo>
                      <a:pt x="77" y="216"/>
                    </a:lnTo>
                    <a:lnTo>
                      <a:pt x="77" y="216"/>
                    </a:lnTo>
                    <a:lnTo>
                      <a:pt x="77" y="214"/>
                    </a:lnTo>
                    <a:lnTo>
                      <a:pt x="77" y="214"/>
                    </a:lnTo>
                    <a:lnTo>
                      <a:pt x="67" y="205"/>
                    </a:lnTo>
                    <a:lnTo>
                      <a:pt x="67" y="205"/>
                    </a:lnTo>
                    <a:lnTo>
                      <a:pt x="67" y="205"/>
                    </a:lnTo>
                    <a:lnTo>
                      <a:pt x="67" y="205"/>
                    </a:lnTo>
                    <a:lnTo>
                      <a:pt x="65" y="202"/>
                    </a:lnTo>
                    <a:lnTo>
                      <a:pt x="65" y="202"/>
                    </a:lnTo>
                    <a:lnTo>
                      <a:pt x="65" y="202"/>
                    </a:lnTo>
                    <a:lnTo>
                      <a:pt x="65" y="202"/>
                    </a:lnTo>
                    <a:lnTo>
                      <a:pt x="59" y="194"/>
                    </a:lnTo>
                    <a:lnTo>
                      <a:pt x="59" y="194"/>
                    </a:lnTo>
                    <a:lnTo>
                      <a:pt x="58" y="192"/>
                    </a:lnTo>
                    <a:lnTo>
                      <a:pt x="58" y="192"/>
                    </a:lnTo>
                    <a:lnTo>
                      <a:pt x="56" y="190"/>
                    </a:lnTo>
                    <a:lnTo>
                      <a:pt x="56" y="190"/>
                    </a:lnTo>
                    <a:lnTo>
                      <a:pt x="56" y="190"/>
                    </a:lnTo>
                    <a:lnTo>
                      <a:pt x="56" y="190"/>
                    </a:lnTo>
                    <a:lnTo>
                      <a:pt x="55" y="186"/>
                    </a:lnTo>
                    <a:lnTo>
                      <a:pt x="55" y="18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96" name="Freeform 303">
                <a:extLst>
                  <a:ext uri="{FF2B5EF4-FFF2-40B4-BE49-F238E27FC236}">
                    <a16:creationId xmlns:a16="http://schemas.microsoft.com/office/drawing/2014/main" id="{D4761EF9-1068-400C-822C-867B323C65F0}"/>
                  </a:ext>
                </a:extLst>
              </p:cNvPr>
              <p:cNvSpPr>
                <a:spLocks noEditPoints="1"/>
              </p:cNvSpPr>
              <p:nvPr/>
            </p:nvSpPr>
            <p:spPr bwMode="auto">
              <a:xfrm>
                <a:off x="7304727" y="5790477"/>
                <a:ext cx="93512" cy="96434"/>
              </a:xfrm>
              <a:custGeom>
                <a:avLst/>
                <a:gdLst>
                  <a:gd name="T0" fmla="*/ 33 w 64"/>
                  <a:gd name="T1" fmla="*/ 66 h 66"/>
                  <a:gd name="T2" fmla="*/ 45 w 64"/>
                  <a:gd name="T3" fmla="*/ 64 h 66"/>
                  <a:gd name="T4" fmla="*/ 55 w 64"/>
                  <a:gd name="T5" fmla="*/ 56 h 66"/>
                  <a:gd name="T6" fmla="*/ 58 w 64"/>
                  <a:gd name="T7" fmla="*/ 53 h 66"/>
                  <a:gd name="T8" fmla="*/ 63 w 64"/>
                  <a:gd name="T9" fmla="*/ 43 h 66"/>
                  <a:gd name="T10" fmla="*/ 64 w 64"/>
                  <a:gd name="T11" fmla="*/ 32 h 66"/>
                  <a:gd name="T12" fmla="*/ 62 w 64"/>
                  <a:gd name="T13" fmla="*/ 21 h 66"/>
                  <a:gd name="T14" fmla="*/ 60 w 64"/>
                  <a:gd name="T15" fmla="*/ 16 h 66"/>
                  <a:gd name="T16" fmla="*/ 55 w 64"/>
                  <a:gd name="T17" fmla="*/ 10 h 66"/>
                  <a:gd name="T18" fmla="*/ 45 w 64"/>
                  <a:gd name="T19" fmla="*/ 3 h 66"/>
                  <a:gd name="T20" fmla="*/ 33 w 64"/>
                  <a:gd name="T21" fmla="*/ 0 h 66"/>
                  <a:gd name="T22" fmla="*/ 25 w 64"/>
                  <a:gd name="T23" fmla="*/ 0 h 66"/>
                  <a:gd name="T24" fmla="*/ 15 w 64"/>
                  <a:gd name="T25" fmla="*/ 5 h 66"/>
                  <a:gd name="T26" fmla="*/ 10 w 64"/>
                  <a:gd name="T27" fmla="*/ 10 h 66"/>
                  <a:gd name="T28" fmla="*/ 4 w 64"/>
                  <a:gd name="T29" fmla="*/ 19 h 66"/>
                  <a:gd name="T30" fmla="*/ 0 w 64"/>
                  <a:gd name="T31" fmla="*/ 30 h 66"/>
                  <a:gd name="T32" fmla="*/ 1 w 64"/>
                  <a:gd name="T33" fmla="*/ 41 h 66"/>
                  <a:gd name="T34" fmla="*/ 5 w 64"/>
                  <a:gd name="T35" fmla="*/ 50 h 66"/>
                  <a:gd name="T36" fmla="*/ 10 w 64"/>
                  <a:gd name="T37" fmla="*/ 56 h 66"/>
                  <a:gd name="T38" fmla="*/ 15 w 64"/>
                  <a:gd name="T39" fmla="*/ 61 h 66"/>
                  <a:gd name="T40" fmla="*/ 25 w 64"/>
                  <a:gd name="T41" fmla="*/ 66 h 66"/>
                  <a:gd name="T42" fmla="*/ 33 w 64"/>
                  <a:gd name="T43" fmla="*/ 66 h 66"/>
                  <a:gd name="T44" fmla="*/ 33 w 64"/>
                  <a:gd name="T45" fmla="*/ 50 h 66"/>
                  <a:gd name="T46" fmla="*/ 22 w 64"/>
                  <a:gd name="T47" fmla="*/ 46 h 66"/>
                  <a:gd name="T48" fmla="*/ 19 w 64"/>
                  <a:gd name="T49" fmla="*/ 42 h 66"/>
                  <a:gd name="T50" fmla="*/ 17 w 64"/>
                  <a:gd name="T51" fmla="*/ 37 h 66"/>
                  <a:gd name="T52" fmla="*/ 18 w 64"/>
                  <a:gd name="T53" fmla="*/ 26 h 66"/>
                  <a:gd name="T54" fmla="*/ 22 w 64"/>
                  <a:gd name="T55" fmla="*/ 21 h 66"/>
                  <a:gd name="T56" fmla="*/ 33 w 64"/>
                  <a:gd name="T57" fmla="*/ 16 h 66"/>
                  <a:gd name="T58" fmla="*/ 38 w 64"/>
                  <a:gd name="T59" fmla="*/ 18 h 66"/>
                  <a:gd name="T60" fmla="*/ 43 w 64"/>
                  <a:gd name="T61" fmla="*/ 21 h 66"/>
                  <a:gd name="T62" fmla="*/ 45 w 64"/>
                  <a:gd name="T63" fmla="*/ 25 h 66"/>
                  <a:gd name="T64" fmla="*/ 47 w 64"/>
                  <a:gd name="T65" fmla="*/ 36 h 66"/>
                  <a:gd name="T66" fmla="*/ 43 w 64"/>
                  <a:gd name="T67" fmla="*/ 46 h 66"/>
                  <a:gd name="T68" fmla="*/ 38 w 64"/>
                  <a:gd name="T69" fmla="*/ 49 h 66"/>
                  <a:gd name="T70" fmla="*/ 33 w 64"/>
                  <a:gd name="T71" fmla="*/ 5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66">
                    <a:moveTo>
                      <a:pt x="33" y="66"/>
                    </a:moveTo>
                    <a:lnTo>
                      <a:pt x="33" y="66"/>
                    </a:lnTo>
                    <a:lnTo>
                      <a:pt x="39" y="66"/>
                    </a:lnTo>
                    <a:lnTo>
                      <a:pt x="45" y="64"/>
                    </a:lnTo>
                    <a:lnTo>
                      <a:pt x="50" y="61"/>
                    </a:lnTo>
                    <a:lnTo>
                      <a:pt x="55" y="56"/>
                    </a:lnTo>
                    <a:lnTo>
                      <a:pt x="55" y="56"/>
                    </a:lnTo>
                    <a:lnTo>
                      <a:pt x="58" y="53"/>
                    </a:lnTo>
                    <a:lnTo>
                      <a:pt x="61" y="48"/>
                    </a:lnTo>
                    <a:lnTo>
                      <a:pt x="63" y="43"/>
                    </a:lnTo>
                    <a:lnTo>
                      <a:pt x="64" y="37"/>
                    </a:lnTo>
                    <a:lnTo>
                      <a:pt x="64" y="32"/>
                    </a:lnTo>
                    <a:lnTo>
                      <a:pt x="63" y="26"/>
                    </a:lnTo>
                    <a:lnTo>
                      <a:pt x="62" y="21"/>
                    </a:lnTo>
                    <a:lnTo>
                      <a:pt x="60" y="16"/>
                    </a:lnTo>
                    <a:lnTo>
                      <a:pt x="60" y="16"/>
                    </a:lnTo>
                    <a:lnTo>
                      <a:pt x="55" y="10"/>
                    </a:lnTo>
                    <a:lnTo>
                      <a:pt x="55" y="10"/>
                    </a:lnTo>
                    <a:lnTo>
                      <a:pt x="50" y="5"/>
                    </a:lnTo>
                    <a:lnTo>
                      <a:pt x="45" y="3"/>
                    </a:lnTo>
                    <a:lnTo>
                      <a:pt x="39" y="0"/>
                    </a:lnTo>
                    <a:lnTo>
                      <a:pt x="33" y="0"/>
                    </a:lnTo>
                    <a:lnTo>
                      <a:pt x="33" y="0"/>
                    </a:lnTo>
                    <a:lnTo>
                      <a:pt x="25" y="0"/>
                    </a:lnTo>
                    <a:lnTo>
                      <a:pt x="19" y="3"/>
                    </a:lnTo>
                    <a:lnTo>
                      <a:pt x="15" y="5"/>
                    </a:lnTo>
                    <a:lnTo>
                      <a:pt x="10" y="10"/>
                    </a:lnTo>
                    <a:lnTo>
                      <a:pt x="10" y="10"/>
                    </a:lnTo>
                    <a:lnTo>
                      <a:pt x="6" y="14"/>
                    </a:lnTo>
                    <a:lnTo>
                      <a:pt x="4" y="19"/>
                    </a:lnTo>
                    <a:lnTo>
                      <a:pt x="1" y="24"/>
                    </a:lnTo>
                    <a:lnTo>
                      <a:pt x="0" y="30"/>
                    </a:lnTo>
                    <a:lnTo>
                      <a:pt x="0" y="35"/>
                    </a:lnTo>
                    <a:lnTo>
                      <a:pt x="1" y="41"/>
                    </a:lnTo>
                    <a:lnTo>
                      <a:pt x="2" y="46"/>
                    </a:lnTo>
                    <a:lnTo>
                      <a:pt x="5" y="50"/>
                    </a:lnTo>
                    <a:lnTo>
                      <a:pt x="5" y="50"/>
                    </a:lnTo>
                    <a:lnTo>
                      <a:pt x="10" y="56"/>
                    </a:lnTo>
                    <a:lnTo>
                      <a:pt x="10" y="56"/>
                    </a:lnTo>
                    <a:lnTo>
                      <a:pt x="15" y="61"/>
                    </a:lnTo>
                    <a:lnTo>
                      <a:pt x="19" y="64"/>
                    </a:lnTo>
                    <a:lnTo>
                      <a:pt x="25" y="66"/>
                    </a:lnTo>
                    <a:lnTo>
                      <a:pt x="33" y="66"/>
                    </a:lnTo>
                    <a:lnTo>
                      <a:pt x="33" y="66"/>
                    </a:lnTo>
                    <a:close/>
                    <a:moveTo>
                      <a:pt x="33" y="50"/>
                    </a:moveTo>
                    <a:lnTo>
                      <a:pt x="33" y="50"/>
                    </a:lnTo>
                    <a:lnTo>
                      <a:pt x="27" y="49"/>
                    </a:lnTo>
                    <a:lnTo>
                      <a:pt x="22" y="46"/>
                    </a:lnTo>
                    <a:lnTo>
                      <a:pt x="22" y="46"/>
                    </a:lnTo>
                    <a:lnTo>
                      <a:pt x="19" y="42"/>
                    </a:lnTo>
                    <a:lnTo>
                      <a:pt x="19" y="42"/>
                    </a:lnTo>
                    <a:lnTo>
                      <a:pt x="17" y="37"/>
                    </a:lnTo>
                    <a:lnTo>
                      <a:pt x="17" y="31"/>
                    </a:lnTo>
                    <a:lnTo>
                      <a:pt x="18" y="26"/>
                    </a:lnTo>
                    <a:lnTo>
                      <a:pt x="22" y="21"/>
                    </a:lnTo>
                    <a:lnTo>
                      <a:pt x="22" y="21"/>
                    </a:lnTo>
                    <a:lnTo>
                      <a:pt x="27" y="18"/>
                    </a:lnTo>
                    <a:lnTo>
                      <a:pt x="33" y="16"/>
                    </a:lnTo>
                    <a:lnTo>
                      <a:pt x="33" y="16"/>
                    </a:lnTo>
                    <a:lnTo>
                      <a:pt x="38" y="18"/>
                    </a:lnTo>
                    <a:lnTo>
                      <a:pt x="43" y="21"/>
                    </a:lnTo>
                    <a:lnTo>
                      <a:pt x="43" y="21"/>
                    </a:lnTo>
                    <a:lnTo>
                      <a:pt x="45" y="25"/>
                    </a:lnTo>
                    <a:lnTo>
                      <a:pt x="45" y="25"/>
                    </a:lnTo>
                    <a:lnTo>
                      <a:pt x="47" y="30"/>
                    </a:lnTo>
                    <a:lnTo>
                      <a:pt x="47" y="36"/>
                    </a:lnTo>
                    <a:lnTo>
                      <a:pt x="46" y="41"/>
                    </a:lnTo>
                    <a:lnTo>
                      <a:pt x="43" y="46"/>
                    </a:lnTo>
                    <a:lnTo>
                      <a:pt x="43" y="46"/>
                    </a:lnTo>
                    <a:lnTo>
                      <a:pt x="38" y="49"/>
                    </a:lnTo>
                    <a:lnTo>
                      <a:pt x="33" y="50"/>
                    </a:lnTo>
                    <a:lnTo>
                      <a:pt x="33" y="5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97" name="Freeform 304">
                <a:extLst>
                  <a:ext uri="{FF2B5EF4-FFF2-40B4-BE49-F238E27FC236}">
                    <a16:creationId xmlns:a16="http://schemas.microsoft.com/office/drawing/2014/main" id="{A04A5CE6-8BBF-40BE-B30D-2A1E294BC010}"/>
                  </a:ext>
                </a:extLst>
              </p:cNvPr>
              <p:cNvSpPr>
                <a:spLocks noEditPoints="1"/>
              </p:cNvSpPr>
              <p:nvPr/>
            </p:nvSpPr>
            <p:spPr bwMode="auto">
              <a:xfrm>
                <a:off x="7217060" y="5900062"/>
                <a:ext cx="94973" cy="94973"/>
              </a:xfrm>
              <a:custGeom>
                <a:avLst/>
                <a:gdLst>
                  <a:gd name="T0" fmla="*/ 32 w 65"/>
                  <a:gd name="T1" fmla="*/ 0 h 65"/>
                  <a:gd name="T2" fmla="*/ 20 w 65"/>
                  <a:gd name="T3" fmla="*/ 2 h 65"/>
                  <a:gd name="T4" fmla="*/ 10 w 65"/>
                  <a:gd name="T5" fmla="*/ 9 h 65"/>
                  <a:gd name="T6" fmla="*/ 6 w 65"/>
                  <a:gd name="T7" fmla="*/ 13 h 65"/>
                  <a:gd name="T8" fmla="*/ 1 w 65"/>
                  <a:gd name="T9" fmla="*/ 23 h 65"/>
                  <a:gd name="T10" fmla="*/ 0 w 65"/>
                  <a:gd name="T11" fmla="*/ 34 h 65"/>
                  <a:gd name="T12" fmla="*/ 3 w 65"/>
                  <a:gd name="T13" fmla="*/ 45 h 65"/>
                  <a:gd name="T14" fmla="*/ 5 w 65"/>
                  <a:gd name="T15" fmla="*/ 50 h 65"/>
                  <a:gd name="T16" fmla="*/ 10 w 65"/>
                  <a:gd name="T17" fmla="*/ 56 h 65"/>
                  <a:gd name="T18" fmla="*/ 20 w 65"/>
                  <a:gd name="T19" fmla="*/ 63 h 65"/>
                  <a:gd name="T20" fmla="*/ 32 w 65"/>
                  <a:gd name="T21" fmla="*/ 65 h 65"/>
                  <a:gd name="T22" fmla="*/ 39 w 65"/>
                  <a:gd name="T23" fmla="*/ 65 h 65"/>
                  <a:gd name="T24" fmla="*/ 50 w 65"/>
                  <a:gd name="T25" fmla="*/ 61 h 65"/>
                  <a:gd name="T26" fmla="*/ 55 w 65"/>
                  <a:gd name="T27" fmla="*/ 56 h 65"/>
                  <a:gd name="T28" fmla="*/ 61 w 65"/>
                  <a:gd name="T29" fmla="*/ 47 h 65"/>
                  <a:gd name="T30" fmla="*/ 64 w 65"/>
                  <a:gd name="T31" fmla="*/ 36 h 65"/>
                  <a:gd name="T32" fmla="*/ 64 w 65"/>
                  <a:gd name="T33" fmla="*/ 25 h 65"/>
                  <a:gd name="T34" fmla="*/ 60 w 65"/>
                  <a:gd name="T35" fmla="*/ 16 h 65"/>
                  <a:gd name="T36" fmla="*/ 55 w 65"/>
                  <a:gd name="T37" fmla="*/ 9 h 65"/>
                  <a:gd name="T38" fmla="*/ 50 w 65"/>
                  <a:gd name="T39" fmla="*/ 5 h 65"/>
                  <a:gd name="T40" fmla="*/ 39 w 65"/>
                  <a:gd name="T41" fmla="*/ 0 h 65"/>
                  <a:gd name="T42" fmla="*/ 32 w 65"/>
                  <a:gd name="T43" fmla="*/ 0 h 65"/>
                  <a:gd name="T44" fmla="*/ 32 w 65"/>
                  <a:gd name="T45" fmla="*/ 16 h 65"/>
                  <a:gd name="T46" fmla="*/ 43 w 65"/>
                  <a:gd name="T47" fmla="*/ 20 h 65"/>
                  <a:gd name="T48" fmla="*/ 45 w 65"/>
                  <a:gd name="T49" fmla="*/ 24 h 65"/>
                  <a:gd name="T50" fmla="*/ 48 w 65"/>
                  <a:gd name="T51" fmla="*/ 29 h 65"/>
                  <a:gd name="T52" fmla="*/ 47 w 65"/>
                  <a:gd name="T53" fmla="*/ 40 h 65"/>
                  <a:gd name="T54" fmla="*/ 43 w 65"/>
                  <a:gd name="T55" fmla="*/ 45 h 65"/>
                  <a:gd name="T56" fmla="*/ 32 w 65"/>
                  <a:gd name="T57" fmla="*/ 50 h 65"/>
                  <a:gd name="T58" fmla="*/ 27 w 65"/>
                  <a:gd name="T59" fmla="*/ 48 h 65"/>
                  <a:gd name="T60" fmla="*/ 21 w 65"/>
                  <a:gd name="T61" fmla="*/ 45 h 65"/>
                  <a:gd name="T62" fmla="*/ 19 w 65"/>
                  <a:gd name="T63" fmla="*/ 41 h 65"/>
                  <a:gd name="T64" fmla="*/ 17 w 65"/>
                  <a:gd name="T65" fmla="*/ 30 h 65"/>
                  <a:gd name="T66" fmla="*/ 21 w 65"/>
                  <a:gd name="T67" fmla="*/ 20 h 65"/>
                  <a:gd name="T68" fmla="*/ 27 w 65"/>
                  <a:gd name="T69" fmla="*/ 17 h 65"/>
                  <a:gd name="T70" fmla="*/ 32 w 65"/>
                  <a:gd name="T71" fmla="*/ 1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5" h="65">
                    <a:moveTo>
                      <a:pt x="32" y="0"/>
                    </a:moveTo>
                    <a:lnTo>
                      <a:pt x="32" y="0"/>
                    </a:lnTo>
                    <a:lnTo>
                      <a:pt x="26" y="0"/>
                    </a:lnTo>
                    <a:lnTo>
                      <a:pt x="20" y="2"/>
                    </a:lnTo>
                    <a:lnTo>
                      <a:pt x="15" y="5"/>
                    </a:lnTo>
                    <a:lnTo>
                      <a:pt x="10" y="9"/>
                    </a:lnTo>
                    <a:lnTo>
                      <a:pt x="10" y="9"/>
                    </a:lnTo>
                    <a:lnTo>
                      <a:pt x="6" y="13"/>
                    </a:lnTo>
                    <a:lnTo>
                      <a:pt x="4" y="18"/>
                    </a:lnTo>
                    <a:lnTo>
                      <a:pt x="1" y="23"/>
                    </a:lnTo>
                    <a:lnTo>
                      <a:pt x="0" y="29"/>
                    </a:lnTo>
                    <a:lnTo>
                      <a:pt x="0" y="34"/>
                    </a:lnTo>
                    <a:lnTo>
                      <a:pt x="1" y="40"/>
                    </a:lnTo>
                    <a:lnTo>
                      <a:pt x="3" y="45"/>
                    </a:lnTo>
                    <a:lnTo>
                      <a:pt x="5" y="50"/>
                    </a:lnTo>
                    <a:lnTo>
                      <a:pt x="5" y="50"/>
                    </a:lnTo>
                    <a:lnTo>
                      <a:pt x="10" y="56"/>
                    </a:lnTo>
                    <a:lnTo>
                      <a:pt x="10" y="56"/>
                    </a:lnTo>
                    <a:lnTo>
                      <a:pt x="15" y="61"/>
                    </a:lnTo>
                    <a:lnTo>
                      <a:pt x="20" y="63"/>
                    </a:lnTo>
                    <a:lnTo>
                      <a:pt x="26" y="65"/>
                    </a:lnTo>
                    <a:lnTo>
                      <a:pt x="32" y="65"/>
                    </a:lnTo>
                    <a:lnTo>
                      <a:pt x="32" y="65"/>
                    </a:lnTo>
                    <a:lnTo>
                      <a:pt x="39" y="65"/>
                    </a:lnTo>
                    <a:lnTo>
                      <a:pt x="45" y="63"/>
                    </a:lnTo>
                    <a:lnTo>
                      <a:pt x="50" y="61"/>
                    </a:lnTo>
                    <a:lnTo>
                      <a:pt x="55" y="56"/>
                    </a:lnTo>
                    <a:lnTo>
                      <a:pt x="55" y="56"/>
                    </a:lnTo>
                    <a:lnTo>
                      <a:pt x="59" y="52"/>
                    </a:lnTo>
                    <a:lnTo>
                      <a:pt x="61" y="47"/>
                    </a:lnTo>
                    <a:lnTo>
                      <a:pt x="64" y="42"/>
                    </a:lnTo>
                    <a:lnTo>
                      <a:pt x="64" y="36"/>
                    </a:lnTo>
                    <a:lnTo>
                      <a:pt x="65" y="31"/>
                    </a:lnTo>
                    <a:lnTo>
                      <a:pt x="64" y="25"/>
                    </a:lnTo>
                    <a:lnTo>
                      <a:pt x="62" y="20"/>
                    </a:lnTo>
                    <a:lnTo>
                      <a:pt x="60" y="16"/>
                    </a:lnTo>
                    <a:lnTo>
                      <a:pt x="60" y="16"/>
                    </a:lnTo>
                    <a:lnTo>
                      <a:pt x="55" y="9"/>
                    </a:lnTo>
                    <a:lnTo>
                      <a:pt x="55" y="9"/>
                    </a:lnTo>
                    <a:lnTo>
                      <a:pt x="50" y="5"/>
                    </a:lnTo>
                    <a:lnTo>
                      <a:pt x="45" y="2"/>
                    </a:lnTo>
                    <a:lnTo>
                      <a:pt x="39" y="0"/>
                    </a:lnTo>
                    <a:lnTo>
                      <a:pt x="32" y="0"/>
                    </a:lnTo>
                    <a:lnTo>
                      <a:pt x="32" y="0"/>
                    </a:lnTo>
                    <a:close/>
                    <a:moveTo>
                      <a:pt x="32" y="16"/>
                    </a:moveTo>
                    <a:lnTo>
                      <a:pt x="32" y="16"/>
                    </a:lnTo>
                    <a:lnTo>
                      <a:pt x="38" y="17"/>
                    </a:lnTo>
                    <a:lnTo>
                      <a:pt x="43" y="20"/>
                    </a:lnTo>
                    <a:lnTo>
                      <a:pt x="43" y="20"/>
                    </a:lnTo>
                    <a:lnTo>
                      <a:pt x="45" y="24"/>
                    </a:lnTo>
                    <a:lnTo>
                      <a:pt x="45" y="24"/>
                    </a:lnTo>
                    <a:lnTo>
                      <a:pt x="48" y="29"/>
                    </a:lnTo>
                    <a:lnTo>
                      <a:pt x="48" y="35"/>
                    </a:lnTo>
                    <a:lnTo>
                      <a:pt x="47" y="40"/>
                    </a:lnTo>
                    <a:lnTo>
                      <a:pt x="43" y="45"/>
                    </a:lnTo>
                    <a:lnTo>
                      <a:pt x="43" y="45"/>
                    </a:lnTo>
                    <a:lnTo>
                      <a:pt x="38" y="48"/>
                    </a:lnTo>
                    <a:lnTo>
                      <a:pt x="32" y="50"/>
                    </a:lnTo>
                    <a:lnTo>
                      <a:pt x="32" y="50"/>
                    </a:lnTo>
                    <a:lnTo>
                      <a:pt x="27" y="48"/>
                    </a:lnTo>
                    <a:lnTo>
                      <a:pt x="21" y="45"/>
                    </a:lnTo>
                    <a:lnTo>
                      <a:pt x="21" y="45"/>
                    </a:lnTo>
                    <a:lnTo>
                      <a:pt x="19" y="41"/>
                    </a:lnTo>
                    <a:lnTo>
                      <a:pt x="19" y="41"/>
                    </a:lnTo>
                    <a:lnTo>
                      <a:pt x="17" y="36"/>
                    </a:lnTo>
                    <a:lnTo>
                      <a:pt x="17" y="30"/>
                    </a:lnTo>
                    <a:lnTo>
                      <a:pt x="19" y="25"/>
                    </a:lnTo>
                    <a:lnTo>
                      <a:pt x="21" y="20"/>
                    </a:lnTo>
                    <a:lnTo>
                      <a:pt x="21" y="20"/>
                    </a:lnTo>
                    <a:lnTo>
                      <a:pt x="27" y="17"/>
                    </a:lnTo>
                    <a:lnTo>
                      <a:pt x="32" y="16"/>
                    </a:lnTo>
                    <a:lnTo>
                      <a:pt x="32" y="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498" name="Freeform 305">
                <a:extLst>
                  <a:ext uri="{FF2B5EF4-FFF2-40B4-BE49-F238E27FC236}">
                    <a16:creationId xmlns:a16="http://schemas.microsoft.com/office/drawing/2014/main" id="{FD175789-A9AD-4AD8-B5EB-E6C112727E91}"/>
                  </a:ext>
                </a:extLst>
              </p:cNvPr>
              <p:cNvSpPr>
                <a:spLocks/>
              </p:cNvSpPr>
              <p:nvPr/>
            </p:nvSpPr>
            <p:spPr bwMode="auto">
              <a:xfrm>
                <a:off x="7237515" y="5794861"/>
                <a:ext cx="143190" cy="197252"/>
              </a:xfrm>
              <a:custGeom>
                <a:avLst/>
                <a:gdLst>
                  <a:gd name="T0" fmla="*/ 0 w 98"/>
                  <a:gd name="T1" fmla="*/ 0 h 135"/>
                  <a:gd name="T2" fmla="*/ 43 w 98"/>
                  <a:gd name="T3" fmla="*/ 21 h 135"/>
                  <a:gd name="T4" fmla="*/ 30 w 98"/>
                  <a:gd name="T5" fmla="*/ 30 h 135"/>
                  <a:gd name="T6" fmla="*/ 98 w 98"/>
                  <a:gd name="T7" fmla="*/ 127 h 135"/>
                  <a:gd name="T8" fmla="*/ 85 w 98"/>
                  <a:gd name="T9" fmla="*/ 135 h 135"/>
                  <a:gd name="T10" fmla="*/ 17 w 98"/>
                  <a:gd name="T11" fmla="*/ 40 h 135"/>
                  <a:gd name="T12" fmla="*/ 3 w 98"/>
                  <a:gd name="T13" fmla="*/ 49 h 135"/>
                  <a:gd name="T14" fmla="*/ 0 w 98"/>
                  <a:gd name="T15" fmla="*/ 0 h 1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8" h="135">
                    <a:moveTo>
                      <a:pt x="0" y="0"/>
                    </a:moveTo>
                    <a:lnTo>
                      <a:pt x="43" y="21"/>
                    </a:lnTo>
                    <a:lnTo>
                      <a:pt x="30" y="30"/>
                    </a:lnTo>
                    <a:lnTo>
                      <a:pt x="98" y="127"/>
                    </a:lnTo>
                    <a:lnTo>
                      <a:pt x="85" y="135"/>
                    </a:lnTo>
                    <a:lnTo>
                      <a:pt x="17" y="40"/>
                    </a:lnTo>
                    <a:lnTo>
                      <a:pt x="3" y="49"/>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499" name="Group 1498">
            <a:extLst>
              <a:ext uri="{FF2B5EF4-FFF2-40B4-BE49-F238E27FC236}">
                <a16:creationId xmlns:a16="http://schemas.microsoft.com/office/drawing/2014/main" id="{330516B5-0629-462C-B505-25AFD4ABB0F4}"/>
              </a:ext>
            </a:extLst>
          </p:cNvPr>
          <p:cNvGrpSpPr/>
          <p:nvPr/>
        </p:nvGrpSpPr>
        <p:grpSpPr>
          <a:xfrm>
            <a:off x="9033476" y="3943380"/>
            <a:ext cx="612775" cy="612775"/>
            <a:chOff x="7878847" y="4581723"/>
            <a:chExt cx="612775" cy="612775"/>
          </a:xfrm>
        </p:grpSpPr>
        <p:sp>
          <p:nvSpPr>
            <p:cNvPr id="1500" name="Oval 1499">
              <a:extLst>
                <a:ext uri="{FF2B5EF4-FFF2-40B4-BE49-F238E27FC236}">
                  <a16:creationId xmlns:a16="http://schemas.microsoft.com/office/drawing/2014/main" id="{83CC703E-BF88-40DB-9CC8-70DB89BCECC7}"/>
                </a:ext>
              </a:extLst>
            </p:cNvPr>
            <p:cNvSpPr/>
            <p:nvPr/>
          </p:nvSpPr>
          <p:spPr bwMode="ltGray">
            <a:xfrm>
              <a:off x="7878847"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01" name="Freeform 252">
              <a:extLst>
                <a:ext uri="{FF2B5EF4-FFF2-40B4-BE49-F238E27FC236}">
                  <a16:creationId xmlns:a16="http://schemas.microsoft.com/office/drawing/2014/main" id="{64763AA7-42E4-494E-863F-DCCBADB9C82D}"/>
                </a:ext>
              </a:extLst>
            </p:cNvPr>
            <p:cNvSpPr>
              <a:spLocks/>
            </p:cNvSpPr>
            <p:nvPr/>
          </p:nvSpPr>
          <p:spPr bwMode="auto">
            <a:xfrm>
              <a:off x="8070476" y="4642065"/>
              <a:ext cx="252000" cy="504000"/>
            </a:xfrm>
            <a:custGeom>
              <a:avLst/>
              <a:gdLst>
                <a:gd name="T0" fmla="*/ 508 w 883"/>
                <a:gd name="T1" fmla="*/ 676 h 1651"/>
                <a:gd name="T2" fmla="*/ 883 w 883"/>
                <a:gd name="T3" fmla="*/ 117 h 1651"/>
                <a:gd name="T4" fmla="*/ 883 w 883"/>
                <a:gd name="T5" fmla="*/ 117 h 1651"/>
                <a:gd name="T6" fmla="*/ 863 w 883"/>
                <a:gd name="T7" fmla="*/ 106 h 1651"/>
                <a:gd name="T8" fmla="*/ 840 w 883"/>
                <a:gd name="T9" fmla="*/ 95 h 1651"/>
                <a:gd name="T10" fmla="*/ 812 w 883"/>
                <a:gd name="T11" fmla="*/ 82 h 1651"/>
                <a:gd name="T12" fmla="*/ 779 w 883"/>
                <a:gd name="T13" fmla="*/ 67 h 1651"/>
                <a:gd name="T14" fmla="*/ 741 w 883"/>
                <a:gd name="T15" fmla="*/ 52 h 1651"/>
                <a:gd name="T16" fmla="*/ 701 w 883"/>
                <a:gd name="T17" fmla="*/ 39 h 1651"/>
                <a:gd name="T18" fmla="*/ 680 w 883"/>
                <a:gd name="T19" fmla="*/ 32 h 1651"/>
                <a:gd name="T20" fmla="*/ 659 w 883"/>
                <a:gd name="T21" fmla="*/ 27 h 1651"/>
                <a:gd name="T22" fmla="*/ 659 w 883"/>
                <a:gd name="T23" fmla="*/ 27 h 1651"/>
                <a:gd name="T24" fmla="*/ 632 w 883"/>
                <a:gd name="T25" fmla="*/ 20 h 1651"/>
                <a:gd name="T26" fmla="*/ 606 w 883"/>
                <a:gd name="T27" fmla="*/ 15 h 1651"/>
                <a:gd name="T28" fmla="*/ 582 w 883"/>
                <a:gd name="T29" fmla="*/ 11 h 1651"/>
                <a:gd name="T30" fmla="*/ 560 w 883"/>
                <a:gd name="T31" fmla="*/ 7 h 1651"/>
                <a:gd name="T32" fmla="*/ 520 w 883"/>
                <a:gd name="T33" fmla="*/ 2 h 1651"/>
                <a:gd name="T34" fmla="*/ 485 w 883"/>
                <a:gd name="T35" fmla="*/ 0 h 1651"/>
                <a:gd name="T36" fmla="*/ 458 w 883"/>
                <a:gd name="T37" fmla="*/ 0 h 1651"/>
                <a:gd name="T38" fmla="*/ 438 w 883"/>
                <a:gd name="T39" fmla="*/ 1 h 1651"/>
                <a:gd name="T40" fmla="*/ 422 w 883"/>
                <a:gd name="T41" fmla="*/ 2 h 1651"/>
                <a:gd name="T42" fmla="*/ 0 w 883"/>
                <a:gd name="T43" fmla="*/ 1019 h 1651"/>
                <a:gd name="T44" fmla="*/ 427 w 883"/>
                <a:gd name="T45" fmla="*/ 933 h 1651"/>
                <a:gd name="T46" fmla="*/ 283 w 883"/>
                <a:gd name="T47" fmla="*/ 1350 h 1651"/>
                <a:gd name="T48" fmla="*/ 229 w 883"/>
                <a:gd name="T49" fmla="*/ 1350 h 1651"/>
                <a:gd name="T50" fmla="*/ 181 w 883"/>
                <a:gd name="T51" fmla="*/ 1651 h 1651"/>
                <a:gd name="T52" fmla="*/ 444 w 883"/>
                <a:gd name="T53" fmla="*/ 1350 h 1651"/>
                <a:gd name="T54" fmla="*/ 393 w 883"/>
                <a:gd name="T55" fmla="*/ 1350 h 1651"/>
                <a:gd name="T56" fmla="*/ 833 w 883"/>
                <a:gd name="T57" fmla="*/ 628 h 1651"/>
                <a:gd name="T58" fmla="*/ 508 w 883"/>
                <a:gd name="T59" fmla="*/ 676 h 1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83" h="1651">
                  <a:moveTo>
                    <a:pt x="508" y="676"/>
                  </a:moveTo>
                  <a:lnTo>
                    <a:pt x="883" y="117"/>
                  </a:lnTo>
                  <a:lnTo>
                    <a:pt x="883" y="117"/>
                  </a:lnTo>
                  <a:lnTo>
                    <a:pt x="863" y="106"/>
                  </a:lnTo>
                  <a:lnTo>
                    <a:pt x="840" y="95"/>
                  </a:lnTo>
                  <a:lnTo>
                    <a:pt x="812" y="82"/>
                  </a:lnTo>
                  <a:lnTo>
                    <a:pt x="779" y="67"/>
                  </a:lnTo>
                  <a:lnTo>
                    <a:pt x="741" y="52"/>
                  </a:lnTo>
                  <a:lnTo>
                    <a:pt x="701" y="39"/>
                  </a:lnTo>
                  <a:lnTo>
                    <a:pt x="680" y="32"/>
                  </a:lnTo>
                  <a:lnTo>
                    <a:pt x="659" y="27"/>
                  </a:lnTo>
                  <a:lnTo>
                    <a:pt x="659" y="27"/>
                  </a:lnTo>
                  <a:lnTo>
                    <a:pt x="632" y="20"/>
                  </a:lnTo>
                  <a:lnTo>
                    <a:pt x="606" y="15"/>
                  </a:lnTo>
                  <a:lnTo>
                    <a:pt x="582" y="11"/>
                  </a:lnTo>
                  <a:lnTo>
                    <a:pt x="560" y="7"/>
                  </a:lnTo>
                  <a:lnTo>
                    <a:pt x="520" y="2"/>
                  </a:lnTo>
                  <a:lnTo>
                    <a:pt x="485" y="0"/>
                  </a:lnTo>
                  <a:lnTo>
                    <a:pt x="458" y="0"/>
                  </a:lnTo>
                  <a:lnTo>
                    <a:pt x="438" y="1"/>
                  </a:lnTo>
                  <a:lnTo>
                    <a:pt x="422" y="2"/>
                  </a:lnTo>
                  <a:lnTo>
                    <a:pt x="0" y="1019"/>
                  </a:lnTo>
                  <a:lnTo>
                    <a:pt x="427" y="933"/>
                  </a:lnTo>
                  <a:lnTo>
                    <a:pt x="283" y="1350"/>
                  </a:lnTo>
                  <a:lnTo>
                    <a:pt x="229" y="1350"/>
                  </a:lnTo>
                  <a:lnTo>
                    <a:pt x="181" y="1651"/>
                  </a:lnTo>
                  <a:lnTo>
                    <a:pt x="444" y="1350"/>
                  </a:lnTo>
                  <a:lnTo>
                    <a:pt x="393" y="1350"/>
                  </a:lnTo>
                  <a:lnTo>
                    <a:pt x="833" y="628"/>
                  </a:lnTo>
                  <a:lnTo>
                    <a:pt x="508" y="6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02" name="Group 1501">
            <a:extLst>
              <a:ext uri="{FF2B5EF4-FFF2-40B4-BE49-F238E27FC236}">
                <a16:creationId xmlns:a16="http://schemas.microsoft.com/office/drawing/2014/main" id="{02C530D2-9EEC-422F-BBB2-3E1A4D5F5E79}"/>
              </a:ext>
            </a:extLst>
          </p:cNvPr>
          <p:cNvGrpSpPr/>
          <p:nvPr/>
        </p:nvGrpSpPr>
        <p:grpSpPr>
          <a:xfrm>
            <a:off x="6118596" y="1626836"/>
            <a:ext cx="612775" cy="612775"/>
            <a:chOff x="4963967" y="2265179"/>
            <a:chExt cx="612775" cy="612775"/>
          </a:xfrm>
        </p:grpSpPr>
        <p:sp>
          <p:nvSpPr>
            <p:cNvPr id="1503" name="Oval 1502">
              <a:extLst>
                <a:ext uri="{FF2B5EF4-FFF2-40B4-BE49-F238E27FC236}">
                  <a16:creationId xmlns:a16="http://schemas.microsoft.com/office/drawing/2014/main" id="{CE85CDBD-1207-488D-8E09-E480B9D2297F}"/>
                </a:ext>
              </a:extLst>
            </p:cNvPr>
            <p:cNvSpPr/>
            <p:nvPr/>
          </p:nvSpPr>
          <p:spPr bwMode="ltGray">
            <a:xfrm>
              <a:off x="496396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04" name="Freeform 336">
              <a:extLst>
                <a:ext uri="{FF2B5EF4-FFF2-40B4-BE49-F238E27FC236}">
                  <a16:creationId xmlns:a16="http://schemas.microsoft.com/office/drawing/2014/main" id="{128F1A8E-DA66-4659-B2B2-AEAA1EBDA4B0}"/>
                </a:ext>
              </a:extLst>
            </p:cNvPr>
            <p:cNvSpPr>
              <a:spLocks noEditPoints="1"/>
            </p:cNvSpPr>
            <p:nvPr/>
          </p:nvSpPr>
          <p:spPr bwMode="auto">
            <a:xfrm>
              <a:off x="5154719" y="2359489"/>
              <a:ext cx="252412" cy="438150"/>
            </a:xfrm>
            <a:custGeom>
              <a:avLst/>
              <a:gdLst>
                <a:gd name="T0" fmla="*/ 682 w 797"/>
                <a:gd name="T1" fmla="*/ 101 h 1378"/>
                <a:gd name="T2" fmla="*/ 609 w 797"/>
                <a:gd name="T3" fmla="*/ 115 h 1378"/>
                <a:gd name="T4" fmla="*/ 526 w 797"/>
                <a:gd name="T5" fmla="*/ 86 h 1378"/>
                <a:gd name="T6" fmla="*/ 463 w 797"/>
                <a:gd name="T7" fmla="*/ 42 h 1378"/>
                <a:gd name="T8" fmla="*/ 389 w 797"/>
                <a:gd name="T9" fmla="*/ 9 h 1378"/>
                <a:gd name="T10" fmla="*/ 309 w 797"/>
                <a:gd name="T11" fmla="*/ 1 h 1378"/>
                <a:gd name="T12" fmla="*/ 233 w 797"/>
                <a:gd name="T13" fmla="*/ 25 h 1378"/>
                <a:gd name="T14" fmla="*/ 176 w 797"/>
                <a:gd name="T15" fmla="*/ 76 h 1378"/>
                <a:gd name="T16" fmla="*/ 144 w 797"/>
                <a:gd name="T17" fmla="*/ 148 h 1378"/>
                <a:gd name="T18" fmla="*/ 142 w 797"/>
                <a:gd name="T19" fmla="*/ 212 h 1378"/>
                <a:gd name="T20" fmla="*/ 160 w 797"/>
                <a:gd name="T21" fmla="*/ 274 h 1378"/>
                <a:gd name="T22" fmla="*/ 212 w 797"/>
                <a:gd name="T23" fmla="*/ 353 h 1378"/>
                <a:gd name="T24" fmla="*/ 261 w 797"/>
                <a:gd name="T25" fmla="*/ 447 h 1378"/>
                <a:gd name="T26" fmla="*/ 260 w 797"/>
                <a:gd name="T27" fmla="*/ 513 h 1378"/>
                <a:gd name="T28" fmla="*/ 183 w 797"/>
                <a:gd name="T29" fmla="*/ 533 h 1378"/>
                <a:gd name="T30" fmla="*/ 59 w 797"/>
                <a:gd name="T31" fmla="*/ 631 h 1378"/>
                <a:gd name="T32" fmla="*/ 3 w 797"/>
                <a:gd name="T33" fmla="*/ 772 h 1378"/>
                <a:gd name="T34" fmla="*/ 1 w 797"/>
                <a:gd name="T35" fmla="*/ 1091 h 1378"/>
                <a:gd name="T36" fmla="*/ 17 w 797"/>
                <a:gd name="T37" fmla="*/ 1180 h 1378"/>
                <a:gd name="T38" fmla="*/ 57 w 797"/>
                <a:gd name="T39" fmla="*/ 1257 h 1378"/>
                <a:gd name="T40" fmla="*/ 115 w 797"/>
                <a:gd name="T41" fmla="*/ 1319 h 1378"/>
                <a:gd name="T42" fmla="*/ 187 w 797"/>
                <a:gd name="T43" fmla="*/ 1360 h 1378"/>
                <a:gd name="T44" fmla="*/ 271 w 797"/>
                <a:gd name="T45" fmla="*/ 1378 h 1378"/>
                <a:gd name="T46" fmla="*/ 342 w 797"/>
                <a:gd name="T47" fmla="*/ 1373 h 1378"/>
                <a:gd name="T48" fmla="*/ 420 w 797"/>
                <a:gd name="T49" fmla="*/ 1342 h 1378"/>
                <a:gd name="T50" fmla="*/ 487 w 797"/>
                <a:gd name="T51" fmla="*/ 1290 h 1378"/>
                <a:gd name="T52" fmla="*/ 535 w 797"/>
                <a:gd name="T53" fmla="*/ 1220 h 1378"/>
                <a:gd name="T54" fmla="*/ 564 w 797"/>
                <a:gd name="T55" fmla="*/ 1137 h 1378"/>
                <a:gd name="T56" fmla="*/ 570 w 797"/>
                <a:gd name="T57" fmla="*/ 816 h 1378"/>
                <a:gd name="T58" fmla="*/ 549 w 797"/>
                <a:gd name="T59" fmla="*/ 704 h 1378"/>
                <a:gd name="T60" fmla="*/ 455 w 797"/>
                <a:gd name="T61" fmla="*/ 573 h 1378"/>
                <a:gd name="T62" fmla="*/ 349 w 797"/>
                <a:gd name="T63" fmla="*/ 521 h 1378"/>
                <a:gd name="T64" fmla="*/ 311 w 797"/>
                <a:gd name="T65" fmla="*/ 496 h 1378"/>
                <a:gd name="T66" fmla="*/ 302 w 797"/>
                <a:gd name="T67" fmla="*/ 420 h 1378"/>
                <a:gd name="T68" fmla="*/ 263 w 797"/>
                <a:gd name="T69" fmla="*/ 343 h 1378"/>
                <a:gd name="T70" fmla="*/ 202 w 797"/>
                <a:gd name="T71" fmla="*/ 253 h 1378"/>
                <a:gd name="T72" fmla="*/ 187 w 797"/>
                <a:gd name="T73" fmla="*/ 188 h 1378"/>
                <a:gd name="T74" fmla="*/ 193 w 797"/>
                <a:gd name="T75" fmla="*/ 148 h 1378"/>
                <a:gd name="T76" fmla="*/ 220 w 797"/>
                <a:gd name="T77" fmla="*/ 97 h 1378"/>
                <a:gd name="T78" fmla="*/ 264 w 797"/>
                <a:gd name="T79" fmla="*/ 62 h 1378"/>
                <a:gd name="T80" fmla="*/ 327 w 797"/>
                <a:gd name="T81" fmla="*/ 48 h 1378"/>
                <a:gd name="T82" fmla="*/ 390 w 797"/>
                <a:gd name="T83" fmla="*/ 59 h 1378"/>
                <a:gd name="T84" fmla="*/ 439 w 797"/>
                <a:gd name="T85" fmla="*/ 83 h 1378"/>
                <a:gd name="T86" fmla="*/ 501 w 797"/>
                <a:gd name="T87" fmla="*/ 126 h 1378"/>
                <a:gd name="T88" fmla="*/ 570 w 797"/>
                <a:gd name="T89" fmla="*/ 157 h 1378"/>
                <a:gd name="T90" fmla="*/ 618 w 797"/>
                <a:gd name="T91" fmla="*/ 163 h 1378"/>
                <a:gd name="T92" fmla="*/ 739 w 797"/>
                <a:gd name="T93" fmla="*/ 124 h 1378"/>
                <a:gd name="T94" fmla="*/ 793 w 797"/>
                <a:gd name="T95" fmla="*/ 74 h 1378"/>
                <a:gd name="T96" fmla="*/ 788 w 797"/>
                <a:gd name="T97" fmla="*/ 47 h 1378"/>
                <a:gd name="T98" fmla="*/ 752 w 797"/>
                <a:gd name="T99" fmla="*/ 54 h 1378"/>
                <a:gd name="T100" fmla="*/ 303 w 797"/>
                <a:gd name="T101" fmla="*/ 609 h 1378"/>
                <a:gd name="T102" fmla="*/ 340 w 797"/>
                <a:gd name="T103" fmla="*/ 654 h 1378"/>
                <a:gd name="T104" fmla="*/ 334 w 797"/>
                <a:gd name="T105" fmla="*/ 819 h 1378"/>
                <a:gd name="T106" fmla="*/ 294 w 797"/>
                <a:gd name="T107" fmla="*/ 897 h 1378"/>
                <a:gd name="T108" fmla="*/ 285 w 797"/>
                <a:gd name="T109" fmla="*/ 907 h 1378"/>
                <a:gd name="T110" fmla="*/ 276 w 797"/>
                <a:gd name="T111" fmla="*/ 848 h 1378"/>
                <a:gd name="T112" fmla="*/ 233 w 797"/>
                <a:gd name="T113" fmla="*/ 810 h 1378"/>
                <a:gd name="T114" fmla="*/ 233 w 797"/>
                <a:gd name="T115" fmla="*/ 644 h 1378"/>
                <a:gd name="T116" fmla="*/ 276 w 797"/>
                <a:gd name="T117" fmla="*/ 606 h 1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7" h="1378">
                  <a:moveTo>
                    <a:pt x="746" y="59"/>
                  </a:moveTo>
                  <a:lnTo>
                    <a:pt x="746" y="59"/>
                  </a:lnTo>
                  <a:lnTo>
                    <a:pt x="730" y="72"/>
                  </a:lnTo>
                  <a:lnTo>
                    <a:pt x="714" y="83"/>
                  </a:lnTo>
                  <a:lnTo>
                    <a:pt x="698" y="93"/>
                  </a:lnTo>
                  <a:lnTo>
                    <a:pt x="682" y="101"/>
                  </a:lnTo>
                  <a:lnTo>
                    <a:pt x="665" y="108"/>
                  </a:lnTo>
                  <a:lnTo>
                    <a:pt x="649" y="112"/>
                  </a:lnTo>
                  <a:lnTo>
                    <a:pt x="634" y="114"/>
                  </a:lnTo>
                  <a:lnTo>
                    <a:pt x="618" y="115"/>
                  </a:lnTo>
                  <a:lnTo>
                    <a:pt x="618" y="115"/>
                  </a:lnTo>
                  <a:lnTo>
                    <a:pt x="609" y="115"/>
                  </a:lnTo>
                  <a:lnTo>
                    <a:pt x="600" y="114"/>
                  </a:lnTo>
                  <a:lnTo>
                    <a:pt x="600" y="114"/>
                  </a:lnTo>
                  <a:lnTo>
                    <a:pt x="581" y="111"/>
                  </a:lnTo>
                  <a:lnTo>
                    <a:pt x="562" y="106"/>
                  </a:lnTo>
                  <a:lnTo>
                    <a:pt x="544" y="97"/>
                  </a:lnTo>
                  <a:lnTo>
                    <a:pt x="526" y="86"/>
                  </a:lnTo>
                  <a:lnTo>
                    <a:pt x="526" y="86"/>
                  </a:lnTo>
                  <a:lnTo>
                    <a:pt x="513" y="77"/>
                  </a:lnTo>
                  <a:lnTo>
                    <a:pt x="500" y="68"/>
                  </a:lnTo>
                  <a:lnTo>
                    <a:pt x="500" y="68"/>
                  </a:lnTo>
                  <a:lnTo>
                    <a:pt x="476" y="50"/>
                  </a:lnTo>
                  <a:lnTo>
                    <a:pt x="463" y="42"/>
                  </a:lnTo>
                  <a:lnTo>
                    <a:pt x="450" y="34"/>
                  </a:lnTo>
                  <a:lnTo>
                    <a:pt x="450" y="34"/>
                  </a:lnTo>
                  <a:lnTo>
                    <a:pt x="436" y="26"/>
                  </a:lnTo>
                  <a:lnTo>
                    <a:pt x="420" y="20"/>
                  </a:lnTo>
                  <a:lnTo>
                    <a:pt x="405" y="14"/>
                  </a:lnTo>
                  <a:lnTo>
                    <a:pt x="389" y="9"/>
                  </a:lnTo>
                  <a:lnTo>
                    <a:pt x="374" y="6"/>
                  </a:lnTo>
                  <a:lnTo>
                    <a:pt x="359" y="3"/>
                  </a:lnTo>
                  <a:lnTo>
                    <a:pt x="342" y="1"/>
                  </a:lnTo>
                  <a:lnTo>
                    <a:pt x="327" y="0"/>
                  </a:lnTo>
                  <a:lnTo>
                    <a:pt x="327" y="0"/>
                  </a:lnTo>
                  <a:lnTo>
                    <a:pt x="309" y="1"/>
                  </a:lnTo>
                  <a:lnTo>
                    <a:pt x="290" y="4"/>
                  </a:lnTo>
                  <a:lnTo>
                    <a:pt x="273" y="8"/>
                  </a:lnTo>
                  <a:lnTo>
                    <a:pt x="256" y="14"/>
                  </a:lnTo>
                  <a:lnTo>
                    <a:pt x="256" y="14"/>
                  </a:lnTo>
                  <a:lnTo>
                    <a:pt x="244" y="19"/>
                  </a:lnTo>
                  <a:lnTo>
                    <a:pt x="233" y="25"/>
                  </a:lnTo>
                  <a:lnTo>
                    <a:pt x="222" y="32"/>
                  </a:lnTo>
                  <a:lnTo>
                    <a:pt x="211" y="39"/>
                  </a:lnTo>
                  <a:lnTo>
                    <a:pt x="201" y="48"/>
                  </a:lnTo>
                  <a:lnTo>
                    <a:pt x="193" y="57"/>
                  </a:lnTo>
                  <a:lnTo>
                    <a:pt x="184" y="67"/>
                  </a:lnTo>
                  <a:lnTo>
                    <a:pt x="176" y="76"/>
                  </a:lnTo>
                  <a:lnTo>
                    <a:pt x="169" y="87"/>
                  </a:lnTo>
                  <a:lnTo>
                    <a:pt x="162" y="99"/>
                  </a:lnTo>
                  <a:lnTo>
                    <a:pt x="157" y="110"/>
                  </a:lnTo>
                  <a:lnTo>
                    <a:pt x="152" y="123"/>
                  </a:lnTo>
                  <a:lnTo>
                    <a:pt x="147" y="135"/>
                  </a:lnTo>
                  <a:lnTo>
                    <a:pt x="144" y="148"/>
                  </a:lnTo>
                  <a:lnTo>
                    <a:pt x="142" y="160"/>
                  </a:lnTo>
                  <a:lnTo>
                    <a:pt x="141" y="173"/>
                  </a:lnTo>
                  <a:lnTo>
                    <a:pt x="141" y="173"/>
                  </a:lnTo>
                  <a:lnTo>
                    <a:pt x="140" y="186"/>
                  </a:lnTo>
                  <a:lnTo>
                    <a:pt x="141" y="199"/>
                  </a:lnTo>
                  <a:lnTo>
                    <a:pt x="142" y="212"/>
                  </a:lnTo>
                  <a:lnTo>
                    <a:pt x="144" y="225"/>
                  </a:lnTo>
                  <a:lnTo>
                    <a:pt x="146" y="237"/>
                  </a:lnTo>
                  <a:lnTo>
                    <a:pt x="150" y="250"/>
                  </a:lnTo>
                  <a:lnTo>
                    <a:pt x="155" y="262"/>
                  </a:lnTo>
                  <a:lnTo>
                    <a:pt x="160" y="274"/>
                  </a:lnTo>
                  <a:lnTo>
                    <a:pt x="160" y="274"/>
                  </a:lnTo>
                  <a:lnTo>
                    <a:pt x="170" y="292"/>
                  </a:lnTo>
                  <a:lnTo>
                    <a:pt x="181" y="309"/>
                  </a:lnTo>
                  <a:lnTo>
                    <a:pt x="204" y="342"/>
                  </a:lnTo>
                  <a:lnTo>
                    <a:pt x="204" y="342"/>
                  </a:lnTo>
                  <a:lnTo>
                    <a:pt x="212" y="353"/>
                  </a:lnTo>
                  <a:lnTo>
                    <a:pt x="212" y="353"/>
                  </a:lnTo>
                  <a:lnTo>
                    <a:pt x="212" y="353"/>
                  </a:lnTo>
                  <a:lnTo>
                    <a:pt x="226" y="372"/>
                  </a:lnTo>
                  <a:lnTo>
                    <a:pt x="238" y="391"/>
                  </a:lnTo>
                  <a:lnTo>
                    <a:pt x="248" y="410"/>
                  </a:lnTo>
                  <a:lnTo>
                    <a:pt x="256" y="429"/>
                  </a:lnTo>
                  <a:lnTo>
                    <a:pt x="261" y="447"/>
                  </a:lnTo>
                  <a:lnTo>
                    <a:pt x="263" y="466"/>
                  </a:lnTo>
                  <a:lnTo>
                    <a:pt x="264" y="484"/>
                  </a:lnTo>
                  <a:lnTo>
                    <a:pt x="262" y="502"/>
                  </a:lnTo>
                  <a:lnTo>
                    <a:pt x="260" y="513"/>
                  </a:lnTo>
                  <a:lnTo>
                    <a:pt x="260" y="513"/>
                  </a:lnTo>
                  <a:lnTo>
                    <a:pt x="260" y="513"/>
                  </a:lnTo>
                  <a:lnTo>
                    <a:pt x="247" y="515"/>
                  </a:lnTo>
                  <a:lnTo>
                    <a:pt x="234" y="518"/>
                  </a:lnTo>
                  <a:lnTo>
                    <a:pt x="221" y="521"/>
                  </a:lnTo>
                  <a:lnTo>
                    <a:pt x="208" y="524"/>
                  </a:lnTo>
                  <a:lnTo>
                    <a:pt x="195" y="528"/>
                  </a:lnTo>
                  <a:lnTo>
                    <a:pt x="183" y="533"/>
                  </a:lnTo>
                  <a:lnTo>
                    <a:pt x="158" y="545"/>
                  </a:lnTo>
                  <a:lnTo>
                    <a:pt x="135" y="558"/>
                  </a:lnTo>
                  <a:lnTo>
                    <a:pt x="115" y="574"/>
                  </a:lnTo>
                  <a:lnTo>
                    <a:pt x="94" y="591"/>
                  </a:lnTo>
                  <a:lnTo>
                    <a:pt x="76" y="611"/>
                  </a:lnTo>
                  <a:lnTo>
                    <a:pt x="59" y="631"/>
                  </a:lnTo>
                  <a:lnTo>
                    <a:pt x="44" y="654"/>
                  </a:lnTo>
                  <a:lnTo>
                    <a:pt x="31" y="678"/>
                  </a:lnTo>
                  <a:lnTo>
                    <a:pt x="20" y="704"/>
                  </a:lnTo>
                  <a:lnTo>
                    <a:pt x="12" y="730"/>
                  </a:lnTo>
                  <a:lnTo>
                    <a:pt x="5" y="758"/>
                  </a:lnTo>
                  <a:lnTo>
                    <a:pt x="3" y="772"/>
                  </a:lnTo>
                  <a:lnTo>
                    <a:pt x="2" y="786"/>
                  </a:lnTo>
                  <a:lnTo>
                    <a:pt x="1" y="802"/>
                  </a:lnTo>
                  <a:lnTo>
                    <a:pt x="0" y="816"/>
                  </a:lnTo>
                  <a:lnTo>
                    <a:pt x="0" y="1076"/>
                  </a:lnTo>
                  <a:lnTo>
                    <a:pt x="0" y="1076"/>
                  </a:lnTo>
                  <a:lnTo>
                    <a:pt x="1" y="1091"/>
                  </a:lnTo>
                  <a:lnTo>
                    <a:pt x="2" y="1106"/>
                  </a:lnTo>
                  <a:lnTo>
                    <a:pt x="3" y="1121"/>
                  </a:lnTo>
                  <a:lnTo>
                    <a:pt x="6" y="1137"/>
                  </a:lnTo>
                  <a:lnTo>
                    <a:pt x="9" y="1151"/>
                  </a:lnTo>
                  <a:lnTo>
                    <a:pt x="13" y="1166"/>
                  </a:lnTo>
                  <a:lnTo>
                    <a:pt x="17" y="1180"/>
                  </a:lnTo>
                  <a:lnTo>
                    <a:pt x="22" y="1193"/>
                  </a:lnTo>
                  <a:lnTo>
                    <a:pt x="28" y="1207"/>
                  </a:lnTo>
                  <a:lnTo>
                    <a:pt x="34" y="1220"/>
                  </a:lnTo>
                  <a:lnTo>
                    <a:pt x="42" y="1232"/>
                  </a:lnTo>
                  <a:lnTo>
                    <a:pt x="49" y="1245"/>
                  </a:lnTo>
                  <a:lnTo>
                    <a:pt x="57" y="1257"/>
                  </a:lnTo>
                  <a:lnTo>
                    <a:pt x="66" y="1268"/>
                  </a:lnTo>
                  <a:lnTo>
                    <a:pt x="75" y="1279"/>
                  </a:lnTo>
                  <a:lnTo>
                    <a:pt x="84" y="1290"/>
                  </a:lnTo>
                  <a:lnTo>
                    <a:pt x="94" y="1299"/>
                  </a:lnTo>
                  <a:lnTo>
                    <a:pt x="104" y="1309"/>
                  </a:lnTo>
                  <a:lnTo>
                    <a:pt x="115" y="1319"/>
                  </a:lnTo>
                  <a:lnTo>
                    <a:pt x="127" y="1326"/>
                  </a:lnTo>
                  <a:lnTo>
                    <a:pt x="137" y="1335"/>
                  </a:lnTo>
                  <a:lnTo>
                    <a:pt x="149" y="1342"/>
                  </a:lnTo>
                  <a:lnTo>
                    <a:pt x="161" y="1349"/>
                  </a:lnTo>
                  <a:lnTo>
                    <a:pt x="174" y="1355"/>
                  </a:lnTo>
                  <a:lnTo>
                    <a:pt x="187" y="1360"/>
                  </a:lnTo>
                  <a:lnTo>
                    <a:pt x="200" y="1365"/>
                  </a:lnTo>
                  <a:lnTo>
                    <a:pt x="214" y="1370"/>
                  </a:lnTo>
                  <a:lnTo>
                    <a:pt x="227" y="1373"/>
                  </a:lnTo>
                  <a:lnTo>
                    <a:pt x="241" y="1375"/>
                  </a:lnTo>
                  <a:lnTo>
                    <a:pt x="256" y="1377"/>
                  </a:lnTo>
                  <a:lnTo>
                    <a:pt x="271" y="1378"/>
                  </a:lnTo>
                  <a:lnTo>
                    <a:pt x="285" y="1378"/>
                  </a:lnTo>
                  <a:lnTo>
                    <a:pt x="285" y="1378"/>
                  </a:lnTo>
                  <a:lnTo>
                    <a:pt x="300" y="1378"/>
                  </a:lnTo>
                  <a:lnTo>
                    <a:pt x="314" y="1377"/>
                  </a:lnTo>
                  <a:lnTo>
                    <a:pt x="328" y="1375"/>
                  </a:lnTo>
                  <a:lnTo>
                    <a:pt x="342" y="1373"/>
                  </a:lnTo>
                  <a:lnTo>
                    <a:pt x="356" y="1370"/>
                  </a:lnTo>
                  <a:lnTo>
                    <a:pt x="369" y="1365"/>
                  </a:lnTo>
                  <a:lnTo>
                    <a:pt x="382" y="1360"/>
                  </a:lnTo>
                  <a:lnTo>
                    <a:pt x="395" y="1355"/>
                  </a:lnTo>
                  <a:lnTo>
                    <a:pt x="408" y="1349"/>
                  </a:lnTo>
                  <a:lnTo>
                    <a:pt x="420" y="1342"/>
                  </a:lnTo>
                  <a:lnTo>
                    <a:pt x="432" y="1335"/>
                  </a:lnTo>
                  <a:lnTo>
                    <a:pt x="444" y="1326"/>
                  </a:lnTo>
                  <a:lnTo>
                    <a:pt x="455" y="1319"/>
                  </a:lnTo>
                  <a:lnTo>
                    <a:pt x="466" y="1309"/>
                  </a:lnTo>
                  <a:lnTo>
                    <a:pt x="476" y="1299"/>
                  </a:lnTo>
                  <a:lnTo>
                    <a:pt x="487" y="1290"/>
                  </a:lnTo>
                  <a:lnTo>
                    <a:pt x="495" y="1279"/>
                  </a:lnTo>
                  <a:lnTo>
                    <a:pt x="505" y="1268"/>
                  </a:lnTo>
                  <a:lnTo>
                    <a:pt x="513" y="1257"/>
                  </a:lnTo>
                  <a:lnTo>
                    <a:pt x="521" y="1245"/>
                  </a:lnTo>
                  <a:lnTo>
                    <a:pt x="529" y="1232"/>
                  </a:lnTo>
                  <a:lnTo>
                    <a:pt x="535" y="1220"/>
                  </a:lnTo>
                  <a:lnTo>
                    <a:pt x="542" y="1207"/>
                  </a:lnTo>
                  <a:lnTo>
                    <a:pt x="547" y="1193"/>
                  </a:lnTo>
                  <a:lnTo>
                    <a:pt x="553" y="1180"/>
                  </a:lnTo>
                  <a:lnTo>
                    <a:pt x="557" y="1166"/>
                  </a:lnTo>
                  <a:lnTo>
                    <a:pt x="560" y="1151"/>
                  </a:lnTo>
                  <a:lnTo>
                    <a:pt x="564" y="1137"/>
                  </a:lnTo>
                  <a:lnTo>
                    <a:pt x="567" y="1121"/>
                  </a:lnTo>
                  <a:lnTo>
                    <a:pt x="568" y="1106"/>
                  </a:lnTo>
                  <a:lnTo>
                    <a:pt x="569" y="1091"/>
                  </a:lnTo>
                  <a:lnTo>
                    <a:pt x="570" y="1076"/>
                  </a:lnTo>
                  <a:lnTo>
                    <a:pt x="570" y="816"/>
                  </a:lnTo>
                  <a:lnTo>
                    <a:pt x="570" y="816"/>
                  </a:lnTo>
                  <a:lnTo>
                    <a:pt x="569" y="802"/>
                  </a:lnTo>
                  <a:lnTo>
                    <a:pt x="568" y="786"/>
                  </a:lnTo>
                  <a:lnTo>
                    <a:pt x="567" y="772"/>
                  </a:lnTo>
                  <a:lnTo>
                    <a:pt x="565" y="758"/>
                  </a:lnTo>
                  <a:lnTo>
                    <a:pt x="558" y="730"/>
                  </a:lnTo>
                  <a:lnTo>
                    <a:pt x="549" y="704"/>
                  </a:lnTo>
                  <a:lnTo>
                    <a:pt x="539" y="678"/>
                  </a:lnTo>
                  <a:lnTo>
                    <a:pt x="526" y="654"/>
                  </a:lnTo>
                  <a:lnTo>
                    <a:pt x="510" y="631"/>
                  </a:lnTo>
                  <a:lnTo>
                    <a:pt x="494" y="610"/>
                  </a:lnTo>
                  <a:lnTo>
                    <a:pt x="476" y="591"/>
                  </a:lnTo>
                  <a:lnTo>
                    <a:pt x="455" y="573"/>
                  </a:lnTo>
                  <a:lnTo>
                    <a:pt x="433" y="558"/>
                  </a:lnTo>
                  <a:lnTo>
                    <a:pt x="411" y="544"/>
                  </a:lnTo>
                  <a:lnTo>
                    <a:pt x="387" y="533"/>
                  </a:lnTo>
                  <a:lnTo>
                    <a:pt x="374" y="528"/>
                  </a:lnTo>
                  <a:lnTo>
                    <a:pt x="362" y="524"/>
                  </a:lnTo>
                  <a:lnTo>
                    <a:pt x="349" y="521"/>
                  </a:lnTo>
                  <a:lnTo>
                    <a:pt x="336" y="518"/>
                  </a:lnTo>
                  <a:lnTo>
                    <a:pt x="322" y="515"/>
                  </a:lnTo>
                  <a:lnTo>
                    <a:pt x="309" y="513"/>
                  </a:lnTo>
                  <a:lnTo>
                    <a:pt x="309" y="509"/>
                  </a:lnTo>
                  <a:lnTo>
                    <a:pt x="309" y="509"/>
                  </a:lnTo>
                  <a:lnTo>
                    <a:pt x="311" y="496"/>
                  </a:lnTo>
                  <a:lnTo>
                    <a:pt x="311" y="483"/>
                  </a:lnTo>
                  <a:lnTo>
                    <a:pt x="311" y="470"/>
                  </a:lnTo>
                  <a:lnTo>
                    <a:pt x="310" y="457"/>
                  </a:lnTo>
                  <a:lnTo>
                    <a:pt x="308" y="444"/>
                  </a:lnTo>
                  <a:lnTo>
                    <a:pt x="305" y="432"/>
                  </a:lnTo>
                  <a:lnTo>
                    <a:pt x="302" y="420"/>
                  </a:lnTo>
                  <a:lnTo>
                    <a:pt x="299" y="408"/>
                  </a:lnTo>
                  <a:lnTo>
                    <a:pt x="299" y="408"/>
                  </a:lnTo>
                  <a:lnTo>
                    <a:pt x="294" y="396"/>
                  </a:lnTo>
                  <a:lnTo>
                    <a:pt x="288" y="385"/>
                  </a:lnTo>
                  <a:lnTo>
                    <a:pt x="276" y="363"/>
                  </a:lnTo>
                  <a:lnTo>
                    <a:pt x="263" y="343"/>
                  </a:lnTo>
                  <a:lnTo>
                    <a:pt x="250" y="325"/>
                  </a:lnTo>
                  <a:lnTo>
                    <a:pt x="250" y="325"/>
                  </a:lnTo>
                  <a:lnTo>
                    <a:pt x="237" y="306"/>
                  </a:lnTo>
                  <a:lnTo>
                    <a:pt x="224" y="289"/>
                  </a:lnTo>
                  <a:lnTo>
                    <a:pt x="213" y="271"/>
                  </a:lnTo>
                  <a:lnTo>
                    <a:pt x="202" y="253"/>
                  </a:lnTo>
                  <a:lnTo>
                    <a:pt x="195" y="235"/>
                  </a:lnTo>
                  <a:lnTo>
                    <a:pt x="193" y="226"/>
                  </a:lnTo>
                  <a:lnTo>
                    <a:pt x="189" y="216"/>
                  </a:lnTo>
                  <a:lnTo>
                    <a:pt x="188" y="206"/>
                  </a:lnTo>
                  <a:lnTo>
                    <a:pt x="187" y="198"/>
                  </a:lnTo>
                  <a:lnTo>
                    <a:pt x="187" y="188"/>
                  </a:lnTo>
                  <a:lnTo>
                    <a:pt x="187" y="178"/>
                  </a:lnTo>
                  <a:lnTo>
                    <a:pt x="187" y="177"/>
                  </a:lnTo>
                  <a:lnTo>
                    <a:pt x="187" y="177"/>
                  </a:lnTo>
                  <a:lnTo>
                    <a:pt x="188" y="167"/>
                  </a:lnTo>
                  <a:lnTo>
                    <a:pt x="191" y="158"/>
                  </a:lnTo>
                  <a:lnTo>
                    <a:pt x="193" y="148"/>
                  </a:lnTo>
                  <a:lnTo>
                    <a:pt x="196" y="139"/>
                  </a:lnTo>
                  <a:lnTo>
                    <a:pt x="199" y="129"/>
                  </a:lnTo>
                  <a:lnTo>
                    <a:pt x="204" y="121"/>
                  </a:lnTo>
                  <a:lnTo>
                    <a:pt x="209" y="113"/>
                  </a:lnTo>
                  <a:lnTo>
                    <a:pt x="214" y="104"/>
                  </a:lnTo>
                  <a:lnTo>
                    <a:pt x="220" y="97"/>
                  </a:lnTo>
                  <a:lnTo>
                    <a:pt x="226" y="90"/>
                  </a:lnTo>
                  <a:lnTo>
                    <a:pt x="233" y="83"/>
                  </a:lnTo>
                  <a:lnTo>
                    <a:pt x="240" y="77"/>
                  </a:lnTo>
                  <a:lnTo>
                    <a:pt x="248" y="71"/>
                  </a:lnTo>
                  <a:lnTo>
                    <a:pt x="257" y="67"/>
                  </a:lnTo>
                  <a:lnTo>
                    <a:pt x="264" y="62"/>
                  </a:lnTo>
                  <a:lnTo>
                    <a:pt x="274" y="58"/>
                  </a:lnTo>
                  <a:lnTo>
                    <a:pt x="274" y="58"/>
                  </a:lnTo>
                  <a:lnTo>
                    <a:pt x="286" y="54"/>
                  </a:lnTo>
                  <a:lnTo>
                    <a:pt x="299" y="50"/>
                  </a:lnTo>
                  <a:lnTo>
                    <a:pt x="313" y="48"/>
                  </a:lnTo>
                  <a:lnTo>
                    <a:pt x="327" y="48"/>
                  </a:lnTo>
                  <a:lnTo>
                    <a:pt x="327" y="48"/>
                  </a:lnTo>
                  <a:lnTo>
                    <a:pt x="339" y="48"/>
                  </a:lnTo>
                  <a:lnTo>
                    <a:pt x="352" y="49"/>
                  </a:lnTo>
                  <a:lnTo>
                    <a:pt x="365" y="51"/>
                  </a:lnTo>
                  <a:lnTo>
                    <a:pt x="377" y="55"/>
                  </a:lnTo>
                  <a:lnTo>
                    <a:pt x="390" y="59"/>
                  </a:lnTo>
                  <a:lnTo>
                    <a:pt x="402" y="63"/>
                  </a:lnTo>
                  <a:lnTo>
                    <a:pt x="415" y="70"/>
                  </a:lnTo>
                  <a:lnTo>
                    <a:pt x="427" y="76"/>
                  </a:lnTo>
                  <a:lnTo>
                    <a:pt x="428" y="76"/>
                  </a:lnTo>
                  <a:lnTo>
                    <a:pt x="428" y="76"/>
                  </a:lnTo>
                  <a:lnTo>
                    <a:pt x="439" y="83"/>
                  </a:lnTo>
                  <a:lnTo>
                    <a:pt x="450" y="89"/>
                  </a:lnTo>
                  <a:lnTo>
                    <a:pt x="470" y="104"/>
                  </a:lnTo>
                  <a:lnTo>
                    <a:pt x="470" y="104"/>
                  </a:lnTo>
                  <a:lnTo>
                    <a:pt x="485" y="115"/>
                  </a:lnTo>
                  <a:lnTo>
                    <a:pt x="501" y="126"/>
                  </a:lnTo>
                  <a:lnTo>
                    <a:pt x="501" y="126"/>
                  </a:lnTo>
                  <a:lnTo>
                    <a:pt x="511" y="133"/>
                  </a:lnTo>
                  <a:lnTo>
                    <a:pt x="523" y="139"/>
                  </a:lnTo>
                  <a:lnTo>
                    <a:pt x="535" y="145"/>
                  </a:lnTo>
                  <a:lnTo>
                    <a:pt x="547" y="150"/>
                  </a:lnTo>
                  <a:lnTo>
                    <a:pt x="558" y="153"/>
                  </a:lnTo>
                  <a:lnTo>
                    <a:pt x="570" y="157"/>
                  </a:lnTo>
                  <a:lnTo>
                    <a:pt x="582" y="160"/>
                  </a:lnTo>
                  <a:lnTo>
                    <a:pt x="594" y="162"/>
                  </a:lnTo>
                  <a:lnTo>
                    <a:pt x="594" y="162"/>
                  </a:lnTo>
                  <a:lnTo>
                    <a:pt x="606" y="163"/>
                  </a:lnTo>
                  <a:lnTo>
                    <a:pt x="618" y="163"/>
                  </a:lnTo>
                  <a:lnTo>
                    <a:pt x="618" y="163"/>
                  </a:lnTo>
                  <a:lnTo>
                    <a:pt x="638" y="162"/>
                  </a:lnTo>
                  <a:lnTo>
                    <a:pt x="658" y="159"/>
                  </a:lnTo>
                  <a:lnTo>
                    <a:pt x="678" y="153"/>
                  </a:lnTo>
                  <a:lnTo>
                    <a:pt x="699" y="146"/>
                  </a:lnTo>
                  <a:lnTo>
                    <a:pt x="720" y="135"/>
                  </a:lnTo>
                  <a:lnTo>
                    <a:pt x="739" y="124"/>
                  </a:lnTo>
                  <a:lnTo>
                    <a:pt x="759" y="110"/>
                  </a:lnTo>
                  <a:lnTo>
                    <a:pt x="777" y="94"/>
                  </a:lnTo>
                  <a:lnTo>
                    <a:pt x="777" y="94"/>
                  </a:lnTo>
                  <a:lnTo>
                    <a:pt x="784" y="87"/>
                  </a:lnTo>
                  <a:lnTo>
                    <a:pt x="789" y="81"/>
                  </a:lnTo>
                  <a:lnTo>
                    <a:pt x="793" y="74"/>
                  </a:lnTo>
                  <a:lnTo>
                    <a:pt x="796" y="68"/>
                  </a:lnTo>
                  <a:lnTo>
                    <a:pt x="797" y="62"/>
                  </a:lnTo>
                  <a:lnTo>
                    <a:pt x="796" y="57"/>
                  </a:lnTo>
                  <a:lnTo>
                    <a:pt x="794" y="52"/>
                  </a:lnTo>
                  <a:lnTo>
                    <a:pt x="791" y="49"/>
                  </a:lnTo>
                  <a:lnTo>
                    <a:pt x="788" y="47"/>
                  </a:lnTo>
                  <a:lnTo>
                    <a:pt x="784" y="45"/>
                  </a:lnTo>
                  <a:lnTo>
                    <a:pt x="778" y="44"/>
                  </a:lnTo>
                  <a:lnTo>
                    <a:pt x="773" y="45"/>
                  </a:lnTo>
                  <a:lnTo>
                    <a:pt x="766" y="46"/>
                  </a:lnTo>
                  <a:lnTo>
                    <a:pt x="760" y="49"/>
                  </a:lnTo>
                  <a:lnTo>
                    <a:pt x="752" y="54"/>
                  </a:lnTo>
                  <a:lnTo>
                    <a:pt x="746" y="59"/>
                  </a:lnTo>
                  <a:lnTo>
                    <a:pt x="746" y="59"/>
                  </a:lnTo>
                  <a:close/>
                  <a:moveTo>
                    <a:pt x="294" y="513"/>
                  </a:moveTo>
                  <a:lnTo>
                    <a:pt x="294" y="606"/>
                  </a:lnTo>
                  <a:lnTo>
                    <a:pt x="294" y="606"/>
                  </a:lnTo>
                  <a:lnTo>
                    <a:pt x="303" y="609"/>
                  </a:lnTo>
                  <a:lnTo>
                    <a:pt x="313" y="613"/>
                  </a:lnTo>
                  <a:lnTo>
                    <a:pt x="321" y="619"/>
                  </a:lnTo>
                  <a:lnTo>
                    <a:pt x="327" y="626"/>
                  </a:lnTo>
                  <a:lnTo>
                    <a:pt x="334" y="635"/>
                  </a:lnTo>
                  <a:lnTo>
                    <a:pt x="338" y="644"/>
                  </a:lnTo>
                  <a:lnTo>
                    <a:pt x="340" y="654"/>
                  </a:lnTo>
                  <a:lnTo>
                    <a:pt x="341" y="665"/>
                  </a:lnTo>
                  <a:lnTo>
                    <a:pt x="341" y="789"/>
                  </a:lnTo>
                  <a:lnTo>
                    <a:pt x="341" y="789"/>
                  </a:lnTo>
                  <a:lnTo>
                    <a:pt x="340" y="799"/>
                  </a:lnTo>
                  <a:lnTo>
                    <a:pt x="338" y="810"/>
                  </a:lnTo>
                  <a:lnTo>
                    <a:pt x="334" y="819"/>
                  </a:lnTo>
                  <a:lnTo>
                    <a:pt x="327" y="828"/>
                  </a:lnTo>
                  <a:lnTo>
                    <a:pt x="321" y="835"/>
                  </a:lnTo>
                  <a:lnTo>
                    <a:pt x="313" y="841"/>
                  </a:lnTo>
                  <a:lnTo>
                    <a:pt x="303" y="845"/>
                  </a:lnTo>
                  <a:lnTo>
                    <a:pt x="294" y="848"/>
                  </a:lnTo>
                  <a:lnTo>
                    <a:pt x="294" y="897"/>
                  </a:lnTo>
                  <a:lnTo>
                    <a:pt x="294" y="897"/>
                  </a:lnTo>
                  <a:lnTo>
                    <a:pt x="294" y="900"/>
                  </a:lnTo>
                  <a:lnTo>
                    <a:pt x="291" y="904"/>
                  </a:lnTo>
                  <a:lnTo>
                    <a:pt x="288" y="906"/>
                  </a:lnTo>
                  <a:lnTo>
                    <a:pt x="285" y="907"/>
                  </a:lnTo>
                  <a:lnTo>
                    <a:pt x="285" y="907"/>
                  </a:lnTo>
                  <a:lnTo>
                    <a:pt x="282" y="906"/>
                  </a:lnTo>
                  <a:lnTo>
                    <a:pt x="278" y="904"/>
                  </a:lnTo>
                  <a:lnTo>
                    <a:pt x="276" y="900"/>
                  </a:lnTo>
                  <a:lnTo>
                    <a:pt x="276" y="897"/>
                  </a:lnTo>
                  <a:lnTo>
                    <a:pt x="276" y="848"/>
                  </a:lnTo>
                  <a:lnTo>
                    <a:pt x="276" y="848"/>
                  </a:lnTo>
                  <a:lnTo>
                    <a:pt x="266" y="845"/>
                  </a:lnTo>
                  <a:lnTo>
                    <a:pt x="258" y="841"/>
                  </a:lnTo>
                  <a:lnTo>
                    <a:pt x="249" y="835"/>
                  </a:lnTo>
                  <a:lnTo>
                    <a:pt x="243" y="828"/>
                  </a:lnTo>
                  <a:lnTo>
                    <a:pt x="237" y="819"/>
                  </a:lnTo>
                  <a:lnTo>
                    <a:pt x="233" y="810"/>
                  </a:lnTo>
                  <a:lnTo>
                    <a:pt x="230" y="799"/>
                  </a:lnTo>
                  <a:lnTo>
                    <a:pt x="228" y="789"/>
                  </a:lnTo>
                  <a:lnTo>
                    <a:pt x="228" y="665"/>
                  </a:lnTo>
                  <a:lnTo>
                    <a:pt x="228" y="665"/>
                  </a:lnTo>
                  <a:lnTo>
                    <a:pt x="230" y="654"/>
                  </a:lnTo>
                  <a:lnTo>
                    <a:pt x="233" y="644"/>
                  </a:lnTo>
                  <a:lnTo>
                    <a:pt x="237" y="635"/>
                  </a:lnTo>
                  <a:lnTo>
                    <a:pt x="243" y="626"/>
                  </a:lnTo>
                  <a:lnTo>
                    <a:pt x="249" y="619"/>
                  </a:lnTo>
                  <a:lnTo>
                    <a:pt x="258" y="613"/>
                  </a:lnTo>
                  <a:lnTo>
                    <a:pt x="266" y="609"/>
                  </a:lnTo>
                  <a:lnTo>
                    <a:pt x="276" y="606"/>
                  </a:lnTo>
                  <a:lnTo>
                    <a:pt x="276" y="513"/>
                  </a:lnTo>
                  <a:lnTo>
                    <a:pt x="294" y="51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05" name="Group 1504">
            <a:extLst>
              <a:ext uri="{FF2B5EF4-FFF2-40B4-BE49-F238E27FC236}">
                <a16:creationId xmlns:a16="http://schemas.microsoft.com/office/drawing/2014/main" id="{CAD0F286-ED40-49EF-8141-96A49C04EA0D}"/>
              </a:ext>
            </a:extLst>
          </p:cNvPr>
          <p:cNvGrpSpPr/>
          <p:nvPr/>
        </p:nvGrpSpPr>
        <p:grpSpPr>
          <a:xfrm>
            <a:off x="3932241" y="1626836"/>
            <a:ext cx="612775" cy="612775"/>
            <a:chOff x="2777612" y="2265179"/>
            <a:chExt cx="612775" cy="612775"/>
          </a:xfrm>
        </p:grpSpPr>
        <p:sp>
          <p:nvSpPr>
            <p:cNvPr id="1506" name="Oval 1505">
              <a:extLst>
                <a:ext uri="{FF2B5EF4-FFF2-40B4-BE49-F238E27FC236}">
                  <a16:creationId xmlns:a16="http://schemas.microsoft.com/office/drawing/2014/main" id="{4EB4D242-0F5F-414D-A475-D195AD7D259D}"/>
                </a:ext>
              </a:extLst>
            </p:cNvPr>
            <p:cNvSpPr/>
            <p:nvPr/>
          </p:nvSpPr>
          <p:spPr bwMode="ltGray">
            <a:xfrm>
              <a:off x="2777612"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07" name="Freeform 341">
              <a:extLst>
                <a:ext uri="{FF2B5EF4-FFF2-40B4-BE49-F238E27FC236}">
                  <a16:creationId xmlns:a16="http://schemas.microsoft.com/office/drawing/2014/main" id="{D41B7A87-D8F3-4897-BAD5-E9EB4E7F374A}"/>
                </a:ext>
              </a:extLst>
            </p:cNvPr>
            <p:cNvSpPr>
              <a:spLocks noEditPoints="1"/>
            </p:cNvSpPr>
            <p:nvPr/>
          </p:nvSpPr>
          <p:spPr bwMode="auto">
            <a:xfrm>
              <a:off x="2893339" y="2403846"/>
              <a:ext cx="395287" cy="369887"/>
            </a:xfrm>
            <a:custGeom>
              <a:avLst/>
              <a:gdLst>
                <a:gd name="T0" fmla="*/ 926 w 1245"/>
                <a:gd name="T1" fmla="*/ 1134 h 1163"/>
                <a:gd name="T2" fmla="*/ 911 w 1245"/>
                <a:gd name="T3" fmla="*/ 1156 h 1163"/>
                <a:gd name="T4" fmla="*/ 359 w 1245"/>
                <a:gd name="T5" fmla="*/ 1163 h 1163"/>
                <a:gd name="T6" fmla="*/ 333 w 1245"/>
                <a:gd name="T7" fmla="*/ 1156 h 1163"/>
                <a:gd name="T8" fmla="*/ 318 w 1245"/>
                <a:gd name="T9" fmla="*/ 1134 h 1163"/>
                <a:gd name="T10" fmla="*/ 323 w 1245"/>
                <a:gd name="T11" fmla="*/ 1114 h 1163"/>
                <a:gd name="T12" fmla="*/ 377 w 1245"/>
                <a:gd name="T13" fmla="*/ 1096 h 1163"/>
                <a:gd name="T14" fmla="*/ 432 w 1245"/>
                <a:gd name="T15" fmla="*/ 1057 h 1163"/>
                <a:gd name="T16" fmla="*/ 457 w 1245"/>
                <a:gd name="T17" fmla="*/ 1019 h 1163"/>
                <a:gd name="T18" fmla="*/ 466 w 1245"/>
                <a:gd name="T19" fmla="*/ 979 h 1163"/>
                <a:gd name="T20" fmla="*/ 778 w 1245"/>
                <a:gd name="T21" fmla="*/ 932 h 1163"/>
                <a:gd name="T22" fmla="*/ 779 w 1245"/>
                <a:gd name="T23" fmla="*/ 981 h 1163"/>
                <a:gd name="T24" fmla="*/ 788 w 1245"/>
                <a:gd name="T25" fmla="*/ 1014 h 1163"/>
                <a:gd name="T26" fmla="*/ 825 w 1245"/>
                <a:gd name="T27" fmla="*/ 1060 h 1163"/>
                <a:gd name="T28" fmla="*/ 881 w 1245"/>
                <a:gd name="T29" fmla="*/ 1095 h 1163"/>
                <a:gd name="T30" fmla="*/ 928 w 1245"/>
                <a:gd name="T31" fmla="*/ 1116 h 1163"/>
                <a:gd name="T32" fmla="*/ 1244 w 1245"/>
                <a:gd name="T33" fmla="*/ 866 h 1163"/>
                <a:gd name="T34" fmla="*/ 1225 w 1245"/>
                <a:gd name="T35" fmla="*/ 893 h 1163"/>
                <a:gd name="T36" fmla="*/ 42 w 1245"/>
                <a:gd name="T37" fmla="*/ 901 h 1163"/>
                <a:gd name="T38" fmla="*/ 19 w 1245"/>
                <a:gd name="T39" fmla="*/ 893 h 1163"/>
                <a:gd name="T40" fmla="*/ 0 w 1245"/>
                <a:gd name="T41" fmla="*/ 866 h 1163"/>
                <a:gd name="T42" fmla="*/ 0 w 1245"/>
                <a:gd name="T43" fmla="*/ 33 h 1163"/>
                <a:gd name="T44" fmla="*/ 19 w 1245"/>
                <a:gd name="T45" fmla="*/ 7 h 1163"/>
                <a:gd name="T46" fmla="*/ 1201 w 1245"/>
                <a:gd name="T47" fmla="*/ 0 h 1163"/>
                <a:gd name="T48" fmla="*/ 1225 w 1245"/>
                <a:gd name="T49" fmla="*/ 7 h 1163"/>
                <a:gd name="T50" fmla="*/ 1244 w 1245"/>
                <a:gd name="T51" fmla="*/ 33 h 1163"/>
                <a:gd name="T52" fmla="*/ 917 w 1245"/>
                <a:gd name="T53" fmla="*/ 835 h 1163"/>
                <a:gd name="T54" fmla="*/ 912 w 1245"/>
                <a:gd name="T55" fmla="*/ 822 h 1163"/>
                <a:gd name="T56" fmla="*/ 900 w 1245"/>
                <a:gd name="T57" fmla="*/ 816 h 1163"/>
                <a:gd name="T58" fmla="*/ 889 w 1245"/>
                <a:gd name="T59" fmla="*/ 820 h 1163"/>
                <a:gd name="T60" fmla="*/ 882 w 1245"/>
                <a:gd name="T61" fmla="*/ 831 h 1163"/>
                <a:gd name="T62" fmla="*/ 883 w 1245"/>
                <a:gd name="T63" fmla="*/ 841 h 1163"/>
                <a:gd name="T64" fmla="*/ 892 w 1245"/>
                <a:gd name="T65" fmla="*/ 851 h 1163"/>
                <a:gd name="T66" fmla="*/ 903 w 1245"/>
                <a:gd name="T67" fmla="*/ 852 h 1163"/>
                <a:gd name="T68" fmla="*/ 914 w 1245"/>
                <a:gd name="T69" fmla="*/ 844 h 1163"/>
                <a:gd name="T70" fmla="*/ 917 w 1245"/>
                <a:gd name="T71" fmla="*/ 835 h 1163"/>
                <a:gd name="T72" fmla="*/ 999 w 1245"/>
                <a:gd name="T73" fmla="*/ 828 h 1163"/>
                <a:gd name="T74" fmla="*/ 989 w 1245"/>
                <a:gd name="T75" fmla="*/ 818 h 1163"/>
                <a:gd name="T76" fmla="*/ 979 w 1245"/>
                <a:gd name="T77" fmla="*/ 817 h 1163"/>
                <a:gd name="T78" fmla="*/ 967 w 1245"/>
                <a:gd name="T79" fmla="*/ 825 h 1163"/>
                <a:gd name="T80" fmla="*/ 964 w 1245"/>
                <a:gd name="T81" fmla="*/ 835 h 1163"/>
                <a:gd name="T82" fmla="*/ 969 w 1245"/>
                <a:gd name="T83" fmla="*/ 848 h 1163"/>
                <a:gd name="T84" fmla="*/ 982 w 1245"/>
                <a:gd name="T85" fmla="*/ 853 h 1163"/>
                <a:gd name="T86" fmla="*/ 992 w 1245"/>
                <a:gd name="T87" fmla="*/ 850 h 1163"/>
                <a:gd name="T88" fmla="*/ 1000 w 1245"/>
                <a:gd name="T89" fmla="*/ 838 h 1163"/>
                <a:gd name="T90" fmla="*/ 1083 w 1245"/>
                <a:gd name="T91" fmla="*/ 835 h 1163"/>
                <a:gd name="T92" fmla="*/ 1078 w 1245"/>
                <a:gd name="T93" fmla="*/ 822 h 1163"/>
                <a:gd name="T94" fmla="*/ 1065 w 1245"/>
                <a:gd name="T95" fmla="*/ 816 h 1163"/>
                <a:gd name="T96" fmla="*/ 1055 w 1245"/>
                <a:gd name="T97" fmla="*/ 820 h 1163"/>
                <a:gd name="T98" fmla="*/ 1048 w 1245"/>
                <a:gd name="T99" fmla="*/ 831 h 1163"/>
                <a:gd name="T100" fmla="*/ 1049 w 1245"/>
                <a:gd name="T101" fmla="*/ 841 h 1163"/>
                <a:gd name="T102" fmla="*/ 1058 w 1245"/>
                <a:gd name="T103" fmla="*/ 851 h 1163"/>
                <a:gd name="T104" fmla="*/ 1069 w 1245"/>
                <a:gd name="T105" fmla="*/ 852 h 1163"/>
                <a:gd name="T106" fmla="*/ 1080 w 1245"/>
                <a:gd name="T107" fmla="*/ 844 h 1163"/>
                <a:gd name="T108" fmla="*/ 1083 w 1245"/>
                <a:gd name="T109" fmla="*/ 835 h 1163"/>
                <a:gd name="T110" fmla="*/ 1132 w 1245"/>
                <a:gd name="T111" fmla="*/ 100 h 1163"/>
                <a:gd name="T112" fmla="*/ 110 w 1245"/>
                <a:gd name="T113" fmla="*/ 102 h 1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45" h="1163">
                  <a:moveTo>
                    <a:pt x="928" y="1116"/>
                  </a:moveTo>
                  <a:lnTo>
                    <a:pt x="928" y="1116"/>
                  </a:lnTo>
                  <a:lnTo>
                    <a:pt x="928" y="1124"/>
                  </a:lnTo>
                  <a:lnTo>
                    <a:pt x="926" y="1134"/>
                  </a:lnTo>
                  <a:lnTo>
                    <a:pt x="923" y="1142"/>
                  </a:lnTo>
                  <a:lnTo>
                    <a:pt x="917" y="1149"/>
                  </a:lnTo>
                  <a:lnTo>
                    <a:pt x="917" y="1149"/>
                  </a:lnTo>
                  <a:lnTo>
                    <a:pt x="911" y="1156"/>
                  </a:lnTo>
                  <a:lnTo>
                    <a:pt x="903" y="1160"/>
                  </a:lnTo>
                  <a:lnTo>
                    <a:pt x="895" y="1162"/>
                  </a:lnTo>
                  <a:lnTo>
                    <a:pt x="885" y="1163"/>
                  </a:lnTo>
                  <a:lnTo>
                    <a:pt x="359" y="1163"/>
                  </a:lnTo>
                  <a:lnTo>
                    <a:pt x="359" y="1163"/>
                  </a:lnTo>
                  <a:lnTo>
                    <a:pt x="350" y="1162"/>
                  </a:lnTo>
                  <a:lnTo>
                    <a:pt x="342" y="1160"/>
                  </a:lnTo>
                  <a:lnTo>
                    <a:pt x="333" y="1156"/>
                  </a:lnTo>
                  <a:lnTo>
                    <a:pt x="327" y="1149"/>
                  </a:lnTo>
                  <a:lnTo>
                    <a:pt x="327" y="1149"/>
                  </a:lnTo>
                  <a:lnTo>
                    <a:pt x="321" y="1142"/>
                  </a:lnTo>
                  <a:lnTo>
                    <a:pt x="318" y="1134"/>
                  </a:lnTo>
                  <a:lnTo>
                    <a:pt x="317" y="1124"/>
                  </a:lnTo>
                  <a:lnTo>
                    <a:pt x="317" y="1116"/>
                  </a:lnTo>
                  <a:lnTo>
                    <a:pt x="317" y="1116"/>
                  </a:lnTo>
                  <a:lnTo>
                    <a:pt x="323" y="1114"/>
                  </a:lnTo>
                  <a:lnTo>
                    <a:pt x="341" y="1110"/>
                  </a:lnTo>
                  <a:lnTo>
                    <a:pt x="351" y="1106"/>
                  </a:lnTo>
                  <a:lnTo>
                    <a:pt x="364" y="1101"/>
                  </a:lnTo>
                  <a:lnTo>
                    <a:pt x="377" y="1096"/>
                  </a:lnTo>
                  <a:lnTo>
                    <a:pt x="392" y="1088"/>
                  </a:lnTo>
                  <a:lnTo>
                    <a:pt x="406" y="1080"/>
                  </a:lnTo>
                  <a:lnTo>
                    <a:pt x="420" y="1069"/>
                  </a:lnTo>
                  <a:lnTo>
                    <a:pt x="432" y="1057"/>
                  </a:lnTo>
                  <a:lnTo>
                    <a:pt x="444" y="1044"/>
                  </a:lnTo>
                  <a:lnTo>
                    <a:pt x="449" y="1036"/>
                  </a:lnTo>
                  <a:lnTo>
                    <a:pt x="453" y="1028"/>
                  </a:lnTo>
                  <a:lnTo>
                    <a:pt x="457" y="1019"/>
                  </a:lnTo>
                  <a:lnTo>
                    <a:pt x="461" y="1010"/>
                  </a:lnTo>
                  <a:lnTo>
                    <a:pt x="463" y="1001"/>
                  </a:lnTo>
                  <a:lnTo>
                    <a:pt x="465" y="990"/>
                  </a:lnTo>
                  <a:lnTo>
                    <a:pt x="466" y="979"/>
                  </a:lnTo>
                  <a:lnTo>
                    <a:pt x="467" y="967"/>
                  </a:lnTo>
                  <a:lnTo>
                    <a:pt x="467" y="967"/>
                  </a:lnTo>
                  <a:lnTo>
                    <a:pt x="467" y="932"/>
                  </a:lnTo>
                  <a:lnTo>
                    <a:pt x="778" y="932"/>
                  </a:lnTo>
                  <a:lnTo>
                    <a:pt x="778" y="932"/>
                  </a:lnTo>
                  <a:lnTo>
                    <a:pt x="779" y="972"/>
                  </a:lnTo>
                  <a:lnTo>
                    <a:pt x="779" y="972"/>
                  </a:lnTo>
                  <a:lnTo>
                    <a:pt x="779" y="981"/>
                  </a:lnTo>
                  <a:lnTo>
                    <a:pt x="780" y="990"/>
                  </a:lnTo>
                  <a:lnTo>
                    <a:pt x="782" y="998"/>
                  </a:lnTo>
                  <a:lnTo>
                    <a:pt x="785" y="1006"/>
                  </a:lnTo>
                  <a:lnTo>
                    <a:pt x="788" y="1014"/>
                  </a:lnTo>
                  <a:lnTo>
                    <a:pt x="792" y="1021"/>
                  </a:lnTo>
                  <a:lnTo>
                    <a:pt x="801" y="1035"/>
                  </a:lnTo>
                  <a:lnTo>
                    <a:pt x="813" y="1048"/>
                  </a:lnTo>
                  <a:lnTo>
                    <a:pt x="825" y="1060"/>
                  </a:lnTo>
                  <a:lnTo>
                    <a:pt x="839" y="1070"/>
                  </a:lnTo>
                  <a:lnTo>
                    <a:pt x="853" y="1080"/>
                  </a:lnTo>
                  <a:lnTo>
                    <a:pt x="866" y="1088"/>
                  </a:lnTo>
                  <a:lnTo>
                    <a:pt x="881" y="1095"/>
                  </a:lnTo>
                  <a:lnTo>
                    <a:pt x="904" y="1107"/>
                  </a:lnTo>
                  <a:lnTo>
                    <a:pt x="922" y="1113"/>
                  </a:lnTo>
                  <a:lnTo>
                    <a:pt x="928" y="1116"/>
                  </a:lnTo>
                  <a:lnTo>
                    <a:pt x="928" y="1116"/>
                  </a:lnTo>
                  <a:close/>
                  <a:moveTo>
                    <a:pt x="1245" y="42"/>
                  </a:moveTo>
                  <a:lnTo>
                    <a:pt x="1245" y="857"/>
                  </a:lnTo>
                  <a:lnTo>
                    <a:pt x="1245" y="857"/>
                  </a:lnTo>
                  <a:lnTo>
                    <a:pt x="1244" y="866"/>
                  </a:lnTo>
                  <a:lnTo>
                    <a:pt x="1242" y="875"/>
                  </a:lnTo>
                  <a:lnTo>
                    <a:pt x="1237" y="881"/>
                  </a:lnTo>
                  <a:lnTo>
                    <a:pt x="1232" y="888"/>
                  </a:lnTo>
                  <a:lnTo>
                    <a:pt x="1225" y="893"/>
                  </a:lnTo>
                  <a:lnTo>
                    <a:pt x="1219" y="898"/>
                  </a:lnTo>
                  <a:lnTo>
                    <a:pt x="1210" y="900"/>
                  </a:lnTo>
                  <a:lnTo>
                    <a:pt x="1201" y="901"/>
                  </a:lnTo>
                  <a:lnTo>
                    <a:pt x="42" y="901"/>
                  </a:lnTo>
                  <a:lnTo>
                    <a:pt x="42" y="901"/>
                  </a:lnTo>
                  <a:lnTo>
                    <a:pt x="34" y="900"/>
                  </a:lnTo>
                  <a:lnTo>
                    <a:pt x="26" y="898"/>
                  </a:lnTo>
                  <a:lnTo>
                    <a:pt x="19" y="893"/>
                  </a:lnTo>
                  <a:lnTo>
                    <a:pt x="12" y="888"/>
                  </a:lnTo>
                  <a:lnTo>
                    <a:pt x="7" y="881"/>
                  </a:lnTo>
                  <a:lnTo>
                    <a:pt x="3" y="875"/>
                  </a:lnTo>
                  <a:lnTo>
                    <a:pt x="0" y="866"/>
                  </a:lnTo>
                  <a:lnTo>
                    <a:pt x="0" y="857"/>
                  </a:lnTo>
                  <a:lnTo>
                    <a:pt x="0" y="42"/>
                  </a:lnTo>
                  <a:lnTo>
                    <a:pt x="0" y="42"/>
                  </a:lnTo>
                  <a:lnTo>
                    <a:pt x="0" y="33"/>
                  </a:lnTo>
                  <a:lnTo>
                    <a:pt x="3" y="26"/>
                  </a:lnTo>
                  <a:lnTo>
                    <a:pt x="7" y="18"/>
                  </a:lnTo>
                  <a:lnTo>
                    <a:pt x="12" y="12"/>
                  </a:lnTo>
                  <a:lnTo>
                    <a:pt x="19" y="7"/>
                  </a:lnTo>
                  <a:lnTo>
                    <a:pt x="26" y="3"/>
                  </a:lnTo>
                  <a:lnTo>
                    <a:pt x="34" y="1"/>
                  </a:lnTo>
                  <a:lnTo>
                    <a:pt x="42" y="0"/>
                  </a:lnTo>
                  <a:lnTo>
                    <a:pt x="1201" y="0"/>
                  </a:lnTo>
                  <a:lnTo>
                    <a:pt x="1201" y="0"/>
                  </a:lnTo>
                  <a:lnTo>
                    <a:pt x="1210" y="1"/>
                  </a:lnTo>
                  <a:lnTo>
                    <a:pt x="1219" y="3"/>
                  </a:lnTo>
                  <a:lnTo>
                    <a:pt x="1225" y="7"/>
                  </a:lnTo>
                  <a:lnTo>
                    <a:pt x="1232" y="12"/>
                  </a:lnTo>
                  <a:lnTo>
                    <a:pt x="1237" y="18"/>
                  </a:lnTo>
                  <a:lnTo>
                    <a:pt x="1242" y="26"/>
                  </a:lnTo>
                  <a:lnTo>
                    <a:pt x="1244" y="33"/>
                  </a:lnTo>
                  <a:lnTo>
                    <a:pt x="1245" y="42"/>
                  </a:lnTo>
                  <a:lnTo>
                    <a:pt x="1245" y="42"/>
                  </a:lnTo>
                  <a:close/>
                  <a:moveTo>
                    <a:pt x="917" y="835"/>
                  </a:moveTo>
                  <a:lnTo>
                    <a:pt x="917" y="835"/>
                  </a:lnTo>
                  <a:lnTo>
                    <a:pt x="917" y="831"/>
                  </a:lnTo>
                  <a:lnTo>
                    <a:pt x="916" y="828"/>
                  </a:lnTo>
                  <a:lnTo>
                    <a:pt x="914" y="825"/>
                  </a:lnTo>
                  <a:lnTo>
                    <a:pt x="912" y="822"/>
                  </a:lnTo>
                  <a:lnTo>
                    <a:pt x="910" y="820"/>
                  </a:lnTo>
                  <a:lnTo>
                    <a:pt x="907" y="818"/>
                  </a:lnTo>
                  <a:lnTo>
                    <a:pt x="903" y="817"/>
                  </a:lnTo>
                  <a:lnTo>
                    <a:pt x="900" y="816"/>
                  </a:lnTo>
                  <a:lnTo>
                    <a:pt x="900" y="816"/>
                  </a:lnTo>
                  <a:lnTo>
                    <a:pt x="896" y="817"/>
                  </a:lnTo>
                  <a:lnTo>
                    <a:pt x="892" y="818"/>
                  </a:lnTo>
                  <a:lnTo>
                    <a:pt x="889" y="820"/>
                  </a:lnTo>
                  <a:lnTo>
                    <a:pt x="887" y="822"/>
                  </a:lnTo>
                  <a:lnTo>
                    <a:pt x="885" y="825"/>
                  </a:lnTo>
                  <a:lnTo>
                    <a:pt x="883" y="828"/>
                  </a:lnTo>
                  <a:lnTo>
                    <a:pt x="882" y="831"/>
                  </a:lnTo>
                  <a:lnTo>
                    <a:pt x="882" y="835"/>
                  </a:lnTo>
                  <a:lnTo>
                    <a:pt x="882" y="835"/>
                  </a:lnTo>
                  <a:lnTo>
                    <a:pt x="882" y="838"/>
                  </a:lnTo>
                  <a:lnTo>
                    <a:pt x="883" y="841"/>
                  </a:lnTo>
                  <a:lnTo>
                    <a:pt x="885" y="844"/>
                  </a:lnTo>
                  <a:lnTo>
                    <a:pt x="887" y="848"/>
                  </a:lnTo>
                  <a:lnTo>
                    <a:pt x="889" y="850"/>
                  </a:lnTo>
                  <a:lnTo>
                    <a:pt x="892" y="851"/>
                  </a:lnTo>
                  <a:lnTo>
                    <a:pt x="896" y="852"/>
                  </a:lnTo>
                  <a:lnTo>
                    <a:pt x="900" y="853"/>
                  </a:lnTo>
                  <a:lnTo>
                    <a:pt x="900" y="853"/>
                  </a:lnTo>
                  <a:lnTo>
                    <a:pt x="903" y="852"/>
                  </a:lnTo>
                  <a:lnTo>
                    <a:pt x="907" y="851"/>
                  </a:lnTo>
                  <a:lnTo>
                    <a:pt x="910" y="850"/>
                  </a:lnTo>
                  <a:lnTo>
                    <a:pt x="912" y="848"/>
                  </a:lnTo>
                  <a:lnTo>
                    <a:pt x="914" y="844"/>
                  </a:lnTo>
                  <a:lnTo>
                    <a:pt x="916" y="841"/>
                  </a:lnTo>
                  <a:lnTo>
                    <a:pt x="917" y="838"/>
                  </a:lnTo>
                  <a:lnTo>
                    <a:pt x="917" y="835"/>
                  </a:lnTo>
                  <a:lnTo>
                    <a:pt x="917" y="835"/>
                  </a:lnTo>
                  <a:close/>
                  <a:moveTo>
                    <a:pt x="1000" y="835"/>
                  </a:moveTo>
                  <a:lnTo>
                    <a:pt x="1000" y="835"/>
                  </a:lnTo>
                  <a:lnTo>
                    <a:pt x="1000" y="831"/>
                  </a:lnTo>
                  <a:lnTo>
                    <a:pt x="999" y="828"/>
                  </a:lnTo>
                  <a:lnTo>
                    <a:pt x="998" y="825"/>
                  </a:lnTo>
                  <a:lnTo>
                    <a:pt x="995" y="822"/>
                  </a:lnTo>
                  <a:lnTo>
                    <a:pt x="992" y="820"/>
                  </a:lnTo>
                  <a:lnTo>
                    <a:pt x="989" y="818"/>
                  </a:lnTo>
                  <a:lnTo>
                    <a:pt x="986" y="817"/>
                  </a:lnTo>
                  <a:lnTo>
                    <a:pt x="982" y="816"/>
                  </a:lnTo>
                  <a:lnTo>
                    <a:pt x="982" y="816"/>
                  </a:lnTo>
                  <a:lnTo>
                    <a:pt x="979" y="817"/>
                  </a:lnTo>
                  <a:lnTo>
                    <a:pt x="975" y="818"/>
                  </a:lnTo>
                  <a:lnTo>
                    <a:pt x="973" y="820"/>
                  </a:lnTo>
                  <a:lnTo>
                    <a:pt x="969" y="822"/>
                  </a:lnTo>
                  <a:lnTo>
                    <a:pt x="967" y="825"/>
                  </a:lnTo>
                  <a:lnTo>
                    <a:pt x="966" y="828"/>
                  </a:lnTo>
                  <a:lnTo>
                    <a:pt x="965" y="831"/>
                  </a:lnTo>
                  <a:lnTo>
                    <a:pt x="964" y="835"/>
                  </a:lnTo>
                  <a:lnTo>
                    <a:pt x="964" y="835"/>
                  </a:lnTo>
                  <a:lnTo>
                    <a:pt x="965" y="838"/>
                  </a:lnTo>
                  <a:lnTo>
                    <a:pt x="966" y="841"/>
                  </a:lnTo>
                  <a:lnTo>
                    <a:pt x="967" y="844"/>
                  </a:lnTo>
                  <a:lnTo>
                    <a:pt x="969" y="848"/>
                  </a:lnTo>
                  <a:lnTo>
                    <a:pt x="973" y="850"/>
                  </a:lnTo>
                  <a:lnTo>
                    <a:pt x="975" y="851"/>
                  </a:lnTo>
                  <a:lnTo>
                    <a:pt x="979" y="852"/>
                  </a:lnTo>
                  <a:lnTo>
                    <a:pt x="982" y="853"/>
                  </a:lnTo>
                  <a:lnTo>
                    <a:pt x="982" y="853"/>
                  </a:lnTo>
                  <a:lnTo>
                    <a:pt x="986" y="852"/>
                  </a:lnTo>
                  <a:lnTo>
                    <a:pt x="989" y="851"/>
                  </a:lnTo>
                  <a:lnTo>
                    <a:pt x="992" y="850"/>
                  </a:lnTo>
                  <a:lnTo>
                    <a:pt x="995" y="848"/>
                  </a:lnTo>
                  <a:lnTo>
                    <a:pt x="998" y="844"/>
                  </a:lnTo>
                  <a:lnTo>
                    <a:pt x="999" y="841"/>
                  </a:lnTo>
                  <a:lnTo>
                    <a:pt x="1000" y="838"/>
                  </a:lnTo>
                  <a:lnTo>
                    <a:pt x="1000" y="835"/>
                  </a:lnTo>
                  <a:lnTo>
                    <a:pt x="1000" y="835"/>
                  </a:lnTo>
                  <a:close/>
                  <a:moveTo>
                    <a:pt x="1083" y="835"/>
                  </a:moveTo>
                  <a:lnTo>
                    <a:pt x="1083" y="835"/>
                  </a:lnTo>
                  <a:lnTo>
                    <a:pt x="1082" y="831"/>
                  </a:lnTo>
                  <a:lnTo>
                    <a:pt x="1081" y="828"/>
                  </a:lnTo>
                  <a:lnTo>
                    <a:pt x="1080" y="825"/>
                  </a:lnTo>
                  <a:lnTo>
                    <a:pt x="1078" y="822"/>
                  </a:lnTo>
                  <a:lnTo>
                    <a:pt x="1076" y="820"/>
                  </a:lnTo>
                  <a:lnTo>
                    <a:pt x="1072" y="818"/>
                  </a:lnTo>
                  <a:lnTo>
                    <a:pt x="1069" y="817"/>
                  </a:lnTo>
                  <a:lnTo>
                    <a:pt x="1065" y="816"/>
                  </a:lnTo>
                  <a:lnTo>
                    <a:pt x="1065" y="816"/>
                  </a:lnTo>
                  <a:lnTo>
                    <a:pt x="1062" y="817"/>
                  </a:lnTo>
                  <a:lnTo>
                    <a:pt x="1058" y="818"/>
                  </a:lnTo>
                  <a:lnTo>
                    <a:pt x="1055" y="820"/>
                  </a:lnTo>
                  <a:lnTo>
                    <a:pt x="1053" y="822"/>
                  </a:lnTo>
                  <a:lnTo>
                    <a:pt x="1051" y="825"/>
                  </a:lnTo>
                  <a:lnTo>
                    <a:pt x="1049" y="828"/>
                  </a:lnTo>
                  <a:lnTo>
                    <a:pt x="1048" y="831"/>
                  </a:lnTo>
                  <a:lnTo>
                    <a:pt x="1048" y="835"/>
                  </a:lnTo>
                  <a:lnTo>
                    <a:pt x="1048" y="835"/>
                  </a:lnTo>
                  <a:lnTo>
                    <a:pt x="1048" y="838"/>
                  </a:lnTo>
                  <a:lnTo>
                    <a:pt x="1049" y="841"/>
                  </a:lnTo>
                  <a:lnTo>
                    <a:pt x="1051" y="844"/>
                  </a:lnTo>
                  <a:lnTo>
                    <a:pt x="1053" y="848"/>
                  </a:lnTo>
                  <a:lnTo>
                    <a:pt x="1055" y="850"/>
                  </a:lnTo>
                  <a:lnTo>
                    <a:pt x="1058" y="851"/>
                  </a:lnTo>
                  <a:lnTo>
                    <a:pt x="1062" y="852"/>
                  </a:lnTo>
                  <a:lnTo>
                    <a:pt x="1065" y="853"/>
                  </a:lnTo>
                  <a:lnTo>
                    <a:pt x="1065" y="853"/>
                  </a:lnTo>
                  <a:lnTo>
                    <a:pt x="1069" y="852"/>
                  </a:lnTo>
                  <a:lnTo>
                    <a:pt x="1072" y="851"/>
                  </a:lnTo>
                  <a:lnTo>
                    <a:pt x="1076" y="850"/>
                  </a:lnTo>
                  <a:lnTo>
                    <a:pt x="1078" y="848"/>
                  </a:lnTo>
                  <a:lnTo>
                    <a:pt x="1080" y="844"/>
                  </a:lnTo>
                  <a:lnTo>
                    <a:pt x="1081" y="841"/>
                  </a:lnTo>
                  <a:lnTo>
                    <a:pt x="1082" y="838"/>
                  </a:lnTo>
                  <a:lnTo>
                    <a:pt x="1083" y="835"/>
                  </a:lnTo>
                  <a:lnTo>
                    <a:pt x="1083" y="835"/>
                  </a:lnTo>
                  <a:close/>
                  <a:moveTo>
                    <a:pt x="1134" y="102"/>
                  </a:moveTo>
                  <a:lnTo>
                    <a:pt x="1134" y="102"/>
                  </a:lnTo>
                  <a:lnTo>
                    <a:pt x="1134" y="101"/>
                  </a:lnTo>
                  <a:lnTo>
                    <a:pt x="1132" y="100"/>
                  </a:lnTo>
                  <a:lnTo>
                    <a:pt x="112" y="100"/>
                  </a:lnTo>
                  <a:lnTo>
                    <a:pt x="112" y="100"/>
                  </a:lnTo>
                  <a:lnTo>
                    <a:pt x="111" y="101"/>
                  </a:lnTo>
                  <a:lnTo>
                    <a:pt x="110" y="102"/>
                  </a:lnTo>
                  <a:lnTo>
                    <a:pt x="110" y="753"/>
                  </a:lnTo>
                  <a:lnTo>
                    <a:pt x="1134" y="753"/>
                  </a:lnTo>
                  <a:lnTo>
                    <a:pt x="1134" y="10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08" name="Group 1507">
            <a:extLst>
              <a:ext uri="{FF2B5EF4-FFF2-40B4-BE49-F238E27FC236}">
                <a16:creationId xmlns:a16="http://schemas.microsoft.com/office/drawing/2014/main" id="{B26B8EF1-5499-41A7-B1A5-CF3EAD2F8F0E}"/>
              </a:ext>
            </a:extLst>
          </p:cNvPr>
          <p:cNvGrpSpPr/>
          <p:nvPr/>
        </p:nvGrpSpPr>
        <p:grpSpPr>
          <a:xfrm>
            <a:off x="4661026" y="1626836"/>
            <a:ext cx="612775" cy="612775"/>
            <a:chOff x="3506397" y="2265179"/>
            <a:chExt cx="612775" cy="612775"/>
          </a:xfrm>
        </p:grpSpPr>
        <p:sp>
          <p:nvSpPr>
            <p:cNvPr id="1509" name="Oval 1508">
              <a:extLst>
                <a:ext uri="{FF2B5EF4-FFF2-40B4-BE49-F238E27FC236}">
                  <a16:creationId xmlns:a16="http://schemas.microsoft.com/office/drawing/2014/main" id="{77284AD1-9F17-4991-B64B-DFEBEF079CA1}"/>
                </a:ext>
              </a:extLst>
            </p:cNvPr>
            <p:cNvSpPr/>
            <p:nvPr/>
          </p:nvSpPr>
          <p:spPr bwMode="ltGray">
            <a:xfrm>
              <a:off x="350639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10" name="Freeform 346">
              <a:extLst>
                <a:ext uri="{FF2B5EF4-FFF2-40B4-BE49-F238E27FC236}">
                  <a16:creationId xmlns:a16="http://schemas.microsoft.com/office/drawing/2014/main" id="{4B6568C5-554F-4F36-86A3-77833E28917F}"/>
                </a:ext>
              </a:extLst>
            </p:cNvPr>
            <p:cNvSpPr>
              <a:spLocks noEditPoints="1"/>
            </p:cNvSpPr>
            <p:nvPr/>
          </p:nvSpPr>
          <p:spPr bwMode="auto">
            <a:xfrm>
              <a:off x="3621452" y="2404237"/>
              <a:ext cx="385763" cy="327025"/>
            </a:xfrm>
            <a:custGeom>
              <a:avLst/>
              <a:gdLst>
                <a:gd name="T0" fmla="*/ 801 w 1217"/>
                <a:gd name="T1" fmla="*/ 321 h 1032"/>
                <a:gd name="T2" fmla="*/ 715 w 1217"/>
                <a:gd name="T3" fmla="*/ 170 h 1032"/>
                <a:gd name="T4" fmla="*/ 743 w 1217"/>
                <a:gd name="T5" fmla="*/ 71 h 1032"/>
                <a:gd name="T6" fmla="*/ 832 w 1217"/>
                <a:gd name="T7" fmla="*/ 38 h 1032"/>
                <a:gd name="T8" fmla="*/ 935 w 1217"/>
                <a:gd name="T9" fmla="*/ 83 h 1032"/>
                <a:gd name="T10" fmla="*/ 1051 w 1217"/>
                <a:gd name="T11" fmla="*/ 128 h 1032"/>
                <a:gd name="T12" fmla="*/ 1177 w 1217"/>
                <a:gd name="T13" fmla="*/ 74 h 1032"/>
                <a:gd name="T14" fmla="*/ 1183 w 1217"/>
                <a:gd name="T15" fmla="*/ 35 h 1032"/>
                <a:gd name="T16" fmla="*/ 1115 w 1217"/>
                <a:gd name="T17" fmla="*/ 73 h 1032"/>
                <a:gd name="T18" fmla="*/ 1009 w 1217"/>
                <a:gd name="T19" fmla="*/ 83 h 1032"/>
                <a:gd name="T20" fmla="*/ 908 w 1217"/>
                <a:gd name="T21" fmla="*/ 21 h 1032"/>
                <a:gd name="T22" fmla="*/ 794 w 1217"/>
                <a:gd name="T23" fmla="*/ 3 h 1032"/>
                <a:gd name="T24" fmla="*/ 710 w 1217"/>
                <a:gd name="T25" fmla="*/ 52 h 1032"/>
                <a:gd name="T26" fmla="*/ 676 w 1217"/>
                <a:gd name="T27" fmla="*/ 137 h 1032"/>
                <a:gd name="T28" fmla="*/ 699 w 1217"/>
                <a:gd name="T29" fmla="*/ 230 h 1032"/>
                <a:gd name="T30" fmla="*/ 764 w 1217"/>
                <a:gd name="T31" fmla="*/ 332 h 1032"/>
                <a:gd name="T32" fmla="*/ 18 w 1217"/>
                <a:gd name="T33" fmla="*/ 403 h 1032"/>
                <a:gd name="T34" fmla="*/ 18 w 1217"/>
                <a:gd name="T35" fmla="*/ 1014 h 1032"/>
                <a:gd name="T36" fmla="*/ 1200 w 1217"/>
                <a:gd name="T37" fmla="*/ 1014 h 1032"/>
                <a:gd name="T38" fmla="*/ 1200 w 1217"/>
                <a:gd name="T39" fmla="*/ 403 h 1032"/>
                <a:gd name="T40" fmla="*/ 743 w 1217"/>
                <a:gd name="T41" fmla="*/ 759 h 1032"/>
                <a:gd name="T42" fmla="*/ 647 w 1217"/>
                <a:gd name="T43" fmla="*/ 668 h 1032"/>
                <a:gd name="T44" fmla="*/ 746 w 1217"/>
                <a:gd name="T45" fmla="*/ 668 h 1032"/>
                <a:gd name="T46" fmla="*/ 669 w 1217"/>
                <a:gd name="T47" fmla="*/ 491 h 1032"/>
                <a:gd name="T48" fmla="*/ 580 w 1217"/>
                <a:gd name="T49" fmla="*/ 589 h 1032"/>
                <a:gd name="T50" fmla="*/ 588 w 1217"/>
                <a:gd name="T51" fmla="*/ 757 h 1032"/>
                <a:gd name="T52" fmla="*/ 491 w 1217"/>
                <a:gd name="T53" fmla="*/ 668 h 1032"/>
                <a:gd name="T54" fmla="*/ 588 w 1217"/>
                <a:gd name="T55" fmla="*/ 666 h 1032"/>
                <a:gd name="T56" fmla="*/ 510 w 1217"/>
                <a:gd name="T57" fmla="*/ 491 h 1032"/>
                <a:gd name="T58" fmla="*/ 510 w 1217"/>
                <a:gd name="T59" fmla="*/ 589 h 1032"/>
                <a:gd name="T60" fmla="*/ 433 w 1217"/>
                <a:gd name="T61" fmla="*/ 755 h 1032"/>
                <a:gd name="T62" fmla="*/ 335 w 1217"/>
                <a:gd name="T63" fmla="*/ 755 h 1032"/>
                <a:gd name="T64" fmla="*/ 432 w 1217"/>
                <a:gd name="T65" fmla="*/ 664 h 1032"/>
                <a:gd name="T66" fmla="*/ 354 w 1217"/>
                <a:gd name="T67" fmla="*/ 491 h 1032"/>
                <a:gd name="T68" fmla="*/ 357 w 1217"/>
                <a:gd name="T69" fmla="*/ 589 h 1032"/>
                <a:gd name="T70" fmla="*/ 278 w 1217"/>
                <a:gd name="T71" fmla="*/ 755 h 1032"/>
                <a:gd name="T72" fmla="*/ 180 w 1217"/>
                <a:gd name="T73" fmla="*/ 757 h 1032"/>
                <a:gd name="T74" fmla="*/ 274 w 1217"/>
                <a:gd name="T75" fmla="*/ 663 h 1032"/>
                <a:gd name="T76" fmla="*/ 112 w 1217"/>
                <a:gd name="T77" fmla="*/ 491 h 1032"/>
                <a:gd name="T78" fmla="*/ 204 w 1217"/>
                <a:gd name="T79" fmla="*/ 588 h 1032"/>
                <a:gd name="T80" fmla="*/ 205 w 1217"/>
                <a:gd name="T81" fmla="*/ 926 h 1032"/>
                <a:gd name="T82" fmla="*/ 107 w 1217"/>
                <a:gd name="T83" fmla="*/ 928 h 1032"/>
                <a:gd name="T84" fmla="*/ 201 w 1217"/>
                <a:gd name="T85" fmla="*/ 834 h 1032"/>
                <a:gd name="T86" fmla="*/ 666 w 1217"/>
                <a:gd name="T87" fmla="*/ 932 h 1032"/>
                <a:gd name="T88" fmla="*/ 264 w 1217"/>
                <a:gd name="T89" fmla="*/ 835 h 1032"/>
                <a:gd name="T90" fmla="*/ 828 w 1217"/>
                <a:gd name="T91" fmla="*/ 926 h 1032"/>
                <a:gd name="T92" fmla="*/ 730 w 1217"/>
                <a:gd name="T93" fmla="*/ 928 h 1032"/>
                <a:gd name="T94" fmla="*/ 825 w 1217"/>
                <a:gd name="T95" fmla="*/ 834 h 1032"/>
                <a:gd name="T96" fmla="*/ 978 w 1217"/>
                <a:gd name="T97" fmla="*/ 932 h 1032"/>
                <a:gd name="T98" fmla="*/ 888 w 1217"/>
                <a:gd name="T99" fmla="*/ 835 h 1032"/>
                <a:gd name="T100" fmla="*/ 984 w 1217"/>
                <a:gd name="T101" fmla="*/ 755 h 1032"/>
                <a:gd name="T102" fmla="*/ 885 w 1217"/>
                <a:gd name="T103" fmla="*/ 757 h 1032"/>
                <a:gd name="T104" fmla="*/ 980 w 1217"/>
                <a:gd name="T105" fmla="*/ 663 h 1032"/>
                <a:gd name="T106" fmla="*/ 978 w 1217"/>
                <a:gd name="T107" fmla="*/ 589 h 1032"/>
                <a:gd name="T108" fmla="*/ 888 w 1217"/>
                <a:gd name="T109" fmla="*/ 492 h 1032"/>
                <a:gd name="T110" fmla="*/ 1140 w 1217"/>
                <a:gd name="T111" fmla="*/ 926 h 1032"/>
                <a:gd name="T112" fmla="*/ 1042 w 1217"/>
                <a:gd name="T113" fmla="*/ 928 h 1032"/>
                <a:gd name="T114" fmla="*/ 1136 w 1217"/>
                <a:gd name="T115" fmla="*/ 834 h 1032"/>
                <a:gd name="T116" fmla="*/ 1134 w 1217"/>
                <a:gd name="T117" fmla="*/ 760 h 1032"/>
                <a:gd name="T118" fmla="*/ 1043 w 1217"/>
                <a:gd name="T119" fmla="*/ 664 h 1032"/>
                <a:gd name="T120" fmla="*/ 1140 w 1217"/>
                <a:gd name="T121" fmla="*/ 583 h 1032"/>
                <a:gd name="T122" fmla="*/ 1042 w 1217"/>
                <a:gd name="T123" fmla="*/ 586 h 1032"/>
                <a:gd name="T124" fmla="*/ 1136 w 1217"/>
                <a:gd name="T125" fmla="*/ 491 h 1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17" h="1032">
                  <a:moveTo>
                    <a:pt x="1155" y="385"/>
                  </a:moveTo>
                  <a:lnTo>
                    <a:pt x="844" y="385"/>
                  </a:lnTo>
                  <a:lnTo>
                    <a:pt x="812" y="385"/>
                  </a:lnTo>
                  <a:lnTo>
                    <a:pt x="810" y="385"/>
                  </a:lnTo>
                  <a:lnTo>
                    <a:pt x="810" y="385"/>
                  </a:lnTo>
                  <a:lnTo>
                    <a:pt x="810" y="369"/>
                  </a:lnTo>
                  <a:lnTo>
                    <a:pt x="809" y="353"/>
                  </a:lnTo>
                  <a:lnTo>
                    <a:pt x="805" y="336"/>
                  </a:lnTo>
                  <a:lnTo>
                    <a:pt x="801" y="321"/>
                  </a:lnTo>
                  <a:lnTo>
                    <a:pt x="801" y="321"/>
                  </a:lnTo>
                  <a:lnTo>
                    <a:pt x="792" y="303"/>
                  </a:lnTo>
                  <a:lnTo>
                    <a:pt x="782" y="285"/>
                  </a:lnTo>
                  <a:lnTo>
                    <a:pt x="773" y="270"/>
                  </a:lnTo>
                  <a:lnTo>
                    <a:pt x="762" y="255"/>
                  </a:lnTo>
                  <a:lnTo>
                    <a:pt x="762" y="255"/>
                  </a:lnTo>
                  <a:lnTo>
                    <a:pt x="742" y="228"/>
                  </a:lnTo>
                  <a:lnTo>
                    <a:pt x="733" y="214"/>
                  </a:lnTo>
                  <a:lnTo>
                    <a:pt x="725" y="200"/>
                  </a:lnTo>
                  <a:lnTo>
                    <a:pt x="720" y="186"/>
                  </a:lnTo>
                  <a:lnTo>
                    <a:pt x="715" y="170"/>
                  </a:lnTo>
                  <a:lnTo>
                    <a:pt x="713" y="155"/>
                  </a:lnTo>
                  <a:lnTo>
                    <a:pt x="713" y="148"/>
                  </a:lnTo>
                  <a:lnTo>
                    <a:pt x="713" y="140"/>
                  </a:lnTo>
                  <a:lnTo>
                    <a:pt x="713" y="140"/>
                  </a:lnTo>
                  <a:lnTo>
                    <a:pt x="713" y="140"/>
                  </a:lnTo>
                  <a:lnTo>
                    <a:pt x="715" y="124"/>
                  </a:lnTo>
                  <a:lnTo>
                    <a:pt x="720" y="110"/>
                  </a:lnTo>
                  <a:lnTo>
                    <a:pt x="726" y="96"/>
                  </a:lnTo>
                  <a:lnTo>
                    <a:pt x="734" y="83"/>
                  </a:lnTo>
                  <a:lnTo>
                    <a:pt x="743" y="71"/>
                  </a:lnTo>
                  <a:lnTo>
                    <a:pt x="754" y="61"/>
                  </a:lnTo>
                  <a:lnTo>
                    <a:pt x="767" y="52"/>
                  </a:lnTo>
                  <a:lnTo>
                    <a:pt x="780" y="46"/>
                  </a:lnTo>
                  <a:lnTo>
                    <a:pt x="780" y="46"/>
                  </a:lnTo>
                  <a:lnTo>
                    <a:pt x="791" y="42"/>
                  </a:lnTo>
                  <a:lnTo>
                    <a:pt x="801" y="39"/>
                  </a:lnTo>
                  <a:lnTo>
                    <a:pt x="812" y="38"/>
                  </a:lnTo>
                  <a:lnTo>
                    <a:pt x="824" y="37"/>
                  </a:lnTo>
                  <a:lnTo>
                    <a:pt x="824" y="37"/>
                  </a:lnTo>
                  <a:lnTo>
                    <a:pt x="832" y="38"/>
                  </a:lnTo>
                  <a:lnTo>
                    <a:pt x="842" y="39"/>
                  </a:lnTo>
                  <a:lnTo>
                    <a:pt x="853" y="40"/>
                  </a:lnTo>
                  <a:lnTo>
                    <a:pt x="863" y="44"/>
                  </a:lnTo>
                  <a:lnTo>
                    <a:pt x="882" y="50"/>
                  </a:lnTo>
                  <a:lnTo>
                    <a:pt x="902" y="60"/>
                  </a:lnTo>
                  <a:lnTo>
                    <a:pt x="902" y="60"/>
                  </a:lnTo>
                  <a:lnTo>
                    <a:pt x="902" y="60"/>
                  </a:lnTo>
                  <a:lnTo>
                    <a:pt x="910" y="65"/>
                  </a:lnTo>
                  <a:lnTo>
                    <a:pt x="919" y="71"/>
                  </a:lnTo>
                  <a:lnTo>
                    <a:pt x="935" y="83"/>
                  </a:lnTo>
                  <a:lnTo>
                    <a:pt x="935" y="83"/>
                  </a:lnTo>
                  <a:lnTo>
                    <a:pt x="959" y="99"/>
                  </a:lnTo>
                  <a:lnTo>
                    <a:pt x="959" y="99"/>
                  </a:lnTo>
                  <a:lnTo>
                    <a:pt x="978" y="110"/>
                  </a:lnTo>
                  <a:lnTo>
                    <a:pt x="996" y="117"/>
                  </a:lnTo>
                  <a:lnTo>
                    <a:pt x="1015" y="124"/>
                  </a:lnTo>
                  <a:lnTo>
                    <a:pt x="1033" y="127"/>
                  </a:lnTo>
                  <a:lnTo>
                    <a:pt x="1033" y="127"/>
                  </a:lnTo>
                  <a:lnTo>
                    <a:pt x="1043" y="128"/>
                  </a:lnTo>
                  <a:lnTo>
                    <a:pt x="1051" y="128"/>
                  </a:lnTo>
                  <a:lnTo>
                    <a:pt x="1051" y="128"/>
                  </a:lnTo>
                  <a:lnTo>
                    <a:pt x="1068" y="127"/>
                  </a:lnTo>
                  <a:lnTo>
                    <a:pt x="1084" y="125"/>
                  </a:lnTo>
                  <a:lnTo>
                    <a:pt x="1100" y="121"/>
                  </a:lnTo>
                  <a:lnTo>
                    <a:pt x="1116" y="114"/>
                  </a:lnTo>
                  <a:lnTo>
                    <a:pt x="1132" y="106"/>
                  </a:lnTo>
                  <a:lnTo>
                    <a:pt x="1148" y="98"/>
                  </a:lnTo>
                  <a:lnTo>
                    <a:pt x="1163" y="87"/>
                  </a:lnTo>
                  <a:lnTo>
                    <a:pt x="1177" y="74"/>
                  </a:lnTo>
                  <a:lnTo>
                    <a:pt x="1177" y="74"/>
                  </a:lnTo>
                  <a:lnTo>
                    <a:pt x="1183" y="68"/>
                  </a:lnTo>
                  <a:lnTo>
                    <a:pt x="1187" y="63"/>
                  </a:lnTo>
                  <a:lnTo>
                    <a:pt x="1190" y="58"/>
                  </a:lnTo>
                  <a:lnTo>
                    <a:pt x="1192" y="53"/>
                  </a:lnTo>
                  <a:lnTo>
                    <a:pt x="1192" y="49"/>
                  </a:lnTo>
                  <a:lnTo>
                    <a:pt x="1192" y="45"/>
                  </a:lnTo>
                  <a:lnTo>
                    <a:pt x="1191" y="41"/>
                  </a:lnTo>
                  <a:lnTo>
                    <a:pt x="1189" y="39"/>
                  </a:lnTo>
                  <a:lnTo>
                    <a:pt x="1186" y="37"/>
                  </a:lnTo>
                  <a:lnTo>
                    <a:pt x="1183" y="35"/>
                  </a:lnTo>
                  <a:lnTo>
                    <a:pt x="1178" y="35"/>
                  </a:lnTo>
                  <a:lnTo>
                    <a:pt x="1174" y="35"/>
                  </a:lnTo>
                  <a:lnTo>
                    <a:pt x="1168" y="36"/>
                  </a:lnTo>
                  <a:lnTo>
                    <a:pt x="1164" y="38"/>
                  </a:lnTo>
                  <a:lnTo>
                    <a:pt x="1158" y="41"/>
                  </a:lnTo>
                  <a:lnTo>
                    <a:pt x="1152" y="47"/>
                  </a:lnTo>
                  <a:lnTo>
                    <a:pt x="1152" y="47"/>
                  </a:lnTo>
                  <a:lnTo>
                    <a:pt x="1140" y="57"/>
                  </a:lnTo>
                  <a:lnTo>
                    <a:pt x="1128" y="65"/>
                  </a:lnTo>
                  <a:lnTo>
                    <a:pt x="1115" y="73"/>
                  </a:lnTo>
                  <a:lnTo>
                    <a:pt x="1102" y="79"/>
                  </a:lnTo>
                  <a:lnTo>
                    <a:pt x="1089" y="85"/>
                  </a:lnTo>
                  <a:lnTo>
                    <a:pt x="1077" y="88"/>
                  </a:lnTo>
                  <a:lnTo>
                    <a:pt x="1064" y="90"/>
                  </a:lnTo>
                  <a:lnTo>
                    <a:pt x="1051" y="91"/>
                  </a:lnTo>
                  <a:lnTo>
                    <a:pt x="1051" y="91"/>
                  </a:lnTo>
                  <a:lnTo>
                    <a:pt x="1037" y="90"/>
                  </a:lnTo>
                  <a:lnTo>
                    <a:pt x="1037" y="90"/>
                  </a:lnTo>
                  <a:lnTo>
                    <a:pt x="1023" y="87"/>
                  </a:lnTo>
                  <a:lnTo>
                    <a:pt x="1009" y="83"/>
                  </a:lnTo>
                  <a:lnTo>
                    <a:pt x="994" y="76"/>
                  </a:lnTo>
                  <a:lnTo>
                    <a:pt x="980" y="68"/>
                  </a:lnTo>
                  <a:lnTo>
                    <a:pt x="980" y="68"/>
                  </a:lnTo>
                  <a:lnTo>
                    <a:pt x="959" y="53"/>
                  </a:lnTo>
                  <a:lnTo>
                    <a:pt x="959" y="53"/>
                  </a:lnTo>
                  <a:lnTo>
                    <a:pt x="940" y="39"/>
                  </a:lnTo>
                  <a:lnTo>
                    <a:pt x="930" y="33"/>
                  </a:lnTo>
                  <a:lnTo>
                    <a:pt x="919" y="27"/>
                  </a:lnTo>
                  <a:lnTo>
                    <a:pt x="919" y="27"/>
                  </a:lnTo>
                  <a:lnTo>
                    <a:pt x="908" y="21"/>
                  </a:lnTo>
                  <a:lnTo>
                    <a:pt x="896" y="15"/>
                  </a:lnTo>
                  <a:lnTo>
                    <a:pt x="884" y="11"/>
                  </a:lnTo>
                  <a:lnTo>
                    <a:pt x="871" y="8"/>
                  </a:lnTo>
                  <a:lnTo>
                    <a:pt x="859" y="4"/>
                  </a:lnTo>
                  <a:lnTo>
                    <a:pt x="848" y="2"/>
                  </a:lnTo>
                  <a:lnTo>
                    <a:pt x="836" y="1"/>
                  </a:lnTo>
                  <a:lnTo>
                    <a:pt x="824" y="0"/>
                  </a:lnTo>
                  <a:lnTo>
                    <a:pt x="824" y="0"/>
                  </a:lnTo>
                  <a:lnTo>
                    <a:pt x="809" y="1"/>
                  </a:lnTo>
                  <a:lnTo>
                    <a:pt x="794" y="3"/>
                  </a:lnTo>
                  <a:lnTo>
                    <a:pt x="780" y="7"/>
                  </a:lnTo>
                  <a:lnTo>
                    <a:pt x="767" y="11"/>
                  </a:lnTo>
                  <a:lnTo>
                    <a:pt x="767" y="11"/>
                  </a:lnTo>
                  <a:lnTo>
                    <a:pt x="758" y="15"/>
                  </a:lnTo>
                  <a:lnTo>
                    <a:pt x="749" y="20"/>
                  </a:lnTo>
                  <a:lnTo>
                    <a:pt x="740" y="25"/>
                  </a:lnTo>
                  <a:lnTo>
                    <a:pt x="732" y="32"/>
                  </a:lnTo>
                  <a:lnTo>
                    <a:pt x="724" y="38"/>
                  </a:lnTo>
                  <a:lnTo>
                    <a:pt x="717" y="45"/>
                  </a:lnTo>
                  <a:lnTo>
                    <a:pt x="710" y="52"/>
                  </a:lnTo>
                  <a:lnTo>
                    <a:pt x="704" y="61"/>
                  </a:lnTo>
                  <a:lnTo>
                    <a:pt x="698" y="68"/>
                  </a:lnTo>
                  <a:lnTo>
                    <a:pt x="694" y="78"/>
                  </a:lnTo>
                  <a:lnTo>
                    <a:pt x="688" y="87"/>
                  </a:lnTo>
                  <a:lnTo>
                    <a:pt x="685" y="97"/>
                  </a:lnTo>
                  <a:lnTo>
                    <a:pt x="682" y="106"/>
                  </a:lnTo>
                  <a:lnTo>
                    <a:pt x="679" y="116"/>
                  </a:lnTo>
                  <a:lnTo>
                    <a:pt x="677" y="126"/>
                  </a:lnTo>
                  <a:lnTo>
                    <a:pt x="676" y="137"/>
                  </a:lnTo>
                  <a:lnTo>
                    <a:pt x="676" y="137"/>
                  </a:lnTo>
                  <a:lnTo>
                    <a:pt x="675" y="147"/>
                  </a:lnTo>
                  <a:lnTo>
                    <a:pt x="676" y="156"/>
                  </a:lnTo>
                  <a:lnTo>
                    <a:pt x="676" y="167"/>
                  </a:lnTo>
                  <a:lnTo>
                    <a:pt x="678" y="177"/>
                  </a:lnTo>
                  <a:lnTo>
                    <a:pt x="681" y="187"/>
                  </a:lnTo>
                  <a:lnTo>
                    <a:pt x="684" y="196"/>
                  </a:lnTo>
                  <a:lnTo>
                    <a:pt x="687" y="206"/>
                  </a:lnTo>
                  <a:lnTo>
                    <a:pt x="691" y="216"/>
                  </a:lnTo>
                  <a:lnTo>
                    <a:pt x="691" y="216"/>
                  </a:lnTo>
                  <a:lnTo>
                    <a:pt x="699" y="230"/>
                  </a:lnTo>
                  <a:lnTo>
                    <a:pt x="708" y="243"/>
                  </a:lnTo>
                  <a:lnTo>
                    <a:pt x="726" y="269"/>
                  </a:lnTo>
                  <a:lnTo>
                    <a:pt x="726" y="269"/>
                  </a:lnTo>
                  <a:lnTo>
                    <a:pt x="733" y="278"/>
                  </a:lnTo>
                  <a:lnTo>
                    <a:pt x="733" y="278"/>
                  </a:lnTo>
                  <a:lnTo>
                    <a:pt x="733" y="278"/>
                  </a:lnTo>
                  <a:lnTo>
                    <a:pt x="742" y="292"/>
                  </a:lnTo>
                  <a:lnTo>
                    <a:pt x="751" y="305"/>
                  </a:lnTo>
                  <a:lnTo>
                    <a:pt x="759" y="319"/>
                  </a:lnTo>
                  <a:lnTo>
                    <a:pt x="764" y="332"/>
                  </a:lnTo>
                  <a:lnTo>
                    <a:pt x="768" y="346"/>
                  </a:lnTo>
                  <a:lnTo>
                    <a:pt x="772" y="359"/>
                  </a:lnTo>
                  <a:lnTo>
                    <a:pt x="773" y="372"/>
                  </a:lnTo>
                  <a:lnTo>
                    <a:pt x="773" y="385"/>
                  </a:lnTo>
                  <a:lnTo>
                    <a:pt x="63" y="385"/>
                  </a:lnTo>
                  <a:lnTo>
                    <a:pt x="63" y="385"/>
                  </a:lnTo>
                  <a:lnTo>
                    <a:pt x="50" y="386"/>
                  </a:lnTo>
                  <a:lnTo>
                    <a:pt x="38" y="390"/>
                  </a:lnTo>
                  <a:lnTo>
                    <a:pt x="27" y="396"/>
                  </a:lnTo>
                  <a:lnTo>
                    <a:pt x="18" y="403"/>
                  </a:lnTo>
                  <a:lnTo>
                    <a:pt x="11" y="413"/>
                  </a:lnTo>
                  <a:lnTo>
                    <a:pt x="5" y="423"/>
                  </a:lnTo>
                  <a:lnTo>
                    <a:pt x="1" y="435"/>
                  </a:lnTo>
                  <a:lnTo>
                    <a:pt x="0" y="448"/>
                  </a:lnTo>
                  <a:lnTo>
                    <a:pt x="0" y="969"/>
                  </a:lnTo>
                  <a:lnTo>
                    <a:pt x="0" y="969"/>
                  </a:lnTo>
                  <a:lnTo>
                    <a:pt x="1" y="982"/>
                  </a:lnTo>
                  <a:lnTo>
                    <a:pt x="5" y="994"/>
                  </a:lnTo>
                  <a:lnTo>
                    <a:pt x="11" y="1004"/>
                  </a:lnTo>
                  <a:lnTo>
                    <a:pt x="18" y="1014"/>
                  </a:lnTo>
                  <a:lnTo>
                    <a:pt x="27" y="1021"/>
                  </a:lnTo>
                  <a:lnTo>
                    <a:pt x="38" y="1027"/>
                  </a:lnTo>
                  <a:lnTo>
                    <a:pt x="50" y="1031"/>
                  </a:lnTo>
                  <a:lnTo>
                    <a:pt x="63" y="1032"/>
                  </a:lnTo>
                  <a:lnTo>
                    <a:pt x="1155" y="1032"/>
                  </a:lnTo>
                  <a:lnTo>
                    <a:pt x="1155" y="1032"/>
                  </a:lnTo>
                  <a:lnTo>
                    <a:pt x="1168" y="1031"/>
                  </a:lnTo>
                  <a:lnTo>
                    <a:pt x="1179" y="1027"/>
                  </a:lnTo>
                  <a:lnTo>
                    <a:pt x="1190" y="1021"/>
                  </a:lnTo>
                  <a:lnTo>
                    <a:pt x="1200" y="1014"/>
                  </a:lnTo>
                  <a:lnTo>
                    <a:pt x="1208" y="1004"/>
                  </a:lnTo>
                  <a:lnTo>
                    <a:pt x="1213" y="994"/>
                  </a:lnTo>
                  <a:lnTo>
                    <a:pt x="1216" y="982"/>
                  </a:lnTo>
                  <a:lnTo>
                    <a:pt x="1217" y="969"/>
                  </a:lnTo>
                  <a:lnTo>
                    <a:pt x="1217" y="448"/>
                  </a:lnTo>
                  <a:lnTo>
                    <a:pt x="1217" y="448"/>
                  </a:lnTo>
                  <a:lnTo>
                    <a:pt x="1216" y="435"/>
                  </a:lnTo>
                  <a:lnTo>
                    <a:pt x="1213" y="423"/>
                  </a:lnTo>
                  <a:lnTo>
                    <a:pt x="1208" y="413"/>
                  </a:lnTo>
                  <a:lnTo>
                    <a:pt x="1200" y="403"/>
                  </a:lnTo>
                  <a:lnTo>
                    <a:pt x="1190" y="396"/>
                  </a:lnTo>
                  <a:lnTo>
                    <a:pt x="1179" y="390"/>
                  </a:lnTo>
                  <a:lnTo>
                    <a:pt x="1168" y="386"/>
                  </a:lnTo>
                  <a:lnTo>
                    <a:pt x="1155" y="385"/>
                  </a:lnTo>
                  <a:lnTo>
                    <a:pt x="1155" y="385"/>
                  </a:lnTo>
                  <a:close/>
                  <a:moveTo>
                    <a:pt x="746" y="668"/>
                  </a:moveTo>
                  <a:lnTo>
                    <a:pt x="746" y="755"/>
                  </a:lnTo>
                  <a:lnTo>
                    <a:pt x="746" y="755"/>
                  </a:lnTo>
                  <a:lnTo>
                    <a:pt x="745" y="757"/>
                  </a:lnTo>
                  <a:lnTo>
                    <a:pt x="743" y="759"/>
                  </a:lnTo>
                  <a:lnTo>
                    <a:pt x="741" y="760"/>
                  </a:lnTo>
                  <a:lnTo>
                    <a:pt x="739" y="760"/>
                  </a:lnTo>
                  <a:lnTo>
                    <a:pt x="653" y="760"/>
                  </a:lnTo>
                  <a:lnTo>
                    <a:pt x="653" y="760"/>
                  </a:lnTo>
                  <a:lnTo>
                    <a:pt x="650" y="760"/>
                  </a:lnTo>
                  <a:lnTo>
                    <a:pt x="648" y="759"/>
                  </a:lnTo>
                  <a:lnTo>
                    <a:pt x="647" y="757"/>
                  </a:lnTo>
                  <a:lnTo>
                    <a:pt x="647" y="755"/>
                  </a:lnTo>
                  <a:lnTo>
                    <a:pt x="647" y="668"/>
                  </a:lnTo>
                  <a:lnTo>
                    <a:pt x="647" y="668"/>
                  </a:lnTo>
                  <a:lnTo>
                    <a:pt x="647" y="666"/>
                  </a:lnTo>
                  <a:lnTo>
                    <a:pt x="648" y="664"/>
                  </a:lnTo>
                  <a:lnTo>
                    <a:pt x="650" y="663"/>
                  </a:lnTo>
                  <a:lnTo>
                    <a:pt x="653" y="662"/>
                  </a:lnTo>
                  <a:lnTo>
                    <a:pt x="739" y="662"/>
                  </a:lnTo>
                  <a:lnTo>
                    <a:pt x="739" y="662"/>
                  </a:lnTo>
                  <a:lnTo>
                    <a:pt x="741" y="663"/>
                  </a:lnTo>
                  <a:lnTo>
                    <a:pt x="743" y="664"/>
                  </a:lnTo>
                  <a:lnTo>
                    <a:pt x="745" y="666"/>
                  </a:lnTo>
                  <a:lnTo>
                    <a:pt x="746" y="668"/>
                  </a:lnTo>
                  <a:lnTo>
                    <a:pt x="746" y="668"/>
                  </a:lnTo>
                  <a:close/>
                  <a:moveTo>
                    <a:pt x="574" y="497"/>
                  </a:moveTo>
                  <a:lnTo>
                    <a:pt x="574" y="497"/>
                  </a:lnTo>
                  <a:lnTo>
                    <a:pt x="574" y="495"/>
                  </a:lnTo>
                  <a:lnTo>
                    <a:pt x="575" y="492"/>
                  </a:lnTo>
                  <a:lnTo>
                    <a:pt x="578" y="491"/>
                  </a:lnTo>
                  <a:lnTo>
                    <a:pt x="580" y="491"/>
                  </a:lnTo>
                  <a:lnTo>
                    <a:pt x="666" y="491"/>
                  </a:lnTo>
                  <a:lnTo>
                    <a:pt x="666" y="491"/>
                  </a:lnTo>
                  <a:lnTo>
                    <a:pt x="669" y="491"/>
                  </a:lnTo>
                  <a:lnTo>
                    <a:pt x="671" y="492"/>
                  </a:lnTo>
                  <a:lnTo>
                    <a:pt x="672" y="495"/>
                  </a:lnTo>
                  <a:lnTo>
                    <a:pt x="672" y="497"/>
                  </a:lnTo>
                  <a:lnTo>
                    <a:pt x="672" y="583"/>
                  </a:lnTo>
                  <a:lnTo>
                    <a:pt x="672" y="583"/>
                  </a:lnTo>
                  <a:lnTo>
                    <a:pt x="672" y="586"/>
                  </a:lnTo>
                  <a:lnTo>
                    <a:pt x="671" y="588"/>
                  </a:lnTo>
                  <a:lnTo>
                    <a:pt x="669" y="589"/>
                  </a:lnTo>
                  <a:lnTo>
                    <a:pt x="666" y="589"/>
                  </a:lnTo>
                  <a:lnTo>
                    <a:pt x="580" y="589"/>
                  </a:lnTo>
                  <a:lnTo>
                    <a:pt x="580" y="589"/>
                  </a:lnTo>
                  <a:lnTo>
                    <a:pt x="578" y="589"/>
                  </a:lnTo>
                  <a:lnTo>
                    <a:pt x="575" y="588"/>
                  </a:lnTo>
                  <a:lnTo>
                    <a:pt x="574" y="586"/>
                  </a:lnTo>
                  <a:lnTo>
                    <a:pt x="574" y="583"/>
                  </a:lnTo>
                  <a:lnTo>
                    <a:pt x="574" y="497"/>
                  </a:lnTo>
                  <a:close/>
                  <a:moveTo>
                    <a:pt x="589" y="668"/>
                  </a:moveTo>
                  <a:lnTo>
                    <a:pt x="589" y="755"/>
                  </a:lnTo>
                  <a:lnTo>
                    <a:pt x="589" y="755"/>
                  </a:lnTo>
                  <a:lnTo>
                    <a:pt x="588" y="757"/>
                  </a:lnTo>
                  <a:lnTo>
                    <a:pt x="587" y="759"/>
                  </a:lnTo>
                  <a:lnTo>
                    <a:pt x="585" y="760"/>
                  </a:lnTo>
                  <a:lnTo>
                    <a:pt x="583" y="760"/>
                  </a:lnTo>
                  <a:lnTo>
                    <a:pt x="497" y="760"/>
                  </a:lnTo>
                  <a:lnTo>
                    <a:pt x="497" y="760"/>
                  </a:lnTo>
                  <a:lnTo>
                    <a:pt x="495" y="760"/>
                  </a:lnTo>
                  <a:lnTo>
                    <a:pt x="493" y="759"/>
                  </a:lnTo>
                  <a:lnTo>
                    <a:pt x="492" y="757"/>
                  </a:lnTo>
                  <a:lnTo>
                    <a:pt x="491" y="755"/>
                  </a:lnTo>
                  <a:lnTo>
                    <a:pt x="491" y="668"/>
                  </a:lnTo>
                  <a:lnTo>
                    <a:pt x="491" y="668"/>
                  </a:lnTo>
                  <a:lnTo>
                    <a:pt x="492" y="666"/>
                  </a:lnTo>
                  <a:lnTo>
                    <a:pt x="493" y="664"/>
                  </a:lnTo>
                  <a:lnTo>
                    <a:pt x="495" y="663"/>
                  </a:lnTo>
                  <a:lnTo>
                    <a:pt x="497" y="662"/>
                  </a:lnTo>
                  <a:lnTo>
                    <a:pt x="583" y="662"/>
                  </a:lnTo>
                  <a:lnTo>
                    <a:pt x="583" y="662"/>
                  </a:lnTo>
                  <a:lnTo>
                    <a:pt x="585" y="663"/>
                  </a:lnTo>
                  <a:lnTo>
                    <a:pt x="587" y="664"/>
                  </a:lnTo>
                  <a:lnTo>
                    <a:pt x="588" y="666"/>
                  </a:lnTo>
                  <a:lnTo>
                    <a:pt x="589" y="668"/>
                  </a:lnTo>
                  <a:lnTo>
                    <a:pt x="589" y="668"/>
                  </a:lnTo>
                  <a:close/>
                  <a:moveTo>
                    <a:pt x="418" y="497"/>
                  </a:moveTo>
                  <a:lnTo>
                    <a:pt x="418" y="497"/>
                  </a:lnTo>
                  <a:lnTo>
                    <a:pt x="419" y="495"/>
                  </a:lnTo>
                  <a:lnTo>
                    <a:pt x="420" y="492"/>
                  </a:lnTo>
                  <a:lnTo>
                    <a:pt x="423" y="491"/>
                  </a:lnTo>
                  <a:lnTo>
                    <a:pt x="425" y="491"/>
                  </a:lnTo>
                  <a:lnTo>
                    <a:pt x="510" y="491"/>
                  </a:lnTo>
                  <a:lnTo>
                    <a:pt x="510" y="491"/>
                  </a:lnTo>
                  <a:lnTo>
                    <a:pt x="513" y="491"/>
                  </a:lnTo>
                  <a:lnTo>
                    <a:pt x="515" y="492"/>
                  </a:lnTo>
                  <a:lnTo>
                    <a:pt x="516" y="495"/>
                  </a:lnTo>
                  <a:lnTo>
                    <a:pt x="517" y="497"/>
                  </a:lnTo>
                  <a:lnTo>
                    <a:pt x="517" y="583"/>
                  </a:lnTo>
                  <a:lnTo>
                    <a:pt x="517" y="583"/>
                  </a:lnTo>
                  <a:lnTo>
                    <a:pt x="516" y="586"/>
                  </a:lnTo>
                  <a:lnTo>
                    <a:pt x="515" y="588"/>
                  </a:lnTo>
                  <a:lnTo>
                    <a:pt x="513" y="589"/>
                  </a:lnTo>
                  <a:lnTo>
                    <a:pt x="510" y="589"/>
                  </a:lnTo>
                  <a:lnTo>
                    <a:pt x="425" y="589"/>
                  </a:lnTo>
                  <a:lnTo>
                    <a:pt x="425" y="589"/>
                  </a:lnTo>
                  <a:lnTo>
                    <a:pt x="423" y="589"/>
                  </a:lnTo>
                  <a:lnTo>
                    <a:pt x="420" y="588"/>
                  </a:lnTo>
                  <a:lnTo>
                    <a:pt x="419" y="586"/>
                  </a:lnTo>
                  <a:lnTo>
                    <a:pt x="418" y="583"/>
                  </a:lnTo>
                  <a:lnTo>
                    <a:pt x="418" y="497"/>
                  </a:lnTo>
                  <a:close/>
                  <a:moveTo>
                    <a:pt x="433" y="668"/>
                  </a:moveTo>
                  <a:lnTo>
                    <a:pt x="433" y="755"/>
                  </a:lnTo>
                  <a:lnTo>
                    <a:pt x="433" y="755"/>
                  </a:lnTo>
                  <a:lnTo>
                    <a:pt x="433" y="757"/>
                  </a:lnTo>
                  <a:lnTo>
                    <a:pt x="432" y="759"/>
                  </a:lnTo>
                  <a:lnTo>
                    <a:pt x="430" y="760"/>
                  </a:lnTo>
                  <a:lnTo>
                    <a:pt x="428" y="760"/>
                  </a:lnTo>
                  <a:lnTo>
                    <a:pt x="341" y="760"/>
                  </a:lnTo>
                  <a:lnTo>
                    <a:pt x="341" y="760"/>
                  </a:lnTo>
                  <a:lnTo>
                    <a:pt x="339" y="760"/>
                  </a:lnTo>
                  <a:lnTo>
                    <a:pt x="337" y="759"/>
                  </a:lnTo>
                  <a:lnTo>
                    <a:pt x="336" y="757"/>
                  </a:lnTo>
                  <a:lnTo>
                    <a:pt x="335" y="755"/>
                  </a:lnTo>
                  <a:lnTo>
                    <a:pt x="335" y="668"/>
                  </a:lnTo>
                  <a:lnTo>
                    <a:pt x="335" y="668"/>
                  </a:lnTo>
                  <a:lnTo>
                    <a:pt x="336" y="666"/>
                  </a:lnTo>
                  <a:lnTo>
                    <a:pt x="337" y="664"/>
                  </a:lnTo>
                  <a:lnTo>
                    <a:pt x="339" y="663"/>
                  </a:lnTo>
                  <a:lnTo>
                    <a:pt x="341" y="662"/>
                  </a:lnTo>
                  <a:lnTo>
                    <a:pt x="428" y="662"/>
                  </a:lnTo>
                  <a:lnTo>
                    <a:pt x="428" y="662"/>
                  </a:lnTo>
                  <a:lnTo>
                    <a:pt x="430" y="663"/>
                  </a:lnTo>
                  <a:lnTo>
                    <a:pt x="432" y="664"/>
                  </a:lnTo>
                  <a:lnTo>
                    <a:pt x="433" y="666"/>
                  </a:lnTo>
                  <a:lnTo>
                    <a:pt x="433" y="668"/>
                  </a:lnTo>
                  <a:lnTo>
                    <a:pt x="433" y="668"/>
                  </a:lnTo>
                  <a:close/>
                  <a:moveTo>
                    <a:pt x="262" y="497"/>
                  </a:moveTo>
                  <a:lnTo>
                    <a:pt x="262" y="497"/>
                  </a:lnTo>
                  <a:lnTo>
                    <a:pt x="263" y="495"/>
                  </a:lnTo>
                  <a:lnTo>
                    <a:pt x="264" y="492"/>
                  </a:lnTo>
                  <a:lnTo>
                    <a:pt x="266" y="491"/>
                  </a:lnTo>
                  <a:lnTo>
                    <a:pt x="269" y="491"/>
                  </a:lnTo>
                  <a:lnTo>
                    <a:pt x="354" y="491"/>
                  </a:lnTo>
                  <a:lnTo>
                    <a:pt x="354" y="491"/>
                  </a:lnTo>
                  <a:lnTo>
                    <a:pt x="357" y="491"/>
                  </a:lnTo>
                  <a:lnTo>
                    <a:pt x="360" y="492"/>
                  </a:lnTo>
                  <a:lnTo>
                    <a:pt x="361" y="495"/>
                  </a:lnTo>
                  <a:lnTo>
                    <a:pt x="361" y="497"/>
                  </a:lnTo>
                  <a:lnTo>
                    <a:pt x="361" y="583"/>
                  </a:lnTo>
                  <a:lnTo>
                    <a:pt x="361" y="583"/>
                  </a:lnTo>
                  <a:lnTo>
                    <a:pt x="361" y="586"/>
                  </a:lnTo>
                  <a:lnTo>
                    <a:pt x="360" y="588"/>
                  </a:lnTo>
                  <a:lnTo>
                    <a:pt x="357" y="589"/>
                  </a:lnTo>
                  <a:lnTo>
                    <a:pt x="354" y="589"/>
                  </a:lnTo>
                  <a:lnTo>
                    <a:pt x="269" y="589"/>
                  </a:lnTo>
                  <a:lnTo>
                    <a:pt x="269" y="589"/>
                  </a:lnTo>
                  <a:lnTo>
                    <a:pt x="266" y="589"/>
                  </a:lnTo>
                  <a:lnTo>
                    <a:pt x="264" y="588"/>
                  </a:lnTo>
                  <a:lnTo>
                    <a:pt x="263" y="586"/>
                  </a:lnTo>
                  <a:lnTo>
                    <a:pt x="262" y="583"/>
                  </a:lnTo>
                  <a:lnTo>
                    <a:pt x="262" y="497"/>
                  </a:lnTo>
                  <a:close/>
                  <a:moveTo>
                    <a:pt x="278" y="668"/>
                  </a:moveTo>
                  <a:lnTo>
                    <a:pt x="278" y="755"/>
                  </a:lnTo>
                  <a:lnTo>
                    <a:pt x="278" y="755"/>
                  </a:lnTo>
                  <a:lnTo>
                    <a:pt x="277" y="757"/>
                  </a:lnTo>
                  <a:lnTo>
                    <a:pt x="276" y="759"/>
                  </a:lnTo>
                  <a:lnTo>
                    <a:pt x="274" y="760"/>
                  </a:lnTo>
                  <a:lnTo>
                    <a:pt x="272" y="760"/>
                  </a:lnTo>
                  <a:lnTo>
                    <a:pt x="185" y="760"/>
                  </a:lnTo>
                  <a:lnTo>
                    <a:pt x="185" y="760"/>
                  </a:lnTo>
                  <a:lnTo>
                    <a:pt x="183" y="760"/>
                  </a:lnTo>
                  <a:lnTo>
                    <a:pt x="181" y="759"/>
                  </a:lnTo>
                  <a:lnTo>
                    <a:pt x="180" y="757"/>
                  </a:lnTo>
                  <a:lnTo>
                    <a:pt x="180" y="755"/>
                  </a:lnTo>
                  <a:lnTo>
                    <a:pt x="180" y="668"/>
                  </a:lnTo>
                  <a:lnTo>
                    <a:pt x="180" y="668"/>
                  </a:lnTo>
                  <a:lnTo>
                    <a:pt x="180" y="666"/>
                  </a:lnTo>
                  <a:lnTo>
                    <a:pt x="181" y="664"/>
                  </a:lnTo>
                  <a:lnTo>
                    <a:pt x="183" y="663"/>
                  </a:lnTo>
                  <a:lnTo>
                    <a:pt x="185" y="662"/>
                  </a:lnTo>
                  <a:lnTo>
                    <a:pt x="272" y="662"/>
                  </a:lnTo>
                  <a:lnTo>
                    <a:pt x="272" y="662"/>
                  </a:lnTo>
                  <a:lnTo>
                    <a:pt x="274" y="663"/>
                  </a:lnTo>
                  <a:lnTo>
                    <a:pt x="276" y="664"/>
                  </a:lnTo>
                  <a:lnTo>
                    <a:pt x="277" y="666"/>
                  </a:lnTo>
                  <a:lnTo>
                    <a:pt x="278" y="668"/>
                  </a:lnTo>
                  <a:lnTo>
                    <a:pt x="278" y="668"/>
                  </a:lnTo>
                  <a:close/>
                  <a:moveTo>
                    <a:pt x="107" y="497"/>
                  </a:moveTo>
                  <a:lnTo>
                    <a:pt x="107" y="497"/>
                  </a:lnTo>
                  <a:lnTo>
                    <a:pt x="107" y="495"/>
                  </a:lnTo>
                  <a:lnTo>
                    <a:pt x="108" y="492"/>
                  </a:lnTo>
                  <a:lnTo>
                    <a:pt x="110" y="491"/>
                  </a:lnTo>
                  <a:lnTo>
                    <a:pt x="112" y="491"/>
                  </a:lnTo>
                  <a:lnTo>
                    <a:pt x="199" y="491"/>
                  </a:lnTo>
                  <a:lnTo>
                    <a:pt x="199" y="491"/>
                  </a:lnTo>
                  <a:lnTo>
                    <a:pt x="201" y="491"/>
                  </a:lnTo>
                  <a:lnTo>
                    <a:pt x="204" y="492"/>
                  </a:lnTo>
                  <a:lnTo>
                    <a:pt x="205" y="495"/>
                  </a:lnTo>
                  <a:lnTo>
                    <a:pt x="205" y="497"/>
                  </a:lnTo>
                  <a:lnTo>
                    <a:pt x="205" y="583"/>
                  </a:lnTo>
                  <a:lnTo>
                    <a:pt x="205" y="583"/>
                  </a:lnTo>
                  <a:lnTo>
                    <a:pt x="205" y="586"/>
                  </a:lnTo>
                  <a:lnTo>
                    <a:pt x="204" y="588"/>
                  </a:lnTo>
                  <a:lnTo>
                    <a:pt x="201" y="589"/>
                  </a:lnTo>
                  <a:lnTo>
                    <a:pt x="199" y="589"/>
                  </a:lnTo>
                  <a:lnTo>
                    <a:pt x="112" y="589"/>
                  </a:lnTo>
                  <a:lnTo>
                    <a:pt x="112" y="589"/>
                  </a:lnTo>
                  <a:lnTo>
                    <a:pt x="110" y="589"/>
                  </a:lnTo>
                  <a:lnTo>
                    <a:pt x="108" y="588"/>
                  </a:lnTo>
                  <a:lnTo>
                    <a:pt x="107" y="586"/>
                  </a:lnTo>
                  <a:lnTo>
                    <a:pt x="107" y="583"/>
                  </a:lnTo>
                  <a:lnTo>
                    <a:pt x="107" y="497"/>
                  </a:lnTo>
                  <a:close/>
                  <a:moveTo>
                    <a:pt x="205" y="926"/>
                  </a:moveTo>
                  <a:lnTo>
                    <a:pt x="205" y="926"/>
                  </a:lnTo>
                  <a:lnTo>
                    <a:pt x="205" y="928"/>
                  </a:lnTo>
                  <a:lnTo>
                    <a:pt x="204" y="930"/>
                  </a:lnTo>
                  <a:lnTo>
                    <a:pt x="201" y="932"/>
                  </a:lnTo>
                  <a:lnTo>
                    <a:pt x="199" y="932"/>
                  </a:lnTo>
                  <a:lnTo>
                    <a:pt x="112" y="932"/>
                  </a:lnTo>
                  <a:lnTo>
                    <a:pt x="112" y="932"/>
                  </a:lnTo>
                  <a:lnTo>
                    <a:pt x="110" y="932"/>
                  </a:lnTo>
                  <a:lnTo>
                    <a:pt x="108" y="930"/>
                  </a:lnTo>
                  <a:lnTo>
                    <a:pt x="107" y="928"/>
                  </a:lnTo>
                  <a:lnTo>
                    <a:pt x="107" y="926"/>
                  </a:lnTo>
                  <a:lnTo>
                    <a:pt x="107" y="839"/>
                  </a:lnTo>
                  <a:lnTo>
                    <a:pt x="107" y="839"/>
                  </a:lnTo>
                  <a:lnTo>
                    <a:pt x="107" y="837"/>
                  </a:lnTo>
                  <a:lnTo>
                    <a:pt x="108" y="835"/>
                  </a:lnTo>
                  <a:lnTo>
                    <a:pt x="110" y="834"/>
                  </a:lnTo>
                  <a:lnTo>
                    <a:pt x="112" y="834"/>
                  </a:lnTo>
                  <a:lnTo>
                    <a:pt x="199" y="834"/>
                  </a:lnTo>
                  <a:lnTo>
                    <a:pt x="199" y="834"/>
                  </a:lnTo>
                  <a:lnTo>
                    <a:pt x="201" y="834"/>
                  </a:lnTo>
                  <a:lnTo>
                    <a:pt x="204" y="835"/>
                  </a:lnTo>
                  <a:lnTo>
                    <a:pt x="205" y="837"/>
                  </a:lnTo>
                  <a:lnTo>
                    <a:pt x="205" y="839"/>
                  </a:lnTo>
                  <a:lnTo>
                    <a:pt x="205" y="926"/>
                  </a:lnTo>
                  <a:close/>
                  <a:moveTo>
                    <a:pt x="672" y="926"/>
                  </a:moveTo>
                  <a:lnTo>
                    <a:pt x="672" y="926"/>
                  </a:lnTo>
                  <a:lnTo>
                    <a:pt x="672" y="928"/>
                  </a:lnTo>
                  <a:lnTo>
                    <a:pt x="671" y="930"/>
                  </a:lnTo>
                  <a:lnTo>
                    <a:pt x="669" y="932"/>
                  </a:lnTo>
                  <a:lnTo>
                    <a:pt x="666" y="932"/>
                  </a:lnTo>
                  <a:lnTo>
                    <a:pt x="269" y="932"/>
                  </a:lnTo>
                  <a:lnTo>
                    <a:pt x="269" y="932"/>
                  </a:lnTo>
                  <a:lnTo>
                    <a:pt x="266" y="932"/>
                  </a:lnTo>
                  <a:lnTo>
                    <a:pt x="264" y="930"/>
                  </a:lnTo>
                  <a:lnTo>
                    <a:pt x="263" y="928"/>
                  </a:lnTo>
                  <a:lnTo>
                    <a:pt x="262" y="926"/>
                  </a:lnTo>
                  <a:lnTo>
                    <a:pt x="262" y="839"/>
                  </a:lnTo>
                  <a:lnTo>
                    <a:pt x="262" y="839"/>
                  </a:lnTo>
                  <a:lnTo>
                    <a:pt x="263" y="837"/>
                  </a:lnTo>
                  <a:lnTo>
                    <a:pt x="264" y="835"/>
                  </a:lnTo>
                  <a:lnTo>
                    <a:pt x="266" y="834"/>
                  </a:lnTo>
                  <a:lnTo>
                    <a:pt x="269" y="834"/>
                  </a:lnTo>
                  <a:lnTo>
                    <a:pt x="666" y="834"/>
                  </a:lnTo>
                  <a:lnTo>
                    <a:pt x="666" y="834"/>
                  </a:lnTo>
                  <a:lnTo>
                    <a:pt x="669" y="834"/>
                  </a:lnTo>
                  <a:lnTo>
                    <a:pt x="671" y="835"/>
                  </a:lnTo>
                  <a:lnTo>
                    <a:pt x="672" y="837"/>
                  </a:lnTo>
                  <a:lnTo>
                    <a:pt x="672" y="839"/>
                  </a:lnTo>
                  <a:lnTo>
                    <a:pt x="672" y="926"/>
                  </a:lnTo>
                  <a:close/>
                  <a:moveTo>
                    <a:pt x="828" y="926"/>
                  </a:moveTo>
                  <a:lnTo>
                    <a:pt x="828" y="926"/>
                  </a:lnTo>
                  <a:lnTo>
                    <a:pt x="828" y="928"/>
                  </a:lnTo>
                  <a:lnTo>
                    <a:pt x="826" y="930"/>
                  </a:lnTo>
                  <a:lnTo>
                    <a:pt x="825" y="932"/>
                  </a:lnTo>
                  <a:lnTo>
                    <a:pt x="822" y="932"/>
                  </a:lnTo>
                  <a:lnTo>
                    <a:pt x="736" y="932"/>
                  </a:lnTo>
                  <a:lnTo>
                    <a:pt x="736" y="932"/>
                  </a:lnTo>
                  <a:lnTo>
                    <a:pt x="734" y="932"/>
                  </a:lnTo>
                  <a:lnTo>
                    <a:pt x="732" y="930"/>
                  </a:lnTo>
                  <a:lnTo>
                    <a:pt x="730" y="928"/>
                  </a:lnTo>
                  <a:lnTo>
                    <a:pt x="729" y="926"/>
                  </a:lnTo>
                  <a:lnTo>
                    <a:pt x="729" y="839"/>
                  </a:lnTo>
                  <a:lnTo>
                    <a:pt x="729" y="839"/>
                  </a:lnTo>
                  <a:lnTo>
                    <a:pt x="730" y="837"/>
                  </a:lnTo>
                  <a:lnTo>
                    <a:pt x="732" y="835"/>
                  </a:lnTo>
                  <a:lnTo>
                    <a:pt x="734" y="834"/>
                  </a:lnTo>
                  <a:lnTo>
                    <a:pt x="736" y="834"/>
                  </a:lnTo>
                  <a:lnTo>
                    <a:pt x="822" y="834"/>
                  </a:lnTo>
                  <a:lnTo>
                    <a:pt x="822" y="834"/>
                  </a:lnTo>
                  <a:lnTo>
                    <a:pt x="825" y="834"/>
                  </a:lnTo>
                  <a:lnTo>
                    <a:pt x="826" y="835"/>
                  </a:lnTo>
                  <a:lnTo>
                    <a:pt x="828" y="837"/>
                  </a:lnTo>
                  <a:lnTo>
                    <a:pt x="828" y="839"/>
                  </a:lnTo>
                  <a:lnTo>
                    <a:pt x="828" y="926"/>
                  </a:lnTo>
                  <a:close/>
                  <a:moveTo>
                    <a:pt x="984" y="926"/>
                  </a:moveTo>
                  <a:lnTo>
                    <a:pt x="984" y="926"/>
                  </a:lnTo>
                  <a:lnTo>
                    <a:pt x="983" y="928"/>
                  </a:lnTo>
                  <a:lnTo>
                    <a:pt x="982" y="930"/>
                  </a:lnTo>
                  <a:lnTo>
                    <a:pt x="980" y="932"/>
                  </a:lnTo>
                  <a:lnTo>
                    <a:pt x="978" y="932"/>
                  </a:lnTo>
                  <a:lnTo>
                    <a:pt x="892" y="932"/>
                  </a:lnTo>
                  <a:lnTo>
                    <a:pt x="892" y="932"/>
                  </a:lnTo>
                  <a:lnTo>
                    <a:pt x="890" y="932"/>
                  </a:lnTo>
                  <a:lnTo>
                    <a:pt x="888" y="930"/>
                  </a:lnTo>
                  <a:lnTo>
                    <a:pt x="885" y="928"/>
                  </a:lnTo>
                  <a:lnTo>
                    <a:pt x="885" y="926"/>
                  </a:lnTo>
                  <a:lnTo>
                    <a:pt x="885" y="839"/>
                  </a:lnTo>
                  <a:lnTo>
                    <a:pt x="885" y="839"/>
                  </a:lnTo>
                  <a:lnTo>
                    <a:pt x="885" y="837"/>
                  </a:lnTo>
                  <a:lnTo>
                    <a:pt x="888" y="835"/>
                  </a:lnTo>
                  <a:lnTo>
                    <a:pt x="890" y="834"/>
                  </a:lnTo>
                  <a:lnTo>
                    <a:pt x="892" y="834"/>
                  </a:lnTo>
                  <a:lnTo>
                    <a:pt x="978" y="834"/>
                  </a:lnTo>
                  <a:lnTo>
                    <a:pt x="978" y="834"/>
                  </a:lnTo>
                  <a:lnTo>
                    <a:pt x="980" y="834"/>
                  </a:lnTo>
                  <a:lnTo>
                    <a:pt x="982" y="835"/>
                  </a:lnTo>
                  <a:lnTo>
                    <a:pt x="983" y="837"/>
                  </a:lnTo>
                  <a:lnTo>
                    <a:pt x="984" y="839"/>
                  </a:lnTo>
                  <a:lnTo>
                    <a:pt x="984" y="926"/>
                  </a:lnTo>
                  <a:close/>
                  <a:moveTo>
                    <a:pt x="984" y="755"/>
                  </a:moveTo>
                  <a:lnTo>
                    <a:pt x="984" y="755"/>
                  </a:lnTo>
                  <a:lnTo>
                    <a:pt x="983" y="757"/>
                  </a:lnTo>
                  <a:lnTo>
                    <a:pt x="982" y="759"/>
                  </a:lnTo>
                  <a:lnTo>
                    <a:pt x="980" y="760"/>
                  </a:lnTo>
                  <a:lnTo>
                    <a:pt x="978" y="760"/>
                  </a:lnTo>
                  <a:lnTo>
                    <a:pt x="892" y="760"/>
                  </a:lnTo>
                  <a:lnTo>
                    <a:pt x="892" y="760"/>
                  </a:lnTo>
                  <a:lnTo>
                    <a:pt x="890" y="760"/>
                  </a:lnTo>
                  <a:lnTo>
                    <a:pt x="888" y="759"/>
                  </a:lnTo>
                  <a:lnTo>
                    <a:pt x="885" y="757"/>
                  </a:lnTo>
                  <a:lnTo>
                    <a:pt x="885" y="755"/>
                  </a:lnTo>
                  <a:lnTo>
                    <a:pt x="885" y="668"/>
                  </a:lnTo>
                  <a:lnTo>
                    <a:pt x="885" y="668"/>
                  </a:lnTo>
                  <a:lnTo>
                    <a:pt x="885" y="666"/>
                  </a:lnTo>
                  <a:lnTo>
                    <a:pt x="888" y="664"/>
                  </a:lnTo>
                  <a:lnTo>
                    <a:pt x="890" y="663"/>
                  </a:lnTo>
                  <a:lnTo>
                    <a:pt x="892" y="662"/>
                  </a:lnTo>
                  <a:lnTo>
                    <a:pt x="978" y="662"/>
                  </a:lnTo>
                  <a:lnTo>
                    <a:pt x="978" y="662"/>
                  </a:lnTo>
                  <a:lnTo>
                    <a:pt x="980" y="663"/>
                  </a:lnTo>
                  <a:lnTo>
                    <a:pt x="982" y="664"/>
                  </a:lnTo>
                  <a:lnTo>
                    <a:pt x="983" y="666"/>
                  </a:lnTo>
                  <a:lnTo>
                    <a:pt x="984" y="668"/>
                  </a:lnTo>
                  <a:lnTo>
                    <a:pt x="984" y="755"/>
                  </a:lnTo>
                  <a:close/>
                  <a:moveTo>
                    <a:pt x="984" y="583"/>
                  </a:moveTo>
                  <a:lnTo>
                    <a:pt x="984" y="583"/>
                  </a:lnTo>
                  <a:lnTo>
                    <a:pt x="983" y="586"/>
                  </a:lnTo>
                  <a:lnTo>
                    <a:pt x="982" y="588"/>
                  </a:lnTo>
                  <a:lnTo>
                    <a:pt x="980" y="589"/>
                  </a:lnTo>
                  <a:lnTo>
                    <a:pt x="978" y="589"/>
                  </a:lnTo>
                  <a:lnTo>
                    <a:pt x="892" y="589"/>
                  </a:lnTo>
                  <a:lnTo>
                    <a:pt x="892" y="589"/>
                  </a:lnTo>
                  <a:lnTo>
                    <a:pt x="890" y="589"/>
                  </a:lnTo>
                  <a:lnTo>
                    <a:pt x="888" y="588"/>
                  </a:lnTo>
                  <a:lnTo>
                    <a:pt x="885" y="586"/>
                  </a:lnTo>
                  <a:lnTo>
                    <a:pt x="885" y="583"/>
                  </a:lnTo>
                  <a:lnTo>
                    <a:pt x="885" y="497"/>
                  </a:lnTo>
                  <a:lnTo>
                    <a:pt x="885" y="497"/>
                  </a:lnTo>
                  <a:lnTo>
                    <a:pt x="885" y="495"/>
                  </a:lnTo>
                  <a:lnTo>
                    <a:pt x="888" y="492"/>
                  </a:lnTo>
                  <a:lnTo>
                    <a:pt x="890" y="491"/>
                  </a:lnTo>
                  <a:lnTo>
                    <a:pt x="892" y="491"/>
                  </a:lnTo>
                  <a:lnTo>
                    <a:pt x="978" y="491"/>
                  </a:lnTo>
                  <a:lnTo>
                    <a:pt x="978" y="491"/>
                  </a:lnTo>
                  <a:lnTo>
                    <a:pt x="980" y="491"/>
                  </a:lnTo>
                  <a:lnTo>
                    <a:pt x="982" y="492"/>
                  </a:lnTo>
                  <a:lnTo>
                    <a:pt x="983" y="495"/>
                  </a:lnTo>
                  <a:lnTo>
                    <a:pt x="984" y="497"/>
                  </a:lnTo>
                  <a:lnTo>
                    <a:pt x="984" y="583"/>
                  </a:lnTo>
                  <a:close/>
                  <a:moveTo>
                    <a:pt x="1140" y="926"/>
                  </a:moveTo>
                  <a:lnTo>
                    <a:pt x="1140" y="926"/>
                  </a:lnTo>
                  <a:lnTo>
                    <a:pt x="1139" y="928"/>
                  </a:lnTo>
                  <a:lnTo>
                    <a:pt x="1138" y="930"/>
                  </a:lnTo>
                  <a:lnTo>
                    <a:pt x="1136" y="932"/>
                  </a:lnTo>
                  <a:lnTo>
                    <a:pt x="1134" y="932"/>
                  </a:lnTo>
                  <a:lnTo>
                    <a:pt x="1048" y="932"/>
                  </a:lnTo>
                  <a:lnTo>
                    <a:pt x="1048" y="932"/>
                  </a:lnTo>
                  <a:lnTo>
                    <a:pt x="1045" y="932"/>
                  </a:lnTo>
                  <a:lnTo>
                    <a:pt x="1043" y="930"/>
                  </a:lnTo>
                  <a:lnTo>
                    <a:pt x="1042" y="928"/>
                  </a:lnTo>
                  <a:lnTo>
                    <a:pt x="1042" y="926"/>
                  </a:lnTo>
                  <a:lnTo>
                    <a:pt x="1042" y="839"/>
                  </a:lnTo>
                  <a:lnTo>
                    <a:pt x="1042" y="839"/>
                  </a:lnTo>
                  <a:lnTo>
                    <a:pt x="1042" y="837"/>
                  </a:lnTo>
                  <a:lnTo>
                    <a:pt x="1043" y="835"/>
                  </a:lnTo>
                  <a:lnTo>
                    <a:pt x="1045" y="834"/>
                  </a:lnTo>
                  <a:lnTo>
                    <a:pt x="1048" y="834"/>
                  </a:lnTo>
                  <a:lnTo>
                    <a:pt x="1134" y="834"/>
                  </a:lnTo>
                  <a:lnTo>
                    <a:pt x="1134" y="834"/>
                  </a:lnTo>
                  <a:lnTo>
                    <a:pt x="1136" y="834"/>
                  </a:lnTo>
                  <a:lnTo>
                    <a:pt x="1138" y="835"/>
                  </a:lnTo>
                  <a:lnTo>
                    <a:pt x="1139" y="837"/>
                  </a:lnTo>
                  <a:lnTo>
                    <a:pt x="1140" y="839"/>
                  </a:lnTo>
                  <a:lnTo>
                    <a:pt x="1140" y="926"/>
                  </a:lnTo>
                  <a:close/>
                  <a:moveTo>
                    <a:pt x="1140" y="755"/>
                  </a:moveTo>
                  <a:lnTo>
                    <a:pt x="1140" y="755"/>
                  </a:lnTo>
                  <a:lnTo>
                    <a:pt x="1139" y="757"/>
                  </a:lnTo>
                  <a:lnTo>
                    <a:pt x="1138" y="759"/>
                  </a:lnTo>
                  <a:lnTo>
                    <a:pt x="1136" y="760"/>
                  </a:lnTo>
                  <a:lnTo>
                    <a:pt x="1134" y="760"/>
                  </a:lnTo>
                  <a:lnTo>
                    <a:pt x="1048" y="760"/>
                  </a:lnTo>
                  <a:lnTo>
                    <a:pt x="1048" y="760"/>
                  </a:lnTo>
                  <a:lnTo>
                    <a:pt x="1045" y="760"/>
                  </a:lnTo>
                  <a:lnTo>
                    <a:pt x="1043" y="759"/>
                  </a:lnTo>
                  <a:lnTo>
                    <a:pt x="1042" y="757"/>
                  </a:lnTo>
                  <a:lnTo>
                    <a:pt x="1042" y="755"/>
                  </a:lnTo>
                  <a:lnTo>
                    <a:pt x="1042" y="668"/>
                  </a:lnTo>
                  <a:lnTo>
                    <a:pt x="1042" y="668"/>
                  </a:lnTo>
                  <a:lnTo>
                    <a:pt x="1042" y="666"/>
                  </a:lnTo>
                  <a:lnTo>
                    <a:pt x="1043" y="664"/>
                  </a:lnTo>
                  <a:lnTo>
                    <a:pt x="1045" y="663"/>
                  </a:lnTo>
                  <a:lnTo>
                    <a:pt x="1048" y="662"/>
                  </a:lnTo>
                  <a:lnTo>
                    <a:pt x="1134" y="662"/>
                  </a:lnTo>
                  <a:lnTo>
                    <a:pt x="1134" y="662"/>
                  </a:lnTo>
                  <a:lnTo>
                    <a:pt x="1136" y="663"/>
                  </a:lnTo>
                  <a:lnTo>
                    <a:pt x="1138" y="664"/>
                  </a:lnTo>
                  <a:lnTo>
                    <a:pt x="1139" y="666"/>
                  </a:lnTo>
                  <a:lnTo>
                    <a:pt x="1140" y="668"/>
                  </a:lnTo>
                  <a:lnTo>
                    <a:pt x="1140" y="755"/>
                  </a:lnTo>
                  <a:close/>
                  <a:moveTo>
                    <a:pt x="1140" y="583"/>
                  </a:moveTo>
                  <a:lnTo>
                    <a:pt x="1140" y="583"/>
                  </a:lnTo>
                  <a:lnTo>
                    <a:pt x="1139" y="586"/>
                  </a:lnTo>
                  <a:lnTo>
                    <a:pt x="1138" y="588"/>
                  </a:lnTo>
                  <a:lnTo>
                    <a:pt x="1136" y="589"/>
                  </a:lnTo>
                  <a:lnTo>
                    <a:pt x="1134" y="589"/>
                  </a:lnTo>
                  <a:lnTo>
                    <a:pt x="1048" y="589"/>
                  </a:lnTo>
                  <a:lnTo>
                    <a:pt x="1048" y="589"/>
                  </a:lnTo>
                  <a:lnTo>
                    <a:pt x="1045" y="589"/>
                  </a:lnTo>
                  <a:lnTo>
                    <a:pt x="1043" y="588"/>
                  </a:lnTo>
                  <a:lnTo>
                    <a:pt x="1042" y="586"/>
                  </a:lnTo>
                  <a:lnTo>
                    <a:pt x="1042" y="583"/>
                  </a:lnTo>
                  <a:lnTo>
                    <a:pt x="1042" y="497"/>
                  </a:lnTo>
                  <a:lnTo>
                    <a:pt x="1042" y="497"/>
                  </a:lnTo>
                  <a:lnTo>
                    <a:pt x="1042" y="495"/>
                  </a:lnTo>
                  <a:lnTo>
                    <a:pt x="1043" y="492"/>
                  </a:lnTo>
                  <a:lnTo>
                    <a:pt x="1045" y="491"/>
                  </a:lnTo>
                  <a:lnTo>
                    <a:pt x="1048" y="491"/>
                  </a:lnTo>
                  <a:lnTo>
                    <a:pt x="1134" y="491"/>
                  </a:lnTo>
                  <a:lnTo>
                    <a:pt x="1134" y="491"/>
                  </a:lnTo>
                  <a:lnTo>
                    <a:pt x="1136" y="491"/>
                  </a:lnTo>
                  <a:lnTo>
                    <a:pt x="1138" y="492"/>
                  </a:lnTo>
                  <a:lnTo>
                    <a:pt x="1139" y="495"/>
                  </a:lnTo>
                  <a:lnTo>
                    <a:pt x="1140" y="497"/>
                  </a:lnTo>
                  <a:lnTo>
                    <a:pt x="1140" y="58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11" name="Group 1510">
            <a:extLst>
              <a:ext uri="{FF2B5EF4-FFF2-40B4-BE49-F238E27FC236}">
                <a16:creationId xmlns:a16="http://schemas.microsoft.com/office/drawing/2014/main" id="{58D40D95-E5CA-42B7-BABA-214C14854342}"/>
              </a:ext>
            </a:extLst>
          </p:cNvPr>
          <p:cNvGrpSpPr/>
          <p:nvPr/>
        </p:nvGrpSpPr>
        <p:grpSpPr>
          <a:xfrm>
            <a:off x="7576166" y="1626836"/>
            <a:ext cx="612775" cy="612775"/>
            <a:chOff x="6421537" y="2265179"/>
            <a:chExt cx="612775" cy="612775"/>
          </a:xfrm>
        </p:grpSpPr>
        <p:sp>
          <p:nvSpPr>
            <p:cNvPr id="1512" name="Oval 1511">
              <a:extLst>
                <a:ext uri="{FF2B5EF4-FFF2-40B4-BE49-F238E27FC236}">
                  <a16:creationId xmlns:a16="http://schemas.microsoft.com/office/drawing/2014/main" id="{59411D48-8E0E-41AD-AE64-DAB27702FF23}"/>
                </a:ext>
              </a:extLst>
            </p:cNvPr>
            <p:cNvSpPr/>
            <p:nvPr/>
          </p:nvSpPr>
          <p:spPr bwMode="ltGray">
            <a:xfrm>
              <a:off x="642153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13" name="Freeform 351">
              <a:extLst>
                <a:ext uri="{FF2B5EF4-FFF2-40B4-BE49-F238E27FC236}">
                  <a16:creationId xmlns:a16="http://schemas.microsoft.com/office/drawing/2014/main" id="{C17BDD9B-F847-4678-B4C1-14131BAE1012}"/>
                </a:ext>
              </a:extLst>
            </p:cNvPr>
            <p:cNvSpPr>
              <a:spLocks noEditPoints="1"/>
            </p:cNvSpPr>
            <p:nvPr/>
          </p:nvSpPr>
          <p:spPr bwMode="auto">
            <a:xfrm>
              <a:off x="6594536" y="2381399"/>
              <a:ext cx="301625" cy="414337"/>
            </a:xfrm>
            <a:custGeom>
              <a:avLst/>
              <a:gdLst>
                <a:gd name="T0" fmla="*/ 65 w 946"/>
                <a:gd name="T1" fmla="*/ 187 h 1301"/>
                <a:gd name="T2" fmla="*/ 29 w 946"/>
                <a:gd name="T3" fmla="*/ 203 h 1301"/>
                <a:gd name="T4" fmla="*/ 7 w 946"/>
                <a:gd name="T5" fmla="*/ 234 h 1301"/>
                <a:gd name="T6" fmla="*/ 0 w 946"/>
                <a:gd name="T7" fmla="*/ 1220 h 1301"/>
                <a:gd name="T8" fmla="*/ 7 w 946"/>
                <a:gd name="T9" fmla="*/ 1251 h 1301"/>
                <a:gd name="T10" fmla="*/ 29 w 946"/>
                <a:gd name="T11" fmla="*/ 1283 h 1301"/>
                <a:gd name="T12" fmla="*/ 65 w 946"/>
                <a:gd name="T13" fmla="*/ 1300 h 1301"/>
                <a:gd name="T14" fmla="*/ 552 w 946"/>
                <a:gd name="T15" fmla="*/ 1301 h 1301"/>
                <a:gd name="T16" fmla="*/ 590 w 946"/>
                <a:gd name="T17" fmla="*/ 1287 h 1301"/>
                <a:gd name="T18" fmla="*/ 616 w 946"/>
                <a:gd name="T19" fmla="*/ 1259 h 1301"/>
                <a:gd name="T20" fmla="*/ 626 w 946"/>
                <a:gd name="T21" fmla="*/ 1220 h 1301"/>
                <a:gd name="T22" fmla="*/ 621 w 946"/>
                <a:gd name="T23" fmla="*/ 242 h 1301"/>
                <a:gd name="T24" fmla="*/ 602 w 946"/>
                <a:gd name="T25" fmla="*/ 208 h 1301"/>
                <a:gd name="T26" fmla="*/ 568 w 946"/>
                <a:gd name="T27" fmla="*/ 188 h 1301"/>
                <a:gd name="T28" fmla="*/ 446 w 946"/>
                <a:gd name="T29" fmla="*/ 812 h 1301"/>
                <a:gd name="T30" fmla="*/ 420 w 946"/>
                <a:gd name="T31" fmla="*/ 800 h 1301"/>
                <a:gd name="T32" fmla="*/ 408 w 946"/>
                <a:gd name="T33" fmla="*/ 774 h 1301"/>
                <a:gd name="T34" fmla="*/ 425 w 946"/>
                <a:gd name="T35" fmla="*/ 743 h 1301"/>
                <a:gd name="T36" fmla="*/ 453 w 946"/>
                <a:gd name="T37" fmla="*/ 736 h 1301"/>
                <a:gd name="T38" fmla="*/ 482 w 946"/>
                <a:gd name="T39" fmla="*/ 759 h 1301"/>
                <a:gd name="T40" fmla="*/ 482 w 946"/>
                <a:gd name="T41" fmla="*/ 788 h 1301"/>
                <a:gd name="T42" fmla="*/ 453 w 946"/>
                <a:gd name="T43" fmla="*/ 811 h 1301"/>
                <a:gd name="T44" fmla="*/ 538 w 946"/>
                <a:gd name="T45" fmla="*/ 579 h 1301"/>
                <a:gd name="T46" fmla="*/ 524 w 946"/>
                <a:gd name="T47" fmla="*/ 596 h 1301"/>
                <a:gd name="T48" fmla="*/ 90 w 946"/>
                <a:gd name="T49" fmla="*/ 597 h 1301"/>
                <a:gd name="T50" fmla="*/ 73 w 946"/>
                <a:gd name="T51" fmla="*/ 583 h 1301"/>
                <a:gd name="T52" fmla="*/ 71 w 946"/>
                <a:gd name="T53" fmla="*/ 567 h 1301"/>
                <a:gd name="T54" fmla="*/ 86 w 946"/>
                <a:gd name="T55" fmla="*/ 550 h 1301"/>
                <a:gd name="T56" fmla="*/ 519 w 946"/>
                <a:gd name="T57" fmla="*/ 548 h 1301"/>
                <a:gd name="T58" fmla="*/ 537 w 946"/>
                <a:gd name="T59" fmla="*/ 563 h 1301"/>
                <a:gd name="T60" fmla="*/ 539 w 946"/>
                <a:gd name="T61" fmla="*/ 452 h 1301"/>
                <a:gd name="T62" fmla="*/ 528 w 946"/>
                <a:gd name="T63" fmla="*/ 472 h 1301"/>
                <a:gd name="T64" fmla="*/ 94 w 946"/>
                <a:gd name="T65" fmla="*/ 476 h 1301"/>
                <a:gd name="T66" fmla="*/ 75 w 946"/>
                <a:gd name="T67" fmla="*/ 465 h 1301"/>
                <a:gd name="T68" fmla="*/ 71 w 946"/>
                <a:gd name="T69" fmla="*/ 450 h 1301"/>
                <a:gd name="T70" fmla="*/ 81 w 946"/>
                <a:gd name="T71" fmla="*/ 429 h 1301"/>
                <a:gd name="T72" fmla="*/ 514 w 946"/>
                <a:gd name="T73" fmla="*/ 425 h 1301"/>
                <a:gd name="T74" fmla="*/ 535 w 946"/>
                <a:gd name="T75" fmla="*/ 436 h 1301"/>
                <a:gd name="T76" fmla="*/ 539 w 946"/>
                <a:gd name="T77" fmla="*/ 330 h 1301"/>
                <a:gd name="T78" fmla="*/ 531 w 946"/>
                <a:gd name="T79" fmla="*/ 347 h 1301"/>
                <a:gd name="T80" fmla="*/ 94 w 946"/>
                <a:gd name="T81" fmla="*/ 354 h 1301"/>
                <a:gd name="T82" fmla="*/ 77 w 946"/>
                <a:gd name="T83" fmla="*/ 347 h 1301"/>
                <a:gd name="T84" fmla="*/ 71 w 946"/>
                <a:gd name="T85" fmla="*/ 328 h 1301"/>
                <a:gd name="T86" fmla="*/ 77 w 946"/>
                <a:gd name="T87" fmla="*/ 310 h 1301"/>
                <a:gd name="T88" fmla="*/ 514 w 946"/>
                <a:gd name="T89" fmla="*/ 303 h 1301"/>
                <a:gd name="T90" fmla="*/ 531 w 946"/>
                <a:gd name="T91" fmla="*/ 310 h 1301"/>
                <a:gd name="T92" fmla="*/ 539 w 946"/>
                <a:gd name="T93" fmla="*/ 330 h 1301"/>
                <a:gd name="T94" fmla="*/ 551 w 946"/>
                <a:gd name="T95" fmla="*/ 10 h 1301"/>
                <a:gd name="T96" fmla="*/ 608 w 946"/>
                <a:gd name="T97" fmla="*/ 0 h 1301"/>
                <a:gd name="T98" fmla="*/ 903 w 946"/>
                <a:gd name="T99" fmla="*/ 2 h 1301"/>
                <a:gd name="T100" fmla="*/ 907 w 946"/>
                <a:gd name="T101" fmla="*/ 10 h 1301"/>
                <a:gd name="T102" fmla="*/ 731 w 946"/>
                <a:gd name="T103" fmla="*/ 116 h 1301"/>
                <a:gd name="T104" fmla="*/ 660 w 946"/>
                <a:gd name="T105" fmla="*/ 137 h 1301"/>
                <a:gd name="T106" fmla="*/ 498 w 946"/>
                <a:gd name="T107" fmla="*/ 143 h 1301"/>
                <a:gd name="T108" fmla="*/ 946 w 946"/>
                <a:gd name="T109" fmla="*/ 793 h 1301"/>
                <a:gd name="T110" fmla="*/ 931 w 946"/>
                <a:gd name="T111" fmla="*/ 831 h 1301"/>
                <a:gd name="T112" fmla="*/ 666 w 946"/>
                <a:gd name="T113" fmla="*/ 266 h 1301"/>
                <a:gd name="T114" fmla="*/ 671 w 946"/>
                <a:gd name="T115" fmla="*/ 222 h 1301"/>
                <a:gd name="T116" fmla="*/ 698 w 946"/>
                <a:gd name="T117" fmla="*/ 175 h 1301"/>
                <a:gd name="T118" fmla="*/ 938 w 946"/>
                <a:gd name="T119" fmla="*/ 34 h 1301"/>
                <a:gd name="T120" fmla="*/ 946 w 946"/>
                <a:gd name="T121" fmla="*/ 54 h 1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46" h="1301">
                  <a:moveTo>
                    <a:pt x="544" y="184"/>
                  </a:moveTo>
                  <a:lnTo>
                    <a:pt x="81" y="184"/>
                  </a:lnTo>
                  <a:lnTo>
                    <a:pt x="81" y="184"/>
                  </a:lnTo>
                  <a:lnTo>
                    <a:pt x="73" y="184"/>
                  </a:lnTo>
                  <a:lnTo>
                    <a:pt x="65" y="187"/>
                  </a:lnTo>
                  <a:lnTo>
                    <a:pt x="58" y="188"/>
                  </a:lnTo>
                  <a:lnTo>
                    <a:pt x="50" y="191"/>
                  </a:lnTo>
                  <a:lnTo>
                    <a:pt x="42" y="194"/>
                  </a:lnTo>
                  <a:lnTo>
                    <a:pt x="36" y="199"/>
                  </a:lnTo>
                  <a:lnTo>
                    <a:pt x="29" y="203"/>
                  </a:lnTo>
                  <a:lnTo>
                    <a:pt x="24" y="208"/>
                  </a:lnTo>
                  <a:lnTo>
                    <a:pt x="19" y="214"/>
                  </a:lnTo>
                  <a:lnTo>
                    <a:pt x="14" y="220"/>
                  </a:lnTo>
                  <a:lnTo>
                    <a:pt x="10" y="227"/>
                  </a:lnTo>
                  <a:lnTo>
                    <a:pt x="7" y="234"/>
                  </a:lnTo>
                  <a:lnTo>
                    <a:pt x="3" y="242"/>
                  </a:lnTo>
                  <a:lnTo>
                    <a:pt x="1" y="249"/>
                  </a:lnTo>
                  <a:lnTo>
                    <a:pt x="0" y="258"/>
                  </a:lnTo>
                  <a:lnTo>
                    <a:pt x="0" y="266"/>
                  </a:lnTo>
                  <a:lnTo>
                    <a:pt x="0" y="1220"/>
                  </a:lnTo>
                  <a:lnTo>
                    <a:pt x="0" y="1220"/>
                  </a:lnTo>
                  <a:lnTo>
                    <a:pt x="0" y="1229"/>
                  </a:lnTo>
                  <a:lnTo>
                    <a:pt x="1" y="1236"/>
                  </a:lnTo>
                  <a:lnTo>
                    <a:pt x="3" y="1244"/>
                  </a:lnTo>
                  <a:lnTo>
                    <a:pt x="7" y="1251"/>
                  </a:lnTo>
                  <a:lnTo>
                    <a:pt x="10" y="1259"/>
                  </a:lnTo>
                  <a:lnTo>
                    <a:pt x="14" y="1265"/>
                  </a:lnTo>
                  <a:lnTo>
                    <a:pt x="19" y="1272"/>
                  </a:lnTo>
                  <a:lnTo>
                    <a:pt x="24" y="1277"/>
                  </a:lnTo>
                  <a:lnTo>
                    <a:pt x="29" y="1283"/>
                  </a:lnTo>
                  <a:lnTo>
                    <a:pt x="36" y="1287"/>
                  </a:lnTo>
                  <a:lnTo>
                    <a:pt x="42" y="1291"/>
                  </a:lnTo>
                  <a:lnTo>
                    <a:pt x="50" y="1295"/>
                  </a:lnTo>
                  <a:lnTo>
                    <a:pt x="58" y="1298"/>
                  </a:lnTo>
                  <a:lnTo>
                    <a:pt x="65" y="1300"/>
                  </a:lnTo>
                  <a:lnTo>
                    <a:pt x="73" y="1301"/>
                  </a:lnTo>
                  <a:lnTo>
                    <a:pt x="81" y="1301"/>
                  </a:lnTo>
                  <a:lnTo>
                    <a:pt x="544" y="1301"/>
                  </a:lnTo>
                  <a:lnTo>
                    <a:pt x="544" y="1301"/>
                  </a:lnTo>
                  <a:lnTo>
                    <a:pt x="552" y="1301"/>
                  </a:lnTo>
                  <a:lnTo>
                    <a:pt x="561" y="1300"/>
                  </a:lnTo>
                  <a:lnTo>
                    <a:pt x="568" y="1298"/>
                  </a:lnTo>
                  <a:lnTo>
                    <a:pt x="576" y="1295"/>
                  </a:lnTo>
                  <a:lnTo>
                    <a:pt x="582" y="1291"/>
                  </a:lnTo>
                  <a:lnTo>
                    <a:pt x="590" y="1287"/>
                  </a:lnTo>
                  <a:lnTo>
                    <a:pt x="595" y="1283"/>
                  </a:lnTo>
                  <a:lnTo>
                    <a:pt x="602" y="1277"/>
                  </a:lnTo>
                  <a:lnTo>
                    <a:pt x="607" y="1272"/>
                  </a:lnTo>
                  <a:lnTo>
                    <a:pt x="612" y="1265"/>
                  </a:lnTo>
                  <a:lnTo>
                    <a:pt x="616" y="1259"/>
                  </a:lnTo>
                  <a:lnTo>
                    <a:pt x="619" y="1251"/>
                  </a:lnTo>
                  <a:lnTo>
                    <a:pt x="621" y="1244"/>
                  </a:lnTo>
                  <a:lnTo>
                    <a:pt x="624" y="1236"/>
                  </a:lnTo>
                  <a:lnTo>
                    <a:pt x="625" y="1229"/>
                  </a:lnTo>
                  <a:lnTo>
                    <a:pt x="626" y="1220"/>
                  </a:lnTo>
                  <a:lnTo>
                    <a:pt x="626" y="266"/>
                  </a:lnTo>
                  <a:lnTo>
                    <a:pt x="626" y="266"/>
                  </a:lnTo>
                  <a:lnTo>
                    <a:pt x="625" y="258"/>
                  </a:lnTo>
                  <a:lnTo>
                    <a:pt x="624" y="249"/>
                  </a:lnTo>
                  <a:lnTo>
                    <a:pt x="621" y="242"/>
                  </a:lnTo>
                  <a:lnTo>
                    <a:pt x="619" y="234"/>
                  </a:lnTo>
                  <a:lnTo>
                    <a:pt x="616" y="227"/>
                  </a:lnTo>
                  <a:lnTo>
                    <a:pt x="612" y="220"/>
                  </a:lnTo>
                  <a:lnTo>
                    <a:pt x="607" y="214"/>
                  </a:lnTo>
                  <a:lnTo>
                    <a:pt x="602" y="208"/>
                  </a:lnTo>
                  <a:lnTo>
                    <a:pt x="595" y="203"/>
                  </a:lnTo>
                  <a:lnTo>
                    <a:pt x="590" y="199"/>
                  </a:lnTo>
                  <a:lnTo>
                    <a:pt x="582" y="194"/>
                  </a:lnTo>
                  <a:lnTo>
                    <a:pt x="576" y="191"/>
                  </a:lnTo>
                  <a:lnTo>
                    <a:pt x="568" y="188"/>
                  </a:lnTo>
                  <a:lnTo>
                    <a:pt x="561" y="187"/>
                  </a:lnTo>
                  <a:lnTo>
                    <a:pt x="552" y="184"/>
                  </a:lnTo>
                  <a:lnTo>
                    <a:pt x="544" y="184"/>
                  </a:lnTo>
                  <a:lnTo>
                    <a:pt x="544" y="184"/>
                  </a:lnTo>
                  <a:close/>
                  <a:moveTo>
                    <a:pt x="446" y="812"/>
                  </a:moveTo>
                  <a:lnTo>
                    <a:pt x="446" y="812"/>
                  </a:lnTo>
                  <a:lnTo>
                    <a:pt x="438" y="811"/>
                  </a:lnTo>
                  <a:lnTo>
                    <a:pt x="432" y="809"/>
                  </a:lnTo>
                  <a:lnTo>
                    <a:pt x="425" y="806"/>
                  </a:lnTo>
                  <a:lnTo>
                    <a:pt x="420" y="800"/>
                  </a:lnTo>
                  <a:lnTo>
                    <a:pt x="414" y="795"/>
                  </a:lnTo>
                  <a:lnTo>
                    <a:pt x="411" y="788"/>
                  </a:lnTo>
                  <a:lnTo>
                    <a:pt x="409" y="782"/>
                  </a:lnTo>
                  <a:lnTo>
                    <a:pt x="408" y="774"/>
                  </a:lnTo>
                  <a:lnTo>
                    <a:pt x="408" y="774"/>
                  </a:lnTo>
                  <a:lnTo>
                    <a:pt x="409" y="767"/>
                  </a:lnTo>
                  <a:lnTo>
                    <a:pt x="411" y="759"/>
                  </a:lnTo>
                  <a:lnTo>
                    <a:pt x="414" y="753"/>
                  </a:lnTo>
                  <a:lnTo>
                    <a:pt x="420" y="747"/>
                  </a:lnTo>
                  <a:lnTo>
                    <a:pt x="425" y="743"/>
                  </a:lnTo>
                  <a:lnTo>
                    <a:pt x="432" y="738"/>
                  </a:lnTo>
                  <a:lnTo>
                    <a:pt x="438" y="736"/>
                  </a:lnTo>
                  <a:lnTo>
                    <a:pt x="446" y="736"/>
                  </a:lnTo>
                  <a:lnTo>
                    <a:pt x="446" y="736"/>
                  </a:lnTo>
                  <a:lnTo>
                    <a:pt x="453" y="736"/>
                  </a:lnTo>
                  <a:lnTo>
                    <a:pt x="461" y="738"/>
                  </a:lnTo>
                  <a:lnTo>
                    <a:pt x="467" y="743"/>
                  </a:lnTo>
                  <a:lnTo>
                    <a:pt x="473" y="747"/>
                  </a:lnTo>
                  <a:lnTo>
                    <a:pt x="477" y="753"/>
                  </a:lnTo>
                  <a:lnTo>
                    <a:pt x="482" y="759"/>
                  </a:lnTo>
                  <a:lnTo>
                    <a:pt x="484" y="767"/>
                  </a:lnTo>
                  <a:lnTo>
                    <a:pt x="484" y="774"/>
                  </a:lnTo>
                  <a:lnTo>
                    <a:pt x="484" y="774"/>
                  </a:lnTo>
                  <a:lnTo>
                    <a:pt x="484" y="782"/>
                  </a:lnTo>
                  <a:lnTo>
                    <a:pt x="482" y="788"/>
                  </a:lnTo>
                  <a:lnTo>
                    <a:pt x="477" y="795"/>
                  </a:lnTo>
                  <a:lnTo>
                    <a:pt x="473" y="800"/>
                  </a:lnTo>
                  <a:lnTo>
                    <a:pt x="467" y="806"/>
                  </a:lnTo>
                  <a:lnTo>
                    <a:pt x="461" y="809"/>
                  </a:lnTo>
                  <a:lnTo>
                    <a:pt x="453" y="811"/>
                  </a:lnTo>
                  <a:lnTo>
                    <a:pt x="446" y="812"/>
                  </a:lnTo>
                  <a:lnTo>
                    <a:pt x="446" y="812"/>
                  </a:lnTo>
                  <a:close/>
                  <a:moveTo>
                    <a:pt x="539" y="574"/>
                  </a:moveTo>
                  <a:lnTo>
                    <a:pt x="539" y="574"/>
                  </a:lnTo>
                  <a:lnTo>
                    <a:pt x="538" y="579"/>
                  </a:lnTo>
                  <a:lnTo>
                    <a:pt x="537" y="583"/>
                  </a:lnTo>
                  <a:lnTo>
                    <a:pt x="535" y="588"/>
                  </a:lnTo>
                  <a:lnTo>
                    <a:pt x="531" y="591"/>
                  </a:lnTo>
                  <a:lnTo>
                    <a:pt x="528" y="594"/>
                  </a:lnTo>
                  <a:lnTo>
                    <a:pt x="524" y="596"/>
                  </a:lnTo>
                  <a:lnTo>
                    <a:pt x="519" y="597"/>
                  </a:lnTo>
                  <a:lnTo>
                    <a:pt x="514" y="599"/>
                  </a:lnTo>
                  <a:lnTo>
                    <a:pt x="94" y="599"/>
                  </a:lnTo>
                  <a:lnTo>
                    <a:pt x="94" y="599"/>
                  </a:lnTo>
                  <a:lnTo>
                    <a:pt x="90" y="597"/>
                  </a:lnTo>
                  <a:lnTo>
                    <a:pt x="86" y="596"/>
                  </a:lnTo>
                  <a:lnTo>
                    <a:pt x="81" y="594"/>
                  </a:lnTo>
                  <a:lnTo>
                    <a:pt x="77" y="591"/>
                  </a:lnTo>
                  <a:lnTo>
                    <a:pt x="75" y="588"/>
                  </a:lnTo>
                  <a:lnTo>
                    <a:pt x="73" y="583"/>
                  </a:lnTo>
                  <a:lnTo>
                    <a:pt x="71" y="579"/>
                  </a:lnTo>
                  <a:lnTo>
                    <a:pt x="71" y="574"/>
                  </a:lnTo>
                  <a:lnTo>
                    <a:pt x="71" y="571"/>
                  </a:lnTo>
                  <a:lnTo>
                    <a:pt x="71" y="571"/>
                  </a:lnTo>
                  <a:lnTo>
                    <a:pt x="71" y="567"/>
                  </a:lnTo>
                  <a:lnTo>
                    <a:pt x="73" y="563"/>
                  </a:lnTo>
                  <a:lnTo>
                    <a:pt x="75" y="558"/>
                  </a:lnTo>
                  <a:lnTo>
                    <a:pt x="77" y="554"/>
                  </a:lnTo>
                  <a:lnTo>
                    <a:pt x="81" y="552"/>
                  </a:lnTo>
                  <a:lnTo>
                    <a:pt x="86" y="550"/>
                  </a:lnTo>
                  <a:lnTo>
                    <a:pt x="90" y="548"/>
                  </a:lnTo>
                  <a:lnTo>
                    <a:pt x="94" y="548"/>
                  </a:lnTo>
                  <a:lnTo>
                    <a:pt x="514" y="548"/>
                  </a:lnTo>
                  <a:lnTo>
                    <a:pt x="514" y="548"/>
                  </a:lnTo>
                  <a:lnTo>
                    <a:pt x="519" y="548"/>
                  </a:lnTo>
                  <a:lnTo>
                    <a:pt x="524" y="550"/>
                  </a:lnTo>
                  <a:lnTo>
                    <a:pt x="528" y="552"/>
                  </a:lnTo>
                  <a:lnTo>
                    <a:pt x="531" y="554"/>
                  </a:lnTo>
                  <a:lnTo>
                    <a:pt x="535" y="558"/>
                  </a:lnTo>
                  <a:lnTo>
                    <a:pt x="537" y="563"/>
                  </a:lnTo>
                  <a:lnTo>
                    <a:pt x="538" y="567"/>
                  </a:lnTo>
                  <a:lnTo>
                    <a:pt x="539" y="571"/>
                  </a:lnTo>
                  <a:lnTo>
                    <a:pt x="539" y="574"/>
                  </a:lnTo>
                  <a:close/>
                  <a:moveTo>
                    <a:pt x="539" y="452"/>
                  </a:moveTo>
                  <a:lnTo>
                    <a:pt x="539" y="452"/>
                  </a:lnTo>
                  <a:lnTo>
                    <a:pt x="538" y="457"/>
                  </a:lnTo>
                  <a:lnTo>
                    <a:pt x="537" y="461"/>
                  </a:lnTo>
                  <a:lnTo>
                    <a:pt x="535" y="465"/>
                  </a:lnTo>
                  <a:lnTo>
                    <a:pt x="531" y="468"/>
                  </a:lnTo>
                  <a:lnTo>
                    <a:pt x="528" y="472"/>
                  </a:lnTo>
                  <a:lnTo>
                    <a:pt x="524" y="474"/>
                  </a:lnTo>
                  <a:lnTo>
                    <a:pt x="519" y="476"/>
                  </a:lnTo>
                  <a:lnTo>
                    <a:pt x="514" y="476"/>
                  </a:lnTo>
                  <a:lnTo>
                    <a:pt x="94" y="476"/>
                  </a:lnTo>
                  <a:lnTo>
                    <a:pt x="94" y="476"/>
                  </a:lnTo>
                  <a:lnTo>
                    <a:pt x="90" y="476"/>
                  </a:lnTo>
                  <a:lnTo>
                    <a:pt x="86" y="474"/>
                  </a:lnTo>
                  <a:lnTo>
                    <a:pt x="81" y="472"/>
                  </a:lnTo>
                  <a:lnTo>
                    <a:pt x="77" y="468"/>
                  </a:lnTo>
                  <a:lnTo>
                    <a:pt x="75" y="465"/>
                  </a:lnTo>
                  <a:lnTo>
                    <a:pt x="73" y="461"/>
                  </a:lnTo>
                  <a:lnTo>
                    <a:pt x="71" y="457"/>
                  </a:lnTo>
                  <a:lnTo>
                    <a:pt x="71" y="452"/>
                  </a:lnTo>
                  <a:lnTo>
                    <a:pt x="71" y="450"/>
                  </a:lnTo>
                  <a:lnTo>
                    <a:pt x="71" y="450"/>
                  </a:lnTo>
                  <a:lnTo>
                    <a:pt x="71" y="445"/>
                  </a:lnTo>
                  <a:lnTo>
                    <a:pt x="73" y="440"/>
                  </a:lnTo>
                  <a:lnTo>
                    <a:pt x="75" y="436"/>
                  </a:lnTo>
                  <a:lnTo>
                    <a:pt x="77" y="433"/>
                  </a:lnTo>
                  <a:lnTo>
                    <a:pt x="81" y="429"/>
                  </a:lnTo>
                  <a:lnTo>
                    <a:pt x="86" y="427"/>
                  </a:lnTo>
                  <a:lnTo>
                    <a:pt x="90" y="425"/>
                  </a:lnTo>
                  <a:lnTo>
                    <a:pt x="94" y="425"/>
                  </a:lnTo>
                  <a:lnTo>
                    <a:pt x="514" y="425"/>
                  </a:lnTo>
                  <a:lnTo>
                    <a:pt x="514" y="425"/>
                  </a:lnTo>
                  <a:lnTo>
                    <a:pt x="519" y="425"/>
                  </a:lnTo>
                  <a:lnTo>
                    <a:pt x="524" y="427"/>
                  </a:lnTo>
                  <a:lnTo>
                    <a:pt x="528" y="429"/>
                  </a:lnTo>
                  <a:lnTo>
                    <a:pt x="531" y="433"/>
                  </a:lnTo>
                  <a:lnTo>
                    <a:pt x="535" y="436"/>
                  </a:lnTo>
                  <a:lnTo>
                    <a:pt x="537" y="440"/>
                  </a:lnTo>
                  <a:lnTo>
                    <a:pt x="538" y="445"/>
                  </a:lnTo>
                  <a:lnTo>
                    <a:pt x="539" y="450"/>
                  </a:lnTo>
                  <a:lnTo>
                    <a:pt x="539" y="452"/>
                  </a:lnTo>
                  <a:close/>
                  <a:moveTo>
                    <a:pt x="539" y="330"/>
                  </a:moveTo>
                  <a:lnTo>
                    <a:pt x="539" y="330"/>
                  </a:lnTo>
                  <a:lnTo>
                    <a:pt x="538" y="334"/>
                  </a:lnTo>
                  <a:lnTo>
                    <a:pt x="537" y="339"/>
                  </a:lnTo>
                  <a:lnTo>
                    <a:pt x="535" y="343"/>
                  </a:lnTo>
                  <a:lnTo>
                    <a:pt x="531" y="347"/>
                  </a:lnTo>
                  <a:lnTo>
                    <a:pt x="528" y="350"/>
                  </a:lnTo>
                  <a:lnTo>
                    <a:pt x="524" y="352"/>
                  </a:lnTo>
                  <a:lnTo>
                    <a:pt x="519" y="354"/>
                  </a:lnTo>
                  <a:lnTo>
                    <a:pt x="514" y="354"/>
                  </a:lnTo>
                  <a:lnTo>
                    <a:pt x="94" y="354"/>
                  </a:lnTo>
                  <a:lnTo>
                    <a:pt x="94" y="354"/>
                  </a:lnTo>
                  <a:lnTo>
                    <a:pt x="90" y="354"/>
                  </a:lnTo>
                  <a:lnTo>
                    <a:pt x="86" y="352"/>
                  </a:lnTo>
                  <a:lnTo>
                    <a:pt x="81" y="350"/>
                  </a:lnTo>
                  <a:lnTo>
                    <a:pt x="77" y="347"/>
                  </a:lnTo>
                  <a:lnTo>
                    <a:pt x="75" y="343"/>
                  </a:lnTo>
                  <a:lnTo>
                    <a:pt x="73" y="339"/>
                  </a:lnTo>
                  <a:lnTo>
                    <a:pt x="71" y="334"/>
                  </a:lnTo>
                  <a:lnTo>
                    <a:pt x="71" y="330"/>
                  </a:lnTo>
                  <a:lnTo>
                    <a:pt x="71" y="328"/>
                  </a:lnTo>
                  <a:lnTo>
                    <a:pt x="71" y="328"/>
                  </a:lnTo>
                  <a:lnTo>
                    <a:pt x="71" y="322"/>
                  </a:lnTo>
                  <a:lnTo>
                    <a:pt x="73" y="318"/>
                  </a:lnTo>
                  <a:lnTo>
                    <a:pt x="75" y="313"/>
                  </a:lnTo>
                  <a:lnTo>
                    <a:pt x="77" y="310"/>
                  </a:lnTo>
                  <a:lnTo>
                    <a:pt x="81" y="307"/>
                  </a:lnTo>
                  <a:lnTo>
                    <a:pt x="86" y="305"/>
                  </a:lnTo>
                  <a:lnTo>
                    <a:pt x="90" y="304"/>
                  </a:lnTo>
                  <a:lnTo>
                    <a:pt x="94" y="303"/>
                  </a:lnTo>
                  <a:lnTo>
                    <a:pt x="514" y="303"/>
                  </a:lnTo>
                  <a:lnTo>
                    <a:pt x="514" y="303"/>
                  </a:lnTo>
                  <a:lnTo>
                    <a:pt x="519" y="304"/>
                  </a:lnTo>
                  <a:lnTo>
                    <a:pt x="524" y="305"/>
                  </a:lnTo>
                  <a:lnTo>
                    <a:pt x="528" y="307"/>
                  </a:lnTo>
                  <a:lnTo>
                    <a:pt x="531" y="310"/>
                  </a:lnTo>
                  <a:lnTo>
                    <a:pt x="535" y="313"/>
                  </a:lnTo>
                  <a:lnTo>
                    <a:pt x="537" y="318"/>
                  </a:lnTo>
                  <a:lnTo>
                    <a:pt x="538" y="322"/>
                  </a:lnTo>
                  <a:lnTo>
                    <a:pt x="539" y="328"/>
                  </a:lnTo>
                  <a:lnTo>
                    <a:pt x="539" y="330"/>
                  </a:lnTo>
                  <a:close/>
                  <a:moveTo>
                    <a:pt x="498" y="143"/>
                  </a:moveTo>
                  <a:lnTo>
                    <a:pt x="128" y="143"/>
                  </a:lnTo>
                  <a:lnTo>
                    <a:pt x="546" y="11"/>
                  </a:lnTo>
                  <a:lnTo>
                    <a:pt x="546" y="11"/>
                  </a:lnTo>
                  <a:lnTo>
                    <a:pt x="551" y="10"/>
                  </a:lnTo>
                  <a:lnTo>
                    <a:pt x="565" y="6"/>
                  </a:lnTo>
                  <a:lnTo>
                    <a:pt x="586" y="1"/>
                  </a:lnTo>
                  <a:lnTo>
                    <a:pt x="596" y="0"/>
                  </a:lnTo>
                  <a:lnTo>
                    <a:pt x="608" y="0"/>
                  </a:lnTo>
                  <a:lnTo>
                    <a:pt x="608" y="0"/>
                  </a:lnTo>
                  <a:lnTo>
                    <a:pt x="887" y="0"/>
                  </a:lnTo>
                  <a:lnTo>
                    <a:pt x="887" y="0"/>
                  </a:lnTo>
                  <a:lnTo>
                    <a:pt x="894" y="0"/>
                  </a:lnTo>
                  <a:lnTo>
                    <a:pt x="899" y="0"/>
                  </a:lnTo>
                  <a:lnTo>
                    <a:pt x="903" y="2"/>
                  </a:lnTo>
                  <a:lnTo>
                    <a:pt x="908" y="3"/>
                  </a:lnTo>
                  <a:lnTo>
                    <a:pt x="909" y="4"/>
                  </a:lnTo>
                  <a:lnTo>
                    <a:pt x="910" y="7"/>
                  </a:lnTo>
                  <a:lnTo>
                    <a:pt x="909" y="8"/>
                  </a:lnTo>
                  <a:lnTo>
                    <a:pt x="907" y="10"/>
                  </a:lnTo>
                  <a:lnTo>
                    <a:pt x="900" y="15"/>
                  </a:lnTo>
                  <a:lnTo>
                    <a:pt x="900" y="15"/>
                  </a:lnTo>
                  <a:lnTo>
                    <a:pt x="743" y="110"/>
                  </a:lnTo>
                  <a:lnTo>
                    <a:pt x="743" y="110"/>
                  </a:lnTo>
                  <a:lnTo>
                    <a:pt x="731" y="116"/>
                  </a:lnTo>
                  <a:lnTo>
                    <a:pt x="718" y="122"/>
                  </a:lnTo>
                  <a:lnTo>
                    <a:pt x="704" y="127"/>
                  </a:lnTo>
                  <a:lnTo>
                    <a:pt x="690" y="131"/>
                  </a:lnTo>
                  <a:lnTo>
                    <a:pt x="676" y="135"/>
                  </a:lnTo>
                  <a:lnTo>
                    <a:pt x="660" y="137"/>
                  </a:lnTo>
                  <a:lnTo>
                    <a:pt x="632" y="141"/>
                  </a:lnTo>
                  <a:lnTo>
                    <a:pt x="605" y="143"/>
                  </a:lnTo>
                  <a:lnTo>
                    <a:pt x="580" y="143"/>
                  </a:lnTo>
                  <a:lnTo>
                    <a:pt x="544" y="143"/>
                  </a:lnTo>
                  <a:lnTo>
                    <a:pt x="498" y="143"/>
                  </a:lnTo>
                  <a:close/>
                  <a:moveTo>
                    <a:pt x="946" y="54"/>
                  </a:moveTo>
                  <a:lnTo>
                    <a:pt x="946" y="54"/>
                  </a:lnTo>
                  <a:lnTo>
                    <a:pt x="946" y="781"/>
                  </a:lnTo>
                  <a:lnTo>
                    <a:pt x="946" y="781"/>
                  </a:lnTo>
                  <a:lnTo>
                    <a:pt x="946" y="793"/>
                  </a:lnTo>
                  <a:lnTo>
                    <a:pt x="943" y="804"/>
                  </a:lnTo>
                  <a:lnTo>
                    <a:pt x="941" y="812"/>
                  </a:lnTo>
                  <a:lnTo>
                    <a:pt x="939" y="819"/>
                  </a:lnTo>
                  <a:lnTo>
                    <a:pt x="934" y="828"/>
                  </a:lnTo>
                  <a:lnTo>
                    <a:pt x="931" y="831"/>
                  </a:lnTo>
                  <a:lnTo>
                    <a:pt x="664" y="1243"/>
                  </a:lnTo>
                  <a:lnTo>
                    <a:pt x="664" y="1243"/>
                  </a:lnTo>
                  <a:lnTo>
                    <a:pt x="666" y="1232"/>
                  </a:lnTo>
                  <a:lnTo>
                    <a:pt x="666" y="1220"/>
                  </a:lnTo>
                  <a:lnTo>
                    <a:pt x="666" y="266"/>
                  </a:lnTo>
                  <a:lnTo>
                    <a:pt x="666" y="266"/>
                  </a:lnTo>
                  <a:lnTo>
                    <a:pt x="667" y="254"/>
                  </a:lnTo>
                  <a:lnTo>
                    <a:pt x="668" y="242"/>
                  </a:lnTo>
                  <a:lnTo>
                    <a:pt x="669" y="231"/>
                  </a:lnTo>
                  <a:lnTo>
                    <a:pt x="671" y="222"/>
                  </a:lnTo>
                  <a:lnTo>
                    <a:pt x="677" y="206"/>
                  </a:lnTo>
                  <a:lnTo>
                    <a:pt x="682" y="194"/>
                  </a:lnTo>
                  <a:lnTo>
                    <a:pt x="689" y="184"/>
                  </a:lnTo>
                  <a:lnTo>
                    <a:pt x="694" y="179"/>
                  </a:lnTo>
                  <a:lnTo>
                    <a:pt x="698" y="175"/>
                  </a:lnTo>
                  <a:lnTo>
                    <a:pt x="929" y="36"/>
                  </a:lnTo>
                  <a:lnTo>
                    <a:pt x="929" y="36"/>
                  </a:lnTo>
                  <a:lnTo>
                    <a:pt x="931" y="35"/>
                  </a:lnTo>
                  <a:lnTo>
                    <a:pt x="935" y="34"/>
                  </a:lnTo>
                  <a:lnTo>
                    <a:pt x="938" y="34"/>
                  </a:lnTo>
                  <a:lnTo>
                    <a:pt x="940" y="36"/>
                  </a:lnTo>
                  <a:lnTo>
                    <a:pt x="943" y="39"/>
                  </a:lnTo>
                  <a:lnTo>
                    <a:pt x="946" y="46"/>
                  </a:lnTo>
                  <a:lnTo>
                    <a:pt x="946" y="54"/>
                  </a:lnTo>
                  <a:lnTo>
                    <a:pt x="946" y="5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14" name="Group 1513">
            <a:extLst>
              <a:ext uri="{FF2B5EF4-FFF2-40B4-BE49-F238E27FC236}">
                <a16:creationId xmlns:a16="http://schemas.microsoft.com/office/drawing/2014/main" id="{B3045182-1B06-4EE0-BCFE-C94EBCB206D6}"/>
              </a:ext>
            </a:extLst>
          </p:cNvPr>
          <p:cNvGrpSpPr/>
          <p:nvPr/>
        </p:nvGrpSpPr>
        <p:grpSpPr>
          <a:xfrm>
            <a:off x="6846734" y="5492984"/>
            <a:ext cx="612775" cy="612775"/>
            <a:chOff x="5692105" y="6131327"/>
            <a:chExt cx="612775" cy="612775"/>
          </a:xfrm>
        </p:grpSpPr>
        <p:sp>
          <p:nvSpPr>
            <p:cNvPr id="1515" name="Oval 1514">
              <a:extLst>
                <a:ext uri="{FF2B5EF4-FFF2-40B4-BE49-F238E27FC236}">
                  <a16:creationId xmlns:a16="http://schemas.microsoft.com/office/drawing/2014/main" id="{8C45DF7A-A67D-4C53-830E-7994A9FA365A}"/>
                </a:ext>
              </a:extLst>
            </p:cNvPr>
            <p:cNvSpPr/>
            <p:nvPr/>
          </p:nvSpPr>
          <p:spPr bwMode="ltGray">
            <a:xfrm>
              <a:off x="5692105" y="6131327"/>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516" name="Group 1515">
              <a:extLst>
                <a:ext uri="{FF2B5EF4-FFF2-40B4-BE49-F238E27FC236}">
                  <a16:creationId xmlns:a16="http://schemas.microsoft.com/office/drawing/2014/main" id="{800F5366-362B-42B8-9CBB-F48FF0473D6E}"/>
                </a:ext>
              </a:extLst>
            </p:cNvPr>
            <p:cNvGrpSpPr/>
            <p:nvPr/>
          </p:nvGrpSpPr>
          <p:grpSpPr>
            <a:xfrm>
              <a:off x="5815758" y="6239598"/>
              <a:ext cx="392112" cy="381001"/>
              <a:chOff x="3633582" y="5456290"/>
              <a:chExt cx="392112" cy="381001"/>
            </a:xfrm>
          </p:grpSpPr>
          <p:sp>
            <p:nvSpPr>
              <p:cNvPr id="1517" name="Freeform 435">
                <a:extLst>
                  <a:ext uri="{FF2B5EF4-FFF2-40B4-BE49-F238E27FC236}">
                    <a16:creationId xmlns:a16="http://schemas.microsoft.com/office/drawing/2014/main" id="{F221CC25-AC43-493A-9909-6EA899982526}"/>
                  </a:ext>
                </a:extLst>
              </p:cNvPr>
              <p:cNvSpPr>
                <a:spLocks/>
              </p:cNvSpPr>
              <p:nvPr/>
            </p:nvSpPr>
            <p:spPr bwMode="auto">
              <a:xfrm>
                <a:off x="3736769" y="5651553"/>
                <a:ext cx="55562" cy="122238"/>
              </a:xfrm>
              <a:custGeom>
                <a:avLst/>
                <a:gdLst>
                  <a:gd name="T0" fmla="*/ 96 w 174"/>
                  <a:gd name="T1" fmla="*/ 384 h 384"/>
                  <a:gd name="T2" fmla="*/ 174 w 174"/>
                  <a:gd name="T3" fmla="*/ 384 h 384"/>
                  <a:gd name="T4" fmla="*/ 174 w 174"/>
                  <a:gd name="T5" fmla="*/ 0 h 384"/>
                  <a:gd name="T6" fmla="*/ 113 w 174"/>
                  <a:gd name="T7" fmla="*/ 0 h 384"/>
                  <a:gd name="T8" fmla="*/ 113 w 174"/>
                  <a:gd name="T9" fmla="*/ 0 h 384"/>
                  <a:gd name="T10" fmla="*/ 110 w 174"/>
                  <a:gd name="T11" fmla="*/ 11 h 384"/>
                  <a:gd name="T12" fmla="*/ 107 w 174"/>
                  <a:gd name="T13" fmla="*/ 21 h 384"/>
                  <a:gd name="T14" fmla="*/ 104 w 174"/>
                  <a:gd name="T15" fmla="*/ 30 h 384"/>
                  <a:gd name="T16" fmla="*/ 99 w 174"/>
                  <a:gd name="T17" fmla="*/ 37 h 384"/>
                  <a:gd name="T18" fmla="*/ 99 w 174"/>
                  <a:gd name="T19" fmla="*/ 37 h 384"/>
                  <a:gd name="T20" fmla="*/ 93 w 174"/>
                  <a:gd name="T21" fmla="*/ 44 h 384"/>
                  <a:gd name="T22" fmla="*/ 88 w 174"/>
                  <a:gd name="T23" fmla="*/ 50 h 384"/>
                  <a:gd name="T24" fmla="*/ 80 w 174"/>
                  <a:gd name="T25" fmla="*/ 56 h 384"/>
                  <a:gd name="T26" fmla="*/ 74 w 174"/>
                  <a:gd name="T27" fmla="*/ 61 h 384"/>
                  <a:gd name="T28" fmla="*/ 74 w 174"/>
                  <a:gd name="T29" fmla="*/ 61 h 384"/>
                  <a:gd name="T30" fmla="*/ 65 w 174"/>
                  <a:gd name="T31" fmla="*/ 66 h 384"/>
                  <a:gd name="T32" fmla="*/ 57 w 174"/>
                  <a:gd name="T33" fmla="*/ 69 h 384"/>
                  <a:gd name="T34" fmla="*/ 49 w 174"/>
                  <a:gd name="T35" fmla="*/ 72 h 384"/>
                  <a:gd name="T36" fmla="*/ 39 w 174"/>
                  <a:gd name="T37" fmla="*/ 74 h 384"/>
                  <a:gd name="T38" fmla="*/ 39 w 174"/>
                  <a:gd name="T39" fmla="*/ 74 h 384"/>
                  <a:gd name="T40" fmla="*/ 20 w 174"/>
                  <a:gd name="T41" fmla="*/ 76 h 384"/>
                  <a:gd name="T42" fmla="*/ 0 w 174"/>
                  <a:gd name="T43" fmla="*/ 76 h 384"/>
                  <a:gd name="T44" fmla="*/ 0 w 174"/>
                  <a:gd name="T45" fmla="*/ 136 h 384"/>
                  <a:gd name="T46" fmla="*/ 96 w 174"/>
                  <a:gd name="T47" fmla="*/ 136 h 384"/>
                  <a:gd name="T48" fmla="*/ 96 w 174"/>
                  <a:gd name="T49"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384">
                    <a:moveTo>
                      <a:pt x="96" y="384"/>
                    </a:moveTo>
                    <a:lnTo>
                      <a:pt x="174" y="384"/>
                    </a:lnTo>
                    <a:lnTo>
                      <a:pt x="174" y="0"/>
                    </a:lnTo>
                    <a:lnTo>
                      <a:pt x="113" y="0"/>
                    </a:lnTo>
                    <a:lnTo>
                      <a:pt x="113" y="0"/>
                    </a:lnTo>
                    <a:lnTo>
                      <a:pt x="110" y="11"/>
                    </a:lnTo>
                    <a:lnTo>
                      <a:pt x="107" y="21"/>
                    </a:lnTo>
                    <a:lnTo>
                      <a:pt x="104" y="30"/>
                    </a:lnTo>
                    <a:lnTo>
                      <a:pt x="99" y="37"/>
                    </a:lnTo>
                    <a:lnTo>
                      <a:pt x="99" y="37"/>
                    </a:lnTo>
                    <a:lnTo>
                      <a:pt x="93" y="44"/>
                    </a:lnTo>
                    <a:lnTo>
                      <a:pt x="88" y="50"/>
                    </a:lnTo>
                    <a:lnTo>
                      <a:pt x="80" y="56"/>
                    </a:lnTo>
                    <a:lnTo>
                      <a:pt x="74" y="61"/>
                    </a:lnTo>
                    <a:lnTo>
                      <a:pt x="74" y="61"/>
                    </a:lnTo>
                    <a:lnTo>
                      <a:pt x="65" y="66"/>
                    </a:lnTo>
                    <a:lnTo>
                      <a:pt x="57" y="69"/>
                    </a:lnTo>
                    <a:lnTo>
                      <a:pt x="49" y="72"/>
                    </a:lnTo>
                    <a:lnTo>
                      <a:pt x="39" y="74"/>
                    </a:lnTo>
                    <a:lnTo>
                      <a:pt x="39" y="74"/>
                    </a:lnTo>
                    <a:lnTo>
                      <a:pt x="20" y="76"/>
                    </a:lnTo>
                    <a:lnTo>
                      <a:pt x="0" y="76"/>
                    </a:lnTo>
                    <a:lnTo>
                      <a:pt x="0" y="136"/>
                    </a:lnTo>
                    <a:lnTo>
                      <a:pt x="96" y="136"/>
                    </a:lnTo>
                    <a:lnTo>
                      <a:pt x="96" y="38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18" name="Freeform 436">
                <a:extLst>
                  <a:ext uri="{FF2B5EF4-FFF2-40B4-BE49-F238E27FC236}">
                    <a16:creationId xmlns:a16="http://schemas.microsoft.com/office/drawing/2014/main" id="{A370A855-438B-426B-B6EB-E85F0EF2A5C2}"/>
                  </a:ext>
                </a:extLst>
              </p:cNvPr>
              <p:cNvSpPr>
                <a:spLocks/>
              </p:cNvSpPr>
              <p:nvPr/>
            </p:nvSpPr>
            <p:spPr bwMode="auto">
              <a:xfrm>
                <a:off x="3819319" y="5651553"/>
                <a:ext cx="90487" cy="123825"/>
              </a:xfrm>
              <a:custGeom>
                <a:avLst/>
                <a:gdLst>
                  <a:gd name="T0" fmla="*/ 184 w 285"/>
                  <a:gd name="T1" fmla="*/ 311 h 392"/>
                  <a:gd name="T2" fmla="*/ 168 w 285"/>
                  <a:gd name="T3" fmla="*/ 321 h 392"/>
                  <a:gd name="T4" fmla="*/ 155 w 285"/>
                  <a:gd name="T5" fmla="*/ 327 h 392"/>
                  <a:gd name="T6" fmla="*/ 141 w 285"/>
                  <a:gd name="T7" fmla="*/ 328 h 392"/>
                  <a:gd name="T8" fmla="*/ 106 w 285"/>
                  <a:gd name="T9" fmla="*/ 319 h 392"/>
                  <a:gd name="T10" fmla="*/ 90 w 285"/>
                  <a:gd name="T11" fmla="*/ 304 h 392"/>
                  <a:gd name="T12" fmla="*/ 78 w 285"/>
                  <a:gd name="T13" fmla="*/ 270 h 392"/>
                  <a:gd name="T14" fmla="*/ 0 w 285"/>
                  <a:gd name="T15" fmla="*/ 286 h 392"/>
                  <a:gd name="T16" fmla="*/ 12 w 285"/>
                  <a:gd name="T17" fmla="*/ 324 h 392"/>
                  <a:gd name="T18" fmla="*/ 26 w 285"/>
                  <a:gd name="T19" fmla="*/ 344 h 392"/>
                  <a:gd name="T20" fmla="*/ 44 w 285"/>
                  <a:gd name="T21" fmla="*/ 362 h 392"/>
                  <a:gd name="T22" fmla="*/ 76 w 285"/>
                  <a:gd name="T23" fmla="*/ 380 h 392"/>
                  <a:gd name="T24" fmla="*/ 102 w 285"/>
                  <a:gd name="T25" fmla="*/ 388 h 392"/>
                  <a:gd name="T26" fmla="*/ 142 w 285"/>
                  <a:gd name="T27" fmla="*/ 392 h 392"/>
                  <a:gd name="T28" fmla="*/ 170 w 285"/>
                  <a:gd name="T29" fmla="*/ 390 h 392"/>
                  <a:gd name="T30" fmla="*/ 197 w 285"/>
                  <a:gd name="T31" fmla="*/ 382 h 392"/>
                  <a:gd name="T32" fmla="*/ 232 w 285"/>
                  <a:gd name="T33" fmla="*/ 363 h 392"/>
                  <a:gd name="T34" fmla="*/ 252 w 285"/>
                  <a:gd name="T35" fmla="*/ 344 h 392"/>
                  <a:gd name="T36" fmla="*/ 273 w 285"/>
                  <a:gd name="T37" fmla="*/ 309 h 392"/>
                  <a:gd name="T38" fmla="*/ 282 w 285"/>
                  <a:gd name="T39" fmla="*/ 282 h 392"/>
                  <a:gd name="T40" fmla="*/ 285 w 285"/>
                  <a:gd name="T41" fmla="*/ 254 h 392"/>
                  <a:gd name="T42" fmla="*/ 281 w 285"/>
                  <a:gd name="T43" fmla="*/ 215 h 392"/>
                  <a:gd name="T44" fmla="*/ 272 w 285"/>
                  <a:gd name="T45" fmla="*/ 191 h 392"/>
                  <a:gd name="T46" fmla="*/ 254 w 285"/>
                  <a:gd name="T47" fmla="*/ 162 h 392"/>
                  <a:gd name="T48" fmla="*/ 238 w 285"/>
                  <a:gd name="T49" fmla="*/ 146 h 392"/>
                  <a:gd name="T50" fmla="*/ 217 w 285"/>
                  <a:gd name="T51" fmla="*/ 134 h 392"/>
                  <a:gd name="T52" fmla="*/ 180 w 285"/>
                  <a:gd name="T53" fmla="*/ 124 h 392"/>
                  <a:gd name="T54" fmla="*/ 155 w 285"/>
                  <a:gd name="T55" fmla="*/ 124 h 392"/>
                  <a:gd name="T56" fmla="*/ 125 w 285"/>
                  <a:gd name="T57" fmla="*/ 131 h 392"/>
                  <a:gd name="T58" fmla="*/ 107 w 285"/>
                  <a:gd name="T59" fmla="*/ 139 h 392"/>
                  <a:gd name="T60" fmla="*/ 90 w 285"/>
                  <a:gd name="T61" fmla="*/ 152 h 392"/>
                  <a:gd name="T62" fmla="*/ 265 w 285"/>
                  <a:gd name="T63" fmla="*/ 0 h 392"/>
                  <a:gd name="T64" fmla="*/ 83 w 285"/>
                  <a:gd name="T65" fmla="*/ 213 h 392"/>
                  <a:gd name="T66" fmla="*/ 94 w 285"/>
                  <a:gd name="T67" fmla="*/ 199 h 392"/>
                  <a:gd name="T68" fmla="*/ 106 w 285"/>
                  <a:gd name="T69" fmla="*/ 189 h 392"/>
                  <a:gd name="T70" fmla="*/ 131 w 285"/>
                  <a:gd name="T71" fmla="*/ 183 h 392"/>
                  <a:gd name="T72" fmla="*/ 149 w 285"/>
                  <a:gd name="T73" fmla="*/ 183 h 392"/>
                  <a:gd name="T74" fmla="*/ 169 w 285"/>
                  <a:gd name="T75" fmla="*/ 188 h 392"/>
                  <a:gd name="T76" fmla="*/ 180 w 285"/>
                  <a:gd name="T77" fmla="*/ 195 h 392"/>
                  <a:gd name="T78" fmla="*/ 190 w 285"/>
                  <a:gd name="T79" fmla="*/ 203 h 392"/>
                  <a:gd name="T80" fmla="*/ 203 w 285"/>
                  <a:gd name="T81" fmla="*/ 226 h 392"/>
                  <a:gd name="T82" fmla="*/ 207 w 285"/>
                  <a:gd name="T83" fmla="*/ 254 h 392"/>
                  <a:gd name="T84" fmla="*/ 205 w 285"/>
                  <a:gd name="T85" fmla="*/ 275 h 392"/>
                  <a:gd name="T86" fmla="*/ 196 w 285"/>
                  <a:gd name="T87" fmla="*/ 29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5" h="392">
                    <a:moveTo>
                      <a:pt x="190" y="305"/>
                    </a:moveTo>
                    <a:lnTo>
                      <a:pt x="190" y="305"/>
                    </a:lnTo>
                    <a:lnTo>
                      <a:pt x="184" y="311"/>
                    </a:lnTo>
                    <a:lnTo>
                      <a:pt x="180" y="315"/>
                    </a:lnTo>
                    <a:lnTo>
                      <a:pt x="175" y="318"/>
                    </a:lnTo>
                    <a:lnTo>
                      <a:pt x="168" y="321"/>
                    </a:lnTo>
                    <a:lnTo>
                      <a:pt x="168" y="321"/>
                    </a:lnTo>
                    <a:lnTo>
                      <a:pt x="162" y="325"/>
                    </a:lnTo>
                    <a:lnTo>
                      <a:pt x="155" y="327"/>
                    </a:lnTo>
                    <a:lnTo>
                      <a:pt x="149" y="328"/>
                    </a:lnTo>
                    <a:lnTo>
                      <a:pt x="141" y="328"/>
                    </a:lnTo>
                    <a:lnTo>
                      <a:pt x="141" y="328"/>
                    </a:lnTo>
                    <a:lnTo>
                      <a:pt x="128" y="327"/>
                    </a:lnTo>
                    <a:lnTo>
                      <a:pt x="117" y="325"/>
                    </a:lnTo>
                    <a:lnTo>
                      <a:pt x="106" y="319"/>
                    </a:lnTo>
                    <a:lnTo>
                      <a:pt x="98" y="313"/>
                    </a:lnTo>
                    <a:lnTo>
                      <a:pt x="98" y="313"/>
                    </a:lnTo>
                    <a:lnTo>
                      <a:pt x="90" y="304"/>
                    </a:lnTo>
                    <a:lnTo>
                      <a:pt x="84" y="294"/>
                    </a:lnTo>
                    <a:lnTo>
                      <a:pt x="80" y="283"/>
                    </a:lnTo>
                    <a:lnTo>
                      <a:pt x="78" y="270"/>
                    </a:lnTo>
                    <a:lnTo>
                      <a:pt x="0" y="270"/>
                    </a:lnTo>
                    <a:lnTo>
                      <a:pt x="0" y="270"/>
                    </a:lnTo>
                    <a:lnTo>
                      <a:pt x="0" y="286"/>
                    </a:lnTo>
                    <a:lnTo>
                      <a:pt x="3" y="299"/>
                    </a:lnTo>
                    <a:lnTo>
                      <a:pt x="7" y="312"/>
                    </a:lnTo>
                    <a:lnTo>
                      <a:pt x="12" y="324"/>
                    </a:lnTo>
                    <a:lnTo>
                      <a:pt x="12" y="324"/>
                    </a:lnTo>
                    <a:lnTo>
                      <a:pt x="19" y="334"/>
                    </a:lnTo>
                    <a:lnTo>
                      <a:pt x="26" y="344"/>
                    </a:lnTo>
                    <a:lnTo>
                      <a:pt x="34" y="354"/>
                    </a:lnTo>
                    <a:lnTo>
                      <a:pt x="44" y="362"/>
                    </a:lnTo>
                    <a:lnTo>
                      <a:pt x="44" y="362"/>
                    </a:lnTo>
                    <a:lnTo>
                      <a:pt x="54" y="369"/>
                    </a:lnTo>
                    <a:lnTo>
                      <a:pt x="65" y="376"/>
                    </a:lnTo>
                    <a:lnTo>
                      <a:pt x="76" y="380"/>
                    </a:lnTo>
                    <a:lnTo>
                      <a:pt x="89" y="384"/>
                    </a:lnTo>
                    <a:lnTo>
                      <a:pt x="89" y="384"/>
                    </a:lnTo>
                    <a:lnTo>
                      <a:pt x="102" y="388"/>
                    </a:lnTo>
                    <a:lnTo>
                      <a:pt x="115" y="390"/>
                    </a:lnTo>
                    <a:lnTo>
                      <a:pt x="128" y="392"/>
                    </a:lnTo>
                    <a:lnTo>
                      <a:pt x="142" y="392"/>
                    </a:lnTo>
                    <a:lnTo>
                      <a:pt x="142" y="392"/>
                    </a:lnTo>
                    <a:lnTo>
                      <a:pt x="156" y="392"/>
                    </a:lnTo>
                    <a:lnTo>
                      <a:pt x="170" y="390"/>
                    </a:lnTo>
                    <a:lnTo>
                      <a:pt x="184" y="386"/>
                    </a:lnTo>
                    <a:lnTo>
                      <a:pt x="197" y="382"/>
                    </a:lnTo>
                    <a:lnTo>
                      <a:pt x="197" y="382"/>
                    </a:lnTo>
                    <a:lnTo>
                      <a:pt x="209" y="377"/>
                    </a:lnTo>
                    <a:lnTo>
                      <a:pt x="221" y="370"/>
                    </a:lnTo>
                    <a:lnTo>
                      <a:pt x="232" y="363"/>
                    </a:lnTo>
                    <a:lnTo>
                      <a:pt x="243" y="354"/>
                    </a:lnTo>
                    <a:lnTo>
                      <a:pt x="243" y="354"/>
                    </a:lnTo>
                    <a:lnTo>
                      <a:pt x="252" y="344"/>
                    </a:lnTo>
                    <a:lnTo>
                      <a:pt x="260" y="333"/>
                    </a:lnTo>
                    <a:lnTo>
                      <a:pt x="268" y="321"/>
                    </a:lnTo>
                    <a:lnTo>
                      <a:pt x="273" y="309"/>
                    </a:lnTo>
                    <a:lnTo>
                      <a:pt x="273" y="309"/>
                    </a:lnTo>
                    <a:lnTo>
                      <a:pt x="279" y="296"/>
                    </a:lnTo>
                    <a:lnTo>
                      <a:pt x="282" y="282"/>
                    </a:lnTo>
                    <a:lnTo>
                      <a:pt x="284" y="268"/>
                    </a:lnTo>
                    <a:lnTo>
                      <a:pt x="285" y="254"/>
                    </a:lnTo>
                    <a:lnTo>
                      <a:pt x="285" y="254"/>
                    </a:lnTo>
                    <a:lnTo>
                      <a:pt x="284" y="241"/>
                    </a:lnTo>
                    <a:lnTo>
                      <a:pt x="283" y="228"/>
                    </a:lnTo>
                    <a:lnTo>
                      <a:pt x="281" y="215"/>
                    </a:lnTo>
                    <a:lnTo>
                      <a:pt x="278" y="203"/>
                    </a:lnTo>
                    <a:lnTo>
                      <a:pt x="278" y="203"/>
                    </a:lnTo>
                    <a:lnTo>
                      <a:pt x="272" y="191"/>
                    </a:lnTo>
                    <a:lnTo>
                      <a:pt x="268" y="182"/>
                    </a:lnTo>
                    <a:lnTo>
                      <a:pt x="261" y="171"/>
                    </a:lnTo>
                    <a:lnTo>
                      <a:pt x="254" y="162"/>
                    </a:lnTo>
                    <a:lnTo>
                      <a:pt x="254" y="162"/>
                    </a:lnTo>
                    <a:lnTo>
                      <a:pt x="246" y="153"/>
                    </a:lnTo>
                    <a:lnTo>
                      <a:pt x="238" y="146"/>
                    </a:lnTo>
                    <a:lnTo>
                      <a:pt x="228" y="139"/>
                    </a:lnTo>
                    <a:lnTo>
                      <a:pt x="217" y="134"/>
                    </a:lnTo>
                    <a:lnTo>
                      <a:pt x="217" y="134"/>
                    </a:lnTo>
                    <a:lnTo>
                      <a:pt x="206" y="130"/>
                    </a:lnTo>
                    <a:lnTo>
                      <a:pt x="193" y="126"/>
                    </a:lnTo>
                    <a:lnTo>
                      <a:pt x="180" y="124"/>
                    </a:lnTo>
                    <a:lnTo>
                      <a:pt x="167" y="123"/>
                    </a:lnTo>
                    <a:lnTo>
                      <a:pt x="167" y="123"/>
                    </a:lnTo>
                    <a:lnTo>
                      <a:pt x="155" y="124"/>
                    </a:lnTo>
                    <a:lnTo>
                      <a:pt x="144" y="125"/>
                    </a:lnTo>
                    <a:lnTo>
                      <a:pt x="135" y="127"/>
                    </a:lnTo>
                    <a:lnTo>
                      <a:pt x="125" y="131"/>
                    </a:lnTo>
                    <a:lnTo>
                      <a:pt x="125" y="131"/>
                    </a:lnTo>
                    <a:lnTo>
                      <a:pt x="116" y="134"/>
                    </a:lnTo>
                    <a:lnTo>
                      <a:pt x="107" y="139"/>
                    </a:lnTo>
                    <a:lnTo>
                      <a:pt x="100" y="146"/>
                    </a:lnTo>
                    <a:lnTo>
                      <a:pt x="91" y="153"/>
                    </a:lnTo>
                    <a:lnTo>
                      <a:pt x="90" y="152"/>
                    </a:lnTo>
                    <a:lnTo>
                      <a:pt x="105" y="64"/>
                    </a:lnTo>
                    <a:lnTo>
                      <a:pt x="265" y="64"/>
                    </a:lnTo>
                    <a:lnTo>
                      <a:pt x="265" y="0"/>
                    </a:lnTo>
                    <a:lnTo>
                      <a:pt x="50" y="0"/>
                    </a:lnTo>
                    <a:lnTo>
                      <a:pt x="12" y="213"/>
                    </a:lnTo>
                    <a:lnTo>
                      <a:pt x="83" y="213"/>
                    </a:lnTo>
                    <a:lnTo>
                      <a:pt x="83" y="213"/>
                    </a:lnTo>
                    <a:lnTo>
                      <a:pt x="88" y="205"/>
                    </a:lnTo>
                    <a:lnTo>
                      <a:pt x="94" y="199"/>
                    </a:lnTo>
                    <a:lnTo>
                      <a:pt x="100" y="193"/>
                    </a:lnTo>
                    <a:lnTo>
                      <a:pt x="106" y="189"/>
                    </a:lnTo>
                    <a:lnTo>
                      <a:pt x="106" y="189"/>
                    </a:lnTo>
                    <a:lnTo>
                      <a:pt x="114" y="186"/>
                    </a:lnTo>
                    <a:lnTo>
                      <a:pt x="122" y="184"/>
                    </a:lnTo>
                    <a:lnTo>
                      <a:pt x="131" y="183"/>
                    </a:lnTo>
                    <a:lnTo>
                      <a:pt x="141" y="182"/>
                    </a:lnTo>
                    <a:lnTo>
                      <a:pt x="141" y="182"/>
                    </a:lnTo>
                    <a:lnTo>
                      <a:pt x="149" y="183"/>
                    </a:lnTo>
                    <a:lnTo>
                      <a:pt x="156" y="184"/>
                    </a:lnTo>
                    <a:lnTo>
                      <a:pt x="163" y="185"/>
                    </a:lnTo>
                    <a:lnTo>
                      <a:pt x="169" y="188"/>
                    </a:lnTo>
                    <a:lnTo>
                      <a:pt x="169" y="188"/>
                    </a:lnTo>
                    <a:lnTo>
                      <a:pt x="175" y="190"/>
                    </a:lnTo>
                    <a:lnTo>
                      <a:pt x="180" y="195"/>
                    </a:lnTo>
                    <a:lnTo>
                      <a:pt x="186" y="199"/>
                    </a:lnTo>
                    <a:lnTo>
                      <a:pt x="190" y="203"/>
                    </a:lnTo>
                    <a:lnTo>
                      <a:pt x="190" y="203"/>
                    </a:lnTo>
                    <a:lnTo>
                      <a:pt x="197" y="214"/>
                    </a:lnTo>
                    <a:lnTo>
                      <a:pt x="201" y="220"/>
                    </a:lnTo>
                    <a:lnTo>
                      <a:pt x="203" y="226"/>
                    </a:lnTo>
                    <a:lnTo>
                      <a:pt x="203" y="226"/>
                    </a:lnTo>
                    <a:lnTo>
                      <a:pt x="206" y="240"/>
                    </a:lnTo>
                    <a:lnTo>
                      <a:pt x="207" y="254"/>
                    </a:lnTo>
                    <a:lnTo>
                      <a:pt x="207" y="254"/>
                    </a:lnTo>
                    <a:lnTo>
                      <a:pt x="206" y="268"/>
                    </a:lnTo>
                    <a:lnTo>
                      <a:pt x="205" y="275"/>
                    </a:lnTo>
                    <a:lnTo>
                      <a:pt x="203" y="281"/>
                    </a:lnTo>
                    <a:lnTo>
                      <a:pt x="203" y="281"/>
                    </a:lnTo>
                    <a:lnTo>
                      <a:pt x="196" y="294"/>
                    </a:lnTo>
                    <a:lnTo>
                      <a:pt x="190" y="305"/>
                    </a:lnTo>
                    <a:lnTo>
                      <a:pt x="190" y="30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19" name="Freeform 437">
                <a:extLst>
                  <a:ext uri="{FF2B5EF4-FFF2-40B4-BE49-F238E27FC236}">
                    <a16:creationId xmlns:a16="http://schemas.microsoft.com/office/drawing/2014/main" id="{316A0D31-F8F5-4B4F-BB67-EC7F5D8623DF}"/>
                  </a:ext>
                </a:extLst>
              </p:cNvPr>
              <p:cNvSpPr>
                <a:spLocks/>
              </p:cNvSpPr>
              <p:nvPr/>
            </p:nvSpPr>
            <p:spPr bwMode="auto">
              <a:xfrm>
                <a:off x="3706607" y="5456290"/>
                <a:ext cx="44450" cy="79375"/>
              </a:xfrm>
              <a:custGeom>
                <a:avLst/>
                <a:gdLst>
                  <a:gd name="T0" fmla="*/ 24 w 140"/>
                  <a:gd name="T1" fmla="*/ 249 h 249"/>
                  <a:gd name="T2" fmla="*/ 115 w 140"/>
                  <a:gd name="T3" fmla="*/ 249 h 249"/>
                  <a:gd name="T4" fmla="*/ 115 w 140"/>
                  <a:gd name="T5" fmla="*/ 249 h 249"/>
                  <a:gd name="T6" fmla="*/ 121 w 140"/>
                  <a:gd name="T7" fmla="*/ 249 h 249"/>
                  <a:gd name="T8" fmla="*/ 125 w 140"/>
                  <a:gd name="T9" fmla="*/ 247 h 249"/>
                  <a:gd name="T10" fmla="*/ 129 w 140"/>
                  <a:gd name="T11" fmla="*/ 245 h 249"/>
                  <a:gd name="T12" fmla="*/ 133 w 140"/>
                  <a:gd name="T13" fmla="*/ 242 h 249"/>
                  <a:gd name="T14" fmla="*/ 136 w 140"/>
                  <a:gd name="T15" fmla="*/ 238 h 249"/>
                  <a:gd name="T16" fmla="*/ 138 w 140"/>
                  <a:gd name="T17" fmla="*/ 234 h 249"/>
                  <a:gd name="T18" fmla="*/ 140 w 140"/>
                  <a:gd name="T19" fmla="*/ 230 h 249"/>
                  <a:gd name="T20" fmla="*/ 140 w 140"/>
                  <a:gd name="T21" fmla="*/ 224 h 249"/>
                  <a:gd name="T22" fmla="*/ 140 w 140"/>
                  <a:gd name="T23" fmla="*/ 25 h 249"/>
                  <a:gd name="T24" fmla="*/ 140 w 140"/>
                  <a:gd name="T25" fmla="*/ 25 h 249"/>
                  <a:gd name="T26" fmla="*/ 140 w 140"/>
                  <a:gd name="T27" fmla="*/ 19 h 249"/>
                  <a:gd name="T28" fmla="*/ 138 w 140"/>
                  <a:gd name="T29" fmla="*/ 15 h 249"/>
                  <a:gd name="T30" fmla="*/ 136 w 140"/>
                  <a:gd name="T31" fmla="*/ 11 h 249"/>
                  <a:gd name="T32" fmla="*/ 133 w 140"/>
                  <a:gd name="T33" fmla="*/ 7 h 249"/>
                  <a:gd name="T34" fmla="*/ 129 w 140"/>
                  <a:gd name="T35" fmla="*/ 4 h 249"/>
                  <a:gd name="T36" fmla="*/ 125 w 140"/>
                  <a:gd name="T37" fmla="*/ 2 h 249"/>
                  <a:gd name="T38" fmla="*/ 121 w 140"/>
                  <a:gd name="T39" fmla="*/ 0 h 249"/>
                  <a:gd name="T40" fmla="*/ 115 w 140"/>
                  <a:gd name="T41" fmla="*/ 0 h 249"/>
                  <a:gd name="T42" fmla="*/ 24 w 140"/>
                  <a:gd name="T43" fmla="*/ 0 h 249"/>
                  <a:gd name="T44" fmla="*/ 24 w 140"/>
                  <a:gd name="T45" fmla="*/ 0 h 249"/>
                  <a:gd name="T46" fmla="*/ 20 w 140"/>
                  <a:gd name="T47" fmla="*/ 0 h 249"/>
                  <a:gd name="T48" fmla="*/ 16 w 140"/>
                  <a:gd name="T49" fmla="*/ 2 h 249"/>
                  <a:gd name="T50" fmla="*/ 11 w 140"/>
                  <a:gd name="T51" fmla="*/ 4 h 249"/>
                  <a:gd name="T52" fmla="*/ 7 w 140"/>
                  <a:gd name="T53" fmla="*/ 7 h 249"/>
                  <a:gd name="T54" fmla="*/ 4 w 140"/>
                  <a:gd name="T55" fmla="*/ 11 h 249"/>
                  <a:gd name="T56" fmla="*/ 1 w 140"/>
                  <a:gd name="T57" fmla="*/ 15 h 249"/>
                  <a:gd name="T58" fmla="*/ 0 w 140"/>
                  <a:gd name="T59" fmla="*/ 19 h 249"/>
                  <a:gd name="T60" fmla="*/ 0 w 140"/>
                  <a:gd name="T61" fmla="*/ 25 h 249"/>
                  <a:gd name="T62" fmla="*/ 0 w 140"/>
                  <a:gd name="T63" fmla="*/ 224 h 249"/>
                  <a:gd name="T64" fmla="*/ 0 w 140"/>
                  <a:gd name="T65" fmla="*/ 224 h 249"/>
                  <a:gd name="T66" fmla="*/ 0 w 140"/>
                  <a:gd name="T67" fmla="*/ 230 h 249"/>
                  <a:gd name="T68" fmla="*/ 1 w 140"/>
                  <a:gd name="T69" fmla="*/ 234 h 249"/>
                  <a:gd name="T70" fmla="*/ 4 w 140"/>
                  <a:gd name="T71" fmla="*/ 238 h 249"/>
                  <a:gd name="T72" fmla="*/ 7 w 140"/>
                  <a:gd name="T73" fmla="*/ 242 h 249"/>
                  <a:gd name="T74" fmla="*/ 11 w 140"/>
                  <a:gd name="T75" fmla="*/ 245 h 249"/>
                  <a:gd name="T76" fmla="*/ 16 w 140"/>
                  <a:gd name="T77" fmla="*/ 247 h 249"/>
                  <a:gd name="T78" fmla="*/ 20 w 140"/>
                  <a:gd name="T79" fmla="*/ 249 h 249"/>
                  <a:gd name="T80" fmla="*/ 24 w 140"/>
                  <a:gd name="T81" fmla="*/ 249 h 249"/>
                  <a:gd name="T82" fmla="*/ 24 w 140"/>
                  <a:gd name="T83"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0" h="249">
                    <a:moveTo>
                      <a:pt x="24" y="249"/>
                    </a:moveTo>
                    <a:lnTo>
                      <a:pt x="115" y="249"/>
                    </a:lnTo>
                    <a:lnTo>
                      <a:pt x="115" y="249"/>
                    </a:lnTo>
                    <a:lnTo>
                      <a:pt x="121" y="249"/>
                    </a:lnTo>
                    <a:lnTo>
                      <a:pt x="125" y="247"/>
                    </a:lnTo>
                    <a:lnTo>
                      <a:pt x="129" y="245"/>
                    </a:lnTo>
                    <a:lnTo>
                      <a:pt x="133" y="242"/>
                    </a:lnTo>
                    <a:lnTo>
                      <a:pt x="136" y="238"/>
                    </a:lnTo>
                    <a:lnTo>
                      <a:pt x="138" y="234"/>
                    </a:lnTo>
                    <a:lnTo>
                      <a:pt x="140" y="230"/>
                    </a:lnTo>
                    <a:lnTo>
                      <a:pt x="140" y="224"/>
                    </a:lnTo>
                    <a:lnTo>
                      <a:pt x="140" y="25"/>
                    </a:lnTo>
                    <a:lnTo>
                      <a:pt x="140" y="25"/>
                    </a:lnTo>
                    <a:lnTo>
                      <a:pt x="140" y="19"/>
                    </a:lnTo>
                    <a:lnTo>
                      <a:pt x="138" y="15"/>
                    </a:lnTo>
                    <a:lnTo>
                      <a:pt x="136" y="11"/>
                    </a:lnTo>
                    <a:lnTo>
                      <a:pt x="133" y="7"/>
                    </a:lnTo>
                    <a:lnTo>
                      <a:pt x="129" y="4"/>
                    </a:lnTo>
                    <a:lnTo>
                      <a:pt x="125" y="2"/>
                    </a:lnTo>
                    <a:lnTo>
                      <a:pt x="121" y="0"/>
                    </a:lnTo>
                    <a:lnTo>
                      <a:pt x="115" y="0"/>
                    </a:lnTo>
                    <a:lnTo>
                      <a:pt x="24" y="0"/>
                    </a:lnTo>
                    <a:lnTo>
                      <a:pt x="24" y="0"/>
                    </a:lnTo>
                    <a:lnTo>
                      <a:pt x="20" y="0"/>
                    </a:lnTo>
                    <a:lnTo>
                      <a:pt x="16" y="2"/>
                    </a:lnTo>
                    <a:lnTo>
                      <a:pt x="11" y="4"/>
                    </a:lnTo>
                    <a:lnTo>
                      <a:pt x="7" y="7"/>
                    </a:lnTo>
                    <a:lnTo>
                      <a:pt x="4" y="11"/>
                    </a:lnTo>
                    <a:lnTo>
                      <a:pt x="1" y="15"/>
                    </a:lnTo>
                    <a:lnTo>
                      <a:pt x="0" y="19"/>
                    </a:lnTo>
                    <a:lnTo>
                      <a:pt x="0" y="25"/>
                    </a:lnTo>
                    <a:lnTo>
                      <a:pt x="0" y="224"/>
                    </a:lnTo>
                    <a:lnTo>
                      <a:pt x="0" y="224"/>
                    </a:lnTo>
                    <a:lnTo>
                      <a:pt x="0" y="230"/>
                    </a:lnTo>
                    <a:lnTo>
                      <a:pt x="1" y="234"/>
                    </a:lnTo>
                    <a:lnTo>
                      <a:pt x="4" y="238"/>
                    </a:lnTo>
                    <a:lnTo>
                      <a:pt x="7" y="242"/>
                    </a:lnTo>
                    <a:lnTo>
                      <a:pt x="11" y="245"/>
                    </a:lnTo>
                    <a:lnTo>
                      <a:pt x="16" y="247"/>
                    </a:lnTo>
                    <a:lnTo>
                      <a:pt x="20" y="249"/>
                    </a:lnTo>
                    <a:lnTo>
                      <a:pt x="24" y="249"/>
                    </a:lnTo>
                    <a:lnTo>
                      <a:pt x="24" y="24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20" name="Freeform 438">
                <a:extLst>
                  <a:ext uri="{FF2B5EF4-FFF2-40B4-BE49-F238E27FC236}">
                    <a16:creationId xmlns:a16="http://schemas.microsoft.com/office/drawing/2014/main" id="{B03E3AEA-1462-41C4-AC88-C28922F178EF}"/>
                  </a:ext>
                </a:extLst>
              </p:cNvPr>
              <p:cNvSpPr>
                <a:spLocks/>
              </p:cNvSpPr>
              <p:nvPr/>
            </p:nvSpPr>
            <p:spPr bwMode="auto">
              <a:xfrm>
                <a:off x="3909807" y="5456290"/>
                <a:ext cx="44450" cy="79375"/>
              </a:xfrm>
              <a:custGeom>
                <a:avLst/>
                <a:gdLst>
                  <a:gd name="T0" fmla="*/ 25 w 141"/>
                  <a:gd name="T1" fmla="*/ 249 h 249"/>
                  <a:gd name="T2" fmla="*/ 116 w 141"/>
                  <a:gd name="T3" fmla="*/ 249 h 249"/>
                  <a:gd name="T4" fmla="*/ 116 w 141"/>
                  <a:gd name="T5" fmla="*/ 249 h 249"/>
                  <a:gd name="T6" fmla="*/ 121 w 141"/>
                  <a:gd name="T7" fmla="*/ 249 h 249"/>
                  <a:gd name="T8" fmla="*/ 126 w 141"/>
                  <a:gd name="T9" fmla="*/ 247 h 249"/>
                  <a:gd name="T10" fmla="*/ 130 w 141"/>
                  <a:gd name="T11" fmla="*/ 245 h 249"/>
                  <a:gd name="T12" fmla="*/ 133 w 141"/>
                  <a:gd name="T13" fmla="*/ 242 h 249"/>
                  <a:gd name="T14" fmla="*/ 137 w 141"/>
                  <a:gd name="T15" fmla="*/ 238 h 249"/>
                  <a:gd name="T16" fmla="*/ 139 w 141"/>
                  <a:gd name="T17" fmla="*/ 234 h 249"/>
                  <a:gd name="T18" fmla="*/ 140 w 141"/>
                  <a:gd name="T19" fmla="*/ 230 h 249"/>
                  <a:gd name="T20" fmla="*/ 141 w 141"/>
                  <a:gd name="T21" fmla="*/ 224 h 249"/>
                  <a:gd name="T22" fmla="*/ 141 w 141"/>
                  <a:gd name="T23" fmla="*/ 25 h 249"/>
                  <a:gd name="T24" fmla="*/ 141 w 141"/>
                  <a:gd name="T25" fmla="*/ 25 h 249"/>
                  <a:gd name="T26" fmla="*/ 140 w 141"/>
                  <a:gd name="T27" fmla="*/ 19 h 249"/>
                  <a:gd name="T28" fmla="*/ 139 w 141"/>
                  <a:gd name="T29" fmla="*/ 15 h 249"/>
                  <a:gd name="T30" fmla="*/ 137 w 141"/>
                  <a:gd name="T31" fmla="*/ 11 h 249"/>
                  <a:gd name="T32" fmla="*/ 133 w 141"/>
                  <a:gd name="T33" fmla="*/ 7 h 249"/>
                  <a:gd name="T34" fmla="*/ 130 w 141"/>
                  <a:gd name="T35" fmla="*/ 4 h 249"/>
                  <a:gd name="T36" fmla="*/ 126 w 141"/>
                  <a:gd name="T37" fmla="*/ 2 h 249"/>
                  <a:gd name="T38" fmla="*/ 121 w 141"/>
                  <a:gd name="T39" fmla="*/ 0 h 249"/>
                  <a:gd name="T40" fmla="*/ 116 w 141"/>
                  <a:gd name="T41" fmla="*/ 0 h 249"/>
                  <a:gd name="T42" fmla="*/ 25 w 141"/>
                  <a:gd name="T43" fmla="*/ 0 h 249"/>
                  <a:gd name="T44" fmla="*/ 25 w 141"/>
                  <a:gd name="T45" fmla="*/ 0 h 249"/>
                  <a:gd name="T46" fmla="*/ 21 w 141"/>
                  <a:gd name="T47" fmla="*/ 0 h 249"/>
                  <a:gd name="T48" fmla="*/ 15 w 141"/>
                  <a:gd name="T49" fmla="*/ 2 h 249"/>
                  <a:gd name="T50" fmla="*/ 11 w 141"/>
                  <a:gd name="T51" fmla="*/ 4 h 249"/>
                  <a:gd name="T52" fmla="*/ 8 w 141"/>
                  <a:gd name="T53" fmla="*/ 7 h 249"/>
                  <a:gd name="T54" fmla="*/ 4 w 141"/>
                  <a:gd name="T55" fmla="*/ 11 h 249"/>
                  <a:gd name="T56" fmla="*/ 2 w 141"/>
                  <a:gd name="T57" fmla="*/ 15 h 249"/>
                  <a:gd name="T58" fmla="*/ 1 w 141"/>
                  <a:gd name="T59" fmla="*/ 19 h 249"/>
                  <a:gd name="T60" fmla="*/ 0 w 141"/>
                  <a:gd name="T61" fmla="*/ 25 h 249"/>
                  <a:gd name="T62" fmla="*/ 0 w 141"/>
                  <a:gd name="T63" fmla="*/ 224 h 249"/>
                  <a:gd name="T64" fmla="*/ 0 w 141"/>
                  <a:gd name="T65" fmla="*/ 224 h 249"/>
                  <a:gd name="T66" fmla="*/ 1 w 141"/>
                  <a:gd name="T67" fmla="*/ 230 h 249"/>
                  <a:gd name="T68" fmla="*/ 2 w 141"/>
                  <a:gd name="T69" fmla="*/ 234 h 249"/>
                  <a:gd name="T70" fmla="*/ 4 w 141"/>
                  <a:gd name="T71" fmla="*/ 238 h 249"/>
                  <a:gd name="T72" fmla="*/ 8 w 141"/>
                  <a:gd name="T73" fmla="*/ 242 h 249"/>
                  <a:gd name="T74" fmla="*/ 11 w 141"/>
                  <a:gd name="T75" fmla="*/ 245 h 249"/>
                  <a:gd name="T76" fmla="*/ 15 w 141"/>
                  <a:gd name="T77" fmla="*/ 247 h 249"/>
                  <a:gd name="T78" fmla="*/ 21 w 141"/>
                  <a:gd name="T79" fmla="*/ 249 h 249"/>
                  <a:gd name="T80" fmla="*/ 25 w 141"/>
                  <a:gd name="T81" fmla="*/ 249 h 249"/>
                  <a:gd name="T82" fmla="*/ 25 w 141"/>
                  <a:gd name="T83"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249">
                    <a:moveTo>
                      <a:pt x="25" y="249"/>
                    </a:moveTo>
                    <a:lnTo>
                      <a:pt x="116" y="249"/>
                    </a:lnTo>
                    <a:lnTo>
                      <a:pt x="116" y="249"/>
                    </a:lnTo>
                    <a:lnTo>
                      <a:pt x="121" y="249"/>
                    </a:lnTo>
                    <a:lnTo>
                      <a:pt x="126" y="247"/>
                    </a:lnTo>
                    <a:lnTo>
                      <a:pt x="130" y="245"/>
                    </a:lnTo>
                    <a:lnTo>
                      <a:pt x="133" y="242"/>
                    </a:lnTo>
                    <a:lnTo>
                      <a:pt x="137" y="238"/>
                    </a:lnTo>
                    <a:lnTo>
                      <a:pt x="139" y="234"/>
                    </a:lnTo>
                    <a:lnTo>
                      <a:pt x="140" y="230"/>
                    </a:lnTo>
                    <a:lnTo>
                      <a:pt x="141" y="224"/>
                    </a:lnTo>
                    <a:lnTo>
                      <a:pt x="141" y="25"/>
                    </a:lnTo>
                    <a:lnTo>
                      <a:pt x="141" y="25"/>
                    </a:lnTo>
                    <a:lnTo>
                      <a:pt x="140" y="19"/>
                    </a:lnTo>
                    <a:lnTo>
                      <a:pt x="139" y="15"/>
                    </a:lnTo>
                    <a:lnTo>
                      <a:pt x="137" y="11"/>
                    </a:lnTo>
                    <a:lnTo>
                      <a:pt x="133" y="7"/>
                    </a:lnTo>
                    <a:lnTo>
                      <a:pt x="130" y="4"/>
                    </a:lnTo>
                    <a:lnTo>
                      <a:pt x="126" y="2"/>
                    </a:lnTo>
                    <a:lnTo>
                      <a:pt x="121" y="0"/>
                    </a:lnTo>
                    <a:lnTo>
                      <a:pt x="116" y="0"/>
                    </a:lnTo>
                    <a:lnTo>
                      <a:pt x="25" y="0"/>
                    </a:lnTo>
                    <a:lnTo>
                      <a:pt x="25" y="0"/>
                    </a:lnTo>
                    <a:lnTo>
                      <a:pt x="21" y="0"/>
                    </a:lnTo>
                    <a:lnTo>
                      <a:pt x="15" y="2"/>
                    </a:lnTo>
                    <a:lnTo>
                      <a:pt x="11" y="4"/>
                    </a:lnTo>
                    <a:lnTo>
                      <a:pt x="8" y="7"/>
                    </a:lnTo>
                    <a:lnTo>
                      <a:pt x="4" y="11"/>
                    </a:lnTo>
                    <a:lnTo>
                      <a:pt x="2" y="15"/>
                    </a:lnTo>
                    <a:lnTo>
                      <a:pt x="1" y="19"/>
                    </a:lnTo>
                    <a:lnTo>
                      <a:pt x="0" y="25"/>
                    </a:lnTo>
                    <a:lnTo>
                      <a:pt x="0" y="224"/>
                    </a:lnTo>
                    <a:lnTo>
                      <a:pt x="0" y="224"/>
                    </a:lnTo>
                    <a:lnTo>
                      <a:pt x="1" y="230"/>
                    </a:lnTo>
                    <a:lnTo>
                      <a:pt x="2" y="234"/>
                    </a:lnTo>
                    <a:lnTo>
                      <a:pt x="4" y="238"/>
                    </a:lnTo>
                    <a:lnTo>
                      <a:pt x="8" y="242"/>
                    </a:lnTo>
                    <a:lnTo>
                      <a:pt x="11" y="245"/>
                    </a:lnTo>
                    <a:lnTo>
                      <a:pt x="15" y="247"/>
                    </a:lnTo>
                    <a:lnTo>
                      <a:pt x="21" y="249"/>
                    </a:lnTo>
                    <a:lnTo>
                      <a:pt x="25" y="249"/>
                    </a:lnTo>
                    <a:lnTo>
                      <a:pt x="25" y="24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21" name="Freeform 439">
                <a:extLst>
                  <a:ext uri="{FF2B5EF4-FFF2-40B4-BE49-F238E27FC236}">
                    <a16:creationId xmlns:a16="http://schemas.microsoft.com/office/drawing/2014/main" id="{BA93141E-ACC4-482A-B441-F050BB007917}"/>
                  </a:ext>
                </a:extLst>
              </p:cNvPr>
              <p:cNvSpPr>
                <a:spLocks noEditPoints="1"/>
              </p:cNvSpPr>
              <p:nvPr/>
            </p:nvSpPr>
            <p:spPr bwMode="auto">
              <a:xfrm>
                <a:off x="3633582" y="5486453"/>
                <a:ext cx="392112" cy="350838"/>
              </a:xfrm>
              <a:custGeom>
                <a:avLst/>
                <a:gdLst>
                  <a:gd name="T0" fmla="*/ 1058 w 1235"/>
                  <a:gd name="T1" fmla="*/ 129 h 1105"/>
                  <a:gd name="T2" fmla="*/ 1057 w 1235"/>
                  <a:gd name="T3" fmla="*/ 145 h 1105"/>
                  <a:gd name="T4" fmla="*/ 1049 w 1235"/>
                  <a:gd name="T5" fmla="*/ 165 h 1105"/>
                  <a:gd name="T6" fmla="*/ 1036 w 1235"/>
                  <a:gd name="T7" fmla="*/ 182 h 1105"/>
                  <a:gd name="T8" fmla="*/ 1019 w 1235"/>
                  <a:gd name="T9" fmla="*/ 195 h 1105"/>
                  <a:gd name="T10" fmla="*/ 998 w 1235"/>
                  <a:gd name="T11" fmla="*/ 203 h 1105"/>
                  <a:gd name="T12" fmla="*/ 892 w 1235"/>
                  <a:gd name="T13" fmla="*/ 205 h 1105"/>
                  <a:gd name="T14" fmla="*/ 877 w 1235"/>
                  <a:gd name="T15" fmla="*/ 203 h 1105"/>
                  <a:gd name="T16" fmla="*/ 856 w 1235"/>
                  <a:gd name="T17" fmla="*/ 195 h 1105"/>
                  <a:gd name="T18" fmla="*/ 839 w 1235"/>
                  <a:gd name="T19" fmla="*/ 182 h 1105"/>
                  <a:gd name="T20" fmla="*/ 826 w 1235"/>
                  <a:gd name="T21" fmla="*/ 165 h 1105"/>
                  <a:gd name="T22" fmla="*/ 818 w 1235"/>
                  <a:gd name="T23" fmla="*/ 145 h 1105"/>
                  <a:gd name="T24" fmla="*/ 817 w 1235"/>
                  <a:gd name="T25" fmla="*/ 0 h 1105"/>
                  <a:gd name="T26" fmla="*/ 418 w 1235"/>
                  <a:gd name="T27" fmla="*/ 129 h 1105"/>
                  <a:gd name="T28" fmla="*/ 414 w 1235"/>
                  <a:gd name="T29" fmla="*/ 152 h 1105"/>
                  <a:gd name="T30" fmla="*/ 405 w 1235"/>
                  <a:gd name="T31" fmla="*/ 172 h 1105"/>
                  <a:gd name="T32" fmla="*/ 390 w 1235"/>
                  <a:gd name="T33" fmla="*/ 188 h 1105"/>
                  <a:gd name="T34" fmla="*/ 372 w 1235"/>
                  <a:gd name="T35" fmla="*/ 199 h 1105"/>
                  <a:gd name="T36" fmla="*/ 350 w 1235"/>
                  <a:gd name="T37" fmla="*/ 204 h 1105"/>
                  <a:gd name="T38" fmla="*/ 251 w 1235"/>
                  <a:gd name="T39" fmla="*/ 205 h 1105"/>
                  <a:gd name="T40" fmla="*/ 230 w 1235"/>
                  <a:gd name="T41" fmla="*/ 201 h 1105"/>
                  <a:gd name="T42" fmla="*/ 210 w 1235"/>
                  <a:gd name="T43" fmla="*/ 192 h 1105"/>
                  <a:gd name="T44" fmla="*/ 194 w 1235"/>
                  <a:gd name="T45" fmla="*/ 177 h 1105"/>
                  <a:gd name="T46" fmla="*/ 183 w 1235"/>
                  <a:gd name="T47" fmla="*/ 159 h 1105"/>
                  <a:gd name="T48" fmla="*/ 176 w 1235"/>
                  <a:gd name="T49" fmla="*/ 137 h 1105"/>
                  <a:gd name="T50" fmla="*/ 144 w 1235"/>
                  <a:gd name="T51" fmla="*/ 0 h 1105"/>
                  <a:gd name="T52" fmla="*/ 116 w 1235"/>
                  <a:gd name="T53" fmla="*/ 4 h 1105"/>
                  <a:gd name="T54" fmla="*/ 76 w 1235"/>
                  <a:gd name="T55" fmla="*/ 18 h 1105"/>
                  <a:gd name="T56" fmla="*/ 42 w 1235"/>
                  <a:gd name="T57" fmla="*/ 43 h 1105"/>
                  <a:gd name="T58" fmla="*/ 17 w 1235"/>
                  <a:gd name="T59" fmla="*/ 76 h 1105"/>
                  <a:gd name="T60" fmla="*/ 3 w 1235"/>
                  <a:gd name="T61" fmla="*/ 116 h 1105"/>
                  <a:gd name="T62" fmla="*/ 0 w 1235"/>
                  <a:gd name="T63" fmla="*/ 413 h 1105"/>
                  <a:gd name="T64" fmla="*/ 1 w 1235"/>
                  <a:gd name="T65" fmla="*/ 975 h 1105"/>
                  <a:gd name="T66" fmla="*/ 12 w 1235"/>
                  <a:gd name="T67" fmla="*/ 1016 h 1105"/>
                  <a:gd name="T68" fmla="*/ 33 w 1235"/>
                  <a:gd name="T69" fmla="*/ 1052 h 1105"/>
                  <a:gd name="T70" fmla="*/ 64 w 1235"/>
                  <a:gd name="T71" fmla="*/ 1080 h 1105"/>
                  <a:gd name="T72" fmla="*/ 102 w 1235"/>
                  <a:gd name="T73" fmla="*/ 1099 h 1105"/>
                  <a:gd name="T74" fmla="*/ 144 w 1235"/>
                  <a:gd name="T75" fmla="*/ 1105 h 1105"/>
                  <a:gd name="T76" fmla="*/ 1104 w 1235"/>
                  <a:gd name="T77" fmla="*/ 1104 h 1105"/>
                  <a:gd name="T78" fmla="*/ 1147 w 1235"/>
                  <a:gd name="T79" fmla="*/ 1093 h 1105"/>
                  <a:gd name="T80" fmla="*/ 1183 w 1235"/>
                  <a:gd name="T81" fmla="*/ 1072 h 1105"/>
                  <a:gd name="T82" fmla="*/ 1210 w 1235"/>
                  <a:gd name="T83" fmla="*/ 1041 h 1105"/>
                  <a:gd name="T84" fmla="*/ 1228 w 1235"/>
                  <a:gd name="T85" fmla="*/ 1003 h 1105"/>
                  <a:gd name="T86" fmla="*/ 1235 w 1235"/>
                  <a:gd name="T87" fmla="*/ 960 h 1105"/>
                  <a:gd name="T88" fmla="*/ 1235 w 1235"/>
                  <a:gd name="T89" fmla="*/ 146 h 1105"/>
                  <a:gd name="T90" fmla="*/ 1228 w 1235"/>
                  <a:gd name="T91" fmla="*/ 102 h 1105"/>
                  <a:gd name="T92" fmla="*/ 1210 w 1235"/>
                  <a:gd name="T93" fmla="*/ 64 h 1105"/>
                  <a:gd name="T94" fmla="*/ 1183 w 1235"/>
                  <a:gd name="T95" fmla="*/ 34 h 1105"/>
                  <a:gd name="T96" fmla="*/ 1147 w 1235"/>
                  <a:gd name="T97" fmla="*/ 12 h 1105"/>
                  <a:gd name="T98" fmla="*/ 1104 w 1235"/>
                  <a:gd name="T99" fmla="*/ 1 h 1105"/>
                  <a:gd name="T100" fmla="*/ 1144 w 1235"/>
                  <a:gd name="T101" fmla="*/ 960 h 1105"/>
                  <a:gd name="T102" fmla="*/ 1139 w 1235"/>
                  <a:gd name="T103" fmla="*/ 980 h 1105"/>
                  <a:gd name="T104" fmla="*/ 1120 w 1235"/>
                  <a:gd name="T105" fmla="*/ 1004 h 1105"/>
                  <a:gd name="T106" fmla="*/ 1090 w 1235"/>
                  <a:gd name="T107" fmla="*/ 1013 h 1105"/>
                  <a:gd name="T108" fmla="*/ 134 w 1235"/>
                  <a:gd name="T109" fmla="*/ 1012 h 1105"/>
                  <a:gd name="T110" fmla="*/ 107 w 1235"/>
                  <a:gd name="T111" fmla="*/ 998 h 1105"/>
                  <a:gd name="T112" fmla="*/ 92 w 1235"/>
                  <a:gd name="T113" fmla="*/ 971 h 1105"/>
                  <a:gd name="T114" fmla="*/ 1144 w 1235"/>
                  <a:gd name="T115" fmla="*/ 413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5" h="1105">
                    <a:moveTo>
                      <a:pt x="1090" y="0"/>
                    </a:moveTo>
                    <a:lnTo>
                      <a:pt x="1058" y="0"/>
                    </a:lnTo>
                    <a:lnTo>
                      <a:pt x="1058" y="129"/>
                    </a:lnTo>
                    <a:lnTo>
                      <a:pt x="1058" y="129"/>
                    </a:lnTo>
                    <a:lnTo>
                      <a:pt x="1058" y="137"/>
                    </a:lnTo>
                    <a:lnTo>
                      <a:pt x="1057" y="145"/>
                    </a:lnTo>
                    <a:lnTo>
                      <a:pt x="1055" y="152"/>
                    </a:lnTo>
                    <a:lnTo>
                      <a:pt x="1052" y="159"/>
                    </a:lnTo>
                    <a:lnTo>
                      <a:pt x="1049" y="165"/>
                    </a:lnTo>
                    <a:lnTo>
                      <a:pt x="1045" y="172"/>
                    </a:lnTo>
                    <a:lnTo>
                      <a:pt x="1041" y="177"/>
                    </a:lnTo>
                    <a:lnTo>
                      <a:pt x="1036" y="182"/>
                    </a:lnTo>
                    <a:lnTo>
                      <a:pt x="1031" y="188"/>
                    </a:lnTo>
                    <a:lnTo>
                      <a:pt x="1025" y="192"/>
                    </a:lnTo>
                    <a:lnTo>
                      <a:pt x="1019" y="195"/>
                    </a:lnTo>
                    <a:lnTo>
                      <a:pt x="1012" y="199"/>
                    </a:lnTo>
                    <a:lnTo>
                      <a:pt x="1006" y="201"/>
                    </a:lnTo>
                    <a:lnTo>
                      <a:pt x="998" y="203"/>
                    </a:lnTo>
                    <a:lnTo>
                      <a:pt x="991" y="204"/>
                    </a:lnTo>
                    <a:lnTo>
                      <a:pt x="983" y="205"/>
                    </a:lnTo>
                    <a:lnTo>
                      <a:pt x="892" y="205"/>
                    </a:lnTo>
                    <a:lnTo>
                      <a:pt x="892" y="205"/>
                    </a:lnTo>
                    <a:lnTo>
                      <a:pt x="884" y="204"/>
                    </a:lnTo>
                    <a:lnTo>
                      <a:pt x="877" y="203"/>
                    </a:lnTo>
                    <a:lnTo>
                      <a:pt x="870" y="201"/>
                    </a:lnTo>
                    <a:lnTo>
                      <a:pt x="863" y="199"/>
                    </a:lnTo>
                    <a:lnTo>
                      <a:pt x="856" y="195"/>
                    </a:lnTo>
                    <a:lnTo>
                      <a:pt x="850" y="192"/>
                    </a:lnTo>
                    <a:lnTo>
                      <a:pt x="844" y="188"/>
                    </a:lnTo>
                    <a:lnTo>
                      <a:pt x="839" y="182"/>
                    </a:lnTo>
                    <a:lnTo>
                      <a:pt x="835" y="177"/>
                    </a:lnTo>
                    <a:lnTo>
                      <a:pt x="830" y="172"/>
                    </a:lnTo>
                    <a:lnTo>
                      <a:pt x="826" y="165"/>
                    </a:lnTo>
                    <a:lnTo>
                      <a:pt x="823" y="159"/>
                    </a:lnTo>
                    <a:lnTo>
                      <a:pt x="820" y="152"/>
                    </a:lnTo>
                    <a:lnTo>
                      <a:pt x="818" y="145"/>
                    </a:lnTo>
                    <a:lnTo>
                      <a:pt x="817" y="137"/>
                    </a:lnTo>
                    <a:lnTo>
                      <a:pt x="817" y="129"/>
                    </a:lnTo>
                    <a:lnTo>
                      <a:pt x="817" y="0"/>
                    </a:lnTo>
                    <a:lnTo>
                      <a:pt x="418" y="0"/>
                    </a:lnTo>
                    <a:lnTo>
                      <a:pt x="418" y="129"/>
                    </a:lnTo>
                    <a:lnTo>
                      <a:pt x="418" y="129"/>
                    </a:lnTo>
                    <a:lnTo>
                      <a:pt x="417" y="137"/>
                    </a:lnTo>
                    <a:lnTo>
                      <a:pt x="416" y="145"/>
                    </a:lnTo>
                    <a:lnTo>
                      <a:pt x="414" y="152"/>
                    </a:lnTo>
                    <a:lnTo>
                      <a:pt x="412" y="159"/>
                    </a:lnTo>
                    <a:lnTo>
                      <a:pt x="408" y="165"/>
                    </a:lnTo>
                    <a:lnTo>
                      <a:pt x="405" y="172"/>
                    </a:lnTo>
                    <a:lnTo>
                      <a:pt x="401" y="177"/>
                    </a:lnTo>
                    <a:lnTo>
                      <a:pt x="395" y="182"/>
                    </a:lnTo>
                    <a:lnTo>
                      <a:pt x="390" y="188"/>
                    </a:lnTo>
                    <a:lnTo>
                      <a:pt x="385" y="192"/>
                    </a:lnTo>
                    <a:lnTo>
                      <a:pt x="378" y="195"/>
                    </a:lnTo>
                    <a:lnTo>
                      <a:pt x="372" y="199"/>
                    </a:lnTo>
                    <a:lnTo>
                      <a:pt x="365" y="201"/>
                    </a:lnTo>
                    <a:lnTo>
                      <a:pt x="357" y="203"/>
                    </a:lnTo>
                    <a:lnTo>
                      <a:pt x="350" y="204"/>
                    </a:lnTo>
                    <a:lnTo>
                      <a:pt x="342" y="205"/>
                    </a:lnTo>
                    <a:lnTo>
                      <a:pt x="251" y="205"/>
                    </a:lnTo>
                    <a:lnTo>
                      <a:pt x="251" y="205"/>
                    </a:lnTo>
                    <a:lnTo>
                      <a:pt x="244" y="204"/>
                    </a:lnTo>
                    <a:lnTo>
                      <a:pt x="236" y="203"/>
                    </a:lnTo>
                    <a:lnTo>
                      <a:pt x="230" y="201"/>
                    </a:lnTo>
                    <a:lnTo>
                      <a:pt x="222" y="199"/>
                    </a:lnTo>
                    <a:lnTo>
                      <a:pt x="215" y="195"/>
                    </a:lnTo>
                    <a:lnTo>
                      <a:pt x="210" y="192"/>
                    </a:lnTo>
                    <a:lnTo>
                      <a:pt x="203" y="188"/>
                    </a:lnTo>
                    <a:lnTo>
                      <a:pt x="198" y="182"/>
                    </a:lnTo>
                    <a:lnTo>
                      <a:pt x="194" y="177"/>
                    </a:lnTo>
                    <a:lnTo>
                      <a:pt x="189" y="172"/>
                    </a:lnTo>
                    <a:lnTo>
                      <a:pt x="185" y="165"/>
                    </a:lnTo>
                    <a:lnTo>
                      <a:pt x="183" y="159"/>
                    </a:lnTo>
                    <a:lnTo>
                      <a:pt x="180" y="152"/>
                    </a:lnTo>
                    <a:lnTo>
                      <a:pt x="177" y="145"/>
                    </a:lnTo>
                    <a:lnTo>
                      <a:pt x="176" y="137"/>
                    </a:lnTo>
                    <a:lnTo>
                      <a:pt x="176" y="129"/>
                    </a:lnTo>
                    <a:lnTo>
                      <a:pt x="176" y="0"/>
                    </a:lnTo>
                    <a:lnTo>
                      <a:pt x="144" y="0"/>
                    </a:lnTo>
                    <a:lnTo>
                      <a:pt x="144" y="0"/>
                    </a:lnTo>
                    <a:lnTo>
                      <a:pt x="130" y="1"/>
                    </a:lnTo>
                    <a:lnTo>
                      <a:pt x="116" y="4"/>
                    </a:lnTo>
                    <a:lnTo>
                      <a:pt x="102" y="7"/>
                    </a:lnTo>
                    <a:lnTo>
                      <a:pt x="89" y="12"/>
                    </a:lnTo>
                    <a:lnTo>
                      <a:pt x="76" y="18"/>
                    </a:lnTo>
                    <a:lnTo>
                      <a:pt x="64" y="25"/>
                    </a:lnTo>
                    <a:lnTo>
                      <a:pt x="53" y="34"/>
                    </a:lnTo>
                    <a:lnTo>
                      <a:pt x="42" y="43"/>
                    </a:lnTo>
                    <a:lnTo>
                      <a:pt x="33" y="53"/>
                    </a:lnTo>
                    <a:lnTo>
                      <a:pt x="25" y="64"/>
                    </a:lnTo>
                    <a:lnTo>
                      <a:pt x="17" y="76"/>
                    </a:lnTo>
                    <a:lnTo>
                      <a:pt x="12" y="89"/>
                    </a:lnTo>
                    <a:lnTo>
                      <a:pt x="6" y="102"/>
                    </a:lnTo>
                    <a:lnTo>
                      <a:pt x="3" y="116"/>
                    </a:lnTo>
                    <a:lnTo>
                      <a:pt x="1" y="130"/>
                    </a:lnTo>
                    <a:lnTo>
                      <a:pt x="0" y="146"/>
                    </a:lnTo>
                    <a:lnTo>
                      <a:pt x="0" y="413"/>
                    </a:lnTo>
                    <a:lnTo>
                      <a:pt x="0" y="960"/>
                    </a:lnTo>
                    <a:lnTo>
                      <a:pt x="0" y="960"/>
                    </a:lnTo>
                    <a:lnTo>
                      <a:pt x="1" y="975"/>
                    </a:lnTo>
                    <a:lnTo>
                      <a:pt x="3" y="989"/>
                    </a:lnTo>
                    <a:lnTo>
                      <a:pt x="6" y="1003"/>
                    </a:lnTo>
                    <a:lnTo>
                      <a:pt x="12" y="1016"/>
                    </a:lnTo>
                    <a:lnTo>
                      <a:pt x="17" y="1029"/>
                    </a:lnTo>
                    <a:lnTo>
                      <a:pt x="25" y="1041"/>
                    </a:lnTo>
                    <a:lnTo>
                      <a:pt x="33" y="1052"/>
                    </a:lnTo>
                    <a:lnTo>
                      <a:pt x="42" y="1063"/>
                    </a:lnTo>
                    <a:lnTo>
                      <a:pt x="53" y="1072"/>
                    </a:lnTo>
                    <a:lnTo>
                      <a:pt x="64" y="1080"/>
                    </a:lnTo>
                    <a:lnTo>
                      <a:pt x="76" y="1088"/>
                    </a:lnTo>
                    <a:lnTo>
                      <a:pt x="89" y="1093"/>
                    </a:lnTo>
                    <a:lnTo>
                      <a:pt x="102" y="1099"/>
                    </a:lnTo>
                    <a:lnTo>
                      <a:pt x="116" y="1102"/>
                    </a:lnTo>
                    <a:lnTo>
                      <a:pt x="130" y="1104"/>
                    </a:lnTo>
                    <a:lnTo>
                      <a:pt x="144" y="1105"/>
                    </a:lnTo>
                    <a:lnTo>
                      <a:pt x="1090" y="1105"/>
                    </a:lnTo>
                    <a:lnTo>
                      <a:pt x="1090" y="1105"/>
                    </a:lnTo>
                    <a:lnTo>
                      <a:pt x="1104" y="1104"/>
                    </a:lnTo>
                    <a:lnTo>
                      <a:pt x="1120" y="1102"/>
                    </a:lnTo>
                    <a:lnTo>
                      <a:pt x="1134" y="1099"/>
                    </a:lnTo>
                    <a:lnTo>
                      <a:pt x="1147" y="1093"/>
                    </a:lnTo>
                    <a:lnTo>
                      <a:pt x="1159" y="1088"/>
                    </a:lnTo>
                    <a:lnTo>
                      <a:pt x="1171" y="1080"/>
                    </a:lnTo>
                    <a:lnTo>
                      <a:pt x="1183" y="1072"/>
                    </a:lnTo>
                    <a:lnTo>
                      <a:pt x="1192" y="1063"/>
                    </a:lnTo>
                    <a:lnTo>
                      <a:pt x="1202" y="1052"/>
                    </a:lnTo>
                    <a:lnTo>
                      <a:pt x="1210" y="1041"/>
                    </a:lnTo>
                    <a:lnTo>
                      <a:pt x="1217" y="1029"/>
                    </a:lnTo>
                    <a:lnTo>
                      <a:pt x="1224" y="1016"/>
                    </a:lnTo>
                    <a:lnTo>
                      <a:pt x="1228" y="1003"/>
                    </a:lnTo>
                    <a:lnTo>
                      <a:pt x="1232" y="989"/>
                    </a:lnTo>
                    <a:lnTo>
                      <a:pt x="1235" y="975"/>
                    </a:lnTo>
                    <a:lnTo>
                      <a:pt x="1235" y="960"/>
                    </a:lnTo>
                    <a:lnTo>
                      <a:pt x="1235" y="413"/>
                    </a:lnTo>
                    <a:lnTo>
                      <a:pt x="1235" y="146"/>
                    </a:lnTo>
                    <a:lnTo>
                      <a:pt x="1235" y="146"/>
                    </a:lnTo>
                    <a:lnTo>
                      <a:pt x="1235" y="130"/>
                    </a:lnTo>
                    <a:lnTo>
                      <a:pt x="1232" y="116"/>
                    </a:lnTo>
                    <a:lnTo>
                      <a:pt x="1228" y="102"/>
                    </a:lnTo>
                    <a:lnTo>
                      <a:pt x="1224" y="89"/>
                    </a:lnTo>
                    <a:lnTo>
                      <a:pt x="1217" y="76"/>
                    </a:lnTo>
                    <a:lnTo>
                      <a:pt x="1210" y="64"/>
                    </a:lnTo>
                    <a:lnTo>
                      <a:pt x="1202" y="53"/>
                    </a:lnTo>
                    <a:lnTo>
                      <a:pt x="1192" y="43"/>
                    </a:lnTo>
                    <a:lnTo>
                      <a:pt x="1183" y="34"/>
                    </a:lnTo>
                    <a:lnTo>
                      <a:pt x="1171" y="25"/>
                    </a:lnTo>
                    <a:lnTo>
                      <a:pt x="1159" y="18"/>
                    </a:lnTo>
                    <a:lnTo>
                      <a:pt x="1147" y="12"/>
                    </a:lnTo>
                    <a:lnTo>
                      <a:pt x="1134" y="7"/>
                    </a:lnTo>
                    <a:lnTo>
                      <a:pt x="1120" y="4"/>
                    </a:lnTo>
                    <a:lnTo>
                      <a:pt x="1104" y="1"/>
                    </a:lnTo>
                    <a:lnTo>
                      <a:pt x="1090" y="0"/>
                    </a:lnTo>
                    <a:lnTo>
                      <a:pt x="1090" y="0"/>
                    </a:lnTo>
                    <a:close/>
                    <a:moveTo>
                      <a:pt x="1144" y="960"/>
                    </a:moveTo>
                    <a:lnTo>
                      <a:pt x="1144" y="960"/>
                    </a:lnTo>
                    <a:lnTo>
                      <a:pt x="1142" y="971"/>
                    </a:lnTo>
                    <a:lnTo>
                      <a:pt x="1139" y="980"/>
                    </a:lnTo>
                    <a:lnTo>
                      <a:pt x="1134" y="990"/>
                    </a:lnTo>
                    <a:lnTo>
                      <a:pt x="1128" y="998"/>
                    </a:lnTo>
                    <a:lnTo>
                      <a:pt x="1120" y="1004"/>
                    </a:lnTo>
                    <a:lnTo>
                      <a:pt x="1111" y="1010"/>
                    </a:lnTo>
                    <a:lnTo>
                      <a:pt x="1101" y="1012"/>
                    </a:lnTo>
                    <a:lnTo>
                      <a:pt x="1090" y="1013"/>
                    </a:lnTo>
                    <a:lnTo>
                      <a:pt x="144" y="1013"/>
                    </a:lnTo>
                    <a:lnTo>
                      <a:pt x="144" y="1013"/>
                    </a:lnTo>
                    <a:lnTo>
                      <a:pt x="134" y="1012"/>
                    </a:lnTo>
                    <a:lnTo>
                      <a:pt x="123" y="1010"/>
                    </a:lnTo>
                    <a:lnTo>
                      <a:pt x="115" y="1004"/>
                    </a:lnTo>
                    <a:lnTo>
                      <a:pt x="107" y="998"/>
                    </a:lnTo>
                    <a:lnTo>
                      <a:pt x="100" y="990"/>
                    </a:lnTo>
                    <a:lnTo>
                      <a:pt x="95" y="980"/>
                    </a:lnTo>
                    <a:lnTo>
                      <a:pt x="92" y="971"/>
                    </a:lnTo>
                    <a:lnTo>
                      <a:pt x="91" y="960"/>
                    </a:lnTo>
                    <a:lnTo>
                      <a:pt x="91" y="413"/>
                    </a:lnTo>
                    <a:lnTo>
                      <a:pt x="1144" y="413"/>
                    </a:lnTo>
                    <a:lnTo>
                      <a:pt x="1144" y="96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522" name="Group 1521">
            <a:extLst>
              <a:ext uri="{FF2B5EF4-FFF2-40B4-BE49-F238E27FC236}">
                <a16:creationId xmlns:a16="http://schemas.microsoft.com/office/drawing/2014/main" id="{C5B71330-BBCB-4D31-99EE-B442172C8B5F}"/>
              </a:ext>
            </a:extLst>
          </p:cNvPr>
          <p:cNvGrpSpPr/>
          <p:nvPr/>
        </p:nvGrpSpPr>
        <p:grpSpPr>
          <a:xfrm>
            <a:off x="2475575" y="4718957"/>
            <a:ext cx="612000" cy="612000"/>
            <a:chOff x="1320946" y="5357300"/>
            <a:chExt cx="612000" cy="612000"/>
          </a:xfrm>
        </p:grpSpPr>
        <p:sp>
          <p:nvSpPr>
            <p:cNvPr id="1523" name="Oval 1522">
              <a:extLst>
                <a:ext uri="{FF2B5EF4-FFF2-40B4-BE49-F238E27FC236}">
                  <a16:creationId xmlns:a16="http://schemas.microsoft.com/office/drawing/2014/main" id="{7F699649-CF91-4C84-BA3F-0B7D8D5D312F}"/>
                </a:ext>
              </a:extLst>
            </p:cNvPr>
            <p:cNvSpPr/>
            <p:nvPr/>
          </p:nvSpPr>
          <p:spPr bwMode="ltGray">
            <a:xfrm>
              <a:off x="1320946" y="5357300"/>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524" name="Group 1523">
              <a:extLst>
                <a:ext uri="{FF2B5EF4-FFF2-40B4-BE49-F238E27FC236}">
                  <a16:creationId xmlns:a16="http://schemas.microsoft.com/office/drawing/2014/main" id="{8479DA1E-57DA-4241-8BEF-7F16E3574EA8}"/>
                </a:ext>
              </a:extLst>
            </p:cNvPr>
            <p:cNvGrpSpPr/>
            <p:nvPr/>
          </p:nvGrpSpPr>
          <p:grpSpPr>
            <a:xfrm>
              <a:off x="1396678" y="5441330"/>
              <a:ext cx="452437" cy="458788"/>
              <a:chOff x="9412244" y="5417397"/>
              <a:chExt cx="452437" cy="458788"/>
            </a:xfrm>
          </p:grpSpPr>
          <p:sp>
            <p:nvSpPr>
              <p:cNvPr id="1525" name="Freeform 356">
                <a:extLst>
                  <a:ext uri="{FF2B5EF4-FFF2-40B4-BE49-F238E27FC236}">
                    <a16:creationId xmlns:a16="http://schemas.microsoft.com/office/drawing/2014/main" id="{20434C50-4BA0-4D80-878E-7BA425884332}"/>
                  </a:ext>
                </a:extLst>
              </p:cNvPr>
              <p:cNvSpPr>
                <a:spLocks/>
              </p:cNvSpPr>
              <p:nvPr/>
            </p:nvSpPr>
            <p:spPr bwMode="auto">
              <a:xfrm>
                <a:off x="9575756" y="5549159"/>
                <a:ext cx="93662" cy="134938"/>
              </a:xfrm>
              <a:custGeom>
                <a:avLst/>
                <a:gdLst>
                  <a:gd name="T0" fmla="*/ 170 w 297"/>
                  <a:gd name="T1" fmla="*/ 201 h 427"/>
                  <a:gd name="T2" fmla="*/ 138 w 297"/>
                  <a:gd name="T3" fmla="*/ 226 h 427"/>
                  <a:gd name="T4" fmla="*/ 94 w 297"/>
                  <a:gd name="T5" fmla="*/ 264 h 427"/>
                  <a:gd name="T6" fmla="*/ 25 w 297"/>
                  <a:gd name="T7" fmla="*/ 332 h 427"/>
                  <a:gd name="T8" fmla="*/ 16 w 297"/>
                  <a:gd name="T9" fmla="*/ 344 h 427"/>
                  <a:gd name="T10" fmla="*/ 2 w 297"/>
                  <a:gd name="T11" fmla="*/ 375 h 427"/>
                  <a:gd name="T12" fmla="*/ 0 w 297"/>
                  <a:gd name="T13" fmla="*/ 386 h 427"/>
                  <a:gd name="T14" fmla="*/ 7 w 297"/>
                  <a:gd name="T15" fmla="*/ 409 h 427"/>
                  <a:gd name="T16" fmla="*/ 19 w 297"/>
                  <a:gd name="T17" fmla="*/ 420 h 427"/>
                  <a:gd name="T18" fmla="*/ 46 w 297"/>
                  <a:gd name="T19" fmla="*/ 427 h 427"/>
                  <a:gd name="T20" fmla="*/ 267 w 297"/>
                  <a:gd name="T21" fmla="*/ 427 h 427"/>
                  <a:gd name="T22" fmla="*/ 287 w 297"/>
                  <a:gd name="T23" fmla="*/ 417 h 427"/>
                  <a:gd name="T24" fmla="*/ 294 w 297"/>
                  <a:gd name="T25" fmla="*/ 406 h 427"/>
                  <a:gd name="T26" fmla="*/ 297 w 297"/>
                  <a:gd name="T27" fmla="*/ 393 h 427"/>
                  <a:gd name="T28" fmla="*/ 290 w 297"/>
                  <a:gd name="T29" fmla="*/ 373 h 427"/>
                  <a:gd name="T30" fmla="*/ 278 w 297"/>
                  <a:gd name="T31" fmla="*/ 364 h 427"/>
                  <a:gd name="T32" fmla="*/ 250 w 297"/>
                  <a:gd name="T33" fmla="*/ 359 h 427"/>
                  <a:gd name="T34" fmla="*/ 107 w 297"/>
                  <a:gd name="T35" fmla="*/ 349 h 427"/>
                  <a:gd name="T36" fmla="*/ 123 w 297"/>
                  <a:gd name="T37" fmla="*/ 329 h 427"/>
                  <a:gd name="T38" fmla="*/ 173 w 297"/>
                  <a:gd name="T39" fmla="*/ 285 h 427"/>
                  <a:gd name="T40" fmla="*/ 235 w 297"/>
                  <a:gd name="T41" fmla="*/ 233 h 427"/>
                  <a:gd name="T42" fmla="*/ 253 w 297"/>
                  <a:gd name="T43" fmla="*/ 213 h 427"/>
                  <a:gd name="T44" fmla="*/ 272 w 297"/>
                  <a:gd name="T45" fmla="*/ 187 h 427"/>
                  <a:gd name="T46" fmla="*/ 288 w 297"/>
                  <a:gd name="T47" fmla="*/ 139 h 427"/>
                  <a:gd name="T48" fmla="*/ 289 w 297"/>
                  <a:gd name="T49" fmla="*/ 110 h 427"/>
                  <a:gd name="T50" fmla="*/ 280 w 297"/>
                  <a:gd name="T51" fmla="*/ 77 h 427"/>
                  <a:gd name="T52" fmla="*/ 271 w 297"/>
                  <a:gd name="T53" fmla="*/ 57 h 427"/>
                  <a:gd name="T54" fmla="*/ 257 w 297"/>
                  <a:gd name="T55" fmla="*/ 40 h 427"/>
                  <a:gd name="T56" fmla="*/ 232 w 297"/>
                  <a:gd name="T57" fmla="*/ 20 h 427"/>
                  <a:gd name="T58" fmla="*/ 206 w 297"/>
                  <a:gd name="T59" fmla="*/ 8 h 427"/>
                  <a:gd name="T60" fmla="*/ 146 w 297"/>
                  <a:gd name="T61" fmla="*/ 0 h 427"/>
                  <a:gd name="T62" fmla="*/ 111 w 297"/>
                  <a:gd name="T63" fmla="*/ 4 h 427"/>
                  <a:gd name="T64" fmla="*/ 82 w 297"/>
                  <a:gd name="T65" fmla="*/ 11 h 427"/>
                  <a:gd name="T66" fmla="*/ 46 w 297"/>
                  <a:gd name="T67" fmla="*/ 32 h 427"/>
                  <a:gd name="T68" fmla="*/ 29 w 297"/>
                  <a:gd name="T69" fmla="*/ 49 h 427"/>
                  <a:gd name="T70" fmla="*/ 10 w 297"/>
                  <a:gd name="T71" fmla="*/ 80 h 427"/>
                  <a:gd name="T72" fmla="*/ 4 w 297"/>
                  <a:gd name="T73" fmla="*/ 100 h 427"/>
                  <a:gd name="T74" fmla="*/ 1 w 297"/>
                  <a:gd name="T75" fmla="*/ 121 h 427"/>
                  <a:gd name="T76" fmla="*/ 6 w 297"/>
                  <a:gd name="T77" fmla="*/ 141 h 427"/>
                  <a:gd name="T78" fmla="*/ 16 w 297"/>
                  <a:gd name="T79" fmla="*/ 151 h 427"/>
                  <a:gd name="T80" fmla="*/ 34 w 297"/>
                  <a:gd name="T81" fmla="*/ 157 h 427"/>
                  <a:gd name="T82" fmla="*/ 49 w 297"/>
                  <a:gd name="T83" fmla="*/ 153 h 427"/>
                  <a:gd name="T84" fmla="*/ 59 w 297"/>
                  <a:gd name="T85" fmla="*/ 146 h 427"/>
                  <a:gd name="T86" fmla="*/ 75 w 297"/>
                  <a:gd name="T87" fmla="*/ 117 h 427"/>
                  <a:gd name="T88" fmla="*/ 85 w 297"/>
                  <a:gd name="T89" fmla="*/ 93 h 427"/>
                  <a:gd name="T90" fmla="*/ 96 w 297"/>
                  <a:gd name="T91" fmla="*/ 77 h 427"/>
                  <a:gd name="T92" fmla="*/ 118 w 297"/>
                  <a:gd name="T93" fmla="*/ 64 h 427"/>
                  <a:gd name="T94" fmla="*/ 145 w 297"/>
                  <a:gd name="T95" fmla="*/ 59 h 427"/>
                  <a:gd name="T96" fmla="*/ 161 w 297"/>
                  <a:gd name="T97" fmla="*/ 61 h 427"/>
                  <a:gd name="T98" fmla="*/ 177 w 297"/>
                  <a:gd name="T99" fmla="*/ 68 h 427"/>
                  <a:gd name="T100" fmla="*/ 197 w 297"/>
                  <a:gd name="T101" fmla="*/ 83 h 427"/>
                  <a:gd name="T102" fmla="*/ 206 w 297"/>
                  <a:gd name="T103" fmla="*/ 98 h 427"/>
                  <a:gd name="T104" fmla="*/ 210 w 297"/>
                  <a:gd name="T105" fmla="*/ 123 h 427"/>
                  <a:gd name="T106" fmla="*/ 208 w 297"/>
                  <a:gd name="T107" fmla="*/ 140 h 427"/>
                  <a:gd name="T108" fmla="*/ 202 w 297"/>
                  <a:gd name="T109" fmla="*/ 158 h 427"/>
                  <a:gd name="T110" fmla="*/ 185 w 297"/>
                  <a:gd name="T111" fmla="*/ 184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97" h="427">
                    <a:moveTo>
                      <a:pt x="178" y="192"/>
                    </a:moveTo>
                    <a:lnTo>
                      <a:pt x="178" y="192"/>
                    </a:lnTo>
                    <a:lnTo>
                      <a:pt x="170" y="201"/>
                    </a:lnTo>
                    <a:lnTo>
                      <a:pt x="160" y="210"/>
                    </a:lnTo>
                    <a:lnTo>
                      <a:pt x="150" y="218"/>
                    </a:lnTo>
                    <a:lnTo>
                      <a:pt x="138" y="226"/>
                    </a:lnTo>
                    <a:lnTo>
                      <a:pt x="138" y="226"/>
                    </a:lnTo>
                    <a:lnTo>
                      <a:pt x="121" y="240"/>
                    </a:lnTo>
                    <a:lnTo>
                      <a:pt x="94" y="264"/>
                    </a:lnTo>
                    <a:lnTo>
                      <a:pt x="94" y="264"/>
                    </a:lnTo>
                    <a:lnTo>
                      <a:pt x="61" y="295"/>
                    </a:lnTo>
                    <a:lnTo>
                      <a:pt x="25" y="332"/>
                    </a:lnTo>
                    <a:lnTo>
                      <a:pt x="25" y="332"/>
                    </a:lnTo>
                    <a:lnTo>
                      <a:pt x="20" y="338"/>
                    </a:lnTo>
                    <a:lnTo>
                      <a:pt x="16" y="344"/>
                    </a:lnTo>
                    <a:lnTo>
                      <a:pt x="8" y="359"/>
                    </a:lnTo>
                    <a:lnTo>
                      <a:pt x="8" y="359"/>
                    </a:lnTo>
                    <a:lnTo>
                      <a:pt x="2" y="375"/>
                    </a:lnTo>
                    <a:lnTo>
                      <a:pt x="1" y="381"/>
                    </a:lnTo>
                    <a:lnTo>
                      <a:pt x="0" y="386"/>
                    </a:lnTo>
                    <a:lnTo>
                      <a:pt x="0" y="386"/>
                    </a:lnTo>
                    <a:lnTo>
                      <a:pt x="1" y="395"/>
                    </a:lnTo>
                    <a:lnTo>
                      <a:pt x="3" y="402"/>
                    </a:lnTo>
                    <a:lnTo>
                      <a:pt x="7" y="409"/>
                    </a:lnTo>
                    <a:lnTo>
                      <a:pt x="13" y="415"/>
                    </a:lnTo>
                    <a:lnTo>
                      <a:pt x="13" y="415"/>
                    </a:lnTo>
                    <a:lnTo>
                      <a:pt x="19" y="420"/>
                    </a:lnTo>
                    <a:lnTo>
                      <a:pt x="27" y="424"/>
                    </a:lnTo>
                    <a:lnTo>
                      <a:pt x="35" y="427"/>
                    </a:lnTo>
                    <a:lnTo>
                      <a:pt x="46" y="427"/>
                    </a:lnTo>
                    <a:lnTo>
                      <a:pt x="259" y="427"/>
                    </a:lnTo>
                    <a:lnTo>
                      <a:pt x="259" y="427"/>
                    </a:lnTo>
                    <a:lnTo>
                      <a:pt x="267" y="427"/>
                    </a:lnTo>
                    <a:lnTo>
                      <a:pt x="275" y="424"/>
                    </a:lnTo>
                    <a:lnTo>
                      <a:pt x="281" y="421"/>
                    </a:lnTo>
                    <a:lnTo>
                      <a:pt x="287" y="417"/>
                    </a:lnTo>
                    <a:lnTo>
                      <a:pt x="287" y="417"/>
                    </a:lnTo>
                    <a:lnTo>
                      <a:pt x="291" y="413"/>
                    </a:lnTo>
                    <a:lnTo>
                      <a:pt x="294" y="406"/>
                    </a:lnTo>
                    <a:lnTo>
                      <a:pt x="296" y="399"/>
                    </a:lnTo>
                    <a:lnTo>
                      <a:pt x="297" y="393"/>
                    </a:lnTo>
                    <a:lnTo>
                      <a:pt x="297" y="393"/>
                    </a:lnTo>
                    <a:lnTo>
                      <a:pt x="296" y="385"/>
                    </a:lnTo>
                    <a:lnTo>
                      <a:pt x="293" y="379"/>
                    </a:lnTo>
                    <a:lnTo>
                      <a:pt x="290" y="373"/>
                    </a:lnTo>
                    <a:lnTo>
                      <a:pt x="285" y="368"/>
                    </a:lnTo>
                    <a:lnTo>
                      <a:pt x="285" y="368"/>
                    </a:lnTo>
                    <a:lnTo>
                      <a:pt x="278" y="364"/>
                    </a:lnTo>
                    <a:lnTo>
                      <a:pt x="271" y="362"/>
                    </a:lnTo>
                    <a:lnTo>
                      <a:pt x="261" y="359"/>
                    </a:lnTo>
                    <a:lnTo>
                      <a:pt x="250" y="359"/>
                    </a:lnTo>
                    <a:lnTo>
                      <a:pt x="99" y="359"/>
                    </a:lnTo>
                    <a:lnTo>
                      <a:pt x="99" y="359"/>
                    </a:lnTo>
                    <a:lnTo>
                      <a:pt x="107" y="349"/>
                    </a:lnTo>
                    <a:lnTo>
                      <a:pt x="113" y="340"/>
                    </a:lnTo>
                    <a:lnTo>
                      <a:pt x="113" y="340"/>
                    </a:lnTo>
                    <a:lnTo>
                      <a:pt x="123" y="329"/>
                    </a:lnTo>
                    <a:lnTo>
                      <a:pt x="136" y="316"/>
                    </a:lnTo>
                    <a:lnTo>
                      <a:pt x="154" y="302"/>
                    </a:lnTo>
                    <a:lnTo>
                      <a:pt x="173" y="285"/>
                    </a:lnTo>
                    <a:lnTo>
                      <a:pt x="173" y="285"/>
                    </a:lnTo>
                    <a:lnTo>
                      <a:pt x="211" y="254"/>
                    </a:lnTo>
                    <a:lnTo>
                      <a:pt x="235" y="233"/>
                    </a:lnTo>
                    <a:lnTo>
                      <a:pt x="235" y="233"/>
                    </a:lnTo>
                    <a:lnTo>
                      <a:pt x="245" y="224"/>
                    </a:lnTo>
                    <a:lnTo>
                      <a:pt x="253" y="213"/>
                    </a:lnTo>
                    <a:lnTo>
                      <a:pt x="263" y="200"/>
                    </a:lnTo>
                    <a:lnTo>
                      <a:pt x="272" y="187"/>
                    </a:lnTo>
                    <a:lnTo>
                      <a:pt x="272" y="187"/>
                    </a:lnTo>
                    <a:lnTo>
                      <a:pt x="279" y="172"/>
                    </a:lnTo>
                    <a:lnTo>
                      <a:pt x="285" y="156"/>
                    </a:lnTo>
                    <a:lnTo>
                      <a:pt x="288" y="139"/>
                    </a:lnTo>
                    <a:lnTo>
                      <a:pt x="289" y="122"/>
                    </a:lnTo>
                    <a:lnTo>
                      <a:pt x="289" y="122"/>
                    </a:lnTo>
                    <a:lnTo>
                      <a:pt x="289" y="110"/>
                    </a:lnTo>
                    <a:lnTo>
                      <a:pt x="287" y="99"/>
                    </a:lnTo>
                    <a:lnTo>
                      <a:pt x="285" y="88"/>
                    </a:lnTo>
                    <a:lnTo>
                      <a:pt x="280" y="77"/>
                    </a:lnTo>
                    <a:lnTo>
                      <a:pt x="280" y="77"/>
                    </a:lnTo>
                    <a:lnTo>
                      <a:pt x="276" y="67"/>
                    </a:lnTo>
                    <a:lnTo>
                      <a:pt x="271" y="57"/>
                    </a:lnTo>
                    <a:lnTo>
                      <a:pt x="264" y="48"/>
                    </a:lnTo>
                    <a:lnTo>
                      <a:pt x="257" y="40"/>
                    </a:lnTo>
                    <a:lnTo>
                      <a:pt x="257" y="40"/>
                    </a:lnTo>
                    <a:lnTo>
                      <a:pt x="249" y="32"/>
                    </a:lnTo>
                    <a:lnTo>
                      <a:pt x="240" y="25"/>
                    </a:lnTo>
                    <a:lnTo>
                      <a:pt x="232" y="20"/>
                    </a:lnTo>
                    <a:lnTo>
                      <a:pt x="222" y="15"/>
                    </a:lnTo>
                    <a:lnTo>
                      <a:pt x="222" y="15"/>
                    </a:lnTo>
                    <a:lnTo>
                      <a:pt x="206" y="8"/>
                    </a:lnTo>
                    <a:lnTo>
                      <a:pt x="187" y="4"/>
                    </a:lnTo>
                    <a:lnTo>
                      <a:pt x="168" y="2"/>
                    </a:lnTo>
                    <a:lnTo>
                      <a:pt x="146" y="0"/>
                    </a:lnTo>
                    <a:lnTo>
                      <a:pt x="146" y="0"/>
                    </a:lnTo>
                    <a:lnTo>
                      <a:pt x="129" y="2"/>
                    </a:lnTo>
                    <a:lnTo>
                      <a:pt x="111" y="4"/>
                    </a:lnTo>
                    <a:lnTo>
                      <a:pt x="96" y="7"/>
                    </a:lnTo>
                    <a:lnTo>
                      <a:pt x="82" y="11"/>
                    </a:lnTo>
                    <a:lnTo>
                      <a:pt x="82" y="11"/>
                    </a:lnTo>
                    <a:lnTo>
                      <a:pt x="69" y="17"/>
                    </a:lnTo>
                    <a:lnTo>
                      <a:pt x="57" y="24"/>
                    </a:lnTo>
                    <a:lnTo>
                      <a:pt x="46" y="32"/>
                    </a:lnTo>
                    <a:lnTo>
                      <a:pt x="36" y="40"/>
                    </a:lnTo>
                    <a:lnTo>
                      <a:pt x="36" y="40"/>
                    </a:lnTo>
                    <a:lnTo>
                      <a:pt x="29" y="49"/>
                    </a:lnTo>
                    <a:lnTo>
                      <a:pt x="21" y="58"/>
                    </a:lnTo>
                    <a:lnTo>
                      <a:pt x="15" y="69"/>
                    </a:lnTo>
                    <a:lnTo>
                      <a:pt x="10" y="80"/>
                    </a:lnTo>
                    <a:lnTo>
                      <a:pt x="10" y="80"/>
                    </a:lnTo>
                    <a:lnTo>
                      <a:pt x="6" y="89"/>
                    </a:lnTo>
                    <a:lnTo>
                      <a:pt x="4" y="100"/>
                    </a:lnTo>
                    <a:lnTo>
                      <a:pt x="2" y="111"/>
                    </a:lnTo>
                    <a:lnTo>
                      <a:pt x="1" y="121"/>
                    </a:lnTo>
                    <a:lnTo>
                      <a:pt x="1" y="121"/>
                    </a:lnTo>
                    <a:lnTo>
                      <a:pt x="2" y="128"/>
                    </a:lnTo>
                    <a:lnTo>
                      <a:pt x="4" y="136"/>
                    </a:lnTo>
                    <a:lnTo>
                      <a:pt x="6" y="141"/>
                    </a:lnTo>
                    <a:lnTo>
                      <a:pt x="10" y="147"/>
                    </a:lnTo>
                    <a:lnTo>
                      <a:pt x="10" y="147"/>
                    </a:lnTo>
                    <a:lnTo>
                      <a:pt x="16" y="151"/>
                    </a:lnTo>
                    <a:lnTo>
                      <a:pt x="21" y="154"/>
                    </a:lnTo>
                    <a:lnTo>
                      <a:pt x="28" y="156"/>
                    </a:lnTo>
                    <a:lnTo>
                      <a:pt x="34" y="157"/>
                    </a:lnTo>
                    <a:lnTo>
                      <a:pt x="34" y="157"/>
                    </a:lnTo>
                    <a:lnTo>
                      <a:pt x="43" y="156"/>
                    </a:lnTo>
                    <a:lnTo>
                      <a:pt x="49" y="153"/>
                    </a:lnTo>
                    <a:lnTo>
                      <a:pt x="55" y="150"/>
                    </a:lnTo>
                    <a:lnTo>
                      <a:pt x="59" y="146"/>
                    </a:lnTo>
                    <a:lnTo>
                      <a:pt x="59" y="146"/>
                    </a:lnTo>
                    <a:lnTo>
                      <a:pt x="64" y="140"/>
                    </a:lnTo>
                    <a:lnTo>
                      <a:pt x="68" y="133"/>
                    </a:lnTo>
                    <a:lnTo>
                      <a:pt x="75" y="117"/>
                    </a:lnTo>
                    <a:lnTo>
                      <a:pt x="75" y="117"/>
                    </a:lnTo>
                    <a:lnTo>
                      <a:pt x="81" y="100"/>
                    </a:lnTo>
                    <a:lnTo>
                      <a:pt x="85" y="93"/>
                    </a:lnTo>
                    <a:lnTo>
                      <a:pt x="85" y="93"/>
                    </a:lnTo>
                    <a:lnTo>
                      <a:pt x="91" y="85"/>
                    </a:lnTo>
                    <a:lnTo>
                      <a:pt x="96" y="77"/>
                    </a:lnTo>
                    <a:lnTo>
                      <a:pt x="104" y="72"/>
                    </a:lnTo>
                    <a:lnTo>
                      <a:pt x="110" y="68"/>
                    </a:lnTo>
                    <a:lnTo>
                      <a:pt x="118" y="64"/>
                    </a:lnTo>
                    <a:lnTo>
                      <a:pt x="126" y="61"/>
                    </a:lnTo>
                    <a:lnTo>
                      <a:pt x="135" y="60"/>
                    </a:lnTo>
                    <a:lnTo>
                      <a:pt x="145" y="59"/>
                    </a:lnTo>
                    <a:lnTo>
                      <a:pt x="145" y="59"/>
                    </a:lnTo>
                    <a:lnTo>
                      <a:pt x="154" y="60"/>
                    </a:lnTo>
                    <a:lnTo>
                      <a:pt x="161" y="61"/>
                    </a:lnTo>
                    <a:lnTo>
                      <a:pt x="170" y="63"/>
                    </a:lnTo>
                    <a:lnTo>
                      <a:pt x="177" y="68"/>
                    </a:lnTo>
                    <a:lnTo>
                      <a:pt x="177" y="68"/>
                    </a:lnTo>
                    <a:lnTo>
                      <a:pt x="185" y="72"/>
                    </a:lnTo>
                    <a:lnTo>
                      <a:pt x="191" y="77"/>
                    </a:lnTo>
                    <a:lnTo>
                      <a:pt x="197" y="83"/>
                    </a:lnTo>
                    <a:lnTo>
                      <a:pt x="201" y="90"/>
                    </a:lnTo>
                    <a:lnTo>
                      <a:pt x="201" y="90"/>
                    </a:lnTo>
                    <a:lnTo>
                      <a:pt x="206" y="98"/>
                    </a:lnTo>
                    <a:lnTo>
                      <a:pt x="208" y="106"/>
                    </a:lnTo>
                    <a:lnTo>
                      <a:pt x="210" y="114"/>
                    </a:lnTo>
                    <a:lnTo>
                      <a:pt x="210" y="123"/>
                    </a:lnTo>
                    <a:lnTo>
                      <a:pt x="210" y="123"/>
                    </a:lnTo>
                    <a:lnTo>
                      <a:pt x="210" y="132"/>
                    </a:lnTo>
                    <a:lnTo>
                      <a:pt x="208" y="140"/>
                    </a:lnTo>
                    <a:lnTo>
                      <a:pt x="206" y="149"/>
                    </a:lnTo>
                    <a:lnTo>
                      <a:pt x="202" y="158"/>
                    </a:lnTo>
                    <a:lnTo>
                      <a:pt x="202" y="158"/>
                    </a:lnTo>
                    <a:lnTo>
                      <a:pt x="197" y="166"/>
                    </a:lnTo>
                    <a:lnTo>
                      <a:pt x="191" y="175"/>
                    </a:lnTo>
                    <a:lnTo>
                      <a:pt x="185" y="184"/>
                    </a:lnTo>
                    <a:lnTo>
                      <a:pt x="178" y="192"/>
                    </a:lnTo>
                    <a:lnTo>
                      <a:pt x="178" y="19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26" name="Freeform 357">
                <a:extLst>
                  <a:ext uri="{FF2B5EF4-FFF2-40B4-BE49-F238E27FC236}">
                    <a16:creationId xmlns:a16="http://schemas.microsoft.com/office/drawing/2014/main" id="{52278AC2-0F57-4EA7-A863-EF6D3656DD15}"/>
                  </a:ext>
                </a:extLst>
              </p:cNvPr>
              <p:cNvSpPr>
                <a:spLocks noEditPoints="1"/>
              </p:cNvSpPr>
              <p:nvPr/>
            </p:nvSpPr>
            <p:spPr bwMode="auto">
              <a:xfrm>
                <a:off x="9678944" y="5547572"/>
                <a:ext cx="106362" cy="138113"/>
              </a:xfrm>
              <a:custGeom>
                <a:avLst/>
                <a:gdLst>
                  <a:gd name="T0" fmla="*/ 228 w 334"/>
                  <a:gd name="T1" fmla="*/ 0 h 437"/>
                  <a:gd name="T2" fmla="*/ 216 w 334"/>
                  <a:gd name="T3" fmla="*/ 2 h 437"/>
                  <a:gd name="T4" fmla="*/ 205 w 334"/>
                  <a:gd name="T5" fmla="*/ 10 h 437"/>
                  <a:gd name="T6" fmla="*/ 194 w 334"/>
                  <a:gd name="T7" fmla="*/ 22 h 437"/>
                  <a:gd name="T8" fmla="*/ 27 w 334"/>
                  <a:gd name="T9" fmla="*/ 244 h 437"/>
                  <a:gd name="T10" fmla="*/ 16 w 334"/>
                  <a:gd name="T11" fmla="*/ 258 h 437"/>
                  <a:gd name="T12" fmla="*/ 8 w 334"/>
                  <a:gd name="T13" fmla="*/ 270 h 437"/>
                  <a:gd name="T14" fmla="*/ 4 w 334"/>
                  <a:gd name="T15" fmla="*/ 277 h 437"/>
                  <a:gd name="T16" fmla="*/ 1 w 334"/>
                  <a:gd name="T17" fmla="*/ 282 h 437"/>
                  <a:gd name="T18" fmla="*/ 0 w 334"/>
                  <a:gd name="T19" fmla="*/ 293 h 437"/>
                  <a:gd name="T20" fmla="*/ 0 w 334"/>
                  <a:gd name="T21" fmla="*/ 304 h 437"/>
                  <a:gd name="T22" fmla="*/ 8 w 334"/>
                  <a:gd name="T23" fmla="*/ 320 h 437"/>
                  <a:gd name="T24" fmla="*/ 13 w 334"/>
                  <a:gd name="T25" fmla="*/ 327 h 437"/>
                  <a:gd name="T26" fmla="*/ 30 w 334"/>
                  <a:gd name="T27" fmla="*/ 336 h 437"/>
                  <a:gd name="T28" fmla="*/ 54 w 334"/>
                  <a:gd name="T29" fmla="*/ 340 h 437"/>
                  <a:gd name="T30" fmla="*/ 200 w 334"/>
                  <a:gd name="T31" fmla="*/ 393 h 437"/>
                  <a:gd name="T32" fmla="*/ 201 w 334"/>
                  <a:gd name="T33" fmla="*/ 404 h 437"/>
                  <a:gd name="T34" fmla="*/ 205 w 334"/>
                  <a:gd name="T35" fmla="*/ 420 h 437"/>
                  <a:gd name="T36" fmla="*/ 209 w 334"/>
                  <a:gd name="T37" fmla="*/ 426 h 437"/>
                  <a:gd name="T38" fmla="*/ 221 w 334"/>
                  <a:gd name="T39" fmla="*/ 434 h 437"/>
                  <a:gd name="T40" fmla="*/ 235 w 334"/>
                  <a:gd name="T41" fmla="*/ 437 h 437"/>
                  <a:gd name="T42" fmla="*/ 244 w 334"/>
                  <a:gd name="T43" fmla="*/ 436 h 437"/>
                  <a:gd name="T44" fmla="*/ 257 w 334"/>
                  <a:gd name="T45" fmla="*/ 431 h 437"/>
                  <a:gd name="T46" fmla="*/ 262 w 334"/>
                  <a:gd name="T47" fmla="*/ 426 h 437"/>
                  <a:gd name="T48" fmla="*/ 269 w 334"/>
                  <a:gd name="T49" fmla="*/ 412 h 437"/>
                  <a:gd name="T50" fmla="*/ 272 w 334"/>
                  <a:gd name="T51" fmla="*/ 393 h 437"/>
                  <a:gd name="T52" fmla="*/ 290 w 334"/>
                  <a:gd name="T53" fmla="*/ 340 h 437"/>
                  <a:gd name="T54" fmla="*/ 299 w 334"/>
                  <a:gd name="T55" fmla="*/ 339 h 437"/>
                  <a:gd name="T56" fmla="*/ 317 w 334"/>
                  <a:gd name="T57" fmla="*/ 335 h 437"/>
                  <a:gd name="T58" fmla="*/ 322 w 334"/>
                  <a:gd name="T59" fmla="*/ 332 h 437"/>
                  <a:gd name="T60" fmla="*/ 331 w 334"/>
                  <a:gd name="T61" fmla="*/ 322 h 437"/>
                  <a:gd name="T62" fmla="*/ 334 w 334"/>
                  <a:gd name="T63" fmla="*/ 307 h 437"/>
                  <a:gd name="T64" fmla="*/ 333 w 334"/>
                  <a:gd name="T65" fmla="*/ 298 h 437"/>
                  <a:gd name="T66" fmla="*/ 326 w 334"/>
                  <a:gd name="T67" fmla="*/ 284 h 437"/>
                  <a:gd name="T68" fmla="*/ 320 w 334"/>
                  <a:gd name="T69" fmla="*/ 281 h 437"/>
                  <a:gd name="T70" fmla="*/ 305 w 334"/>
                  <a:gd name="T71" fmla="*/ 277 h 437"/>
                  <a:gd name="T72" fmla="*/ 284 w 334"/>
                  <a:gd name="T73" fmla="*/ 275 h 437"/>
                  <a:gd name="T74" fmla="*/ 272 w 334"/>
                  <a:gd name="T75" fmla="*/ 51 h 437"/>
                  <a:gd name="T76" fmla="*/ 271 w 334"/>
                  <a:gd name="T77" fmla="*/ 39 h 437"/>
                  <a:gd name="T78" fmla="*/ 266 w 334"/>
                  <a:gd name="T79" fmla="*/ 21 h 437"/>
                  <a:gd name="T80" fmla="*/ 255 w 334"/>
                  <a:gd name="T81" fmla="*/ 8 h 437"/>
                  <a:gd name="T82" fmla="*/ 239 w 334"/>
                  <a:gd name="T83" fmla="*/ 1 h 437"/>
                  <a:gd name="T84" fmla="*/ 228 w 334"/>
                  <a:gd name="T85" fmla="*/ 0 h 437"/>
                  <a:gd name="T86" fmla="*/ 75 w 334"/>
                  <a:gd name="T87" fmla="*/ 275 h 437"/>
                  <a:gd name="T88" fmla="*/ 200 w 334"/>
                  <a:gd name="T89" fmla="*/ 275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34" h="437">
                    <a:moveTo>
                      <a:pt x="228" y="0"/>
                    </a:moveTo>
                    <a:lnTo>
                      <a:pt x="228" y="0"/>
                    </a:lnTo>
                    <a:lnTo>
                      <a:pt x="221" y="1"/>
                    </a:lnTo>
                    <a:lnTo>
                      <a:pt x="216" y="2"/>
                    </a:lnTo>
                    <a:lnTo>
                      <a:pt x="209" y="6"/>
                    </a:lnTo>
                    <a:lnTo>
                      <a:pt x="205" y="10"/>
                    </a:lnTo>
                    <a:lnTo>
                      <a:pt x="205" y="10"/>
                    </a:lnTo>
                    <a:lnTo>
                      <a:pt x="194" y="22"/>
                    </a:lnTo>
                    <a:lnTo>
                      <a:pt x="180" y="39"/>
                    </a:lnTo>
                    <a:lnTo>
                      <a:pt x="27" y="244"/>
                    </a:lnTo>
                    <a:lnTo>
                      <a:pt x="27" y="244"/>
                    </a:lnTo>
                    <a:lnTo>
                      <a:pt x="16" y="258"/>
                    </a:lnTo>
                    <a:lnTo>
                      <a:pt x="16" y="258"/>
                    </a:lnTo>
                    <a:lnTo>
                      <a:pt x="8" y="270"/>
                    </a:lnTo>
                    <a:lnTo>
                      <a:pt x="8" y="270"/>
                    </a:lnTo>
                    <a:lnTo>
                      <a:pt x="4" y="277"/>
                    </a:lnTo>
                    <a:lnTo>
                      <a:pt x="1" y="282"/>
                    </a:lnTo>
                    <a:lnTo>
                      <a:pt x="1" y="282"/>
                    </a:lnTo>
                    <a:lnTo>
                      <a:pt x="0" y="288"/>
                    </a:lnTo>
                    <a:lnTo>
                      <a:pt x="0" y="293"/>
                    </a:lnTo>
                    <a:lnTo>
                      <a:pt x="0" y="293"/>
                    </a:lnTo>
                    <a:lnTo>
                      <a:pt x="0" y="304"/>
                    </a:lnTo>
                    <a:lnTo>
                      <a:pt x="3" y="313"/>
                    </a:lnTo>
                    <a:lnTo>
                      <a:pt x="8" y="320"/>
                    </a:lnTo>
                    <a:lnTo>
                      <a:pt x="13" y="327"/>
                    </a:lnTo>
                    <a:lnTo>
                      <a:pt x="13" y="327"/>
                    </a:lnTo>
                    <a:lnTo>
                      <a:pt x="21" y="332"/>
                    </a:lnTo>
                    <a:lnTo>
                      <a:pt x="30" y="336"/>
                    </a:lnTo>
                    <a:lnTo>
                      <a:pt x="41" y="339"/>
                    </a:lnTo>
                    <a:lnTo>
                      <a:pt x="54" y="340"/>
                    </a:lnTo>
                    <a:lnTo>
                      <a:pt x="200" y="340"/>
                    </a:lnTo>
                    <a:lnTo>
                      <a:pt x="200" y="393"/>
                    </a:lnTo>
                    <a:lnTo>
                      <a:pt x="200" y="393"/>
                    </a:lnTo>
                    <a:lnTo>
                      <a:pt x="201" y="404"/>
                    </a:lnTo>
                    <a:lnTo>
                      <a:pt x="202" y="412"/>
                    </a:lnTo>
                    <a:lnTo>
                      <a:pt x="205" y="420"/>
                    </a:lnTo>
                    <a:lnTo>
                      <a:pt x="209" y="426"/>
                    </a:lnTo>
                    <a:lnTo>
                      <a:pt x="209" y="426"/>
                    </a:lnTo>
                    <a:lnTo>
                      <a:pt x="215" y="431"/>
                    </a:lnTo>
                    <a:lnTo>
                      <a:pt x="221" y="434"/>
                    </a:lnTo>
                    <a:lnTo>
                      <a:pt x="228" y="436"/>
                    </a:lnTo>
                    <a:lnTo>
                      <a:pt x="235" y="437"/>
                    </a:lnTo>
                    <a:lnTo>
                      <a:pt x="235" y="437"/>
                    </a:lnTo>
                    <a:lnTo>
                      <a:pt x="244" y="436"/>
                    </a:lnTo>
                    <a:lnTo>
                      <a:pt x="250" y="435"/>
                    </a:lnTo>
                    <a:lnTo>
                      <a:pt x="257" y="431"/>
                    </a:lnTo>
                    <a:lnTo>
                      <a:pt x="262" y="426"/>
                    </a:lnTo>
                    <a:lnTo>
                      <a:pt x="262" y="426"/>
                    </a:lnTo>
                    <a:lnTo>
                      <a:pt x="267" y="420"/>
                    </a:lnTo>
                    <a:lnTo>
                      <a:pt x="269" y="412"/>
                    </a:lnTo>
                    <a:lnTo>
                      <a:pt x="271" y="404"/>
                    </a:lnTo>
                    <a:lnTo>
                      <a:pt x="272" y="393"/>
                    </a:lnTo>
                    <a:lnTo>
                      <a:pt x="272" y="340"/>
                    </a:lnTo>
                    <a:lnTo>
                      <a:pt x="290" y="340"/>
                    </a:lnTo>
                    <a:lnTo>
                      <a:pt x="290" y="340"/>
                    </a:lnTo>
                    <a:lnTo>
                      <a:pt x="299" y="339"/>
                    </a:lnTo>
                    <a:lnTo>
                      <a:pt x="309" y="337"/>
                    </a:lnTo>
                    <a:lnTo>
                      <a:pt x="317" y="335"/>
                    </a:lnTo>
                    <a:lnTo>
                      <a:pt x="322" y="332"/>
                    </a:lnTo>
                    <a:lnTo>
                      <a:pt x="322" y="332"/>
                    </a:lnTo>
                    <a:lnTo>
                      <a:pt x="327" y="328"/>
                    </a:lnTo>
                    <a:lnTo>
                      <a:pt x="331" y="322"/>
                    </a:lnTo>
                    <a:lnTo>
                      <a:pt x="333" y="316"/>
                    </a:lnTo>
                    <a:lnTo>
                      <a:pt x="334" y="307"/>
                    </a:lnTo>
                    <a:lnTo>
                      <a:pt x="334" y="307"/>
                    </a:lnTo>
                    <a:lnTo>
                      <a:pt x="333" y="298"/>
                    </a:lnTo>
                    <a:lnTo>
                      <a:pt x="330" y="291"/>
                    </a:lnTo>
                    <a:lnTo>
                      <a:pt x="326" y="284"/>
                    </a:lnTo>
                    <a:lnTo>
                      <a:pt x="320" y="281"/>
                    </a:lnTo>
                    <a:lnTo>
                      <a:pt x="320" y="281"/>
                    </a:lnTo>
                    <a:lnTo>
                      <a:pt x="312" y="278"/>
                    </a:lnTo>
                    <a:lnTo>
                      <a:pt x="305" y="277"/>
                    </a:lnTo>
                    <a:lnTo>
                      <a:pt x="295" y="276"/>
                    </a:lnTo>
                    <a:lnTo>
                      <a:pt x="284" y="275"/>
                    </a:lnTo>
                    <a:lnTo>
                      <a:pt x="272" y="275"/>
                    </a:lnTo>
                    <a:lnTo>
                      <a:pt x="272" y="51"/>
                    </a:lnTo>
                    <a:lnTo>
                      <a:pt x="272" y="51"/>
                    </a:lnTo>
                    <a:lnTo>
                      <a:pt x="271" y="39"/>
                    </a:lnTo>
                    <a:lnTo>
                      <a:pt x="269" y="28"/>
                    </a:lnTo>
                    <a:lnTo>
                      <a:pt x="266" y="21"/>
                    </a:lnTo>
                    <a:lnTo>
                      <a:pt x="261" y="13"/>
                    </a:lnTo>
                    <a:lnTo>
                      <a:pt x="255" y="8"/>
                    </a:lnTo>
                    <a:lnTo>
                      <a:pt x="247" y="3"/>
                    </a:lnTo>
                    <a:lnTo>
                      <a:pt x="239" y="1"/>
                    </a:lnTo>
                    <a:lnTo>
                      <a:pt x="228" y="0"/>
                    </a:lnTo>
                    <a:lnTo>
                      <a:pt x="228" y="0"/>
                    </a:lnTo>
                    <a:close/>
                    <a:moveTo>
                      <a:pt x="200" y="275"/>
                    </a:moveTo>
                    <a:lnTo>
                      <a:pt x="75" y="275"/>
                    </a:lnTo>
                    <a:lnTo>
                      <a:pt x="200" y="106"/>
                    </a:lnTo>
                    <a:lnTo>
                      <a:pt x="200" y="27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27" name="Freeform 358">
                <a:extLst>
                  <a:ext uri="{FF2B5EF4-FFF2-40B4-BE49-F238E27FC236}">
                    <a16:creationId xmlns:a16="http://schemas.microsoft.com/office/drawing/2014/main" id="{1DC3ED70-FA65-4CFB-98F4-30F289E1AB26}"/>
                  </a:ext>
                </a:extLst>
              </p:cNvPr>
              <p:cNvSpPr>
                <a:spLocks/>
              </p:cNvSpPr>
              <p:nvPr/>
            </p:nvSpPr>
            <p:spPr bwMode="auto">
              <a:xfrm>
                <a:off x="9507494" y="5417397"/>
                <a:ext cx="357187" cy="379413"/>
              </a:xfrm>
              <a:custGeom>
                <a:avLst/>
                <a:gdLst>
                  <a:gd name="T0" fmla="*/ 397 w 1122"/>
                  <a:gd name="T1" fmla="*/ 1 h 1196"/>
                  <a:gd name="T2" fmla="*/ 319 w 1122"/>
                  <a:gd name="T3" fmla="*/ 9 h 1196"/>
                  <a:gd name="T4" fmla="*/ 242 w 1122"/>
                  <a:gd name="T5" fmla="*/ 24 h 1196"/>
                  <a:gd name="T6" fmla="*/ 167 w 1122"/>
                  <a:gd name="T7" fmla="*/ 49 h 1196"/>
                  <a:gd name="T8" fmla="*/ 97 w 1122"/>
                  <a:gd name="T9" fmla="*/ 82 h 1196"/>
                  <a:gd name="T10" fmla="*/ 30 w 1122"/>
                  <a:gd name="T11" fmla="*/ 123 h 1196"/>
                  <a:gd name="T12" fmla="*/ 19 w 1122"/>
                  <a:gd name="T13" fmla="*/ 132 h 1196"/>
                  <a:gd name="T14" fmla="*/ 1 w 1122"/>
                  <a:gd name="T15" fmla="*/ 165 h 1196"/>
                  <a:gd name="T16" fmla="*/ 6 w 1122"/>
                  <a:gd name="T17" fmla="*/ 202 h 1196"/>
                  <a:gd name="T18" fmla="*/ 12 w 1122"/>
                  <a:gd name="T19" fmla="*/ 214 h 1196"/>
                  <a:gd name="T20" fmla="*/ 31 w 1122"/>
                  <a:gd name="T21" fmla="*/ 232 h 1196"/>
                  <a:gd name="T22" fmla="*/ 66 w 1122"/>
                  <a:gd name="T23" fmla="*/ 243 h 1196"/>
                  <a:gd name="T24" fmla="*/ 98 w 1122"/>
                  <a:gd name="T25" fmla="*/ 235 h 1196"/>
                  <a:gd name="T26" fmla="*/ 122 w 1122"/>
                  <a:gd name="T27" fmla="*/ 219 h 1196"/>
                  <a:gd name="T28" fmla="*/ 177 w 1122"/>
                  <a:gd name="T29" fmla="*/ 189 h 1196"/>
                  <a:gd name="T30" fmla="*/ 236 w 1122"/>
                  <a:gd name="T31" fmla="*/ 164 h 1196"/>
                  <a:gd name="T32" fmla="*/ 296 w 1122"/>
                  <a:gd name="T33" fmla="*/ 147 h 1196"/>
                  <a:gd name="T34" fmla="*/ 359 w 1122"/>
                  <a:gd name="T35" fmla="*/ 136 h 1196"/>
                  <a:gd name="T36" fmla="*/ 423 w 1122"/>
                  <a:gd name="T37" fmla="*/ 133 h 1196"/>
                  <a:gd name="T38" fmla="*/ 482 w 1122"/>
                  <a:gd name="T39" fmla="*/ 136 h 1196"/>
                  <a:gd name="T40" fmla="*/ 565 w 1122"/>
                  <a:gd name="T41" fmla="*/ 150 h 1196"/>
                  <a:gd name="T42" fmla="*/ 644 w 1122"/>
                  <a:gd name="T43" fmla="*/ 177 h 1196"/>
                  <a:gd name="T44" fmla="*/ 717 w 1122"/>
                  <a:gd name="T45" fmla="*/ 215 h 1196"/>
                  <a:gd name="T46" fmla="*/ 784 w 1122"/>
                  <a:gd name="T47" fmla="*/ 262 h 1196"/>
                  <a:gd name="T48" fmla="*/ 844 w 1122"/>
                  <a:gd name="T49" fmla="*/ 318 h 1196"/>
                  <a:gd name="T50" fmla="*/ 894 w 1122"/>
                  <a:gd name="T51" fmla="*/ 383 h 1196"/>
                  <a:gd name="T52" fmla="*/ 935 w 1122"/>
                  <a:gd name="T53" fmla="*/ 454 h 1196"/>
                  <a:gd name="T54" fmla="*/ 965 w 1122"/>
                  <a:gd name="T55" fmla="*/ 532 h 1196"/>
                  <a:gd name="T56" fmla="*/ 985 w 1122"/>
                  <a:gd name="T57" fmla="*/ 614 h 1196"/>
                  <a:gd name="T58" fmla="*/ 991 w 1122"/>
                  <a:gd name="T59" fmla="*/ 700 h 1196"/>
                  <a:gd name="T60" fmla="*/ 988 w 1122"/>
                  <a:gd name="T61" fmla="*/ 754 h 1196"/>
                  <a:gd name="T62" fmla="*/ 975 w 1122"/>
                  <a:gd name="T63" fmla="*/ 832 h 1196"/>
                  <a:gd name="T64" fmla="*/ 952 w 1122"/>
                  <a:gd name="T65" fmla="*/ 908 h 1196"/>
                  <a:gd name="T66" fmla="*/ 917 w 1122"/>
                  <a:gd name="T67" fmla="*/ 979 h 1196"/>
                  <a:gd name="T68" fmla="*/ 874 w 1122"/>
                  <a:gd name="T69" fmla="*/ 1046 h 1196"/>
                  <a:gd name="T70" fmla="*/ 839 w 1122"/>
                  <a:gd name="T71" fmla="*/ 1086 h 1196"/>
                  <a:gd name="T72" fmla="*/ 828 w 1122"/>
                  <a:gd name="T73" fmla="*/ 1102 h 1196"/>
                  <a:gd name="T74" fmla="*/ 822 w 1122"/>
                  <a:gd name="T75" fmla="*/ 1133 h 1196"/>
                  <a:gd name="T76" fmla="*/ 834 w 1122"/>
                  <a:gd name="T77" fmla="*/ 1169 h 1196"/>
                  <a:gd name="T78" fmla="*/ 843 w 1122"/>
                  <a:gd name="T79" fmla="*/ 1179 h 1196"/>
                  <a:gd name="T80" fmla="*/ 875 w 1122"/>
                  <a:gd name="T81" fmla="*/ 1195 h 1196"/>
                  <a:gd name="T82" fmla="*/ 894 w 1122"/>
                  <a:gd name="T83" fmla="*/ 1196 h 1196"/>
                  <a:gd name="T84" fmla="*/ 913 w 1122"/>
                  <a:gd name="T85" fmla="*/ 1192 h 1196"/>
                  <a:gd name="T86" fmla="*/ 931 w 1122"/>
                  <a:gd name="T87" fmla="*/ 1181 h 1196"/>
                  <a:gd name="T88" fmla="*/ 958 w 1122"/>
                  <a:gd name="T89" fmla="*/ 1151 h 1196"/>
                  <a:gd name="T90" fmla="*/ 1016 w 1122"/>
                  <a:gd name="T91" fmla="*/ 1072 h 1196"/>
                  <a:gd name="T92" fmla="*/ 1062 w 1122"/>
                  <a:gd name="T93" fmla="*/ 986 h 1196"/>
                  <a:gd name="T94" fmla="*/ 1095 w 1122"/>
                  <a:gd name="T95" fmla="*/ 894 h 1196"/>
                  <a:gd name="T96" fmla="*/ 1116 w 1122"/>
                  <a:gd name="T97" fmla="*/ 798 h 1196"/>
                  <a:gd name="T98" fmla="*/ 1122 w 1122"/>
                  <a:gd name="T99" fmla="*/ 700 h 1196"/>
                  <a:gd name="T100" fmla="*/ 1119 w 1122"/>
                  <a:gd name="T101" fmla="*/ 628 h 1196"/>
                  <a:gd name="T102" fmla="*/ 1101 w 1122"/>
                  <a:gd name="T103" fmla="*/ 525 h 1196"/>
                  <a:gd name="T104" fmla="*/ 1067 w 1122"/>
                  <a:gd name="T105" fmla="*/ 428 h 1196"/>
                  <a:gd name="T106" fmla="*/ 1022 w 1122"/>
                  <a:gd name="T107" fmla="*/ 338 h 1196"/>
                  <a:gd name="T108" fmla="*/ 963 w 1122"/>
                  <a:gd name="T109" fmla="*/ 255 h 1196"/>
                  <a:gd name="T110" fmla="*/ 894 w 1122"/>
                  <a:gd name="T111" fmla="*/ 183 h 1196"/>
                  <a:gd name="T112" fmla="*/ 814 w 1122"/>
                  <a:gd name="T113" fmla="*/ 121 h 1196"/>
                  <a:gd name="T114" fmla="*/ 727 w 1122"/>
                  <a:gd name="T115" fmla="*/ 70 h 1196"/>
                  <a:gd name="T116" fmla="*/ 631 w 1122"/>
                  <a:gd name="T117" fmla="*/ 32 h 1196"/>
                  <a:gd name="T118" fmla="*/ 529 w 1122"/>
                  <a:gd name="T119" fmla="*/ 9 h 1196"/>
                  <a:gd name="T120" fmla="*/ 423 w 1122"/>
                  <a:gd name="T121" fmla="*/ 0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122" h="1196">
                    <a:moveTo>
                      <a:pt x="423" y="0"/>
                    </a:moveTo>
                    <a:lnTo>
                      <a:pt x="423" y="0"/>
                    </a:lnTo>
                    <a:lnTo>
                      <a:pt x="397" y="1"/>
                    </a:lnTo>
                    <a:lnTo>
                      <a:pt x="371" y="3"/>
                    </a:lnTo>
                    <a:lnTo>
                      <a:pt x="344" y="5"/>
                    </a:lnTo>
                    <a:lnTo>
                      <a:pt x="319" y="9"/>
                    </a:lnTo>
                    <a:lnTo>
                      <a:pt x="293" y="13"/>
                    </a:lnTo>
                    <a:lnTo>
                      <a:pt x="267" y="19"/>
                    </a:lnTo>
                    <a:lnTo>
                      <a:pt x="242" y="24"/>
                    </a:lnTo>
                    <a:lnTo>
                      <a:pt x="217" y="32"/>
                    </a:lnTo>
                    <a:lnTo>
                      <a:pt x="192" y="41"/>
                    </a:lnTo>
                    <a:lnTo>
                      <a:pt x="167" y="49"/>
                    </a:lnTo>
                    <a:lnTo>
                      <a:pt x="143" y="59"/>
                    </a:lnTo>
                    <a:lnTo>
                      <a:pt x="120" y="70"/>
                    </a:lnTo>
                    <a:lnTo>
                      <a:pt x="97" y="82"/>
                    </a:lnTo>
                    <a:lnTo>
                      <a:pt x="74" y="95"/>
                    </a:lnTo>
                    <a:lnTo>
                      <a:pt x="51" y="108"/>
                    </a:lnTo>
                    <a:lnTo>
                      <a:pt x="30" y="123"/>
                    </a:lnTo>
                    <a:lnTo>
                      <a:pt x="30" y="123"/>
                    </a:lnTo>
                    <a:lnTo>
                      <a:pt x="24" y="127"/>
                    </a:lnTo>
                    <a:lnTo>
                      <a:pt x="19" y="132"/>
                    </a:lnTo>
                    <a:lnTo>
                      <a:pt x="11" y="141"/>
                    </a:lnTo>
                    <a:lnTo>
                      <a:pt x="5" y="152"/>
                    </a:lnTo>
                    <a:lnTo>
                      <a:pt x="1" y="165"/>
                    </a:lnTo>
                    <a:lnTo>
                      <a:pt x="0" y="177"/>
                    </a:lnTo>
                    <a:lnTo>
                      <a:pt x="1" y="190"/>
                    </a:lnTo>
                    <a:lnTo>
                      <a:pt x="6" y="202"/>
                    </a:lnTo>
                    <a:lnTo>
                      <a:pt x="9" y="209"/>
                    </a:lnTo>
                    <a:lnTo>
                      <a:pt x="12" y="214"/>
                    </a:lnTo>
                    <a:lnTo>
                      <a:pt x="12" y="214"/>
                    </a:lnTo>
                    <a:lnTo>
                      <a:pt x="17" y="219"/>
                    </a:lnTo>
                    <a:lnTo>
                      <a:pt x="21" y="224"/>
                    </a:lnTo>
                    <a:lnTo>
                      <a:pt x="31" y="232"/>
                    </a:lnTo>
                    <a:lnTo>
                      <a:pt x="41" y="238"/>
                    </a:lnTo>
                    <a:lnTo>
                      <a:pt x="54" y="241"/>
                    </a:lnTo>
                    <a:lnTo>
                      <a:pt x="66" y="243"/>
                    </a:lnTo>
                    <a:lnTo>
                      <a:pt x="79" y="241"/>
                    </a:lnTo>
                    <a:lnTo>
                      <a:pt x="91" y="238"/>
                    </a:lnTo>
                    <a:lnTo>
                      <a:pt x="98" y="235"/>
                    </a:lnTo>
                    <a:lnTo>
                      <a:pt x="103" y="231"/>
                    </a:lnTo>
                    <a:lnTo>
                      <a:pt x="103" y="231"/>
                    </a:lnTo>
                    <a:lnTo>
                      <a:pt x="122" y="219"/>
                    </a:lnTo>
                    <a:lnTo>
                      <a:pt x="139" y="209"/>
                    </a:lnTo>
                    <a:lnTo>
                      <a:pt x="159" y="198"/>
                    </a:lnTo>
                    <a:lnTo>
                      <a:pt x="177" y="189"/>
                    </a:lnTo>
                    <a:lnTo>
                      <a:pt x="196" y="179"/>
                    </a:lnTo>
                    <a:lnTo>
                      <a:pt x="216" y="172"/>
                    </a:lnTo>
                    <a:lnTo>
                      <a:pt x="236" y="164"/>
                    </a:lnTo>
                    <a:lnTo>
                      <a:pt x="256" y="158"/>
                    </a:lnTo>
                    <a:lnTo>
                      <a:pt x="276" y="152"/>
                    </a:lnTo>
                    <a:lnTo>
                      <a:pt x="296" y="147"/>
                    </a:lnTo>
                    <a:lnTo>
                      <a:pt x="317" y="142"/>
                    </a:lnTo>
                    <a:lnTo>
                      <a:pt x="339" y="139"/>
                    </a:lnTo>
                    <a:lnTo>
                      <a:pt x="359" y="136"/>
                    </a:lnTo>
                    <a:lnTo>
                      <a:pt x="381" y="134"/>
                    </a:lnTo>
                    <a:lnTo>
                      <a:pt x="401" y="133"/>
                    </a:lnTo>
                    <a:lnTo>
                      <a:pt x="423" y="133"/>
                    </a:lnTo>
                    <a:lnTo>
                      <a:pt x="423" y="133"/>
                    </a:lnTo>
                    <a:lnTo>
                      <a:pt x="452" y="133"/>
                    </a:lnTo>
                    <a:lnTo>
                      <a:pt x="482" y="136"/>
                    </a:lnTo>
                    <a:lnTo>
                      <a:pt x="510" y="139"/>
                    </a:lnTo>
                    <a:lnTo>
                      <a:pt x="538" y="144"/>
                    </a:lnTo>
                    <a:lnTo>
                      <a:pt x="565" y="150"/>
                    </a:lnTo>
                    <a:lnTo>
                      <a:pt x="592" y="158"/>
                    </a:lnTo>
                    <a:lnTo>
                      <a:pt x="618" y="167"/>
                    </a:lnTo>
                    <a:lnTo>
                      <a:pt x="644" y="177"/>
                    </a:lnTo>
                    <a:lnTo>
                      <a:pt x="669" y="188"/>
                    </a:lnTo>
                    <a:lnTo>
                      <a:pt x="694" y="201"/>
                    </a:lnTo>
                    <a:lnTo>
                      <a:pt x="717" y="215"/>
                    </a:lnTo>
                    <a:lnTo>
                      <a:pt x="741" y="229"/>
                    </a:lnTo>
                    <a:lnTo>
                      <a:pt x="762" y="245"/>
                    </a:lnTo>
                    <a:lnTo>
                      <a:pt x="784" y="262"/>
                    </a:lnTo>
                    <a:lnTo>
                      <a:pt x="805" y="280"/>
                    </a:lnTo>
                    <a:lnTo>
                      <a:pt x="824" y="299"/>
                    </a:lnTo>
                    <a:lnTo>
                      <a:pt x="844" y="318"/>
                    </a:lnTo>
                    <a:lnTo>
                      <a:pt x="861" y="339"/>
                    </a:lnTo>
                    <a:lnTo>
                      <a:pt x="878" y="360"/>
                    </a:lnTo>
                    <a:lnTo>
                      <a:pt x="894" y="383"/>
                    </a:lnTo>
                    <a:lnTo>
                      <a:pt x="909" y="406"/>
                    </a:lnTo>
                    <a:lnTo>
                      <a:pt x="922" y="430"/>
                    </a:lnTo>
                    <a:lnTo>
                      <a:pt x="935" y="454"/>
                    </a:lnTo>
                    <a:lnTo>
                      <a:pt x="947" y="480"/>
                    </a:lnTo>
                    <a:lnTo>
                      <a:pt x="957" y="505"/>
                    </a:lnTo>
                    <a:lnTo>
                      <a:pt x="965" y="532"/>
                    </a:lnTo>
                    <a:lnTo>
                      <a:pt x="973" y="559"/>
                    </a:lnTo>
                    <a:lnTo>
                      <a:pt x="979" y="586"/>
                    </a:lnTo>
                    <a:lnTo>
                      <a:pt x="985" y="614"/>
                    </a:lnTo>
                    <a:lnTo>
                      <a:pt x="988" y="642"/>
                    </a:lnTo>
                    <a:lnTo>
                      <a:pt x="990" y="670"/>
                    </a:lnTo>
                    <a:lnTo>
                      <a:pt x="991" y="700"/>
                    </a:lnTo>
                    <a:lnTo>
                      <a:pt x="991" y="700"/>
                    </a:lnTo>
                    <a:lnTo>
                      <a:pt x="990" y="727"/>
                    </a:lnTo>
                    <a:lnTo>
                      <a:pt x="988" y="754"/>
                    </a:lnTo>
                    <a:lnTo>
                      <a:pt x="986" y="780"/>
                    </a:lnTo>
                    <a:lnTo>
                      <a:pt x="981" y="806"/>
                    </a:lnTo>
                    <a:lnTo>
                      <a:pt x="975" y="832"/>
                    </a:lnTo>
                    <a:lnTo>
                      <a:pt x="968" y="858"/>
                    </a:lnTo>
                    <a:lnTo>
                      <a:pt x="961" y="883"/>
                    </a:lnTo>
                    <a:lnTo>
                      <a:pt x="952" y="908"/>
                    </a:lnTo>
                    <a:lnTo>
                      <a:pt x="941" y="932"/>
                    </a:lnTo>
                    <a:lnTo>
                      <a:pt x="931" y="956"/>
                    </a:lnTo>
                    <a:lnTo>
                      <a:pt x="917" y="979"/>
                    </a:lnTo>
                    <a:lnTo>
                      <a:pt x="904" y="1001"/>
                    </a:lnTo>
                    <a:lnTo>
                      <a:pt x="889" y="1024"/>
                    </a:lnTo>
                    <a:lnTo>
                      <a:pt x="874" y="1046"/>
                    </a:lnTo>
                    <a:lnTo>
                      <a:pt x="857" y="1066"/>
                    </a:lnTo>
                    <a:lnTo>
                      <a:pt x="839" y="1086"/>
                    </a:lnTo>
                    <a:lnTo>
                      <a:pt x="839" y="1086"/>
                    </a:lnTo>
                    <a:lnTo>
                      <a:pt x="835" y="1091"/>
                    </a:lnTo>
                    <a:lnTo>
                      <a:pt x="831" y="1097"/>
                    </a:lnTo>
                    <a:lnTo>
                      <a:pt x="828" y="1102"/>
                    </a:lnTo>
                    <a:lnTo>
                      <a:pt x="825" y="1108"/>
                    </a:lnTo>
                    <a:lnTo>
                      <a:pt x="822" y="1120"/>
                    </a:lnTo>
                    <a:lnTo>
                      <a:pt x="822" y="1133"/>
                    </a:lnTo>
                    <a:lnTo>
                      <a:pt x="823" y="1145"/>
                    </a:lnTo>
                    <a:lnTo>
                      <a:pt x="828" y="1158"/>
                    </a:lnTo>
                    <a:lnTo>
                      <a:pt x="834" y="1169"/>
                    </a:lnTo>
                    <a:lnTo>
                      <a:pt x="838" y="1175"/>
                    </a:lnTo>
                    <a:lnTo>
                      <a:pt x="843" y="1179"/>
                    </a:lnTo>
                    <a:lnTo>
                      <a:pt x="843" y="1179"/>
                    </a:lnTo>
                    <a:lnTo>
                      <a:pt x="852" y="1187"/>
                    </a:lnTo>
                    <a:lnTo>
                      <a:pt x="863" y="1192"/>
                    </a:lnTo>
                    <a:lnTo>
                      <a:pt x="875" y="1195"/>
                    </a:lnTo>
                    <a:lnTo>
                      <a:pt x="887" y="1196"/>
                    </a:lnTo>
                    <a:lnTo>
                      <a:pt x="887" y="1196"/>
                    </a:lnTo>
                    <a:lnTo>
                      <a:pt x="894" y="1196"/>
                    </a:lnTo>
                    <a:lnTo>
                      <a:pt x="900" y="1195"/>
                    </a:lnTo>
                    <a:lnTo>
                      <a:pt x="907" y="1194"/>
                    </a:lnTo>
                    <a:lnTo>
                      <a:pt x="913" y="1192"/>
                    </a:lnTo>
                    <a:lnTo>
                      <a:pt x="920" y="1189"/>
                    </a:lnTo>
                    <a:lnTo>
                      <a:pt x="925" y="1184"/>
                    </a:lnTo>
                    <a:lnTo>
                      <a:pt x="931" y="1181"/>
                    </a:lnTo>
                    <a:lnTo>
                      <a:pt x="936" y="1176"/>
                    </a:lnTo>
                    <a:lnTo>
                      <a:pt x="936" y="1176"/>
                    </a:lnTo>
                    <a:lnTo>
                      <a:pt x="958" y="1151"/>
                    </a:lnTo>
                    <a:lnTo>
                      <a:pt x="978" y="1126"/>
                    </a:lnTo>
                    <a:lnTo>
                      <a:pt x="998" y="1099"/>
                    </a:lnTo>
                    <a:lnTo>
                      <a:pt x="1016" y="1072"/>
                    </a:lnTo>
                    <a:lnTo>
                      <a:pt x="1032" y="1043"/>
                    </a:lnTo>
                    <a:lnTo>
                      <a:pt x="1048" y="1015"/>
                    </a:lnTo>
                    <a:lnTo>
                      <a:pt x="1062" y="986"/>
                    </a:lnTo>
                    <a:lnTo>
                      <a:pt x="1075" y="956"/>
                    </a:lnTo>
                    <a:lnTo>
                      <a:pt x="1086" y="925"/>
                    </a:lnTo>
                    <a:lnTo>
                      <a:pt x="1095" y="894"/>
                    </a:lnTo>
                    <a:lnTo>
                      <a:pt x="1103" y="862"/>
                    </a:lnTo>
                    <a:lnTo>
                      <a:pt x="1110" y="831"/>
                    </a:lnTo>
                    <a:lnTo>
                      <a:pt x="1116" y="798"/>
                    </a:lnTo>
                    <a:lnTo>
                      <a:pt x="1119" y="766"/>
                    </a:lnTo>
                    <a:lnTo>
                      <a:pt x="1121" y="733"/>
                    </a:lnTo>
                    <a:lnTo>
                      <a:pt x="1122" y="700"/>
                    </a:lnTo>
                    <a:lnTo>
                      <a:pt x="1122" y="700"/>
                    </a:lnTo>
                    <a:lnTo>
                      <a:pt x="1121" y="664"/>
                    </a:lnTo>
                    <a:lnTo>
                      <a:pt x="1119" y="628"/>
                    </a:lnTo>
                    <a:lnTo>
                      <a:pt x="1115" y="593"/>
                    </a:lnTo>
                    <a:lnTo>
                      <a:pt x="1108" y="559"/>
                    </a:lnTo>
                    <a:lnTo>
                      <a:pt x="1101" y="525"/>
                    </a:lnTo>
                    <a:lnTo>
                      <a:pt x="1091" y="493"/>
                    </a:lnTo>
                    <a:lnTo>
                      <a:pt x="1080" y="460"/>
                    </a:lnTo>
                    <a:lnTo>
                      <a:pt x="1067" y="428"/>
                    </a:lnTo>
                    <a:lnTo>
                      <a:pt x="1053" y="397"/>
                    </a:lnTo>
                    <a:lnTo>
                      <a:pt x="1038" y="367"/>
                    </a:lnTo>
                    <a:lnTo>
                      <a:pt x="1022" y="338"/>
                    </a:lnTo>
                    <a:lnTo>
                      <a:pt x="1003" y="309"/>
                    </a:lnTo>
                    <a:lnTo>
                      <a:pt x="984" y="282"/>
                    </a:lnTo>
                    <a:lnTo>
                      <a:pt x="963" y="255"/>
                    </a:lnTo>
                    <a:lnTo>
                      <a:pt x="940" y="230"/>
                    </a:lnTo>
                    <a:lnTo>
                      <a:pt x="917" y="205"/>
                    </a:lnTo>
                    <a:lnTo>
                      <a:pt x="894" y="183"/>
                    </a:lnTo>
                    <a:lnTo>
                      <a:pt x="868" y="161"/>
                    </a:lnTo>
                    <a:lnTo>
                      <a:pt x="842" y="140"/>
                    </a:lnTo>
                    <a:lnTo>
                      <a:pt x="814" y="121"/>
                    </a:lnTo>
                    <a:lnTo>
                      <a:pt x="785" y="102"/>
                    </a:lnTo>
                    <a:lnTo>
                      <a:pt x="756" y="85"/>
                    </a:lnTo>
                    <a:lnTo>
                      <a:pt x="727" y="70"/>
                    </a:lnTo>
                    <a:lnTo>
                      <a:pt x="695" y="56"/>
                    </a:lnTo>
                    <a:lnTo>
                      <a:pt x="664" y="44"/>
                    </a:lnTo>
                    <a:lnTo>
                      <a:pt x="631" y="32"/>
                    </a:lnTo>
                    <a:lnTo>
                      <a:pt x="598" y="23"/>
                    </a:lnTo>
                    <a:lnTo>
                      <a:pt x="564" y="16"/>
                    </a:lnTo>
                    <a:lnTo>
                      <a:pt x="529" y="9"/>
                    </a:lnTo>
                    <a:lnTo>
                      <a:pt x="495" y="5"/>
                    </a:lnTo>
                    <a:lnTo>
                      <a:pt x="459" y="1"/>
                    </a:lnTo>
                    <a:lnTo>
                      <a:pt x="423" y="0"/>
                    </a:lnTo>
                    <a:lnTo>
                      <a:pt x="423"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28" name="Freeform 359">
                <a:extLst>
                  <a:ext uri="{FF2B5EF4-FFF2-40B4-BE49-F238E27FC236}">
                    <a16:creationId xmlns:a16="http://schemas.microsoft.com/office/drawing/2014/main" id="{BE3871E4-CD66-4A36-BC32-17194F048ED7}"/>
                  </a:ext>
                </a:extLst>
              </p:cNvPr>
              <p:cNvSpPr>
                <a:spLocks noEditPoints="1"/>
              </p:cNvSpPr>
              <p:nvPr/>
            </p:nvSpPr>
            <p:spPr bwMode="auto">
              <a:xfrm>
                <a:off x="9412244" y="5477722"/>
                <a:ext cx="366712" cy="398463"/>
              </a:xfrm>
              <a:custGeom>
                <a:avLst/>
                <a:gdLst>
                  <a:gd name="T0" fmla="*/ 695 w 1155"/>
                  <a:gd name="T1" fmla="*/ 836 h 1254"/>
                  <a:gd name="T2" fmla="*/ 679 w 1155"/>
                  <a:gd name="T3" fmla="*/ 879 h 1254"/>
                  <a:gd name="T4" fmla="*/ 637 w 1155"/>
                  <a:gd name="T5" fmla="*/ 890 h 1254"/>
                  <a:gd name="T6" fmla="*/ 608 w 1155"/>
                  <a:gd name="T7" fmla="*/ 877 h 1254"/>
                  <a:gd name="T8" fmla="*/ 477 w 1155"/>
                  <a:gd name="T9" fmla="*/ 752 h 1254"/>
                  <a:gd name="T10" fmla="*/ 365 w 1155"/>
                  <a:gd name="T11" fmla="*/ 606 h 1254"/>
                  <a:gd name="T12" fmla="*/ 335 w 1155"/>
                  <a:gd name="T13" fmla="*/ 538 h 1254"/>
                  <a:gd name="T14" fmla="*/ 347 w 1155"/>
                  <a:gd name="T15" fmla="*/ 504 h 1254"/>
                  <a:gd name="T16" fmla="*/ 383 w 1155"/>
                  <a:gd name="T17" fmla="*/ 490 h 1254"/>
                  <a:gd name="T18" fmla="*/ 426 w 1155"/>
                  <a:gd name="T19" fmla="*/ 486 h 1254"/>
                  <a:gd name="T20" fmla="*/ 436 w 1155"/>
                  <a:gd name="T21" fmla="*/ 443 h 1254"/>
                  <a:gd name="T22" fmla="*/ 418 w 1155"/>
                  <a:gd name="T23" fmla="*/ 299 h 1254"/>
                  <a:gd name="T24" fmla="*/ 383 w 1155"/>
                  <a:gd name="T25" fmla="*/ 202 h 1254"/>
                  <a:gd name="T26" fmla="*/ 320 w 1155"/>
                  <a:gd name="T27" fmla="*/ 96 h 1254"/>
                  <a:gd name="T28" fmla="*/ 248 w 1155"/>
                  <a:gd name="T29" fmla="*/ 7 h 1254"/>
                  <a:gd name="T30" fmla="*/ 216 w 1155"/>
                  <a:gd name="T31" fmla="*/ 1 h 1254"/>
                  <a:gd name="T32" fmla="*/ 166 w 1155"/>
                  <a:gd name="T33" fmla="*/ 31 h 1254"/>
                  <a:gd name="T34" fmla="*/ 79 w 1155"/>
                  <a:gd name="T35" fmla="*/ 112 h 1254"/>
                  <a:gd name="T36" fmla="*/ 30 w 1155"/>
                  <a:gd name="T37" fmla="*/ 195 h 1254"/>
                  <a:gd name="T38" fmla="*/ 7 w 1155"/>
                  <a:gd name="T39" fmla="*/ 274 h 1254"/>
                  <a:gd name="T40" fmla="*/ 4 w 1155"/>
                  <a:gd name="T41" fmla="*/ 399 h 1254"/>
                  <a:gd name="T42" fmla="*/ 39 w 1155"/>
                  <a:gd name="T43" fmla="*/ 524 h 1254"/>
                  <a:gd name="T44" fmla="*/ 95 w 1155"/>
                  <a:gd name="T45" fmla="*/ 637 h 1254"/>
                  <a:gd name="T46" fmla="*/ 183 w 1155"/>
                  <a:gd name="T47" fmla="*/ 774 h 1254"/>
                  <a:gd name="T48" fmla="*/ 272 w 1155"/>
                  <a:gd name="T49" fmla="*/ 891 h 1254"/>
                  <a:gd name="T50" fmla="*/ 358 w 1155"/>
                  <a:gd name="T51" fmla="*/ 981 h 1254"/>
                  <a:gd name="T52" fmla="*/ 488 w 1155"/>
                  <a:gd name="T53" fmla="*/ 1100 h 1254"/>
                  <a:gd name="T54" fmla="*/ 597 w 1155"/>
                  <a:gd name="T55" fmla="*/ 1178 h 1254"/>
                  <a:gd name="T56" fmla="*/ 689 w 1155"/>
                  <a:gd name="T57" fmla="*/ 1224 h 1254"/>
                  <a:gd name="T58" fmla="*/ 804 w 1155"/>
                  <a:gd name="T59" fmla="*/ 1252 h 1254"/>
                  <a:gd name="T60" fmla="*/ 889 w 1155"/>
                  <a:gd name="T61" fmla="*/ 1249 h 1254"/>
                  <a:gd name="T62" fmla="*/ 990 w 1155"/>
                  <a:gd name="T63" fmla="*/ 1223 h 1254"/>
                  <a:gd name="T64" fmla="*/ 1066 w 1155"/>
                  <a:gd name="T65" fmla="*/ 1175 h 1254"/>
                  <a:gd name="T66" fmla="*/ 1144 w 1155"/>
                  <a:gd name="T67" fmla="*/ 1102 h 1254"/>
                  <a:gd name="T68" fmla="*/ 1155 w 1155"/>
                  <a:gd name="T69" fmla="*/ 1064 h 1254"/>
                  <a:gd name="T70" fmla="*/ 1112 w 1155"/>
                  <a:gd name="T71" fmla="*/ 1008 h 1254"/>
                  <a:gd name="T72" fmla="*/ 1016 w 1155"/>
                  <a:gd name="T73" fmla="*/ 920 h 1254"/>
                  <a:gd name="T74" fmla="*/ 922 w 1155"/>
                  <a:gd name="T75" fmla="*/ 860 h 1254"/>
                  <a:gd name="T76" fmla="*/ 794 w 1155"/>
                  <a:gd name="T77" fmla="*/ 812 h 1254"/>
                  <a:gd name="T78" fmla="*/ 707 w 1155"/>
                  <a:gd name="T79" fmla="*/ 805 h 1254"/>
                  <a:gd name="T80" fmla="*/ 352 w 1155"/>
                  <a:gd name="T81" fmla="*/ 898 h 1254"/>
                  <a:gd name="T82" fmla="*/ 259 w 1155"/>
                  <a:gd name="T83" fmla="*/ 799 h 1254"/>
                  <a:gd name="T84" fmla="*/ 143 w 1155"/>
                  <a:gd name="T85" fmla="*/ 641 h 1254"/>
                  <a:gd name="T86" fmla="*/ 64 w 1155"/>
                  <a:gd name="T87" fmla="*/ 470 h 1254"/>
                  <a:gd name="T88" fmla="*/ 54 w 1155"/>
                  <a:gd name="T89" fmla="*/ 356 h 1254"/>
                  <a:gd name="T90" fmla="*/ 73 w 1155"/>
                  <a:gd name="T91" fmla="*/ 271 h 1254"/>
                  <a:gd name="T92" fmla="*/ 111 w 1155"/>
                  <a:gd name="T93" fmla="*/ 199 h 1254"/>
                  <a:gd name="T94" fmla="*/ 180 w 1155"/>
                  <a:gd name="T95" fmla="*/ 127 h 1254"/>
                  <a:gd name="T96" fmla="*/ 222 w 1155"/>
                  <a:gd name="T97" fmla="*/ 100 h 1254"/>
                  <a:gd name="T98" fmla="*/ 248 w 1155"/>
                  <a:gd name="T99" fmla="*/ 103 h 1254"/>
                  <a:gd name="T100" fmla="*/ 276 w 1155"/>
                  <a:gd name="T101" fmla="*/ 140 h 1254"/>
                  <a:gd name="T102" fmla="*/ 202 w 1155"/>
                  <a:gd name="T103" fmla="*/ 202 h 1254"/>
                  <a:gd name="T104" fmla="*/ 155 w 1155"/>
                  <a:gd name="T105" fmla="*/ 263 h 1254"/>
                  <a:gd name="T106" fmla="*/ 129 w 1155"/>
                  <a:gd name="T107" fmla="*/ 330 h 1254"/>
                  <a:gd name="T108" fmla="*/ 115 w 1155"/>
                  <a:gd name="T109" fmla="*/ 440 h 1254"/>
                  <a:gd name="T110" fmla="*/ 154 w 1155"/>
                  <a:gd name="T111" fmla="*/ 589 h 1254"/>
                  <a:gd name="T112" fmla="*/ 286 w 1155"/>
                  <a:gd name="T113" fmla="*/ 809 h 1254"/>
                  <a:gd name="T114" fmla="*/ 367 w 1155"/>
                  <a:gd name="T115" fmla="*/ 912 h 1254"/>
                  <a:gd name="T116" fmla="*/ 352 w 1155"/>
                  <a:gd name="T117" fmla="*/ 898 h 1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55" h="1254">
                    <a:moveTo>
                      <a:pt x="702" y="807"/>
                    </a:moveTo>
                    <a:lnTo>
                      <a:pt x="702" y="807"/>
                    </a:lnTo>
                    <a:lnTo>
                      <a:pt x="700" y="814"/>
                    </a:lnTo>
                    <a:lnTo>
                      <a:pt x="698" y="821"/>
                    </a:lnTo>
                    <a:lnTo>
                      <a:pt x="695" y="836"/>
                    </a:lnTo>
                    <a:lnTo>
                      <a:pt x="693" y="850"/>
                    </a:lnTo>
                    <a:lnTo>
                      <a:pt x="688" y="863"/>
                    </a:lnTo>
                    <a:lnTo>
                      <a:pt x="686" y="869"/>
                    </a:lnTo>
                    <a:lnTo>
                      <a:pt x="683" y="874"/>
                    </a:lnTo>
                    <a:lnTo>
                      <a:pt x="679" y="879"/>
                    </a:lnTo>
                    <a:lnTo>
                      <a:pt x="673" y="883"/>
                    </a:lnTo>
                    <a:lnTo>
                      <a:pt x="667" y="886"/>
                    </a:lnTo>
                    <a:lnTo>
                      <a:pt x="659" y="889"/>
                    </a:lnTo>
                    <a:lnTo>
                      <a:pt x="649" y="890"/>
                    </a:lnTo>
                    <a:lnTo>
                      <a:pt x="637" y="890"/>
                    </a:lnTo>
                    <a:lnTo>
                      <a:pt x="637" y="890"/>
                    </a:lnTo>
                    <a:lnTo>
                      <a:pt x="632" y="889"/>
                    </a:lnTo>
                    <a:lnTo>
                      <a:pt x="624" y="887"/>
                    </a:lnTo>
                    <a:lnTo>
                      <a:pt x="617" y="883"/>
                    </a:lnTo>
                    <a:lnTo>
                      <a:pt x="608" y="877"/>
                    </a:lnTo>
                    <a:lnTo>
                      <a:pt x="589" y="862"/>
                    </a:lnTo>
                    <a:lnTo>
                      <a:pt x="567" y="843"/>
                    </a:lnTo>
                    <a:lnTo>
                      <a:pt x="543" y="821"/>
                    </a:lnTo>
                    <a:lnTo>
                      <a:pt x="520" y="798"/>
                    </a:lnTo>
                    <a:lnTo>
                      <a:pt x="477" y="752"/>
                    </a:lnTo>
                    <a:lnTo>
                      <a:pt x="477" y="752"/>
                    </a:lnTo>
                    <a:lnTo>
                      <a:pt x="434" y="699"/>
                    </a:lnTo>
                    <a:lnTo>
                      <a:pt x="410" y="668"/>
                    </a:lnTo>
                    <a:lnTo>
                      <a:pt x="386" y="637"/>
                    </a:lnTo>
                    <a:lnTo>
                      <a:pt x="365" y="606"/>
                    </a:lnTo>
                    <a:lnTo>
                      <a:pt x="348" y="578"/>
                    </a:lnTo>
                    <a:lnTo>
                      <a:pt x="341" y="566"/>
                    </a:lnTo>
                    <a:lnTo>
                      <a:pt x="337" y="555"/>
                    </a:lnTo>
                    <a:lnTo>
                      <a:pt x="335" y="546"/>
                    </a:lnTo>
                    <a:lnTo>
                      <a:pt x="335" y="538"/>
                    </a:lnTo>
                    <a:lnTo>
                      <a:pt x="335" y="538"/>
                    </a:lnTo>
                    <a:lnTo>
                      <a:pt x="337" y="527"/>
                    </a:lnTo>
                    <a:lnTo>
                      <a:pt x="339" y="517"/>
                    </a:lnTo>
                    <a:lnTo>
                      <a:pt x="343" y="510"/>
                    </a:lnTo>
                    <a:lnTo>
                      <a:pt x="347" y="504"/>
                    </a:lnTo>
                    <a:lnTo>
                      <a:pt x="352" y="499"/>
                    </a:lnTo>
                    <a:lnTo>
                      <a:pt x="357" y="496"/>
                    </a:lnTo>
                    <a:lnTo>
                      <a:pt x="363" y="493"/>
                    </a:lnTo>
                    <a:lnTo>
                      <a:pt x="370" y="491"/>
                    </a:lnTo>
                    <a:lnTo>
                      <a:pt x="383" y="490"/>
                    </a:lnTo>
                    <a:lnTo>
                      <a:pt x="397" y="489"/>
                    </a:lnTo>
                    <a:lnTo>
                      <a:pt x="412" y="489"/>
                    </a:lnTo>
                    <a:lnTo>
                      <a:pt x="420" y="488"/>
                    </a:lnTo>
                    <a:lnTo>
                      <a:pt x="426" y="486"/>
                    </a:lnTo>
                    <a:lnTo>
                      <a:pt x="426" y="486"/>
                    </a:lnTo>
                    <a:lnTo>
                      <a:pt x="428" y="485"/>
                    </a:lnTo>
                    <a:lnTo>
                      <a:pt x="429" y="483"/>
                    </a:lnTo>
                    <a:lnTo>
                      <a:pt x="433" y="474"/>
                    </a:lnTo>
                    <a:lnTo>
                      <a:pt x="435" y="461"/>
                    </a:lnTo>
                    <a:lnTo>
                      <a:pt x="436" y="443"/>
                    </a:lnTo>
                    <a:lnTo>
                      <a:pt x="437" y="421"/>
                    </a:lnTo>
                    <a:lnTo>
                      <a:pt x="436" y="395"/>
                    </a:lnTo>
                    <a:lnTo>
                      <a:pt x="433" y="367"/>
                    </a:lnTo>
                    <a:lnTo>
                      <a:pt x="426" y="334"/>
                    </a:lnTo>
                    <a:lnTo>
                      <a:pt x="418" y="299"/>
                    </a:lnTo>
                    <a:lnTo>
                      <a:pt x="413" y="281"/>
                    </a:lnTo>
                    <a:lnTo>
                      <a:pt x="406" y="261"/>
                    </a:lnTo>
                    <a:lnTo>
                      <a:pt x="399" y="242"/>
                    </a:lnTo>
                    <a:lnTo>
                      <a:pt x="391" y="222"/>
                    </a:lnTo>
                    <a:lnTo>
                      <a:pt x="383" y="202"/>
                    </a:lnTo>
                    <a:lnTo>
                      <a:pt x="372" y="181"/>
                    </a:lnTo>
                    <a:lnTo>
                      <a:pt x="361" y="161"/>
                    </a:lnTo>
                    <a:lnTo>
                      <a:pt x="349" y="139"/>
                    </a:lnTo>
                    <a:lnTo>
                      <a:pt x="335" y="117"/>
                    </a:lnTo>
                    <a:lnTo>
                      <a:pt x="320" y="96"/>
                    </a:lnTo>
                    <a:lnTo>
                      <a:pt x="305" y="73"/>
                    </a:lnTo>
                    <a:lnTo>
                      <a:pt x="287" y="51"/>
                    </a:lnTo>
                    <a:lnTo>
                      <a:pt x="268" y="28"/>
                    </a:lnTo>
                    <a:lnTo>
                      <a:pt x="248" y="7"/>
                    </a:lnTo>
                    <a:lnTo>
                      <a:pt x="248" y="7"/>
                    </a:lnTo>
                    <a:lnTo>
                      <a:pt x="244" y="3"/>
                    </a:lnTo>
                    <a:lnTo>
                      <a:pt x="238" y="1"/>
                    </a:lnTo>
                    <a:lnTo>
                      <a:pt x="232" y="0"/>
                    </a:lnTo>
                    <a:lnTo>
                      <a:pt x="224" y="0"/>
                    </a:lnTo>
                    <a:lnTo>
                      <a:pt x="216" y="1"/>
                    </a:lnTo>
                    <a:lnTo>
                      <a:pt x="208" y="3"/>
                    </a:lnTo>
                    <a:lnTo>
                      <a:pt x="198" y="7"/>
                    </a:lnTo>
                    <a:lnTo>
                      <a:pt x="191" y="12"/>
                    </a:lnTo>
                    <a:lnTo>
                      <a:pt x="191" y="12"/>
                    </a:lnTo>
                    <a:lnTo>
                      <a:pt x="166" y="31"/>
                    </a:lnTo>
                    <a:lnTo>
                      <a:pt x="140" y="51"/>
                    </a:lnTo>
                    <a:lnTo>
                      <a:pt x="115" y="74"/>
                    </a:lnTo>
                    <a:lnTo>
                      <a:pt x="102" y="86"/>
                    </a:lnTo>
                    <a:lnTo>
                      <a:pt x="90" y="99"/>
                    </a:lnTo>
                    <a:lnTo>
                      <a:pt x="79" y="112"/>
                    </a:lnTo>
                    <a:lnTo>
                      <a:pt x="68" y="127"/>
                    </a:lnTo>
                    <a:lnTo>
                      <a:pt x="57" y="142"/>
                    </a:lnTo>
                    <a:lnTo>
                      <a:pt x="48" y="158"/>
                    </a:lnTo>
                    <a:lnTo>
                      <a:pt x="38" y="177"/>
                    </a:lnTo>
                    <a:lnTo>
                      <a:pt x="30" y="195"/>
                    </a:lnTo>
                    <a:lnTo>
                      <a:pt x="23" y="216"/>
                    </a:lnTo>
                    <a:lnTo>
                      <a:pt x="16" y="238"/>
                    </a:lnTo>
                    <a:lnTo>
                      <a:pt x="16" y="238"/>
                    </a:lnTo>
                    <a:lnTo>
                      <a:pt x="12" y="256"/>
                    </a:lnTo>
                    <a:lnTo>
                      <a:pt x="7" y="274"/>
                    </a:lnTo>
                    <a:lnTo>
                      <a:pt x="4" y="295"/>
                    </a:lnTo>
                    <a:lnTo>
                      <a:pt x="1" y="318"/>
                    </a:lnTo>
                    <a:lnTo>
                      <a:pt x="0" y="343"/>
                    </a:lnTo>
                    <a:lnTo>
                      <a:pt x="1" y="370"/>
                    </a:lnTo>
                    <a:lnTo>
                      <a:pt x="4" y="399"/>
                    </a:lnTo>
                    <a:lnTo>
                      <a:pt x="10" y="431"/>
                    </a:lnTo>
                    <a:lnTo>
                      <a:pt x="19" y="465"/>
                    </a:lnTo>
                    <a:lnTo>
                      <a:pt x="25" y="484"/>
                    </a:lnTo>
                    <a:lnTo>
                      <a:pt x="31" y="503"/>
                    </a:lnTo>
                    <a:lnTo>
                      <a:pt x="39" y="524"/>
                    </a:lnTo>
                    <a:lnTo>
                      <a:pt x="49" y="544"/>
                    </a:lnTo>
                    <a:lnTo>
                      <a:pt x="58" y="566"/>
                    </a:lnTo>
                    <a:lnTo>
                      <a:pt x="69" y="589"/>
                    </a:lnTo>
                    <a:lnTo>
                      <a:pt x="81" y="613"/>
                    </a:lnTo>
                    <a:lnTo>
                      <a:pt x="95" y="637"/>
                    </a:lnTo>
                    <a:lnTo>
                      <a:pt x="111" y="663"/>
                    </a:lnTo>
                    <a:lnTo>
                      <a:pt x="126" y="689"/>
                    </a:lnTo>
                    <a:lnTo>
                      <a:pt x="144" y="717"/>
                    </a:lnTo>
                    <a:lnTo>
                      <a:pt x="163" y="745"/>
                    </a:lnTo>
                    <a:lnTo>
                      <a:pt x="183" y="774"/>
                    </a:lnTo>
                    <a:lnTo>
                      <a:pt x="206" y="805"/>
                    </a:lnTo>
                    <a:lnTo>
                      <a:pt x="206" y="805"/>
                    </a:lnTo>
                    <a:lnTo>
                      <a:pt x="223" y="831"/>
                    </a:lnTo>
                    <a:lnTo>
                      <a:pt x="245" y="860"/>
                    </a:lnTo>
                    <a:lnTo>
                      <a:pt x="272" y="891"/>
                    </a:lnTo>
                    <a:lnTo>
                      <a:pt x="303" y="927"/>
                    </a:lnTo>
                    <a:lnTo>
                      <a:pt x="303" y="927"/>
                    </a:lnTo>
                    <a:lnTo>
                      <a:pt x="328" y="953"/>
                    </a:lnTo>
                    <a:lnTo>
                      <a:pt x="328" y="953"/>
                    </a:lnTo>
                    <a:lnTo>
                      <a:pt x="358" y="981"/>
                    </a:lnTo>
                    <a:lnTo>
                      <a:pt x="386" y="1008"/>
                    </a:lnTo>
                    <a:lnTo>
                      <a:pt x="412" y="1034"/>
                    </a:lnTo>
                    <a:lnTo>
                      <a:pt x="438" y="1057"/>
                    </a:lnTo>
                    <a:lnTo>
                      <a:pt x="464" y="1079"/>
                    </a:lnTo>
                    <a:lnTo>
                      <a:pt x="488" y="1100"/>
                    </a:lnTo>
                    <a:lnTo>
                      <a:pt x="512" y="1118"/>
                    </a:lnTo>
                    <a:lnTo>
                      <a:pt x="534" y="1135"/>
                    </a:lnTo>
                    <a:lnTo>
                      <a:pt x="556" y="1151"/>
                    </a:lnTo>
                    <a:lnTo>
                      <a:pt x="577" y="1165"/>
                    </a:lnTo>
                    <a:lnTo>
                      <a:pt x="597" y="1178"/>
                    </a:lnTo>
                    <a:lnTo>
                      <a:pt x="617" y="1190"/>
                    </a:lnTo>
                    <a:lnTo>
                      <a:pt x="636" y="1199"/>
                    </a:lnTo>
                    <a:lnTo>
                      <a:pt x="655" y="1209"/>
                    </a:lnTo>
                    <a:lnTo>
                      <a:pt x="672" y="1218"/>
                    </a:lnTo>
                    <a:lnTo>
                      <a:pt x="689" y="1224"/>
                    </a:lnTo>
                    <a:lnTo>
                      <a:pt x="706" y="1231"/>
                    </a:lnTo>
                    <a:lnTo>
                      <a:pt x="722" y="1236"/>
                    </a:lnTo>
                    <a:lnTo>
                      <a:pt x="751" y="1244"/>
                    </a:lnTo>
                    <a:lnTo>
                      <a:pt x="778" y="1249"/>
                    </a:lnTo>
                    <a:lnTo>
                      <a:pt x="804" y="1252"/>
                    </a:lnTo>
                    <a:lnTo>
                      <a:pt x="828" y="1254"/>
                    </a:lnTo>
                    <a:lnTo>
                      <a:pt x="850" y="1252"/>
                    </a:lnTo>
                    <a:lnTo>
                      <a:pt x="869" y="1251"/>
                    </a:lnTo>
                    <a:lnTo>
                      <a:pt x="889" y="1249"/>
                    </a:lnTo>
                    <a:lnTo>
                      <a:pt x="889" y="1249"/>
                    </a:lnTo>
                    <a:lnTo>
                      <a:pt x="911" y="1246"/>
                    </a:lnTo>
                    <a:lnTo>
                      <a:pt x="932" y="1242"/>
                    </a:lnTo>
                    <a:lnTo>
                      <a:pt x="953" y="1236"/>
                    </a:lnTo>
                    <a:lnTo>
                      <a:pt x="971" y="1230"/>
                    </a:lnTo>
                    <a:lnTo>
                      <a:pt x="990" y="1223"/>
                    </a:lnTo>
                    <a:lnTo>
                      <a:pt x="1006" y="1214"/>
                    </a:lnTo>
                    <a:lnTo>
                      <a:pt x="1022" y="1206"/>
                    </a:lnTo>
                    <a:lnTo>
                      <a:pt x="1038" y="1196"/>
                    </a:lnTo>
                    <a:lnTo>
                      <a:pt x="1052" y="1186"/>
                    </a:lnTo>
                    <a:lnTo>
                      <a:pt x="1066" y="1175"/>
                    </a:lnTo>
                    <a:lnTo>
                      <a:pt x="1092" y="1154"/>
                    </a:lnTo>
                    <a:lnTo>
                      <a:pt x="1116" y="1132"/>
                    </a:lnTo>
                    <a:lnTo>
                      <a:pt x="1137" y="1109"/>
                    </a:lnTo>
                    <a:lnTo>
                      <a:pt x="1137" y="1109"/>
                    </a:lnTo>
                    <a:lnTo>
                      <a:pt x="1144" y="1102"/>
                    </a:lnTo>
                    <a:lnTo>
                      <a:pt x="1149" y="1094"/>
                    </a:lnTo>
                    <a:lnTo>
                      <a:pt x="1152" y="1085"/>
                    </a:lnTo>
                    <a:lnTo>
                      <a:pt x="1155" y="1078"/>
                    </a:lnTo>
                    <a:lnTo>
                      <a:pt x="1155" y="1070"/>
                    </a:lnTo>
                    <a:lnTo>
                      <a:pt x="1155" y="1064"/>
                    </a:lnTo>
                    <a:lnTo>
                      <a:pt x="1154" y="1058"/>
                    </a:lnTo>
                    <a:lnTo>
                      <a:pt x="1151" y="1054"/>
                    </a:lnTo>
                    <a:lnTo>
                      <a:pt x="1151" y="1054"/>
                    </a:lnTo>
                    <a:lnTo>
                      <a:pt x="1132" y="1030"/>
                    </a:lnTo>
                    <a:lnTo>
                      <a:pt x="1112" y="1008"/>
                    </a:lnTo>
                    <a:lnTo>
                      <a:pt x="1094" y="988"/>
                    </a:lnTo>
                    <a:lnTo>
                      <a:pt x="1074" y="969"/>
                    </a:lnTo>
                    <a:lnTo>
                      <a:pt x="1055" y="951"/>
                    </a:lnTo>
                    <a:lnTo>
                      <a:pt x="1035" y="935"/>
                    </a:lnTo>
                    <a:lnTo>
                      <a:pt x="1016" y="920"/>
                    </a:lnTo>
                    <a:lnTo>
                      <a:pt x="996" y="905"/>
                    </a:lnTo>
                    <a:lnTo>
                      <a:pt x="977" y="892"/>
                    </a:lnTo>
                    <a:lnTo>
                      <a:pt x="958" y="881"/>
                    </a:lnTo>
                    <a:lnTo>
                      <a:pt x="940" y="870"/>
                    </a:lnTo>
                    <a:lnTo>
                      <a:pt x="922" y="860"/>
                    </a:lnTo>
                    <a:lnTo>
                      <a:pt x="904" y="851"/>
                    </a:lnTo>
                    <a:lnTo>
                      <a:pt x="887" y="843"/>
                    </a:lnTo>
                    <a:lnTo>
                      <a:pt x="853" y="830"/>
                    </a:lnTo>
                    <a:lnTo>
                      <a:pt x="822" y="819"/>
                    </a:lnTo>
                    <a:lnTo>
                      <a:pt x="794" y="812"/>
                    </a:lnTo>
                    <a:lnTo>
                      <a:pt x="769" y="807"/>
                    </a:lnTo>
                    <a:lnTo>
                      <a:pt x="747" y="804"/>
                    </a:lnTo>
                    <a:lnTo>
                      <a:pt x="730" y="802"/>
                    </a:lnTo>
                    <a:lnTo>
                      <a:pt x="716" y="804"/>
                    </a:lnTo>
                    <a:lnTo>
                      <a:pt x="707" y="805"/>
                    </a:lnTo>
                    <a:lnTo>
                      <a:pt x="705" y="806"/>
                    </a:lnTo>
                    <a:lnTo>
                      <a:pt x="702" y="807"/>
                    </a:lnTo>
                    <a:lnTo>
                      <a:pt x="702" y="807"/>
                    </a:lnTo>
                    <a:close/>
                    <a:moveTo>
                      <a:pt x="352" y="898"/>
                    </a:moveTo>
                    <a:lnTo>
                      <a:pt x="352" y="898"/>
                    </a:lnTo>
                    <a:lnTo>
                      <a:pt x="331" y="877"/>
                    </a:lnTo>
                    <a:lnTo>
                      <a:pt x="331" y="877"/>
                    </a:lnTo>
                    <a:lnTo>
                      <a:pt x="302" y="849"/>
                    </a:lnTo>
                    <a:lnTo>
                      <a:pt x="279" y="823"/>
                    </a:lnTo>
                    <a:lnTo>
                      <a:pt x="259" y="799"/>
                    </a:lnTo>
                    <a:lnTo>
                      <a:pt x="243" y="779"/>
                    </a:lnTo>
                    <a:lnTo>
                      <a:pt x="243" y="779"/>
                    </a:lnTo>
                    <a:lnTo>
                      <a:pt x="205" y="729"/>
                    </a:lnTo>
                    <a:lnTo>
                      <a:pt x="171" y="683"/>
                    </a:lnTo>
                    <a:lnTo>
                      <a:pt x="143" y="641"/>
                    </a:lnTo>
                    <a:lnTo>
                      <a:pt x="120" y="601"/>
                    </a:lnTo>
                    <a:lnTo>
                      <a:pt x="101" y="564"/>
                    </a:lnTo>
                    <a:lnTo>
                      <a:pt x="86" y="530"/>
                    </a:lnTo>
                    <a:lnTo>
                      <a:pt x="73" y="499"/>
                    </a:lnTo>
                    <a:lnTo>
                      <a:pt x="64" y="470"/>
                    </a:lnTo>
                    <a:lnTo>
                      <a:pt x="58" y="444"/>
                    </a:lnTo>
                    <a:lnTo>
                      <a:pt x="54" y="419"/>
                    </a:lnTo>
                    <a:lnTo>
                      <a:pt x="53" y="396"/>
                    </a:lnTo>
                    <a:lnTo>
                      <a:pt x="53" y="375"/>
                    </a:lnTo>
                    <a:lnTo>
                      <a:pt x="54" y="356"/>
                    </a:lnTo>
                    <a:lnTo>
                      <a:pt x="56" y="338"/>
                    </a:lnTo>
                    <a:lnTo>
                      <a:pt x="62" y="307"/>
                    </a:lnTo>
                    <a:lnTo>
                      <a:pt x="62" y="307"/>
                    </a:lnTo>
                    <a:lnTo>
                      <a:pt x="67" y="289"/>
                    </a:lnTo>
                    <a:lnTo>
                      <a:pt x="73" y="271"/>
                    </a:lnTo>
                    <a:lnTo>
                      <a:pt x="78" y="255"/>
                    </a:lnTo>
                    <a:lnTo>
                      <a:pt x="86" y="239"/>
                    </a:lnTo>
                    <a:lnTo>
                      <a:pt x="93" y="225"/>
                    </a:lnTo>
                    <a:lnTo>
                      <a:pt x="102" y="212"/>
                    </a:lnTo>
                    <a:lnTo>
                      <a:pt x="111" y="199"/>
                    </a:lnTo>
                    <a:lnTo>
                      <a:pt x="119" y="187"/>
                    </a:lnTo>
                    <a:lnTo>
                      <a:pt x="129" y="176"/>
                    </a:lnTo>
                    <a:lnTo>
                      <a:pt x="139" y="165"/>
                    </a:lnTo>
                    <a:lnTo>
                      <a:pt x="159" y="145"/>
                    </a:lnTo>
                    <a:lnTo>
                      <a:pt x="180" y="127"/>
                    </a:lnTo>
                    <a:lnTo>
                      <a:pt x="200" y="110"/>
                    </a:lnTo>
                    <a:lnTo>
                      <a:pt x="200" y="110"/>
                    </a:lnTo>
                    <a:lnTo>
                      <a:pt x="208" y="105"/>
                    </a:lnTo>
                    <a:lnTo>
                      <a:pt x="215" y="102"/>
                    </a:lnTo>
                    <a:lnTo>
                      <a:pt x="222" y="100"/>
                    </a:lnTo>
                    <a:lnTo>
                      <a:pt x="229" y="99"/>
                    </a:lnTo>
                    <a:lnTo>
                      <a:pt x="235" y="99"/>
                    </a:lnTo>
                    <a:lnTo>
                      <a:pt x="241" y="100"/>
                    </a:lnTo>
                    <a:lnTo>
                      <a:pt x="245" y="101"/>
                    </a:lnTo>
                    <a:lnTo>
                      <a:pt x="248" y="103"/>
                    </a:lnTo>
                    <a:lnTo>
                      <a:pt x="248" y="103"/>
                    </a:lnTo>
                    <a:lnTo>
                      <a:pt x="266" y="120"/>
                    </a:lnTo>
                    <a:lnTo>
                      <a:pt x="281" y="137"/>
                    </a:lnTo>
                    <a:lnTo>
                      <a:pt x="281" y="137"/>
                    </a:lnTo>
                    <a:lnTo>
                      <a:pt x="276" y="140"/>
                    </a:lnTo>
                    <a:lnTo>
                      <a:pt x="276" y="140"/>
                    </a:lnTo>
                    <a:lnTo>
                      <a:pt x="256" y="155"/>
                    </a:lnTo>
                    <a:lnTo>
                      <a:pt x="234" y="173"/>
                    </a:lnTo>
                    <a:lnTo>
                      <a:pt x="212" y="191"/>
                    </a:lnTo>
                    <a:lnTo>
                      <a:pt x="202" y="202"/>
                    </a:lnTo>
                    <a:lnTo>
                      <a:pt x="192" y="212"/>
                    </a:lnTo>
                    <a:lnTo>
                      <a:pt x="182" y="223"/>
                    </a:lnTo>
                    <a:lnTo>
                      <a:pt x="172" y="235"/>
                    </a:lnTo>
                    <a:lnTo>
                      <a:pt x="164" y="248"/>
                    </a:lnTo>
                    <a:lnTo>
                      <a:pt x="155" y="263"/>
                    </a:lnTo>
                    <a:lnTo>
                      <a:pt x="147" y="278"/>
                    </a:lnTo>
                    <a:lnTo>
                      <a:pt x="141" y="294"/>
                    </a:lnTo>
                    <a:lnTo>
                      <a:pt x="134" y="311"/>
                    </a:lnTo>
                    <a:lnTo>
                      <a:pt x="129" y="330"/>
                    </a:lnTo>
                    <a:lnTo>
                      <a:pt x="129" y="330"/>
                    </a:lnTo>
                    <a:lnTo>
                      <a:pt x="121" y="360"/>
                    </a:lnTo>
                    <a:lnTo>
                      <a:pt x="118" y="377"/>
                    </a:lnTo>
                    <a:lnTo>
                      <a:pt x="116" y="397"/>
                    </a:lnTo>
                    <a:lnTo>
                      <a:pt x="115" y="418"/>
                    </a:lnTo>
                    <a:lnTo>
                      <a:pt x="115" y="440"/>
                    </a:lnTo>
                    <a:lnTo>
                      <a:pt x="118" y="465"/>
                    </a:lnTo>
                    <a:lnTo>
                      <a:pt x="122" y="492"/>
                    </a:lnTo>
                    <a:lnTo>
                      <a:pt x="130" y="522"/>
                    </a:lnTo>
                    <a:lnTo>
                      <a:pt x="141" y="553"/>
                    </a:lnTo>
                    <a:lnTo>
                      <a:pt x="154" y="589"/>
                    </a:lnTo>
                    <a:lnTo>
                      <a:pt x="172" y="626"/>
                    </a:lnTo>
                    <a:lnTo>
                      <a:pt x="193" y="667"/>
                    </a:lnTo>
                    <a:lnTo>
                      <a:pt x="219" y="710"/>
                    </a:lnTo>
                    <a:lnTo>
                      <a:pt x="250" y="758"/>
                    </a:lnTo>
                    <a:lnTo>
                      <a:pt x="286" y="809"/>
                    </a:lnTo>
                    <a:lnTo>
                      <a:pt x="286" y="809"/>
                    </a:lnTo>
                    <a:lnTo>
                      <a:pt x="300" y="831"/>
                    </a:lnTo>
                    <a:lnTo>
                      <a:pt x="319" y="856"/>
                    </a:lnTo>
                    <a:lnTo>
                      <a:pt x="341" y="883"/>
                    </a:lnTo>
                    <a:lnTo>
                      <a:pt x="367" y="912"/>
                    </a:lnTo>
                    <a:lnTo>
                      <a:pt x="367" y="912"/>
                    </a:lnTo>
                    <a:lnTo>
                      <a:pt x="370" y="914"/>
                    </a:lnTo>
                    <a:lnTo>
                      <a:pt x="370" y="914"/>
                    </a:lnTo>
                    <a:lnTo>
                      <a:pt x="352" y="898"/>
                    </a:lnTo>
                    <a:lnTo>
                      <a:pt x="352" y="89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529" name="Group 1528">
            <a:extLst>
              <a:ext uri="{FF2B5EF4-FFF2-40B4-BE49-F238E27FC236}">
                <a16:creationId xmlns:a16="http://schemas.microsoft.com/office/drawing/2014/main" id="{83EF337B-4AD9-4F09-9546-B09489A491F1}"/>
              </a:ext>
            </a:extLst>
          </p:cNvPr>
          <p:cNvGrpSpPr/>
          <p:nvPr/>
        </p:nvGrpSpPr>
        <p:grpSpPr>
          <a:xfrm>
            <a:off x="6847381" y="3168578"/>
            <a:ext cx="612775" cy="612775"/>
            <a:chOff x="5692752" y="3806921"/>
            <a:chExt cx="612775" cy="612775"/>
          </a:xfrm>
        </p:grpSpPr>
        <p:sp>
          <p:nvSpPr>
            <p:cNvPr id="1530" name="Oval 1529">
              <a:extLst>
                <a:ext uri="{FF2B5EF4-FFF2-40B4-BE49-F238E27FC236}">
                  <a16:creationId xmlns:a16="http://schemas.microsoft.com/office/drawing/2014/main" id="{62380CA8-C764-47DB-BE35-9E6BB5F1B1B8}"/>
                </a:ext>
              </a:extLst>
            </p:cNvPr>
            <p:cNvSpPr/>
            <p:nvPr/>
          </p:nvSpPr>
          <p:spPr bwMode="ltGray">
            <a:xfrm>
              <a:off x="569275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531" name="Group 1530">
              <a:extLst>
                <a:ext uri="{FF2B5EF4-FFF2-40B4-BE49-F238E27FC236}">
                  <a16:creationId xmlns:a16="http://schemas.microsoft.com/office/drawing/2014/main" id="{661A7849-0369-42B7-B418-A986120D4C5F}"/>
                </a:ext>
              </a:extLst>
            </p:cNvPr>
            <p:cNvGrpSpPr/>
            <p:nvPr/>
          </p:nvGrpSpPr>
          <p:grpSpPr>
            <a:xfrm>
              <a:off x="5838437" y="3950356"/>
              <a:ext cx="338137" cy="350837"/>
              <a:chOff x="8754314" y="6266534"/>
              <a:chExt cx="338137" cy="350837"/>
            </a:xfrm>
          </p:grpSpPr>
          <p:sp>
            <p:nvSpPr>
              <p:cNvPr id="1532" name="Freeform 574">
                <a:extLst>
                  <a:ext uri="{FF2B5EF4-FFF2-40B4-BE49-F238E27FC236}">
                    <a16:creationId xmlns:a16="http://schemas.microsoft.com/office/drawing/2014/main" id="{D53461A8-BB95-4A91-83DA-617B3B4B187C}"/>
                  </a:ext>
                </a:extLst>
              </p:cNvPr>
              <p:cNvSpPr>
                <a:spLocks/>
              </p:cNvSpPr>
              <p:nvPr/>
            </p:nvSpPr>
            <p:spPr bwMode="auto">
              <a:xfrm>
                <a:off x="8898777" y="6410997"/>
                <a:ext cx="49212" cy="47625"/>
              </a:xfrm>
              <a:custGeom>
                <a:avLst/>
                <a:gdLst>
                  <a:gd name="T0" fmla="*/ 46 w 91"/>
                  <a:gd name="T1" fmla="*/ 90 h 90"/>
                  <a:gd name="T2" fmla="*/ 46 w 91"/>
                  <a:gd name="T3" fmla="*/ 90 h 90"/>
                  <a:gd name="T4" fmla="*/ 54 w 91"/>
                  <a:gd name="T5" fmla="*/ 89 h 90"/>
                  <a:gd name="T6" fmla="*/ 63 w 91"/>
                  <a:gd name="T7" fmla="*/ 87 h 90"/>
                  <a:gd name="T8" fmla="*/ 71 w 91"/>
                  <a:gd name="T9" fmla="*/ 83 h 90"/>
                  <a:gd name="T10" fmla="*/ 77 w 91"/>
                  <a:gd name="T11" fmla="*/ 77 h 90"/>
                  <a:gd name="T12" fmla="*/ 84 w 91"/>
                  <a:gd name="T13" fmla="*/ 70 h 90"/>
                  <a:gd name="T14" fmla="*/ 88 w 91"/>
                  <a:gd name="T15" fmla="*/ 63 h 90"/>
                  <a:gd name="T16" fmla="*/ 90 w 91"/>
                  <a:gd name="T17" fmla="*/ 54 h 90"/>
                  <a:gd name="T18" fmla="*/ 91 w 91"/>
                  <a:gd name="T19" fmla="*/ 45 h 90"/>
                  <a:gd name="T20" fmla="*/ 91 w 91"/>
                  <a:gd name="T21" fmla="*/ 45 h 90"/>
                  <a:gd name="T22" fmla="*/ 90 w 91"/>
                  <a:gd name="T23" fmla="*/ 36 h 90"/>
                  <a:gd name="T24" fmla="*/ 88 w 91"/>
                  <a:gd name="T25" fmla="*/ 28 h 90"/>
                  <a:gd name="T26" fmla="*/ 84 w 91"/>
                  <a:gd name="T27" fmla="*/ 19 h 90"/>
                  <a:gd name="T28" fmla="*/ 77 w 91"/>
                  <a:gd name="T29" fmla="*/ 13 h 90"/>
                  <a:gd name="T30" fmla="*/ 71 w 91"/>
                  <a:gd name="T31" fmla="*/ 8 h 90"/>
                  <a:gd name="T32" fmla="*/ 63 w 91"/>
                  <a:gd name="T33" fmla="*/ 4 h 90"/>
                  <a:gd name="T34" fmla="*/ 54 w 91"/>
                  <a:gd name="T35" fmla="*/ 1 h 90"/>
                  <a:gd name="T36" fmla="*/ 46 w 91"/>
                  <a:gd name="T37" fmla="*/ 0 h 90"/>
                  <a:gd name="T38" fmla="*/ 46 w 91"/>
                  <a:gd name="T39" fmla="*/ 0 h 90"/>
                  <a:gd name="T40" fmla="*/ 37 w 91"/>
                  <a:gd name="T41" fmla="*/ 1 h 90"/>
                  <a:gd name="T42" fmla="*/ 28 w 91"/>
                  <a:gd name="T43" fmla="*/ 4 h 90"/>
                  <a:gd name="T44" fmla="*/ 20 w 91"/>
                  <a:gd name="T45" fmla="*/ 8 h 90"/>
                  <a:gd name="T46" fmla="*/ 14 w 91"/>
                  <a:gd name="T47" fmla="*/ 13 h 90"/>
                  <a:gd name="T48" fmla="*/ 9 w 91"/>
                  <a:gd name="T49" fmla="*/ 19 h 90"/>
                  <a:gd name="T50" fmla="*/ 4 w 91"/>
                  <a:gd name="T51" fmla="*/ 28 h 90"/>
                  <a:gd name="T52" fmla="*/ 1 w 91"/>
                  <a:gd name="T53" fmla="*/ 36 h 90"/>
                  <a:gd name="T54" fmla="*/ 0 w 91"/>
                  <a:gd name="T55" fmla="*/ 45 h 90"/>
                  <a:gd name="T56" fmla="*/ 0 w 91"/>
                  <a:gd name="T57" fmla="*/ 45 h 90"/>
                  <a:gd name="T58" fmla="*/ 1 w 91"/>
                  <a:gd name="T59" fmla="*/ 54 h 90"/>
                  <a:gd name="T60" fmla="*/ 4 w 91"/>
                  <a:gd name="T61" fmla="*/ 63 h 90"/>
                  <a:gd name="T62" fmla="*/ 9 w 91"/>
                  <a:gd name="T63" fmla="*/ 70 h 90"/>
                  <a:gd name="T64" fmla="*/ 14 w 91"/>
                  <a:gd name="T65" fmla="*/ 77 h 90"/>
                  <a:gd name="T66" fmla="*/ 20 w 91"/>
                  <a:gd name="T67" fmla="*/ 83 h 90"/>
                  <a:gd name="T68" fmla="*/ 28 w 91"/>
                  <a:gd name="T69" fmla="*/ 87 h 90"/>
                  <a:gd name="T70" fmla="*/ 37 w 91"/>
                  <a:gd name="T71" fmla="*/ 89 h 90"/>
                  <a:gd name="T72" fmla="*/ 46 w 91"/>
                  <a:gd name="T73" fmla="*/ 90 h 90"/>
                  <a:gd name="T74" fmla="*/ 46 w 91"/>
                  <a:gd name="T75"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1" h="90">
                    <a:moveTo>
                      <a:pt x="46" y="90"/>
                    </a:moveTo>
                    <a:lnTo>
                      <a:pt x="46" y="90"/>
                    </a:lnTo>
                    <a:lnTo>
                      <a:pt x="54" y="89"/>
                    </a:lnTo>
                    <a:lnTo>
                      <a:pt x="63" y="87"/>
                    </a:lnTo>
                    <a:lnTo>
                      <a:pt x="71" y="83"/>
                    </a:lnTo>
                    <a:lnTo>
                      <a:pt x="77" y="77"/>
                    </a:lnTo>
                    <a:lnTo>
                      <a:pt x="84" y="70"/>
                    </a:lnTo>
                    <a:lnTo>
                      <a:pt x="88" y="63"/>
                    </a:lnTo>
                    <a:lnTo>
                      <a:pt x="90" y="54"/>
                    </a:lnTo>
                    <a:lnTo>
                      <a:pt x="91" y="45"/>
                    </a:lnTo>
                    <a:lnTo>
                      <a:pt x="91" y="45"/>
                    </a:lnTo>
                    <a:lnTo>
                      <a:pt x="90" y="36"/>
                    </a:lnTo>
                    <a:lnTo>
                      <a:pt x="88" y="28"/>
                    </a:lnTo>
                    <a:lnTo>
                      <a:pt x="84" y="19"/>
                    </a:lnTo>
                    <a:lnTo>
                      <a:pt x="77" y="13"/>
                    </a:lnTo>
                    <a:lnTo>
                      <a:pt x="71" y="8"/>
                    </a:lnTo>
                    <a:lnTo>
                      <a:pt x="63" y="4"/>
                    </a:lnTo>
                    <a:lnTo>
                      <a:pt x="54" y="1"/>
                    </a:lnTo>
                    <a:lnTo>
                      <a:pt x="46" y="0"/>
                    </a:lnTo>
                    <a:lnTo>
                      <a:pt x="46" y="0"/>
                    </a:lnTo>
                    <a:lnTo>
                      <a:pt x="37" y="1"/>
                    </a:lnTo>
                    <a:lnTo>
                      <a:pt x="28" y="4"/>
                    </a:lnTo>
                    <a:lnTo>
                      <a:pt x="20" y="8"/>
                    </a:lnTo>
                    <a:lnTo>
                      <a:pt x="14" y="13"/>
                    </a:lnTo>
                    <a:lnTo>
                      <a:pt x="9" y="19"/>
                    </a:lnTo>
                    <a:lnTo>
                      <a:pt x="4" y="28"/>
                    </a:lnTo>
                    <a:lnTo>
                      <a:pt x="1" y="36"/>
                    </a:lnTo>
                    <a:lnTo>
                      <a:pt x="0" y="45"/>
                    </a:lnTo>
                    <a:lnTo>
                      <a:pt x="0" y="45"/>
                    </a:lnTo>
                    <a:lnTo>
                      <a:pt x="1" y="54"/>
                    </a:lnTo>
                    <a:lnTo>
                      <a:pt x="4" y="63"/>
                    </a:lnTo>
                    <a:lnTo>
                      <a:pt x="9" y="70"/>
                    </a:lnTo>
                    <a:lnTo>
                      <a:pt x="14" y="77"/>
                    </a:lnTo>
                    <a:lnTo>
                      <a:pt x="20" y="83"/>
                    </a:lnTo>
                    <a:lnTo>
                      <a:pt x="28" y="87"/>
                    </a:lnTo>
                    <a:lnTo>
                      <a:pt x="37" y="89"/>
                    </a:lnTo>
                    <a:lnTo>
                      <a:pt x="46" y="90"/>
                    </a:lnTo>
                    <a:lnTo>
                      <a:pt x="46" y="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33" name="Freeform 575">
                <a:extLst>
                  <a:ext uri="{FF2B5EF4-FFF2-40B4-BE49-F238E27FC236}">
                    <a16:creationId xmlns:a16="http://schemas.microsoft.com/office/drawing/2014/main" id="{407AF670-E16A-4F87-A37A-05F32851FBFA}"/>
                  </a:ext>
                </a:extLst>
              </p:cNvPr>
              <p:cNvSpPr>
                <a:spLocks noEditPoints="1"/>
              </p:cNvSpPr>
              <p:nvPr/>
            </p:nvSpPr>
            <p:spPr bwMode="auto">
              <a:xfrm>
                <a:off x="8814639" y="6325272"/>
                <a:ext cx="217487" cy="219075"/>
              </a:xfrm>
              <a:custGeom>
                <a:avLst/>
                <a:gdLst>
                  <a:gd name="T0" fmla="*/ 0 w 413"/>
                  <a:gd name="T1" fmla="*/ 0 h 414"/>
                  <a:gd name="T2" fmla="*/ 129 w 413"/>
                  <a:gd name="T3" fmla="*/ 190 h 414"/>
                  <a:gd name="T4" fmla="*/ 105 w 413"/>
                  <a:gd name="T5" fmla="*/ 130 h 414"/>
                  <a:gd name="T6" fmla="*/ 101 w 413"/>
                  <a:gd name="T7" fmla="*/ 121 h 414"/>
                  <a:gd name="T8" fmla="*/ 103 w 413"/>
                  <a:gd name="T9" fmla="*/ 108 h 414"/>
                  <a:gd name="T10" fmla="*/ 111 w 413"/>
                  <a:gd name="T11" fmla="*/ 102 h 414"/>
                  <a:gd name="T12" fmla="*/ 124 w 413"/>
                  <a:gd name="T13" fmla="*/ 102 h 414"/>
                  <a:gd name="T14" fmla="*/ 164 w 413"/>
                  <a:gd name="T15" fmla="*/ 140 h 414"/>
                  <a:gd name="T16" fmla="*/ 189 w 413"/>
                  <a:gd name="T17" fmla="*/ 81 h 414"/>
                  <a:gd name="T18" fmla="*/ 192 w 413"/>
                  <a:gd name="T19" fmla="*/ 72 h 414"/>
                  <a:gd name="T20" fmla="*/ 203 w 413"/>
                  <a:gd name="T21" fmla="*/ 65 h 414"/>
                  <a:gd name="T22" fmla="*/ 213 w 413"/>
                  <a:gd name="T23" fmla="*/ 66 h 414"/>
                  <a:gd name="T24" fmla="*/ 223 w 413"/>
                  <a:gd name="T25" fmla="*/ 74 h 414"/>
                  <a:gd name="T26" fmla="*/ 224 w 413"/>
                  <a:gd name="T27" fmla="*/ 129 h 414"/>
                  <a:gd name="T28" fmla="*/ 283 w 413"/>
                  <a:gd name="T29" fmla="*/ 105 h 414"/>
                  <a:gd name="T30" fmla="*/ 292 w 413"/>
                  <a:gd name="T31" fmla="*/ 101 h 414"/>
                  <a:gd name="T32" fmla="*/ 305 w 413"/>
                  <a:gd name="T33" fmla="*/ 103 h 414"/>
                  <a:gd name="T34" fmla="*/ 311 w 413"/>
                  <a:gd name="T35" fmla="*/ 112 h 414"/>
                  <a:gd name="T36" fmla="*/ 311 w 413"/>
                  <a:gd name="T37" fmla="*/ 124 h 414"/>
                  <a:gd name="T38" fmla="*/ 274 w 413"/>
                  <a:gd name="T39" fmla="*/ 165 h 414"/>
                  <a:gd name="T40" fmla="*/ 332 w 413"/>
                  <a:gd name="T41" fmla="*/ 190 h 414"/>
                  <a:gd name="T42" fmla="*/ 342 w 413"/>
                  <a:gd name="T43" fmla="*/ 193 h 414"/>
                  <a:gd name="T44" fmla="*/ 350 w 413"/>
                  <a:gd name="T45" fmla="*/ 203 h 414"/>
                  <a:gd name="T46" fmla="*/ 349 w 413"/>
                  <a:gd name="T47" fmla="*/ 214 h 414"/>
                  <a:gd name="T48" fmla="*/ 339 w 413"/>
                  <a:gd name="T49" fmla="*/ 223 h 414"/>
                  <a:gd name="T50" fmla="*/ 284 w 413"/>
                  <a:gd name="T51" fmla="*/ 224 h 414"/>
                  <a:gd name="T52" fmla="*/ 308 w 413"/>
                  <a:gd name="T53" fmla="*/ 284 h 414"/>
                  <a:gd name="T54" fmla="*/ 313 w 413"/>
                  <a:gd name="T55" fmla="*/ 296 h 414"/>
                  <a:gd name="T56" fmla="*/ 308 w 413"/>
                  <a:gd name="T57" fmla="*/ 309 h 414"/>
                  <a:gd name="T58" fmla="*/ 299 w 413"/>
                  <a:gd name="T59" fmla="*/ 313 h 414"/>
                  <a:gd name="T60" fmla="*/ 289 w 413"/>
                  <a:gd name="T61" fmla="*/ 312 h 414"/>
                  <a:gd name="T62" fmla="*/ 250 w 413"/>
                  <a:gd name="T63" fmla="*/ 274 h 414"/>
                  <a:gd name="T64" fmla="*/ 224 w 413"/>
                  <a:gd name="T65" fmla="*/ 334 h 414"/>
                  <a:gd name="T66" fmla="*/ 221 w 413"/>
                  <a:gd name="T67" fmla="*/ 343 h 414"/>
                  <a:gd name="T68" fmla="*/ 210 w 413"/>
                  <a:gd name="T69" fmla="*/ 350 h 414"/>
                  <a:gd name="T70" fmla="*/ 200 w 413"/>
                  <a:gd name="T71" fmla="*/ 349 h 414"/>
                  <a:gd name="T72" fmla="*/ 190 w 413"/>
                  <a:gd name="T73" fmla="*/ 340 h 414"/>
                  <a:gd name="T74" fmla="*/ 189 w 413"/>
                  <a:gd name="T75" fmla="*/ 285 h 414"/>
                  <a:gd name="T76" fmla="*/ 130 w 413"/>
                  <a:gd name="T77" fmla="*/ 309 h 414"/>
                  <a:gd name="T78" fmla="*/ 121 w 413"/>
                  <a:gd name="T79" fmla="*/ 313 h 414"/>
                  <a:gd name="T80" fmla="*/ 111 w 413"/>
                  <a:gd name="T81" fmla="*/ 312 h 414"/>
                  <a:gd name="T82" fmla="*/ 103 w 413"/>
                  <a:gd name="T83" fmla="*/ 305 h 414"/>
                  <a:gd name="T84" fmla="*/ 101 w 413"/>
                  <a:gd name="T85" fmla="*/ 293 h 414"/>
                  <a:gd name="T86" fmla="*/ 139 w 413"/>
                  <a:gd name="T87" fmla="*/ 250 h 414"/>
                  <a:gd name="T88" fmla="*/ 129 w 413"/>
                  <a:gd name="T89" fmla="*/ 224 h 414"/>
                  <a:gd name="T90" fmla="*/ 77 w 413"/>
                  <a:gd name="T91" fmla="*/ 224 h 414"/>
                  <a:gd name="T92" fmla="*/ 66 w 413"/>
                  <a:gd name="T93" fmla="*/ 217 h 414"/>
                  <a:gd name="T94" fmla="*/ 63 w 413"/>
                  <a:gd name="T95" fmla="*/ 207 h 414"/>
                  <a:gd name="T96" fmla="*/ 68 w 413"/>
                  <a:gd name="T97" fmla="*/ 195 h 414"/>
                  <a:gd name="T98" fmla="*/ 81 w 413"/>
                  <a:gd name="T99" fmla="*/ 190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3" h="414">
                    <a:moveTo>
                      <a:pt x="0" y="414"/>
                    </a:moveTo>
                    <a:lnTo>
                      <a:pt x="413" y="414"/>
                    </a:lnTo>
                    <a:lnTo>
                      <a:pt x="413" y="0"/>
                    </a:lnTo>
                    <a:lnTo>
                      <a:pt x="0" y="0"/>
                    </a:lnTo>
                    <a:lnTo>
                      <a:pt x="0" y="414"/>
                    </a:lnTo>
                    <a:close/>
                    <a:moveTo>
                      <a:pt x="81" y="190"/>
                    </a:moveTo>
                    <a:lnTo>
                      <a:pt x="129" y="190"/>
                    </a:lnTo>
                    <a:lnTo>
                      <a:pt x="129" y="190"/>
                    </a:lnTo>
                    <a:lnTo>
                      <a:pt x="131" y="184"/>
                    </a:lnTo>
                    <a:lnTo>
                      <a:pt x="133" y="176"/>
                    </a:lnTo>
                    <a:lnTo>
                      <a:pt x="139" y="165"/>
                    </a:lnTo>
                    <a:lnTo>
                      <a:pt x="105" y="130"/>
                    </a:lnTo>
                    <a:lnTo>
                      <a:pt x="105" y="130"/>
                    </a:lnTo>
                    <a:lnTo>
                      <a:pt x="103" y="127"/>
                    </a:lnTo>
                    <a:lnTo>
                      <a:pt x="102" y="124"/>
                    </a:lnTo>
                    <a:lnTo>
                      <a:pt x="101" y="121"/>
                    </a:lnTo>
                    <a:lnTo>
                      <a:pt x="101" y="118"/>
                    </a:lnTo>
                    <a:lnTo>
                      <a:pt x="101" y="115"/>
                    </a:lnTo>
                    <a:lnTo>
                      <a:pt x="102" y="112"/>
                    </a:lnTo>
                    <a:lnTo>
                      <a:pt x="103" y="108"/>
                    </a:lnTo>
                    <a:lnTo>
                      <a:pt x="105" y="105"/>
                    </a:lnTo>
                    <a:lnTo>
                      <a:pt x="105" y="105"/>
                    </a:lnTo>
                    <a:lnTo>
                      <a:pt x="108" y="103"/>
                    </a:lnTo>
                    <a:lnTo>
                      <a:pt x="111" y="102"/>
                    </a:lnTo>
                    <a:lnTo>
                      <a:pt x="114" y="101"/>
                    </a:lnTo>
                    <a:lnTo>
                      <a:pt x="117" y="101"/>
                    </a:lnTo>
                    <a:lnTo>
                      <a:pt x="121" y="101"/>
                    </a:lnTo>
                    <a:lnTo>
                      <a:pt x="124" y="102"/>
                    </a:lnTo>
                    <a:lnTo>
                      <a:pt x="127" y="103"/>
                    </a:lnTo>
                    <a:lnTo>
                      <a:pt x="130" y="105"/>
                    </a:lnTo>
                    <a:lnTo>
                      <a:pt x="164" y="140"/>
                    </a:lnTo>
                    <a:lnTo>
                      <a:pt x="164" y="140"/>
                    </a:lnTo>
                    <a:lnTo>
                      <a:pt x="176" y="133"/>
                    </a:lnTo>
                    <a:lnTo>
                      <a:pt x="183" y="131"/>
                    </a:lnTo>
                    <a:lnTo>
                      <a:pt x="189" y="129"/>
                    </a:lnTo>
                    <a:lnTo>
                      <a:pt x="189" y="81"/>
                    </a:lnTo>
                    <a:lnTo>
                      <a:pt x="189" y="81"/>
                    </a:lnTo>
                    <a:lnTo>
                      <a:pt x="189" y="77"/>
                    </a:lnTo>
                    <a:lnTo>
                      <a:pt x="190" y="74"/>
                    </a:lnTo>
                    <a:lnTo>
                      <a:pt x="192" y="72"/>
                    </a:lnTo>
                    <a:lnTo>
                      <a:pt x="195" y="69"/>
                    </a:lnTo>
                    <a:lnTo>
                      <a:pt x="197" y="67"/>
                    </a:lnTo>
                    <a:lnTo>
                      <a:pt x="200" y="66"/>
                    </a:lnTo>
                    <a:lnTo>
                      <a:pt x="203" y="65"/>
                    </a:lnTo>
                    <a:lnTo>
                      <a:pt x="207" y="64"/>
                    </a:lnTo>
                    <a:lnTo>
                      <a:pt x="207" y="64"/>
                    </a:lnTo>
                    <a:lnTo>
                      <a:pt x="210" y="65"/>
                    </a:lnTo>
                    <a:lnTo>
                      <a:pt x="213" y="66"/>
                    </a:lnTo>
                    <a:lnTo>
                      <a:pt x="216" y="67"/>
                    </a:lnTo>
                    <a:lnTo>
                      <a:pt x="218" y="69"/>
                    </a:lnTo>
                    <a:lnTo>
                      <a:pt x="221" y="72"/>
                    </a:lnTo>
                    <a:lnTo>
                      <a:pt x="223" y="74"/>
                    </a:lnTo>
                    <a:lnTo>
                      <a:pt x="224" y="77"/>
                    </a:lnTo>
                    <a:lnTo>
                      <a:pt x="224" y="81"/>
                    </a:lnTo>
                    <a:lnTo>
                      <a:pt x="224" y="129"/>
                    </a:lnTo>
                    <a:lnTo>
                      <a:pt x="224" y="129"/>
                    </a:lnTo>
                    <a:lnTo>
                      <a:pt x="231" y="131"/>
                    </a:lnTo>
                    <a:lnTo>
                      <a:pt x="237" y="133"/>
                    </a:lnTo>
                    <a:lnTo>
                      <a:pt x="250" y="140"/>
                    </a:lnTo>
                    <a:lnTo>
                      <a:pt x="283" y="105"/>
                    </a:lnTo>
                    <a:lnTo>
                      <a:pt x="283" y="105"/>
                    </a:lnTo>
                    <a:lnTo>
                      <a:pt x="286" y="103"/>
                    </a:lnTo>
                    <a:lnTo>
                      <a:pt x="289" y="102"/>
                    </a:lnTo>
                    <a:lnTo>
                      <a:pt x="292" y="101"/>
                    </a:lnTo>
                    <a:lnTo>
                      <a:pt x="296" y="101"/>
                    </a:lnTo>
                    <a:lnTo>
                      <a:pt x="299" y="101"/>
                    </a:lnTo>
                    <a:lnTo>
                      <a:pt x="302" y="102"/>
                    </a:lnTo>
                    <a:lnTo>
                      <a:pt x="305" y="103"/>
                    </a:lnTo>
                    <a:lnTo>
                      <a:pt x="308" y="105"/>
                    </a:lnTo>
                    <a:lnTo>
                      <a:pt x="308" y="105"/>
                    </a:lnTo>
                    <a:lnTo>
                      <a:pt x="310" y="108"/>
                    </a:lnTo>
                    <a:lnTo>
                      <a:pt x="311" y="112"/>
                    </a:lnTo>
                    <a:lnTo>
                      <a:pt x="312" y="115"/>
                    </a:lnTo>
                    <a:lnTo>
                      <a:pt x="313" y="118"/>
                    </a:lnTo>
                    <a:lnTo>
                      <a:pt x="312" y="121"/>
                    </a:lnTo>
                    <a:lnTo>
                      <a:pt x="311" y="124"/>
                    </a:lnTo>
                    <a:lnTo>
                      <a:pt x="310" y="127"/>
                    </a:lnTo>
                    <a:lnTo>
                      <a:pt x="308" y="130"/>
                    </a:lnTo>
                    <a:lnTo>
                      <a:pt x="274" y="165"/>
                    </a:lnTo>
                    <a:lnTo>
                      <a:pt x="274" y="165"/>
                    </a:lnTo>
                    <a:lnTo>
                      <a:pt x="280" y="176"/>
                    </a:lnTo>
                    <a:lnTo>
                      <a:pt x="282" y="184"/>
                    </a:lnTo>
                    <a:lnTo>
                      <a:pt x="284" y="190"/>
                    </a:lnTo>
                    <a:lnTo>
                      <a:pt x="332" y="190"/>
                    </a:lnTo>
                    <a:lnTo>
                      <a:pt x="332" y="190"/>
                    </a:lnTo>
                    <a:lnTo>
                      <a:pt x="336" y="190"/>
                    </a:lnTo>
                    <a:lnTo>
                      <a:pt x="339" y="191"/>
                    </a:lnTo>
                    <a:lnTo>
                      <a:pt x="342" y="193"/>
                    </a:lnTo>
                    <a:lnTo>
                      <a:pt x="345" y="195"/>
                    </a:lnTo>
                    <a:lnTo>
                      <a:pt x="347" y="197"/>
                    </a:lnTo>
                    <a:lnTo>
                      <a:pt x="349" y="200"/>
                    </a:lnTo>
                    <a:lnTo>
                      <a:pt x="350" y="203"/>
                    </a:lnTo>
                    <a:lnTo>
                      <a:pt x="350" y="207"/>
                    </a:lnTo>
                    <a:lnTo>
                      <a:pt x="350" y="207"/>
                    </a:lnTo>
                    <a:lnTo>
                      <a:pt x="350" y="211"/>
                    </a:lnTo>
                    <a:lnTo>
                      <a:pt x="349" y="214"/>
                    </a:lnTo>
                    <a:lnTo>
                      <a:pt x="347" y="217"/>
                    </a:lnTo>
                    <a:lnTo>
                      <a:pt x="345" y="219"/>
                    </a:lnTo>
                    <a:lnTo>
                      <a:pt x="342" y="221"/>
                    </a:lnTo>
                    <a:lnTo>
                      <a:pt x="339" y="223"/>
                    </a:lnTo>
                    <a:lnTo>
                      <a:pt x="336" y="224"/>
                    </a:lnTo>
                    <a:lnTo>
                      <a:pt x="332" y="224"/>
                    </a:lnTo>
                    <a:lnTo>
                      <a:pt x="284" y="224"/>
                    </a:lnTo>
                    <a:lnTo>
                      <a:pt x="284" y="224"/>
                    </a:lnTo>
                    <a:lnTo>
                      <a:pt x="280" y="238"/>
                    </a:lnTo>
                    <a:lnTo>
                      <a:pt x="274" y="250"/>
                    </a:lnTo>
                    <a:lnTo>
                      <a:pt x="308" y="284"/>
                    </a:lnTo>
                    <a:lnTo>
                      <a:pt x="308" y="284"/>
                    </a:lnTo>
                    <a:lnTo>
                      <a:pt x="310" y="287"/>
                    </a:lnTo>
                    <a:lnTo>
                      <a:pt x="311" y="290"/>
                    </a:lnTo>
                    <a:lnTo>
                      <a:pt x="312" y="293"/>
                    </a:lnTo>
                    <a:lnTo>
                      <a:pt x="313" y="296"/>
                    </a:lnTo>
                    <a:lnTo>
                      <a:pt x="312" y="299"/>
                    </a:lnTo>
                    <a:lnTo>
                      <a:pt x="311" y="302"/>
                    </a:lnTo>
                    <a:lnTo>
                      <a:pt x="310" y="305"/>
                    </a:lnTo>
                    <a:lnTo>
                      <a:pt x="308" y="309"/>
                    </a:lnTo>
                    <a:lnTo>
                      <a:pt x="308" y="309"/>
                    </a:lnTo>
                    <a:lnTo>
                      <a:pt x="305" y="311"/>
                    </a:lnTo>
                    <a:lnTo>
                      <a:pt x="302" y="312"/>
                    </a:lnTo>
                    <a:lnTo>
                      <a:pt x="299" y="313"/>
                    </a:lnTo>
                    <a:lnTo>
                      <a:pt x="296" y="314"/>
                    </a:lnTo>
                    <a:lnTo>
                      <a:pt x="296" y="314"/>
                    </a:lnTo>
                    <a:lnTo>
                      <a:pt x="292" y="313"/>
                    </a:lnTo>
                    <a:lnTo>
                      <a:pt x="289" y="312"/>
                    </a:lnTo>
                    <a:lnTo>
                      <a:pt x="286" y="311"/>
                    </a:lnTo>
                    <a:lnTo>
                      <a:pt x="283" y="309"/>
                    </a:lnTo>
                    <a:lnTo>
                      <a:pt x="250" y="274"/>
                    </a:lnTo>
                    <a:lnTo>
                      <a:pt x="250" y="274"/>
                    </a:lnTo>
                    <a:lnTo>
                      <a:pt x="237" y="280"/>
                    </a:lnTo>
                    <a:lnTo>
                      <a:pt x="231" y="284"/>
                    </a:lnTo>
                    <a:lnTo>
                      <a:pt x="224" y="285"/>
                    </a:lnTo>
                    <a:lnTo>
                      <a:pt x="224" y="334"/>
                    </a:lnTo>
                    <a:lnTo>
                      <a:pt x="224" y="334"/>
                    </a:lnTo>
                    <a:lnTo>
                      <a:pt x="224" y="337"/>
                    </a:lnTo>
                    <a:lnTo>
                      <a:pt x="223" y="340"/>
                    </a:lnTo>
                    <a:lnTo>
                      <a:pt x="221" y="343"/>
                    </a:lnTo>
                    <a:lnTo>
                      <a:pt x="218" y="345"/>
                    </a:lnTo>
                    <a:lnTo>
                      <a:pt x="216" y="347"/>
                    </a:lnTo>
                    <a:lnTo>
                      <a:pt x="213" y="349"/>
                    </a:lnTo>
                    <a:lnTo>
                      <a:pt x="210" y="350"/>
                    </a:lnTo>
                    <a:lnTo>
                      <a:pt x="207" y="350"/>
                    </a:lnTo>
                    <a:lnTo>
                      <a:pt x="207" y="350"/>
                    </a:lnTo>
                    <a:lnTo>
                      <a:pt x="203" y="350"/>
                    </a:lnTo>
                    <a:lnTo>
                      <a:pt x="200" y="349"/>
                    </a:lnTo>
                    <a:lnTo>
                      <a:pt x="197" y="347"/>
                    </a:lnTo>
                    <a:lnTo>
                      <a:pt x="195" y="345"/>
                    </a:lnTo>
                    <a:lnTo>
                      <a:pt x="192" y="343"/>
                    </a:lnTo>
                    <a:lnTo>
                      <a:pt x="190" y="340"/>
                    </a:lnTo>
                    <a:lnTo>
                      <a:pt x="189" y="337"/>
                    </a:lnTo>
                    <a:lnTo>
                      <a:pt x="189" y="334"/>
                    </a:lnTo>
                    <a:lnTo>
                      <a:pt x="189" y="285"/>
                    </a:lnTo>
                    <a:lnTo>
                      <a:pt x="189" y="285"/>
                    </a:lnTo>
                    <a:lnTo>
                      <a:pt x="183" y="284"/>
                    </a:lnTo>
                    <a:lnTo>
                      <a:pt x="176" y="280"/>
                    </a:lnTo>
                    <a:lnTo>
                      <a:pt x="164" y="274"/>
                    </a:lnTo>
                    <a:lnTo>
                      <a:pt x="130" y="309"/>
                    </a:lnTo>
                    <a:lnTo>
                      <a:pt x="130" y="309"/>
                    </a:lnTo>
                    <a:lnTo>
                      <a:pt x="127" y="311"/>
                    </a:lnTo>
                    <a:lnTo>
                      <a:pt x="124" y="312"/>
                    </a:lnTo>
                    <a:lnTo>
                      <a:pt x="121" y="313"/>
                    </a:lnTo>
                    <a:lnTo>
                      <a:pt x="117" y="314"/>
                    </a:lnTo>
                    <a:lnTo>
                      <a:pt x="117" y="314"/>
                    </a:lnTo>
                    <a:lnTo>
                      <a:pt x="114" y="313"/>
                    </a:lnTo>
                    <a:lnTo>
                      <a:pt x="111" y="312"/>
                    </a:lnTo>
                    <a:lnTo>
                      <a:pt x="108" y="311"/>
                    </a:lnTo>
                    <a:lnTo>
                      <a:pt x="105" y="309"/>
                    </a:lnTo>
                    <a:lnTo>
                      <a:pt x="105" y="309"/>
                    </a:lnTo>
                    <a:lnTo>
                      <a:pt x="103" y="305"/>
                    </a:lnTo>
                    <a:lnTo>
                      <a:pt x="102" y="302"/>
                    </a:lnTo>
                    <a:lnTo>
                      <a:pt x="101" y="299"/>
                    </a:lnTo>
                    <a:lnTo>
                      <a:pt x="101" y="296"/>
                    </a:lnTo>
                    <a:lnTo>
                      <a:pt x="101" y="293"/>
                    </a:lnTo>
                    <a:lnTo>
                      <a:pt x="102" y="290"/>
                    </a:lnTo>
                    <a:lnTo>
                      <a:pt x="103" y="287"/>
                    </a:lnTo>
                    <a:lnTo>
                      <a:pt x="105" y="284"/>
                    </a:lnTo>
                    <a:lnTo>
                      <a:pt x="139" y="250"/>
                    </a:lnTo>
                    <a:lnTo>
                      <a:pt x="139" y="250"/>
                    </a:lnTo>
                    <a:lnTo>
                      <a:pt x="133" y="238"/>
                    </a:lnTo>
                    <a:lnTo>
                      <a:pt x="131" y="231"/>
                    </a:lnTo>
                    <a:lnTo>
                      <a:pt x="129" y="224"/>
                    </a:lnTo>
                    <a:lnTo>
                      <a:pt x="81" y="224"/>
                    </a:lnTo>
                    <a:lnTo>
                      <a:pt x="81" y="224"/>
                    </a:lnTo>
                    <a:lnTo>
                      <a:pt x="81" y="224"/>
                    </a:lnTo>
                    <a:lnTo>
                      <a:pt x="77" y="224"/>
                    </a:lnTo>
                    <a:lnTo>
                      <a:pt x="74" y="223"/>
                    </a:lnTo>
                    <a:lnTo>
                      <a:pt x="71" y="221"/>
                    </a:lnTo>
                    <a:lnTo>
                      <a:pt x="68" y="219"/>
                    </a:lnTo>
                    <a:lnTo>
                      <a:pt x="66" y="217"/>
                    </a:lnTo>
                    <a:lnTo>
                      <a:pt x="64" y="214"/>
                    </a:lnTo>
                    <a:lnTo>
                      <a:pt x="64" y="211"/>
                    </a:lnTo>
                    <a:lnTo>
                      <a:pt x="63" y="207"/>
                    </a:lnTo>
                    <a:lnTo>
                      <a:pt x="63" y="207"/>
                    </a:lnTo>
                    <a:lnTo>
                      <a:pt x="64" y="203"/>
                    </a:lnTo>
                    <a:lnTo>
                      <a:pt x="64" y="200"/>
                    </a:lnTo>
                    <a:lnTo>
                      <a:pt x="66" y="197"/>
                    </a:lnTo>
                    <a:lnTo>
                      <a:pt x="68" y="195"/>
                    </a:lnTo>
                    <a:lnTo>
                      <a:pt x="71" y="193"/>
                    </a:lnTo>
                    <a:lnTo>
                      <a:pt x="74" y="191"/>
                    </a:lnTo>
                    <a:lnTo>
                      <a:pt x="77" y="190"/>
                    </a:lnTo>
                    <a:lnTo>
                      <a:pt x="81" y="190"/>
                    </a:lnTo>
                    <a:lnTo>
                      <a:pt x="81" y="1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34" name="Freeform 576">
                <a:extLst>
                  <a:ext uri="{FF2B5EF4-FFF2-40B4-BE49-F238E27FC236}">
                    <a16:creationId xmlns:a16="http://schemas.microsoft.com/office/drawing/2014/main" id="{1B22EC68-4EE8-4400-953A-EED875E6918F}"/>
                  </a:ext>
                </a:extLst>
              </p:cNvPr>
              <p:cNvSpPr>
                <a:spLocks noEditPoints="1"/>
              </p:cNvSpPr>
              <p:nvPr/>
            </p:nvSpPr>
            <p:spPr bwMode="auto">
              <a:xfrm>
                <a:off x="8754314" y="6266534"/>
                <a:ext cx="338137" cy="350837"/>
              </a:xfrm>
              <a:custGeom>
                <a:avLst/>
                <a:gdLst>
                  <a:gd name="T0" fmla="*/ 81 w 637"/>
                  <a:gd name="T1" fmla="*/ 0 h 664"/>
                  <a:gd name="T2" fmla="*/ 56 w 637"/>
                  <a:gd name="T3" fmla="*/ 3 h 664"/>
                  <a:gd name="T4" fmla="*/ 36 w 637"/>
                  <a:gd name="T5" fmla="*/ 13 h 664"/>
                  <a:gd name="T6" fmla="*/ 19 w 637"/>
                  <a:gd name="T7" fmla="*/ 29 h 664"/>
                  <a:gd name="T8" fmla="*/ 6 w 637"/>
                  <a:gd name="T9" fmla="*/ 49 h 664"/>
                  <a:gd name="T10" fmla="*/ 0 w 637"/>
                  <a:gd name="T11" fmla="*/ 73 h 664"/>
                  <a:gd name="T12" fmla="*/ 0 w 637"/>
                  <a:gd name="T13" fmla="*/ 556 h 664"/>
                  <a:gd name="T14" fmla="*/ 3 w 637"/>
                  <a:gd name="T15" fmla="*/ 580 h 664"/>
                  <a:gd name="T16" fmla="*/ 14 w 637"/>
                  <a:gd name="T17" fmla="*/ 601 h 664"/>
                  <a:gd name="T18" fmla="*/ 29 w 637"/>
                  <a:gd name="T19" fmla="*/ 619 h 664"/>
                  <a:gd name="T20" fmla="*/ 49 w 637"/>
                  <a:gd name="T21" fmla="*/ 630 h 664"/>
                  <a:gd name="T22" fmla="*/ 73 w 637"/>
                  <a:gd name="T23" fmla="*/ 636 h 664"/>
                  <a:gd name="T24" fmla="*/ 104 w 637"/>
                  <a:gd name="T25" fmla="*/ 664 h 664"/>
                  <a:gd name="T26" fmla="*/ 410 w 637"/>
                  <a:gd name="T27" fmla="*/ 636 h 664"/>
                  <a:gd name="T28" fmla="*/ 533 w 637"/>
                  <a:gd name="T29" fmla="*/ 636 h 664"/>
                  <a:gd name="T30" fmla="*/ 565 w 637"/>
                  <a:gd name="T31" fmla="*/ 636 h 664"/>
                  <a:gd name="T32" fmla="*/ 588 w 637"/>
                  <a:gd name="T33" fmla="*/ 630 h 664"/>
                  <a:gd name="T34" fmla="*/ 608 w 637"/>
                  <a:gd name="T35" fmla="*/ 619 h 664"/>
                  <a:gd name="T36" fmla="*/ 623 w 637"/>
                  <a:gd name="T37" fmla="*/ 601 h 664"/>
                  <a:gd name="T38" fmla="*/ 634 w 637"/>
                  <a:gd name="T39" fmla="*/ 580 h 664"/>
                  <a:gd name="T40" fmla="*/ 637 w 637"/>
                  <a:gd name="T41" fmla="*/ 556 h 664"/>
                  <a:gd name="T42" fmla="*/ 637 w 637"/>
                  <a:gd name="T43" fmla="*/ 73 h 664"/>
                  <a:gd name="T44" fmla="*/ 631 w 637"/>
                  <a:gd name="T45" fmla="*/ 49 h 664"/>
                  <a:gd name="T46" fmla="*/ 618 w 637"/>
                  <a:gd name="T47" fmla="*/ 29 h 664"/>
                  <a:gd name="T48" fmla="*/ 601 w 637"/>
                  <a:gd name="T49" fmla="*/ 13 h 664"/>
                  <a:gd name="T50" fmla="*/ 581 w 637"/>
                  <a:gd name="T51" fmla="*/ 3 h 664"/>
                  <a:gd name="T52" fmla="*/ 557 w 637"/>
                  <a:gd name="T53" fmla="*/ 0 h 664"/>
                  <a:gd name="T54" fmla="*/ 560 w 637"/>
                  <a:gd name="T55" fmla="*/ 536 h 664"/>
                  <a:gd name="T56" fmla="*/ 556 w 637"/>
                  <a:gd name="T57" fmla="*/ 550 h 664"/>
                  <a:gd name="T58" fmla="*/ 546 w 637"/>
                  <a:gd name="T59" fmla="*/ 558 h 664"/>
                  <a:gd name="T60" fmla="*/ 100 w 637"/>
                  <a:gd name="T61" fmla="*/ 559 h 664"/>
                  <a:gd name="T62" fmla="*/ 91 w 637"/>
                  <a:gd name="T63" fmla="*/ 558 h 664"/>
                  <a:gd name="T64" fmla="*/ 81 w 637"/>
                  <a:gd name="T65" fmla="*/ 550 h 664"/>
                  <a:gd name="T66" fmla="*/ 77 w 637"/>
                  <a:gd name="T67" fmla="*/ 536 h 664"/>
                  <a:gd name="T68" fmla="*/ 36 w 637"/>
                  <a:gd name="T69" fmla="*/ 395 h 664"/>
                  <a:gd name="T70" fmla="*/ 36 w 637"/>
                  <a:gd name="T71" fmla="*/ 242 h 664"/>
                  <a:gd name="T72" fmla="*/ 77 w 637"/>
                  <a:gd name="T73" fmla="*/ 100 h 664"/>
                  <a:gd name="T74" fmla="*/ 79 w 637"/>
                  <a:gd name="T75" fmla="*/ 90 h 664"/>
                  <a:gd name="T76" fmla="*/ 88 w 637"/>
                  <a:gd name="T77" fmla="*/ 81 h 664"/>
                  <a:gd name="T78" fmla="*/ 100 w 637"/>
                  <a:gd name="T79" fmla="*/ 77 h 664"/>
                  <a:gd name="T80" fmla="*/ 542 w 637"/>
                  <a:gd name="T81" fmla="*/ 77 h 664"/>
                  <a:gd name="T82" fmla="*/ 553 w 637"/>
                  <a:gd name="T83" fmla="*/ 83 h 664"/>
                  <a:gd name="T84" fmla="*/ 560 w 637"/>
                  <a:gd name="T85" fmla="*/ 94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37" h="664">
                    <a:moveTo>
                      <a:pt x="557" y="0"/>
                    </a:moveTo>
                    <a:lnTo>
                      <a:pt x="81" y="0"/>
                    </a:lnTo>
                    <a:lnTo>
                      <a:pt x="81" y="0"/>
                    </a:lnTo>
                    <a:lnTo>
                      <a:pt x="73" y="0"/>
                    </a:lnTo>
                    <a:lnTo>
                      <a:pt x="65" y="2"/>
                    </a:lnTo>
                    <a:lnTo>
                      <a:pt x="56" y="3"/>
                    </a:lnTo>
                    <a:lnTo>
                      <a:pt x="49" y="6"/>
                    </a:lnTo>
                    <a:lnTo>
                      <a:pt x="43" y="9"/>
                    </a:lnTo>
                    <a:lnTo>
                      <a:pt x="36" y="13"/>
                    </a:lnTo>
                    <a:lnTo>
                      <a:pt x="29" y="18"/>
                    </a:lnTo>
                    <a:lnTo>
                      <a:pt x="24" y="24"/>
                    </a:lnTo>
                    <a:lnTo>
                      <a:pt x="19" y="29"/>
                    </a:lnTo>
                    <a:lnTo>
                      <a:pt x="14" y="35"/>
                    </a:lnTo>
                    <a:lnTo>
                      <a:pt x="10" y="42"/>
                    </a:lnTo>
                    <a:lnTo>
                      <a:pt x="6" y="49"/>
                    </a:lnTo>
                    <a:lnTo>
                      <a:pt x="3" y="57"/>
                    </a:lnTo>
                    <a:lnTo>
                      <a:pt x="2" y="64"/>
                    </a:lnTo>
                    <a:lnTo>
                      <a:pt x="0" y="73"/>
                    </a:lnTo>
                    <a:lnTo>
                      <a:pt x="0" y="81"/>
                    </a:lnTo>
                    <a:lnTo>
                      <a:pt x="0" y="556"/>
                    </a:lnTo>
                    <a:lnTo>
                      <a:pt x="0" y="556"/>
                    </a:lnTo>
                    <a:lnTo>
                      <a:pt x="0" y="564"/>
                    </a:lnTo>
                    <a:lnTo>
                      <a:pt x="2" y="572"/>
                    </a:lnTo>
                    <a:lnTo>
                      <a:pt x="3" y="580"/>
                    </a:lnTo>
                    <a:lnTo>
                      <a:pt x="6" y="587"/>
                    </a:lnTo>
                    <a:lnTo>
                      <a:pt x="10" y="595"/>
                    </a:lnTo>
                    <a:lnTo>
                      <a:pt x="14" y="601"/>
                    </a:lnTo>
                    <a:lnTo>
                      <a:pt x="19" y="607"/>
                    </a:lnTo>
                    <a:lnTo>
                      <a:pt x="24" y="613"/>
                    </a:lnTo>
                    <a:lnTo>
                      <a:pt x="29" y="619"/>
                    </a:lnTo>
                    <a:lnTo>
                      <a:pt x="36" y="623"/>
                    </a:lnTo>
                    <a:lnTo>
                      <a:pt x="43" y="627"/>
                    </a:lnTo>
                    <a:lnTo>
                      <a:pt x="49" y="630"/>
                    </a:lnTo>
                    <a:lnTo>
                      <a:pt x="56" y="633"/>
                    </a:lnTo>
                    <a:lnTo>
                      <a:pt x="65" y="635"/>
                    </a:lnTo>
                    <a:lnTo>
                      <a:pt x="73" y="636"/>
                    </a:lnTo>
                    <a:lnTo>
                      <a:pt x="81" y="636"/>
                    </a:lnTo>
                    <a:lnTo>
                      <a:pt x="104" y="636"/>
                    </a:lnTo>
                    <a:lnTo>
                      <a:pt x="104" y="664"/>
                    </a:lnTo>
                    <a:lnTo>
                      <a:pt x="228" y="664"/>
                    </a:lnTo>
                    <a:lnTo>
                      <a:pt x="228" y="636"/>
                    </a:lnTo>
                    <a:lnTo>
                      <a:pt x="410" y="636"/>
                    </a:lnTo>
                    <a:lnTo>
                      <a:pt x="410" y="664"/>
                    </a:lnTo>
                    <a:lnTo>
                      <a:pt x="533" y="664"/>
                    </a:lnTo>
                    <a:lnTo>
                      <a:pt x="533" y="636"/>
                    </a:lnTo>
                    <a:lnTo>
                      <a:pt x="557" y="636"/>
                    </a:lnTo>
                    <a:lnTo>
                      <a:pt x="557" y="636"/>
                    </a:lnTo>
                    <a:lnTo>
                      <a:pt x="565" y="636"/>
                    </a:lnTo>
                    <a:lnTo>
                      <a:pt x="572" y="635"/>
                    </a:lnTo>
                    <a:lnTo>
                      <a:pt x="581" y="633"/>
                    </a:lnTo>
                    <a:lnTo>
                      <a:pt x="588" y="630"/>
                    </a:lnTo>
                    <a:lnTo>
                      <a:pt x="595" y="627"/>
                    </a:lnTo>
                    <a:lnTo>
                      <a:pt x="601" y="623"/>
                    </a:lnTo>
                    <a:lnTo>
                      <a:pt x="608" y="619"/>
                    </a:lnTo>
                    <a:lnTo>
                      <a:pt x="613" y="613"/>
                    </a:lnTo>
                    <a:lnTo>
                      <a:pt x="618" y="607"/>
                    </a:lnTo>
                    <a:lnTo>
                      <a:pt x="623" y="601"/>
                    </a:lnTo>
                    <a:lnTo>
                      <a:pt x="627" y="595"/>
                    </a:lnTo>
                    <a:lnTo>
                      <a:pt x="631" y="587"/>
                    </a:lnTo>
                    <a:lnTo>
                      <a:pt x="634" y="580"/>
                    </a:lnTo>
                    <a:lnTo>
                      <a:pt x="636" y="572"/>
                    </a:lnTo>
                    <a:lnTo>
                      <a:pt x="637" y="564"/>
                    </a:lnTo>
                    <a:lnTo>
                      <a:pt x="637" y="556"/>
                    </a:lnTo>
                    <a:lnTo>
                      <a:pt x="637" y="81"/>
                    </a:lnTo>
                    <a:lnTo>
                      <a:pt x="637" y="81"/>
                    </a:lnTo>
                    <a:lnTo>
                      <a:pt x="637" y="73"/>
                    </a:lnTo>
                    <a:lnTo>
                      <a:pt x="636" y="64"/>
                    </a:lnTo>
                    <a:lnTo>
                      <a:pt x="634" y="57"/>
                    </a:lnTo>
                    <a:lnTo>
                      <a:pt x="631" y="49"/>
                    </a:lnTo>
                    <a:lnTo>
                      <a:pt x="627" y="42"/>
                    </a:lnTo>
                    <a:lnTo>
                      <a:pt x="623" y="35"/>
                    </a:lnTo>
                    <a:lnTo>
                      <a:pt x="618" y="29"/>
                    </a:lnTo>
                    <a:lnTo>
                      <a:pt x="613" y="24"/>
                    </a:lnTo>
                    <a:lnTo>
                      <a:pt x="608" y="18"/>
                    </a:lnTo>
                    <a:lnTo>
                      <a:pt x="601" y="13"/>
                    </a:lnTo>
                    <a:lnTo>
                      <a:pt x="595" y="9"/>
                    </a:lnTo>
                    <a:lnTo>
                      <a:pt x="588" y="6"/>
                    </a:lnTo>
                    <a:lnTo>
                      <a:pt x="581" y="3"/>
                    </a:lnTo>
                    <a:lnTo>
                      <a:pt x="572" y="2"/>
                    </a:lnTo>
                    <a:lnTo>
                      <a:pt x="565" y="0"/>
                    </a:lnTo>
                    <a:lnTo>
                      <a:pt x="557" y="0"/>
                    </a:lnTo>
                    <a:lnTo>
                      <a:pt x="557" y="0"/>
                    </a:lnTo>
                    <a:close/>
                    <a:moveTo>
                      <a:pt x="560" y="536"/>
                    </a:moveTo>
                    <a:lnTo>
                      <a:pt x="560" y="536"/>
                    </a:lnTo>
                    <a:lnTo>
                      <a:pt x="560" y="541"/>
                    </a:lnTo>
                    <a:lnTo>
                      <a:pt x="559" y="546"/>
                    </a:lnTo>
                    <a:lnTo>
                      <a:pt x="556" y="550"/>
                    </a:lnTo>
                    <a:lnTo>
                      <a:pt x="553" y="553"/>
                    </a:lnTo>
                    <a:lnTo>
                      <a:pt x="550" y="556"/>
                    </a:lnTo>
                    <a:lnTo>
                      <a:pt x="546" y="558"/>
                    </a:lnTo>
                    <a:lnTo>
                      <a:pt x="542" y="559"/>
                    </a:lnTo>
                    <a:lnTo>
                      <a:pt x="537" y="559"/>
                    </a:lnTo>
                    <a:lnTo>
                      <a:pt x="100" y="559"/>
                    </a:lnTo>
                    <a:lnTo>
                      <a:pt x="100" y="559"/>
                    </a:lnTo>
                    <a:lnTo>
                      <a:pt x="95" y="559"/>
                    </a:lnTo>
                    <a:lnTo>
                      <a:pt x="91" y="558"/>
                    </a:lnTo>
                    <a:lnTo>
                      <a:pt x="88" y="556"/>
                    </a:lnTo>
                    <a:lnTo>
                      <a:pt x="84" y="553"/>
                    </a:lnTo>
                    <a:lnTo>
                      <a:pt x="81" y="550"/>
                    </a:lnTo>
                    <a:lnTo>
                      <a:pt x="79" y="546"/>
                    </a:lnTo>
                    <a:lnTo>
                      <a:pt x="77" y="541"/>
                    </a:lnTo>
                    <a:lnTo>
                      <a:pt x="77" y="536"/>
                    </a:lnTo>
                    <a:lnTo>
                      <a:pt x="77" y="485"/>
                    </a:lnTo>
                    <a:lnTo>
                      <a:pt x="36" y="485"/>
                    </a:lnTo>
                    <a:lnTo>
                      <a:pt x="36" y="395"/>
                    </a:lnTo>
                    <a:lnTo>
                      <a:pt x="77" y="395"/>
                    </a:lnTo>
                    <a:lnTo>
                      <a:pt x="77" y="242"/>
                    </a:lnTo>
                    <a:lnTo>
                      <a:pt x="36" y="242"/>
                    </a:lnTo>
                    <a:lnTo>
                      <a:pt x="36" y="152"/>
                    </a:lnTo>
                    <a:lnTo>
                      <a:pt x="77" y="152"/>
                    </a:lnTo>
                    <a:lnTo>
                      <a:pt x="77" y="100"/>
                    </a:lnTo>
                    <a:lnTo>
                      <a:pt x="77" y="100"/>
                    </a:lnTo>
                    <a:lnTo>
                      <a:pt x="77" y="94"/>
                    </a:lnTo>
                    <a:lnTo>
                      <a:pt x="79" y="90"/>
                    </a:lnTo>
                    <a:lnTo>
                      <a:pt x="81" y="87"/>
                    </a:lnTo>
                    <a:lnTo>
                      <a:pt x="84" y="83"/>
                    </a:lnTo>
                    <a:lnTo>
                      <a:pt x="88" y="81"/>
                    </a:lnTo>
                    <a:lnTo>
                      <a:pt x="91" y="79"/>
                    </a:lnTo>
                    <a:lnTo>
                      <a:pt x="95" y="77"/>
                    </a:lnTo>
                    <a:lnTo>
                      <a:pt x="100" y="77"/>
                    </a:lnTo>
                    <a:lnTo>
                      <a:pt x="537" y="77"/>
                    </a:lnTo>
                    <a:lnTo>
                      <a:pt x="537" y="77"/>
                    </a:lnTo>
                    <a:lnTo>
                      <a:pt x="542" y="77"/>
                    </a:lnTo>
                    <a:lnTo>
                      <a:pt x="546" y="79"/>
                    </a:lnTo>
                    <a:lnTo>
                      <a:pt x="550" y="81"/>
                    </a:lnTo>
                    <a:lnTo>
                      <a:pt x="553" y="83"/>
                    </a:lnTo>
                    <a:lnTo>
                      <a:pt x="556" y="87"/>
                    </a:lnTo>
                    <a:lnTo>
                      <a:pt x="559" y="90"/>
                    </a:lnTo>
                    <a:lnTo>
                      <a:pt x="560" y="94"/>
                    </a:lnTo>
                    <a:lnTo>
                      <a:pt x="560" y="100"/>
                    </a:lnTo>
                    <a:lnTo>
                      <a:pt x="560" y="5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535" name="Group 1534">
            <a:extLst>
              <a:ext uri="{FF2B5EF4-FFF2-40B4-BE49-F238E27FC236}">
                <a16:creationId xmlns:a16="http://schemas.microsoft.com/office/drawing/2014/main" id="{281E1B3C-4844-47C8-9D15-FDB3C79CE2CC}"/>
              </a:ext>
            </a:extLst>
          </p:cNvPr>
          <p:cNvGrpSpPr/>
          <p:nvPr/>
        </p:nvGrpSpPr>
        <p:grpSpPr>
          <a:xfrm>
            <a:off x="1747436" y="4718957"/>
            <a:ext cx="612000" cy="612000"/>
            <a:chOff x="592807" y="5357300"/>
            <a:chExt cx="612000" cy="612000"/>
          </a:xfrm>
        </p:grpSpPr>
        <p:sp>
          <p:nvSpPr>
            <p:cNvPr id="1536" name="Oval 1535">
              <a:extLst>
                <a:ext uri="{FF2B5EF4-FFF2-40B4-BE49-F238E27FC236}">
                  <a16:creationId xmlns:a16="http://schemas.microsoft.com/office/drawing/2014/main" id="{3905B245-2A24-4F0E-A063-B510792A1453}"/>
                </a:ext>
              </a:extLst>
            </p:cNvPr>
            <p:cNvSpPr/>
            <p:nvPr/>
          </p:nvSpPr>
          <p:spPr bwMode="ltGray">
            <a:xfrm>
              <a:off x="592807" y="5357300"/>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537" name="Group 1536">
              <a:extLst>
                <a:ext uri="{FF2B5EF4-FFF2-40B4-BE49-F238E27FC236}">
                  <a16:creationId xmlns:a16="http://schemas.microsoft.com/office/drawing/2014/main" id="{843C0679-C1E1-4CFC-8212-CA6B6CF17473}"/>
                </a:ext>
              </a:extLst>
            </p:cNvPr>
            <p:cNvGrpSpPr/>
            <p:nvPr/>
          </p:nvGrpSpPr>
          <p:grpSpPr>
            <a:xfrm>
              <a:off x="726249" y="5469373"/>
              <a:ext cx="341312" cy="392113"/>
              <a:chOff x="3059113" y="211138"/>
              <a:chExt cx="341312" cy="392113"/>
            </a:xfrm>
          </p:grpSpPr>
          <p:sp>
            <p:nvSpPr>
              <p:cNvPr id="1538" name="Freeform 13">
                <a:extLst>
                  <a:ext uri="{FF2B5EF4-FFF2-40B4-BE49-F238E27FC236}">
                    <a16:creationId xmlns:a16="http://schemas.microsoft.com/office/drawing/2014/main" id="{8531CA45-A1CA-42B4-8B33-4F439F246855}"/>
                  </a:ext>
                </a:extLst>
              </p:cNvPr>
              <p:cNvSpPr>
                <a:spLocks/>
              </p:cNvSpPr>
              <p:nvPr/>
            </p:nvSpPr>
            <p:spPr bwMode="auto">
              <a:xfrm>
                <a:off x="3141663" y="211138"/>
                <a:ext cx="79375" cy="155575"/>
              </a:xfrm>
              <a:custGeom>
                <a:avLst/>
                <a:gdLst>
                  <a:gd name="T0" fmla="*/ 0 w 152"/>
                  <a:gd name="T1" fmla="*/ 3 h 293"/>
                  <a:gd name="T2" fmla="*/ 0 w 152"/>
                  <a:gd name="T3" fmla="*/ 3 h 293"/>
                  <a:gd name="T4" fmla="*/ 1 w 152"/>
                  <a:gd name="T5" fmla="*/ 3 h 293"/>
                  <a:gd name="T6" fmla="*/ 6 w 152"/>
                  <a:gd name="T7" fmla="*/ 1 h 293"/>
                  <a:gd name="T8" fmla="*/ 16 w 152"/>
                  <a:gd name="T9" fmla="*/ 0 h 293"/>
                  <a:gd name="T10" fmla="*/ 31 w 152"/>
                  <a:gd name="T11" fmla="*/ 1 h 293"/>
                  <a:gd name="T12" fmla="*/ 31 w 152"/>
                  <a:gd name="T13" fmla="*/ 1 h 293"/>
                  <a:gd name="T14" fmla="*/ 41 w 152"/>
                  <a:gd name="T15" fmla="*/ 1 h 293"/>
                  <a:gd name="T16" fmla="*/ 49 w 152"/>
                  <a:gd name="T17" fmla="*/ 2 h 293"/>
                  <a:gd name="T18" fmla="*/ 53 w 152"/>
                  <a:gd name="T19" fmla="*/ 3 h 293"/>
                  <a:gd name="T20" fmla="*/ 58 w 152"/>
                  <a:gd name="T21" fmla="*/ 5 h 293"/>
                  <a:gd name="T22" fmla="*/ 62 w 152"/>
                  <a:gd name="T23" fmla="*/ 8 h 293"/>
                  <a:gd name="T24" fmla="*/ 66 w 152"/>
                  <a:gd name="T25" fmla="*/ 12 h 293"/>
                  <a:gd name="T26" fmla="*/ 72 w 152"/>
                  <a:gd name="T27" fmla="*/ 17 h 293"/>
                  <a:gd name="T28" fmla="*/ 78 w 152"/>
                  <a:gd name="T29" fmla="*/ 24 h 293"/>
                  <a:gd name="T30" fmla="*/ 89 w 152"/>
                  <a:gd name="T31" fmla="*/ 42 h 293"/>
                  <a:gd name="T32" fmla="*/ 103 w 152"/>
                  <a:gd name="T33" fmla="*/ 69 h 293"/>
                  <a:gd name="T34" fmla="*/ 121 w 152"/>
                  <a:gd name="T35" fmla="*/ 106 h 293"/>
                  <a:gd name="T36" fmla="*/ 121 w 152"/>
                  <a:gd name="T37" fmla="*/ 106 h 293"/>
                  <a:gd name="T38" fmla="*/ 129 w 152"/>
                  <a:gd name="T39" fmla="*/ 125 h 293"/>
                  <a:gd name="T40" fmla="*/ 135 w 152"/>
                  <a:gd name="T41" fmla="*/ 143 h 293"/>
                  <a:gd name="T42" fmla="*/ 140 w 152"/>
                  <a:gd name="T43" fmla="*/ 161 h 293"/>
                  <a:gd name="T44" fmla="*/ 144 w 152"/>
                  <a:gd name="T45" fmla="*/ 178 h 293"/>
                  <a:gd name="T46" fmla="*/ 148 w 152"/>
                  <a:gd name="T47" fmla="*/ 194 h 293"/>
                  <a:gd name="T48" fmla="*/ 150 w 152"/>
                  <a:gd name="T49" fmla="*/ 208 h 293"/>
                  <a:gd name="T50" fmla="*/ 151 w 152"/>
                  <a:gd name="T51" fmla="*/ 221 h 293"/>
                  <a:gd name="T52" fmla="*/ 152 w 152"/>
                  <a:gd name="T53" fmla="*/ 234 h 293"/>
                  <a:gd name="T54" fmla="*/ 151 w 152"/>
                  <a:gd name="T55" fmla="*/ 245 h 293"/>
                  <a:gd name="T56" fmla="*/ 150 w 152"/>
                  <a:gd name="T57" fmla="*/ 255 h 293"/>
                  <a:gd name="T58" fmla="*/ 148 w 152"/>
                  <a:gd name="T59" fmla="*/ 270 h 293"/>
                  <a:gd name="T60" fmla="*/ 143 w 152"/>
                  <a:gd name="T61" fmla="*/ 281 h 293"/>
                  <a:gd name="T62" fmla="*/ 142 w 152"/>
                  <a:gd name="T63" fmla="*/ 284 h 293"/>
                  <a:gd name="T64" fmla="*/ 140 w 152"/>
                  <a:gd name="T65" fmla="*/ 285 h 293"/>
                  <a:gd name="T66" fmla="*/ 140 w 152"/>
                  <a:gd name="T67" fmla="*/ 285 h 293"/>
                  <a:gd name="T68" fmla="*/ 127 w 152"/>
                  <a:gd name="T69" fmla="*/ 290 h 293"/>
                  <a:gd name="T70" fmla="*/ 116 w 152"/>
                  <a:gd name="T71" fmla="*/ 292 h 293"/>
                  <a:gd name="T72" fmla="*/ 105 w 152"/>
                  <a:gd name="T73" fmla="*/ 293 h 293"/>
                  <a:gd name="T74" fmla="*/ 105 w 152"/>
                  <a:gd name="T75" fmla="*/ 293 h 293"/>
                  <a:gd name="T76" fmla="*/ 106 w 152"/>
                  <a:gd name="T77" fmla="*/ 285 h 293"/>
                  <a:gd name="T78" fmla="*/ 106 w 152"/>
                  <a:gd name="T79" fmla="*/ 263 h 293"/>
                  <a:gd name="T80" fmla="*/ 106 w 152"/>
                  <a:gd name="T81" fmla="*/ 248 h 293"/>
                  <a:gd name="T82" fmla="*/ 105 w 152"/>
                  <a:gd name="T83" fmla="*/ 230 h 293"/>
                  <a:gd name="T84" fmla="*/ 103 w 152"/>
                  <a:gd name="T85" fmla="*/ 211 h 293"/>
                  <a:gd name="T86" fmla="*/ 99 w 152"/>
                  <a:gd name="T87" fmla="*/ 190 h 293"/>
                  <a:gd name="T88" fmla="*/ 95 w 152"/>
                  <a:gd name="T89" fmla="*/ 167 h 293"/>
                  <a:gd name="T90" fmla="*/ 88 w 152"/>
                  <a:gd name="T91" fmla="*/ 143 h 293"/>
                  <a:gd name="T92" fmla="*/ 80 w 152"/>
                  <a:gd name="T93" fmla="*/ 119 h 293"/>
                  <a:gd name="T94" fmla="*/ 69 w 152"/>
                  <a:gd name="T95" fmla="*/ 95 h 293"/>
                  <a:gd name="T96" fmla="*/ 63 w 152"/>
                  <a:gd name="T97" fmla="*/ 83 h 293"/>
                  <a:gd name="T98" fmla="*/ 56 w 152"/>
                  <a:gd name="T99" fmla="*/ 71 h 293"/>
                  <a:gd name="T100" fmla="*/ 48 w 152"/>
                  <a:gd name="T101" fmla="*/ 59 h 293"/>
                  <a:gd name="T102" fmla="*/ 40 w 152"/>
                  <a:gd name="T103" fmla="*/ 47 h 293"/>
                  <a:gd name="T104" fmla="*/ 31 w 152"/>
                  <a:gd name="T105" fmla="*/ 36 h 293"/>
                  <a:gd name="T106" fmla="*/ 21 w 152"/>
                  <a:gd name="T107" fmla="*/ 25 h 293"/>
                  <a:gd name="T108" fmla="*/ 11 w 152"/>
                  <a:gd name="T109" fmla="*/ 14 h 293"/>
                  <a:gd name="T110" fmla="*/ 0 w 152"/>
                  <a:gd name="T111" fmla="*/ 3 h 293"/>
                  <a:gd name="T112" fmla="*/ 0 w 152"/>
                  <a:gd name="T113" fmla="*/ 3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52" h="293">
                    <a:moveTo>
                      <a:pt x="0" y="3"/>
                    </a:moveTo>
                    <a:lnTo>
                      <a:pt x="0" y="3"/>
                    </a:lnTo>
                    <a:lnTo>
                      <a:pt x="1" y="3"/>
                    </a:lnTo>
                    <a:lnTo>
                      <a:pt x="6" y="1"/>
                    </a:lnTo>
                    <a:lnTo>
                      <a:pt x="16" y="0"/>
                    </a:lnTo>
                    <a:lnTo>
                      <a:pt x="31" y="1"/>
                    </a:lnTo>
                    <a:lnTo>
                      <a:pt x="31" y="1"/>
                    </a:lnTo>
                    <a:lnTo>
                      <a:pt x="41" y="1"/>
                    </a:lnTo>
                    <a:lnTo>
                      <a:pt x="49" y="2"/>
                    </a:lnTo>
                    <a:lnTo>
                      <a:pt x="53" y="3"/>
                    </a:lnTo>
                    <a:lnTo>
                      <a:pt x="58" y="5"/>
                    </a:lnTo>
                    <a:lnTo>
                      <a:pt x="62" y="8"/>
                    </a:lnTo>
                    <a:lnTo>
                      <a:pt x="66" y="12"/>
                    </a:lnTo>
                    <a:lnTo>
                      <a:pt x="72" y="17"/>
                    </a:lnTo>
                    <a:lnTo>
                      <a:pt x="78" y="24"/>
                    </a:lnTo>
                    <a:lnTo>
                      <a:pt x="89" y="42"/>
                    </a:lnTo>
                    <a:lnTo>
                      <a:pt x="103" y="69"/>
                    </a:lnTo>
                    <a:lnTo>
                      <a:pt x="121" y="106"/>
                    </a:lnTo>
                    <a:lnTo>
                      <a:pt x="121" y="106"/>
                    </a:lnTo>
                    <a:lnTo>
                      <a:pt x="129" y="125"/>
                    </a:lnTo>
                    <a:lnTo>
                      <a:pt x="135" y="143"/>
                    </a:lnTo>
                    <a:lnTo>
                      <a:pt x="140" y="161"/>
                    </a:lnTo>
                    <a:lnTo>
                      <a:pt x="144" y="178"/>
                    </a:lnTo>
                    <a:lnTo>
                      <a:pt x="148" y="194"/>
                    </a:lnTo>
                    <a:lnTo>
                      <a:pt x="150" y="208"/>
                    </a:lnTo>
                    <a:lnTo>
                      <a:pt x="151" y="221"/>
                    </a:lnTo>
                    <a:lnTo>
                      <a:pt x="152" y="234"/>
                    </a:lnTo>
                    <a:lnTo>
                      <a:pt x="151" y="245"/>
                    </a:lnTo>
                    <a:lnTo>
                      <a:pt x="150" y="255"/>
                    </a:lnTo>
                    <a:lnTo>
                      <a:pt x="148" y="270"/>
                    </a:lnTo>
                    <a:lnTo>
                      <a:pt x="143" y="281"/>
                    </a:lnTo>
                    <a:lnTo>
                      <a:pt x="142" y="284"/>
                    </a:lnTo>
                    <a:lnTo>
                      <a:pt x="140" y="285"/>
                    </a:lnTo>
                    <a:lnTo>
                      <a:pt x="140" y="285"/>
                    </a:lnTo>
                    <a:lnTo>
                      <a:pt x="127" y="290"/>
                    </a:lnTo>
                    <a:lnTo>
                      <a:pt x="116" y="292"/>
                    </a:lnTo>
                    <a:lnTo>
                      <a:pt x="105" y="293"/>
                    </a:lnTo>
                    <a:lnTo>
                      <a:pt x="105" y="293"/>
                    </a:lnTo>
                    <a:lnTo>
                      <a:pt x="106" y="285"/>
                    </a:lnTo>
                    <a:lnTo>
                      <a:pt x="106" y="263"/>
                    </a:lnTo>
                    <a:lnTo>
                      <a:pt x="106" y="248"/>
                    </a:lnTo>
                    <a:lnTo>
                      <a:pt x="105" y="230"/>
                    </a:lnTo>
                    <a:lnTo>
                      <a:pt x="103" y="211"/>
                    </a:lnTo>
                    <a:lnTo>
                      <a:pt x="99" y="190"/>
                    </a:lnTo>
                    <a:lnTo>
                      <a:pt x="95" y="167"/>
                    </a:lnTo>
                    <a:lnTo>
                      <a:pt x="88" y="143"/>
                    </a:lnTo>
                    <a:lnTo>
                      <a:pt x="80" y="119"/>
                    </a:lnTo>
                    <a:lnTo>
                      <a:pt x="69" y="95"/>
                    </a:lnTo>
                    <a:lnTo>
                      <a:pt x="63" y="83"/>
                    </a:lnTo>
                    <a:lnTo>
                      <a:pt x="56" y="71"/>
                    </a:lnTo>
                    <a:lnTo>
                      <a:pt x="48" y="59"/>
                    </a:lnTo>
                    <a:lnTo>
                      <a:pt x="40" y="47"/>
                    </a:lnTo>
                    <a:lnTo>
                      <a:pt x="31" y="36"/>
                    </a:lnTo>
                    <a:lnTo>
                      <a:pt x="21" y="25"/>
                    </a:lnTo>
                    <a:lnTo>
                      <a:pt x="11" y="14"/>
                    </a:lnTo>
                    <a:lnTo>
                      <a:pt x="0" y="3"/>
                    </a:lnTo>
                    <a:lnTo>
                      <a:pt x="0" y="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39" name="Freeform 14">
                <a:extLst>
                  <a:ext uri="{FF2B5EF4-FFF2-40B4-BE49-F238E27FC236}">
                    <a16:creationId xmlns:a16="http://schemas.microsoft.com/office/drawing/2014/main" id="{E803B622-C4D1-4D5D-B66F-FEA61844829E}"/>
                  </a:ext>
                </a:extLst>
              </p:cNvPr>
              <p:cNvSpPr>
                <a:spLocks/>
              </p:cNvSpPr>
              <p:nvPr/>
            </p:nvSpPr>
            <p:spPr bwMode="auto">
              <a:xfrm>
                <a:off x="3059113" y="217488"/>
                <a:ext cx="322263" cy="385763"/>
              </a:xfrm>
              <a:custGeom>
                <a:avLst/>
                <a:gdLst>
                  <a:gd name="T0" fmla="*/ 376 w 608"/>
                  <a:gd name="T1" fmla="*/ 512 h 727"/>
                  <a:gd name="T2" fmla="*/ 367 w 608"/>
                  <a:gd name="T3" fmla="*/ 515 h 727"/>
                  <a:gd name="T4" fmla="*/ 354 w 608"/>
                  <a:gd name="T5" fmla="*/ 516 h 727"/>
                  <a:gd name="T6" fmla="*/ 351 w 608"/>
                  <a:gd name="T7" fmla="*/ 516 h 727"/>
                  <a:gd name="T8" fmla="*/ 337 w 608"/>
                  <a:gd name="T9" fmla="*/ 507 h 727"/>
                  <a:gd name="T10" fmla="*/ 315 w 608"/>
                  <a:gd name="T11" fmla="*/ 487 h 727"/>
                  <a:gd name="T12" fmla="*/ 265 w 608"/>
                  <a:gd name="T13" fmla="*/ 434 h 727"/>
                  <a:gd name="T14" fmla="*/ 242 w 608"/>
                  <a:gd name="T15" fmla="*/ 403 h 727"/>
                  <a:gd name="T16" fmla="*/ 204 w 608"/>
                  <a:gd name="T17" fmla="*/ 348 h 727"/>
                  <a:gd name="T18" fmla="*/ 190 w 608"/>
                  <a:gd name="T19" fmla="*/ 318 h 727"/>
                  <a:gd name="T20" fmla="*/ 188 w 608"/>
                  <a:gd name="T21" fmla="*/ 309 h 727"/>
                  <a:gd name="T22" fmla="*/ 190 w 608"/>
                  <a:gd name="T23" fmla="*/ 303 h 727"/>
                  <a:gd name="T24" fmla="*/ 193 w 608"/>
                  <a:gd name="T25" fmla="*/ 293 h 727"/>
                  <a:gd name="T26" fmla="*/ 198 w 608"/>
                  <a:gd name="T27" fmla="*/ 287 h 727"/>
                  <a:gd name="T28" fmla="*/ 208 w 608"/>
                  <a:gd name="T29" fmla="*/ 283 h 727"/>
                  <a:gd name="T30" fmla="*/ 222 w 608"/>
                  <a:gd name="T31" fmla="*/ 282 h 727"/>
                  <a:gd name="T32" fmla="*/ 239 w 608"/>
                  <a:gd name="T33" fmla="*/ 281 h 727"/>
                  <a:gd name="T34" fmla="*/ 240 w 608"/>
                  <a:gd name="T35" fmla="*/ 260 h 727"/>
                  <a:gd name="T36" fmla="*/ 237 w 608"/>
                  <a:gd name="T37" fmla="*/ 216 h 727"/>
                  <a:gd name="T38" fmla="*/ 231 w 608"/>
                  <a:gd name="T39" fmla="*/ 181 h 727"/>
                  <a:gd name="T40" fmla="*/ 220 w 608"/>
                  <a:gd name="T41" fmla="*/ 142 h 727"/>
                  <a:gd name="T42" fmla="*/ 204 w 608"/>
                  <a:gd name="T43" fmla="*/ 101 h 727"/>
                  <a:gd name="T44" fmla="*/ 181 w 608"/>
                  <a:gd name="T45" fmla="*/ 59 h 727"/>
                  <a:gd name="T46" fmla="*/ 152 w 608"/>
                  <a:gd name="T47" fmla="*/ 19 h 727"/>
                  <a:gd name="T48" fmla="*/ 133 w 608"/>
                  <a:gd name="T49" fmla="*/ 0 h 727"/>
                  <a:gd name="T50" fmla="*/ 121 w 608"/>
                  <a:gd name="T51" fmla="*/ 3 h 727"/>
                  <a:gd name="T52" fmla="*/ 117 w 608"/>
                  <a:gd name="T53" fmla="*/ 6 h 727"/>
                  <a:gd name="T54" fmla="*/ 87 w 608"/>
                  <a:gd name="T55" fmla="*/ 27 h 727"/>
                  <a:gd name="T56" fmla="*/ 57 w 608"/>
                  <a:gd name="T57" fmla="*/ 54 h 727"/>
                  <a:gd name="T58" fmla="*/ 37 w 608"/>
                  <a:gd name="T59" fmla="*/ 77 h 727"/>
                  <a:gd name="T60" fmla="*/ 26 w 608"/>
                  <a:gd name="T61" fmla="*/ 97 h 727"/>
                  <a:gd name="T62" fmla="*/ 16 w 608"/>
                  <a:gd name="T63" fmla="*/ 119 h 727"/>
                  <a:gd name="T64" fmla="*/ 12 w 608"/>
                  <a:gd name="T65" fmla="*/ 131 h 727"/>
                  <a:gd name="T66" fmla="*/ 4 w 608"/>
                  <a:gd name="T67" fmla="*/ 164 h 727"/>
                  <a:gd name="T68" fmla="*/ 0 w 608"/>
                  <a:gd name="T69" fmla="*/ 191 h 727"/>
                  <a:gd name="T70" fmla="*/ 2 w 608"/>
                  <a:gd name="T71" fmla="*/ 223 h 727"/>
                  <a:gd name="T72" fmla="*/ 9 w 608"/>
                  <a:gd name="T73" fmla="*/ 262 h 727"/>
                  <a:gd name="T74" fmla="*/ 24 w 608"/>
                  <a:gd name="T75" fmla="*/ 307 h 727"/>
                  <a:gd name="T76" fmla="*/ 49 w 608"/>
                  <a:gd name="T77" fmla="*/ 360 h 727"/>
                  <a:gd name="T78" fmla="*/ 86 w 608"/>
                  <a:gd name="T79" fmla="*/ 423 h 727"/>
                  <a:gd name="T80" fmla="*/ 109 w 608"/>
                  <a:gd name="T81" fmla="*/ 458 h 727"/>
                  <a:gd name="T82" fmla="*/ 130 w 608"/>
                  <a:gd name="T83" fmla="*/ 490 h 727"/>
                  <a:gd name="T84" fmla="*/ 163 w 608"/>
                  <a:gd name="T85" fmla="*/ 530 h 727"/>
                  <a:gd name="T86" fmla="*/ 176 w 608"/>
                  <a:gd name="T87" fmla="*/ 545 h 727"/>
                  <a:gd name="T88" fmla="*/ 208 w 608"/>
                  <a:gd name="T89" fmla="*/ 578 h 727"/>
                  <a:gd name="T90" fmla="*/ 265 w 608"/>
                  <a:gd name="T91" fmla="*/ 631 h 727"/>
                  <a:gd name="T92" fmla="*/ 314 w 608"/>
                  <a:gd name="T93" fmla="*/ 671 h 727"/>
                  <a:gd name="T94" fmla="*/ 357 w 608"/>
                  <a:gd name="T95" fmla="*/ 698 h 727"/>
                  <a:gd name="T96" fmla="*/ 395 w 608"/>
                  <a:gd name="T97" fmla="*/ 714 h 727"/>
                  <a:gd name="T98" fmla="*/ 428 w 608"/>
                  <a:gd name="T99" fmla="*/ 724 h 727"/>
                  <a:gd name="T100" fmla="*/ 456 w 608"/>
                  <a:gd name="T101" fmla="*/ 727 h 727"/>
                  <a:gd name="T102" fmla="*/ 491 w 608"/>
                  <a:gd name="T103" fmla="*/ 726 h 727"/>
                  <a:gd name="T104" fmla="*/ 509 w 608"/>
                  <a:gd name="T105" fmla="*/ 723 h 727"/>
                  <a:gd name="T106" fmla="*/ 543 w 608"/>
                  <a:gd name="T107" fmla="*/ 714 h 727"/>
                  <a:gd name="T108" fmla="*/ 572 w 608"/>
                  <a:gd name="T109" fmla="*/ 701 h 727"/>
                  <a:gd name="T110" fmla="*/ 596 w 608"/>
                  <a:gd name="T111" fmla="*/ 685 h 727"/>
                  <a:gd name="T112" fmla="*/ 608 w 608"/>
                  <a:gd name="T113" fmla="*/ 675 h 727"/>
                  <a:gd name="T114" fmla="*/ 571 w 608"/>
                  <a:gd name="T115" fmla="*/ 640 h 727"/>
                  <a:gd name="T116" fmla="*/ 517 w 608"/>
                  <a:gd name="T117" fmla="*/ 593 h 727"/>
                  <a:gd name="T118" fmla="*/ 468 w 608"/>
                  <a:gd name="T119" fmla="*/ 558 h 727"/>
                  <a:gd name="T120" fmla="*/ 433 w 608"/>
                  <a:gd name="T121" fmla="*/ 537 h 727"/>
                  <a:gd name="T122" fmla="*/ 395 w 608"/>
                  <a:gd name="T123" fmla="*/ 519 h 727"/>
                  <a:gd name="T124" fmla="*/ 376 w 608"/>
                  <a:gd name="T125" fmla="*/ 512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08" h="727">
                    <a:moveTo>
                      <a:pt x="376" y="512"/>
                    </a:moveTo>
                    <a:lnTo>
                      <a:pt x="376" y="512"/>
                    </a:lnTo>
                    <a:lnTo>
                      <a:pt x="372" y="514"/>
                    </a:lnTo>
                    <a:lnTo>
                      <a:pt x="367" y="515"/>
                    </a:lnTo>
                    <a:lnTo>
                      <a:pt x="361" y="516"/>
                    </a:lnTo>
                    <a:lnTo>
                      <a:pt x="354" y="516"/>
                    </a:lnTo>
                    <a:lnTo>
                      <a:pt x="354" y="516"/>
                    </a:lnTo>
                    <a:lnTo>
                      <a:pt x="351" y="516"/>
                    </a:lnTo>
                    <a:lnTo>
                      <a:pt x="347" y="514"/>
                    </a:lnTo>
                    <a:lnTo>
                      <a:pt x="337" y="507"/>
                    </a:lnTo>
                    <a:lnTo>
                      <a:pt x="326" y="498"/>
                    </a:lnTo>
                    <a:lnTo>
                      <a:pt x="315" y="487"/>
                    </a:lnTo>
                    <a:lnTo>
                      <a:pt x="289" y="460"/>
                    </a:lnTo>
                    <a:lnTo>
                      <a:pt x="265" y="434"/>
                    </a:lnTo>
                    <a:lnTo>
                      <a:pt x="265" y="434"/>
                    </a:lnTo>
                    <a:lnTo>
                      <a:pt x="242" y="403"/>
                    </a:lnTo>
                    <a:lnTo>
                      <a:pt x="215" y="366"/>
                    </a:lnTo>
                    <a:lnTo>
                      <a:pt x="204" y="348"/>
                    </a:lnTo>
                    <a:lnTo>
                      <a:pt x="195" y="332"/>
                    </a:lnTo>
                    <a:lnTo>
                      <a:pt x="190" y="318"/>
                    </a:lnTo>
                    <a:lnTo>
                      <a:pt x="188" y="313"/>
                    </a:lnTo>
                    <a:lnTo>
                      <a:pt x="188" y="309"/>
                    </a:lnTo>
                    <a:lnTo>
                      <a:pt x="188" y="309"/>
                    </a:lnTo>
                    <a:lnTo>
                      <a:pt x="190" y="303"/>
                    </a:lnTo>
                    <a:lnTo>
                      <a:pt x="191" y="297"/>
                    </a:lnTo>
                    <a:lnTo>
                      <a:pt x="193" y="293"/>
                    </a:lnTo>
                    <a:lnTo>
                      <a:pt x="196" y="290"/>
                    </a:lnTo>
                    <a:lnTo>
                      <a:pt x="198" y="287"/>
                    </a:lnTo>
                    <a:lnTo>
                      <a:pt x="201" y="285"/>
                    </a:lnTo>
                    <a:lnTo>
                      <a:pt x="208" y="283"/>
                    </a:lnTo>
                    <a:lnTo>
                      <a:pt x="215" y="282"/>
                    </a:lnTo>
                    <a:lnTo>
                      <a:pt x="222" y="282"/>
                    </a:lnTo>
                    <a:lnTo>
                      <a:pt x="231" y="282"/>
                    </a:lnTo>
                    <a:lnTo>
                      <a:pt x="239" y="281"/>
                    </a:lnTo>
                    <a:lnTo>
                      <a:pt x="239" y="281"/>
                    </a:lnTo>
                    <a:lnTo>
                      <a:pt x="240" y="260"/>
                    </a:lnTo>
                    <a:lnTo>
                      <a:pt x="238" y="233"/>
                    </a:lnTo>
                    <a:lnTo>
                      <a:pt x="237" y="216"/>
                    </a:lnTo>
                    <a:lnTo>
                      <a:pt x="234" y="199"/>
                    </a:lnTo>
                    <a:lnTo>
                      <a:pt x="231" y="181"/>
                    </a:lnTo>
                    <a:lnTo>
                      <a:pt x="227" y="161"/>
                    </a:lnTo>
                    <a:lnTo>
                      <a:pt x="220" y="142"/>
                    </a:lnTo>
                    <a:lnTo>
                      <a:pt x="213" y="121"/>
                    </a:lnTo>
                    <a:lnTo>
                      <a:pt x="204" y="101"/>
                    </a:lnTo>
                    <a:lnTo>
                      <a:pt x="194" y="79"/>
                    </a:lnTo>
                    <a:lnTo>
                      <a:pt x="181" y="59"/>
                    </a:lnTo>
                    <a:lnTo>
                      <a:pt x="168" y="39"/>
                    </a:lnTo>
                    <a:lnTo>
                      <a:pt x="152" y="19"/>
                    </a:lnTo>
                    <a:lnTo>
                      <a:pt x="133" y="0"/>
                    </a:lnTo>
                    <a:lnTo>
                      <a:pt x="133" y="0"/>
                    </a:lnTo>
                    <a:lnTo>
                      <a:pt x="125" y="2"/>
                    </a:lnTo>
                    <a:lnTo>
                      <a:pt x="121" y="3"/>
                    </a:lnTo>
                    <a:lnTo>
                      <a:pt x="117" y="6"/>
                    </a:lnTo>
                    <a:lnTo>
                      <a:pt x="117" y="6"/>
                    </a:lnTo>
                    <a:lnTo>
                      <a:pt x="101" y="17"/>
                    </a:lnTo>
                    <a:lnTo>
                      <a:pt x="87" y="27"/>
                    </a:lnTo>
                    <a:lnTo>
                      <a:pt x="71" y="39"/>
                    </a:lnTo>
                    <a:lnTo>
                      <a:pt x="57" y="54"/>
                    </a:lnTo>
                    <a:lnTo>
                      <a:pt x="44" y="69"/>
                    </a:lnTo>
                    <a:lnTo>
                      <a:pt x="37" y="77"/>
                    </a:lnTo>
                    <a:lnTo>
                      <a:pt x="31" y="86"/>
                    </a:lnTo>
                    <a:lnTo>
                      <a:pt x="26" y="97"/>
                    </a:lnTo>
                    <a:lnTo>
                      <a:pt x="21" y="108"/>
                    </a:lnTo>
                    <a:lnTo>
                      <a:pt x="16" y="119"/>
                    </a:lnTo>
                    <a:lnTo>
                      <a:pt x="12" y="131"/>
                    </a:lnTo>
                    <a:lnTo>
                      <a:pt x="12" y="131"/>
                    </a:lnTo>
                    <a:lnTo>
                      <a:pt x="7" y="152"/>
                    </a:lnTo>
                    <a:lnTo>
                      <a:pt x="4" y="164"/>
                    </a:lnTo>
                    <a:lnTo>
                      <a:pt x="3" y="176"/>
                    </a:lnTo>
                    <a:lnTo>
                      <a:pt x="0" y="191"/>
                    </a:lnTo>
                    <a:lnTo>
                      <a:pt x="0" y="206"/>
                    </a:lnTo>
                    <a:lnTo>
                      <a:pt x="2" y="223"/>
                    </a:lnTo>
                    <a:lnTo>
                      <a:pt x="5" y="241"/>
                    </a:lnTo>
                    <a:lnTo>
                      <a:pt x="9" y="262"/>
                    </a:lnTo>
                    <a:lnTo>
                      <a:pt x="16" y="283"/>
                    </a:lnTo>
                    <a:lnTo>
                      <a:pt x="24" y="307"/>
                    </a:lnTo>
                    <a:lnTo>
                      <a:pt x="35" y="332"/>
                    </a:lnTo>
                    <a:lnTo>
                      <a:pt x="49" y="360"/>
                    </a:lnTo>
                    <a:lnTo>
                      <a:pt x="66" y="391"/>
                    </a:lnTo>
                    <a:lnTo>
                      <a:pt x="86" y="423"/>
                    </a:lnTo>
                    <a:lnTo>
                      <a:pt x="109" y="458"/>
                    </a:lnTo>
                    <a:lnTo>
                      <a:pt x="109" y="458"/>
                    </a:lnTo>
                    <a:lnTo>
                      <a:pt x="119" y="474"/>
                    </a:lnTo>
                    <a:lnTo>
                      <a:pt x="130" y="490"/>
                    </a:lnTo>
                    <a:lnTo>
                      <a:pt x="145" y="509"/>
                    </a:lnTo>
                    <a:lnTo>
                      <a:pt x="163" y="530"/>
                    </a:lnTo>
                    <a:lnTo>
                      <a:pt x="163" y="530"/>
                    </a:lnTo>
                    <a:lnTo>
                      <a:pt x="176" y="545"/>
                    </a:lnTo>
                    <a:lnTo>
                      <a:pt x="176" y="545"/>
                    </a:lnTo>
                    <a:lnTo>
                      <a:pt x="208" y="578"/>
                    </a:lnTo>
                    <a:lnTo>
                      <a:pt x="237" y="607"/>
                    </a:lnTo>
                    <a:lnTo>
                      <a:pt x="265" y="631"/>
                    </a:lnTo>
                    <a:lnTo>
                      <a:pt x="290" y="653"/>
                    </a:lnTo>
                    <a:lnTo>
                      <a:pt x="314" y="671"/>
                    </a:lnTo>
                    <a:lnTo>
                      <a:pt x="336" y="686"/>
                    </a:lnTo>
                    <a:lnTo>
                      <a:pt x="357" y="698"/>
                    </a:lnTo>
                    <a:lnTo>
                      <a:pt x="376" y="707"/>
                    </a:lnTo>
                    <a:lnTo>
                      <a:pt x="395" y="714"/>
                    </a:lnTo>
                    <a:lnTo>
                      <a:pt x="411" y="719"/>
                    </a:lnTo>
                    <a:lnTo>
                      <a:pt x="428" y="724"/>
                    </a:lnTo>
                    <a:lnTo>
                      <a:pt x="442" y="726"/>
                    </a:lnTo>
                    <a:lnTo>
                      <a:pt x="456" y="727"/>
                    </a:lnTo>
                    <a:lnTo>
                      <a:pt x="468" y="727"/>
                    </a:lnTo>
                    <a:lnTo>
                      <a:pt x="491" y="726"/>
                    </a:lnTo>
                    <a:lnTo>
                      <a:pt x="491" y="726"/>
                    </a:lnTo>
                    <a:lnTo>
                      <a:pt x="509" y="723"/>
                    </a:lnTo>
                    <a:lnTo>
                      <a:pt x="526" y="719"/>
                    </a:lnTo>
                    <a:lnTo>
                      <a:pt x="543" y="714"/>
                    </a:lnTo>
                    <a:lnTo>
                      <a:pt x="558" y="708"/>
                    </a:lnTo>
                    <a:lnTo>
                      <a:pt x="572" y="701"/>
                    </a:lnTo>
                    <a:lnTo>
                      <a:pt x="584" y="693"/>
                    </a:lnTo>
                    <a:lnTo>
                      <a:pt x="596" y="685"/>
                    </a:lnTo>
                    <a:lnTo>
                      <a:pt x="608" y="675"/>
                    </a:lnTo>
                    <a:lnTo>
                      <a:pt x="608" y="675"/>
                    </a:lnTo>
                    <a:lnTo>
                      <a:pt x="591" y="659"/>
                    </a:lnTo>
                    <a:lnTo>
                      <a:pt x="571" y="640"/>
                    </a:lnTo>
                    <a:lnTo>
                      <a:pt x="546" y="617"/>
                    </a:lnTo>
                    <a:lnTo>
                      <a:pt x="517" y="593"/>
                    </a:lnTo>
                    <a:lnTo>
                      <a:pt x="485" y="569"/>
                    </a:lnTo>
                    <a:lnTo>
                      <a:pt x="468" y="558"/>
                    </a:lnTo>
                    <a:lnTo>
                      <a:pt x="450" y="547"/>
                    </a:lnTo>
                    <a:lnTo>
                      <a:pt x="433" y="537"/>
                    </a:lnTo>
                    <a:lnTo>
                      <a:pt x="415" y="527"/>
                    </a:lnTo>
                    <a:lnTo>
                      <a:pt x="395" y="519"/>
                    </a:lnTo>
                    <a:lnTo>
                      <a:pt x="376" y="512"/>
                    </a:lnTo>
                    <a:lnTo>
                      <a:pt x="376" y="51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40" name="Freeform 15">
                <a:extLst>
                  <a:ext uri="{FF2B5EF4-FFF2-40B4-BE49-F238E27FC236}">
                    <a16:creationId xmlns:a16="http://schemas.microsoft.com/office/drawing/2014/main" id="{DA91D417-E84A-4A17-B303-9EDFCDE08624}"/>
                  </a:ext>
                </a:extLst>
              </p:cNvPr>
              <p:cNvSpPr>
                <a:spLocks/>
              </p:cNvSpPr>
              <p:nvPr/>
            </p:nvSpPr>
            <p:spPr bwMode="auto">
              <a:xfrm>
                <a:off x="3263900" y="465138"/>
                <a:ext cx="136525" cy="101600"/>
              </a:xfrm>
              <a:custGeom>
                <a:avLst/>
                <a:gdLst>
                  <a:gd name="T0" fmla="*/ 258 w 259"/>
                  <a:gd name="T1" fmla="*/ 152 h 193"/>
                  <a:gd name="T2" fmla="*/ 258 w 259"/>
                  <a:gd name="T3" fmla="*/ 152 h 193"/>
                  <a:gd name="T4" fmla="*/ 236 w 259"/>
                  <a:gd name="T5" fmla="*/ 125 h 193"/>
                  <a:gd name="T6" fmla="*/ 214 w 259"/>
                  <a:gd name="T7" fmla="*/ 103 h 193"/>
                  <a:gd name="T8" fmla="*/ 193 w 259"/>
                  <a:gd name="T9" fmla="*/ 82 h 193"/>
                  <a:gd name="T10" fmla="*/ 171 w 259"/>
                  <a:gd name="T11" fmla="*/ 64 h 193"/>
                  <a:gd name="T12" fmla="*/ 151 w 259"/>
                  <a:gd name="T13" fmla="*/ 50 h 193"/>
                  <a:gd name="T14" fmla="*/ 130 w 259"/>
                  <a:gd name="T15" fmla="*/ 37 h 193"/>
                  <a:gd name="T16" fmla="*/ 111 w 259"/>
                  <a:gd name="T17" fmla="*/ 26 h 193"/>
                  <a:gd name="T18" fmla="*/ 91 w 259"/>
                  <a:gd name="T19" fmla="*/ 18 h 193"/>
                  <a:gd name="T20" fmla="*/ 74 w 259"/>
                  <a:gd name="T21" fmla="*/ 12 h 193"/>
                  <a:gd name="T22" fmla="*/ 58 w 259"/>
                  <a:gd name="T23" fmla="*/ 7 h 193"/>
                  <a:gd name="T24" fmla="*/ 44 w 259"/>
                  <a:gd name="T25" fmla="*/ 4 h 193"/>
                  <a:gd name="T26" fmla="*/ 32 w 259"/>
                  <a:gd name="T27" fmla="*/ 1 h 193"/>
                  <a:gd name="T28" fmla="*/ 21 w 259"/>
                  <a:gd name="T29" fmla="*/ 0 h 193"/>
                  <a:gd name="T30" fmla="*/ 13 w 259"/>
                  <a:gd name="T31" fmla="*/ 0 h 193"/>
                  <a:gd name="T32" fmla="*/ 8 w 259"/>
                  <a:gd name="T33" fmla="*/ 1 h 193"/>
                  <a:gd name="T34" fmla="*/ 6 w 259"/>
                  <a:gd name="T35" fmla="*/ 3 h 193"/>
                  <a:gd name="T36" fmla="*/ 6 w 259"/>
                  <a:gd name="T37" fmla="*/ 3 h 193"/>
                  <a:gd name="T38" fmla="*/ 4 w 259"/>
                  <a:gd name="T39" fmla="*/ 8 h 193"/>
                  <a:gd name="T40" fmla="*/ 2 w 259"/>
                  <a:gd name="T41" fmla="*/ 13 h 193"/>
                  <a:gd name="T42" fmla="*/ 0 w 259"/>
                  <a:gd name="T43" fmla="*/ 24 h 193"/>
                  <a:gd name="T44" fmla="*/ 0 w 259"/>
                  <a:gd name="T45" fmla="*/ 24 h 193"/>
                  <a:gd name="T46" fmla="*/ 14 w 259"/>
                  <a:gd name="T47" fmla="*/ 30 h 193"/>
                  <a:gd name="T48" fmla="*/ 34 w 259"/>
                  <a:gd name="T49" fmla="*/ 39 h 193"/>
                  <a:gd name="T50" fmla="*/ 58 w 259"/>
                  <a:gd name="T51" fmla="*/ 53 h 193"/>
                  <a:gd name="T52" fmla="*/ 90 w 259"/>
                  <a:gd name="T53" fmla="*/ 71 h 193"/>
                  <a:gd name="T54" fmla="*/ 90 w 259"/>
                  <a:gd name="T55" fmla="*/ 71 h 193"/>
                  <a:gd name="T56" fmla="*/ 120 w 259"/>
                  <a:gd name="T57" fmla="*/ 90 h 193"/>
                  <a:gd name="T58" fmla="*/ 147 w 259"/>
                  <a:gd name="T59" fmla="*/ 108 h 193"/>
                  <a:gd name="T60" fmla="*/ 169 w 259"/>
                  <a:gd name="T61" fmla="*/ 125 h 193"/>
                  <a:gd name="T62" fmla="*/ 190 w 259"/>
                  <a:gd name="T63" fmla="*/ 142 h 193"/>
                  <a:gd name="T64" fmla="*/ 206 w 259"/>
                  <a:gd name="T65" fmla="*/ 157 h 193"/>
                  <a:gd name="T66" fmla="*/ 221 w 259"/>
                  <a:gd name="T67" fmla="*/ 172 h 193"/>
                  <a:gd name="T68" fmla="*/ 231 w 259"/>
                  <a:gd name="T69" fmla="*/ 183 h 193"/>
                  <a:gd name="T70" fmla="*/ 238 w 259"/>
                  <a:gd name="T71" fmla="*/ 193 h 193"/>
                  <a:gd name="T72" fmla="*/ 238 w 259"/>
                  <a:gd name="T73" fmla="*/ 193 h 193"/>
                  <a:gd name="T74" fmla="*/ 248 w 259"/>
                  <a:gd name="T75" fmla="*/ 184 h 193"/>
                  <a:gd name="T76" fmla="*/ 248 w 259"/>
                  <a:gd name="T77" fmla="*/ 184 h 193"/>
                  <a:gd name="T78" fmla="*/ 253 w 259"/>
                  <a:gd name="T79" fmla="*/ 180 h 193"/>
                  <a:gd name="T80" fmla="*/ 256 w 259"/>
                  <a:gd name="T81" fmla="*/ 175 h 193"/>
                  <a:gd name="T82" fmla="*/ 258 w 259"/>
                  <a:gd name="T83" fmla="*/ 171 h 193"/>
                  <a:gd name="T84" fmla="*/ 259 w 259"/>
                  <a:gd name="T85" fmla="*/ 166 h 193"/>
                  <a:gd name="T86" fmla="*/ 259 w 259"/>
                  <a:gd name="T87" fmla="*/ 161 h 193"/>
                  <a:gd name="T88" fmla="*/ 259 w 259"/>
                  <a:gd name="T89" fmla="*/ 158 h 193"/>
                  <a:gd name="T90" fmla="*/ 259 w 259"/>
                  <a:gd name="T91" fmla="*/ 154 h 193"/>
                  <a:gd name="T92" fmla="*/ 258 w 259"/>
                  <a:gd name="T93" fmla="*/ 152 h 193"/>
                  <a:gd name="T94" fmla="*/ 258 w 259"/>
                  <a:gd name="T95" fmla="*/ 152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59" h="193">
                    <a:moveTo>
                      <a:pt x="258" y="152"/>
                    </a:moveTo>
                    <a:lnTo>
                      <a:pt x="258" y="152"/>
                    </a:lnTo>
                    <a:lnTo>
                      <a:pt x="236" y="125"/>
                    </a:lnTo>
                    <a:lnTo>
                      <a:pt x="214" y="103"/>
                    </a:lnTo>
                    <a:lnTo>
                      <a:pt x="193" y="82"/>
                    </a:lnTo>
                    <a:lnTo>
                      <a:pt x="171" y="64"/>
                    </a:lnTo>
                    <a:lnTo>
                      <a:pt x="151" y="50"/>
                    </a:lnTo>
                    <a:lnTo>
                      <a:pt x="130" y="37"/>
                    </a:lnTo>
                    <a:lnTo>
                      <a:pt x="111" y="26"/>
                    </a:lnTo>
                    <a:lnTo>
                      <a:pt x="91" y="18"/>
                    </a:lnTo>
                    <a:lnTo>
                      <a:pt x="74" y="12"/>
                    </a:lnTo>
                    <a:lnTo>
                      <a:pt x="58" y="7"/>
                    </a:lnTo>
                    <a:lnTo>
                      <a:pt x="44" y="4"/>
                    </a:lnTo>
                    <a:lnTo>
                      <a:pt x="32" y="1"/>
                    </a:lnTo>
                    <a:lnTo>
                      <a:pt x="21" y="0"/>
                    </a:lnTo>
                    <a:lnTo>
                      <a:pt x="13" y="0"/>
                    </a:lnTo>
                    <a:lnTo>
                      <a:pt x="8" y="1"/>
                    </a:lnTo>
                    <a:lnTo>
                      <a:pt x="6" y="3"/>
                    </a:lnTo>
                    <a:lnTo>
                      <a:pt x="6" y="3"/>
                    </a:lnTo>
                    <a:lnTo>
                      <a:pt x="4" y="8"/>
                    </a:lnTo>
                    <a:lnTo>
                      <a:pt x="2" y="13"/>
                    </a:lnTo>
                    <a:lnTo>
                      <a:pt x="0" y="24"/>
                    </a:lnTo>
                    <a:lnTo>
                      <a:pt x="0" y="24"/>
                    </a:lnTo>
                    <a:lnTo>
                      <a:pt x="14" y="30"/>
                    </a:lnTo>
                    <a:lnTo>
                      <a:pt x="34" y="39"/>
                    </a:lnTo>
                    <a:lnTo>
                      <a:pt x="58" y="53"/>
                    </a:lnTo>
                    <a:lnTo>
                      <a:pt x="90" y="71"/>
                    </a:lnTo>
                    <a:lnTo>
                      <a:pt x="90" y="71"/>
                    </a:lnTo>
                    <a:lnTo>
                      <a:pt x="120" y="90"/>
                    </a:lnTo>
                    <a:lnTo>
                      <a:pt x="147" y="108"/>
                    </a:lnTo>
                    <a:lnTo>
                      <a:pt x="169" y="125"/>
                    </a:lnTo>
                    <a:lnTo>
                      <a:pt x="190" y="142"/>
                    </a:lnTo>
                    <a:lnTo>
                      <a:pt x="206" y="157"/>
                    </a:lnTo>
                    <a:lnTo>
                      <a:pt x="221" y="172"/>
                    </a:lnTo>
                    <a:lnTo>
                      <a:pt x="231" y="183"/>
                    </a:lnTo>
                    <a:lnTo>
                      <a:pt x="238" y="193"/>
                    </a:lnTo>
                    <a:lnTo>
                      <a:pt x="238" y="193"/>
                    </a:lnTo>
                    <a:lnTo>
                      <a:pt x="248" y="184"/>
                    </a:lnTo>
                    <a:lnTo>
                      <a:pt x="248" y="184"/>
                    </a:lnTo>
                    <a:lnTo>
                      <a:pt x="253" y="180"/>
                    </a:lnTo>
                    <a:lnTo>
                      <a:pt x="256" y="175"/>
                    </a:lnTo>
                    <a:lnTo>
                      <a:pt x="258" y="171"/>
                    </a:lnTo>
                    <a:lnTo>
                      <a:pt x="259" y="166"/>
                    </a:lnTo>
                    <a:lnTo>
                      <a:pt x="259" y="161"/>
                    </a:lnTo>
                    <a:lnTo>
                      <a:pt x="259" y="158"/>
                    </a:lnTo>
                    <a:lnTo>
                      <a:pt x="259" y="154"/>
                    </a:lnTo>
                    <a:lnTo>
                      <a:pt x="258" y="152"/>
                    </a:lnTo>
                    <a:lnTo>
                      <a:pt x="258" y="1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541" name="Group 1540">
            <a:extLst>
              <a:ext uri="{FF2B5EF4-FFF2-40B4-BE49-F238E27FC236}">
                <a16:creationId xmlns:a16="http://schemas.microsoft.com/office/drawing/2014/main" id="{CB261388-9CEE-4A99-A071-DF4D2B060874}"/>
              </a:ext>
            </a:extLst>
          </p:cNvPr>
          <p:cNvGrpSpPr/>
          <p:nvPr/>
        </p:nvGrpSpPr>
        <p:grpSpPr>
          <a:xfrm>
            <a:off x="4659992" y="4718957"/>
            <a:ext cx="612775" cy="612775"/>
            <a:chOff x="3505363" y="5357300"/>
            <a:chExt cx="612775" cy="612775"/>
          </a:xfrm>
        </p:grpSpPr>
        <p:sp>
          <p:nvSpPr>
            <p:cNvPr id="1542" name="Oval 1541">
              <a:extLst>
                <a:ext uri="{FF2B5EF4-FFF2-40B4-BE49-F238E27FC236}">
                  <a16:creationId xmlns:a16="http://schemas.microsoft.com/office/drawing/2014/main" id="{0FE62016-9FD2-419D-BF9B-5FDC3A223BC7}"/>
                </a:ext>
              </a:extLst>
            </p:cNvPr>
            <p:cNvSpPr/>
            <p:nvPr/>
          </p:nvSpPr>
          <p:spPr bwMode="ltGray">
            <a:xfrm>
              <a:off x="3505363" y="5357300"/>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43" name="Freeform 96">
              <a:extLst>
                <a:ext uri="{FF2B5EF4-FFF2-40B4-BE49-F238E27FC236}">
                  <a16:creationId xmlns:a16="http://schemas.microsoft.com/office/drawing/2014/main" id="{417DF5E1-DB57-46D8-957F-D9E8F672707E}"/>
                </a:ext>
              </a:extLst>
            </p:cNvPr>
            <p:cNvSpPr>
              <a:spLocks noEditPoints="1"/>
            </p:cNvSpPr>
            <p:nvPr/>
          </p:nvSpPr>
          <p:spPr bwMode="auto">
            <a:xfrm>
              <a:off x="3614653" y="5498738"/>
              <a:ext cx="419259" cy="383064"/>
            </a:xfrm>
            <a:custGeom>
              <a:avLst/>
              <a:gdLst>
                <a:gd name="T0" fmla="*/ 373 w 832"/>
                <a:gd name="T1" fmla="*/ 255 h 762"/>
                <a:gd name="T2" fmla="*/ 70 w 832"/>
                <a:gd name="T3" fmla="*/ 0 h 762"/>
                <a:gd name="T4" fmla="*/ 44 w 832"/>
                <a:gd name="T5" fmla="*/ 6 h 762"/>
                <a:gd name="T6" fmla="*/ 12 w 832"/>
                <a:gd name="T7" fmla="*/ 30 h 762"/>
                <a:gd name="T8" fmla="*/ 0 w 832"/>
                <a:gd name="T9" fmla="*/ 70 h 762"/>
                <a:gd name="T10" fmla="*/ 3 w 832"/>
                <a:gd name="T11" fmla="*/ 568 h 762"/>
                <a:gd name="T12" fmla="*/ 21 w 832"/>
                <a:gd name="T13" fmla="*/ 603 h 762"/>
                <a:gd name="T14" fmla="*/ 56 w 832"/>
                <a:gd name="T15" fmla="*/ 623 h 762"/>
                <a:gd name="T16" fmla="*/ 174 w 832"/>
                <a:gd name="T17" fmla="*/ 762 h 762"/>
                <a:gd name="T18" fmla="*/ 762 w 832"/>
                <a:gd name="T19" fmla="*/ 624 h 762"/>
                <a:gd name="T20" fmla="*/ 802 w 832"/>
                <a:gd name="T21" fmla="*/ 612 h 762"/>
                <a:gd name="T22" fmla="*/ 826 w 832"/>
                <a:gd name="T23" fmla="*/ 582 h 762"/>
                <a:gd name="T24" fmla="*/ 832 w 832"/>
                <a:gd name="T25" fmla="*/ 70 h 762"/>
                <a:gd name="T26" fmla="*/ 826 w 832"/>
                <a:gd name="T27" fmla="*/ 42 h 762"/>
                <a:gd name="T28" fmla="*/ 802 w 832"/>
                <a:gd name="T29" fmla="*/ 12 h 762"/>
                <a:gd name="T30" fmla="*/ 762 w 832"/>
                <a:gd name="T31" fmla="*/ 0 h 762"/>
                <a:gd name="T32" fmla="*/ 157 w 832"/>
                <a:gd name="T33" fmla="*/ 329 h 762"/>
                <a:gd name="T34" fmla="*/ 105 w 832"/>
                <a:gd name="T35" fmla="*/ 190 h 762"/>
                <a:gd name="T36" fmla="*/ 157 w 832"/>
                <a:gd name="T37" fmla="*/ 225 h 762"/>
                <a:gd name="T38" fmla="*/ 243 w 832"/>
                <a:gd name="T39" fmla="*/ 329 h 762"/>
                <a:gd name="T40" fmla="*/ 330 w 832"/>
                <a:gd name="T41" fmla="*/ 381 h 762"/>
                <a:gd name="T42" fmla="*/ 348 w 832"/>
                <a:gd name="T43" fmla="*/ 190 h 762"/>
                <a:gd name="T44" fmla="*/ 434 w 832"/>
                <a:gd name="T45" fmla="*/ 433 h 762"/>
                <a:gd name="T46" fmla="*/ 668 w 832"/>
                <a:gd name="T47" fmla="*/ 424 h 762"/>
                <a:gd name="T48" fmla="*/ 642 w 832"/>
                <a:gd name="T49" fmla="*/ 434 h 762"/>
                <a:gd name="T50" fmla="*/ 616 w 832"/>
                <a:gd name="T51" fmla="*/ 437 h 762"/>
                <a:gd name="T52" fmla="*/ 581 w 832"/>
                <a:gd name="T53" fmla="*/ 431 h 762"/>
                <a:gd name="T54" fmla="*/ 551 w 832"/>
                <a:gd name="T55" fmla="*/ 416 h 762"/>
                <a:gd name="T56" fmla="*/ 526 w 832"/>
                <a:gd name="T57" fmla="*/ 392 h 762"/>
                <a:gd name="T58" fmla="*/ 508 w 832"/>
                <a:gd name="T59" fmla="*/ 361 h 762"/>
                <a:gd name="T60" fmla="*/ 499 w 832"/>
                <a:gd name="T61" fmla="*/ 324 h 762"/>
                <a:gd name="T62" fmla="*/ 499 w 832"/>
                <a:gd name="T63" fmla="*/ 299 h 762"/>
                <a:gd name="T64" fmla="*/ 508 w 832"/>
                <a:gd name="T65" fmla="*/ 263 h 762"/>
                <a:gd name="T66" fmla="*/ 526 w 832"/>
                <a:gd name="T67" fmla="*/ 232 h 762"/>
                <a:gd name="T68" fmla="*/ 551 w 832"/>
                <a:gd name="T69" fmla="*/ 208 h 762"/>
                <a:gd name="T70" fmla="*/ 581 w 832"/>
                <a:gd name="T71" fmla="*/ 192 h 762"/>
                <a:gd name="T72" fmla="*/ 616 w 832"/>
                <a:gd name="T73" fmla="*/ 186 h 762"/>
                <a:gd name="T74" fmla="*/ 639 w 832"/>
                <a:gd name="T75" fmla="*/ 189 h 762"/>
                <a:gd name="T76" fmla="*/ 671 w 832"/>
                <a:gd name="T77" fmla="*/ 202 h 762"/>
                <a:gd name="T78" fmla="*/ 699 w 832"/>
                <a:gd name="T79" fmla="*/ 222 h 762"/>
                <a:gd name="T80" fmla="*/ 718 w 832"/>
                <a:gd name="T81" fmla="*/ 252 h 762"/>
                <a:gd name="T82" fmla="*/ 730 w 832"/>
                <a:gd name="T83" fmla="*/ 286 h 762"/>
                <a:gd name="T84" fmla="*/ 732 w 832"/>
                <a:gd name="T85" fmla="*/ 311 h 762"/>
                <a:gd name="T86" fmla="*/ 728 w 832"/>
                <a:gd name="T87" fmla="*/ 350 h 762"/>
                <a:gd name="T88" fmla="*/ 712 w 832"/>
                <a:gd name="T89" fmla="*/ 383 h 762"/>
                <a:gd name="T90" fmla="*/ 729 w 832"/>
                <a:gd name="T91" fmla="*/ 433 h 762"/>
                <a:gd name="T92" fmla="*/ 610 w 832"/>
                <a:gd name="T93" fmla="*/ 226 h 762"/>
                <a:gd name="T94" fmla="*/ 592 w 832"/>
                <a:gd name="T95" fmla="*/ 232 h 762"/>
                <a:gd name="T96" fmla="*/ 573 w 832"/>
                <a:gd name="T97" fmla="*/ 250 h 762"/>
                <a:gd name="T98" fmla="*/ 556 w 832"/>
                <a:gd name="T99" fmla="*/ 294 h 762"/>
                <a:gd name="T100" fmla="*/ 556 w 832"/>
                <a:gd name="T101" fmla="*/ 329 h 762"/>
                <a:gd name="T102" fmla="*/ 573 w 832"/>
                <a:gd name="T103" fmla="*/ 373 h 762"/>
                <a:gd name="T104" fmla="*/ 592 w 832"/>
                <a:gd name="T105" fmla="*/ 392 h 762"/>
                <a:gd name="T106" fmla="*/ 610 w 832"/>
                <a:gd name="T107" fmla="*/ 398 h 762"/>
                <a:gd name="T108" fmla="*/ 621 w 832"/>
                <a:gd name="T109" fmla="*/ 398 h 762"/>
                <a:gd name="T110" fmla="*/ 607 w 832"/>
                <a:gd name="T111" fmla="*/ 364 h 762"/>
                <a:gd name="T112" fmla="*/ 663 w 832"/>
                <a:gd name="T113" fmla="*/ 367 h 762"/>
                <a:gd name="T114" fmla="*/ 675 w 832"/>
                <a:gd name="T115" fmla="*/ 327 h 762"/>
                <a:gd name="T116" fmla="*/ 675 w 832"/>
                <a:gd name="T117" fmla="*/ 294 h 762"/>
                <a:gd name="T118" fmla="*/ 659 w 832"/>
                <a:gd name="T119" fmla="*/ 250 h 762"/>
                <a:gd name="T120" fmla="*/ 640 w 832"/>
                <a:gd name="T121" fmla="*/ 232 h 762"/>
                <a:gd name="T122" fmla="*/ 622 w 832"/>
                <a:gd name="T123" fmla="*/ 226 h 7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32" h="762">
                  <a:moveTo>
                    <a:pt x="342" y="346"/>
                  </a:moveTo>
                  <a:lnTo>
                    <a:pt x="404" y="346"/>
                  </a:lnTo>
                  <a:lnTo>
                    <a:pt x="373" y="255"/>
                  </a:lnTo>
                  <a:lnTo>
                    <a:pt x="342" y="346"/>
                  </a:lnTo>
                  <a:close/>
                  <a:moveTo>
                    <a:pt x="762" y="0"/>
                  </a:moveTo>
                  <a:lnTo>
                    <a:pt x="70" y="0"/>
                  </a:lnTo>
                  <a:lnTo>
                    <a:pt x="70" y="0"/>
                  </a:lnTo>
                  <a:lnTo>
                    <a:pt x="56" y="1"/>
                  </a:lnTo>
                  <a:lnTo>
                    <a:pt x="44" y="6"/>
                  </a:lnTo>
                  <a:lnTo>
                    <a:pt x="32" y="12"/>
                  </a:lnTo>
                  <a:lnTo>
                    <a:pt x="21" y="20"/>
                  </a:lnTo>
                  <a:lnTo>
                    <a:pt x="12" y="30"/>
                  </a:lnTo>
                  <a:lnTo>
                    <a:pt x="6" y="42"/>
                  </a:lnTo>
                  <a:lnTo>
                    <a:pt x="3" y="55"/>
                  </a:lnTo>
                  <a:lnTo>
                    <a:pt x="0" y="70"/>
                  </a:lnTo>
                  <a:lnTo>
                    <a:pt x="0" y="554"/>
                  </a:lnTo>
                  <a:lnTo>
                    <a:pt x="0" y="554"/>
                  </a:lnTo>
                  <a:lnTo>
                    <a:pt x="3" y="568"/>
                  </a:lnTo>
                  <a:lnTo>
                    <a:pt x="6" y="582"/>
                  </a:lnTo>
                  <a:lnTo>
                    <a:pt x="12" y="592"/>
                  </a:lnTo>
                  <a:lnTo>
                    <a:pt x="21" y="603"/>
                  </a:lnTo>
                  <a:lnTo>
                    <a:pt x="32" y="612"/>
                  </a:lnTo>
                  <a:lnTo>
                    <a:pt x="44" y="618"/>
                  </a:lnTo>
                  <a:lnTo>
                    <a:pt x="56" y="623"/>
                  </a:lnTo>
                  <a:lnTo>
                    <a:pt x="70" y="624"/>
                  </a:lnTo>
                  <a:lnTo>
                    <a:pt x="174" y="624"/>
                  </a:lnTo>
                  <a:lnTo>
                    <a:pt x="174" y="762"/>
                  </a:lnTo>
                  <a:lnTo>
                    <a:pt x="321" y="624"/>
                  </a:lnTo>
                  <a:lnTo>
                    <a:pt x="762" y="624"/>
                  </a:lnTo>
                  <a:lnTo>
                    <a:pt x="762" y="624"/>
                  </a:lnTo>
                  <a:lnTo>
                    <a:pt x="777" y="623"/>
                  </a:lnTo>
                  <a:lnTo>
                    <a:pt x="790" y="618"/>
                  </a:lnTo>
                  <a:lnTo>
                    <a:pt x="802" y="612"/>
                  </a:lnTo>
                  <a:lnTo>
                    <a:pt x="812" y="603"/>
                  </a:lnTo>
                  <a:lnTo>
                    <a:pt x="820" y="592"/>
                  </a:lnTo>
                  <a:lnTo>
                    <a:pt x="826" y="582"/>
                  </a:lnTo>
                  <a:lnTo>
                    <a:pt x="831" y="568"/>
                  </a:lnTo>
                  <a:lnTo>
                    <a:pt x="832" y="554"/>
                  </a:lnTo>
                  <a:lnTo>
                    <a:pt x="832" y="70"/>
                  </a:lnTo>
                  <a:lnTo>
                    <a:pt x="832" y="70"/>
                  </a:lnTo>
                  <a:lnTo>
                    <a:pt x="831" y="55"/>
                  </a:lnTo>
                  <a:lnTo>
                    <a:pt x="826" y="42"/>
                  </a:lnTo>
                  <a:lnTo>
                    <a:pt x="820" y="30"/>
                  </a:lnTo>
                  <a:lnTo>
                    <a:pt x="812" y="20"/>
                  </a:lnTo>
                  <a:lnTo>
                    <a:pt x="802" y="12"/>
                  </a:lnTo>
                  <a:lnTo>
                    <a:pt x="790" y="6"/>
                  </a:lnTo>
                  <a:lnTo>
                    <a:pt x="777" y="1"/>
                  </a:lnTo>
                  <a:lnTo>
                    <a:pt x="762" y="0"/>
                  </a:lnTo>
                  <a:lnTo>
                    <a:pt x="762" y="0"/>
                  </a:lnTo>
                  <a:close/>
                  <a:moveTo>
                    <a:pt x="243" y="329"/>
                  </a:moveTo>
                  <a:lnTo>
                    <a:pt x="157" y="329"/>
                  </a:lnTo>
                  <a:lnTo>
                    <a:pt x="157" y="433"/>
                  </a:lnTo>
                  <a:lnTo>
                    <a:pt x="105" y="433"/>
                  </a:lnTo>
                  <a:lnTo>
                    <a:pt x="105" y="190"/>
                  </a:lnTo>
                  <a:lnTo>
                    <a:pt x="260" y="190"/>
                  </a:lnTo>
                  <a:lnTo>
                    <a:pt x="260" y="225"/>
                  </a:lnTo>
                  <a:lnTo>
                    <a:pt x="157" y="225"/>
                  </a:lnTo>
                  <a:lnTo>
                    <a:pt x="157" y="294"/>
                  </a:lnTo>
                  <a:lnTo>
                    <a:pt x="243" y="294"/>
                  </a:lnTo>
                  <a:lnTo>
                    <a:pt x="243" y="329"/>
                  </a:lnTo>
                  <a:close/>
                  <a:moveTo>
                    <a:pt x="434" y="433"/>
                  </a:moveTo>
                  <a:lnTo>
                    <a:pt x="416" y="381"/>
                  </a:lnTo>
                  <a:lnTo>
                    <a:pt x="330" y="381"/>
                  </a:lnTo>
                  <a:lnTo>
                    <a:pt x="313" y="433"/>
                  </a:lnTo>
                  <a:lnTo>
                    <a:pt x="256" y="433"/>
                  </a:lnTo>
                  <a:lnTo>
                    <a:pt x="348" y="190"/>
                  </a:lnTo>
                  <a:lnTo>
                    <a:pt x="399" y="190"/>
                  </a:lnTo>
                  <a:lnTo>
                    <a:pt x="490" y="433"/>
                  </a:lnTo>
                  <a:lnTo>
                    <a:pt x="434" y="433"/>
                  </a:lnTo>
                  <a:close/>
                  <a:moveTo>
                    <a:pt x="729" y="433"/>
                  </a:moveTo>
                  <a:lnTo>
                    <a:pt x="676" y="433"/>
                  </a:lnTo>
                  <a:lnTo>
                    <a:pt x="668" y="424"/>
                  </a:lnTo>
                  <a:lnTo>
                    <a:pt x="668" y="424"/>
                  </a:lnTo>
                  <a:lnTo>
                    <a:pt x="655" y="430"/>
                  </a:lnTo>
                  <a:lnTo>
                    <a:pt x="642" y="434"/>
                  </a:lnTo>
                  <a:lnTo>
                    <a:pt x="629" y="436"/>
                  </a:lnTo>
                  <a:lnTo>
                    <a:pt x="616" y="437"/>
                  </a:lnTo>
                  <a:lnTo>
                    <a:pt x="616" y="437"/>
                  </a:lnTo>
                  <a:lnTo>
                    <a:pt x="604" y="436"/>
                  </a:lnTo>
                  <a:lnTo>
                    <a:pt x="592" y="435"/>
                  </a:lnTo>
                  <a:lnTo>
                    <a:pt x="581" y="431"/>
                  </a:lnTo>
                  <a:lnTo>
                    <a:pt x="570" y="428"/>
                  </a:lnTo>
                  <a:lnTo>
                    <a:pt x="561" y="422"/>
                  </a:lnTo>
                  <a:lnTo>
                    <a:pt x="551" y="416"/>
                  </a:lnTo>
                  <a:lnTo>
                    <a:pt x="541" y="409"/>
                  </a:lnTo>
                  <a:lnTo>
                    <a:pt x="533" y="400"/>
                  </a:lnTo>
                  <a:lnTo>
                    <a:pt x="526" y="392"/>
                  </a:lnTo>
                  <a:lnTo>
                    <a:pt x="518" y="382"/>
                  </a:lnTo>
                  <a:lnTo>
                    <a:pt x="512" y="371"/>
                  </a:lnTo>
                  <a:lnTo>
                    <a:pt x="508" y="361"/>
                  </a:lnTo>
                  <a:lnTo>
                    <a:pt x="504" y="349"/>
                  </a:lnTo>
                  <a:lnTo>
                    <a:pt x="502" y="336"/>
                  </a:lnTo>
                  <a:lnTo>
                    <a:pt x="499" y="324"/>
                  </a:lnTo>
                  <a:lnTo>
                    <a:pt x="499" y="311"/>
                  </a:lnTo>
                  <a:lnTo>
                    <a:pt x="499" y="311"/>
                  </a:lnTo>
                  <a:lnTo>
                    <a:pt x="499" y="299"/>
                  </a:lnTo>
                  <a:lnTo>
                    <a:pt x="502" y="286"/>
                  </a:lnTo>
                  <a:lnTo>
                    <a:pt x="504" y="274"/>
                  </a:lnTo>
                  <a:lnTo>
                    <a:pt x="508" y="263"/>
                  </a:lnTo>
                  <a:lnTo>
                    <a:pt x="512" y="252"/>
                  </a:lnTo>
                  <a:lnTo>
                    <a:pt x="518" y="242"/>
                  </a:lnTo>
                  <a:lnTo>
                    <a:pt x="526" y="232"/>
                  </a:lnTo>
                  <a:lnTo>
                    <a:pt x="533" y="222"/>
                  </a:lnTo>
                  <a:lnTo>
                    <a:pt x="541" y="215"/>
                  </a:lnTo>
                  <a:lnTo>
                    <a:pt x="551" y="208"/>
                  </a:lnTo>
                  <a:lnTo>
                    <a:pt x="561" y="202"/>
                  </a:lnTo>
                  <a:lnTo>
                    <a:pt x="570" y="196"/>
                  </a:lnTo>
                  <a:lnTo>
                    <a:pt x="581" y="192"/>
                  </a:lnTo>
                  <a:lnTo>
                    <a:pt x="592" y="189"/>
                  </a:lnTo>
                  <a:lnTo>
                    <a:pt x="604" y="186"/>
                  </a:lnTo>
                  <a:lnTo>
                    <a:pt x="616" y="186"/>
                  </a:lnTo>
                  <a:lnTo>
                    <a:pt x="616" y="186"/>
                  </a:lnTo>
                  <a:lnTo>
                    <a:pt x="628" y="186"/>
                  </a:lnTo>
                  <a:lnTo>
                    <a:pt x="639" y="189"/>
                  </a:lnTo>
                  <a:lnTo>
                    <a:pt x="651" y="192"/>
                  </a:lnTo>
                  <a:lnTo>
                    <a:pt x="662" y="196"/>
                  </a:lnTo>
                  <a:lnTo>
                    <a:pt x="671" y="202"/>
                  </a:lnTo>
                  <a:lnTo>
                    <a:pt x="681" y="208"/>
                  </a:lnTo>
                  <a:lnTo>
                    <a:pt x="690" y="215"/>
                  </a:lnTo>
                  <a:lnTo>
                    <a:pt x="699" y="222"/>
                  </a:lnTo>
                  <a:lnTo>
                    <a:pt x="706" y="232"/>
                  </a:lnTo>
                  <a:lnTo>
                    <a:pt x="713" y="242"/>
                  </a:lnTo>
                  <a:lnTo>
                    <a:pt x="718" y="252"/>
                  </a:lnTo>
                  <a:lnTo>
                    <a:pt x="724" y="263"/>
                  </a:lnTo>
                  <a:lnTo>
                    <a:pt x="728" y="274"/>
                  </a:lnTo>
                  <a:lnTo>
                    <a:pt x="730" y="286"/>
                  </a:lnTo>
                  <a:lnTo>
                    <a:pt x="732" y="299"/>
                  </a:lnTo>
                  <a:lnTo>
                    <a:pt x="732" y="311"/>
                  </a:lnTo>
                  <a:lnTo>
                    <a:pt x="732" y="311"/>
                  </a:lnTo>
                  <a:lnTo>
                    <a:pt x="732" y="324"/>
                  </a:lnTo>
                  <a:lnTo>
                    <a:pt x="730" y="338"/>
                  </a:lnTo>
                  <a:lnTo>
                    <a:pt x="728" y="350"/>
                  </a:lnTo>
                  <a:lnTo>
                    <a:pt x="723" y="362"/>
                  </a:lnTo>
                  <a:lnTo>
                    <a:pt x="718" y="373"/>
                  </a:lnTo>
                  <a:lnTo>
                    <a:pt x="712" y="383"/>
                  </a:lnTo>
                  <a:lnTo>
                    <a:pt x="705" y="393"/>
                  </a:lnTo>
                  <a:lnTo>
                    <a:pt x="698" y="401"/>
                  </a:lnTo>
                  <a:lnTo>
                    <a:pt x="729" y="433"/>
                  </a:lnTo>
                  <a:close/>
                  <a:moveTo>
                    <a:pt x="616" y="225"/>
                  </a:moveTo>
                  <a:lnTo>
                    <a:pt x="616" y="225"/>
                  </a:lnTo>
                  <a:lnTo>
                    <a:pt x="610" y="226"/>
                  </a:lnTo>
                  <a:lnTo>
                    <a:pt x="604" y="227"/>
                  </a:lnTo>
                  <a:lnTo>
                    <a:pt x="598" y="230"/>
                  </a:lnTo>
                  <a:lnTo>
                    <a:pt x="592" y="232"/>
                  </a:lnTo>
                  <a:lnTo>
                    <a:pt x="587" y="236"/>
                  </a:lnTo>
                  <a:lnTo>
                    <a:pt x="582" y="240"/>
                  </a:lnTo>
                  <a:lnTo>
                    <a:pt x="573" y="250"/>
                  </a:lnTo>
                  <a:lnTo>
                    <a:pt x="565" y="263"/>
                  </a:lnTo>
                  <a:lnTo>
                    <a:pt x="559" y="278"/>
                  </a:lnTo>
                  <a:lnTo>
                    <a:pt x="556" y="294"/>
                  </a:lnTo>
                  <a:lnTo>
                    <a:pt x="555" y="311"/>
                  </a:lnTo>
                  <a:lnTo>
                    <a:pt x="555" y="311"/>
                  </a:lnTo>
                  <a:lnTo>
                    <a:pt x="556" y="329"/>
                  </a:lnTo>
                  <a:lnTo>
                    <a:pt x="559" y="345"/>
                  </a:lnTo>
                  <a:lnTo>
                    <a:pt x="565" y="361"/>
                  </a:lnTo>
                  <a:lnTo>
                    <a:pt x="573" y="373"/>
                  </a:lnTo>
                  <a:lnTo>
                    <a:pt x="582" y="383"/>
                  </a:lnTo>
                  <a:lnTo>
                    <a:pt x="587" y="388"/>
                  </a:lnTo>
                  <a:lnTo>
                    <a:pt x="592" y="392"/>
                  </a:lnTo>
                  <a:lnTo>
                    <a:pt x="598" y="394"/>
                  </a:lnTo>
                  <a:lnTo>
                    <a:pt x="604" y="397"/>
                  </a:lnTo>
                  <a:lnTo>
                    <a:pt x="610" y="398"/>
                  </a:lnTo>
                  <a:lnTo>
                    <a:pt x="616" y="398"/>
                  </a:lnTo>
                  <a:lnTo>
                    <a:pt x="616" y="398"/>
                  </a:lnTo>
                  <a:lnTo>
                    <a:pt x="621" y="398"/>
                  </a:lnTo>
                  <a:lnTo>
                    <a:pt x="627" y="397"/>
                  </a:lnTo>
                  <a:lnTo>
                    <a:pt x="636" y="393"/>
                  </a:lnTo>
                  <a:lnTo>
                    <a:pt x="607" y="364"/>
                  </a:lnTo>
                  <a:lnTo>
                    <a:pt x="659" y="364"/>
                  </a:lnTo>
                  <a:lnTo>
                    <a:pt x="663" y="367"/>
                  </a:lnTo>
                  <a:lnTo>
                    <a:pt x="663" y="367"/>
                  </a:lnTo>
                  <a:lnTo>
                    <a:pt x="668" y="355"/>
                  </a:lnTo>
                  <a:lnTo>
                    <a:pt x="672" y="341"/>
                  </a:lnTo>
                  <a:lnTo>
                    <a:pt x="675" y="327"/>
                  </a:lnTo>
                  <a:lnTo>
                    <a:pt x="676" y="311"/>
                  </a:lnTo>
                  <a:lnTo>
                    <a:pt x="676" y="311"/>
                  </a:lnTo>
                  <a:lnTo>
                    <a:pt x="675" y="294"/>
                  </a:lnTo>
                  <a:lnTo>
                    <a:pt x="671" y="278"/>
                  </a:lnTo>
                  <a:lnTo>
                    <a:pt x="666" y="263"/>
                  </a:lnTo>
                  <a:lnTo>
                    <a:pt x="659" y="250"/>
                  </a:lnTo>
                  <a:lnTo>
                    <a:pt x="649" y="240"/>
                  </a:lnTo>
                  <a:lnTo>
                    <a:pt x="645" y="236"/>
                  </a:lnTo>
                  <a:lnTo>
                    <a:pt x="640" y="232"/>
                  </a:lnTo>
                  <a:lnTo>
                    <a:pt x="634" y="230"/>
                  </a:lnTo>
                  <a:lnTo>
                    <a:pt x="628" y="227"/>
                  </a:lnTo>
                  <a:lnTo>
                    <a:pt x="622" y="226"/>
                  </a:lnTo>
                  <a:lnTo>
                    <a:pt x="616" y="225"/>
                  </a:lnTo>
                  <a:lnTo>
                    <a:pt x="616" y="22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44" name="Group 1543">
            <a:extLst>
              <a:ext uri="{FF2B5EF4-FFF2-40B4-BE49-F238E27FC236}">
                <a16:creationId xmlns:a16="http://schemas.microsoft.com/office/drawing/2014/main" id="{0660C3F6-F52F-43C8-B7E6-01A2008C2812}"/>
              </a:ext>
            </a:extLst>
          </p:cNvPr>
          <p:cNvGrpSpPr/>
          <p:nvPr/>
        </p:nvGrpSpPr>
        <p:grpSpPr>
          <a:xfrm>
            <a:off x="5388906" y="4718957"/>
            <a:ext cx="612775" cy="612775"/>
            <a:chOff x="4234277" y="5357300"/>
            <a:chExt cx="612775" cy="612775"/>
          </a:xfrm>
        </p:grpSpPr>
        <p:sp>
          <p:nvSpPr>
            <p:cNvPr id="1545" name="Oval 1544">
              <a:extLst>
                <a:ext uri="{FF2B5EF4-FFF2-40B4-BE49-F238E27FC236}">
                  <a16:creationId xmlns:a16="http://schemas.microsoft.com/office/drawing/2014/main" id="{A5062830-662D-4B12-9AA0-486FFC273A47}"/>
                </a:ext>
              </a:extLst>
            </p:cNvPr>
            <p:cNvSpPr/>
            <p:nvPr/>
          </p:nvSpPr>
          <p:spPr bwMode="ltGray">
            <a:xfrm>
              <a:off x="4234277" y="5357300"/>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46" name="Freeform 106">
              <a:extLst>
                <a:ext uri="{FF2B5EF4-FFF2-40B4-BE49-F238E27FC236}">
                  <a16:creationId xmlns:a16="http://schemas.microsoft.com/office/drawing/2014/main" id="{8769E1AE-B3F5-425E-A5CF-5F092F7E1DB3}"/>
                </a:ext>
              </a:extLst>
            </p:cNvPr>
            <p:cNvSpPr>
              <a:spLocks noEditPoints="1"/>
            </p:cNvSpPr>
            <p:nvPr/>
          </p:nvSpPr>
          <p:spPr bwMode="auto">
            <a:xfrm>
              <a:off x="4355158" y="5487633"/>
              <a:ext cx="400050" cy="382588"/>
            </a:xfrm>
            <a:custGeom>
              <a:avLst/>
              <a:gdLst>
                <a:gd name="T0" fmla="*/ 516 w 757"/>
                <a:gd name="T1" fmla="*/ 488 h 724"/>
                <a:gd name="T2" fmla="*/ 457 w 757"/>
                <a:gd name="T3" fmla="*/ 287 h 724"/>
                <a:gd name="T4" fmla="*/ 451 w 757"/>
                <a:gd name="T5" fmla="*/ 323 h 724"/>
                <a:gd name="T6" fmla="*/ 432 w 757"/>
                <a:gd name="T7" fmla="*/ 352 h 724"/>
                <a:gd name="T8" fmla="*/ 403 w 757"/>
                <a:gd name="T9" fmla="*/ 370 h 724"/>
                <a:gd name="T10" fmla="*/ 367 w 757"/>
                <a:gd name="T11" fmla="*/ 378 h 724"/>
                <a:gd name="T12" fmla="*/ 333 w 757"/>
                <a:gd name="T13" fmla="*/ 579 h 724"/>
                <a:gd name="T14" fmla="*/ 359 w 757"/>
                <a:gd name="T15" fmla="*/ 618 h 724"/>
                <a:gd name="T16" fmla="*/ 559 w 757"/>
                <a:gd name="T17" fmla="*/ 629 h 724"/>
                <a:gd name="T18" fmla="*/ 694 w 757"/>
                <a:gd name="T19" fmla="*/ 629 h 724"/>
                <a:gd name="T20" fmla="*/ 739 w 757"/>
                <a:gd name="T21" fmla="*/ 611 h 724"/>
                <a:gd name="T22" fmla="*/ 757 w 757"/>
                <a:gd name="T23" fmla="*/ 566 h 724"/>
                <a:gd name="T24" fmla="*/ 752 w 757"/>
                <a:gd name="T25" fmla="*/ 322 h 724"/>
                <a:gd name="T26" fmla="*/ 718 w 757"/>
                <a:gd name="T27" fmla="*/ 289 h 724"/>
                <a:gd name="T28" fmla="*/ 599 w 757"/>
                <a:gd name="T29" fmla="*/ 566 h 724"/>
                <a:gd name="T30" fmla="*/ 438 w 757"/>
                <a:gd name="T31" fmla="*/ 566 h 724"/>
                <a:gd name="T32" fmla="*/ 599 w 757"/>
                <a:gd name="T33" fmla="*/ 566 h 724"/>
                <a:gd name="T34" fmla="*/ 424 w 757"/>
                <a:gd name="T35" fmla="*/ 51 h 724"/>
                <a:gd name="T36" fmla="*/ 398 w 757"/>
                <a:gd name="T37" fmla="*/ 11 h 724"/>
                <a:gd name="T38" fmla="*/ 63 w 757"/>
                <a:gd name="T39" fmla="*/ 0 h 724"/>
                <a:gd name="T40" fmla="*/ 28 w 757"/>
                <a:gd name="T41" fmla="*/ 11 h 724"/>
                <a:gd name="T42" fmla="*/ 1 w 757"/>
                <a:gd name="T43" fmla="*/ 51 h 724"/>
                <a:gd name="T44" fmla="*/ 1 w 757"/>
                <a:gd name="T45" fmla="*/ 296 h 724"/>
                <a:gd name="T46" fmla="*/ 28 w 757"/>
                <a:gd name="T47" fmla="*/ 335 h 724"/>
                <a:gd name="T48" fmla="*/ 95 w 757"/>
                <a:gd name="T49" fmla="*/ 346 h 724"/>
                <a:gd name="T50" fmla="*/ 363 w 757"/>
                <a:gd name="T51" fmla="*/ 346 h 724"/>
                <a:gd name="T52" fmla="*/ 407 w 757"/>
                <a:gd name="T53" fmla="*/ 328 h 724"/>
                <a:gd name="T54" fmla="*/ 426 w 757"/>
                <a:gd name="T55" fmla="*/ 284 h 724"/>
                <a:gd name="T56" fmla="*/ 260 w 757"/>
                <a:gd name="T57" fmla="*/ 275 h 724"/>
                <a:gd name="T58" fmla="*/ 226 w 757"/>
                <a:gd name="T59" fmla="*/ 286 h 724"/>
                <a:gd name="T60" fmla="*/ 192 w 757"/>
                <a:gd name="T61" fmla="*/ 285 h 724"/>
                <a:gd name="T62" fmla="*/ 153 w 757"/>
                <a:gd name="T63" fmla="*/ 268 h 724"/>
                <a:gd name="T64" fmla="*/ 124 w 757"/>
                <a:gd name="T65" fmla="*/ 237 h 724"/>
                <a:gd name="T66" fmla="*/ 109 w 757"/>
                <a:gd name="T67" fmla="*/ 196 h 724"/>
                <a:gd name="T68" fmla="*/ 107 w 757"/>
                <a:gd name="T69" fmla="*/ 161 h 724"/>
                <a:gd name="T70" fmla="*/ 119 w 757"/>
                <a:gd name="T71" fmla="*/ 119 h 724"/>
                <a:gd name="T72" fmla="*/ 145 w 757"/>
                <a:gd name="T73" fmla="*/ 86 h 724"/>
                <a:gd name="T74" fmla="*/ 181 w 757"/>
                <a:gd name="T75" fmla="*/ 64 h 724"/>
                <a:gd name="T76" fmla="*/ 213 w 757"/>
                <a:gd name="T77" fmla="*/ 59 h 724"/>
                <a:gd name="T78" fmla="*/ 254 w 757"/>
                <a:gd name="T79" fmla="*/ 69 h 724"/>
                <a:gd name="T80" fmla="*/ 288 w 757"/>
                <a:gd name="T81" fmla="*/ 93 h 724"/>
                <a:gd name="T82" fmla="*/ 311 w 757"/>
                <a:gd name="T83" fmla="*/ 129 h 724"/>
                <a:gd name="T84" fmla="*/ 320 w 757"/>
                <a:gd name="T85" fmla="*/ 173 h 724"/>
                <a:gd name="T86" fmla="*/ 315 w 757"/>
                <a:gd name="T87" fmla="*/ 208 h 724"/>
                <a:gd name="T88" fmla="*/ 294 w 757"/>
                <a:gd name="T89" fmla="*/ 247 h 724"/>
                <a:gd name="T90" fmla="*/ 213 w 757"/>
                <a:gd name="T91" fmla="*/ 95 h 724"/>
                <a:gd name="T92" fmla="*/ 192 w 757"/>
                <a:gd name="T93" fmla="*/ 101 h 724"/>
                <a:gd name="T94" fmla="*/ 162 w 757"/>
                <a:gd name="T95" fmla="*/ 143 h 724"/>
                <a:gd name="T96" fmla="*/ 159 w 757"/>
                <a:gd name="T97" fmla="*/ 189 h 724"/>
                <a:gd name="T98" fmla="*/ 182 w 757"/>
                <a:gd name="T99" fmla="*/ 238 h 724"/>
                <a:gd name="T100" fmla="*/ 207 w 757"/>
                <a:gd name="T101" fmla="*/ 251 h 724"/>
                <a:gd name="T102" fmla="*/ 232 w 757"/>
                <a:gd name="T103" fmla="*/ 247 h 724"/>
                <a:gd name="T104" fmla="*/ 256 w 757"/>
                <a:gd name="T105" fmla="*/ 224 h 724"/>
                <a:gd name="T106" fmla="*/ 268 w 757"/>
                <a:gd name="T107" fmla="*/ 173 h 724"/>
                <a:gd name="T108" fmla="*/ 259 w 757"/>
                <a:gd name="T109" fmla="*/ 129 h 724"/>
                <a:gd name="T110" fmla="*/ 229 w 757"/>
                <a:gd name="T111" fmla="*/ 99 h 724"/>
                <a:gd name="T112" fmla="*/ 213 w 757"/>
                <a:gd name="T113" fmla="*/ 95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57" h="724">
                  <a:moveTo>
                    <a:pt x="516" y="488"/>
                  </a:moveTo>
                  <a:lnTo>
                    <a:pt x="573" y="488"/>
                  </a:lnTo>
                  <a:lnTo>
                    <a:pt x="544" y="404"/>
                  </a:lnTo>
                  <a:lnTo>
                    <a:pt x="516" y="488"/>
                  </a:lnTo>
                  <a:close/>
                  <a:moveTo>
                    <a:pt x="694" y="284"/>
                  </a:moveTo>
                  <a:lnTo>
                    <a:pt x="457" y="284"/>
                  </a:lnTo>
                  <a:lnTo>
                    <a:pt x="457" y="287"/>
                  </a:lnTo>
                  <a:lnTo>
                    <a:pt x="457" y="287"/>
                  </a:lnTo>
                  <a:lnTo>
                    <a:pt x="457" y="297"/>
                  </a:lnTo>
                  <a:lnTo>
                    <a:pt x="456" y="307"/>
                  </a:lnTo>
                  <a:lnTo>
                    <a:pt x="453" y="315"/>
                  </a:lnTo>
                  <a:lnTo>
                    <a:pt x="451" y="323"/>
                  </a:lnTo>
                  <a:lnTo>
                    <a:pt x="447" y="331"/>
                  </a:lnTo>
                  <a:lnTo>
                    <a:pt x="442" y="339"/>
                  </a:lnTo>
                  <a:lnTo>
                    <a:pt x="438" y="345"/>
                  </a:lnTo>
                  <a:lnTo>
                    <a:pt x="432" y="352"/>
                  </a:lnTo>
                  <a:lnTo>
                    <a:pt x="426" y="357"/>
                  </a:lnTo>
                  <a:lnTo>
                    <a:pt x="418" y="363"/>
                  </a:lnTo>
                  <a:lnTo>
                    <a:pt x="411" y="367"/>
                  </a:lnTo>
                  <a:lnTo>
                    <a:pt x="403" y="370"/>
                  </a:lnTo>
                  <a:lnTo>
                    <a:pt x="394" y="374"/>
                  </a:lnTo>
                  <a:lnTo>
                    <a:pt x="386" y="376"/>
                  </a:lnTo>
                  <a:lnTo>
                    <a:pt x="376" y="378"/>
                  </a:lnTo>
                  <a:lnTo>
                    <a:pt x="367" y="378"/>
                  </a:lnTo>
                  <a:lnTo>
                    <a:pt x="332" y="378"/>
                  </a:lnTo>
                  <a:lnTo>
                    <a:pt x="332" y="566"/>
                  </a:lnTo>
                  <a:lnTo>
                    <a:pt x="332" y="566"/>
                  </a:lnTo>
                  <a:lnTo>
                    <a:pt x="333" y="579"/>
                  </a:lnTo>
                  <a:lnTo>
                    <a:pt x="336" y="590"/>
                  </a:lnTo>
                  <a:lnTo>
                    <a:pt x="342" y="601"/>
                  </a:lnTo>
                  <a:lnTo>
                    <a:pt x="350" y="611"/>
                  </a:lnTo>
                  <a:lnTo>
                    <a:pt x="359" y="618"/>
                  </a:lnTo>
                  <a:lnTo>
                    <a:pt x="370" y="624"/>
                  </a:lnTo>
                  <a:lnTo>
                    <a:pt x="382" y="628"/>
                  </a:lnTo>
                  <a:lnTo>
                    <a:pt x="394" y="629"/>
                  </a:lnTo>
                  <a:lnTo>
                    <a:pt x="559" y="629"/>
                  </a:lnTo>
                  <a:lnTo>
                    <a:pt x="663" y="724"/>
                  </a:lnTo>
                  <a:lnTo>
                    <a:pt x="663" y="629"/>
                  </a:lnTo>
                  <a:lnTo>
                    <a:pt x="694" y="629"/>
                  </a:lnTo>
                  <a:lnTo>
                    <a:pt x="694" y="629"/>
                  </a:lnTo>
                  <a:lnTo>
                    <a:pt x="706" y="628"/>
                  </a:lnTo>
                  <a:lnTo>
                    <a:pt x="718" y="624"/>
                  </a:lnTo>
                  <a:lnTo>
                    <a:pt x="729" y="618"/>
                  </a:lnTo>
                  <a:lnTo>
                    <a:pt x="739" y="611"/>
                  </a:lnTo>
                  <a:lnTo>
                    <a:pt x="746" y="601"/>
                  </a:lnTo>
                  <a:lnTo>
                    <a:pt x="752" y="590"/>
                  </a:lnTo>
                  <a:lnTo>
                    <a:pt x="756" y="579"/>
                  </a:lnTo>
                  <a:lnTo>
                    <a:pt x="757" y="566"/>
                  </a:lnTo>
                  <a:lnTo>
                    <a:pt x="757" y="346"/>
                  </a:lnTo>
                  <a:lnTo>
                    <a:pt x="757" y="346"/>
                  </a:lnTo>
                  <a:lnTo>
                    <a:pt x="756" y="333"/>
                  </a:lnTo>
                  <a:lnTo>
                    <a:pt x="752" y="322"/>
                  </a:lnTo>
                  <a:lnTo>
                    <a:pt x="746" y="311"/>
                  </a:lnTo>
                  <a:lnTo>
                    <a:pt x="739" y="302"/>
                  </a:lnTo>
                  <a:lnTo>
                    <a:pt x="729" y="295"/>
                  </a:lnTo>
                  <a:lnTo>
                    <a:pt x="718" y="289"/>
                  </a:lnTo>
                  <a:lnTo>
                    <a:pt x="706" y="285"/>
                  </a:lnTo>
                  <a:lnTo>
                    <a:pt x="694" y="284"/>
                  </a:lnTo>
                  <a:lnTo>
                    <a:pt x="694" y="284"/>
                  </a:lnTo>
                  <a:close/>
                  <a:moveTo>
                    <a:pt x="599" y="566"/>
                  </a:moveTo>
                  <a:lnTo>
                    <a:pt x="583" y="519"/>
                  </a:lnTo>
                  <a:lnTo>
                    <a:pt x="505" y="519"/>
                  </a:lnTo>
                  <a:lnTo>
                    <a:pt x="489" y="566"/>
                  </a:lnTo>
                  <a:lnTo>
                    <a:pt x="438" y="566"/>
                  </a:lnTo>
                  <a:lnTo>
                    <a:pt x="521" y="346"/>
                  </a:lnTo>
                  <a:lnTo>
                    <a:pt x="568" y="346"/>
                  </a:lnTo>
                  <a:lnTo>
                    <a:pt x="651" y="566"/>
                  </a:lnTo>
                  <a:lnTo>
                    <a:pt x="599" y="566"/>
                  </a:lnTo>
                  <a:close/>
                  <a:moveTo>
                    <a:pt x="426" y="284"/>
                  </a:moveTo>
                  <a:lnTo>
                    <a:pt x="426" y="63"/>
                  </a:lnTo>
                  <a:lnTo>
                    <a:pt x="426" y="63"/>
                  </a:lnTo>
                  <a:lnTo>
                    <a:pt x="424" y="51"/>
                  </a:lnTo>
                  <a:lnTo>
                    <a:pt x="421" y="39"/>
                  </a:lnTo>
                  <a:lnTo>
                    <a:pt x="415" y="28"/>
                  </a:lnTo>
                  <a:lnTo>
                    <a:pt x="407" y="18"/>
                  </a:lnTo>
                  <a:lnTo>
                    <a:pt x="398" y="11"/>
                  </a:lnTo>
                  <a:lnTo>
                    <a:pt x="387" y="5"/>
                  </a:lnTo>
                  <a:lnTo>
                    <a:pt x="375" y="1"/>
                  </a:lnTo>
                  <a:lnTo>
                    <a:pt x="363" y="0"/>
                  </a:lnTo>
                  <a:lnTo>
                    <a:pt x="63" y="0"/>
                  </a:lnTo>
                  <a:lnTo>
                    <a:pt x="63" y="0"/>
                  </a:lnTo>
                  <a:lnTo>
                    <a:pt x="51" y="1"/>
                  </a:lnTo>
                  <a:lnTo>
                    <a:pt x="39" y="5"/>
                  </a:lnTo>
                  <a:lnTo>
                    <a:pt x="28" y="11"/>
                  </a:lnTo>
                  <a:lnTo>
                    <a:pt x="18" y="18"/>
                  </a:lnTo>
                  <a:lnTo>
                    <a:pt x="11" y="28"/>
                  </a:lnTo>
                  <a:lnTo>
                    <a:pt x="5" y="39"/>
                  </a:lnTo>
                  <a:lnTo>
                    <a:pt x="1" y="51"/>
                  </a:lnTo>
                  <a:lnTo>
                    <a:pt x="0" y="63"/>
                  </a:lnTo>
                  <a:lnTo>
                    <a:pt x="0" y="284"/>
                  </a:lnTo>
                  <a:lnTo>
                    <a:pt x="0" y="284"/>
                  </a:lnTo>
                  <a:lnTo>
                    <a:pt x="1" y="296"/>
                  </a:lnTo>
                  <a:lnTo>
                    <a:pt x="5" y="308"/>
                  </a:lnTo>
                  <a:lnTo>
                    <a:pt x="11" y="319"/>
                  </a:lnTo>
                  <a:lnTo>
                    <a:pt x="18" y="328"/>
                  </a:lnTo>
                  <a:lnTo>
                    <a:pt x="28" y="335"/>
                  </a:lnTo>
                  <a:lnTo>
                    <a:pt x="39" y="342"/>
                  </a:lnTo>
                  <a:lnTo>
                    <a:pt x="51" y="345"/>
                  </a:lnTo>
                  <a:lnTo>
                    <a:pt x="63" y="346"/>
                  </a:lnTo>
                  <a:lnTo>
                    <a:pt x="95" y="346"/>
                  </a:lnTo>
                  <a:lnTo>
                    <a:pt x="95" y="440"/>
                  </a:lnTo>
                  <a:lnTo>
                    <a:pt x="198" y="346"/>
                  </a:lnTo>
                  <a:lnTo>
                    <a:pt x="363" y="346"/>
                  </a:lnTo>
                  <a:lnTo>
                    <a:pt x="363" y="346"/>
                  </a:lnTo>
                  <a:lnTo>
                    <a:pt x="375" y="345"/>
                  </a:lnTo>
                  <a:lnTo>
                    <a:pt x="387" y="342"/>
                  </a:lnTo>
                  <a:lnTo>
                    <a:pt x="398" y="335"/>
                  </a:lnTo>
                  <a:lnTo>
                    <a:pt x="407" y="328"/>
                  </a:lnTo>
                  <a:lnTo>
                    <a:pt x="415" y="319"/>
                  </a:lnTo>
                  <a:lnTo>
                    <a:pt x="421" y="308"/>
                  </a:lnTo>
                  <a:lnTo>
                    <a:pt x="424" y="296"/>
                  </a:lnTo>
                  <a:lnTo>
                    <a:pt x="426" y="284"/>
                  </a:lnTo>
                  <a:lnTo>
                    <a:pt x="426" y="284"/>
                  </a:lnTo>
                  <a:close/>
                  <a:moveTo>
                    <a:pt x="316" y="284"/>
                  </a:moveTo>
                  <a:lnTo>
                    <a:pt x="268" y="284"/>
                  </a:lnTo>
                  <a:lnTo>
                    <a:pt x="260" y="275"/>
                  </a:lnTo>
                  <a:lnTo>
                    <a:pt x="260" y="275"/>
                  </a:lnTo>
                  <a:lnTo>
                    <a:pt x="250" y="280"/>
                  </a:lnTo>
                  <a:lnTo>
                    <a:pt x="238" y="284"/>
                  </a:lnTo>
                  <a:lnTo>
                    <a:pt x="226" y="286"/>
                  </a:lnTo>
                  <a:lnTo>
                    <a:pt x="213" y="287"/>
                  </a:lnTo>
                  <a:lnTo>
                    <a:pt x="213" y="287"/>
                  </a:lnTo>
                  <a:lnTo>
                    <a:pt x="203" y="286"/>
                  </a:lnTo>
                  <a:lnTo>
                    <a:pt x="192" y="285"/>
                  </a:lnTo>
                  <a:lnTo>
                    <a:pt x="181" y="283"/>
                  </a:lnTo>
                  <a:lnTo>
                    <a:pt x="171" y="278"/>
                  </a:lnTo>
                  <a:lnTo>
                    <a:pt x="163" y="273"/>
                  </a:lnTo>
                  <a:lnTo>
                    <a:pt x="153" y="268"/>
                  </a:lnTo>
                  <a:lnTo>
                    <a:pt x="145" y="261"/>
                  </a:lnTo>
                  <a:lnTo>
                    <a:pt x="138" y="254"/>
                  </a:lnTo>
                  <a:lnTo>
                    <a:pt x="132" y="245"/>
                  </a:lnTo>
                  <a:lnTo>
                    <a:pt x="124" y="237"/>
                  </a:lnTo>
                  <a:lnTo>
                    <a:pt x="119" y="227"/>
                  </a:lnTo>
                  <a:lnTo>
                    <a:pt x="115" y="218"/>
                  </a:lnTo>
                  <a:lnTo>
                    <a:pt x="111" y="207"/>
                  </a:lnTo>
                  <a:lnTo>
                    <a:pt x="109" y="196"/>
                  </a:lnTo>
                  <a:lnTo>
                    <a:pt x="107" y="185"/>
                  </a:lnTo>
                  <a:lnTo>
                    <a:pt x="106" y="173"/>
                  </a:lnTo>
                  <a:lnTo>
                    <a:pt x="106" y="173"/>
                  </a:lnTo>
                  <a:lnTo>
                    <a:pt x="107" y="161"/>
                  </a:lnTo>
                  <a:lnTo>
                    <a:pt x="109" y="150"/>
                  </a:lnTo>
                  <a:lnTo>
                    <a:pt x="111" y="140"/>
                  </a:lnTo>
                  <a:lnTo>
                    <a:pt x="115" y="129"/>
                  </a:lnTo>
                  <a:lnTo>
                    <a:pt x="119" y="119"/>
                  </a:lnTo>
                  <a:lnTo>
                    <a:pt x="124" y="110"/>
                  </a:lnTo>
                  <a:lnTo>
                    <a:pt x="132" y="101"/>
                  </a:lnTo>
                  <a:lnTo>
                    <a:pt x="138" y="93"/>
                  </a:lnTo>
                  <a:lnTo>
                    <a:pt x="145" y="86"/>
                  </a:lnTo>
                  <a:lnTo>
                    <a:pt x="153" y="78"/>
                  </a:lnTo>
                  <a:lnTo>
                    <a:pt x="163" y="73"/>
                  </a:lnTo>
                  <a:lnTo>
                    <a:pt x="171" y="69"/>
                  </a:lnTo>
                  <a:lnTo>
                    <a:pt x="181" y="64"/>
                  </a:lnTo>
                  <a:lnTo>
                    <a:pt x="192" y="61"/>
                  </a:lnTo>
                  <a:lnTo>
                    <a:pt x="203" y="60"/>
                  </a:lnTo>
                  <a:lnTo>
                    <a:pt x="213" y="59"/>
                  </a:lnTo>
                  <a:lnTo>
                    <a:pt x="213" y="59"/>
                  </a:lnTo>
                  <a:lnTo>
                    <a:pt x="224" y="60"/>
                  </a:lnTo>
                  <a:lnTo>
                    <a:pt x="234" y="61"/>
                  </a:lnTo>
                  <a:lnTo>
                    <a:pt x="245" y="64"/>
                  </a:lnTo>
                  <a:lnTo>
                    <a:pt x="254" y="69"/>
                  </a:lnTo>
                  <a:lnTo>
                    <a:pt x="264" y="73"/>
                  </a:lnTo>
                  <a:lnTo>
                    <a:pt x="273" y="78"/>
                  </a:lnTo>
                  <a:lnTo>
                    <a:pt x="281" y="86"/>
                  </a:lnTo>
                  <a:lnTo>
                    <a:pt x="288" y="93"/>
                  </a:lnTo>
                  <a:lnTo>
                    <a:pt x="295" y="101"/>
                  </a:lnTo>
                  <a:lnTo>
                    <a:pt x="301" y="110"/>
                  </a:lnTo>
                  <a:lnTo>
                    <a:pt x="306" y="119"/>
                  </a:lnTo>
                  <a:lnTo>
                    <a:pt x="311" y="129"/>
                  </a:lnTo>
                  <a:lnTo>
                    <a:pt x="315" y="140"/>
                  </a:lnTo>
                  <a:lnTo>
                    <a:pt x="317" y="150"/>
                  </a:lnTo>
                  <a:lnTo>
                    <a:pt x="320" y="161"/>
                  </a:lnTo>
                  <a:lnTo>
                    <a:pt x="320" y="173"/>
                  </a:lnTo>
                  <a:lnTo>
                    <a:pt x="320" y="173"/>
                  </a:lnTo>
                  <a:lnTo>
                    <a:pt x="318" y="185"/>
                  </a:lnTo>
                  <a:lnTo>
                    <a:pt x="317" y="196"/>
                  </a:lnTo>
                  <a:lnTo>
                    <a:pt x="315" y="208"/>
                  </a:lnTo>
                  <a:lnTo>
                    <a:pt x="311" y="219"/>
                  </a:lnTo>
                  <a:lnTo>
                    <a:pt x="306" y="229"/>
                  </a:lnTo>
                  <a:lnTo>
                    <a:pt x="300" y="238"/>
                  </a:lnTo>
                  <a:lnTo>
                    <a:pt x="294" y="247"/>
                  </a:lnTo>
                  <a:lnTo>
                    <a:pt x="287" y="255"/>
                  </a:lnTo>
                  <a:lnTo>
                    <a:pt x="316" y="284"/>
                  </a:lnTo>
                  <a:close/>
                  <a:moveTo>
                    <a:pt x="213" y="95"/>
                  </a:moveTo>
                  <a:lnTo>
                    <a:pt x="213" y="95"/>
                  </a:lnTo>
                  <a:lnTo>
                    <a:pt x="207" y="95"/>
                  </a:lnTo>
                  <a:lnTo>
                    <a:pt x="201" y="96"/>
                  </a:lnTo>
                  <a:lnTo>
                    <a:pt x="197" y="99"/>
                  </a:lnTo>
                  <a:lnTo>
                    <a:pt x="192" y="101"/>
                  </a:lnTo>
                  <a:lnTo>
                    <a:pt x="182" y="108"/>
                  </a:lnTo>
                  <a:lnTo>
                    <a:pt x="174" y="118"/>
                  </a:lnTo>
                  <a:lnTo>
                    <a:pt x="168" y="129"/>
                  </a:lnTo>
                  <a:lnTo>
                    <a:pt x="162" y="143"/>
                  </a:lnTo>
                  <a:lnTo>
                    <a:pt x="159" y="158"/>
                  </a:lnTo>
                  <a:lnTo>
                    <a:pt x="158" y="173"/>
                  </a:lnTo>
                  <a:lnTo>
                    <a:pt x="158" y="173"/>
                  </a:lnTo>
                  <a:lnTo>
                    <a:pt x="159" y="189"/>
                  </a:lnTo>
                  <a:lnTo>
                    <a:pt x="162" y="203"/>
                  </a:lnTo>
                  <a:lnTo>
                    <a:pt x="168" y="218"/>
                  </a:lnTo>
                  <a:lnTo>
                    <a:pt x="174" y="229"/>
                  </a:lnTo>
                  <a:lnTo>
                    <a:pt x="182" y="238"/>
                  </a:lnTo>
                  <a:lnTo>
                    <a:pt x="192" y="245"/>
                  </a:lnTo>
                  <a:lnTo>
                    <a:pt x="197" y="248"/>
                  </a:lnTo>
                  <a:lnTo>
                    <a:pt x="201" y="250"/>
                  </a:lnTo>
                  <a:lnTo>
                    <a:pt x="207" y="251"/>
                  </a:lnTo>
                  <a:lnTo>
                    <a:pt x="213" y="251"/>
                  </a:lnTo>
                  <a:lnTo>
                    <a:pt x="213" y="251"/>
                  </a:lnTo>
                  <a:lnTo>
                    <a:pt x="223" y="250"/>
                  </a:lnTo>
                  <a:lnTo>
                    <a:pt x="232" y="247"/>
                  </a:lnTo>
                  <a:lnTo>
                    <a:pt x="205" y="220"/>
                  </a:lnTo>
                  <a:lnTo>
                    <a:pt x="252" y="220"/>
                  </a:lnTo>
                  <a:lnTo>
                    <a:pt x="256" y="224"/>
                  </a:lnTo>
                  <a:lnTo>
                    <a:pt x="256" y="224"/>
                  </a:lnTo>
                  <a:lnTo>
                    <a:pt x="260" y="213"/>
                  </a:lnTo>
                  <a:lnTo>
                    <a:pt x="265" y="201"/>
                  </a:lnTo>
                  <a:lnTo>
                    <a:pt x="268" y="188"/>
                  </a:lnTo>
                  <a:lnTo>
                    <a:pt x="268" y="173"/>
                  </a:lnTo>
                  <a:lnTo>
                    <a:pt x="268" y="173"/>
                  </a:lnTo>
                  <a:lnTo>
                    <a:pt x="268" y="158"/>
                  </a:lnTo>
                  <a:lnTo>
                    <a:pt x="264" y="143"/>
                  </a:lnTo>
                  <a:lnTo>
                    <a:pt x="259" y="129"/>
                  </a:lnTo>
                  <a:lnTo>
                    <a:pt x="252" y="118"/>
                  </a:lnTo>
                  <a:lnTo>
                    <a:pt x="244" y="108"/>
                  </a:lnTo>
                  <a:lnTo>
                    <a:pt x="234" y="101"/>
                  </a:lnTo>
                  <a:lnTo>
                    <a:pt x="229" y="99"/>
                  </a:lnTo>
                  <a:lnTo>
                    <a:pt x="224" y="96"/>
                  </a:lnTo>
                  <a:lnTo>
                    <a:pt x="218" y="95"/>
                  </a:lnTo>
                  <a:lnTo>
                    <a:pt x="213" y="95"/>
                  </a:lnTo>
                  <a:lnTo>
                    <a:pt x="213" y="9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47" name="Group 1546">
            <a:extLst>
              <a:ext uri="{FF2B5EF4-FFF2-40B4-BE49-F238E27FC236}">
                <a16:creationId xmlns:a16="http://schemas.microsoft.com/office/drawing/2014/main" id="{D2A6AD5A-E936-47B1-BB67-0E41579406C3}"/>
              </a:ext>
            </a:extLst>
          </p:cNvPr>
          <p:cNvGrpSpPr/>
          <p:nvPr/>
        </p:nvGrpSpPr>
        <p:grpSpPr>
          <a:xfrm>
            <a:off x="3931853" y="4718957"/>
            <a:ext cx="612000" cy="612000"/>
            <a:chOff x="2777224" y="5357300"/>
            <a:chExt cx="612000" cy="612000"/>
          </a:xfrm>
        </p:grpSpPr>
        <p:sp>
          <p:nvSpPr>
            <p:cNvPr id="1548" name="Oval 1547">
              <a:extLst>
                <a:ext uri="{FF2B5EF4-FFF2-40B4-BE49-F238E27FC236}">
                  <a16:creationId xmlns:a16="http://schemas.microsoft.com/office/drawing/2014/main" id="{301533A9-429F-4DAB-ADFA-718D4FFB76F4}"/>
                </a:ext>
              </a:extLst>
            </p:cNvPr>
            <p:cNvSpPr/>
            <p:nvPr/>
          </p:nvSpPr>
          <p:spPr bwMode="ltGray">
            <a:xfrm>
              <a:off x="2777224" y="5357300"/>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49" name="Freeform 156">
              <a:extLst>
                <a:ext uri="{FF2B5EF4-FFF2-40B4-BE49-F238E27FC236}">
                  <a16:creationId xmlns:a16="http://schemas.microsoft.com/office/drawing/2014/main" id="{3682116D-A34B-46E6-AFB5-1CC2C79AEBFB}"/>
                </a:ext>
              </a:extLst>
            </p:cNvPr>
            <p:cNvSpPr>
              <a:spLocks noEditPoints="1"/>
            </p:cNvSpPr>
            <p:nvPr/>
          </p:nvSpPr>
          <p:spPr bwMode="auto">
            <a:xfrm>
              <a:off x="2858709" y="5464319"/>
              <a:ext cx="444500" cy="442913"/>
            </a:xfrm>
            <a:custGeom>
              <a:avLst/>
              <a:gdLst>
                <a:gd name="T0" fmla="*/ 391 w 839"/>
                <a:gd name="T1" fmla="*/ 661 h 839"/>
                <a:gd name="T2" fmla="*/ 301 w 839"/>
                <a:gd name="T3" fmla="*/ 598 h 839"/>
                <a:gd name="T4" fmla="*/ 241 w 839"/>
                <a:gd name="T5" fmla="*/ 537 h 839"/>
                <a:gd name="T6" fmla="*/ 177 w 839"/>
                <a:gd name="T7" fmla="*/ 448 h 839"/>
                <a:gd name="T8" fmla="*/ 172 w 839"/>
                <a:gd name="T9" fmla="*/ 419 h 839"/>
                <a:gd name="T10" fmla="*/ 218 w 839"/>
                <a:gd name="T11" fmla="*/ 376 h 839"/>
                <a:gd name="T12" fmla="*/ 183 w 839"/>
                <a:gd name="T13" fmla="*/ 140 h 839"/>
                <a:gd name="T14" fmla="*/ 103 w 839"/>
                <a:gd name="T15" fmla="*/ 144 h 839"/>
                <a:gd name="T16" fmla="*/ 56 w 839"/>
                <a:gd name="T17" fmla="*/ 185 h 839"/>
                <a:gd name="T18" fmla="*/ 13 w 839"/>
                <a:gd name="T19" fmla="*/ 252 h 839"/>
                <a:gd name="T20" fmla="*/ 0 w 839"/>
                <a:gd name="T21" fmla="*/ 306 h 839"/>
                <a:gd name="T22" fmla="*/ 12 w 839"/>
                <a:gd name="T23" fmla="*/ 387 h 839"/>
                <a:gd name="T24" fmla="*/ 59 w 839"/>
                <a:gd name="T25" fmla="*/ 496 h 839"/>
                <a:gd name="T26" fmla="*/ 157 w 839"/>
                <a:gd name="T27" fmla="*/ 628 h 839"/>
                <a:gd name="T28" fmla="*/ 265 w 839"/>
                <a:gd name="T29" fmla="*/ 728 h 839"/>
                <a:gd name="T30" fmla="*/ 389 w 839"/>
                <a:gd name="T31" fmla="*/ 804 h 839"/>
                <a:gd name="T32" fmla="*/ 488 w 839"/>
                <a:gd name="T33" fmla="*/ 835 h 839"/>
                <a:gd name="T34" fmla="*/ 546 w 839"/>
                <a:gd name="T35" fmla="*/ 837 h 839"/>
                <a:gd name="T36" fmla="*/ 615 w 839"/>
                <a:gd name="T37" fmla="*/ 811 h 839"/>
                <a:gd name="T38" fmla="*/ 674 w 839"/>
                <a:gd name="T39" fmla="*/ 764 h 839"/>
                <a:gd name="T40" fmla="*/ 699 w 839"/>
                <a:gd name="T41" fmla="*/ 722 h 839"/>
                <a:gd name="T42" fmla="*/ 497 w 839"/>
                <a:gd name="T43" fmla="*/ 573 h 839"/>
                <a:gd name="T44" fmla="*/ 439 w 839"/>
                <a:gd name="T45" fmla="*/ 653 h 839"/>
                <a:gd name="T46" fmla="*/ 413 w 839"/>
                <a:gd name="T47" fmla="*/ 667 h 839"/>
                <a:gd name="T48" fmla="*/ 499 w 839"/>
                <a:gd name="T49" fmla="*/ 10 h 839"/>
                <a:gd name="T50" fmla="*/ 392 w 839"/>
                <a:gd name="T51" fmla="*/ 66 h 839"/>
                <a:gd name="T52" fmla="*/ 327 w 839"/>
                <a:gd name="T53" fmla="*/ 159 h 839"/>
                <a:gd name="T54" fmla="*/ 315 w 839"/>
                <a:gd name="T55" fmla="*/ 240 h 839"/>
                <a:gd name="T56" fmla="*/ 328 w 839"/>
                <a:gd name="T57" fmla="*/ 299 h 839"/>
                <a:gd name="T58" fmla="*/ 401 w 839"/>
                <a:gd name="T59" fmla="*/ 395 h 839"/>
                <a:gd name="T60" fmla="*/ 527 w 839"/>
                <a:gd name="T61" fmla="*/ 449 h 839"/>
                <a:gd name="T62" fmla="*/ 629 w 839"/>
                <a:gd name="T63" fmla="*/ 449 h 839"/>
                <a:gd name="T64" fmla="*/ 744 w 839"/>
                <a:gd name="T65" fmla="*/ 402 h 839"/>
                <a:gd name="T66" fmla="*/ 818 w 839"/>
                <a:gd name="T67" fmla="*/ 316 h 839"/>
                <a:gd name="T68" fmla="*/ 839 w 839"/>
                <a:gd name="T69" fmla="*/ 226 h 839"/>
                <a:gd name="T70" fmla="*/ 807 w 839"/>
                <a:gd name="T71" fmla="*/ 119 h 839"/>
                <a:gd name="T72" fmla="*/ 723 w 839"/>
                <a:gd name="T73" fmla="*/ 38 h 839"/>
                <a:gd name="T74" fmla="*/ 604 w 839"/>
                <a:gd name="T75" fmla="*/ 1 h 839"/>
                <a:gd name="T76" fmla="*/ 430 w 839"/>
                <a:gd name="T77" fmla="*/ 261 h 839"/>
                <a:gd name="T78" fmla="*/ 405 w 839"/>
                <a:gd name="T79" fmla="*/ 241 h 839"/>
                <a:gd name="T80" fmla="*/ 405 w 839"/>
                <a:gd name="T81" fmla="*/ 213 h 839"/>
                <a:gd name="T82" fmla="*/ 430 w 839"/>
                <a:gd name="T83" fmla="*/ 193 h 839"/>
                <a:gd name="T84" fmla="*/ 457 w 839"/>
                <a:gd name="T85" fmla="*/ 197 h 839"/>
                <a:gd name="T86" fmla="*/ 472 w 839"/>
                <a:gd name="T87" fmla="*/ 226 h 839"/>
                <a:gd name="T88" fmla="*/ 462 w 839"/>
                <a:gd name="T89" fmla="*/ 252 h 839"/>
                <a:gd name="T90" fmla="*/ 438 w 839"/>
                <a:gd name="T91" fmla="*/ 261 h 839"/>
                <a:gd name="T92" fmla="*/ 557 w 839"/>
                <a:gd name="T93" fmla="*/ 257 h 839"/>
                <a:gd name="T94" fmla="*/ 542 w 839"/>
                <a:gd name="T95" fmla="*/ 226 h 839"/>
                <a:gd name="T96" fmla="*/ 552 w 839"/>
                <a:gd name="T97" fmla="*/ 202 h 839"/>
                <a:gd name="T98" fmla="*/ 577 w 839"/>
                <a:gd name="T99" fmla="*/ 191 h 839"/>
                <a:gd name="T100" fmla="*/ 606 w 839"/>
                <a:gd name="T101" fmla="*/ 207 h 839"/>
                <a:gd name="T102" fmla="*/ 611 w 839"/>
                <a:gd name="T103" fmla="*/ 234 h 839"/>
                <a:gd name="T104" fmla="*/ 591 w 839"/>
                <a:gd name="T105" fmla="*/ 259 h 839"/>
                <a:gd name="T106" fmla="*/ 717 w 839"/>
                <a:gd name="T107" fmla="*/ 261 h 839"/>
                <a:gd name="T108" fmla="*/ 687 w 839"/>
                <a:gd name="T109" fmla="*/ 247 h 839"/>
                <a:gd name="T110" fmla="*/ 682 w 839"/>
                <a:gd name="T111" fmla="*/ 220 h 839"/>
                <a:gd name="T112" fmla="*/ 703 w 839"/>
                <a:gd name="T113" fmla="*/ 195 h 839"/>
                <a:gd name="T114" fmla="*/ 730 w 839"/>
                <a:gd name="T115" fmla="*/ 195 h 839"/>
                <a:gd name="T116" fmla="*/ 751 w 839"/>
                <a:gd name="T117" fmla="*/ 220 h 839"/>
                <a:gd name="T118" fmla="*/ 746 w 839"/>
                <a:gd name="T119" fmla="*/ 247 h 839"/>
                <a:gd name="T120" fmla="*/ 717 w 839"/>
                <a:gd name="T121" fmla="*/ 261 h 8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39" h="839">
                  <a:moveTo>
                    <a:pt x="413" y="667"/>
                  </a:moveTo>
                  <a:lnTo>
                    <a:pt x="413" y="667"/>
                  </a:lnTo>
                  <a:lnTo>
                    <a:pt x="406" y="667"/>
                  </a:lnTo>
                  <a:lnTo>
                    <a:pt x="399" y="665"/>
                  </a:lnTo>
                  <a:lnTo>
                    <a:pt x="391" y="661"/>
                  </a:lnTo>
                  <a:lnTo>
                    <a:pt x="381" y="657"/>
                  </a:lnTo>
                  <a:lnTo>
                    <a:pt x="362" y="646"/>
                  </a:lnTo>
                  <a:lnTo>
                    <a:pt x="341" y="630"/>
                  </a:lnTo>
                  <a:lnTo>
                    <a:pt x="321" y="614"/>
                  </a:lnTo>
                  <a:lnTo>
                    <a:pt x="301" y="598"/>
                  </a:lnTo>
                  <a:lnTo>
                    <a:pt x="285" y="582"/>
                  </a:lnTo>
                  <a:lnTo>
                    <a:pt x="270" y="569"/>
                  </a:lnTo>
                  <a:lnTo>
                    <a:pt x="270" y="569"/>
                  </a:lnTo>
                  <a:lnTo>
                    <a:pt x="257" y="554"/>
                  </a:lnTo>
                  <a:lnTo>
                    <a:pt x="241" y="537"/>
                  </a:lnTo>
                  <a:lnTo>
                    <a:pt x="224" y="518"/>
                  </a:lnTo>
                  <a:lnTo>
                    <a:pt x="209" y="498"/>
                  </a:lnTo>
                  <a:lnTo>
                    <a:pt x="193" y="477"/>
                  </a:lnTo>
                  <a:lnTo>
                    <a:pt x="182" y="458"/>
                  </a:lnTo>
                  <a:lnTo>
                    <a:pt x="177" y="448"/>
                  </a:lnTo>
                  <a:lnTo>
                    <a:pt x="174" y="440"/>
                  </a:lnTo>
                  <a:lnTo>
                    <a:pt x="171" y="432"/>
                  </a:lnTo>
                  <a:lnTo>
                    <a:pt x="171" y="425"/>
                  </a:lnTo>
                  <a:lnTo>
                    <a:pt x="171" y="425"/>
                  </a:lnTo>
                  <a:lnTo>
                    <a:pt x="172" y="419"/>
                  </a:lnTo>
                  <a:lnTo>
                    <a:pt x="175" y="413"/>
                  </a:lnTo>
                  <a:lnTo>
                    <a:pt x="180" y="407"/>
                  </a:lnTo>
                  <a:lnTo>
                    <a:pt x="186" y="400"/>
                  </a:lnTo>
                  <a:lnTo>
                    <a:pt x="201" y="388"/>
                  </a:lnTo>
                  <a:lnTo>
                    <a:pt x="218" y="376"/>
                  </a:lnTo>
                  <a:lnTo>
                    <a:pt x="252" y="355"/>
                  </a:lnTo>
                  <a:lnTo>
                    <a:pt x="263" y="347"/>
                  </a:lnTo>
                  <a:lnTo>
                    <a:pt x="265" y="342"/>
                  </a:lnTo>
                  <a:lnTo>
                    <a:pt x="266" y="340"/>
                  </a:lnTo>
                  <a:lnTo>
                    <a:pt x="183" y="140"/>
                  </a:lnTo>
                  <a:lnTo>
                    <a:pt x="183" y="140"/>
                  </a:lnTo>
                  <a:lnTo>
                    <a:pt x="117" y="140"/>
                  </a:lnTo>
                  <a:lnTo>
                    <a:pt x="117" y="140"/>
                  </a:lnTo>
                  <a:lnTo>
                    <a:pt x="110" y="141"/>
                  </a:lnTo>
                  <a:lnTo>
                    <a:pt x="103" y="144"/>
                  </a:lnTo>
                  <a:lnTo>
                    <a:pt x="93" y="149"/>
                  </a:lnTo>
                  <a:lnTo>
                    <a:pt x="84" y="157"/>
                  </a:lnTo>
                  <a:lnTo>
                    <a:pt x="75" y="165"/>
                  </a:lnTo>
                  <a:lnTo>
                    <a:pt x="65" y="175"/>
                  </a:lnTo>
                  <a:lnTo>
                    <a:pt x="56" y="185"/>
                  </a:lnTo>
                  <a:lnTo>
                    <a:pt x="46" y="197"/>
                  </a:lnTo>
                  <a:lnTo>
                    <a:pt x="36" y="211"/>
                  </a:lnTo>
                  <a:lnTo>
                    <a:pt x="28" y="224"/>
                  </a:lnTo>
                  <a:lnTo>
                    <a:pt x="21" y="238"/>
                  </a:lnTo>
                  <a:lnTo>
                    <a:pt x="13" y="252"/>
                  </a:lnTo>
                  <a:lnTo>
                    <a:pt x="9" y="266"/>
                  </a:lnTo>
                  <a:lnTo>
                    <a:pt x="4" y="279"/>
                  </a:lnTo>
                  <a:lnTo>
                    <a:pt x="1" y="293"/>
                  </a:lnTo>
                  <a:lnTo>
                    <a:pt x="0" y="306"/>
                  </a:lnTo>
                  <a:lnTo>
                    <a:pt x="0" y="306"/>
                  </a:lnTo>
                  <a:lnTo>
                    <a:pt x="0" y="319"/>
                  </a:lnTo>
                  <a:lnTo>
                    <a:pt x="1" y="334"/>
                  </a:lnTo>
                  <a:lnTo>
                    <a:pt x="4" y="351"/>
                  </a:lnTo>
                  <a:lnTo>
                    <a:pt x="7" y="367"/>
                  </a:lnTo>
                  <a:lnTo>
                    <a:pt x="12" y="387"/>
                  </a:lnTo>
                  <a:lnTo>
                    <a:pt x="18" y="406"/>
                  </a:lnTo>
                  <a:lnTo>
                    <a:pt x="27" y="428"/>
                  </a:lnTo>
                  <a:lnTo>
                    <a:pt x="35" y="449"/>
                  </a:lnTo>
                  <a:lnTo>
                    <a:pt x="47" y="472"/>
                  </a:lnTo>
                  <a:lnTo>
                    <a:pt x="59" y="496"/>
                  </a:lnTo>
                  <a:lnTo>
                    <a:pt x="75" y="522"/>
                  </a:lnTo>
                  <a:lnTo>
                    <a:pt x="92" y="547"/>
                  </a:lnTo>
                  <a:lnTo>
                    <a:pt x="111" y="573"/>
                  </a:lnTo>
                  <a:lnTo>
                    <a:pt x="133" y="600"/>
                  </a:lnTo>
                  <a:lnTo>
                    <a:pt x="157" y="628"/>
                  </a:lnTo>
                  <a:lnTo>
                    <a:pt x="183" y="655"/>
                  </a:lnTo>
                  <a:lnTo>
                    <a:pt x="183" y="655"/>
                  </a:lnTo>
                  <a:lnTo>
                    <a:pt x="211" y="682"/>
                  </a:lnTo>
                  <a:lnTo>
                    <a:pt x="239" y="706"/>
                  </a:lnTo>
                  <a:lnTo>
                    <a:pt x="265" y="728"/>
                  </a:lnTo>
                  <a:lnTo>
                    <a:pt x="292" y="747"/>
                  </a:lnTo>
                  <a:lnTo>
                    <a:pt x="317" y="764"/>
                  </a:lnTo>
                  <a:lnTo>
                    <a:pt x="342" y="780"/>
                  </a:lnTo>
                  <a:lnTo>
                    <a:pt x="366" y="792"/>
                  </a:lnTo>
                  <a:lnTo>
                    <a:pt x="389" y="804"/>
                  </a:lnTo>
                  <a:lnTo>
                    <a:pt x="411" y="812"/>
                  </a:lnTo>
                  <a:lnTo>
                    <a:pt x="433" y="820"/>
                  </a:lnTo>
                  <a:lnTo>
                    <a:pt x="452" y="827"/>
                  </a:lnTo>
                  <a:lnTo>
                    <a:pt x="471" y="831"/>
                  </a:lnTo>
                  <a:lnTo>
                    <a:pt x="488" y="835"/>
                  </a:lnTo>
                  <a:lnTo>
                    <a:pt x="505" y="837"/>
                  </a:lnTo>
                  <a:lnTo>
                    <a:pt x="519" y="839"/>
                  </a:lnTo>
                  <a:lnTo>
                    <a:pt x="533" y="839"/>
                  </a:lnTo>
                  <a:lnTo>
                    <a:pt x="533" y="839"/>
                  </a:lnTo>
                  <a:lnTo>
                    <a:pt x="546" y="837"/>
                  </a:lnTo>
                  <a:lnTo>
                    <a:pt x="559" y="835"/>
                  </a:lnTo>
                  <a:lnTo>
                    <a:pt x="573" y="830"/>
                  </a:lnTo>
                  <a:lnTo>
                    <a:pt x="587" y="825"/>
                  </a:lnTo>
                  <a:lnTo>
                    <a:pt x="600" y="818"/>
                  </a:lnTo>
                  <a:lnTo>
                    <a:pt x="615" y="811"/>
                  </a:lnTo>
                  <a:lnTo>
                    <a:pt x="628" y="802"/>
                  </a:lnTo>
                  <a:lnTo>
                    <a:pt x="641" y="793"/>
                  </a:lnTo>
                  <a:lnTo>
                    <a:pt x="653" y="783"/>
                  </a:lnTo>
                  <a:lnTo>
                    <a:pt x="664" y="773"/>
                  </a:lnTo>
                  <a:lnTo>
                    <a:pt x="674" y="764"/>
                  </a:lnTo>
                  <a:lnTo>
                    <a:pt x="682" y="754"/>
                  </a:lnTo>
                  <a:lnTo>
                    <a:pt x="689" y="745"/>
                  </a:lnTo>
                  <a:lnTo>
                    <a:pt x="694" y="736"/>
                  </a:lnTo>
                  <a:lnTo>
                    <a:pt x="698" y="729"/>
                  </a:lnTo>
                  <a:lnTo>
                    <a:pt x="699" y="722"/>
                  </a:lnTo>
                  <a:lnTo>
                    <a:pt x="699" y="722"/>
                  </a:lnTo>
                  <a:lnTo>
                    <a:pt x="699" y="655"/>
                  </a:lnTo>
                  <a:lnTo>
                    <a:pt x="499" y="572"/>
                  </a:lnTo>
                  <a:lnTo>
                    <a:pt x="499" y="572"/>
                  </a:lnTo>
                  <a:lnTo>
                    <a:pt x="497" y="573"/>
                  </a:lnTo>
                  <a:lnTo>
                    <a:pt x="492" y="576"/>
                  </a:lnTo>
                  <a:lnTo>
                    <a:pt x="483" y="587"/>
                  </a:lnTo>
                  <a:lnTo>
                    <a:pt x="463" y="620"/>
                  </a:lnTo>
                  <a:lnTo>
                    <a:pt x="451" y="637"/>
                  </a:lnTo>
                  <a:lnTo>
                    <a:pt x="439" y="653"/>
                  </a:lnTo>
                  <a:lnTo>
                    <a:pt x="432" y="659"/>
                  </a:lnTo>
                  <a:lnTo>
                    <a:pt x="426" y="664"/>
                  </a:lnTo>
                  <a:lnTo>
                    <a:pt x="419" y="666"/>
                  </a:lnTo>
                  <a:lnTo>
                    <a:pt x="413" y="667"/>
                  </a:lnTo>
                  <a:lnTo>
                    <a:pt x="413" y="667"/>
                  </a:lnTo>
                  <a:close/>
                  <a:moveTo>
                    <a:pt x="577" y="0"/>
                  </a:moveTo>
                  <a:lnTo>
                    <a:pt x="577" y="0"/>
                  </a:lnTo>
                  <a:lnTo>
                    <a:pt x="550" y="1"/>
                  </a:lnTo>
                  <a:lnTo>
                    <a:pt x="524" y="5"/>
                  </a:lnTo>
                  <a:lnTo>
                    <a:pt x="499" y="10"/>
                  </a:lnTo>
                  <a:lnTo>
                    <a:pt x="475" y="18"/>
                  </a:lnTo>
                  <a:lnTo>
                    <a:pt x="452" y="28"/>
                  </a:lnTo>
                  <a:lnTo>
                    <a:pt x="430" y="38"/>
                  </a:lnTo>
                  <a:lnTo>
                    <a:pt x="410" y="52"/>
                  </a:lnTo>
                  <a:lnTo>
                    <a:pt x="392" y="66"/>
                  </a:lnTo>
                  <a:lnTo>
                    <a:pt x="375" y="83"/>
                  </a:lnTo>
                  <a:lnTo>
                    <a:pt x="359" y="100"/>
                  </a:lnTo>
                  <a:lnTo>
                    <a:pt x="346" y="119"/>
                  </a:lnTo>
                  <a:lnTo>
                    <a:pt x="335" y="138"/>
                  </a:lnTo>
                  <a:lnTo>
                    <a:pt x="327" y="159"/>
                  </a:lnTo>
                  <a:lnTo>
                    <a:pt x="319" y="182"/>
                  </a:lnTo>
                  <a:lnTo>
                    <a:pt x="316" y="204"/>
                  </a:lnTo>
                  <a:lnTo>
                    <a:pt x="315" y="226"/>
                  </a:lnTo>
                  <a:lnTo>
                    <a:pt x="315" y="226"/>
                  </a:lnTo>
                  <a:lnTo>
                    <a:pt x="315" y="240"/>
                  </a:lnTo>
                  <a:lnTo>
                    <a:pt x="316" y="252"/>
                  </a:lnTo>
                  <a:lnTo>
                    <a:pt x="318" y="264"/>
                  </a:lnTo>
                  <a:lnTo>
                    <a:pt x="321" y="276"/>
                  </a:lnTo>
                  <a:lnTo>
                    <a:pt x="324" y="288"/>
                  </a:lnTo>
                  <a:lnTo>
                    <a:pt x="328" y="299"/>
                  </a:lnTo>
                  <a:lnTo>
                    <a:pt x="338" y="320"/>
                  </a:lnTo>
                  <a:lnTo>
                    <a:pt x="351" y="341"/>
                  </a:lnTo>
                  <a:lnTo>
                    <a:pt x="365" y="361"/>
                  </a:lnTo>
                  <a:lnTo>
                    <a:pt x="382" y="378"/>
                  </a:lnTo>
                  <a:lnTo>
                    <a:pt x="401" y="395"/>
                  </a:lnTo>
                  <a:lnTo>
                    <a:pt x="350" y="524"/>
                  </a:lnTo>
                  <a:lnTo>
                    <a:pt x="479" y="437"/>
                  </a:lnTo>
                  <a:lnTo>
                    <a:pt x="479" y="437"/>
                  </a:lnTo>
                  <a:lnTo>
                    <a:pt x="503" y="445"/>
                  </a:lnTo>
                  <a:lnTo>
                    <a:pt x="527" y="449"/>
                  </a:lnTo>
                  <a:lnTo>
                    <a:pt x="551" y="453"/>
                  </a:lnTo>
                  <a:lnTo>
                    <a:pt x="577" y="454"/>
                  </a:lnTo>
                  <a:lnTo>
                    <a:pt x="577" y="454"/>
                  </a:lnTo>
                  <a:lnTo>
                    <a:pt x="604" y="453"/>
                  </a:lnTo>
                  <a:lnTo>
                    <a:pt x="629" y="449"/>
                  </a:lnTo>
                  <a:lnTo>
                    <a:pt x="654" y="445"/>
                  </a:lnTo>
                  <a:lnTo>
                    <a:pt x="679" y="436"/>
                  </a:lnTo>
                  <a:lnTo>
                    <a:pt x="701" y="426"/>
                  </a:lnTo>
                  <a:lnTo>
                    <a:pt x="723" y="416"/>
                  </a:lnTo>
                  <a:lnTo>
                    <a:pt x="744" y="402"/>
                  </a:lnTo>
                  <a:lnTo>
                    <a:pt x="762" y="388"/>
                  </a:lnTo>
                  <a:lnTo>
                    <a:pt x="779" y="371"/>
                  </a:lnTo>
                  <a:lnTo>
                    <a:pt x="794" y="354"/>
                  </a:lnTo>
                  <a:lnTo>
                    <a:pt x="807" y="335"/>
                  </a:lnTo>
                  <a:lnTo>
                    <a:pt x="818" y="316"/>
                  </a:lnTo>
                  <a:lnTo>
                    <a:pt x="827" y="295"/>
                  </a:lnTo>
                  <a:lnTo>
                    <a:pt x="834" y="272"/>
                  </a:lnTo>
                  <a:lnTo>
                    <a:pt x="838" y="251"/>
                  </a:lnTo>
                  <a:lnTo>
                    <a:pt x="839" y="226"/>
                  </a:lnTo>
                  <a:lnTo>
                    <a:pt x="839" y="226"/>
                  </a:lnTo>
                  <a:lnTo>
                    <a:pt x="838" y="204"/>
                  </a:lnTo>
                  <a:lnTo>
                    <a:pt x="834" y="182"/>
                  </a:lnTo>
                  <a:lnTo>
                    <a:pt x="827" y="159"/>
                  </a:lnTo>
                  <a:lnTo>
                    <a:pt x="818" y="138"/>
                  </a:lnTo>
                  <a:lnTo>
                    <a:pt x="807" y="119"/>
                  </a:lnTo>
                  <a:lnTo>
                    <a:pt x="794" y="100"/>
                  </a:lnTo>
                  <a:lnTo>
                    <a:pt x="779" y="83"/>
                  </a:lnTo>
                  <a:lnTo>
                    <a:pt x="762" y="66"/>
                  </a:lnTo>
                  <a:lnTo>
                    <a:pt x="744" y="52"/>
                  </a:lnTo>
                  <a:lnTo>
                    <a:pt x="723" y="38"/>
                  </a:lnTo>
                  <a:lnTo>
                    <a:pt x="701" y="28"/>
                  </a:lnTo>
                  <a:lnTo>
                    <a:pt x="679" y="18"/>
                  </a:lnTo>
                  <a:lnTo>
                    <a:pt x="654" y="10"/>
                  </a:lnTo>
                  <a:lnTo>
                    <a:pt x="629" y="5"/>
                  </a:lnTo>
                  <a:lnTo>
                    <a:pt x="604" y="1"/>
                  </a:lnTo>
                  <a:lnTo>
                    <a:pt x="577" y="0"/>
                  </a:lnTo>
                  <a:lnTo>
                    <a:pt x="577" y="0"/>
                  </a:lnTo>
                  <a:close/>
                  <a:moveTo>
                    <a:pt x="438" y="261"/>
                  </a:moveTo>
                  <a:lnTo>
                    <a:pt x="438" y="261"/>
                  </a:lnTo>
                  <a:lnTo>
                    <a:pt x="430" y="261"/>
                  </a:lnTo>
                  <a:lnTo>
                    <a:pt x="423" y="259"/>
                  </a:lnTo>
                  <a:lnTo>
                    <a:pt x="417" y="257"/>
                  </a:lnTo>
                  <a:lnTo>
                    <a:pt x="412" y="252"/>
                  </a:lnTo>
                  <a:lnTo>
                    <a:pt x="407" y="247"/>
                  </a:lnTo>
                  <a:lnTo>
                    <a:pt x="405" y="241"/>
                  </a:lnTo>
                  <a:lnTo>
                    <a:pt x="403" y="234"/>
                  </a:lnTo>
                  <a:lnTo>
                    <a:pt x="403" y="226"/>
                  </a:lnTo>
                  <a:lnTo>
                    <a:pt x="403" y="226"/>
                  </a:lnTo>
                  <a:lnTo>
                    <a:pt x="403" y="220"/>
                  </a:lnTo>
                  <a:lnTo>
                    <a:pt x="405" y="213"/>
                  </a:lnTo>
                  <a:lnTo>
                    <a:pt x="407" y="207"/>
                  </a:lnTo>
                  <a:lnTo>
                    <a:pt x="412" y="202"/>
                  </a:lnTo>
                  <a:lnTo>
                    <a:pt x="417" y="197"/>
                  </a:lnTo>
                  <a:lnTo>
                    <a:pt x="423" y="195"/>
                  </a:lnTo>
                  <a:lnTo>
                    <a:pt x="430" y="193"/>
                  </a:lnTo>
                  <a:lnTo>
                    <a:pt x="438" y="191"/>
                  </a:lnTo>
                  <a:lnTo>
                    <a:pt x="438" y="191"/>
                  </a:lnTo>
                  <a:lnTo>
                    <a:pt x="444" y="193"/>
                  </a:lnTo>
                  <a:lnTo>
                    <a:pt x="451" y="195"/>
                  </a:lnTo>
                  <a:lnTo>
                    <a:pt x="457" y="197"/>
                  </a:lnTo>
                  <a:lnTo>
                    <a:pt x="462" y="202"/>
                  </a:lnTo>
                  <a:lnTo>
                    <a:pt x="466" y="207"/>
                  </a:lnTo>
                  <a:lnTo>
                    <a:pt x="469" y="213"/>
                  </a:lnTo>
                  <a:lnTo>
                    <a:pt x="471" y="220"/>
                  </a:lnTo>
                  <a:lnTo>
                    <a:pt x="472" y="226"/>
                  </a:lnTo>
                  <a:lnTo>
                    <a:pt x="472" y="226"/>
                  </a:lnTo>
                  <a:lnTo>
                    <a:pt x="471" y="234"/>
                  </a:lnTo>
                  <a:lnTo>
                    <a:pt x="469" y="241"/>
                  </a:lnTo>
                  <a:lnTo>
                    <a:pt x="466" y="247"/>
                  </a:lnTo>
                  <a:lnTo>
                    <a:pt x="462" y="252"/>
                  </a:lnTo>
                  <a:lnTo>
                    <a:pt x="457" y="257"/>
                  </a:lnTo>
                  <a:lnTo>
                    <a:pt x="451" y="259"/>
                  </a:lnTo>
                  <a:lnTo>
                    <a:pt x="444" y="261"/>
                  </a:lnTo>
                  <a:lnTo>
                    <a:pt x="438" y="261"/>
                  </a:lnTo>
                  <a:lnTo>
                    <a:pt x="438" y="261"/>
                  </a:lnTo>
                  <a:close/>
                  <a:moveTo>
                    <a:pt x="577" y="261"/>
                  </a:moveTo>
                  <a:lnTo>
                    <a:pt x="577" y="261"/>
                  </a:lnTo>
                  <a:lnTo>
                    <a:pt x="570" y="261"/>
                  </a:lnTo>
                  <a:lnTo>
                    <a:pt x="563" y="259"/>
                  </a:lnTo>
                  <a:lnTo>
                    <a:pt x="557" y="257"/>
                  </a:lnTo>
                  <a:lnTo>
                    <a:pt x="552" y="252"/>
                  </a:lnTo>
                  <a:lnTo>
                    <a:pt x="547" y="247"/>
                  </a:lnTo>
                  <a:lnTo>
                    <a:pt x="545" y="241"/>
                  </a:lnTo>
                  <a:lnTo>
                    <a:pt x="542" y="234"/>
                  </a:lnTo>
                  <a:lnTo>
                    <a:pt x="542" y="226"/>
                  </a:lnTo>
                  <a:lnTo>
                    <a:pt x="542" y="226"/>
                  </a:lnTo>
                  <a:lnTo>
                    <a:pt x="542" y="220"/>
                  </a:lnTo>
                  <a:lnTo>
                    <a:pt x="545" y="213"/>
                  </a:lnTo>
                  <a:lnTo>
                    <a:pt x="547" y="207"/>
                  </a:lnTo>
                  <a:lnTo>
                    <a:pt x="552" y="202"/>
                  </a:lnTo>
                  <a:lnTo>
                    <a:pt x="557" y="197"/>
                  </a:lnTo>
                  <a:lnTo>
                    <a:pt x="563" y="195"/>
                  </a:lnTo>
                  <a:lnTo>
                    <a:pt x="570" y="193"/>
                  </a:lnTo>
                  <a:lnTo>
                    <a:pt x="577" y="191"/>
                  </a:lnTo>
                  <a:lnTo>
                    <a:pt x="577" y="191"/>
                  </a:lnTo>
                  <a:lnTo>
                    <a:pt x="583" y="193"/>
                  </a:lnTo>
                  <a:lnTo>
                    <a:pt x="591" y="195"/>
                  </a:lnTo>
                  <a:lnTo>
                    <a:pt x="597" y="197"/>
                  </a:lnTo>
                  <a:lnTo>
                    <a:pt x="601" y="202"/>
                  </a:lnTo>
                  <a:lnTo>
                    <a:pt x="606" y="207"/>
                  </a:lnTo>
                  <a:lnTo>
                    <a:pt x="609" y="213"/>
                  </a:lnTo>
                  <a:lnTo>
                    <a:pt x="611" y="220"/>
                  </a:lnTo>
                  <a:lnTo>
                    <a:pt x="612" y="226"/>
                  </a:lnTo>
                  <a:lnTo>
                    <a:pt x="612" y="226"/>
                  </a:lnTo>
                  <a:lnTo>
                    <a:pt x="611" y="234"/>
                  </a:lnTo>
                  <a:lnTo>
                    <a:pt x="609" y="241"/>
                  </a:lnTo>
                  <a:lnTo>
                    <a:pt x="606" y="247"/>
                  </a:lnTo>
                  <a:lnTo>
                    <a:pt x="601" y="252"/>
                  </a:lnTo>
                  <a:lnTo>
                    <a:pt x="597" y="257"/>
                  </a:lnTo>
                  <a:lnTo>
                    <a:pt x="591" y="259"/>
                  </a:lnTo>
                  <a:lnTo>
                    <a:pt x="583" y="261"/>
                  </a:lnTo>
                  <a:lnTo>
                    <a:pt x="577" y="261"/>
                  </a:lnTo>
                  <a:lnTo>
                    <a:pt x="577" y="261"/>
                  </a:lnTo>
                  <a:close/>
                  <a:moveTo>
                    <a:pt x="717" y="261"/>
                  </a:moveTo>
                  <a:lnTo>
                    <a:pt x="717" y="261"/>
                  </a:lnTo>
                  <a:lnTo>
                    <a:pt x="710" y="261"/>
                  </a:lnTo>
                  <a:lnTo>
                    <a:pt x="703" y="259"/>
                  </a:lnTo>
                  <a:lnTo>
                    <a:pt x="697" y="257"/>
                  </a:lnTo>
                  <a:lnTo>
                    <a:pt x="692" y="252"/>
                  </a:lnTo>
                  <a:lnTo>
                    <a:pt x="687" y="247"/>
                  </a:lnTo>
                  <a:lnTo>
                    <a:pt x="685" y="241"/>
                  </a:lnTo>
                  <a:lnTo>
                    <a:pt x="682" y="234"/>
                  </a:lnTo>
                  <a:lnTo>
                    <a:pt x="682" y="226"/>
                  </a:lnTo>
                  <a:lnTo>
                    <a:pt x="682" y="226"/>
                  </a:lnTo>
                  <a:lnTo>
                    <a:pt x="682" y="220"/>
                  </a:lnTo>
                  <a:lnTo>
                    <a:pt x="685" y="213"/>
                  </a:lnTo>
                  <a:lnTo>
                    <a:pt x="687" y="207"/>
                  </a:lnTo>
                  <a:lnTo>
                    <a:pt x="692" y="202"/>
                  </a:lnTo>
                  <a:lnTo>
                    <a:pt x="697" y="197"/>
                  </a:lnTo>
                  <a:lnTo>
                    <a:pt x="703" y="195"/>
                  </a:lnTo>
                  <a:lnTo>
                    <a:pt x="710" y="193"/>
                  </a:lnTo>
                  <a:lnTo>
                    <a:pt x="717" y="191"/>
                  </a:lnTo>
                  <a:lnTo>
                    <a:pt x="717" y="191"/>
                  </a:lnTo>
                  <a:lnTo>
                    <a:pt x="723" y="193"/>
                  </a:lnTo>
                  <a:lnTo>
                    <a:pt x="730" y="195"/>
                  </a:lnTo>
                  <a:lnTo>
                    <a:pt x="736" y="197"/>
                  </a:lnTo>
                  <a:lnTo>
                    <a:pt x="741" y="202"/>
                  </a:lnTo>
                  <a:lnTo>
                    <a:pt x="746" y="207"/>
                  </a:lnTo>
                  <a:lnTo>
                    <a:pt x="748" y="213"/>
                  </a:lnTo>
                  <a:lnTo>
                    <a:pt x="751" y="220"/>
                  </a:lnTo>
                  <a:lnTo>
                    <a:pt x="752" y="226"/>
                  </a:lnTo>
                  <a:lnTo>
                    <a:pt x="752" y="226"/>
                  </a:lnTo>
                  <a:lnTo>
                    <a:pt x="751" y="234"/>
                  </a:lnTo>
                  <a:lnTo>
                    <a:pt x="748" y="241"/>
                  </a:lnTo>
                  <a:lnTo>
                    <a:pt x="746" y="247"/>
                  </a:lnTo>
                  <a:lnTo>
                    <a:pt x="741" y="252"/>
                  </a:lnTo>
                  <a:lnTo>
                    <a:pt x="736" y="257"/>
                  </a:lnTo>
                  <a:lnTo>
                    <a:pt x="730" y="259"/>
                  </a:lnTo>
                  <a:lnTo>
                    <a:pt x="723" y="261"/>
                  </a:lnTo>
                  <a:lnTo>
                    <a:pt x="717" y="261"/>
                  </a:lnTo>
                  <a:lnTo>
                    <a:pt x="717" y="26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50" name="Group 1549">
            <a:extLst>
              <a:ext uri="{FF2B5EF4-FFF2-40B4-BE49-F238E27FC236}">
                <a16:creationId xmlns:a16="http://schemas.microsoft.com/office/drawing/2014/main" id="{9DA60528-90EC-4CFD-BA44-2FDCBF9C1C35}"/>
              </a:ext>
            </a:extLst>
          </p:cNvPr>
          <p:cNvGrpSpPr/>
          <p:nvPr/>
        </p:nvGrpSpPr>
        <p:grpSpPr>
          <a:xfrm>
            <a:off x="1747436" y="5493759"/>
            <a:ext cx="612000" cy="612000"/>
            <a:chOff x="592807" y="6132102"/>
            <a:chExt cx="612000" cy="612000"/>
          </a:xfrm>
        </p:grpSpPr>
        <p:sp>
          <p:nvSpPr>
            <p:cNvPr id="1551" name="Oval 1550">
              <a:extLst>
                <a:ext uri="{FF2B5EF4-FFF2-40B4-BE49-F238E27FC236}">
                  <a16:creationId xmlns:a16="http://schemas.microsoft.com/office/drawing/2014/main" id="{3D153237-D9CA-40CA-A369-8D0D2AFA8BFC}"/>
                </a:ext>
              </a:extLst>
            </p:cNvPr>
            <p:cNvSpPr/>
            <p:nvPr/>
          </p:nvSpPr>
          <p:spPr bwMode="ltGray">
            <a:xfrm>
              <a:off x="592807" y="613210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52" name="Freeform 146">
              <a:extLst>
                <a:ext uri="{FF2B5EF4-FFF2-40B4-BE49-F238E27FC236}">
                  <a16:creationId xmlns:a16="http://schemas.microsoft.com/office/drawing/2014/main" id="{67FD6426-E512-4EF6-B394-ED0844B3F9EE}"/>
                </a:ext>
              </a:extLst>
            </p:cNvPr>
            <p:cNvSpPr>
              <a:spLocks noEditPoints="1"/>
            </p:cNvSpPr>
            <p:nvPr/>
          </p:nvSpPr>
          <p:spPr bwMode="auto">
            <a:xfrm>
              <a:off x="655215" y="6220230"/>
              <a:ext cx="485775" cy="403225"/>
            </a:xfrm>
            <a:custGeom>
              <a:avLst/>
              <a:gdLst>
                <a:gd name="T0" fmla="*/ 791 w 918"/>
                <a:gd name="T1" fmla="*/ 419 h 763"/>
                <a:gd name="T2" fmla="*/ 765 w 918"/>
                <a:gd name="T3" fmla="*/ 391 h 763"/>
                <a:gd name="T4" fmla="*/ 860 w 918"/>
                <a:gd name="T5" fmla="*/ 351 h 763"/>
                <a:gd name="T6" fmla="*/ 818 w 918"/>
                <a:gd name="T7" fmla="*/ 306 h 763"/>
                <a:gd name="T8" fmla="*/ 803 w 918"/>
                <a:gd name="T9" fmla="*/ 200 h 763"/>
                <a:gd name="T10" fmla="*/ 777 w 918"/>
                <a:gd name="T11" fmla="*/ 141 h 763"/>
                <a:gd name="T12" fmla="*/ 718 w 918"/>
                <a:gd name="T13" fmla="*/ 116 h 763"/>
                <a:gd name="T14" fmla="*/ 656 w 918"/>
                <a:gd name="T15" fmla="*/ 128 h 763"/>
                <a:gd name="T16" fmla="*/ 659 w 918"/>
                <a:gd name="T17" fmla="*/ 218 h 763"/>
                <a:gd name="T18" fmla="*/ 662 w 918"/>
                <a:gd name="T19" fmla="*/ 291 h 763"/>
                <a:gd name="T20" fmla="*/ 623 w 918"/>
                <a:gd name="T21" fmla="*/ 360 h 763"/>
                <a:gd name="T22" fmla="*/ 651 w 918"/>
                <a:gd name="T23" fmla="*/ 391 h 763"/>
                <a:gd name="T24" fmla="*/ 633 w 918"/>
                <a:gd name="T25" fmla="*/ 415 h 763"/>
                <a:gd name="T26" fmla="*/ 611 w 918"/>
                <a:gd name="T27" fmla="*/ 469 h 763"/>
                <a:gd name="T28" fmla="*/ 791 w 918"/>
                <a:gd name="T29" fmla="*/ 562 h 763"/>
                <a:gd name="T30" fmla="*/ 910 w 918"/>
                <a:gd name="T31" fmla="*/ 554 h 763"/>
                <a:gd name="T32" fmla="*/ 917 w 918"/>
                <a:gd name="T33" fmla="*/ 534 h 763"/>
                <a:gd name="T34" fmla="*/ 128 w 918"/>
                <a:gd name="T35" fmla="*/ 562 h 763"/>
                <a:gd name="T36" fmla="*/ 284 w 918"/>
                <a:gd name="T37" fmla="*/ 480 h 763"/>
                <a:gd name="T38" fmla="*/ 294 w 918"/>
                <a:gd name="T39" fmla="*/ 419 h 763"/>
                <a:gd name="T40" fmla="*/ 268 w 918"/>
                <a:gd name="T41" fmla="*/ 391 h 763"/>
                <a:gd name="T42" fmla="*/ 278 w 918"/>
                <a:gd name="T43" fmla="*/ 340 h 763"/>
                <a:gd name="T44" fmla="*/ 253 w 918"/>
                <a:gd name="T45" fmla="*/ 265 h 763"/>
                <a:gd name="T46" fmla="*/ 269 w 918"/>
                <a:gd name="T47" fmla="*/ 200 h 763"/>
                <a:gd name="T48" fmla="*/ 229 w 918"/>
                <a:gd name="T49" fmla="*/ 116 h 763"/>
                <a:gd name="T50" fmla="*/ 141 w 918"/>
                <a:gd name="T51" fmla="*/ 131 h 763"/>
                <a:gd name="T52" fmla="*/ 116 w 918"/>
                <a:gd name="T53" fmla="*/ 178 h 763"/>
                <a:gd name="T54" fmla="*/ 117 w 918"/>
                <a:gd name="T55" fmla="*/ 245 h 763"/>
                <a:gd name="T56" fmla="*/ 111 w 918"/>
                <a:gd name="T57" fmla="*/ 284 h 763"/>
                <a:gd name="T58" fmla="*/ 130 w 918"/>
                <a:gd name="T59" fmla="*/ 315 h 763"/>
                <a:gd name="T60" fmla="*/ 153 w 918"/>
                <a:gd name="T61" fmla="*/ 363 h 763"/>
                <a:gd name="T62" fmla="*/ 146 w 918"/>
                <a:gd name="T63" fmla="*/ 408 h 763"/>
                <a:gd name="T64" fmla="*/ 43 w 918"/>
                <a:gd name="T65" fmla="*/ 457 h 763"/>
                <a:gd name="T66" fmla="*/ 6 w 918"/>
                <a:gd name="T67" fmla="*/ 512 h 763"/>
                <a:gd name="T68" fmla="*/ 9 w 918"/>
                <a:gd name="T69" fmla="*/ 554 h 763"/>
                <a:gd name="T70" fmla="*/ 128 w 918"/>
                <a:gd name="T71" fmla="*/ 562 h 763"/>
                <a:gd name="T72" fmla="*/ 559 w 918"/>
                <a:gd name="T73" fmla="*/ 483 h 763"/>
                <a:gd name="T74" fmla="*/ 553 w 918"/>
                <a:gd name="T75" fmla="*/ 414 h 763"/>
                <a:gd name="T76" fmla="*/ 580 w 918"/>
                <a:gd name="T77" fmla="*/ 336 h 763"/>
                <a:gd name="T78" fmla="*/ 619 w 918"/>
                <a:gd name="T79" fmla="*/ 295 h 763"/>
                <a:gd name="T80" fmla="*/ 621 w 918"/>
                <a:gd name="T81" fmla="*/ 230 h 763"/>
                <a:gd name="T82" fmla="*/ 615 w 918"/>
                <a:gd name="T83" fmla="*/ 141 h 763"/>
                <a:gd name="T84" fmla="*/ 597 w 918"/>
                <a:gd name="T85" fmla="*/ 50 h 763"/>
                <a:gd name="T86" fmla="*/ 553 w 918"/>
                <a:gd name="T87" fmla="*/ 32 h 763"/>
                <a:gd name="T88" fmla="*/ 503 w 918"/>
                <a:gd name="T89" fmla="*/ 3 h 763"/>
                <a:gd name="T90" fmla="*/ 416 w 918"/>
                <a:gd name="T91" fmla="*/ 10 h 763"/>
                <a:gd name="T92" fmla="*/ 334 w 918"/>
                <a:gd name="T93" fmla="*/ 32 h 763"/>
                <a:gd name="T94" fmla="*/ 307 w 918"/>
                <a:gd name="T95" fmla="*/ 68 h 763"/>
                <a:gd name="T96" fmla="*/ 311 w 918"/>
                <a:gd name="T97" fmla="*/ 215 h 763"/>
                <a:gd name="T98" fmla="*/ 293 w 918"/>
                <a:gd name="T99" fmla="*/ 259 h 763"/>
                <a:gd name="T100" fmla="*/ 315 w 918"/>
                <a:gd name="T101" fmla="*/ 324 h 763"/>
                <a:gd name="T102" fmla="*/ 346 w 918"/>
                <a:gd name="T103" fmla="*/ 369 h 763"/>
                <a:gd name="T104" fmla="*/ 365 w 918"/>
                <a:gd name="T105" fmla="*/ 462 h 763"/>
                <a:gd name="T106" fmla="*/ 336 w 918"/>
                <a:gd name="T107" fmla="*/ 500 h 763"/>
                <a:gd name="T108" fmla="*/ 168 w 918"/>
                <a:gd name="T109" fmla="*/ 582 h 763"/>
                <a:gd name="T110" fmla="*/ 129 w 918"/>
                <a:gd name="T111" fmla="*/ 642 h 763"/>
                <a:gd name="T112" fmla="*/ 118 w 918"/>
                <a:gd name="T113" fmla="*/ 727 h 763"/>
                <a:gd name="T114" fmla="*/ 236 w 918"/>
                <a:gd name="T115" fmla="*/ 751 h 763"/>
                <a:gd name="T116" fmla="*/ 585 w 918"/>
                <a:gd name="T117" fmla="*/ 760 h 763"/>
                <a:gd name="T118" fmla="*/ 791 w 918"/>
                <a:gd name="T119" fmla="*/ 733 h 763"/>
                <a:gd name="T120" fmla="*/ 799 w 918"/>
                <a:gd name="T121" fmla="*/ 682 h 763"/>
                <a:gd name="T122" fmla="*/ 762 w 918"/>
                <a:gd name="T123" fmla="*/ 590 h 763"/>
                <a:gd name="T124" fmla="*/ 595 w 918"/>
                <a:gd name="T125" fmla="*/ 506 h 7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18" h="763">
                  <a:moveTo>
                    <a:pt x="893" y="469"/>
                  </a:moveTo>
                  <a:lnTo>
                    <a:pt x="893" y="469"/>
                  </a:lnTo>
                  <a:lnTo>
                    <a:pt x="886" y="463"/>
                  </a:lnTo>
                  <a:lnTo>
                    <a:pt x="875" y="457"/>
                  </a:lnTo>
                  <a:lnTo>
                    <a:pt x="846" y="443"/>
                  </a:lnTo>
                  <a:lnTo>
                    <a:pt x="816" y="429"/>
                  </a:lnTo>
                  <a:lnTo>
                    <a:pt x="791" y="419"/>
                  </a:lnTo>
                  <a:lnTo>
                    <a:pt x="791" y="419"/>
                  </a:lnTo>
                  <a:lnTo>
                    <a:pt x="776" y="411"/>
                  </a:lnTo>
                  <a:lnTo>
                    <a:pt x="772" y="408"/>
                  </a:lnTo>
                  <a:lnTo>
                    <a:pt x="769" y="404"/>
                  </a:lnTo>
                  <a:lnTo>
                    <a:pt x="766" y="402"/>
                  </a:lnTo>
                  <a:lnTo>
                    <a:pt x="765" y="398"/>
                  </a:lnTo>
                  <a:lnTo>
                    <a:pt x="765" y="391"/>
                  </a:lnTo>
                  <a:lnTo>
                    <a:pt x="765" y="379"/>
                  </a:lnTo>
                  <a:lnTo>
                    <a:pt x="765" y="379"/>
                  </a:lnTo>
                  <a:lnTo>
                    <a:pt x="793" y="375"/>
                  </a:lnTo>
                  <a:lnTo>
                    <a:pt x="817" y="369"/>
                  </a:lnTo>
                  <a:lnTo>
                    <a:pt x="840" y="361"/>
                  </a:lnTo>
                  <a:lnTo>
                    <a:pt x="860" y="351"/>
                  </a:lnTo>
                  <a:lnTo>
                    <a:pt x="860" y="351"/>
                  </a:lnTo>
                  <a:lnTo>
                    <a:pt x="852" y="348"/>
                  </a:lnTo>
                  <a:lnTo>
                    <a:pt x="845" y="343"/>
                  </a:lnTo>
                  <a:lnTo>
                    <a:pt x="838" y="337"/>
                  </a:lnTo>
                  <a:lnTo>
                    <a:pt x="832" y="331"/>
                  </a:lnTo>
                  <a:lnTo>
                    <a:pt x="827" y="322"/>
                  </a:lnTo>
                  <a:lnTo>
                    <a:pt x="822" y="314"/>
                  </a:lnTo>
                  <a:lnTo>
                    <a:pt x="818" y="306"/>
                  </a:lnTo>
                  <a:lnTo>
                    <a:pt x="815" y="296"/>
                  </a:lnTo>
                  <a:lnTo>
                    <a:pt x="809" y="275"/>
                  </a:lnTo>
                  <a:lnTo>
                    <a:pt x="806" y="254"/>
                  </a:lnTo>
                  <a:lnTo>
                    <a:pt x="804" y="232"/>
                  </a:lnTo>
                  <a:lnTo>
                    <a:pt x="804" y="211"/>
                  </a:lnTo>
                  <a:lnTo>
                    <a:pt x="804" y="211"/>
                  </a:lnTo>
                  <a:lnTo>
                    <a:pt x="803" y="200"/>
                  </a:lnTo>
                  <a:lnTo>
                    <a:pt x="801" y="190"/>
                  </a:lnTo>
                  <a:lnTo>
                    <a:pt x="800" y="181"/>
                  </a:lnTo>
                  <a:lnTo>
                    <a:pt x="797" y="171"/>
                  </a:lnTo>
                  <a:lnTo>
                    <a:pt x="793" y="163"/>
                  </a:lnTo>
                  <a:lnTo>
                    <a:pt x="788" y="155"/>
                  </a:lnTo>
                  <a:lnTo>
                    <a:pt x="783" y="148"/>
                  </a:lnTo>
                  <a:lnTo>
                    <a:pt x="777" y="141"/>
                  </a:lnTo>
                  <a:lnTo>
                    <a:pt x="771" y="135"/>
                  </a:lnTo>
                  <a:lnTo>
                    <a:pt x="764" y="130"/>
                  </a:lnTo>
                  <a:lnTo>
                    <a:pt x="756" y="125"/>
                  </a:lnTo>
                  <a:lnTo>
                    <a:pt x="747" y="122"/>
                  </a:lnTo>
                  <a:lnTo>
                    <a:pt x="739" y="118"/>
                  </a:lnTo>
                  <a:lnTo>
                    <a:pt x="729" y="117"/>
                  </a:lnTo>
                  <a:lnTo>
                    <a:pt x="718" y="116"/>
                  </a:lnTo>
                  <a:lnTo>
                    <a:pt x="707" y="114"/>
                  </a:lnTo>
                  <a:lnTo>
                    <a:pt x="707" y="114"/>
                  </a:lnTo>
                  <a:lnTo>
                    <a:pt x="693" y="116"/>
                  </a:lnTo>
                  <a:lnTo>
                    <a:pt x="680" y="118"/>
                  </a:lnTo>
                  <a:lnTo>
                    <a:pt x="666" y="123"/>
                  </a:lnTo>
                  <a:lnTo>
                    <a:pt x="656" y="128"/>
                  </a:lnTo>
                  <a:lnTo>
                    <a:pt x="656" y="128"/>
                  </a:lnTo>
                  <a:lnTo>
                    <a:pt x="653" y="160"/>
                  </a:lnTo>
                  <a:lnTo>
                    <a:pt x="650" y="191"/>
                  </a:lnTo>
                  <a:lnTo>
                    <a:pt x="650" y="191"/>
                  </a:lnTo>
                  <a:lnTo>
                    <a:pt x="648" y="200"/>
                  </a:lnTo>
                  <a:lnTo>
                    <a:pt x="648" y="200"/>
                  </a:lnTo>
                  <a:lnTo>
                    <a:pt x="654" y="208"/>
                  </a:lnTo>
                  <a:lnTo>
                    <a:pt x="659" y="218"/>
                  </a:lnTo>
                  <a:lnTo>
                    <a:pt x="662" y="229"/>
                  </a:lnTo>
                  <a:lnTo>
                    <a:pt x="664" y="241"/>
                  </a:lnTo>
                  <a:lnTo>
                    <a:pt x="665" y="253"/>
                  </a:lnTo>
                  <a:lnTo>
                    <a:pt x="665" y="265"/>
                  </a:lnTo>
                  <a:lnTo>
                    <a:pt x="664" y="278"/>
                  </a:lnTo>
                  <a:lnTo>
                    <a:pt x="662" y="291"/>
                  </a:lnTo>
                  <a:lnTo>
                    <a:pt x="662" y="291"/>
                  </a:lnTo>
                  <a:lnTo>
                    <a:pt x="659" y="303"/>
                  </a:lnTo>
                  <a:lnTo>
                    <a:pt x="654" y="314"/>
                  </a:lnTo>
                  <a:lnTo>
                    <a:pt x="650" y="325"/>
                  </a:lnTo>
                  <a:lnTo>
                    <a:pt x="645" y="334"/>
                  </a:lnTo>
                  <a:lnTo>
                    <a:pt x="638" y="344"/>
                  </a:lnTo>
                  <a:lnTo>
                    <a:pt x="630" y="352"/>
                  </a:lnTo>
                  <a:lnTo>
                    <a:pt x="623" y="360"/>
                  </a:lnTo>
                  <a:lnTo>
                    <a:pt x="615" y="367"/>
                  </a:lnTo>
                  <a:lnTo>
                    <a:pt x="615" y="367"/>
                  </a:lnTo>
                  <a:lnTo>
                    <a:pt x="612" y="373"/>
                  </a:lnTo>
                  <a:lnTo>
                    <a:pt x="612" y="373"/>
                  </a:lnTo>
                  <a:lnTo>
                    <a:pt x="632" y="376"/>
                  </a:lnTo>
                  <a:lnTo>
                    <a:pt x="651" y="379"/>
                  </a:lnTo>
                  <a:lnTo>
                    <a:pt x="651" y="391"/>
                  </a:lnTo>
                  <a:lnTo>
                    <a:pt x="651" y="391"/>
                  </a:lnTo>
                  <a:lnTo>
                    <a:pt x="650" y="398"/>
                  </a:lnTo>
                  <a:lnTo>
                    <a:pt x="648" y="402"/>
                  </a:lnTo>
                  <a:lnTo>
                    <a:pt x="647" y="405"/>
                  </a:lnTo>
                  <a:lnTo>
                    <a:pt x="644" y="408"/>
                  </a:lnTo>
                  <a:lnTo>
                    <a:pt x="639" y="411"/>
                  </a:lnTo>
                  <a:lnTo>
                    <a:pt x="633" y="415"/>
                  </a:lnTo>
                  <a:lnTo>
                    <a:pt x="624" y="419"/>
                  </a:lnTo>
                  <a:lnTo>
                    <a:pt x="624" y="419"/>
                  </a:lnTo>
                  <a:lnTo>
                    <a:pt x="593" y="432"/>
                  </a:lnTo>
                  <a:lnTo>
                    <a:pt x="593" y="461"/>
                  </a:lnTo>
                  <a:lnTo>
                    <a:pt x="593" y="461"/>
                  </a:lnTo>
                  <a:lnTo>
                    <a:pt x="600" y="464"/>
                  </a:lnTo>
                  <a:lnTo>
                    <a:pt x="611" y="469"/>
                  </a:lnTo>
                  <a:lnTo>
                    <a:pt x="611" y="469"/>
                  </a:lnTo>
                  <a:lnTo>
                    <a:pt x="664" y="493"/>
                  </a:lnTo>
                  <a:lnTo>
                    <a:pt x="717" y="517"/>
                  </a:lnTo>
                  <a:lnTo>
                    <a:pt x="741" y="530"/>
                  </a:lnTo>
                  <a:lnTo>
                    <a:pt x="762" y="541"/>
                  </a:lnTo>
                  <a:lnTo>
                    <a:pt x="779" y="552"/>
                  </a:lnTo>
                  <a:lnTo>
                    <a:pt x="791" y="562"/>
                  </a:lnTo>
                  <a:lnTo>
                    <a:pt x="791" y="562"/>
                  </a:lnTo>
                  <a:lnTo>
                    <a:pt x="798" y="570"/>
                  </a:lnTo>
                  <a:lnTo>
                    <a:pt x="798" y="570"/>
                  </a:lnTo>
                  <a:lnTo>
                    <a:pt x="839" y="566"/>
                  </a:lnTo>
                  <a:lnTo>
                    <a:pt x="871" y="563"/>
                  </a:lnTo>
                  <a:lnTo>
                    <a:pt x="895" y="558"/>
                  </a:lnTo>
                  <a:lnTo>
                    <a:pt x="910" y="554"/>
                  </a:lnTo>
                  <a:lnTo>
                    <a:pt x="910" y="554"/>
                  </a:lnTo>
                  <a:lnTo>
                    <a:pt x="913" y="553"/>
                  </a:lnTo>
                  <a:lnTo>
                    <a:pt x="916" y="551"/>
                  </a:lnTo>
                  <a:lnTo>
                    <a:pt x="918" y="548"/>
                  </a:lnTo>
                  <a:lnTo>
                    <a:pt x="918" y="545"/>
                  </a:lnTo>
                  <a:lnTo>
                    <a:pt x="918" y="545"/>
                  </a:lnTo>
                  <a:lnTo>
                    <a:pt x="917" y="534"/>
                  </a:lnTo>
                  <a:lnTo>
                    <a:pt x="912" y="512"/>
                  </a:lnTo>
                  <a:lnTo>
                    <a:pt x="910" y="499"/>
                  </a:lnTo>
                  <a:lnTo>
                    <a:pt x="905" y="488"/>
                  </a:lnTo>
                  <a:lnTo>
                    <a:pt x="899" y="477"/>
                  </a:lnTo>
                  <a:lnTo>
                    <a:pt x="893" y="469"/>
                  </a:lnTo>
                  <a:lnTo>
                    <a:pt x="893" y="469"/>
                  </a:lnTo>
                  <a:close/>
                  <a:moveTo>
                    <a:pt x="128" y="562"/>
                  </a:moveTo>
                  <a:lnTo>
                    <a:pt x="128" y="562"/>
                  </a:lnTo>
                  <a:lnTo>
                    <a:pt x="136" y="556"/>
                  </a:lnTo>
                  <a:lnTo>
                    <a:pt x="146" y="548"/>
                  </a:lnTo>
                  <a:lnTo>
                    <a:pt x="170" y="534"/>
                  </a:lnTo>
                  <a:lnTo>
                    <a:pt x="199" y="518"/>
                  </a:lnTo>
                  <a:lnTo>
                    <a:pt x="230" y="504"/>
                  </a:lnTo>
                  <a:lnTo>
                    <a:pt x="284" y="480"/>
                  </a:lnTo>
                  <a:lnTo>
                    <a:pt x="309" y="469"/>
                  </a:lnTo>
                  <a:lnTo>
                    <a:pt x="309" y="469"/>
                  </a:lnTo>
                  <a:lnTo>
                    <a:pt x="319" y="464"/>
                  </a:lnTo>
                  <a:lnTo>
                    <a:pt x="325" y="461"/>
                  </a:lnTo>
                  <a:lnTo>
                    <a:pt x="325" y="432"/>
                  </a:lnTo>
                  <a:lnTo>
                    <a:pt x="325" y="432"/>
                  </a:lnTo>
                  <a:lnTo>
                    <a:pt x="294" y="419"/>
                  </a:lnTo>
                  <a:lnTo>
                    <a:pt x="294" y="419"/>
                  </a:lnTo>
                  <a:lnTo>
                    <a:pt x="280" y="411"/>
                  </a:lnTo>
                  <a:lnTo>
                    <a:pt x="275" y="408"/>
                  </a:lnTo>
                  <a:lnTo>
                    <a:pt x="271" y="404"/>
                  </a:lnTo>
                  <a:lnTo>
                    <a:pt x="270" y="402"/>
                  </a:lnTo>
                  <a:lnTo>
                    <a:pt x="269" y="398"/>
                  </a:lnTo>
                  <a:lnTo>
                    <a:pt x="268" y="391"/>
                  </a:lnTo>
                  <a:lnTo>
                    <a:pt x="268" y="391"/>
                  </a:lnTo>
                  <a:lnTo>
                    <a:pt x="268" y="363"/>
                  </a:lnTo>
                  <a:lnTo>
                    <a:pt x="268" y="363"/>
                  </a:lnTo>
                  <a:lnTo>
                    <a:pt x="271" y="358"/>
                  </a:lnTo>
                  <a:lnTo>
                    <a:pt x="274" y="354"/>
                  </a:lnTo>
                  <a:lnTo>
                    <a:pt x="278" y="340"/>
                  </a:lnTo>
                  <a:lnTo>
                    <a:pt x="278" y="340"/>
                  </a:lnTo>
                  <a:lnTo>
                    <a:pt x="271" y="330"/>
                  </a:lnTo>
                  <a:lnTo>
                    <a:pt x="265" y="318"/>
                  </a:lnTo>
                  <a:lnTo>
                    <a:pt x="260" y="304"/>
                  </a:lnTo>
                  <a:lnTo>
                    <a:pt x="257" y="291"/>
                  </a:lnTo>
                  <a:lnTo>
                    <a:pt x="257" y="291"/>
                  </a:lnTo>
                  <a:lnTo>
                    <a:pt x="254" y="278"/>
                  </a:lnTo>
                  <a:lnTo>
                    <a:pt x="253" y="265"/>
                  </a:lnTo>
                  <a:lnTo>
                    <a:pt x="253" y="253"/>
                  </a:lnTo>
                  <a:lnTo>
                    <a:pt x="254" y="241"/>
                  </a:lnTo>
                  <a:lnTo>
                    <a:pt x="256" y="229"/>
                  </a:lnTo>
                  <a:lnTo>
                    <a:pt x="259" y="218"/>
                  </a:lnTo>
                  <a:lnTo>
                    <a:pt x="264" y="208"/>
                  </a:lnTo>
                  <a:lnTo>
                    <a:pt x="269" y="200"/>
                  </a:lnTo>
                  <a:lnTo>
                    <a:pt x="269" y="200"/>
                  </a:lnTo>
                  <a:lnTo>
                    <a:pt x="266" y="166"/>
                  </a:lnTo>
                  <a:lnTo>
                    <a:pt x="264" y="128"/>
                  </a:lnTo>
                  <a:lnTo>
                    <a:pt x="264" y="128"/>
                  </a:lnTo>
                  <a:lnTo>
                    <a:pt x="260" y="125"/>
                  </a:lnTo>
                  <a:lnTo>
                    <a:pt x="256" y="123"/>
                  </a:lnTo>
                  <a:lnTo>
                    <a:pt x="245" y="118"/>
                  </a:lnTo>
                  <a:lnTo>
                    <a:pt x="229" y="116"/>
                  </a:lnTo>
                  <a:lnTo>
                    <a:pt x="211" y="114"/>
                  </a:lnTo>
                  <a:lnTo>
                    <a:pt x="211" y="114"/>
                  </a:lnTo>
                  <a:lnTo>
                    <a:pt x="197" y="116"/>
                  </a:lnTo>
                  <a:lnTo>
                    <a:pt x="182" y="118"/>
                  </a:lnTo>
                  <a:lnTo>
                    <a:pt x="170" y="120"/>
                  </a:lnTo>
                  <a:lnTo>
                    <a:pt x="158" y="124"/>
                  </a:lnTo>
                  <a:lnTo>
                    <a:pt x="141" y="131"/>
                  </a:lnTo>
                  <a:lnTo>
                    <a:pt x="134" y="134"/>
                  </a:lnTo>
                  <a:lnTo>
                    <a:pt x="134" y="134"/>
                  </a:lnTo>
                  <a:lnTo>
                    <a:pt x="131" y="137"/>
                  </a:lnTo>
                  <a:lnTo>
                    <a:pt x="124" y="148"/>
                  </a:lnTo>
                  <a:lnTo>
                    <a:pt x="121" y="156"/>
                  </a:lnTo>
                  <a:lnTo>
                    <a:pt x="118" y="166"/>
                  </a:lnTo>
                  <a:lnTo>
                    <a:pt x="116" y="178"/>
                  </a:lnTo>
                  <a:lnTo>
                    <a:pt x="115" y="191"/>
                  </a:lnTo>
                  <a:lnTo>
                    <a:pt x="115" y="191"/>
                  </a:lnTo>
                  <a:lnTo>
                    <a:pt x="116" y="215"/>
                  </a:lnTo>
                  <a:lnTo>
                    <a:pt x="118" y="232"/>
                  </a:lnTo>
                  <a:lnTo>
                    <a:pt x="119" y="244"/>
                  </a:lnTo>
                  <a:lnTo>
                    <a:pt x="119" y="244"/>
                  </a:lnTo>
                  <a:lnTo>
                    <a:pt x="117" y="245"/>
                  </a:lnTo>
                  <a:lnTo>
                    <a:pt x="115" y="248"/>
                  </a:lnTo>
                  <a:lnTo>
                    <a:pt x="112" y="253"/>
                  </a:lnTo>
                  <a:lnTo>
                    <a:pt x="110" y="257"/>
                  </a:lnTo>
                  <a:lnTo>
                    <a:pt x="110" y="263"/>
                  </a:lnTo>
                  <a:lnTo>
                    <a:pt x="109" y="269"/>
                  </a:lnTo>
                  <a:lnTo>
                    <a:pt x="110" y="277"/>
                  </a:lnTo>
                  <a:lnTo>
                    <a:pt x="111" y="284"/>
                  </a:lnTo>
                  <a:lnTo>
                    <a:pt x="111" y="284"/>
                  </a:lnTo>
                  <a:lnTo>
                    <a:pt x="112" y="291"/>
                  </a:lnTo>
                  <a:lnTo>
                    <a:pt x="116" y="298"/>
                  </a:lnTo>
                  <a:lnTo>
                    <a:pt x="118" y="303"/>
                  </a:lnTo>
                  <a:lnTo>
                    <a:pt x="122" y="308"/>
                  </a:lnTo>
                  <a:lnTo>
                    <a:pt x="127" y="313"/>
                  </a:lnTo>
                  <a:lnTo>
                    <a:pt x="130" y="315"/>
                  </a:lnTo>
                  <a:lnTo>
                    <a:pt x="134" y="316"/>
                  </a:lnTo>
                  <a:lnTo>
                    <a:pt x="137" y="316"/>
                  </a:lnTo>
                  <a:lnTo>
                    <a:pt x="137" y="316"/>
                  </a:lnTo>
                  <a:lnTo>
                    <a:pt x="141" y="336"/>
                  </a:lnTo>
                  <a:lnTo>
                    <a:pt x="147" y="351"/>
                  </a:lnTo>
                  <a:lnTo>
                    <a:pt x="150" y="358"/>
                  </a:lnTo>
                  <a:lnTo>
                    <a:pt x="153" y="363"/>
                  </a:lnTo>
                  <a:lnTo>
                    <a:pt x="153" y="363"/>
                  </a:lnTo>
                  <a:lnTo>
                    <a:pt x="153" y="391"/>
                  </a:lnTo>
                  <a:lnTo>
                    <a:pt x="153" y="391"/>
                  </a:lnTo>
                  <a:lnTo>
                    <a:pt x="153" y="398"/>
                  </a:lnTo>
                  <a:lnTo>
                    <a:pt x="152" y="402"/>
                  </a:lnTo>
                  <a:lnTo>
                    <a:pt x="150" y="405"/>
                  </a:lnTo>
                  <a:lnTo>
                    <a:pt x="146" y="408"/>
                  </a:lnTo>
                  <a:lnTo>
                    <a:pt x="142" y="411"/>
                  </a:lnTo>
                  <a:lnTo>
                    <a:pt x="135" y="415"/>
                  </a:lnTo>
                  <a:lnTo>
                    <a:pt x="128" y="419"/>
                  </a:lnTo>
                  <a:lnTo>
                    <a:pt x="128" y="419"/>
                  </a:lnTo>
                  <a:lnTo>
                    <a:pt x="103" y="428"/>
                  </a:lnTo>
                  <a:lnTo>
                    <a:pt x="72" y="443"/>
                  </a:lnTo>
                  <a:lnTo>
                    <a:pt x="43" y="457"/>
                  </a:lnTo>
                  <a:lnTo>
                    <a:pt x="33" y="463"/>
                  </a:lnTo>
                  <a:lnTo>
                    <a:pt x="25" y="469"/>
                  </a:lnTo>
                  <a:lnTo>
                    <a:pt x="25" y="469"/>
                  </a:lnTo>
                  <a:lnTo>
                    <a:pt x="19" y="477"/>
                  </a:lnTo>
                  <a:lnTo>
                    <a:pt x="13" y="488"/>
                  </a:lnTo>
                  <a:lnTo>
                    <a:pt x="9" y="499"/>
                  </a:lnTo>
                  <a:lnTo>
                    <a:pt x="6" y="512"/>
                  </a:lnTo>
                  <a:lnTo>
                    <a:pt x="1" y="534"/>
                  </a:lnTo>
                  <a:lnTo>
                    <a:pt x="0" y="545"/>
                  </a:lnTo>
                  <a:lnTo>
                    <a:pt x="0" y="545"/>
                  </a:lnTo>
                  <a:lnTo>
                    <a:pt x="0" y="548"/>
                  </a:lnTo>
                  <a:lnTo>
                    <a:pt x="2" y="551"/>
                  </a:lnTo>
                  <a:lnTo>
                    <a:pt x="5" y="553"/>
                  </a:lnTo>
                  <a:lnTo>
                    <a:pt x="9" y="554"/>
                  </a:lnTo>
                  <a:lnTo>
                    <a:pt x="9" y="554"/>
                  </a:lnTo>
                  <a:lnTo>
                    <a:pt x="23" y="558"/>
                  </a:lnTo>
                  <a:lnTo>
                    <a:pt x="47" y="563"/>
                  </a:lnTo>
                  <a:lnTo>
                    <a:pt x="80" y="566"/>
                  </a:lnTo>
                  <a:lnTo>
                    <a:pt x="121" y="570"/>
                  </a:lnTo>
                  <a:lnTo>
                    <a:pt x="121" y="570"/>
                  </a:lnTo>
                  <a:lnTo>
                    <a:pt x="128" y="562"/>
                  </a:lnTo>
                  <a:lnTo>
                    <a:pt x="128" y="562"/>
                  </a:lnTo>
                  <a:close/>
                  <a:moveTo>
                    <a:pt x="595" y="506"/>
                  </a:moveTo>
                  <a:lnTo>
                    <a:pt x="595" y="506"/>
                  </a:lnTo>
                  <a:lnTo>
                    <a:pt x="582" y="500"/>
                  </a:lnTo>
                  <a:lnTo>
                    <a:pt x="571" y="494"/>
                  </a:lnTo>
                  <a:lnTo>
                    <a:pt x="564" y="489"/>
                  </a:lnTo>
                  <a:lnTo>
                    <a:pt x="559" y="483"/>
                  </a:lnTo>
                  <a:lnTo>
                    <a:pt x="556" y="479"/>
                  </a:lnTo>
                  <a:lnTo>
                    <a:pt x="554" y="473"/>
                  </a:lnTo>
                  <a:lnTo>
                    <a:pt x="553" y="467"/>
                  </a:lnTo>
                  <a:lnTo>
                    <a:pt x="553" y="462"/>
                  </a:lnTo>
                  <a:lnTo>
                    <a:pt x="553" y="462"/>
                  </a:lnTo>
                  <a:lnTo>
                    <a:pt x="553" y="414"/>
                  </a:lnTo>
                  <a:lnTo>
                    <a:pt x="553" y="414"/>
                  </a:lnTo>
                  <a:lnTo>
                    <a:pt x="559" y="405"/>
                  </a:lnTo>
                  <a:lnTo>
                    <a:pt x="564" y="394"/>
                  </a:lnTo>
                  <a:lnTo>
                    <a:pt x="569" y="382"/>
                  </a:lnTo>
                  <a:lnTo>
                    <a:pt x="572" y="369"/>
                  </a:lnTo>
                  <a:lnTo>
                    <a:pt x="577" y="346"/>
                  </a:lnTo>
                  <a:lnTo>
                    <a:pt x="580" y="336"/>
                  </a:lnTo>
                  <a:lnTo>
                    <a:pt x="580" y="336"/>
                  </a:lnTo>
                  <a:lnTo>
                    <a:pt x="585" y="336"/>
                  </a:lnTo>
                  <a:lnTo>
                    <a:pt x="591" y="333"/>
                  </a:lnTo>
                  <a:lnTo>
                    <a:pt x="598" y="330"/>
                  </a:lnTo>
                  <a:lnTo>
                    <a:pt x="604" y="324"/>
                  </a:lnTo>
                  <a:lnTo>
                    <a:pt x="610" y="315"/>
                  </a:lnTo>
                  <a:lnTo>
                    <a:pt x="615" y="306"/>
                  </a:lnTo>
                  <a:lnTo>
                    <a:pt x="619" y="295"/>
                  </a:lnTo>
                  <a:lnTo>
                    <a:pt x="623" y="283"/>
                  </a:lnTo>
                  <a:lnTo>
                    <a:pt x="623" y="283"/>
                  </a:lnTo>
                  <a:lnTo>
                    <a:pt x="625" y="271"/>
                  </a:lnTo>
                  <a:lnTo>
                    <a:pt x="625" y="259"/>
                  </a:lnTo>
                  <a:lnTo>
                    <a:pt x="625" y="248"/>
                  </a:lnTo>
                  <a:lnTo>
                    <a:pt x="623" y="238"/>
                  </a:lnTo>
                  <a:lnTo>
                    <a:pt x="621" y="230"/>
                  </a:lnTo>
                  <a:lnTo>
                    <a:pt x="617" y="223"/>
                  </a:lnTo>
                  <a:lnTo>
                    <a:pt x="612" y="218"/>
                  </a:lnTo>
                  <a:lnTo>
                    <a:pt x="607" y="215"/>
                  </a:lnTo>
                  <a:lnTo>
                    <a:pt x="607" y="215"/>
                  </a:lnTo>
                  <a:lnTo>
                    <a:pt x="609" y="203"/>
                  </a:lnTo>
                  <a:lnTo>
                    <a:pt x="611" y="176"/>
                  </a:lnTo>
                  <a:lnTo>
                    <a:pt x="615" y="141"/>
                  </a:lnTo>
                  <a:lnTo>
                    <a:pt x="616" y="112"/>
                  </a:lnTo>
                  <a:lnTo>
                    <a:pt x="616" y="112"/>
                  </a:lnTo>
                  <a:lnTo>
                    <a:pt x="615" y="94"/>
                  </a:lnTo>
                  <a:lnTo>
                    <a:pt x="612" y="80"/>
                  </a:lnTo>
                  <a:lnTo>
                    <a:pt x="607" y="65"/>
                  </a:lnTo>
                  <a:lnTo>
                    <a:pt x="601" y="54"/>
                  </a:lnTo>
                  <a:lnTo>
                    <a:pt x="597" y="50"/>
                  </a:lnTo>
                  <a:lnTo>
                    <a:pt x="593" y="45"/>
                  </a:lnTo>
                  <a:lnTo>
                    <a:pt x="587" y="41"/>
                  </a:lnTo>
                  <a:lnTo>
                    <a:pt x="582" y="38"/>
                  </a:lnTo>
                  <a:lnTo>
                    <a:pt x="576" y="35"/>
                  </a:lnTo>
                  <a:lnTo>
                    <a:pt x="569" y="34"/>
                  </a:lnTo>
                  <a:lnTo>
                    <a:pt x="562" y="33"/>
                  </a:lnTo>
                  <a:lnTo>
                    <a:pt x="553" y="32"/>
                  </a:lnTo>
                  <a:lnTo>
                    <a:pt x="553" y="32"/>
                  </a:lnTo>
                  <a:lnTo>
                    <a:pt x="548" y="25"/>
                  </a:lnTo>
                  <a:lnTo>
                    <a:pt x="542" y="19"/>
                  </a:lnTo>
                  <a:lnTo>
                    <a:pt x="535" y="13"/>
                  </a:lnTo>
                  <a:lnTo>
                    <a:pt x="527" y="9"/>
                  </a:lnTo>
                  <a:lnTo>
                    <a:pt x="516" y="5"/>
                  </a:lnTo>
                  <a:lnTo>
                    <a:pt x="503" y="3"/>
                  </a:lnTo>
                  <a:lnTo>
                    <a:pt x="487" y="0"/>
                  </a:lnTo>
                  <a:lnTo>
                    <a:pt x="469" y="0"/>
                  </a:lnTo>
                  <a:lnTo>
                    <a:pt x="469" y="0"/>
                  </a:lnTo>
                  <a:lnTo>
                    <a:pt x="458" y="0"/>
                  </a:lnTo>
                  <a:lnTo>
                    <a:pt x="450" y="1"/>
                  </a:lnTo>
                  <a:lnTo>
                    <a:pt x="431" y="5"/>
                  </a:lnTo>
                  <a:lnTo>
                    <a:pt x="416" y="10"/>
                  </a:lnTo>
                  <a:lnTo>
                    <a:pt x="400" y="16"/>
                  </a:lnTo>
                  <a:lnTo>
                    <a:pt x="386" y="22"/>
                  </a:lnTo>
                  <a:lnTo>
                    <a:pt x="370" y="27"/>
                  </a:lnTo>
                  <a:lnTo>
                    <a:pt x="353" y="30"/>
                  </a:lnTo>
                  <a:lnTo>
                    <a:pt x="344" y="32"/>
                  </a:lnTo>
                  <a:lnTo>
                    <a:pt x="334" y="32"/>
                  </a:lnTo>
                  <a:lnTo>
                    <a:pt x="334" y="32"/>
                  </a:lnTo>
                  <a:lnTo>
                    <a:pt x="330" y="33"/>
                  </a:lnTo>
                  <a:lnTo>
                    <a:pt x="327" y="34"/>
                  </a:lnTo>
                  <a:lnTo>
                    <a:pt x="323" y="36"/>
                  </a:lnTo>
                  <a:lnTo>
                    <a:pt x="319" y="39"/>
                  </a:lnTo>
                  <a:lnTo>
                    <a:pt x="315" y="46"/>
                  </a:lnTo>
                  <a:lnTo>
                    <a:pt x="310" y="56"/>
                  </a:lnTo>
                  <a:lnTo>
                    <a:pt x="307" y="68"/>
                  </a:lnTo>
                  <a:lnTo>
                    <a:pt x="305" y="81"/>
                  </a:lnTo>
                  <a:lnTo>
                    <a:pt x="304" y="95"/>
                  </a:lnTo>
                  <a:lnTo>
                    <a:pt x="304" y="111"/>
                  </a:lnTo>
                  <a:lnTo>
                    <a:pt x="304" y="111"/>
                  </a:lnTo>
                  <a:lnTo>
                    <a:pt x="305" y="146"/>
                  </a:lnTo>
                  <a:lnTo>
                    <a:pt x="307" y="179"/>
                  </a:lnTo>
                  <a:lnTo>
                    <a:pt x="311" y="215"/>
                  </a:lnTo>
                  <a:lnTo>
                    <a:pt x="311" y="215"/>
                  </a:lnTo>
                  <a:lnTo>
                    <a:pt x="306" y="218"/>
                  </a:lnTo>
                  <a:lnTo>
                    <a:pt x="301" y="223"/>
                  </a:lnTo>
                  <a:lnTo>
                    <a:pt x="298" y="230"/>
                  </a:lnTo>
                  <a:lnTo>
                    <a:pt x="295" y="238"/>
                  </a:lnTo>
                  <a:lnTo>
                    <a:pt x="293" y="248"/>
                  </a:lnTo>
                  <a:lnTo>
                    <a:pt x="293" y="259"/>
                  </a:lnTo>
                  <a:lnTo>
                    <a:pt x="293" y="271"/>
                  </a:lnTo>
                  <a:lnTo>
                    <a:pt x="295" y="283"/>
                  </a:lnTo>
                  <a:lnTo>
                    <a:pt x="295" y="283"/>
                  </a:lnTo>
                  <a:lnTo>
                    <a:pt x="299" y="295"/>
                  </a:lnTo>
                  <a:lnTo>
                    <a:pt x="304" y="306"/>
                  </a:lnTo>
                  <a:lnTo>
                    <a:pt x="309" y="315"/>
                  </a:lnTo>
                  <a:lnTo>
                    <a:pt x="315" y="324"/>
                  </a:lnTo>
                  <a:lnTo>
                    <a:pt x="321" y="330"/>
                  </a:lnTo>
                  <a:lnTo>
                    <a:pt x="328" y="333"/>
                  </a:lnTo>
                  <a:lnTo>
                    <a:pt x="334" y="336"/>
                  </a:lnTo>
                  <a:lnTo>
                    <a:pt x="339" y="336"/>
                  </a:lnTo>
                  <a:lnTo>
                    <a:pt x="339" y="336"/>
                  </a:lnTo>
                  <a:lnTo>
                    <a:pt x="341" y="346"/>
                  </a:lnTo>
                  <a:lnTo>
                    <a:pt x="346" y="369"/>
                  </a:lnTo>
                  <a:lnTo>
                    <a:pt x="350" y="382"/>
                  </a:lnTo>
                  <a:lnTo>
                    <a:pt x="354" y="394"/>
                  </a:lnTo>
                  <a:lnTo>
                    <a:pt x="359" y="405"/>
                  </a:lnTo>
                  <a:lnTo>
                    <a:pt x="365" y="414"/>
                  </a:lnTo>
                  <a:lnTo>
                    <a:pt x="365" y="414"/>
                  </a:lnTo>
                  <a:lnTo>
                    <a:pt x="365" y="462"/>
                  </a:lnTo>
                  <a:lnTo>
                    <a:pt x="365" y="462"/>
                  </a:lnTo>
                  <a:lnTo>
                    <a:pt x="365" y="467"/>
                  </a:lnTo>
                  <a:lnTo>
                    <a:pt x="364" y="473"/>
                  </a:lnTo>
                  <a:lnTo>
                    <a:pt x="363" y="479"/>
                  </a:lnTo>
                  <a:lnTo>
                    <a:pt x="359" y="483"/>
                  </a:lnTo>
                  <a:lnTo>
                    <a:pt x="354" y="489"/>
                  </a:lnTo>
                  <a:lnTo>
                    <a:pt x="347" y="494"/>
                  </a:lnTo>
                  <a:lnTo>
                    <a:pt x="336" y="500"/>
                  </a:lnTo>
                  <a:lnTo>
                    <a:pt x="323" y="506"/>
                  </a:lnTo>
                  <a:lnTo>
                    <a:pt x="323" y="506"/>
                  </a:lnTo>
                  <a:lnTo>
                    <a:pt x="283" y="523"/>
                  </a:lnTo>
                  <a:lnTo>
                    <a:pt x="233" y="547"/>
                  </a:lnTo>
                  <a:lnTo>
                    <a:pt x="207" y="559"/>
                  </a:lnTo>
                  <a:lnTo>
                    <a:pt x="186" y="571"/>
                  </a:lnTo>
                  <a:lnTo>
                    <a:pt x="168" y="582"/>
                  </a:lnTo>
                  <a:lnTo>
                    <a:pt x="157" y="590"/>
                  </a:lnTo>
                  <a:lnTo>
                    <a:pt x="157" y="590"/>
                  </a:lnTo>
                  <a:lnTo>
                    <a:pt x="151" y="596"/>
                  </a:lnTo>
                  <a:lnTo>
                    <a:pt x="146" y="605"/>
                  </a:lnTo>
                  <a:lnTo>
                    <a:pt x="141" y="613"/>
                  </a:lnTo>
                  <a:lnTo>
                    <a:pt x="136" y="622"/>
                  </a:lnTo>
                  <a:lnTo>
                    <a:pt x="129" y="642"/>
                  </a:lnTo>
                  <a:lnTo>
                    <a:pt x="124" y="661"/>
                  </a:lnTo>
                  <a:lnTo>
                    <a:pt x="119" y="682"/>
                  </a:lnTo>
                  <a:lnTo>
                    <a:pt x="117" y="699"/>
                  </a:lnTo>
                  <a:lnTo>
                    <a:pt x="115" y="718"/>
                  </a:lnTo>
                  <a:lnTo>
                    <a:pt x="115" y="718"/>
                  </a:lnTo>
                  <a:lnTo>
                    <a:pt x="116" y="723"/>
                  </a:lnTo>
                  <a:lnTo>
                    <a:pt x="118" y="727"/>
                  </a:lnTo>
                  <a:lnTo>
                    <a:pt x="122" y="731"/>
                  </a:lnTo>
                  <a:lnTo>
                    <a:pt x="128" y="733"/>
                  </a:lnTo>
                  <a:lnTo>
                    <a:pt x="128" y="733"/>
                  </a:lnTo>
                  <a:lnTo>
                    <a:pt x="145" y="737"/>
                  </a:lnTo>
                  <a:lnTo>
                    <a:pt x="168" y="742"/>
                  </a:lnTo>
                  <a:lnTo>
                    <a:pt x="199" y="747"/>
                  </a:lnTo>
                  <a:lnTo>
                    <a:pt x="236" y="751"/>
                  </a:lnTo>
                  <a:lnTo>
                    <a:pt x="281" y="756"/>
                  </a:lnTo>
                  <a:lnTo>
                    <a:pt x="334" y="760"/>
                  </a:lnTo>
                  <a:lnTo>
                    <a:pt x="393" y="762"/>
                  </a:lnTo>
                  <a:lnTo>
                    <a:pt x="459" y="763"/>
                  </a:lnTo>
                  <a:lnTo>
                    <a:pt x="459" y="763"/>
                  </a:lnTo>
                  <a:lnTo>
                    <a:pt x="525" y="762"/>
                  </a:lnTo>
                  <a:lnTo>
                    <a:pt x="585" y="760"/>
                  </a:lnTo>
                  <a:lnTo>
                    <a:pt x="638" y="756"/>
                  </a:lnTo>
                  <a:lnTo>
                    <a:pt x="682" y="751"/>
                  </a:lnTo>
                  <a:lnTo>
                    <a:pt x="719" y="747"/>
                  </a:lnTo>
                  <a:lnTo>
                    <a:pt x="751" y="742"/>
                  </a:lnTo>
                  <a:lnTo>
                    <a:pt x="774" y="737"/>
                  </a:lnTo>
                  <a:lnTo>
                    <a:pt x="791" y="733"/>
                  </a:lnTo>
                  <a:lnTo>
                    <a:pt x="791" y="733"/>
                  </a:lnTo>
                  <a:lnTo>
                    <a:pt x="797" y="731"/>
                  </a:lnTo>
                  <a:lnTo>
                    <a:pt x="800" y="727"/>
                  </a:lnTo>
                  <a:lnTo>
                    <a:pt x="803" y="723"/>
                  </a:lnTo>
                  <a:lnTo>
                    <a:pt x="804" y="718"/>
                  </a:lnTo>
                  <a:lnTo>
                    <a:pt x="804" y="718"/>
                  </a:lnTo>
                  <a:lnTo>
                    <a:pt x="801" y="699"/>
                  </a:lnTo>
                  <a:lnTo>
                    <a:pt x="799" y="682"/>
                  </a:lnTo>
                  <a:lnTo>
                    <a:pt x="794" y="661"/>
                  </a:lnTo>
                  <a:lnTo>
                    <a:pt x="789" y="642"/>
                  </a:lnTo>
                  <a:lnTo>
                    <a:pt x="782" y="622"/>
                  </a:lnTo>
                  <a:lnTo>
                    <a:pt x="777" y="613"/>
                  </a:lnTo>
                  <a:lnTo>
                    <a:pt x="772" y="605"/>
                  </a:lnTo>
                  <a:lnTo>
                    <a:pt x="768" y="596"/>
                  </a:lnTo>
                  <a:lnTo>
                    <a:pt x="762" y="590"/>
                  </a:lnTo>
                  <a:lnTo>
                    <a:pt x="762" y="590"/>
                  </a:lnTo>
                  <a:lnTo>
                    <a:pt x="751" y="582"/>
                  </a:lnTo>
                  <a:lnTo>
                    <a:pt x="733" y="571"/>
                  </a:lnTo>
                  <a:lnTo>
                    <a:pt x="711" y="559"/>
                  </a:lnTo>
                  <a:lnTo>
                    <a:pt x="686" y="547"/>
                  </a:lnTo>
                  <a:lnTo>
                    <a:pt x="635" y="524"/>
                  </a:lnTo>
                  <a:lnTo>
                    <a:pt x="595" y="506"/>
                  </a:lnTo>
                  <a:lnTo>
                    <a:pt x="595" y="50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53" name="Group 1552">
            <a:extLst>
              <a:ext uri="{FF2B5EF4-FFF2-40B4-BE49-F238E27FC236}">
                <a16:creationId xmlns:a16="http://schemas.microsoft.com/office/drawing/2014/main" id="{343A1E99-4B7F-4837-A378-64D0CFB068AE}"/>
              </a:ext>
            </a:extLst>
          </p:cNvPr>
          <p:cNvGrpSpPr/>
          <p:nvPr/>
        </p:nvGrpSpPr>
        <p:grpSpPr>
          <a:xfrm>
            <a:off x="7575648" y="3943380"/>
            <a:ext cx="612775" cy="612775"/>
            <a:chOff x="6421019" y="4581723"/>
            <a:chExt cx="612775" cy="612775"/>
          </a:xfrm>
        </p:grpSpPr>
        <p:sp>
          <p:nvSpPr>
            <p:cNvPr id="1554" name="Oval 1553">
              <a:extLst>
                <a:ext uri="{FF2B5EF4-FFF2-40B4-BE49-F238E27FC236}">
                  <a16:creationId xmlns:a16="http://schemas.microsoft.com/office/drawing/2014/main" id="{F13CAF85-06DD-490E-BEB3-0AACC5F67755}"/>
                </a:ext>
              </a:extLst>
            </p:cNvPr>
            <p:cNvSpPr/>
            <p:nvPr/>
          </p:nvSpPr>
          <p:spPr bwMode="ltGray">
            <a:xfrm>
              <a:off x="6421019"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55" name="Freeform 136">
              <a:extLst>
                <a:ext uri="{FF2B5EF4-FFF2-40B4-BE49-F238E27FC236}">
                  <a16:creationId xmlns:a16="http://schemas.microsoft.com/office/drawing/2014/main" id="{6130988F-CF48-435F-AA19-E2EF6BD50C2B}"/>
                </a:ext>
              </a:extLst>
            </p:cNvPr>
            <p:cNvSpPr>
              <a:spLocks noEditPoints="1"/>
            </p:cNvSpPr>
            <p:nvPr/>
          </p:nvSpPr>
          <p:spPr bwMode="auto">
            <a:xfrm>
              <a:off x="6513839" y="4682184"/>
              <a:ext cx="435848" cy="435848"/>
            </a:xfrm>
            <a:custGeom>
              <a:avLst/>
              <a:gdLst>
                <a:gd name="T0" fmla="*/ 388 w 866"/>
                <a:gd name="T1" fmla="*/ 3 h 866"/>
                <a:gd name="T2" fmla="*/ 304 w 866"/>
                <a:gd name="T3" fmla="*/ 19 h 866"/>
                <a:gd name="T4" fmla="*/ 227 w 866"/>
                <a:gd name="T5" fmla="*/ 53 h 866"/>
                <a:gd name="T6" fmla="*/ 158 w 866"/>
                <a:gd name="T7" fmla="*/ 99 h 866"/>
                <a:gd name="T8" fmla="*/ 99 w 866"/>
                <a:gd name="T9" fmla="*/ 158 h 866"/>
                <a:gd name="T10" fmla="*/ 53 w 866"/>
                <a:gd name="T11" fmla="*/ 226 h 866"/>
                <a:gd name="T12" fmla="*/ 19 w 866"/>
                <a:gd name="T13" fmla="*/ 304 h 866"/>
                <a:gd name="T14" fmla="*/ 3 w 866"/>
                <a:gd name="T15" fmla="*/ 388 h 866"/>
                <a:gd name="T16" fmla="*/ 1 w 866"/>
                <a:gd name="T17" fmla="*/ 456 h 866"/>
                <a:gd name="T18" fmla="*/ 15 w 866"/>
                <a:gd name="T19" fmla="*/ 541 h 866"/>
                <a:gd name="T20" fmla="*/ 43 w 866"/>
                <a:gd name="T21" fmla="*/ 620 h 866"/>
                <a:gd name="T22" fmla="*/ 87 w 866"/>
                <a:gd name="T23" fmla="*/ 691 h 866"/>
                <a:gd name="T24" fmla="*/ 142 w 866"/>
                <a:gd name="T25" fmla="*/ 754 h 866"/>
                <a:gd name="T26" fmla="*/ 209 w 866"/>
                <a:gd name="T27" fmla="*/ 803 h 866"/>
                <a:gd name="T28" fmla="*/ 284 w 866"/>
                <a:gd name="T29" fmla="*/ 839 h 866"/>
                <a:gd name="T30" fmla="*/ 367 w 866"/>
                <a:gd name="T31" fmla="*/ 861 h 866"/>
                <a:gd name="T32" fmla="*/ 433 w 866"/>
                <a:gd name="T33" fmla="*/ 866 h 866"/>
                <a:gd name="T34" fmla="*/ 521 w 866"/>
                <a:gd name="T35" fmla="*/ 857 h 866"/>
                <a:gd name="T36" fmla="*/ 601 w 866"/>
                <a:gd name="T37" fmla="*/ 832 h 866"/>
                <a:gd name="T38" fmla="*/ 676 w 866"/>
                <a:gd name="T39" fmla="*/ 792 h 866"/>
                <a:gd name="T40" fmla="*/ 739 w 866"/>
                <a:gd name="T41" fmla="*/ 739 h 866"/>
                <a:gd name="T42" fmla="*/ 792 w 866"/>
                <a:gd name="T43" fmla="*/ 674 h 866"/>
                <a:gd name="T44" fmla="*/ 832 w 866"/>
                <a:gd name="T45" fmla="*/ 601 h 866"/>
                <a:gd name="T46" fmla="*/ 857 w 866"/>
                <a:gd name="T47" fmla="*/ 521 h 866"/>
                <a:gd name="T48" fmla="*/ 866 w 866"/>
                <a:gd name="T49" fmla="*/ 433 h 866"/>
                <a:gd name="T50" fmla="*/ 861 w 866"/>
                <a:gd name="T51" fmla="*/ 367 h 866"/>
                <a:gd name="T52" fmla="*/ 839 w 866"/>
                <a:gd name="T53" fmla="*/ 284 h 866"/>
                <a:gd name="T54" fmla="*/ 803 w 866"/>
                <a:gd name="T55" fmla="*/ 208 h 866"/>
                <a:gd name="T56" fmla="*/ 754 w 866"/>
                <a:gd name="T57" fmla="*/ 142 h 866"/>
                <a:gd name="T58" fmla="*/ 693 w 866"/>
                <a:gd name="T59" fmla="*/ 87 h 866"/>
                <a:gd name="T60" fmla="*/ 620 w 866"/>
                <a:gd name="T61" fmla="*/ 43 h 866"/>
                <a:gd name="T62" fmla="*/ 541 w 866"/>
                <a:gd name="T63" fmla="*/ 13 h 866"/>
                <a:gd name="T64" fmla="*/ 456 w 866"/>
                <a:gd name="T65" fmla="*/ 1 h 866"/>
                <a:gd name="T66" fmla="*/ 361 w 866"/>
                <a:gd name="T67" fmla="*/ 721 h 866"/>
                <a:gd name="T68" fmla="*/ 433 w 866"/>
                <a:gd name="T69" fmla="*/ 293 h 866"/>
                <a:gd name="T70" fmla="*/ 410 w 866"/>
                <a:gd name="T71" fmla="*/ 290 h 866"/>
                <a:gd name="T72" fmla="*/ 379 w 866"/>
                <a:gd name="T73" fmla="*/ 271 h 866"/>
                <a:gd name="T74" fmla="*/ 360 w 866"/>
                <a:gd name="T75" fmla="*/ 239 h 866"/>
                <a:gd name="T76" fmla="*/ 356 w 866"/>
                <a:gd name="T77" fmla="*/ 217 h 866"/>
                <a:gd name="T78" fmla="*/ 363 w 866"/>
                <a:gd name="T79" fmla="*/ 187 h 866"/>
                <a:gd name="T80" fmla="*/ 391 w 866"/>
                <a:gd name="T81" fmla="*/ 153 h 866"/>
                <a:gd name="T82" fmla="*/ 417 w 866"/>
                <a:gd name="T83" fmla="*/ 142 h 866"/>
                <a:gd name="T84" fmla="*/ 441 w 866"/>
                <a:gd name="T85" fmla="*/ 141 h 866"/>
                <a:gd name="T86" fmla="*/ 470 w 866"/>
                <a:gd name="T87" fmla="*/ 149 h 866"/>
                <a:gd name="T88" fmla="*/ 500 w 866"/>
                <a:gd name="T89" fmla="*/ 181 h 866"/>
                <a:gd name="T90" fmla="*/ 510 w 866"/>
                <a:gd name="T91" fmla="*/ 209 h 866"/>
                <a:gd name="T92" fmla="*/ 509 w 866"/>
                <a:gd name="T93" fmla="*/ 232 h 866"/>
                <a:gd name="T94" fmla="*/ 497 w 866"/>
                <a:gd name="T95" fmla="*/ 260 h 866"/>
                <a:gd name="T96" fmla="*/ 463 w 866"/>
                <a:gd name="T97" fmla="*/ 287 h 866"/>
                <a:gd name="T98" fmla="*/ 433 w 866"/>
                <a:gd name="T99" fmla="*/ 293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866" h="866">
                  <a:moveTo>
                    <a:pt x="433" y="0"/>
                  </a:moveTo>
                  <a:lnTo>
                    <a:pt x="433" y="0"/>
                  </a:lnTo>
                  <a:lnTo>
                    <a:pt x="411" y="1"/>
                  </a:lnTo>
                  <a:lnTo>
                    <a:pt x="388" y="3"/>
                  </a:lnTo>
                  <a:lnTo>
                    <a:pt x="367" y="5"/>
                  </a:lnTo>
                  <a:lnTo>
                    <a:pt x="346" y="9"/>
                  </a:lnTo>
                  <a:lnTo>
                    <a:pt x="325" y="13"/>
                  </a:lnTo>
                  <a:lnTo>
                    <a:pt x="304" y="19"/>
                  </a:lnTo>
                  <a:lnTo>
                    <a:pt x="284" y="27"/>
                  </a:lnTo>
                  <a:lnTo>
                    <a:pt x="265" y="34"/>
                  </a:lnTo>
                  <a:lnTo>
                    <a:pt x="245" y="43"/>
                  </a:lnTo>
                  <a:lnTo>
                    <a:pt x="227" y="53"/>
                  </a:lnTo>
                  <a:lnTo>
                    <a:pt x="209" y="63"/>
                  </a:lnTo>
                  <a:lnTo>
                    <a:pt x="191" y="75"/>
                  </a:lnTo>
                  <a:lnTo>
                    <a:pt x="174" y="87"/>
                  </a:lnTo>
                  <a:lnTo>
                    <a:pt x="158" y="99"/>
                  </a:lnTo>
                  <a:lnTo>
                    <a:pt x="142" y="113"/>
                  </a:lnTo>
                  <a:lnTo>
                    <a:pt x="128" y="126"/>
                  </a:lnTo>
                  <a:lnTo>
                    <a:pt x="113" y="142"/>
                  </a:lnTo>
                  <a:lnTo>
                    <a:pt x="99" y="158"/>
                  </a:lnTo>
                  <a:lnTo>
                    <a:pt x="87" y="174"/>
                  </a:lnTo>
                  <a:lnTo>
                    <a:pt x="75" y="191"/>
                  </a:lnTo>
                  <a:lnTo>
                    <a:pt x="63" y="208"/>
                  </a:lnTo>
                  <a:lnTo>
                    <a:pt x="53" y="226"/>
                  </a:lnTo>
                  <a:lnTo>
                    <a:pt x="43" y="245"/>
                  </a:lnTo>
                  <a:lnTo>
                    <a:pt x="35" y="265"/>
                  </a:lnTo>
                  <a:lnTo>
                    <a:pt x="27" y="284"/>
                  </a:lnTo>
                  <a:lnTo>
                    <a:pt x="19" y="304"/>
                  </a:lnTo>
                  <a:lnTo>
                    <a:pt x="15" y="325"/>
                  </a:lnTo>
                  <a:lnTo>
                    <a:pt x="10" y="346"/>
                  </a:lnTo>
                  <a:lnTo>
                    <a:pt x="5" y="367"/>
                  </a:lnTo>
                  <a:lnTo>
                    <a:pt x="3" y="388"/>
                  </a:lnTo>
                  <a:lnTo>
                    <a:pt x="1" y="411"/>
                  </a:lnTo>
                  <a:lnTo>
                    <a:pt x="0" y="433"/>
                  </a:lnTo>
                  <a:lnTo>
                    <a:pt x="0" y="433"/>
                  </a:lnTo>
                  <a:lnTo>
                    <a:pt x="1" y="456"/>
                  </a:lnTo>
                  <a:lnTo>
                    <a:pt x="3" y="477"/>
                  </a:lnTo>
                  <a:lnTo>
                    <a:pt x="5" y="499"/>
                  </a:lnTo>
                  <a:lnTo>
                    <a:pt x="10" y="521"/>
                  </a:lnTo>
                  <a:lnTo>
                    <a:pt x="15" y="541"/>
                  </a:lnTo>
                  <a:lnTo>
                    <a:pt x="19" y="561"/>
                  </a:lnTo>
                  <a:lnTo>
                    <a:pt x="27" y="582"/>
                  </a:lnTo>
                  <a:lnTo>
                    <a:pt x="35" y="601"/>
                  </a:lnTo>
                  <a:lnTo>
                    <a:pt x="43" y="620"/>
                  </a:lnTo>
                  <a:lnTo>
                    <a:pt x="53" y="640"/>
                  </a:lnTo>
                  <a:lnTo>
                    <a:pt x="63" y="658"/>
                  </a:lnTo>
                  <a:lnTo>
                    <a:pt x="75" y="674"/>
                  </a:lnTo>
                  <a:lnTo>
                    <a:pt x="87" y="691"/>
                  </a:lnTo>
                  <a:lnTo>
                    <a:pt x="99" y="708"/>
                  </a:lnTo>
                  <a:lnTo>
                    <a:pt x="113" y="724"/>
                  </a:lnTo>
                  <a:lnTo>
                    <a:pt x="128" y="739"/>
                  </a:lnTo>
                  <a:lnTo>
                    <a:pt x="142" y="754"/>
                  </a:lnTo>
                  <a:lnTo>
                    <a:pt x="158" y="767"/>
                  </a:lnTo>
                  <a:lnTo>
                    <a:pt x="174" y="780"/>
                  </a:lnTo>
                  <a:lnTo>
                    <a:pt x="191" y="792"/>
                  </a:lnTo>
                  <a:lnTo>
                    <a:pt x="209" y="803"/>
                  </a:lnTo>
                  <a:lnTo>
                    <a:pt x="227" y="814"/>
                  </a:lnTo>
                  <a:lnTo>
                    <a:pt x="245" y="824"/>
                  </a:lnTo>
                  <a:lnTo>
                    <a:pt x="265" y="832"/>
                  </a:lnTo>
                  <a:lnTo>
                    <a:pt x="284" y="839"/>
                  </a:lnTo>
                  <a:lnTo>
                    <a:pt x="304" y="846"/>
                  </a:lnTo>
                  <a:lnTo>
                    <a:pt x="325" y="852"/>
                  </a:lnTo>
                  <a:lnTo>
                    <a:pt x="346" y="857"/>
                  </a:lnTo>
                  <a:lnTo>
                    <a:pt x="367" y="861"/>
                  </a:lnTo>
                  <a:lnTo>
                    <a:pt x="388" y="863"/>
                  </a:lnTo>
                  <a:lnTo>
                    <a:pt x="411" y="866"/>
                  </a:lnTo>
                  <a:lnTo>
                    <a:pt x="433" y="866"/>
                  </a:lnTo>
                  <a:lnTo>
                    <a:pt x="433" y="866"/>
                  </a:lnTo>
                  <a:lnTo>
                    <a:pt x="456" y="866"/>
                  </a:lnTo>
                  <a:lnTo>
                    <a:pt x="477" y="863"/>
                  </a:lnTo>
                  <a:lnTo>
                    <a:pt x="499" y="861"/>
                  </a:lnTo>
                  <a:lnTo>
                    <a:pt x="521" y="857"/>
                  </a:lnTo>
                  <a:lnTo>
                    <a:pt x="541" y="852"/>
                  </a:lnTo>
                  <a:lnTo>
                    <a:pt x="561" y="846"/>
                  </a:lnTo>
                  <a:lnTo>
                    <a:pt x="582" y="839"/>
                  </a:lnTo>
                  <a:lnTo>
                    <a:pt x="601" y="832"/>
                  </a:lnTo>
                  <a:lnTo>
                    <a:pt x="620" y="824"/>
                  </a:lnTo>
                  <a:lnTo>
                    <a:pt x="640" y="814"/>
                  </a:lnTo>
                  <a:lnTo>
                    <a:pt x="658" y="803"/>
                  </a:lnTo>
                  <a:lnTo>
                    <a:pt x="676" y="792"/>
                  </a:lnTo>
                  <a:lnTo>
                    <a:pt x="693" y="780"/>
                  </a:lnTo>
                  <a:lnTo>
                    <a:pt x="708" y="767"/>
                  </a:lnTo>
                  <a:lnTo>
                    <a:pt x="724" y="754"/>
                  </a:lnTo>
                  <a:lnTo>
                    <a:pt x="739" y="739"/>
                  </a:lnTo>
                  <a:lnTo>
                    <a:pt x="754" y="724"/>
                  </a:lnTo>
                  <a:lnTo>
                    <a:pt x="767" y="708"/>
                  </a:lnTo>
                  <a:lnTo>
                    <a:pt x="780" y="691"/>
                  </a:lnTo>
                  <a:lnTo>
                    <a:pt x="792" y="674"/>
                  </a:lnTo>
                  <a:lnTo>
                    <a:pt x="803" y="658"/>
                  </a:lnTo>
                  <a:lnTo>
                    <a:pt x="814" y="640"/>
                  </a:lnTo>
                  <a:lnTo>
                    <a:pt x="824" y="620"/>
                  </a:lnTo>
                  <a:lnTo>
                    <a:pt x="832" y="601"/>
                  </a:lnTo>
                  <a:lnTo>
                    <a:pt x="839" y="582"/>
                  </a:lnTo>
                  <a:lnTo>
                    <a:pt x="846" y="561"/>
                  </a:lnTo>
                  <a:lnTo>
                    <a:pt x="852" y="541"/>
                  </a:lnTo>
                  <a:lnTo>
                    <a:pt x="857" y="521"/>
                  </a:lnTo>
                  <a:lnTo>
                    <a:pt x="861" y="499"/>
                  </a:lnTo>
                  <a:lnTo>
                    <a:pt x="863" y="477"/>
                  </a:lnTo>
                  <a:lnTo>
                    <a:pt x="866" y="456"/>
                  </a:lnTo>
                  <a:lnTo>
                    <a:pt x="866" y="433"/>
                  </a:lnTo>
                  <a:lnTo>
                    <a:pt x="866" y="433"/>
                  </a:lnTo>
                  <a:lnTo>
                    <a:pt x="866" y="411"/>
                  </a:lnTo>
                  <a:lnTo>
                    <a:pt x="863" y="388"/>
                  </a:lnTo>
                  <a:lnTo>
                    <a:pt x="861" y="367"/>
                  </a:lnTo>
                  <a:lnTo>
                    <a:pt x="857" y="346"/>
                  </a:lnTo>
                  <a:lnTo>
                    <a:pt x="852" y="325"/>
                  </a:lnTo>
                  <a:lnTo>
                    <a:pt x="846" y="304"/>
                  </a:lnTo>
                  <a:lnTo>
                    <a:pt x="839" y="284"/>
                  </a:lnTo>
                  <a:lnTo>
                    <a:pt x="832" y="265"/>
                  </a:lnTo>
                  <a:lnTo>
                    <a:pt x="824" y="245"/>
                  </a:lnTo>
                  <a:lnTo>
                    <a:pt x="814" y="226"/>
                  </a:lnTo>
                  <a:lnTo>
                    <a:pt x="803" y="208"/>
                  </a:lnTo>
                  <a:lnTo>
                    <a:pt x="792" y="191"/>
                  </a:lnTo>
                  <a:lnTo>
                    <a:pt x="780" y="174"/>
                  </a:lnTo>
                  <a:lnTo>
                    <a:pt x="767" y="158"/>
                  </a:lnTo>
                  <a:lnTo>
                    <a:pt x="754" y="142"/>
                  </a:lnTo>
                  <a:lnTo>
                    <a:pt x="739" y="126"/>
                  </a:lnTo>
                  <a:lnTo>
                    <a:pt x="724" y="113"/>
                  </a:lnTo>
                  <a:lnTo>
                    <a:pt x="708" y="99"/>
                  </a:lnTo>
                  <a:lnTo>
                    <a:pt x="693" y="87"/>
                  </a:lnTo>
                  <a:lnTo>
                    <a:pt x="676" y="75"/>
                  </a:lnTo>
                  <a:lnTo>
                    <a:pt x="658" y="63"/>
                  </a:lnTo>
                  <a:lnTo>
                    <a:pt x="640" y="53"/>
                  </a:lnTo>
                  <a:lnTo>
                    <a:pt x="620" y="43"/>
                  </a:lnTo>
                  <a:lnTo>
                    <a:pt x="601" y="34"/>
                  </a:lnTo>
                  <a:lnTo>
                    <a:pt x="582" y="27"/>
                  </a:lnTo>
                  <a:lnTo>
                    <a:pt x="561" y="19"/>
                  </a:lnTo>
                  <a:lnTo>
                    <a:pt x="541" y="13"/>
                  </a:lnTo>
                  <a:lnTo>
                    <a:pt x="521" y="9"/>
                  </a:lnTo>
                  <a:lnTo>
                    <a:pt x="499" y="5"/>
                  </a:lnTo>
                  <a:lnTo>
                    <a:pt x="477" y="3"/>
                  </a:lnTo>
                  <a:lnTo>
                    <a:pt x="456" y="1"/>
                  </a:lnTo>
                  <a:lnTo>
                    <a:pt x="433" y="0"/>
                  </a:lnTo>
                  <a:lnTo>
                    <a:pt x="433" y="0"/>
                  </a:lnTo>
                  <a:close/>
                  <a:moveTo>
                    <a:pt x="505" y="721"/>
                  </a:moveTo>
                  <a:lnTo>
                    <a:pt x="361" y="721"/>
                  </a:lnTo>
                  <a:lnTo>
                    <a:pt x="361" y="361"/>
                  </a:lnTo>
                  <a:lnTo>
                    <a:pt x="505" y="361"/>
                  </a:lnTo>
                  <a:lnTo>
                    <a:pt x="505" y="721"/>
                  </a:lnTo>
                  <a:close/>
                  <a:moveTo>
                    <a:pt x="433" y="293"/>
                  </a:moveTo>
                  <a:lnTo>
                    <a:pt x="433" y="293"/>
                  </a:lnTo>
                  <a:lnTo>
                    <a:pt x="426" y="292"/>
                  </a:lnTo>
                  <a:lnTo>
                    <a:pt x="417" y="292"/>
                  </a:lnTo>
                  <a:lnTo>
                    <a:pt x="410" y="290"/>
                  </a:lnTo>
                  <a:lnTo>
                    <a:pt x="403" y="287"/>
                  </a:lnTo>
                  <a:lnTo>
                    <a:pt x="397" y="284"/>
                  </a:lnTo>
                  <a:lnTo>
                    <a:pt x="391" y="280"/>
                  </a:lnTo>
                  <a:lnTo>
                    <a:pt x="379" y="271"/>
                  </a:lnTo>
                  <a:lnTo>
                    <a:pt x="369" y="260"/>
                  </a:lnTo>
                  <a:lnTo>
                    <a:pt x="366" y="253"/>
                  </a:lnTo>
                  <a:lnTo>
                    <a:pt x="363" y="247"/>
                  </a:lnTo>
                  <a:lnTo>
                    <a:pt x="360" y="239"/>
                  </a:lnTo>
                  <a:lnTo>
                    <a:pt x="358" y="232"/>
                  </a:lnTo>
                  <a:lnTo>
                    <a:pt x="357" y="225"/>
                  </a:lnTo>
                  <a:lnTo>
                    <a:pt x="356" y="217"/>
                  </a:lnTo>
                  <a:lnTo>
                    <a:pt x="356" y="217"/>
                  </a:lnTo>
                  <a:lnTo>
                    <a:pt x="357" y="209"/>
                  </a:lnTo>
                  <a:lnTo>
                    <a:pt x="358" y="201"/>
                  </a:lnTo>
                  <a:lnTo>
                    <a:pt x="360" y="194"/>
                  </a:lnTo>
                  <a:lnTo>
                    <a:pt x="363" y="187"/>
                  </a:lnTo>
                  <a:lnTo>
                    <a:pt x="366" y="181"/>
                  </a:lnTo>
                  <a:lnTo>
                    <a:pt x="369" y="173"/>
                  </a:lnTo>
                  <a:lnTo>
                    <a:pt x="379" y="162"/>
                  </a:lnTo>
                  <a:lnTo>
                    <a:pt x="391" y="153"/>
                  </a:lnTo>
                  <a:lnTo>
                    <a:pt x="397" y="149"/>
                  </a:lnTo>
                  <a:lnTo>
                    <a:pt x="403" y="146"/>
                  </a:lnTo>
                  <a:lnTo>
                    <a:pt x="410" y="143"/>
                  </a:lnTo>
                  <a:lnTo>
                    <a:pt x="417" y="142"/>
                  </a:lnTo>
                  <a:lnTo>
                    <a:pt x="426" y="141"/>
                  </a:lnTo>
                  <a:lnTo>
                    <a:pt x="433" y="140"/>
                  </a:lnTo>
                  <a:lnTo>
                    <a:pt x="433" y="140"/>
                  </a:lnTo>
                  <a:lnTo>
                    <a:pt x="441" y="141"/>
                  </a:lnTo>
                  <a:lnTo>
                    <a:pt x="449" y="142"/>
                  </a:lnTo>
                  <a:lnTo>
                    <a:pt x="456" y="143"/>
                  </a:lnTo>
                  <a:lnTo>
                    <a:pt x="463" y="146"/>
                  </a:lnTo>
                  <a:lnTo>
                    <a:pt x="470" y="149"/>
                  </a:lnTo>
                  <a:lnTo>
                    <a:pt x="476" y="153"/>
                  </a:lnTo>
                  <a:lnTo>
                    <a:pt x="487" y="162"/>
                  </a:lnTo>
                  <a:lnTo>
                    <a:pt x="497" y="173"/>
                  </a:lnTo>
                  <a:lnTo>
                    <a:pt x="500" y="181"/>
                  </a:lnTo>
                  <a:lnTo>
                    <a:pt x="504" y="187"/>
                  </a:lnTo>
                  <a:lnTo>
                    <a:pt x="506" y="194"/>
                  </a:lnTo>
                  <a:lnTo>
                    <a:pt x="509" y="201"/>
                  </a:lnTo>
                  <a:lnTo>
                    <a:pt x="510" y="209"/>
                  </a:lnTo>
                  <a:lnTo>
                    <a:pt x="510" y="217"/>
                  </a:lnTo>
                  <a:lnTo>
                    <a:pt x="510" y="217"/>
                  </a:lnTo>
                  <a:lnTo>
                    <a:pt x="510" y="225"/>
                  </a:lnTo>
                  <a:lnTo>
                    <a:pt x="509" y="232"/>
                  </a:lnTo>
                  <a:lnTo>
                    <a:pt x="506" y="239"/>
                  </a:lnTo>
                  <a:lnTo>
                    <a:pt x="504" y="247"/>
                  </a:lnTo>
                  <a:lnTo>
                    <a:pt x="500" y="253"/>
                  </a:lnTo>
                  <a:lnTo>
                    <a:pt x="497" y="260"/>
                  </a:lnTo>
                  <a:lnTo>
                    <a:pt x="487" y="271"/>
                  </a:lnTo>
                  <a:lnTo>
                    <a:pt x="476" y="280"/>
                  </a:lnTo>
                  <a:lnTo>
                    <a:pt x="470" y="284"/>
                  </a:lnTo>
                  <a:lnTo>
                    <a:pt x="463" y="287"/>
                  </a:lnTo>
                  <a:lnTo>
                    <a:pt x="456" y="290"/>
                  </a:lnTo>
                  <a:lnTo>
                    <a:pt x="449" y="292"/>
                  </a:lnTo>
                  <a:lnTo>
                    <a:pt x="441" y="292"/>
                  </a:lnTo>
                  <a:lnTo>
                    <a:pt x="433" y="293"/>
                  </a:lnTo>
                  <a:lnTo>
                    <a:pt x="433" y="29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56" name="Group 1555">
            <a:extLst>
              <a:ext uri="{FF2B5EF4-FFF2-40B4-BE49-F238E27FC236}">
                <a16:creationId xmlns:a16="http://schemas.microsoft.com/office/drawing/2014/main" id="{CDDFC83A-B8F8-4D95-8E7B-D4C2F1AF84A6}"/>
              </a:ext>
            </a:extLst>
          </p:cNvPr>
          <p:cNvGrpSpPr/>
          <p:nvPr/>
        </p:nvGrpSpPr>
        <p:grpSpPr>
          <a:xfrm>
            <a:off x="8304562" y="3943380"/>
            <a:ext cx="612775" cy="612775"/>
            <a:chOff x="7149933" y="4581723"/>
            <a:chExt cx="612775" cy="612775"/>
          </a:xfrm>
        </p:grpSpPr>
        <p:sp>
          <p:nvSpPr>
            <p:cNvPr id="1557" name="Oval 1556">
              <a:extLst>
                <a:ext uri="{FF2B5EF4-FFF2-40B4-BE49-F238E27FC236}">
                  <a16:creationId xmlns:a16="http://schemas.microsoft.com/office/drawing/2014/main" id="{2E9A0F5F-FB94-4483-811B-64E2D920DDD0}"/>
                </a:ext>
              </a:extLst>
            </p:cNvPr>
            <p:cNvSpPr/>
            <p:nvPr/>
          </p:nvSpPr>
          <p:spPr bwMode="ltGray">
            <a:xfrm>
              <a:off x="7149933"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58" name="Freeform 141">
              <a:extLst>
                <a:ext uri="{FF2B5EF4-FFF2-40B4-BE49-F238E27FC236}">
                  <a16:creationId xmlns:a16="http://schemas.microsoft.com/office/drawing/2014/main" id="{DDD02004-9FCF-4F86-BDBB-FBA3BD888D30}"/>
                </a:ext>
              </a:extLst>
            </p:cNvPr>
            <p:cNvSpPr>
              <a:spLocks noEditPoints="1"/>
            </p:cNvSpPr>
            <p:nvPr/>
          </p:nvSpPr>
          <p:spPr bwMode="auto">
            <a:xfrm>
              <a:off x="7239084" y="4670443"/>
              <a:ext cx="445575" cy="447008"/>
            </a:xfrm>
            <a:custGeom>
              <a:avLst/>
              <a:gdLst>
                <a:gd name="T0" fmla="*/ 395 w 932"/>
                <a:gd name="T1" fmla="*/ 5 h 935"/>
                <a:gd name="T2" fmla="*/ 284 w 932"/>
                <a:gd name="T3" fmla="*/ 36 h 935"/>
                <a:gd name="T4" fmla="*/ 187 w 932"/>
                <a:gd name="T5" fmla="*/ 93 h 935"/>
                <a:gd name="T6" fmla="*/ 107 w 932"/>
                <a:gd name="T7" fmla="*/ 170 h 935"/>
                <a:gd name="T8" fmla="*/ 46 w 932"/>
                <a:gd name="T9" fmla="*/ 265 h 935"/>
                <a:gd name="T10" fmla="*/ 9 w 932"/>
                <a:gd name="T11" fmla="*/ 373 h 935"/>
                <a:gd name="T12" fmla="*/ 0 w 932"/>
                <a:gd name="T13" fmla="*/ 467 h 935"/>
                <a:gd name="T14" fmla="*/ 14 w 932"/>
                <a:gd name="T15" fmla="*/ 584 h 935"/>
                <a:gd name="T16" fmla="*/ 56 w 932"/>
                <a:gd name="T17" fmla="*/ 690 h 935"/>
                <a:gd name="T18" fmla="*/ 121 w 932"/>
                <a:gd name="T19" fmla="*/ 782 h 935"/>
                <a:gd name="T20" fmla="*/ 205 w 932"/>
                <a:gd name="T21" fmla="*/ 855 h 935"/>
                <a:gd name="T22" fmla="*/ 306 w 932"/>
                <a:gd name="T23" fmla="*/ 906 h 935"/>
                <a:gd name="T24" fmla="*/ 419 w 932"/>
                <a:gd name="T25" fmla="*/ 933 h 935"/>
                <a:gd name="T26" fmla="*/ 514 w 932"/>
                <a:gd name="T27" fmla="*/ 933 h 935"/>
                <a:gd name="T28" fmla="*/ 627 w 932"/>
                <a:gd name="T29" fmla="*/ 906 h 935"/>
                <a:gd name="T30" fmla="*/ 727 w 932"/>
                <a:gd name="T31" fmla="*/ 855 h 935"/>
                <a:gd name="T32" fmla="*/ 811 w 932"/>
                <a:gd name="T33" fmla="*/ 782 h 935"/>
                <a:gd name="T34" fmla="*/ 876 w 932"/>
                <a:gd name="T35" fmla="*/ 690 h 935"/>
                <a:gd name="T36" fmla="*/ 918 w 932"/>
                <a:gd name="T37" fmla="*/ 584 h 935"/>
                <a:gd name="T38" fmla="*/ 932 w 932"/>
                <a:gd name="T39" fmla="*/ 467 h 935"/>
                <a:gd name="T40" fmla="*/ 923 w 932"/>
                <a:gd name="T41" fmla="*/ 373 h 935"/>
                <a:gd name="T42" fmla="*/ 887 w 932"/>
                <a:gd name="T43" fmla="*/ 265 h 935"/>
                <a:gd name="T44" fmla="*/ 826 w 932"/>
                <a:gd name="T45" fmla="*/ 170 h 935"/>
                <a:gd name="T46" fmla="*/ 745 w 932"/>
                <a:gd name="T47" fmla="*/ 93 h 935"/>
                <a:gd name="T48" fmla="*/ 647 w 932"/>
                <a:gd name="T49" fmla="*/ 36 h 935"/>
                <a:gd name="T50" fmla="*/ 537 w 932"/>
                <a:gd name="T51" fmla="*/ 5 h 935"/>
                <a:gd name="T52" fmla="*/ 466 w 932"/>
                <a:gd name="T53" fmla="*/ 804 h 935"/>
                <a:gd name="T54" fmla="*/ 421 w 932"/>
                <a:gd name="T55" fmla="*/ 784 h 935"/>
                <a:gd name="T56" fmla="*/ 403 w 932"/>
                <a:gd name="T57" fmla="*/ 740 h 935"/>
                <a:gd name="T58" fmla="*/ 431 w 932"/>
                <a:gd name="T59" fmla="*/ 688 h 935"/>
                <a:gd name="T60" fmla="*/ 479 w 932"/>
                <a:gd name="T61" fmla="*/ 678 h 935"/>
                <a:gd name="T62" fmla="*/ 525 w 932"/>
                <a:gd name="T63" fmla="*/ 716 h 935"/>
                <a:gd name="T64" fmla="*/ 525 w 932"/>
                <a:gd name="T65" fmla="*/ 765 h 935"/>
                <a:gd name="T66" fmla="*/ 479 w 932"/>
                <a:gd name="T67" fmla="*/ 802 h 935"/>
                <a:gd name="T68" fmla="*/ 525 w 932"/>
                <a:gd name="T69" fmla="*/ 604 h 935"/>
                <a:gd name="T70" fmla="*/ 405 w 932"/>
                <a:gd name="T71" fmla="*/ 546 h 935"/>
                <a:gd name="T72" fmla="*/ 429 w 932"/>
                <a:gd name="T73" fmla="*/ 485 h 935"/>
                <a:gd name="T74" fmla="*/ 513 w 932"/>
                <a:gd name="T75" fmla="*/ 404 h 935"/>
                <a:gd name="T76" fmla="*/ 560 w 932"/>
                <a:gd name="T77" fmla="*/ 344 h 935"/>
                <a:gd name="T78" fmla="*/ 562 w 932"/>
                <a:gd name="T79" fmla="*/ 302 h 935"/>
                <a:gd name="T80" fmla="*/ 548 w 932"/>
                <a:gd name="T81" fmla="*/ 264 h 935"/>
                <a:gd name="T82" fmla="*/ 513 w 932"/>
                <a:gd name="T83" fmla="*/ 240 h 935"/>
                <a:gd name="T84" fmla="*/ 466 w 932"/>
                <a:gd name="T85" fmla="*/ 234 h 935"/>
                <a:gd name="T86" fmla="*/ 411 w 932"/>
                <a:gd name="T87" fmla="*/ 246 h 935"/>
                <a:gd name="T88" fmla="*/ 381 w 932"/>
                <a:gd name="T89" fmla="*/ 276 h 935"/>
                <a:gd name="T90" fmla="*/ 369 w 932"/>
                <a:gd name="T91" fmla="*/ 322 h 935"/>
                <a:gd name="T92" fmla="*/ 268 w 932"/>
                <a:gd name="T93" fmla="*/ 305 h 935"/>
                <a:gd name="T94" fmla="*/ 295 w 932"/>
                <a:gd name="T95" fmla="*/ 217 h 935"/>
                <a:gd name="T96" fmla="*/ 359 w 932"/>
                <a:gd name="T97" fmla="*/ 158 h 935"/>
                <a:gd name="T98" fmla="*/ 447 w 932"/>
                <a:gd name="T99" fmla="*/ 132 h 935"/>
                <a:gd name="T100" fmla="*/ 526 w 932"/>
                <a:gd name="T101" fmla="*/ 138 h 935"/>
                <a:gd name="T102" fmla="*/ 608 w 932"/>
                <a:gd name="T103" fmla="*/ 179 h 935"/>
                <a:gd name="T104" fmla="*/ 656 w 932"/>
                <a:gd name="T105" fmla="*/ 258 h 935"/>
                <a:gd name="T106" fmla="*/ 664 w 932"/>
                <a:gd name="T107" fmla="*/ 331 h 935"/>
                <a:gd name="T108" fmla="*/ 643 w 932"/>
                <a:gd name="T109" fmla="*/ 393 h 935"/>
                <a:gd name="T110" fmla="*/ 569 w 932"/>
                <a:gd name="T111" fmla="*/ 477 h 935"/>
                <a:gd name="T112" fmla="*/ 526 w 932"/>
                <a:gd name="T113" fmla="*/ 541 h 9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32" h="935">
                  <a:moveTo>
                    <a:pt x="466" y="0"/>
                  </a:moveTo>
                  <a:lnTo>
                    <a:pt x="466" y="0"/>
                  </a:lnTo>
                  <a:lnTo>
                    <a:pt x="442" y="1"/>
                  </a:lnTo>
                  <a:lnTo>
                    <a:pt x="419" y="2"/>
                  </a:lnTo>
                  <a:lnTo>
                    <a:pt x="395" y="5"/>
                  </a:lnTo>
                  <a:lnTo>
                    <a:pt x="372" y="9"/>
                  </a:lnTo>
                  <a:lnTo>
                    <a:pt x="349" y="14"/>
                  </a:lnTo>
                  <a:lnTo>
                    <a:pt x="328" y="20"/>
                  </a:lnTo>
                  <a:lnTo>
                    <a:pt x="306" y="29"/>
                  </a:lnTo>
                  <a:lnTo>
                    <a:pt x="284" y="36"/>
                  </a:lnTo>
                  <a:lnTo>
                    <a:pt x="264" y="46"/>
                  </a:lnTo>
                  <a:lnTo>
                    <a:pt x="244" y="56"/>
                  </a:lnTo>
                  <a:lnTo>
                    <a:pt x="224" y="67"/>
                  </a:lnTo>
                  <a:lnTo>
                    <a:pt x="205" y="79"/>
                  </a:lnTo>
                  <a:lnTo>
                    <a:pt x="187" y="93"/>
                  </a:lnTo>
                  <a:lnTo>
                    <a:pt x="169" y="107"/>
                  </a:lnTo>
                  <a:lnTo>
                    <a:pt x="152" y="122"/>
                  </a:lnTo>
                  <a:lnTo>
                    <a:pt x="137" y="137"/>
                  </a:lnTo>
                  <a:lnTo>
                    <a:pt x="121" y="153"/>
                  </a:lnTo>
                  <a:lnTo>
                    <a:pt x="107" y="170"/>
                  </a:lnTo>
                  <a:lnTo>
                    <a:pt x="92" y="188"/>
                  </a:lnTo>
                  <a:lnTo>
                    <a:pt x="80" y="206"/>
                  </a:lnTo>
                  <a:lnTo>
                    <a:pt x="67" y="225"/>
                  </a:lnTo>
                  <a:lnTo>
                    <a:pt x="56" y="244"/>
                  </a:lnTo>
                  <a:lnTo>
                    <a:pt x="46" y="265"/>
                  </a:lnTo>
                  <a:lnTo>
                    <a:pt x="37" y="285"/>
                  </a:lnTo>
                  <a:lnTo>
                    <a:pt x="28" y="307"/>
                  </a:lnTo>
                  <a:lnTo>
                    <a:pt x="21" y="329"/>
                  </a:lnTo>
                  <a:lnTo>
                    <a:pt x="14" y="351"/>
                  </a:lnTo>
                  <a:lnTo>
                    <a:pt x="9" y="373"/>
                  </a:lnTo>
                  <a:lnTo>
                    <a:pt x="6" y="396"/>
                  </a:lnTo>
                  <a:lnTo>
                    <a:pt x="2" y="419"/>
                  </a:lnTo>
                  <a:lnTo>
                    <a:pt x="1" y="443"/>
                  </a:lnTo>
                  <a:lnTo>
                    <a:pt x="0" y="467"/>
                  </a:lnTo>
                  <a:lnTo>
                    <a:pt x="0" y="467"/>
                  </a:lnTo>
                  <a:lnTo>
                    <a:pt x="1" y="491"/>
                  </a:lnTo>
                  <a:lnTo>
                    <a:pt x="2" y="516"/>
                  </a:lnTo>
                  <a:lnTo>
                    <a:pt x="6" y="538"/>
                  </a:lnTo>
                  <a:lnTo>
                    <a:pt x="9" y="561"/>
                  </a:lnTo>
                  <a:lnTo>
                    <a:pt x="14" y="584"/>
                  </a:lnTo>
                  <a:lnTo>
                    <a:pt x="21" y="606"/>
                  </a:lnTo>
                  <a:lnTo>
                    <a:pt x="28" y="628"/>
                  </a:lnTo>
                  <a:lnTo>
                    <a:pt x="37" y="649"/>
                  </a:lnTo>
                  <a:lnTo>
                    <a:pt x="46" y="670"/>
                  </a:lnTo>
                  <a:lnTo>
                    <a:pt x="56" y="690"/>
                  </a:lnTo>
                  <a:lnTo>
                    <a:pt x="67" y="710"/>
                  </a:lnTo>
                  <a:lnTo>
                    <a:pt x="80" y="729"/>
                  </a:lnTo>
                  <a:lnTo>
                    <a:pt x="92" y="747"/>
                  </a:lnTo>
                  <a:lnTo>
                    <a:pt x="107" y="765"/>
                  </a:lnTo>
                  <a:lnTo>
                    <a:pt x="121" y="782"/>
                  </a:lnTo>
                  <a:lnTo>
                    <a:pt x="137" y="798"/>
                  </a:lnTo>
                  <a:lnTo>
                    <a:pt x="152" y="813"/>
                  </a:lnTo>
                  <a:lnTo>
                    <a:pt x="169" y="828"/>
                  </a:lnTo>
                  <a:lnTo>
                    <a:pt x="187" y="842"/>
                  </a:lnTo>
                  <a:lnTo>
                    <a:pt x="205" y="855"/>
                  </a:lnTo>
                  <a:lnTo>
                    <a:pt x="224" y="867"/>
                  </a:lnTo>
                  <a:lnTo>
                    <a:pt x="244" y="878"/>
                  </a:lnTo>
                  <a:lnTo>
                    <a:pt x="264" y="889"/>
                  </a:lnTo>
                  <a:lnTo>
                    <a:pt x="284" y="899"/>
                  </a:lnTo>
                  <a:lnTo>
                    <a:pt x="306" y="906"/>
                  </a:lnTo>
                  <a:lnTo>
                    <a:pt x="328" y="914"/>
                  </a:lnTo>
                  <a:lnTo>
                    <a:pt x="349" y="920"/>
                  </a:lnTo>
                  <a:lnTo>
                    <a:pt x="372" y="925"/>
                  </a:lnTo>
                  <a:lnTo>
                    <a:pt x="395" y="930"/>
                  </a:lnTo>
                  <a:lnTo>
                    <a:pt x="419" y="933"/>
                  </a:lnTo>
                  <a:lnTo>
                    <a:pt x="442" y="934"/>
                  </a:lnTo>
                  <a:lnTo>
                    <a:pt x="466" y="935"/>
                  </a:lnTo>
                  <a:lnTo>
                    <a:pt x="466" y="935"/>
                  </a:lnTo>
                  <a:lnTo>
                    <a:pt x="490" y="934"/>
                  </a:lnTo>
                  <a:lnTo>
                    <a:pt x="514" y="933"/>
                  </a:lnTo>
                  <a:lnTo>
                    <a:pt x="537" y="930"/>
                  </a:lnTo>
                  <a:lnTo>
                    <a:pt x="560" y="925"/>
                  </a:lnTo>
                  <a:lnTo>
                    <a:pt x="582" y="920"/>
                  </a:lnTo>
                  <a:lnTo>
                    <a:pt x="605" y="914"/>
                  </a:lnTo>
                  <a:lnTo>
                    <a:pt x="627" y="906"/>
                  </a:lnTo>
                  <a:lnTo>
                    <a:pt x="647" y="899"/>
                  </a:lnTo>
                  <a:lnTo>
                    <a:pt x="668" y="889"/>
                  </a:lnTo>
                  <a:lnTo>
                    <a:pt x="688" y="878"/>
                  </a:lnTo>
                  <a:lnTo>
                    <a:pt x="707" y="867"/>
                  </a:lnTo>
                  <a:lnTo>
                    <a:pt x="727" y="855"/>
                  </a:lnTo>
                  <a:lnTo>
                    <a:pt x="745" y="842"/>
                  </a:lnTo>
                  <a:lnTo>
                    <a:pt x="763" y="828"/>
                  </a:lnTo>
                  <a:lnTo>
                    <a:pt x="780" y="813"/>
                  </a:lnTo>
                  <a:lnTo>
                    <a:pt x="796" y="798"/>
                  </a:lnTo>
                  <a:lnTo>
                    <a:pt x="811" y="782"/>
                  </a:lnTo>
                  <a:lnTo>
                    <a:pt x="826" y="765"/>
                  </a:lnTo>
                  <a:lnTo>
                    <a:pt x="840" y="747"/>
                  </a:lnTo>
                  <a:lnTo>
                    <a:pt x="853" y="729"/>
                  </a:lnTo>
                  <a:lnTo>
                    <a:pt x="865" y="710"/>
                  </a:lnTo>
                  <a:lnTo>
                    <a:pt x="876" y="690"/>
                  </a:lnTo>
                  <a:lnTo>
                    <a:pt x="887" y="670"/>
                  </a:lnTo>
                  <a:lnTo>
                    <a:pt x="896" y="649"/>
                  </a:lnTo>
                  <a:lnTo>
                    <a:pt x="905" y="628"/>
                  </a:lnTo>
                  <a:lnTo>
                    <a:pt x="912" y="606"/>
                  </a:lnTo>
                  <a:lnTo>
                    <a:pt x="918" y="584"/>
                  </a:lnTo>
                  <a:lnTo>
                    <a:pt x="923" y="561"/>
                  </a:lnTo>
                  <a:lnTo>
                    <a:pt x="927" y="538"/>
                  </a:lnTo>
                  <a:lnTo>
                    <a:pt x="930" y="516"/>
                  </a:lnTo>
                  <a:lnTo>
                    <a:pt x="932" y="491"/>
                  </a:lnTo>
                  <a:lnTo>
                    <a:pt x="932" y="467"/>
                  </a:lnTo>
                  <a:lnTo>
                    <a:pt x="932" y="467"/>
                  </a:lnTo>
                  <a:lnTo>
                    <a:pt x="932" y="443"/>
                  </a:lnTo>
                  <a:lnTo>
                    <a:pt x="930" y="419"/>
                  </a:lnTo>
                  <a:lnTo>
                    <a:pt x="927" y="396"/>
                  </a:lnTo>
                  <a:lnTo>
                    <a:pt x="923" y="373"/>
                  </a:lnTo>
                  <a:lnTo>
                    <a:pt x="918" y="351"/>
                  </a:lnTo>
                  <a:lnTo>
                    <a:pt x="912" y="329"/>
                  </a:lnTo>
                  <a:lnTo>
                    <a:pt x="905" y="307"/>
                  </a:lnTo>
                  <a:lnTo>
                    <a:pt x="896" y="285"/>
                  </a:lnTo>
                  <a:lnTo>
                    <a:pt x="887" y="265"/>
                  </a:lnTo>
                  <a:lnTo>
                    <a:pt x="876" y="244"/>
                  </a:lnTo>
                  <a:lnTo>
                    <a:pt x="865" y="225"/>
                  </a:lnTo>
                  <a:lnTo>
                    <a:pt x="853" y="206"/>
                  </a:lnTo>
                  <a:lnTo>
                    <a:pt x="840" y="188"/>
                  </a:lnTo>
                  <a:lnTo>
                    <a:pt x="826" y="170"/>
                  </a:lnTo>
                  <a:lnTo>
                    <a:pt x="811" y="153"/>
                  </a:lnTo>
                  <a:lnTo>
                    <a:pt x="796" y="137"/>
                  </a:lnTo>
                  <a:lnTo>
                    <a:pt x="780" y="122"/>
                  </a:lnTo>
                  <a:lnTo>
                    <a:pt x="763" y="107"/>
                  </a:lnTo>
                  <a:lnTo>
                    <a:pt x="745" y="93"/>
                  </a:lnTo>
                  <a:lnTo>
                    <a:pt x="727" y="79"/>
                  </a:lnTo>
                  <a:lnTo>
                    <a:pt x="707" y="67"/>
                  </a:lnTo>
                  <a:lnTo>
                    <a:pt x="688" y="56"/>
                  </a:lnTo>
                  <a:lnTo>
                    <a:pt x="668" y="46"/>
                  </a:lnTo>
                  <a:lnTo>
                    <a:pt x="647" y="36"/>
                  </a:lnTo>
                  <a:lnTo>
                    <a:pt x="627" y="29"/>
                  </a:lnTo>
                  <a:lnTo>
                    <a:pt x="605" y="20"/>
                  </a:lnTo>
                  <a:lnTo>
                    <a:pt x="582" y="14"/>
                  </a:lnTo>
                  <a:lnTo>
                    <a:pt x="560" y="9"/>
                  </a:lnTo>
                  <a:lnTo>
                    <a:pt x="537" y="5"/>
                  </a:lnTo>
                  <a:lnTo>
                    <a:pt x="514" y="2"/>
                  </a:lnTo>
                  <a:lnTo>
                    <a:pt x="490" y="1"/>
                  </a:lnTo>
                  <a:lnTo>
                    <a:pt x="466" y="0"/>
                  </a:lnTo>
                  <a:lnTo>
                    <a:pt x="466" y="0"/>
                  </a:lnTo>
                  <a:close/>
                  <a:moveTo>
                    <a:pt x="466" y="804"/>
                  </a:moveTo>
                  <a:lnTo>
                    <a:pt x="466" y="804"/>
                  </a:lnTo>
                  <a:lnTo>
                    <a:pt x="454" y="802"/>
                  </a:lnTo>
                  <a:lnTo>
                    <a:pt x="442" y="799"/>
                  </a:lnTo>
                  <a:lnTo>
                    <a:pt x="431" y="793"/>
                  </a:lnTo>
                  <a:lnTo>
                    <a:pt x="421" y="784"/>
                  </a:lnTo>
                  <a:lnTo>
                    <a:pt x="414" y="776"/>
                  </a:lnTo>
                  <a:lnTo>
                    <a:pt x="408" y="765"/>
                  </a:lnTo>
                  <a:lnTo>
                    <a:pt x="405" y="753"/>
                  </a:lnTo>
                  <a:lnTo>
                    <a:pt x="403" y="740"/>
                  </a:lnTo>
                  <a:lnTo>
                    <a:pt x="403" y="740"/>
                  </a:lnTo>
                  <a:lnTo>
                    <a:pt x="405" y="728"/>
                  </a:lnTo>
                  <a:lnTo>
                    <a:pt x="408" y="716"/>
                  </a:lnTo>
                  <a:lnTo>
                    <a:pt x="414" y="705"/>
                  </a:lnTo>
                  <a:lnTo>
                    <a:pt x="421" y="695"/>
                  </a:lnTo>
                  <a:lnTo>
                    <a:pt x="431" y="688"/>
                  </a:lnTo>
                  <a:lnTo>
                    <a:pt x="442" y="682"/>
                  </a:lnTo>
                  <a:lnTo>
                    <a:pt x="454" y="678"/>
                  </a:lnTo>
                  <a:lnTo>
                    <a:pt x="466" y="677"/>
                  </a:lnTo>
                  <a:lnTo>
                    <a:pt x="466" y="677"/>
                  </a:lnTo>
                  <a:lnTo>
                    <a:pt x="479" y="678"/>
                  </a:lnTo>
                  <a:lnTo>
                    <a:pt x="491" y="682"/>
                  </a:lnTo>
                  <a:lnTo>
                    <a:pt x="502" y="688"/>
                  </a:lnTo>
                  <a:lnTo>
                    <a:pt x="510" y="695"/>
                  </a:lnTo>
                  <a:lnTo>
                    <a:pt x="519" y="705"/>
                  </a:lnTo>
                  <a:lnTo>
                    <a:pt x="525" y="716"/>
                  </a:lnTo>
                  <a:lnTo>
                    <a:pt x="528" y="728"/>
                  </a:lnTo>
                  <a:lnTo>
                    <a:pt x="530" y="740"/>
                  </a:lnTo>
                  <a:lnTo>
                    <a:pt x="530" y="740"/>
                  </a:lnTo>
                  <a:lnTo>
                    <a:pt x="528" y="753"/>
                  </a:lnTo>
                  <a:lnTo>
                    <a:pt x="525" y="765"/>
                  </a:lnTo>
                  <a:lnTo>
                    <a:pt x="519" y="776"/>
                  </a:lnTo>
                  <a:lnTo>
                    <a:pt x="510" y="784"/>
                  </a:lnTo>
                  <a:lnTo>
                    <a:pt x="502" y="793"/>
                  </a:lnTo>
                  <a:lnTo>
                    <a:pt x="491" y="799"/>
                  </a:lnTo>
                  <a:lnTo>
                    <a:pt x="479" y="802"/>
                  </a:lnTo>
                  <a:lnTo>
                    <a:pt x="466" y="804"/>
                  </a:lnTo>
                  <a:lnTo>
                    <a:pt x="466" y="804"/>
                  </a:lnTo>
                  <a:close/>
                  <a:moveTo>
                    <a:pt x="525" y="555"/>
                  </a:moveTo>
                  <a:lnTo>
                    <a:pt x="525" y="555"/>
                  </a:lnTo>
                  <a:lnTo>
                    <a:pt x="525" y="604"/>
                  </a:lnTo>
                  <a:lnTo>
                    <a:pt x="405" y="604"/>
                  </a:lnTo>
                  <a:lnTo>
                    <a:pt x="405" y="604"/>
                  </a:lnTo>
                  <a:lnTo>
                    <a:pt x="405" y="555"/>
                  </a:lnTo>
                  <a:lnTo>
                    <a:pt x="405" y="555"/>
                  </a:lnTo>
                  <a:lnTo>
                    <a:pt x="405" y="546"/>
                  </a:lnTo>
                  <a:lnTo>
                    <a:pt x="406" y="536"/>
                  </a:lnTo>
                  <a:lnTo>
                    <a:pt x="408" y="526"/>
                  </a:lnTo>
                  <a:lnTo>
                    <a:pt x="411" y="518"/>
                  </a:lnTo>
                  <a:lnTo>
                    <a:pt x="419" y="501"/>
                  </a:lnTo>
                  <a:lnTo>
                    <a:pt x="429" y="485"/>
                  </a:lnTo>
                  <a:lnTo>
                    <a:pt x="441" y="470"/>
                  </a:lnTo>
                  <a:lnTo>
                    <a:pt x="454" y="457"/>
                  </a:lnTo>
                  <a:lnTo>
                    <a:pt x="468" y="443"/>
                  </a:lnTo>
                  <a:lnTo>
                    <a:pt x="484" y="430"/>
                  </a:lnTo>
                  <a:lnTo>
                    <a:pt x="513" y="404"/>
                  </a:lnTo>
                  <a:lnTo>
                    <a:pt x="526" y="391"/>
                  </a:lnTo>
                  <a:lnTo>
                    <a:pt x="538" y="378"/>
                  </a:lnTo>
                  <a:lnTo>
                    <a:pt x="549" y="365"/>
                  </a:lnTo>
                  <a:lnTo>
                    <a:pt x="556" y="352"/>
                  </a:lnTo>
                  <a:lnTo>
                    <a:pt x="560" y="344"/>
                  </a:lnTo>
                  <a:lnTo>
                    <a:pt x="562" y="336"/>
                  </a:lnTo>
                  <a:lnTo>
                    <a:pt x="563" y="329"/>
                  </a:lnTo>
                  <a:lnTo>
                    <a:pt x="563" y="322"/>
                  </a:lnTo>
                  <a:lnTo>
                    <a:pt x="563" y="322"/>
                  </a:lnTo>
                  <a:lnTo>
                    <a:pt x="562" y="302"/>
                  </a:lnTo>
                  <a:lnTo>
                    <a:pt x="561" y="294"/>
                  </a:lnTo>
                  <a:lnTo>
                    <a:pt x="558" y="285"/>
                  </a:lnTo>
                  <a:lnTo>
                    <a:pt x="556" y="278"/>
                  </a:lnTo>
                  <a:lnTo>
                    <a:pt x="552" y="271"/>
                  </a:lnTo>
                  <a:lnTo>
                    <a:pt x="548" y="264"/>
                  </a:lnTo>
                  <a:lnTo>
                    <a:pt x="543" y="258"/>
                  </a:lnTo>
                  <a:lnTo>
                    <a:pt x="537" y="253"/>
                  </a:lnTo>
                  <a:lnTo>
                    <a:pt x="530" y="248"/>
                  </a:lnTo>
                  <a:lnTo>
                    <a:pt x="521" y="243"/>
                  </a:lnTo>
                  <a:lnTo>
                    <a:pt x="513" y="240"/>
                  </a:lnTo>
                  <a:lnTo>
                    <a:pt x="502" y="237"/>
                  </a:lnTo>
                  <a:lnTo>
                    <a:pt x="491" y="235"/>
                  </a:lnTo>
                  <a:lnTo>
                    <a:pt x="479" y="234"/>
                  </a:lnTo>
                  <a:lnTo>
                    <a:pt x="466" y="234"/>
                  </a:lnTo>
                  <a:lnTo>
                    <a:pt x="466" y="234"/>
                  </a:lnTo>
                  <a:lnTo>
                    <a:pt x="453" y="234"/>
                  </a:lnTo>
                  <a:lnTo>
                    <a:pt x="441" y="236"/>
                  </a:lnTo>
                  <a:lnTo>
                    <a:pt x="430" y="238"/>
                  </a:lnTo>
                  <a:lnTo>
                    <a:pt x="420" y="242"/>
                  </a:lnTo>
                  <a:lnTo>
                    <a:pt x="411" y="246"/>
                  </a:lnTo>
                  <a:lnTo>
                    <a:pt x="403" y="250"/>
                  </a:lnTo>
                  <a:lnTo>
                    <a:pt x="396" y="257"/>
                  </a:lnTo>
                  <a:lnTo>
                    <a:pt x="390" y="263"/>
                  </a:lnTo>
                  <a:lnTo>
                    <a:pt x="384" y="269"/>
                  </a:lnTo>
                  <a:lnTo>
                    <a:pt x="381" y="276"/>
                  </a:lnTo>
                  <a:lnTo>
                    <a:pt x="377" y="283"/>
                  </a:lnTo>
                  <a:lnTo>
                    <a:pt x="373" y="290"/>
                  </a:lnTo>
                  <a:lnTo>
                    <a:pt x="370" y="306"/>
                  </a:lnTo>
                  <a:lnTo>
                    <a:pt x="369" y="322"/>
                  </a:lnTo>
                  <a:lnTo>
                    <a:pt x="369" y="322"/>
                  </a:lnTo>
                  <a:lnTo>
                    <a:pt x="369" y="331"/>
                  </a:lnTo>
                  <a:lnTo>
                    <a:pt x="268" y="331"/>
                  </a:lnTo>
                  <a:lnTo>
                    <a:pt x="268" y="331"/>
                  </a:lnTo>
                  <a:lnTo>
                    <a:pt x="268" y="305"/>
                  </a:lnTo>
                  <a:lnTo>
                    <a:pt x="268" y="305"/>
                  </a:lnTo>
                  <a:lnTo>
                    <a:pt x="270" y="284"/>
                  </a:lnTo>
                  <a:lnTo>
                    <a:pt x="274" y="266"/>
                  </a:lnTo>
                  <a:lnTo>
                    <a:pt x="280" y="248"/>
                  </a:lnTo>
                  <a:lnTo>
                    <a:pt x="287" y="231"/>
                  </a:lnTo>
                  <a:lnTo>
                    <a:pt x="295" y="217"/>
                  </a:lnTo>
                  <a:lnTo>
                    <a:pt x="306" y="202"/>
                  </a:lnTo>
                  <a:lnTo>
                    <a:pt x="317" y="189"/>
                  </a:lnTo>
                  <a:lnTo>
                    <a:pt x="330" y="177"/>
                  </a:lnTo>
                  <a:lnTo>
                    <a:pt x="343" y="167"/>
                  </a:lnTo>
                  <a:lnTo>
                    <a:pt x="359" y="158"/>
                  </a:lnTo>
                  <a:lnTo>
                    <a:pt x="375" y="149"/>
                  </a:lnTo>
                  <a:lnTo>
                    <a:pt x="391" y="143"/>
                  </a:lnTo>
                  <a:lnTo>
                    <a:pt x="409" y="138"/>
                  </a:lnTo>
                  <a:lnTo>
                    <a:pt x="427" y="135"/>
                  </a:lnTo>
                  <a:lnTo>
                    <a:pt x="447" y="132"/>
                  </a:lnTo>
                  <a:lnTo>
                    <a:pt x="466" y="131"/>
                  </a:lnTo>
                  <a:lnTo>
                    <a:pt x="466" y="131"/>
                  </a:lnTo>
                  <a:lnTo>
                    <a:pt x="488" y="132"/>
                  </a:lnTo>
                  <a:lnTo>
                    <a:pt x="507" y="135"/>
                  </a:lnTo>
                  <a:lnTo>
                    <a:pt x="526" y="138"/>
                  </a:lnTo>
                  <a:lnTo>
                    <a:pt x="544" y="143"/>
                  </a:lnTo>
                  <a:lnTo>
                    <a:pt x="562" y="150"/>
                  </a:lnTo>
                  <a:lnTo>
                    <a:pt x="579" y="159"/>
                  </a:lnTo>
                  <a:lnTo>
                    <a:pt x="593" y="169"/>
                  </a:lnTo>
                  <a:lnTo>
                    <a:pt x="608" y="179"/>
                  </a:lnTo>
                  <a:lnTo>
                    <a:pt x="620" y="193"/>
                  </a:lnTo>
                  <a:lnTo>
                    <a:pt x="632" y="206"/>
                  </a:lnTo>
                  <a:lnTo>
                    <a:pt x="641" y="222"/>
                  </a:lnTo>
                  <a:lnTo>
                    <a:pt x="650" y="238"/>
                  </a:lnTo>
                  <a:lnTo>
                    <a:pt x="656" y="258"/>
                  </a:lnTo>
                  <a:lnTo>
                    <a:pt x="661" y="277"/>
                  </a:lnTo>
                  <a:lnTo>
                    <a:pt x="663" y="299"/>
                  </a:lnTo>
                  <a:lnTo>
                    <a:pt x="664" y="322"/>
                  </a:lnTo>
                  <a:lnTo>
                    <a:pt x="664" y="322"/>
                  </a:lnTo>
                  <a:lnTo>
                    <a:pt x="664" y="331"/>
                  </a:lnTo>
                  <a:lnTo>
                    <a:pt x="663" y="341"/>
                  </a:lnTo>
                  <a:lnTo>
                    <a:pt x="661" y="349"/>
                  </a:lnTo>
                  <a:lnTo>
                    <a:pt x="658" y="359"/>
                  </a:lnTo>
                  <a:lnTo>
                    <a:pt x="651" y="376"/>
                  </a:lnTo>
                  <a:lnTo>
                    <a:pt x="643" y="393"/>
                  </a:lnTo>
                  <a:lnTo>
                    <a:pt x="632" y="407"/>
                  </a:lnTo>
                  <a:lnTo>
                    <a:pt x="620" y="423"/>
                  </a:lnTo>
                  <a:lnTo>
                    <a:pt x="608" y="437"/>
                  </a:lnTo>
                  <a:lnTo>
                    <a:pt x="594" y="451"/>
                  </a:lnTo>
                  <a:lnTo>
                    <a:pt x="569" y="477"/>
                  </a:lnTo>
                  <a:lnTo>
                    <a:pt x="557" y="489"/>
                  </a:lnTo>
                  <a:lnTo>
                    <a:pt x="546" y="502"/>
                  </a:lnTo>
                  <a:lnTo>
                    <a:pt x="537" y="516"/>
                  </a:lnTo>
                  <a:lnTo>
                    <a:pt x="531" y="528"/>
                  </a:lnTo>
                  <a:lnTo>
                    <a:pt x="526" y="541"/>
                  </a:lnTo>
                  <a:lnTo>
                    <a:pt x="525" y="548"/>
                  </a:lnTo>
                  <a:lnTo>
                    <a:pt x="525" y="555"/>
                  </a:lnTo>
                  <a:lnTo>
                    <a:pt x="525" y="55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59" name="Group 1558">
            <a:extLst>
              <a:ext uri="{FF2B5EF4-FFF2-40B4-BE49-F238E27FC236}">
                <a16:creationId xmlns:a16="http://schemas.microsoft.com/office/drawing/2014/main" id="{2A5AA270-A95A-4A99-A139-C8BF3AF5F7A9}"/>
              </a:ext>
            </a:extLst>
          </p:cNvPr>
          <p:cNvGrpSpPr/>
          <p:nvPr/>
        </p:nvGrpSpPr>
        <p:grpSpPr>
          <a:xfrm>
            <a:off x="6835574" y="2393776"/>
            <a:ext cx="612775" cy="612775"/>
            <a:chOff x="4965517" y="3032119"/>
            <a:chExt cx="612775" cy="612775"/>
          </a:xfrm>
        </p:grpSpPr>
        <p:sp>
          <p:nvSpPr>
            <p:cNvPr id="1560" name="Oval 1559">
              <a:extLst>
                <a:ext uri="{FF2B5EF4-FFF2-40B4-BE49-F238E27FC236}">
                  <a16:creationId xmlns:a16="http://schemas.microsoft.com/office/drawing/2014/main" id="{159DBB6B-9A42-4F76-AAC0-9DBC0DE60D2E}"/>
                </a:ext>
              </a:extLst>
            </p:cNvPr>
            <p:cNvSpPr/>
            <p:nvPr/>
          </p:nvSpPr>
          <p:spPr bwMode="ltGray">
            <a:xfrm>
              <a:off x="4965517"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61" name="Freeform 161">
              <a:extLst>
                <a:ext uri="{FF2B5EF4-FFF2-40B4-BE49-F238E27FC236}">
                  <a16:creationId xmlns:a16="http://schemas.microsoft.com/office/drawing/2014/main" id="{5D42237C-EE78-46AD-BC38-441320960C0A}"/>
                </a:ext>
              </a:extLst>
            </p:cNvPr>
            <p:cNvSpPr>
              <a:spLocks noEditPoints="1"/>
            </p:cNvSpPr>
            <p:nvPr/>
          </p:nvSpPr>
          <p:spPr bwMode="auto">
            <a:xfrm>
              <a:off x="5119350" y="3145047"/>
              <a:ext cx="366712" cy="384175"/>
            </a:xfrm>
            <a:custGeom>
              <a:avLst/>
              <a:gdLst>
                <a:gd name="T0" fmla="*/ 199 w 695"/>
                <a:gd name="T1" fmla="*/ 578 h 727"/>
                <a:gd name="T2" fmla="*/ 117 w 695"/>
                <a:gd name="T3" fmla="*/ 545 h 727"/>
                <a:gd name="T4" fmla="*/ 199 w 695"/>
                <a:gd name="T5" fmla="*/ 424 h 727"/>
                <a:gd name="T6" fmla="*/ 117 w 695"/>
                <a:gd name="T7" fmla="*/ 412 h 727"/>
                <a:gd name="T8" fmla="*/ 199 w 695"/>
                <a:gd name="T9" fmla="*/ 446 h 727"/>
                <a:gd name="T10" fmla="*/ 343 w 695"/>
                <a:gd name="T11" fmla="*/ 280 h 727"/>
                <a:gd name="T12" fmla="*/ 117 w 695"/>
                <a:gd name="T13" fmla="*/ 314 h 727"/>
                <a:gd name="T14" fmla="*/ 343 w 695"/>
                <a:gd name="T15" fmla="*/ 280 h 727"/>
                <a:gd name="T16" fmla="*/ 117 w 695"/>
                <a:gd name="T17" fmla="*/ 478 h 727"/>
                <a:gd name="T18" fmla="*/ 199 w 695"/>
                <a:gd name="T19" fmla="*/ 512 h 727"/>
                <a:gd name="T20" fmla="*/ 563 w 695"/>
                <a:gd name="T21" fmla="*/ 545 h 727"/>
                <a:gd name="T22" fmla="*/ 414 w 695"/>
                <a:gd name="T23" fmla="*/ 694 h 727"/>
                <a:gd name="T24" fmla="*/ 34 w 695"/>
                <a:gd name="T25" fmla="*/ 33 h 727"/>
                <a:gd name="T26" fmla="*/ 563 w 695"/>
                <a:gd name="T27" fmla="*/ 61 h 727"/>
                <a:gd name="T28" fmla="*/ 570 w 695"/>
                <a:gd name="T29" fmla="*/ 55 h 727"/>
                <a:gd name="T30" fmla="*/ 587 w 695"/>
                <a:gd name="T31" fmla="*/ 46 h 727"/>
                <a:gd name="T32" fmla="*/ 595 w 695"/>
                <a:gd name="T33" fmla="*/ 0 h 727"/>
                <a:gd name="T34" fmla="*/ 0 w 695"/>
                <a:gd name="T35" fmla="*/ 727 h 727"/>
                <a:gd name="T36" fmla="*/ 595 w 695"/>
                <a:gd name="T37" fmla="*/ 561 h 727"/>
                <a:gd name="T38" fmla="*/ 563 w 695"/>
                <a:gd name="T39" fmla="*/ 368 h 727"/>
                <a:gd name="T40" fmla="*/ 409 w 695"/>
                <a:gd name="T41" fmla="*/ 214 h 727"/>
                <a:gd name="T42" fmla="*/ 117 w 695"/>
                <a:gd name="T43" fmla="*/ 248 h 727"/>
                <a:gd name="T44" fmla="*/ 409 w 695"/>
                <a:gd name="T45" fmla="*/ 214 h 727"/>
                <a:gd name="T46" fmla="*/ 117 w 695"/>
                <a:gd name="T47" fmla="*/ 380 h 727"/>
                <a:gd name="T48" fmla="*/ 277 w 695"/>
                <a:gd name="T49" fmla="*/ 346 h 727"/>
                <a:gd name="T50" fmla="*/ 475 w 695"/>
                <a:gd name="T51" fmla="*/ 148 h 727"/>
                <a:gd name="T52" fmla="*/ 183 w 695"/>
                <a:gd name="T53" fmla="*/ 182 h 727"/>
                <a:gd name="T54" fmla="*/ 475 w 695"/>
                <a:gd name="T55" fmla="*/ 148 h 727"/>
                <a:gd name="T56" fmla="*/ 327 w 695"/>
                <a:gd name="T57" fmla="*/ 545 h 727"/>
                <a:gd name="T58" fmla="*/ 236 w 695"/>
                <a:gd name="T59" fmla="*/ 446 h 727"/>
                <a:gd name="T60" fmla="*/ 232 w 695"/>
                <a:gd name="T61" fmla="*/ 545 h 727"/>
                <a:gd name="T62" fmla="*/ 361 w 695"/>
                <a:gd name="T63" fmla="*/ 512 h 727"/>
                <a:gd name="T64" fmla="*/ 533 w 695"/>
                <a:gd name="T65" fmla="*/ 148 h 727"/>
                <a:gd name="T66" fmla="*/ 685 w 695"/>
                <a:gd name="T67" fmla="*/ 140 h 727"/>
                <a:gd name="T68" fmla="*/ 637 w 695"/>
                <a:gd name="T69" fmla="*/ 93 h 727"/>
                <a:gd name="T70" fmla="*/ 626 w 695"/>
                <a:gd name="T71" fmla="*/ 84 h 727"/>
                <a:gd name="T72" fmla="*/ 613 w 695"/>
                <a:gd name="T73" fmla="*/ 82 h 727"/>
                <a:gd name="T74" fmla="*/ 600 w 695"/>
                <a:gd name="T75" fmla="*/ 84 h 727"/>
                <a:gd name="T76" fmla="*/ 589 w 695"/>
                <a:gd name="T77" fmla="*/ 93 h 727"/>
                <a:gd name="T78" fmla="*/ 658 w 695"/>
                <a:gd name="T79" fmla="*/ 214 h 727"/>
                <a:gd name="T80" fmla="*/ 685 w 695"/>
                <a:gd name="T81" fmla="*/ 188 h 727"/>
                <a:gd name="T82" fmla="*/ 692 w 695"/>
                <a:gd name="T83" fmla="*/ 177 h 727"/>
                <a:gd name="T84" fmla="*/ 695 w 695"/>
                <a:gd name="T85" fmla="*/ 164 h 727"/>
                <a:gd name="T86" fmla="*/ 692 w 695"/>
                <a:gd name="T87" fmla="*/ 152 h 727"/>
                <a:gd name="T88" fmla="*/ 685 w 695"/>
                <a:gd name="T89" fmla="*/ 140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95" h="727">
                  <a:moveTo>
                    <a:pt x="117" y="578"/>
                  </a:moveTo>
                  <a:lnTo>
                    <a:pt x="199" y="578"/>
                  </a:lnTo>
                  <a:lnTo>
                    <a:pt x="199" y="545"/>
                  </a:lnTo>
                  <a:lnTo>
                    <a:pt x="117" y="545"/>
                  </a:lnTo>
                  <a:lnTo>
                    <a:pt x="117" y="578"/>
                  </a:lnTo>
                  <a:close/>
                  <a:moveTo>
                    <a:pt x="199" y="424"/>
                  </a:moveTo>
                  <a:lnTo>
                    <a:pt x="211" y="412"/>
                  </a:lnTo>
                  <a:lnTo>
                    <a:pt x="117" y="412"/>
                  </a:lnTo>
                  <a:lnTo>
                    <a:pt x="117" y="446"/>
                  </a:lnTo>
                  <a:lnTo>
                    <a:pt x="199" y="446"/>
                  </a:lnTo>
                  <a:lnTo>
                    <a:pt x="199" y="424"/>
                  </a:lnTo>
                  <a:close/>
                  <a:moveTo>
                    <a:pt x="343" y="280"/>
                  </a:moveTo>
                  <a:lnTo>
                    <a:pt x="117" y="280"/>
                  </a:lnTo>
                  <a:lnTo>
                    <a:pt x="117" y="314"/>
                  </a:lnTo>
                  <a:lnTo>
                    <a:pt x="309" y="314"/>
                  </a:lnTo>
                  <a:lnTo>
                    <a:pt x="343" y="280"/>
                  </a:lnTo>
                  <a:close/>
                  <a:moveTo>
                    <a:pt x="199" y="478"/>
                  </a:moveTo>
                  <a:lnTo>
                    <a:pt x="117" y="478"/>
                  </a:lnTo>
                  <a:lnTo>
                    <a:pt x="117" y="512"/>
                  </a:lnTo>
                  <a:lnTo>
                    <a:pt x="199" y="512"/>
                  </a:lnTo>
                  <a:lnTo>
                    <a:pt x="199" y="478"/>
                  </a:lnTo>
                  <a:close/>
                  <a:moveTo>
                    <a:pt x="563" y="545"/>
                  </a:moveTo>
                  <a:lnTo>
                    <a:pt x="414" y="545"/>
                  </a:lnTo>
                  <a:lnTo>
                    <a:pt x="414" y="694"/>
                  </a:lnTo>
                  <a:lnTo>
                    <a:pt x="34" y="694"/>
                  </a:lnTo>
                  <a:lnTo>
                    <a:pt x="34" y="33"/>
                  </a:lnTo>
                  <a:lnTo>
                    <a:pt x="563" y="33"/>
                  </a:lnTo>
                  <a:lnTo>
                    <a:pt x="563" y="61"/>
                  </a:lnTo>
                  <a:lnTo>
                    <a:pt x="563" y="61"/>
                  </a:lnTo>
                  <a:lnTo>
                    <a:pt x="570" y="55"/>
                  </a:lnTo>
                  <a:lnTo>
                    <a:pt x="578" y="51"/>
                  </a:lnTo>
                  <a:lnTo>
                    <a:pt x="587" y="46"/>
                  </a:lnTo>
                  <a:lnTo>
                    <a:pt x="595" y="43"/>
                  </a:lnTo>
                  <a:lnTo>
                    <a:pt x="595" y="0"/>
                  </a:lnTo>
                  <a:lnTo>
                    <a:pt x="0" y="0"/>
                  </a:lnTo>
                  <a:lnTo>
                    <a:pt x="0" y="727"/>
                  </a:lnTo>
                  <a:lnTo>
                    <a:pt x="430" y="727"/>
                  </a:lnTo>
                  <a:lnTo>
                    <a:pt x="595" y="561"/>
                  </a:lnTo>
                  <a:lnTo>
                    <a:pt x="595" y="335"/>
                  </a:lnTo>
                  <a:lnTo>
                    <a:pt x="563" y="368"/>
                  </a:lnTo>
                  <a:lnTo>
                    <a:pt x="563" y="545"/>
                  </a:lnTo>
                  <a:close/>
                  <a:moveTo>
                    <a:pt x="409" y="214"/>
                  </a:moveTo>
                  <a:lnTo>
                    <a:pt x="117" y="214"/>
                  </a:lnTo>
                  <a:lnTo>
                    <a:pt x="117" y="248"/>
                  </a:lnTo>
                  <a:lnTo>
                    <a:pt x="375" y="248"/>
                  </a:lnTo>
                  <a:lnTo>
                    <a:pt x="409" y="214"/>
                  </a:lnTo>
                  <a:close/>
                  <a:moveTo>
                    <a:pt x="117" y="346"/>
                  </a:moveTo>
                  <a:lnTo>
                    <a:pt x="117" y="380"/>
                  </a:lnTo>
                  <a:lnTo>
                    <a:pt x="243" y="380"/>
                  </a:lnTo>
                  <a:lnTo>
                    <a:pt x="277" y="346"/>
                  </a:lnTo>
                  <a:lnTo>
                    <a:pt x="117" y="346"/>
                  </a:lnTo>
                  <a:close/>
                  <a:moveTo>
                    <a:pt x="475" y="148"/>
                  </a:moveTo>
                  <a:lnTo>
                    <a:pt x="183" y="148"/>
                  </a:lnTo>
                  <a:lnTo>
                    <a:pt x="183" y="182"/>
                  </a:lnTo>
                  <a:lnTo>
                    <a:pt x="441" y="182"/>
                  </a:lnTo>
                  <a:lnTo>
                    <a:pt x="475" y="148"/>
                  </a:lnTo>
                  <a:close/>
                  <a:moveTo>
                    <a:pt x="232" y="545"/>
                  </a:moveTo>
                  <a:lnTo>
                    <a:pt x="327" y="545"/>
                  </a:lnTo>
                  <a:lnTo>
                    <a:pt x="331" y="541"/>
                  </a:lnTo>
                  <a:lnTo>
                    <a:pt x="236" y="446"/>
                  </a:lnTo>
                  <a:lnTo>
                    <a:pt x="232" y="450"/>
                  </a:lnTo>
                  <a:lnTo>
                    <a:pt x="232" y="545"/>
                  </a:lnTo>
                  <a:close/>
                  <a:moveTo>
                    <a:pt x="265" y="417"/>
                  </a:moveTo>
                  <a:lnTo>
                    <a:pt x="361" y="512"/>
                  </a:lnTo>
                  <a:lnTo>
                    <a:pt x="629" y="244"/>
                  </a:lnTo>
                  <a:lnTo>
                    <a:pt x="533" y="148"/>
                  </a:lnTo>
                  <a:lnTo>
                    <a:pt x="265" y="417"/>
                  </a:lnTo>
                  <a:close/>
                  <a:moveTo>
                    <a:pt x="685" y="140"/>
                  </a:moveTo>
                  <a:lnTo>
                    <a:pt x="637" y="93"/>
                  </a:lnTo>
                  <a:lnTo>
                    <a:pt x="637" y="93"/>
                  </a:lnTo>
                  <a:lnTo>
                    <a:pt x="631" y="88"/>
                  </a:lnTo>
                  <a:lnTo>
                    <a:pt x="626" y="84"/>
                  </a:lnTo>
                  <a:lnTo>
                    <a:pt x="619" y="83"/>
                  </a:lnTo>
                  <a:lnTo>
                    <a:pt x="613" y="82"/>
                  </a:lnTo>
                  <a:lnTo>
                    <a:pt x="607" y="83"/>
                  </a:lnTo>
                  <a:lnTo>
                    <a:pt x="600" y="84"/>
                  </a:lnTo>
                  <a:lnTo>
                    <a:pt x="595" y="88"/>
                  </a:lnTo>
                  <a:lnTo>
                    <a:pt x="589" y="93"/>
                  </a:lnTo>
                  <a:lnTo>
                    <a:pt x="563" y="119"/>
                  </a:lnTo>
                  <a:lnTo>
                    <a:pt x="658" y="214"/>
                  </a:lnTo>
                  <a:lnTo>
                    <a:pt x="685" y="188"/>
                  </a:lnTo>
                  <a:lnTo>
                    <a:pt x="685" y="188"/>
                  </a:lnTo>
                  <a:lnTo>
                    <a:pt x="689" y="183"/>
                  </a:lnTo>
                  <a:lnTo>
                    <a:pt x="692" y="177"/>
                  </a:lnTo>
                  <a:lnTo>
                    <a:pt x="694" y="170"/>
                  </a:lnTo>
                  <a:lnTo>
                    <a:pt x="695" y="164"/>
                  </a:lnTo>
                  <a:lnTo>
                    <a:pt x="694" y="158"/>
                  </a:lnTo>
                  <a:lnTo>
                    <a:pt x="692" y="152"/>
                  </a:lnTo>
                  <a:lnTo>
                    <a:pt x="689" y="146"/>
                  </a:lnTo>
                  <a:lnTo>
                    <a:pt x="685" y="140"/>
                  </a:lnTo>
                  <a:lnTo>
                    <a:pt x="685" y="14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62" name="Group 1561">
            <a:extLst>
              <a:ext uri="{FF2B5EF4-FFF2-40B4-BE49-F238E27FC236}">
                <a16:creationId xmlns:a16="http://schemas.microsoft.com/office/drawing/2014/main" id="{31E34B55-74E9-456F-BF17-76074C17C621}"/>
              </a:ext>
            </a:extLst>
          </p:cNvPr>
          <p:cNvGrpSpPr/>
          <p:nvPr/>
        </p:nvGrpSpPr>
        <p:grpSpPr>
          <a:xfrm>
            <a:off x="7564359" y="2393776"/>
            <a:ext cx="612775" cy="612775"/>
            <a:chOff x="5694302" y="3032119"/>
            <a:chExt cx="612775" cy="612775"/>
          </a:xfrm>
        </p:grpSpPr>
        <p:sp>
          <p:nvSpPr>
            <p:cNvPr id="1563" name="Oval 1562">
              <a:extLst>
                <a:ext uri="{FF2B5EF4-FFF2-40B4-BE49-F238E27FC236}">
                  <a16:creationId xmlns:a16="http://schemas.microsoft.com/office/drawing/2014/main" id="{2B217275-AB5B-4F23-A0E4-83455A0E9355}"/>
                </a:ext>
              </a:extLst>
            </p:cNvPr>
            <p:cNvSpPr/>
            <p:nvPr/>
          </p:nvSpPr>
          <p:spPr bwMode="ltGray">
            <a:xfrm>
              <a:off x="569430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64" name="Freeform 166">
              <a:extLst>
                <a:ext uri="{FF2B5EF4-FFF2-40B4-BE49-F238E27FC236}">
                  <a16:creationId xmlns:a16="http://schemas.microsoft.com/office/drawing/2014/main" id="{9988FEE0-EC91-416B-9B5E-26F28E354855}"/>
                </a:ext>
              </a:extLst>
            </p:cNvPr>
            <p:cNvSpPr>
              <a:spLocks noEditPoints="1"/>
            </p:cNvSpPr>
            <p:nvPr/>
          </p:nvSpPr>
          <p:spPr bwMode="auto">
            <a:xfrm>
              <a:off x="5831814" y="3151863"/>
              <a:ext cx="360000" cy="360000"/>
            </a:xfrm>
            <a:custGeom>
              <a:avLst/>
              <a:gdLst>
                <a:gd name="T0" fmla="*/ 16 w 760"/>
                <a:gd name="T1" fmla="*/ 601 h 759"/>
                <a:gd name="T2" fmla="*/ 10 w 760"/>
                <a:gd name="T3" fmla="*/ 631 h 759"/>
                <a:gd name="T4" fmla="*/ 94 w 760"/>
                <a:gd name="T5" fmla="*/ 617 h 759"/>
                <a:gd name="T6" fmla="*/ 94 w 760"/>
                <a:gd name="T7" fmla="*/ 459 h 759"/>
                <a:gd name="T8" fmla="*/ 5 w 760"/>
                <a:gd name="T9" fmla="*/ 447 h 759"/>
                <a:gd name="T10" fmla="*/ 16 w 760"/>
                <a:gd name="T11" fmla="*/ 474 h 759"/>
                <a:gd name="T12" fmla="*/ 94 w 760"/>
                <a:gd name="T13" fmla="*/ 300 h 759"/>
                <a:gd name="T14" fmla="*/ 5 w 760"/>
                <a:gd name="T15" fmla="*/ 289 h 759"/>
                <a:gd name="T16" fmla="*/ 16 w 760"/>
                <a:gd name="T17" fmla="*/ 317 h 759"/>
                <a:gd name="T18" fmla="*/ 94 w 760"/>
                <a:gd name="T19" fmla="*/ 142 h 759"/>
                <a:gd name="T20" fmla="*/ 5 w 760"/>
                <a:gd name="T21" fmla="*/ 131 h 759"/>
                <a:gd name="T22" fmla="*/ 16 w 760"/>
                <a:gd name="T23" fmla="*/ 157 h 759"/>
                <a:gd name="T24" fmla="*/ 745 w 760"/>
                <a:gd name="T25" fmla="*/ 659 h 759"/>
                <a:gd name="T26" fmla="*/ 758 w 760"/>
                <a:gd name="T27" fmla="*/ 562 h 759"/>
                <a:gd name="T28" fmla="*/ 727 w 760"/>
                <a:gd name="T29" fmla="*/ 537 h 759"/>
                <a:gd name="T30" fmla="*/ 745 w 760"/>
                <a:gd name="T31" fmla="*/ 184 h 759"/>
                <a:gd name="T32" fmla="*/ 758 w 760"/>
                <a:gd name="T33" fmla="*/ 88 h 759"/>
                <a:gd name="T34" fmla="*/ 727 w 760"/>
                <a:gd name="T35" fmla="*/ 62 h 759"/>
                <a:gd name="T36" fmla="*/ 745 w 760"/>
                <a:gd name="T37" fmla="*/ 342 h 759"/>
                <a:gd name="T38" fmla="*/ 758 w 760"/>
                <a:gd name="T39" fmla="*/ 247 h 759"/>
                <a:gd name="T40" fmla="*/ 727 w 760"/>
                <a:gd name="T41" fmla="*/ 221 h 759"/>
                <a:gd name="T42" fmla="*/ 745 w 760"/>
                <a:gd name="T43" fmla="*/ 501 h 759"/>
                <a:gd name="T44" fmla="*/ 758 w 760"/>
                <a:gd name="T45" fmla="*/ 405 h 759"/>
                <a:gd name="T46" fmla="*/ 727 w 760"/>
                <a:gd name="T47" fmla="*/ 379 h 759"/>
                <a:gd name="T48" fmla="*/ 37 w 760"/>
                <a:gd name="T49" fmla="*/ 14 h 759"/>
                <a:gd name="T50" fmla="*/ 105 w 760"/>
                <a:gd name="T51" fmla="*/ 98 h 759"/>
                <a:gd name="T52" fmla="*/ 133 w 760"/>
                <a:gd name="T53" fmla="*/ 151 h 759"/>
                <a:gd name="T54" fmla="*/ 32 w 760"/>
                <a:gd name="T55" fmla="*/ 189 h 759"/>
                <a:gd name="T56" fmla="*/ 127 w 760"/>
                <a:gd name="T57" fmla="*/ 276 h 759"/>
                <a:gd name="T58" fmla="*/ 121 w 760"/>
                <a:gd name="T59" fmla="*/ 336 h 759"/>
                <a:gd name="T60" fmla="*/ 87 w 760"/>
                <a:gd name="T61" fmla="*/ 411 h 759"/>
                <a:gd name="T62" fmla="*/ 134 w 760"/>
                <a:gd name="T63" fmla="*/ 459 h 759"/>
                <a:gd name="T64" fmla="*/ 97 w 760"/>
                <a:gd name="T65" fmla="*/ 505 h 759"/>
                <a:gd name="T66" fmla="*/ 114 w 760"/>
                <a:gd name="T67" fmla="*/ 577 h 759"/>
                <a:gd name="T68" fmla="*/ 131 w 760"/>
                <a:gd name="T69" fmla="*/ 635 h 759"/>
                <a:gd name="T70" fmla="*/ 32 w 760"/>
                <a:gd name="T71" fmla="*/ 727 h 759"/>
                <a:gd name="T72" fmla="*/ 57 w 760"/>
                <a:gd name="T73" fmla="*/ 758 h 759"/>
                <a:gd name="T74" fmla="*/ 658 w 760"/>
                <a:gd name="T75" fmla="*/ 744 h 759"/>
                <a:gd name="T76" fmla="*/ 658 w 760"/>
                <a:gd name="T77" fmla="*/ 14 h 759"/>
                <a:gd name="T78" fmla="*/ 597 w 760"/>
                <a:gd name="T79" fmla="*/ 573 h 759"/>
                <a:gd name="T80" fmla="*/ 260 w 760"/>
                <a:gd name="T81" fmla="*/ 583 h 759"/>
                <a:gd name="T82" fmla="*/ 186 w 760"/>
                <a:gd name="T83" fmla="*/ 565 h 759"/>
                <a:gd name="T84" fmla="*/ 211 w 760"/>
                <a:gd name="T85" fmla="*/ 488 h 759"/>
                <a:gd name="T86" fmla="*/ 340 w 760"/>
                <a:gd name="T87" fmla="*/ 424 h 759"/>
                <a:gd name="T88" fmla="*/ 344 w 760"/>
                <a:gd name="T89" fmla="*/ 377 h 759"/>
                <a:gd name="T90" fmla="*/ 308 w 760"/>
                <a:gd name="T91" fmla="*/ 329 h 759"/>
                <a:gd name="T92" fmla="*/ 294 w 760"/>
                <a:gd name="T93" fmla="*/ 283 h 759"/>
                <a:gd name="T94" fmla="*/ 302 w 760"/>
                <a:gd name="T95" fmla="*/ 221 h 759"/>
                <a:gd name="T96" fmla="*/ 315 w 760"/>
                <a:gd name="T97" fmla="*/ 155 h 759"/>
                <a:gd name="T98" fmla="*/ 390 w 760"/>
                <a:gd name="T99" fmla="*/ 136 h 759"/>
                <a:gd name="T100" fmla="*/ 446 w 760"/>
                <a:gd name="T101" fmla="*/ 147 h 759"/>
                <a:gd name="T102" fmla="*/ 486 w 760"/>
                <a:gd name="T103" fmla="*/ 174 h 759"/>
                <a:gd name="T104" fmla="*/ 486 w 760"/>
                <a:gd name="T105" fmla="*/ 264 h 759"/>
                <a:gd name="T106" fmla="*/ 494 w 760"/>
                <a:gd name="T107" fmla="*/ 305 h 759"/>
                <a:gd name="T108" fmla="*/ 472 w 760"/>
                <a:gd name="T109" fmla="*/ 336 h 759"/>
                <a:gd name="T110" fmla="*/ 443 w 760"/>
                <a:gd name="T111" fmla="*/ 411 h 759"/>
                <a:gd name="T112" fmla="*/ 478 w 760"/>
                <a:gd name="T113" fmla="*/ 438 h 759"/>
                <a:gd name="T114" fmla="*/ 591 w 760"/>
                <a:gd name="T115" fmla="*/ 507 h 759"/>
                <a:gd name="T116" fmla="*/ 601 w 760"/>
                <a:gd name="T117" fmla="*/ 572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60" h="759">
                  <a:moveTo>
                    <a:pt x="94" y="617"/>
                  </a:moveTo>
                  <a:lnTo>
                    <a:pt x="94" y="617"/>
                  </a:lnTo>
                  <a:lnTo>
                    <a:pt x="93" y="611"/>
                  </a:lnTo>
                  <a:lnTo>
                    <a:pt x="91" y="606"/>
                  </a:lnTo>
                  <a:lnTo>
                    <a:pt x="85" y="602"/>
                  </a:lnTo>
                  <a:lnTo>
                    <a:pt x="79" y="601"/>
                  </a:lnTo>
                  <a:lnTo>
                    <a:pt x="16" y="601"/>
                  </a:lnTo>
                  <a:lnTo>
                    <a:pt x="16" y="601"/>
                  </a:lnTo>
                  <a:lnTo>
                    <a:pt x="10" y="602"/>
                  </a:lnTo>
                  <a:lnTo>
                    <a:pt x="5" y="606"/>
                  </a:lnTo>
                  <a:lnTo>
                    <a:pt x="2" y="611"/>
                  </a:lnTo>
                  <a:lnTo>
                    <a:pt x="0" y="617"/>
                  </a:lnTo>
                  <a:lnTo>
                    <a:pt x="0" y="617"/>
                  </a:lnTo>
                  <a:lnTo>
                    <a:pt x="2" y="623"/>
                  </a:lnTo>
                  <a:lnTo>
                    <a:pt x="5" y="627"/>
                  </a:lnTo>
                  <a:lnTo>
                    <a:pt x="10" y="631"/>
                  </a:lnTo>
                  <a:lnTo>
                    <a:pt x="16" y="632"/>
                  </a:lnTo>
                  <a:lnTo>
                    <a:pt x="79" y="632"/>
                  </a:lnTo>
                  <a:lnTo>
                    <a:pt x="79" y="632"/>
                  </a:lnTo>
                  <a:lnTo>
                    <a:pt x="85" y="631"/>
                  </a:lnTo>
                  <a:lnTo>
                    <a:pt x="91" y="627"/>
                  </a:lnTo>
                  <a:lnTo>
                    <a:pt x="93" y="623"/>
                  </a:lnTo>
                  <a:lnTo>
                    <a:pt x="94" y="617"/>
                  </a:lnTo>
                  <a:lnTo>
                    <a:pt x="94" y="617"/>
                  </a:lnTo>
                  <a:close/>
                  <a:moveTo>
                    <a:pt x="16" y="474"/>
                  </a:moveTo>
                  <a:lnTo>
                    <a:pt x="79" y="474"/>
                  </a:lnTo>
                  <a:lnTo>
                    <a:pt x="79" y="474"/>
                  </a:lnTo>
                  <a:lnTo>
                    <a:pt x="85" y="473"/>
                  </a:lnTo>
                  <a:lnTo>
                    <a:pt x="91" y="470"/>
                  </a:lnTo>
                  <a:lnTo>
                    <a:pt x="93" y="465"/>
                  </a:lnTo>
                  <a:lnTo>
                    <a:pt x="94" y="459"/>
                  </a:lnTo>
                  <a:lnTo>
                    <a:pt x="94" y="459"/>
                  </a:lnTo>
                  <a:lnTo>
                    <a:pt x="93" y="453"/>
                  </a:lnTo>
                  <a:lnTo>
                    <a:pt x="91" y="447"/>
                  </a:lnTo>
                  <a:lnTo>
                    <a:pt x="85" y="444"/>
                  </a:lnTo>
                  <a:lnTo>
                    <a:pt x="79" y="443"/>
                  </a:lnTo>
                  <a:lnTo>
                    <a:pt x="16" y="443"/>
                  </a:lnTo>
                  <a:lnTo>
                    <a:pt x="16" y="443"/>
                  </a:lnTo>
                  <a:lnTo>
                    <a:pt x="10" y="444"/>
                  </a:lnTo>
                  <a:lnTo>
                    <a:pt x="5" y="447"/>
                  </a:lnTo>
                  <a:lnTo>
                    <a:pt x="2" y="453"/>
                  </a:lnTo>
                  <a:lnTo>
                    <a:pt x="0" y="459"/>
                  </a:lnTo>
                  <a:lnTo>
                    <a:pt x="0" y="459"/>
                  </a:lnTo>
                  <a:lnTo>
                    <a:pt x="2" y="465"/>
                  </a:lnTo>
                  <a:lnTo>
                    <a:pt x="5" y="470"/>
                  </a:lnTo>
                  <a:lnTo>
                    <a:pt x="10" y="473"/>
                  </a:lnTo>
                  <a:lnTo>
                    <a:pt x="16" y="474"/>
                  </a:lnTo>
                  <a:lnTo>
                    <a:pt x="16" y="474"/>
                  </a:lnTo>
                  <a:close/>
                  <a:moveTo>
                    <a:pt x="16" y="317"/>
                  </a:moveTo>
                  <a:lnTo>
                    <a:pt x="79" y="317"/>
                  </a:lnTo>
                  <a:lnTo>
                    <a:pt x="79" y="317"/>
                  </a:lnTo>
                  <a:lnTo>
                    <a:pt x="85" y="314"/>
                  </a:lnTo>
                  <a:lnTo>
                    <a:pt x="91" y="312"/>
                  </a:lnTo>
                  <a:lnTo>
                    <a:pt x="93" y="306"/>
                  </a:lnTo>
                  <a:lnTo>
                    <a:pt x="94" y="300"/>
                  </a:lnTo>
                  <a:lnTo>
                    <a:pt x="94" y="300"/>
                  </a:lnTo>
                  <a:lnTo>
                    <a:pt x="93" y="294"/>
                  </a:lnTo>
                  <a:lnTo>
                    <a:pt x="91" y="289"/>
                  </a:lnTo>
                  <a:lnTo>
                    <a:pt x="85" y="285"/>
                  </a:lnTo>
                  <a:lnTo>
                    <a:pt x="79" y="284"/>
                  </a:lnTo>
                  <a:lnTo>
                    <a:pt x="16" y="284"/>
                  </a:lnTo>
                  <a:lnTo>
                    <a:pt x="16" y="284"/>
                  </a:lnTo>
                  <a:lnTo>
                    <a:pt x="10" y="285"/>
                  </a:lnTo>
                  <a:lnTo>
                    <a:pt x="5" y="289"/>
                  </a:lnTo>
                  <a:lnTo>
                    <a:pt x="2" y="294"/>
                  </a:lnTo>
                  <a:lnTo>
                    <a:pt x="0" y="300"/>
                  </a:lnTo>
                  <a:lnTo>
                    <a:pt x="0" y="300"/>
                  </a:lnTo>
                  <a:lnTo>
                    <a:pt x="2" y="306"/>
                  </a:lnTo>
                  <a:lnTo>
                    <a:pt x="5" y="312"/>
                  </a:lnTo>
                  <a:lnTo>
                    <a:pt x="10" y="314"/>
                  </a:lnTo>
                  <a:lnTo>
                    <a:pt x="16" y="317"/>
                  </a:lnTo>
                  <a:lnTo>
                    <a:pt x="16" y="317"/>
                  </a:lnTo>
                  <a:close/>
                  <a:moveTo>
                    <a:pt x="16" y="157"/>
                  </a:moveTo>
                  <a:lnTo>
                    <a:pt x="79" y="157"/>
                  </a:lnTo>
                  <a:lnTo>
                    <a:pt x="79" y="157"/>
                  </a:lnTo>
                  <a:lnTo>
                    <a:pt x="85" y="156"/>
                  </a:lnTo>
                  <a:lnTo>
                    <a:pt x="91" y="153"/>
                  </a:lnTo>
                  <a:lnTo>
                    <a:pt x="93" y="148"/>
                  </a:lnTo>
                  <a:lnTo>
                    <a:pt x="94" y="142"/>
                  </a:lnTo>
                  <a:lnTo>
                    <a:pt x="94" y="142"/>
                  </a:lnTo>
                  <a:lnTo>
                    <a:pt x="93" y="136"/>
                  </a:lnTo>
                  <a:lnTo>
                    <a:pt x="91" y="131"/>
                  </a:lnTo>
                  <a:lnTo>
                    <a:pt x="85" y="127"/>
                  </a:lnTo>
                  <a:lnTo>
                    <a:pt x="79" y="126"/>
                  </a:lnTo>
                  <a:lnTo>
                    <a:pt x="16" y="126"/>
                  </a:lnTo>
                  <a:lnTo>
                    <a:pt x="16" y="126"/>
                  </a:lnTo>
                  <a:lnTo>
                    <a:pt x="10" y="127"/>
                  </a:lnTo>
                  <a:lnTo>
                    <a:pt x="5" y="131"/>
                  </a:lnTo>
                  <a:lnTo>
                    <a:pt x="2" y="136"/>
                  </a:lnTo>
                  <a:lnTo>
                    <a:pt x="0" y="142"/>
                  </a:lnTo>
                  <a:lnTo>
                    <a:pt x="0" y="142"/>
                  </a:lnTo>
                  <a:lnTo>
                    <a:pt x="2" y="148"/>
                  </a:lnTo>
                  <a:lnTo>
                    <a:pt x="5" y="153"/>
                  </a:lnTo>
                  <a:lnTo>
                    <a:pt x="10" y="156"/>
                  </a:lnTo>
                  <a:lnTo>
                    <a:pt x="16" y="157"/>
                  </a:lnTo>
                  <a:lnTo>
                    <a:pt x="16" y="157"/>
                  </a:lnTo>
                  <a:close/>
                  <a:moveTo>
                    <a:pt x="727" y="537"/>
                  </a:moveTo>
                  <a:lnTo>
                    <a:pt x="696" y="537"/>
                  </a:lnTo>
                  <a:lnTo>
                    <a:pt x="696" y="664"/>
                  </a:lnTo>
                  <a:lnTo>
                    <a:pt x="727" y="664"/>
                  </a:lnTo>
                  <a:lnTo>
                    <a:pt x="727" y="664"/>
                  </a:lnTo>
                  <a:lnTo>
                    <a:pt x="734" y="664"/>
                  </a:lnTo>
                  <a:lnTo>
                    <a:pt x="740" y="661"/>
                  </a:lnTo>
                  <a:lnTo>
                    <a:pt x="745" y="659"/>
                  </a:lnTo>
                  <a:lnTo>
                    <a:pt x="750" y="655"/>
                  </a:lnTo>
                  <a:lnTo>
                    <a:pt x="754" y="650"/>
                  </a:lnTo>
                  <a:lnTo>
                    <a:pt x="757" y="644"/>
                  </a:lnTo>
                  <a:lnTo>
                    <a:pt x="758" y="638"/>
                  </a:lnTo>
                  <a:lnTo>
                    <a:pt x="760" y="632"/>
                  </a:lnTo>
                  <a:lnTo>
                    <a:pt x="760" y="570"/>
                  </a:lnTo>
                  <a:lnTo>
                    <a:pt x="760" y="570"/>
                  </a:lnTo>
                  <a:lnTo>
                    <a:pt x="758" y="562"/>
                  </a:lnTo>
                  <a:lnTo>
                    <a:pt x="757" y="556"/>
                  </a:lnTo>
                  <a:lnTo>
                    <a:pt x="754" y="552"/>
                  </a:lnTo>
                  <a:lnTo>
                    <a:pt x="750" y="547"/>
                  </a:lnTo>
                  <a:lnTo>
                    <a:pt x="745" y="543"/>
                  </a:lnTo>
                  <a:lnTo>
                    <a:pt x="740" y="539"/>
                  </a:lnTo>
                  <a:lnTo>
                    <a:pt x="734" y="538"/>
                  </a:lnTo>
                  <a:lnTo>
                    <a:pt x="727" y="537"/>
                  </a:lnTo>
                  <a:lnTo>
                    <a:pt x="727" y="537"/>
                  </a:lnTo>
                  <a:close/>
                  <a:moveTo>
                    <a:pt x="727" y="62"/>
                  </a:moveTo>
                  <a:lnTo>
                    <a:pt x="696" y="62"/>
                  </a:lnTo>
                  <a:lnTo>
                    <a:pt x="696" y="189"/>
                  </a:lnTo>
                  <a:lnTo>
                    <a:pt x="727" y="189"/>
                  </a:lnTo>
                  <a:lnTo>
                    <a:pt x="727" y="189"/>
                  </a:lnTo>
                  <a:lnTo>
                    <a:pt x="734" y="189"/>
                  </a:lnTo>
                  <a:lnTo>
                    <a:pt x="740" y="186"/>
                  </a:lnTo>
                  <a:lnTo>
                    <a:pt x="745" y="184"/>
                  </a:lnTo>
                  <a:lnTo>
                    <a:pt x="750" y="180"/>
                  </a:lnTo>
                  <a:lnTo>
                    <a:pt x="754" y="176"/>
                  </a:lnTo>
                  <a:lnTo>
                    <a:pt x="757" y="170"/>
                  </a:lnTo>
                  <a:lnTo>
                    <a:pt x="758" y="165"/>
                  </a:lnTo>
                  <a:lnTo>
                    <a:pt x="760" y="157"/>
                  </a:lnTo>
                  <a:lnTo>
                    <a:pt x="760" y="95"/>
                  </a:lnTo>
                  <a:lnTo>
                    <a:pt x="760" y="95"/>
                  </a:lnTo>
                  <a:lnTo>
                    <a:pt x="758" y="88"/>
                  </a:lnTo>
                  <a:lnTo>
                    <a:pt x="757" y="83"/>
                  </a:lnTo>
                  <a:lnTo>
                    <a:pt x="754" y="77"/>
                  </a:lnTo>
                  <a:lnTo>
                    <a:pt x="750" y="72"/>
                  </a:lnTo>
                  <a:lnTo>
                    <a:pt x="745" y="68"/>
                  </a:lnTo>
                  <a:lnTo>
                    <a:pt x="740" y="66"/>
                  </a:lnTo>
                  <a:lnTo>
                    <a:pt x="734" y="64"/>
                  </a:lnTo>
                  <a:lnTo>
                    <a:pt x="727" y="62"/>
                  </a:lnTo>
                  <a:lnTo>
                    <a:pt x="727" y="62"/>
                  </a:lnTo>
                  <a:close/>
                  <a:moveTo>
                    <a:pt x="727" y="221"/>
                  </a:moveTo>
                  <a:lnTo>
                    <a:pt x="696" y="221"/>
                  </a:lnTo>
                  <a:lnTo>
                    <a:pt x="696" y="348"/>
                  </a:lnTo>
                  <a:lnTo>
                    <a:pt x="727" y="348"/>
                  </a:lnTo>
                  <a:lnTo>
                    <a:pt x="727" y="348"/>
                  </a:lnTo>
                  <a:lnTo>
                    <a:pt x="734" y="347"/>
                  </a:lnTo>
                  <a:lnTo>
                    <a:pt x="740" y="345"/>
                  </a:lnTo>
                  <a:lnTo>
                    <a:pt x="745" y="342"/>
                  </a:lnTo>
                  <a:lnTo>
                    <a:pt x="750" y="338"/>
                  </a:lnTo>
                  <a:lnTo>
                    <a:pt x="754" y="333"/>
                  </a:lnTo>
                  <a:lnTo>
                    <a:pt x="757" y="329"/>
                  </a:lnTo>
                  <a:lnTo>
                    <a:pt x="758" y="323"/>
                  </a:lnTo>
                  <a:lnTo>
                    <a:pt x="760" y="317"/>
                  </a:lnTo>
                  <a:lnTo>
                    <a:pt x="760" y="253"/>
                  </a:lnTo>
                  <a:lnTo>
                    <a:pt x="760" y="253"/>
                  </a:lnTo>
                  <a:lnTo>
                    <a:pt x="758" y="247"/>
                  </a:lnTo>
                  <a:lnTo>
                    <a:pt x="757" y="241"/>
                  </a:lnTo>
                  <a:lnTo>
                    <a:pt x="754" y="235"/>
                  </a:lnTo>
                  <a:lnTo>
                    <a:pt x="750" y="230"/>
                  </a:lnTo>
                  <a:lnTo>
                    <a:pt x="745" y="226"/>
                  </a:lnTo>
                  <a:lnTo>
                    <a:pt x="740" y="224"/>
                  </a:lnTo>
                  <a:lnTo>
                    <a:pt x="734" y="221"/>
                  </a:lnTo>
                  <a:lnTo>
                    <a:pt x="727" y="221"/>
                  </a:lnTo>
                  <a:lnTo>
                    <a:pt x="727" y="221"/>
                  </a:lnTo>
                  <a:close/>
                  <a:moveTo>
                    <a:pt x="727" y="379"/>
                  </a:moveTo>
                  <a:lnTo>
                    <a:pt x="696" y="379"/>
                  </a:lnTo>
                  <a:lnTo>
                    <a:pt x="696" y="506"/>
                  </a:lnTo>
                  <a:lnTo>
                    <a:pt x="727" y="506"/>
                  </a:lnTo>
                  <a:lnTo>
                    <a:pt x="727" y="506"/>
                  </a:lnTo>
                  <a:lnTo>
                    <a:pt x="734" y="505"/>
                  </a:lnTo>
                  <a:lnTo>
                    <a:pt x="740" y="503"/>
                  </a:lnTo>
                  <a:lnTo>
                    <a:pt x="745" y="501"/>
                  </a:lnTo>
                  <a:lnTo>
                    <a:pt x="750" y="496"/>
                  </a:lnTo>
                  <a:lnTo>
                    <a:pt x="754" y="491"/>
                  </a:lnTo>
                  <a:lnTo>
                    <a:pt x="757" y="486"/>
                  </a:lnTo>
                  <a:lnTo>
                    <a:pt x="758" y="480"/>
                  </a:lnTo>
                  <a:lnTo>
                    <a:pt x="760" y="474"/>
                  </a:lnTo>
                  <a:lnTo>
                    <a:pt x="760" y="411"/>
                  </a:lnTo>
                  <a:lnTo>
                    <a:pt x="760" y="411"/>
                  </a:lnTo>
                  <a:lnTo>
                    <a:pt x="758" y="405"/>
                  </a:lnTo>
                  <a:lnTo>
                    <a:pt x="757" y="398"/>
                  </a:lnTo>
                  <a:lnTo>
                    <a:pt x="754" y="394"/>
                  </a:lnTo>
                  <a:lnTo>
                    <a:pt x="750" y="389"/>
                  </a:lnTo>
                  <a:lnTo>
                    <a:pt x="745" y="384"/>
                  </a:lnTo>
                  <a:lnTo>
                    <a:pt x="740" y="382"/>
                  </a:lnTo>
                  <a:lnTo>
                    <a:pt x="734" y="380"/>
                  </a:lnTo>
                  <a:lnTo>
                    <a:pt x="727" y="379"/>
                  </a:lnTo>
                  <a:lnTo>
                    <a:pt x="727" y="379"/>
                  </a:lnTo>
                  <a:close/>
                  <a:moveTo>
                    <a:pt x="633" y="0"/>
                  </a:moveTo>
                  <a:lnTo>
                    <a:pt x="63" y="0"/>
                  </a:lnTo>
                  <a:lnTo>
                    <a:pt x="63" y="0"/>
                  </a:lnTo>
                  <a:lnTo>
                    <a:pt x="57" y="1"/>
                  </a:lnTo>
                  <a:lnTo>
                    <a:pt x="51" y="2"/>
                  </a:lnTo>
                  <a:lnTo>
                    <a:pt x="46" y="4"/>
                  </a:lnTo>
                  <a:lnTo>
                    <a:pt x="41" y="9"/>
                  </a:lnTo>
                  <a:lnTo>
                    <a:pt x="37" y="14"/>
                  </a:lnTo>
                  <a:lnTo>
                    <a:pt x="34" y="19"/>
                  </a:lnTo>
                  <a:lnTo>
                    <a:pt x="32" y="25"/>
                  </a:lnTo>
                  <a:lnTo>
                    <a:pt x="32" y="31"/>
                  </a:lnTo>
                  <a:lnTo>
                    <a:pt x="32" y="95"/>
                  </a:lnTo>
                  <a:lnTo>
                    <a:pt x="87" y="95"/>
                  </a:lnTo>
                  <a:lnTo>
                    <a:pt x="87" y="95"/>
                  </a:lnTo>
                  <a:lnTo>
                    <a:pt x="97" y="96"/>
                  </a:lnTo>
                  <a:lnTo>
                    <a:pt x="105" y="98"/>
                  </a:lnTo>
                  <a:lnTo>
                    <a:pt x="114" y="102"/>
                  </a:lnTo>
                  <a:lnTo>
                    <a:pt x="121" y="108"/>
                  </a:lnTo>
                  <a:lnTo>
                    <a:pt x="127" y="115"/>
                  </a:lnTo>
                  <a:lnTo>
                    <a:pt x="131" y="124"/>
                  </a:lnTo>
                  <a:lnTo>
                    <a:pt x="133" y="132"/>
                  </a:lnTo>
                  <a:lnTo>
                    <a:pt x="134" y="142"/>
                  </a:lnTo>
                  <a:lnTo>
                    <a:pt x="134" y="142"/>
                  </a:lnTo>
                  <a:lnTo>
                    <a:pt x="133" y="151"/>
                  </a:lnTo>
                  <a:lnTo>
                    <a:pt x="131" y="160"/>
                  </a:lnTo>
                  <a:lnTo>
                    <a:pt x="127" y="168"/>
                  </a:lnTo>
                  <a:lnTo>
                    <a:pt x="121" y="176"/>
                  </a:lnTo>
                  <a:lnTo>
                    <a:pt x="114" y="182"/>
                  </a:lnTo>
                  <a:lnTo>
                    <a:pt x="105" y="185"/>
                  </a:lnTo>
                  <a:lnTo>
                    <a:pt x="97" y="189"/>
                  </a:lnTo>
                  <a:lnTo>
                    <a:pt x="87" y="189"/>
                  </a:lnTo>
                  <a:lnTo>
                    <a:pt x="32" y="189"/>
                  </a:lnTo>
                  <a:lnTo>
                    <a:pt x="32" y="254"/>
                  </a:lnTo>
                  <a:lnTo>
                    <a:pt x="87" y="254"/>
                  </a:lnTo>
                  <a:lnTo>
                    <a:pt x="87" y="254"/>
                  </a:lnTo>
                  <a:lnTo>
                    <a:pt x="97" y="255"/>
                  </a:lnTo>
                  <a:lnTo>
                    <a:pt x="105" y="258"/>
                  </a:lnTo>
                  <a:lnTo>
                    <a:pt x="114" y="262"/>
                  </a:lnTo>
                  <a:lnTo>
                    <a:pt x="121" y="268"/>
                  </a:lnTo>
                  <a:lnTo>
                    <a:pt x="127" y="276"/>
                  </a:lnTo>
                  <a:lnTo>
                    <a:pt x="131" y="283"/>
                  </a:lnTo>
                  <a:lnTo>
                    <a:pt x="133" y="292"/>
                  </a:lnTo>
                  <a:lnTo>
                    <a:pt x="134" y="302"/>
                  </a:lnTo>
                  <a:lnTo>
                    <a:pt x="134" y="302"/>
                  </a:lnTo>
                  <a:lnTo>
                    <a:pt x="133" y="312"/>
                  </a:lnTo>
                  <a:lnTo>
                    <a:pt x="131" y="320"/>
                  </a:lnTo>
                  <a:lnTo>
                    <a:pt x="127" y="329"/>
                  </a:lnTo>
                  <a:lnTo>
                    <a:pt x="121" y="336"/>
                  </a:lnTo>
                  <a:lnTo>
                    <a:pt x="114" y="341"/>
                  </a:lnTo>
                  <a:lnTo>
                    <a:pt x="105" y="345"/>
                  </a:lnTo>
                  <a:lnTo>
                    <a:pt x="97" y="348"/>
                  </a:lnTo>
                  <a:lnTo>
                    <a:pt x="87" y="349"/>
                  </a:lnTo>
                  <a:lnTo>
                    <a:pt x="32" y="349"/>
                  </a:lnTo>
                  <a:lnTo>
                    <a:pt x="32" y="411"/>
                  </a:lnTo>
                  <a:lnTo>
                    <a:pt x="87" y="411"/>
                  </a:lnTo>
                  <a:lnTo>
                    <a:pt x="87" y="411"/>
                  </a:lnTo>
                  <a:lnTo>
                    <a:pt x="97" y="412"/>
                  </a:lnTo>
                  <a:lnTo>
                    <a:pt x="105" y="414"/>
                  </a:lnTo>
                  <a:lnTo>
                    <a:pt x="114" y="419"/>
                  </a:lnTo>
                  <a:lnTo>
                    <a:pt x="121" y="425"/>
                  </a:lnTo>
                  <a:lnTo>
                    <a:pt x="127" y="432"/>
                  </a:lnTo>
                  <a:lnTo>
                    <a:pt x="131" y="439"/>
                  </a:lnTo>
                  <a:lnTo>
                    <a:pt x="133" y="449"/>
                  </a:lnTo>
                  <a:lnTo>
                    <a:pt x="134" y="459"/>
                  </a:lnTo>
                  <a:lnTo>
                    <a:pt x="134" y="459"/>
                  </a:lnTo>
                  <a:lnTo>
                    <a:pt x="133" y="468"/>
                  </a:lnTo>
                  <a:lnTo>
                    <a:pt x="131" y="477"/>
                  </a:lnTo>
                  <a:lnTo>
                    <a:pt x="127" y="485"/>
                  </a:lnTo>
                  <a:lnTo>
                    <a:pt x="121" y="491"/>
                  </a:lnTo>
                  <a:lnTo>
                    <a:pt x="114" y="497"/>
                  </a:lnTo>
                  <a:lnTo>
                    <a:pt x="105" y="502"/>
                  </a:lnTo>
                  <a:lnTo>
                    <a:pt x="97" y="505"/>
                  </a:lnTo>
                  <a:lnTo>
                    <a:pt x="87" y="506"/>
                  </a:lnTo>
                  <a:lnTo>
                    <a:pt x="32" y="506"/>
                  </a:lnTo>
                  <a:lnTo>
                    <a:pt x="32" y="570"/>
                  </a:lnTo>
                  <a:lnTo>
                    <a:pt x="87" y="570"/>
                  </a:lnTo>
                  <a:lnTo>
                    <a:pt x="87" y="570"/>
                  </a:lnTo>
                  <a:lnTo>
                    <a:pt x="97" y="570"/>
                  </a:lnTo>
                  <a:lnTo>
                    <a:pt x="105" y="573"/>
                  </a:lnTo>
                  <a:lnTo>
                    <a:pt x="114" y="577"/>
                  </a:lnTo>
                  <a:lnTo>
                    <a:pt x="121" y="583"/>
                  </a:lnTo>
                  <a:lnTo>
                    <a:pt x="127" y="590"/>
                  </a:lnTo>
                  <a:lnTo>
                    <a:pt x="131" y="599"/>
                  </a:lnTo>
                  <a:lnTo>
                    <a:pt x="133" y="607"/>
                  </a:lnTo>
                  <a:lnTo>
                    <a:pt x="134" y="617"/>
                  </a:lnTo>
                  <a:lnTo>
                    <a:pt x="134" y="617"/>
                  </a:lnTo>
                  <a:lnTo>
                    <a:pt x="133" y="626"/>
                  </a:lnTo>
                  <a:lnTo>
                    <a:pt x="131" y="635"/>
                  </a:lnTo>
                  <a:lnTo>
                    <a:pt x="127" y="643"/>
                  </a:lnTo>
                  <a:lnTo>
                    <a:pt x="121" y="650"/>
                  </a:lnTo>
                  <a:lnTo>
                    <a:pt x="114" y="656"/>
                  </a:lnTo>
                  <a:lnTo>
                    <a:pt x="105" y="660"/>
                  </a:lnTo>
                  <a:lnTo>
                    <a:pt x="97" y="662"/>
                  </a:lnTo>
                  <a:lnTo>
                    <a:pt x="87" y="664"/>
                  </a:lnTo>
                  <a:lnTo>
                    <a:pt x="32" y="664"/>
                  </a:lnTo>
                  <a:lnTo>
                    <a:pt x="32" y="727"/>
                  </a:lnTo>
                  <a:lnTo>
                    <a:pt x="32" y="727"/>
                  </a:lnTo>
                  <a:lnTo>
                    <a:pt x="32" y="733"/>
                  </a:lnTo>
                  <a:lnTo>
                    <a:pt x="34" y="740"/>
                  </a:lnTo>
                  <a:lnTo>
                    <a:pt x="37" y="744"/>
                  </a:lnTo>
                  <a:lnTo>
                    <a:pt x="41" y="749"/>
                  </a:lnTo>
                  <a:lnTo>
                    <a:pt x="46" y="754"/>
                  </a:lnTo>
                  <a:lnTo>
                    <a:pt x="51" y="756"/>
                  </a:lnTo>
                  <a:lnTo>
                    <a:pt x="57" y="758"/>
                  </a:lnTo>
                  <a:lnTo>
                    <a:pt x="63" y="759"/>
                  </a:lnTo>
                  <a:lnTo>
                    <a:pt x="633" y="759"/>
                  </a:lnTo>
                  <a:lnTo>
                    <a:pt x="633" y="759"/>
                  </a:lnTo>
                  <a:lnTo>
                    <a:pt x="639" y="758"/>
                  </a:lnTo>
                  <a:lnTo>
                    <a:pt x="645" y="756"/>
                  </a:lnTo>
                  <a:lnTo>
                    <a:pt x="650" y="754"/>
                  </a:lnTo>
                  <a:lnTo>
                    <a:pt x="655" y="749"/>
                  </a:lnTo>
                  <a:lnTo>
                    <a:pt x="658" y="744"/>
                  </a:lnTo>
                  <a:lnTo>
                    <a:pt x="662" y="740"/>
                  </a:lnTo>
                  <a:lnTo>
                    <a:pt x="663" y="733"/>
                  </a:lnTo>
                  <a:lnTo>
                    <a:pt x="664" y="727"/>
                  </a:lnTo>
                  <a:lnTo>
                    <a:pt x="664" y="31"/>
                  </a:lnTo>
                  <a:lnTo>
                    <a:pt x="664" y="31"/>
                  </a:lnTo>
                  <a:lnTo>
                    <a:pt x="663" y="25"/>
                  </a:lnTo>
                  <a:lnTo>
                    <a:pt x="662" y="19"/>
                  </a:lnTo>
                  <a:lnTo>
                    <a:pt x="658" y="14"/>
                  </a:lnTo>
                  <a:lnTo>
                    <a:pt x="655" y="9"/>
                  </a:lnTo>
                  <a:lnTo>
                    <a:pt x="650" y="4"/>
                  </a:lnTo>
                  <a:lnTo>
                    <a:pt x="645" y="2"/>
                  </a:lnTo>
                  <a:lnTo>
                    <a:pt x="639" y="1"/>
                  </a:lnTo>
                  <a:lnTo>
                    <a:pt x="633" y="0"/>
                  </a:lnTo>
                  <a:lnTo>
                    <a:pt x="633" y="0"/>
                  </a:lnTo>
                  <a:close/>
                  <a:moveTo>
                    <a:pt x="597" y="573"/>
                  </a:moveTo>
                  <a:lnTo>
                    <a:pt x="597" y="573"/>
                  </a:lnTo>
                  <a:lnTo>
                    <a:pt x="587" y="576"/>
                  </a:lnTo>
                  <a:lnTo>
                    <a:pt x="573" y="578"/>
                  </a:lnTo>
                  <a:lnTo>
                    <a:pt x="531" y="583"/>
                  </a:lnTo>
                  <a:lnTo>
                    <a:pt x="472" y="585"/>
                  </a:lnTo>
                  <a:lnTo>
                    <a:pt x="396" y="586"/>
                  </a:lnTo>
                  <a:lnTo>
                    <a:pt x="396" y="586"/>
                  </a:lnTo>
                  <a:lnTo>
                    <a:pt x="319" y="585"/>
                  </a:lnTo>
                  <a:lnTo>
                    <a:pt x="260" y="583"/>
                  </a:lnTo>
                  <a:lnTo>
                    <a:pt x="219" y="578"/>
                  </a:lnTo>
                  <a:lnTo>
                    <a:pt x="204" y="576"/>
                  </a:lnTo>
                  <a:lnTo>
                    <a:pt x="194" y="573"/>
                  </a:lnTo>
                  <a:lnTo>
                    <a:pt x="194" y="573"/>
                  </a:lnTo>
                  <a:lnTo>
                    <a:pt x="191" y="572"/>
                  </a:lnTo>
                  <a:lnTo>
                    <a:pt x="188" y="570"/>
                  </a:lnTo>
                  <a:lnTo>
                    <a:pt x="187" y="567"/>
                  </a:lnTo>
                  <a:lnTo>
                    <a:pt x="186" y="565"/>
                  </a:lnTo>
                  <a:lnTo>
                    <a:pt x="186" y="565"/>
                  </a:lnTo>
                  <a:lnTo>
                    <a:pt x="187" y="553"/>
                  </a:lnTo>
                  <a:lnTo>
                    <a:pt x="192" y="531"/>
                  </a:lnTo>
                  <a:lnTo>
                    <a:pt x="196" y="519"/>
                  </a:lnTo>
                  <a:lnTo>
                    <a:pt x="199" y="507"/>
                  </a:lnTo>
                  <a:lnTo>
                    <a:pt x="205" y="496"/>
                  </a:lnTo>
                  <a:lnTo>
                    <a:pt x="211" y="488"/>
                  </a:lnTo>
                  <a:lnTo>
                    <a:pt x="211" y="488"/>
                  </a:lnTo>
                  <a:lnTo>
                    <a:pt x="219" y="483"/>
                  </a:lnTo>
                  <a:lnTo>
                    <a:pt x="229" y="477"/>
                  </a:lnTo>
                  <a:lnTo>
                    <a:pt x="257" y="462"/>
                  </a:lnTo>
                  <a:lnTo>
                    <a:pt x="288" y="448"/>
                  </a:lnTo>
                  <a:lnTo>
                    <a:pt x="313" y="438"/>
                  </a:lnTo>
                  <a:lnTo>
                    <a:pt x="313" y="438"/>
                  </a:lnTo>
                  <a:lnTo>
                    <a:pt x="328" y="431"/>
                  </a:lnTo>
                  <a:lnTo>
                    <a:pt x="340" y="424"/>
                  </a:lnTo>
                  <a:lnTo>
                    <a:pt x="344" y="421"/>
                  </a:lnTo>
                  <a:lnTo>
                    <a:pt x="346" y="418"/>
                  </a:lnTo>
                  <a:lnTo>
                    <a:pt x="347" y="414"/>
                  </a:lnTo>
                  <a:lnTo>
                    <a:pt x="347" y="411"/>
                  </a:lnTo>
                  <a:lnTo>
                    <a:pt x="347" y="411"/>
                  </a:lnTo>
                  <a:lnTo>
                    <a:pt x="347" y="382"/>
                  </a:lnTo>
                  <a:lnTo>
                    <a:pt x="347" y="382"/>
                  </a:lnTo>
                  <a:lnTo>
                    <a:pt x="344" y="377"/>
                  </a:lnTo>
                  <a:lnTo>
                    <a:pt x="340" y="371"/>
                  </a:lnTo>
                  <a:lnTo>
                    <a:pt x="332" y="355"/>
                  </a:lnTo>
                  <a:lnTo>
                    <a:pt x="322" y="336"/>
                  </a:lnTo>
                  <a:lnTo>
                    <a:pt x="322" y="336"/>
                  </a:lnTo>
                  <a:lnTo>
                    <a:pt x="319" y="336"/>
                  </a:lnTo>
                  <a:lnTo>
                    <a:pt x="315" y="335"/>
                  </a:lnTo>
                  <a:lnTo>
                    <a:pt x="311" y="332"/>
                  </a:lnTo>
                  <a:lnTo>
                    <a:pt x="308" y="329"/>
                  </a:lnTo>
                  <a:lnTo>
                    <a:pt x="304" y="324"/>
                  </a:lnTo>
                  <a:lnTo>
                    <a:pt x="300" y="318"/>
                  </a:lnTo>
                  <a:lnTo>
                    <a:pt x="298" y="312"/>
                  </a:lnTo>
                  <a:lnTo>
                    <a:pt x="296" y="305"/>
                  </a:lnTo>
                  <a:lnTo>
                    <a:pt x="296" y="305"/>
                  </a:lnTo>
                  <a:lnTo>
                    <a:pt x="294" y="296"/>
                  </a:lnTo>
                  <a:lnTo>
                    <a:pt x="294" y="290"/>
                  </a:lnTo>
                  <a:lnTo>
                    <a:pt x="294" y="283"/>
                  </a:lnTo>
                  <a:lnTo>
                    <a:pt x="296" y="277"/>
                  </a:lnTo>
                  <a:lnTo>
                    <a:pt x="298" y="272"/>
                  </a:lnTo>
                  <a:lnTo>
                    <a:pt x="299" y="268"/>
                  </a:lnTo>
                  <a:lnTo>
                    <a:pt x="303" y="266"/>
                  </a:lnTo>
                  <a:lnTo>
                    <a:pt x="305" y="264"/>
                  </a:lnTo>
                  <a:lnTo>
                    <a:pt x="305" y="264"/>
                  </a:lnTo>
                  <a:lnTo>
                    <a:pt x="303" y="242"/>
                  </a:lnTo>
                  <a:lnTo>
                    <a:pt x="302" y="221"/>
                  </a:lnTo>
                  <a:lnTo>
                    <a:pt x="300" y="201"/>
                  </a:lnTo>
                  <a:lnTo>
                    <a:pt x="300" y="201"/>
                  </a:lnTo>
                  <a:lnTo>
                    <a:pt x="302" y="184"/>
                  </a:lnTo>
                  <a:lnTo>
                    <a:pt x="303" y="176"/>
                  </a:lnTo>
                  <a:lnTo>
                    <a:pt x="305" y="168"/>
                  </a:lnTo>
                  <a:lnTo>
                    <a:pt x="308" y="162"/>
                  </a:lnTo>
                  <a:lnTo>
                    <a:pt x="310" y="159"/>
                  </a:lnTo>
                  <a:lnTo>
                    <a:pt x="315" y="155"/>
                  </a:lnTo>
                  <a:lnTo>
                    <a:pt x="320" y="154"/>
                  </a:lnTo>
                  <a:lnTo>
                    <a:pt x="320" y="154"/>
                  </a:lnTo>
                  <a:lnTo>
                    <a:pt x="331" y="154"/>
                  </a:lnTo>
                  <a:lnTo>
                    <a:pt x="341" y="151"/>
                  </a:lnTo>
                  <a:lnTo>
                    <a:pt x="360" y="144"/>
                  </a:lnTo>
                  <a:lnTo>
                    <a:pt x="369" y="141"/>
                  </a:lnTo>
                  <a:lnTo>
                    <a:pt x="379" y="138"/>
                  </a:lnTo>
                  <a:lnTo>
                    <a:pt x="390" y="136"/>
                  </a:lnTo>
                  <a:lnTo>
                    <a:pt x="402" y="135"/>
                  </a:lnTo>
                  <a:lnTo>
                    <a:pt x="402" y="135"/>
                  </a:lnTo>
                  <a:lnTo>
                    <a:pt x="413" y="136"/>
                  </a:lnTo>
                  <a:lnTo>
                    <a:pt x="422" y="137"/>
                  </a:lnTo>
                  <a:lnTo>
                    <a:pt x="429" y="138"/>
                  </a:lnTo>
                  <a:lnTo>
                    <a:pt x="437" y="141"/>
                  </a:lnTo>
                  <a:lnTo>
                    <a:pt x="441" y="143"/>
                  </a:lnTo>
                  <a:lnTo>
                    <a:pt x="446" y="147"/>
                  </a:lnTo>
                  <a:lnTo>
                    <a:pt x="450" y="150"/>
                  </a:lnTo>
                  <a:lnTo>
                    <a:pt x="452" y="154"/>
                  </a:lnTo>
                  <a:lnTo>
                    <a:pt x="452" y="154"/>
                  </a:lnTo>
                  <a:lnTo>
                    <a:pt x="462" y="155"/>
                  </a:lnTo>
                  <a:lnTo>
                    <a:pt x="470" y="157"/>
                  </a:lnTo>
                  <a:lnTo>
                    <a:pt x="476" y="161"/>
                  </a:lnTo>
                  <a:lnTo>
                    <a:pt x="481" y="167"/>
                  </a:lnTo>
                  <a:lnTo>
                    <a:pt x="486" y="174"/>
                  </a:lnTo>
                  <a:lnTo>
                    <a:pt x="488" y="183"/>
                  </a:lnTo>
                  <a:lnTo>
                    <a:pt x="490" y="191"/>
                  </a:lnTo>
                  <a:lnTo>
                    <a:pt x="491" y="202"/>
                  </a:lnTo>
                  <a:lnTo>
                    <a:pt x="491" y="202"/>
                  </a:lnTo>
                  <a:lnTo>
                    <a:pt x="490" y="219"/>
                  </a:lnTo>
                  <a:lnTo>
                    <a:pt x="487" y="239"/>
                  </a:lnTo>
                  <a:lnTo>
                    <a:pt x="486" y="264"/>
                  </a:lnTo>
                  <a:lnTo>
                    <a:pt x="486" y="264"/>
                  </a:lnTo>
                  <a:lnTo>
                    <a:pt x="488" y="266"/>
                  </a:lnTo>
                  <a:lnTo>
                    <a:pt x="491" y="268"/>
                  </a:lnTo>
                  <a:lnTo>
                    <a:pt x="493" y="272"/>
                  </a:lnTo>
                  <a:lnTo>
                    <a:pt x="496" y="277"/>
                  </a:lnTo>
                  <a:lnTo>
                    <a:pt x="496" y="283"/>
                  </a:lnTo>
                  <a:lnTo>
                    <a:pt x="497" y="290"/>
                  </a:lnTo>
                  <a:lnTo>
                    <a:pt x="496" y="296"/>
                  </a:lnTo>
                  <a:lnTo>
                    <a:pt x="494" y="305"/>
                  </a:lnTo>
                  <a:lnTo>
                    <a:pt x="494" y="305"/>
                  </a:lnTo>
                  <a:lnTo>
                    <a:pt x="493" y="312"/>
                  </a:lnTo>
                  <a:lnTo>
                    <a:pt x="490" y="318"/>
                  </a:lnTo>
                  <a:lnTo>
                    <a:pt x="487" y="324"/>
                  </a:lnTo>
                  <a:lnTo>
                    <a:pt x="484" y="329"/>
                  </a:lnTo>
                  <a:lnTo>
                    <a:pt x="479" y="332"/>
                  </a:lnTo>
                  <a:lnTo>
                    <a:pt x="475" y="335"/>
                  </a:lnTo>
                  <a:lnTo>
                    <a:pt x="472" y="336"/>
                  </a:lnTo>
                  <a:lnTo>
                    <a:pt x="468" y="336"/>
                  </a:lnTo>
                  <a:lnTo>
                    <a:pt x="468" y="336"/>
                  </a:lnTo>
                  <a:lnTo>
                    <a:pt x="460" y="355"/>
                  </a:lnTo>
                  <a:lnTo>
                    <a:pt x="451" y="371"/>
                  </a:lnTo>
                  <a:lnTo>
                    <a:pt x="446" y="377"/>
                  </a:lnTo>
                  <a:lnTo>
                    <a:pt x="443" y="382"/>
                  </a:lnTo>
                  <a:lnTo>
                    <a:pt x="443" y="382"/>
                  </a:lnTo>
                  <a:lnTo>
                    <a:pt x="443" y="411"/>
                  </a:lnTo>
                  <a:lnTo>
                    <a:pt x="443" y="411"/>
                  </a:lnTo>
                  <a:lnTo>
                    <a:pt x="444" y="414"/>
                  </a:lnTo>
                  <a:lnTo>
                    <a:pt x="445" y="418"/>
                  </a:lnTo>
                  <a:lnTo>
                    <a:pt x="447" y="420"/>
                  </a:lnTo>
                  <a:lnTo>
                    <a:pt x="451" y="424"/>
                  </a:lnTo>
                  <a:lnTo>
                    <a:pt x="462" y="431"/>
                  </a:lnTo>
                  <a:lnTo>
                    <a:pt x="478" y="438"/>
                  </a:lnTo>
                  <a:lnTo>
                    <a:pt x="478" y="438"/>
                  </a:lnTo>
                  <a:lnTo>
                    <a:pt x="503" y="448"/>
                  </a:lnTo>
                  <a:lnTo>
                    <a:pt x="533" y="462"/>
                  </a:lnTo>
                  <a:lnTo>
                    <a:pt x="562" y="477"/>
                  </a:lnTo>
                  <a:lnTo>
                    <a:pt x="573" y="483"/>
                  </a:lnTo>
                  <a:lnTo>
                    <a:pt x="579" y="488"/>
                  </a:lnTo>
                  <a:lnTo>
                    <a:pt x="579" y="488"/>
                  </a:lnTo>
                  <a:lnTo>
                    <a:pt x="586" y="496"/>
                  </a:lnTo>
                  <a:lnTo>
                    <a:pt x="591" y="507"/>
                  </a:lnTo>
                  <a:lnTo>
                    <a:pt x="596" y="519"/>
                  </a:lnTo>
                  <a:lnTo>
                    <a:pt x="599" y="531"/>
                  </a:lnTo>
                  <a:lnTo>
                    <a:pt x="603" y="553"/>
                  </a:lnTo>
                  <a:lnTo>
                    <a:pt x="604" y="565"/>
                  </a:lnTo>
                  <a:lnTo>
                    <a:pt x="604" y="565"/>
                  </a:lnTo>
                  <a:lnTo>
                    <a:pt x="604" y="567"/>
                  </a:lnTo>
                  <a:lnTo>
                    <a:pt x="603" y="570"/>
                  </a:lnTo>
                  <a:lnTo>
                    <a:pt x="601" y="572"/>
                  </a:lnTo>
                  <a:lnTo>
                    <a:pt x="597" y="573"/>
                  </a:lnTo>
                  <a:lnTo>
                    <a:pt x="597" y="5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65" name="Group 1564">
            <a:extLst>
              <a:ext uri="{FF2B5EF4-FFF2-40B4-BE49-F238E27FC236}">
                <a16:creationId xmlns:a16="http://schemas.microsoft.com/office/drawing/2014/main" id="{1F18A360-3D63-4A9D-8B76-54B2391434E6}"/>
              </a:ext>
            </a:extLst>
          </p:cNvPr>
          <p:cNvGrpSpPr/>
          <p:nvPr/>
        </p:nvGrpSpPr>
        <p:grpSpPr>
          <a:xfrm>
            <a:off x="3203714" y="4718957"/>
            <a:ext cx="612000" cy="612000"/>
            <a:chOff x="2049085" y="5357300"/>
            <a:chExt cx="612000" cy="612000"/>
          </a:xfrm>
        </p:grpSpPr>
        <p:sp>
          <p:nvSpPr>
            <p:cNvPr id="1566" name="Oval 1565">
              <a:extLst>
                <a:ext uri="{FF2B5EF4-FFF2-40B4-BE49-F238E27FC236}">
                  <a16:creationId xmlns:a16="http://schemas.microsoft.com/office/drawing/2014/main" id="{F0558377-F185-41C9-B89E-BE8D121B1717}"/>
                </a:ext>
              </a:extLst>
            </p:cNvPr>
            <p:cNvSpPr/>
            <p:nvPr/>
          </p:nvSpPr>
          <p:spPr bwMode="ltGray">
            <a:xfrm>
              <a:off x="2049085" y="5357300"/>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67" name="Freeform 235">
              <a:extLst>
                <a:ext uri="{FF2B5EF4-FFF2-40B4-BE49-F238E27FC236}">
                  <a16:creationId xmlns:a16="http://schemas.microsoft.com/office/drawing/2014/main" id="{D0A2FDAD-B335-4608-9763-D8BBFEE169EC}"/>
                </a:ext>
              </a:extLst>
            </p:cNvPr>
            <p:cNvSpPr>
              <a:spLocks/>
            </p:cNvSpPr>
            <p:nvPr/>
          </p:nvSpPr>
          <p:spPr bwMode="auto">
            <a:xfrm rot="4848033" flipH="1">
              <a:off x="2201685" y="5429743"/>
              <a:ext cx="332230" cy="439206"/>
            </a:xfrm>
            <a:custGeom>
              <a:avLst/>
              <a:gdLst>
                <a:gd name="T0" fmla="*/ 1672939 w 12900"/>
                <a:gd name="T1" fmla="*/ 46628719 h 17028"/>
                <a:gd name="T2" fmla="*/ 586120 w 12900"/>
                <a:gd name="T3" fmla="*/ 44850311 h 17028"/>
                <a:gd name="T4" fmla="*/ 44176 w 12900"/>
                <a:gd name="T5" fmla="*/ 43411659 h 17028"/>
                <a:gd name="T6" fmla="*/ 26484 w 12900"/>
                <a:gd name="T7" fmla="*/ 42253628 h 17028"/>
                <a:gd name="T8" fmla="*/ 533098 w 12900"/>
                <a:gd name="T9" fmla="*/ 39308275 h 17028"/>
                <a:gd name="T10" fmla="*/ 1672939 w 12900"/>
                <a:gd name="T11" fmla="*/ 35630361 h 17028"/>
                <a:gd name="T12" fmla="*/ 3451868 w 12900"/>
                <a:gd name="T13" fmla="*/ 31219778 h 17028"/>
                <a:gd name="T14" fmla="*/ 5743272 w 12900"/>
                <a:gd name="T15" fmla="*/ 26504869 h 17028"/>
                <a:gd name="T16" fmla="*/ 8482408 w 12900"/>
                <a:gd name="T17" fmla="*/ 21784097 h 17028"/>
                <a:gd name="T18" fmla="*/ 11657388 w 12900"/>
                <a:gd name="T19" fmla="*/ 17054465 h 17028"/>
                <a:gd name="T20" fmla="*/ 14932554 w 12900"/>
                <a:gd name="T21" fmla="*/ 12682306 h 17028"/>
                <a:gd name="T22" fmla="*/ 18113449 w 12900"/>
                <a:gd name="T23" fmla="*/ 8844813 h 17028"/>
                <a:gd name="T24" fmla="*/ 21211853 w 12900"/>
                <a:gd name="T25" fmla="*/ 5530243 h 17028"/>
                <a:gd name="T26" fmla="*/ 24133607 w 12900"/>
                <a:gd name="T27" fmla="*/ 2830127 h 17028"/>
                <a:gd name="T28" fmla="*/ 26628253 w 12900"/>
                <a:gd name="T29" fmla="*/ 1019215 h 17028"/>
                <a:gd name="T30" fmla="*/ 28669314 w 12900"/>
                <a:gd name="T31" fmla="*/ 112238 h 17028"/>
                <a:gd name="T32" fmla="*/ 29921060 w 12900"/>
                <a:gd name="T33" fmla="*/ 35438 h 17028"/>
                <a:gd name="T34" fmla="*/ 31570391 w 12900"/>
                <a:gd name="T35" fmla="*/ 463789 h 17028"/>
                <a:gd name="T36" fmla="*/ 34863246 w 12900"/>
                <a:gd name="T37" fmla="*/ 1707533 h 17028"/>
                <a:gd name="T38" fmla="*/ 36486093 w 12900"/>
                <a:gd name="T39" fmla="*/ 2629241 h 17028"/>
                <a:gd name="T40" fmla="*/ 37652417 w 12900"/>
                <a:gd name="T41" fmla="*/ 3645467 h 17028"/>
                <a:gd name="T42" fmla="*/ 37941027 w 12900"/>
                <a:gd name="T43" fmla="*/ 4171326 h 17028"/>
                <a:gd name="T44" fmla="*/ 37976357 w 12900"/>
                <a:gd name="T45" fmla="*/ 4697131 h 17028"/>
                <a:gd name="T46" fmla="*/ 37637656 w 12900"/>
                <a:gd name="T47" fmla="*/ 5692702 h 17028"/>
                <a:gd name="T48" fmla="*/ 36565599 w 12900"/>
                <a:gd name="T49" fmla="*/ 7666074 h 17028"/>
                <a:gd name="T50" fmla="*/ 33947270 w 12900"/>
                <a:gd name="T51" fmla="*/ 11509491 h 17028"/>
                <a:gd name="T52" fmla="*/ 32468728 w 12900"/>
                <a:gd name="T53" fmla="*/ 13273116 h 17028"/>
                <a:gd name="T54" fmla="*/ 31134491 w 12900"/>
                <a:gd name="T55" fmla="*/ 14611382 h 17028"/>
                <a:gd name="T56" fmla="*/ 29903368 w 12900"/>
                <a:gd name="T57" fmla="*/ 15589181 h 17028"/>
                <a:gd name="T58" fmla="*/ 28813619 w 12900"/>
                <a:gd name="T59" fmla="*/ 16153467 h 17028"/>
                <a:gd name="T60" fmla="*/ 27927106 w 12900"/>
                <a:gd name="T61" fmla="*/ 16318861 h 17028"/>
                <a:gd name="T62" fmla="*/ 26822595 w 12900"/>
                <a:gd name="T63" fmla="*/ 16165261 h 17028"/>
                <a:gd name="T64" fmla="*/ 26416164 w 12900"/>
                <a:gd name="T65" fmla="*/ 15934862 h 17028"/>
                <a:gd name="T66" fmla="*/ 25726985 w 12900"/>
                <a:gd name="T67" fmla="*/ 15122457 h 17028"/>
                <a:gd name="T68" fmla="*/ 23953917 w 12900"/>
                <a:gd name="T69" fmla="*/ 13234743 h 17028"/>
                <a:gd name="T70" fmla="*/ 23582817 w 12900"/>
                <a:gd name="T71" fmla="*/ 12980646 h 17028"/>
                <a:gd name="T72" fmla="*/ 21506378 w 12900"/>
                <a:gd name="T73" fmla="*/ 15290841 h 17028"/>
                <a:gd name="T74" fmla="*/ 15068013 w 12900"/>
                <a:gd name="T75" fmla="*/ 23583214 h 17028"/>
                <a:gd name="T76" fmla="*/ 9248163 w 12900"/>
                <a:gd name="T77" fmla="*/ 31984896 h 17028"/>
                <a:gd name="T78" fmla="*/ 8326272 w 12900"/>
                <a:gd name="T79" fmla="*/ 34490049 h 17028"/>
                <a:gd name="T80" fmla="*/ 8815194 w 12900"/>
                <a:gd name="T81" fmla="*/ 34953838 h 17028"/>
                <a:gd name="T82" fmla="*/ 9784192 w 12900"/>
                <a:gd name="T83" fmla="*/ 35361535 h 17028"/>
                <a:gd name="T84" fmla="*/ 11404108 w 12900"/>
                <a:gd name="T85" fmla="*/ 35760318 h 17028"/>
                <a:gd name="T86" fmla="*/ 12320083 w 12900"/>
                <a:gd name="T87" fmla="*/ 36108934 h 17028"/>
                <a:gd name="T88" fmla="*/ 12832558 w 12900"/>
                <a:gd name="T89" fmla="*/ 36501847 h 17028"/>
                <a:gd name="T90" fmla="*/ 13383348 w 12900"/>
                <a:gd name="T91" fmla="*/ 37544651 h 17028"/>
                <a:gd name="T92" fmla="*/ 14322880 w 12900"/>
                <a:gd name="T93" fmla="*/ 40306782 h 17028"/>
                <a:gd name="T94" fmla="*/ 15100412 w 12900"/>
                <a:gd name="T95" fmla="*/ 43565259 h 17028"/>
                <a:gd name="T96" fmla="*/ 15241786 w 12900"/>
                <a:gd name="T97" fmla="*/ 45834088 h 17028"/>
                <a:gd name="T98" fmla="*/ 14988506 w 12900"/>
                <a:gd name="T99" fmla="*/ 47151643 h 17028"/>
                <a:gd name="T100" fmla="*/ 14508431 w 12900"/>
                <a:gd name="T101" fmla="*/ 47772021 h 17028"/>
                <a:gd name="T102" fmla="*/ 13300857 w 12900"/>
                <a:gd name="T103" fmla="*/ 48368755 h 17028"/>
                <a:gd name="T104" fmla="*/ 11065406 w 12900"/>
                <a:gd name="T105" fmla="*/ 49187084 h 17028"/>
                <a:gd name="T106" fmla="*/ 8376364 w 12900"/>
                <a:gd name="T107" fmla="*/ 49922688 h 17028"/>
                <a:gd name="T108" fmla="*/ 6547342 w 12900"/>
                <a:gd name="T109" fmla="*/ 50286034 h 17028"/>
                <a:gd name="T110" fmla="*/ 5649059 w 12900"/>
                <a:gd name="T111" fmla="*/ 50188526 h 17028"/>
                <a:gd name="T112" fmla="*/ 4624109 w 12900"/>
                <a:gd name="T113" fmla="*/ 49621359 h 17028"/>
                <a:gd name="T114" fmla="*/ 3410622 w 12900"/>
                <a:gd name="T115" fmla="*/ 48581490 h 170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900"/>
                <a:gd name="T175" fmla="*/ 0 h 17028"/>
                <a:gd name="T176" fmla="*/ 12900 w 12900"/>
                <a:gd name="T177" fmla="*/ 17028 h 170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900" h="17028">
                  <a:moveTo>
                    <a:pt x="927" y="16208"/>
                  </a:moveTo>
                  <a:lnTo>
                    <a:pt x="887" y="16168"/>
                  </a:lnTo>
                  <a:lnTo>
                    <a:pt x="845" y="16125"/>
                  </a:lnTo>
                  <a:lnTo>
                    <a:pt x="806" y="16080"/>
                  </a:lnTo>
                  <a:lnTo>
                    <a:pt x="765" y="16035"/>
                  </a:lnTo>
                  <a:lnTo>
                    <a:pt x="726" y="15988"/>
                  </a:lnTo>
                  <a:lnTo>
                    <a:pt x="685" y="15940"/>
                  </a:lnTo>
                  <a:lnTo>
                    <a:pt x="646" y="15889"/>
                  </a:lnTo>
                  <a:lnTo>
                    <a:pt x="608" y="15837"/>
                  </a:lnTo>
                  <a:lnTo>
                    <a:pt x="568" y="15784"/>
                  </a:lnTo>
                  <a:lnTo>
                    <a:pt x="529" y="15729"/>
                  </a:lnTo>
                  <a:lnTo>
                    <a:pt x="490" y="15673"/>
                  </a:lnTo>
                  <a:lnTo>
                    <a:pt x="452" y="15615"/>
                  </a:lnTo>
                  <a:lnTo>
                    <a:pt x="414" y="15555"/>
                  </a:lnTo>
                  <a:lnTo>
                    <a:pt x="376" y="15494"/>
                  </a:lnTo>
                  <a:lnTo>
                    <a:pt x="338" y="15431"/>
                  </a:lnTo>
                  <a:lnTo>
                    <a:pt x="301" y="15367"/>
                  </a:lnTo>
                  <a:lnTo>
                    <a:pt x="264" y="15303"/>
                  </a:lnTo>
                  <a:lnTo>
                    <a:pt x="230" y="15242"/>
                  </a:lnTo>
                  <a:lnTo>
                    <a:pt x="199" y="15182"/>
                  </a:lnTo>
                  <a:lnTo>
                    <a:pt x="169" y="15123"/>
                  </a:lnTo>
                  <a:lnTo>
                    <a:pt x="143" y="15067"/>
                  </a:lnTo>
                  <a:lnTo>
                    <a:pt x="118" y="15011"/>
                  </a:lnTo>
                  <a:lnTo>
                    <a:pt x="96" y="14958"/>
                  </a:lnTo>
                  <a:lnTo>
                    <a:pt x="76" y="14906"/>
                  </a:lnTo>
                  <a:lnTo>
                    <a:pt x="57" y="14857"/>
                  </a:lnTo>
                  <a:lnTo>
                    <a:pt x="43" y="14808"/>
                  </a:lnTo>
                  <a:lnTo>
                    <a:pt x="30" y="14762"/>
                  </a:lnTo>
                  <a:lnTo>
                    <a:pt x="19" y="14716"/>
                  </a:lnTo>
                  <a:lnTo>
                    <a:pt x="15" y="14695"/>
                  </a:lnTo>
                  <a:lnTo>
                    <a:pt x="11" y="14673"/>
                  </a:lnTo>
                  <a:lnTo>
                    <a:pt x="7" y="14652"/>
                  </a:lnTo>
                  <a:lnTo>
                    <a:pt x="4" y="14632"/>
                  </a:lnTo>
                  <a:lnTo>
                    <a:pt x="2" y="14612"/>
                  </a:lnTo>
                  <a:lnTo>
                    <a:pt x="1" y="14591"/>
                  </a:lnTo>
                  <a:lnTo>
                    <a:pt x="0" y="14572"/>
                  </a:lnTo>
                  <a:lnTo>
                    <a:pt x="0" y="14554"/>
                  </a:lnTo>
                  <a:lnTo>
                    <a:pt x="1" y="14473"/>
                  </a:lnTo>
                  <a:lnTo>
                    <a:pt x="4" y="14389"/>
                  </a:lnTo>
                  <a:lnTo>
                    <a:pt x="9" y="14303"/>
                  </a:lnTo>
                  <a:lnTo>
                    <a:pt x="17" y="14215"/>
                  </a:lnTo>
                  <a:lnTo>
                    <a:pt x="27" y="14123"/>
                  </a:lnTo>
                  <a:lnTo>
                    <a:pt x="38" y="14031"/>
                  </a:lnTo>
                  <a:lnTo>
                    <a:pt x="52" y="13935"/>
                  </a:lnTo>
                  <a:lnTo>
                    <a:pt x="68" y="13835"/>
                  </a:lnTo>
                  <a:lnTo>
                    <a:pt x="86" y="13735"/>
                  </a:lnTo>
                  <a:lnTo>
                    <a:pt x="106" y="13632"/>
                  </a:lnTo>
                  <a:lnTo>
                    <a:pt x="130" y="13525"/>
                  </a:lnTo>
                  <a:lnTo>
                    <a:pt x="154" y="13417"/>
                  </a:lnTo>
                  <a:lnTo>
                    <a:pt x="181" y="13306"/>
                  </a:lnTo>
                  <a:lnTo>
                    <a:pt x="210" y="13193"/>
                  </a:lnTo>
                  <a:lnTo>
                    <a:pt x="241" y="13076"/>
                  </a:lnTo>
                  <a:lnTo>
                    <a:pt x="275" y="12958"/>
                  </a:lnTo>
                  <a:lnTo>
                    <a:pt x="310" y="12838"/>
                  </a:lnTo>
                  <a:lnTo>
                    <a:pt x="347" y="12714"/>
                  </a:lnTo>
                  <a:lnTo>
                    <a:pt x="388" y="12588"/>
                  </a:lnTo>
                  <a:lnTo>
                    <a:pt x="430" y="12460"/>
                  </a:lnTo>
                  <a:lnTo>
                    <a:pt x="473" y="12329"/>
                  </a:lnTo>
                  <a:lnTo>
                    <a:pt x="520" y="12196"/>
                  </a:lnTo>
                  <a:lnTo>
                    <a:pt x="568" y="12061"/>
                  </a:lnTo>
                  <a:lnTo>
                    <a:pt x="619" y="11922"/>
                  </a:lnTo>
                  <a:lnTo>
                    <a:pt x="672" y="11781"/>
                  </a:lnTo>
                  <a:lnTo>
                    <a:pt x="727" y="11638"/>
                  </a:lnTo>
                  <a:lnTo>
                    <a:pt x="783" y="11492"/>
                  </a:lnTo>
                  <a:lnTo>
                    <a:pt x="843" y="11345"/>
                  </a:lnTo>
                  <a:lnTo>
                    <a:pt x="905" y="11194"/>
                  </a:lnTo>
                  <a:lnTo>
                    <a:pt x="968" y="11041"/>
                  </a:lnTo>
                  <a:lnTo>
                    <a:pt x="1034" y="10886"/>
                  </a:lnTo>
                  <a:lnTo>
                    <a:pt x="1102" y="10728"/>
                  </a:lnTo>
                  <a:lnTo>
                    <a:pt x="1172" y="10568"/>
                  </a:lnTo>
                  <a:lnTo>
                    <a:pt x="1243" y="10408"/>
                  </a:lnTo>
                  <a:lnTo>
                    <a:pt x="1315" y="10249"/>
                  </a:lnTo>
                  <a:lnTo>
                    <a:pt x="1389" y="10090"/>
                  </a:lnTo>
                  <a:lnTo>
                    <a:pt x="1465" y="9931"/>
                  </a:lnTo>
                  <a:lnTo>
                    <a:pt x="1543" y="9771"/>
                  </a:lnTo>
                  <a:lnTo>
                    <a:pt x="1620" y="9611"/>
                  </a:lnTo>
                  <a:lnTo>
                    <a:pt x="1701" y="9451"/>
                  </a:lnTo>
                  <a:lnTo>
                    <a:pt x="1782" y="9292"/>
                  </a:lnTo>
                  <a:lnTo>
                    <a:pt x="1866" y="9132"/>
                  </a:lnTo>
                  <a:lnTo>
                    <a:pt x="1950" y="8972"/>
                  </a:lnTo>
                  <a:lnTo>
                    <a:pt x="2036" y="8812"/>
                  </a:lnTo>
                  <a:lnTo>
                    <a:pt x="2124" y="8653"/>
                  </a:lnTo>
                  <a:lnTo>
                    <a:pt x="2213" y="8494"/>
                  </a:lnTo>
                  <a:lnTo>
                    <a:pt x="2304" y="8334"/>
                  </a:lnTo>
                  <a:lnTo>
                    <a:pt x="2397" y="8174"/>
                  </a:lnTo>
                  <a:lnTo>
                    <a:pt x="2489" y="8014"/>
                  </a:lnTo>
                  <a:lnTo>
                    <a:pt x="2585" y="7854"/>
                  </a:lnTo>
                  <a:lnTo>
                    <a:pt x="2681" y="7694"/>
                  </a:lnTo>
                  <a:lnTo>
                    <a:pt x="2779" y="7534"/>
                  </a:lnTo>
                  <a:lnTo>
                    <a:pt x="2880" y="7374"/>
                  </a:lnTo>
                  <a:lnTo>
                    <a:pt x="2981" y="7215"/>
                  </a:lnTo>
                  <a:lnTo>
                    <a:pt x="3083" y="7055"/>
                  </a:lnTo>
                  <a:lnTo>
                    <a:pt x="3188" y="6894"/>
                  </a:lnTo>
                  <a:lnTo>
                    <a:pt x="3293" y="6734"/>
                  </a:lnTo>
                  <a:lnTo>
                    <a:pt x="3400" y="6574"/>
                  </a:lnTo>
                  <a:lnTo>
                    <a:pt x="3509" y="6414"/>
                  </a:lnTo>
                  <a:lnTo>
                    <a:pt x="3619" y="6253"/>
                  </a:lnTo>
                  <a:lnTo>
                    <a:pt x="3730" y="6093"/>
                  </a:lnTo>
                  <a:lnTo>
                    <a:pt x="3844" y="5933"/>
                  </a:lnTo>
                  <a:lnTo>
                    <a:pt x="3958" y="5773"/>
                  </a:lnTo>
                  <a:lnTo>
                    <a:pt x="4075" y="5612"/>
                  </a:lnTo>
                  <a:lnTo>
                    <a:pt x="4187" y="5459"/>
                  </a:lnTo>
                  <a:lnTo>
                    <a:pt x="4299" y="5306"/>
                  </a:lnTo>
                  <a:lnTo>
                    <a:pt x="4409" y="5157"/>
                  </a:lnTo>
                  <a:lnTo>
                    <a:pt x="4520" y="5008"/>
                  </a:lnTo>
                  <a:lnTo>
                    <a:pt x="4631" y="4862"/>
                  </a:lnTo>
                  <a:lnTo>
                    <a:pt x="4741" y="4717"/>
                  </a:lnTo>
                  <a:lnTo>
                    <a:pt x="4852" y="4574"/>
                  </a:lnTo>
                  <a:lnTo>
                    <a:pt x="4962" y="4432"/>
                  </a:lnTo>
                  <a:lnTo>
                    <a:pt x="5070" y="4293"/>
                  </a:lnTo>
                  <a:lnTo>
                    <a:pt x="5180" y="4155"/>
                  </a:lnTo>
                  <a:lnTo>
                    <a:pt x="5289" y="4019"/>
                  </a:lnTo>
                  <a:lnTo>
                    <a:pt x="5398" y="3884"/>
                  </a:lnTo>
                  <a:lnTo>
                    <a:pt x="5506" y="3752"/>
                  </a:lnTo>
                  <a:lnTo>
                    <a:pt x="5614" y="3621"/>
                  </a:lnTo>
                  <a:lnTo>
                    <a:pt x="5722" y="3492"/>
                  </a:lnTo>
                  <a:lnTo>
                    <a:pt x="5830" y="3365"/>
                  </a:lnTo>
                  <a:lnTo>
                    <a:pt x="5937" y="3239"/>
                  </a:lnTo>
                  <a:lnTo>
                    <a:pt x="6044" y="3116"/>
                  </a:lnTo>
                  <a:lnTo>
                    <a:pt x="6150" y="2994"/>
                  </a:lnTo>
                  <a:lnTo>
                    <a:pt x="6257" y="2874"/>
                  </a:lnTo>
                  <a:lnTo>
                    <a:pt x="6363" y="2755"/>
                  </a:lnTo>
                  <a:lnTo>
                    <a:pt x="6469" y="2638"/>
                  </a:lnTo>
                  <a:lnTo>
                    <a:pt x="6575" y="2524"/>
                  </a:lnTo>
                  <a:lnTo>
                    <a:pt x="6679" y="2410"/>
                  </a:lnTo>
                  <a:lnTo>
                    <a:pt x="6785" y="2299"/>
                  </a:lnTo>
                  <a:lnTo>
                    <a:pt x="6889" y="2189"/>
                  </a:lnTo>
                  <a:lnTo>
                    <a:pt x="6994" y="2082"/>
                  </a:lnTo>
                  <a:lnTo>
                    <a:pt x="7097" y="1975"/>
                  </a:lnTo>
                  <a:lnTo>
                    <a:pt x="7202" y="1872"/>
                  </a:lnTo>
                  <a:lnTo>
                    <a:pt x="7305" y="1768"/>
                  </a:lnTo>
                  <a:lnTo>
                    <a:pt x="7408" y="1668"/>
                  </a:lnTo>
                  <a:lnTo>
                    <a:pt x="7511" y="1569"/>
                  </a:lnTo>
                  <a:lnTo>
                    <a:pt x="7613" y="1472"/>
                  </a:lnTo>
                  <a:lnTo>
                    <a:pt x="7714" y="1379"/>
                  </a:lnTo>
                  <a:lnTo>
                    <a:pt x="7814" y="1289"/>
                  </a:lnTo>
                  <a:lnTo>
                    <a:pt x="7911" y="1201"/>
                  </a:lnTo>
                  <a:lnTo>
                    <a:pt x="8007" y="1118"/>
                  </a:lnTo>
                  <a:lnTo>
                    <a:pt x="8101" y="1036"/>
                  </a:lnTo>
                  <a:lnTo>
                    <a:pt x="8194" y="958"/>
                  </a:lnTo>
                  <a:lnTo>
                    <a:pt x="8286" y="884"/>
                  </a:lnTo>
                  <a:lnTo>
                    <a:pt x="8375" y="811"/>
                  </a:lnTo>
                  <a:lnTo>
                    <a:pt x="8464" y="743"/>
                  </a:lnTo>
                  <a:lnTo>
                    <a:pt x="8551" y="677"/>
                  </a:lnTo>
                  <a:lnTo>
                    <a:pt x="8637" y="614"/>
                  </a:lnTo>
                  <a:lnTo>
                    <a:pt x="8721" y="554"/>
                  </a:lnTo>
                  <a:lnTo>
                    <a:pt x="8803" y="498"/>
                  </a:lnTo>
                  <a:lnTo>
                    <a:pt x="8883" y="443"/>
                  </a:lnTo>
                  <a:lnTo>
                    <a:pt x="8963" y="393"/>
                  </a:lnTo>
                  <a:lnTo>
                    <a:pt x="9041" y="345"/>
                  </a:lnTo>
                  <a:lnTo>
                    <a:pt x="9116" y="300"/>
                  </a:lnTo>
                  <a:lnTo>
                    <a:pt x="9191" y="260"/>
                  </a:lnTo>
                  <a:lnTo>
                    <a:pt x="9265" y="222"/>
                  </a:lnTo>
                  <a:lnTo>
                    <a:pt x="9336" y="185"/>
                  </a:lnTo>
                  <a:lnTo>
                    <a:pt x="9405" y="153"/>
                  </a:lnTo>
                  <a:lnTo>
                    <a:pt x="9475" y="125"/>
                  </a:lnTo>
                  <a:lnTo>
                    <a:pt x="9542" y="98"/>
                  </a:lnTo>
                  <a:lnTo>
                    <a:pt x="9607" y="76"/>
                  </a:lnTo>
                  <a:lnTo>
                    <a:pt x="9671" y="55"/>
                  </a:lnTo>
                  <a:lnTo>
                    <a:pt x="9734" y="38"/>
                  </a:lnTo>
                  <a:lnTo>
                    <a:pt x="9794" y="24"/>
                  </a:lnTo>
                  <a:lnTo>
                    <a:pt x="9853" y="14"/>
                  </a:lnTo>
                  <a:lnTo>
                    <a:pt x="9912" y="6"/>
                  </a:lnTo>
                  <a:lnTo>
                    <a:pt x="9968" y="1"/>
                  </a:lnTo>
                  <a:lnTo>
                    <a:pt x="10023" y="0"/>
                  </a:lnTo>
                  <a:lnTo>
                    <a:pt x="10047" y="0"/>
                  </a:lnTo>
                  <a:lnTo>
                    <a:pt x="10073" y="2"/>
                  </a:lnTo>
                  <a:lnTo>
                    <a:pt x="10099" y="4"/>
                  </a:lnTo>
                  <a:lnTo>
                    <a:pt x="10129" y="7"/>
                  </a:lnTo>
                  <a:lnTo>
                    <a:pt x="10159" y="12"/>
                  </a:lnTo>
                  <a:lnTo>
                    <a:pt x="10192" y="17"/>
                  </a:lnTo>
                  <a:lnTo>
                    <a:pt x="10226" y="23"/>
                  </a:lnTo>
                  <a:lnTo>
                    <a:pt x="10263" y="31"/>
                  </a:lnTo>
                  <a:lnTo>
                    <a:pt x="10300" y="39"/>
                  </a:lnTo>
                  <a:lnTo>
                    <a:pt x="10339" y="48"/>
                  </a:lnTo>
                  <a:lnTo>
                    <a:pt x="10381" y="58"/>
                  </a:lnTo>
                  <a:lnTo>
                    <a:pt x="10423" y="69"/>
                  </a:lnTo>
                  <a:lnTo>
                    <a:pt x="10515" y="95"/>
                  </a:lnTo>
                  <a:lnTo>
                    <a:pt x="10613" y="124"/>
                  </a:lnTo>
                  <a:lnTo>
                    <a:pt x="10719" y="157"/>
                  </a:lnTo>
                  <a:lnTo>
                    <a:pt x="10831" y="194"/>
                  </a:lnTo>
                  <a:lnTo>
                    <a:pt x="10949" y="234"/>
                  </a:lnTo>
                  <a:lnTo>
                    <a:pt x="11076" y="278"/>
                  </a:lnTo>
                  <a:lnTo>
                    <a:pt x="11209" y="327"/>
                  </a:lnTo>
                  <a:lnTo>
                    <a:pt x="11349" y="378"/>
                  </a:lnTo>
                  <a:lnTo>
                    <a:pt x="11496" y="435"/>
                  </a:lnTo>
                  <a:lnTo>
                    <a:pt x="11651" y="494"/>
                  </a:lnTo>
                  <a:lnTo>
                    <a:pt x="11714" y="521"/>
                  </a:lnTo>
                  <a:lnTo>
                    <a:pt x="11776" y="549"/>
                  </a:lnTo>
                  <a:lnTo>
                    <a:pt x="11837" y="578"/>
                  </a:lnTo>
                  <a:lnTo>
                    <a:pt x="11897" y="606"/>
                  </a:lnTo>
                  <a:lnTo>
                    <a:pt x="11957" y="636"/>
                  </a:lnTo>
                  <a:lnTo>
                    <a:pt x="12014" y="666"/>
                  </a:lnTo>
                  <a:lnTo>
                    <a:pt x="12071" y="696"/>
                  </a:lnTo>
                  <a:lnTo>
                    <a:pt x="12127" y="727"/>
                  </a:lnTo>
                  <a:lnTo>
                    <a:pt x="12182" y="759"/>
                  </a:lnTo>
                  <a:lnTo>
                    <a:pt x="12235" y="791"/>
                  </a:lnTo>
                  <a:lnTo>
                    <a:pt x="12287" y="823"/>
                  </a:lnTo>
                  <a:lnTo>
                    <a:pt x="12338" y="857"/>
                  </a:lnTo>
                  <a:lnTo>
                    <a:pt x="12388" y="890"/>
                  </a:lnTo>
                  <a:lnTo>
                    <a:pt x="12437" y="924"/>
                  </a:lnTo>
                  <a:lnTo>
                    <a:pt x="12485" y="959"/>
                  </a:lnTo>
                  <a:lnTo>
                    <a:pt x="12531" y="994"/>
                  </a:lnTo>
                  <a:lnTo>
                    <a:pt x="12576" y="1030"/>
                  </a:lnTo>
                  <a:lnTo>
                    <a:pt x="12618" y="1065"/>
                  </a:lnTo>
                  <a:lnTo>
                    <a:pt x="12657" y="1099"/>
                  </a:lnTo>
                  <a:lnTo>
                    <a:pt x="12693" y="1133"/>
                  </a:lnTo>
                  <a:lnTo>
                    <a:pt x="12726" y="1167"/>
                  </a:lnTo>
                  <a:lnTo>
                    <a:pt x="12756" y="1201"/>
                  </a:lnTo>
                  <a:lnTo>
                    <a:pt x="12784" y="1234"/>
                  </a:lnTo>
                  <a:lnTo>
                    <a:pt x="12808" y="1267"/>
                  </a:lnTo>
                  <a:lnTo>
                    <a:pt x="12819" y="1284"/>
                  </a:lnTo>
                  <a:lnTo>
                    <a:pt x="12830" y="1300"/>
                  </a:lnTo>
                  <a:lnTo>
                    <a:pt x="12839" y="1316"/>
                  </a:lnTo>
                  <a:lnTo>
                    <a:pt x="12848" y="1332"/>
                  </a:lnTo>
                  <a:lnTo>
                    <a:pt x="12856" y="1349"/>
                  </a:lnTo>
                  <a:lnTo>
                    <a:pt x="12864" y="1365"/>
                  </a:lnTo>
                  <a:lnTo>
                    <a:pt x="12871" y="1381"/>
                  </a:lnTo>
                  <a:lnTo>
                    <a:pt x="12877" y="1396"/>
                  </a:lnTo>
                  <a:lnTo>
                    <a:pt x="12882" y="1412"/>
                  </a:lnTo>
                  <a:lnTo>
                    <a:pt x="12887" y="1428"/>
                  </a:lnTo>
                  <a:lnTo>
                    <a:pt x="12892" y="1443"/>
                  </a:lnTo>
                  <a:lnTo>
                    <a:pt x="12895" y="1459"/>
                  </a:lnTo>
                  <a:lnTo>
                    <a:pt x="12897" y="1474"/>
                  </a:lnTo>
                  <a:lnTo>
                    <a:pt x="12899" y="1489"/>
                  </a:lnTo>
                  <a:lnTo>
                    <a:pt x="12900" y="1505"/>
                  </a:lnTo>
                  <a:lnTo>
                    <a:pt x="12900" y="1520"/>
                  </a:lnTo>
                  <a:lnTo>
                    <a:pt x="12899" y="1541"/>
                  </a:lnTo>
                  <a:lnTo>
                    <a:pt x="12897" y="1566"/>
                  </a:lnTo>
                  <a:lnTo>
                    <a:pt x="12894" y="1590"/>
                  </a:lnTo>
                  <a:lnTo>
                    <a:pt x="12888" y="1617"/>
                  </a:lnTo>
                  <a:lnTo>
                    <a:pt x="12882" y="1646"/>
                  </a:lnTo>
                  <a:lnTo>
                    <a:pt x="12875" y="1676"/>
                  </a:lnTo>
                  <a:lnTo>
                    <a:pt x="12865" y="1707"/>
                  </a:lnTo>
                  <a:lnTo>
                    <a:pt x="12854" y="1740"/>
                  </a:lnTo>
                  <a:lnTo>
                    <a:pt x="12842" y="1774"/>
                  </a:lnTo>
                  <a:lnTo>
                    <a:pt x="12829" y="1810"/>
                  </a:lnTo>
                  <a:lnTo>
                    <a:pt x="12813" y="1847"/>
                  </a:lnTo>
                  <a:lnTo>
                    <a:pt x="12797" y="1887"/>
                  </a:lnTo>
                  <a:lnTo>
                    <a:pt x="12779" y="1927"/>
                  </a:lnTo>
                  <a:lnTo>
                    <a:pt x="12759" y="1970"/>
                  </a:lnTo>
                  <a:lnTo>
                    <a:pt x="12738" y="2014"/>
                  </a:lnTo>
                  <a:lnTo>
                    <a:pt x="12717" y="2058"/>
                  </a:lnTo>
                  <a:lnTo>
                    <a:pt x="12692" y="2105"/>
                  </a:lnTo>
                  <a:lnTo>
                    <a:pt x="12668" y="2153"/>
                  </a:lnTo>
                  <a:lnTo>
                    <a:pt x="12641" y="2203"/>
                  </a:lnTo>
                  <a:lnTo>
                    <a:pt x="12613" y="2254"/>
                  </a:lnTo>
                  <a:lnTo>
                    <a:pt x="12553" y="2362"/>
                  </a:lnTo>
                  <a:lnTo>
                    <a:pt x="12486" y="2475"/>
                  </a:lnTo>
                  <a:lnTo>
                    <a:pt x="12415" y="2595"/>
                  </a:lnTo>
                  <a:lnTo>
                    <a:pt x="12338" y="2720"/>
                  </a:lnTo>
                  <a:lnTo>
                    <a:pt x="12255" y="2852"/>
                  </a:lnTo>
                  <a:lnTo>
                    <a:pt x="12167" y="2990"/>
                  </a:lnTo>
                  <a:lnTo>
                    <a:pt x="12075" y="3130"/>
                  </a:lnTo>
                  <a:lnTo>
                    <a:pt x="11983" y="3266"/>
                  </a:lnTo>
                  <a:lnTo>
                    <a:pt x="11892" y="3398"/>
                  </a:lnTo>
                  <a:lnTo>
                    <a:pt x="11800" y="3528"/>
                  </a:lnTo>
                  <a:lnTo>
                    <a:pt x="11708" y="3654"/>
                  </a:lnTo>
                  <a:lnTo>
                    <a:pt x="11618" y="3777"/>
                  </a:lnTo>
                  <a:lnTo>
                    <a:pt x="11526" y="3896"/>
                  </a:lnTo>
                  <a:lnTo>
                    <a:pt x="11434" y="4012"/>
                  </a:lnTo>
                  <a:lnTo>
                    <a:pt x="11388" y="4069"/>
                  </a:lnTo>
                  <a:lnTo>
                    <a:pt x="11343" y="4125"/>
                  </a:lnTo>
                  <a:lnTo>
                    <a:pt x="11297" y="4181"/>
                  </a:lnTo>
                  <a:lnTo>
                    <a:pt x="11252" y="4235"/>
                  </a:lnTo>
                  <a:lnTo>
                    <a:pt x="11206" y="4288"/>
                  </a:lnTo>
                  <a:lnTo>
                    <a:pt x="11160" y="4341"/>
                  </a:lnTo>
                  <a:lnTo>
                    <a:pt x="11114" y="4393"/>
                  </a:lnTo>
                  <a:lnTo>
                    <a:pt x="11069" y="4443"/>
                  </a:lnTo>
                  <a:lnTo>
                    <a:pt x="11024" y="4493"/>
                  </a:lnTo>
                  <a:lnTo>
                    <a:pt x="10978" y="4543"/>
                  </a:lnTo>
                  <a:lnTo>
                    <a:pt x="10932" y="4591"/>
                  </a:lnTo>
                  <a:lnTo>
                    <a:pt x="10886" y="4639"/>
                  </a:lnTo>
                  <a:lnTo>
                    <a:pt x="10841" y="4685"/>
                  </a:lnTo>
                  <a:lnTo>
                    <a:pt x="10796" y="4731"/>
                  </a:lnTo>
                  <a:lnTo>
                    <a:pt x="10750" y="4777"/>
                  </a:lnTo>
                  <a:lnTo>
                    <a:pt x="10705" y="4820"/>
                  </a:lnTo>
                  <a:lnTo>
                    <a:pt x="10659" y="4864"/>
                  </a:lnTo>
                  <a:lnTo>
                    <a:pt x="10614" y="4906"/>
                  </a:lnTo>
                  <a:lnTo>
                    <a:pt x="10571" y="4946"/>
                  </a:lnTo>
                  <a:lnTo>
                    <a:pt x="10526" y="4986"/>
                  </a:lnTo>
                  <a:lnTo>
                    <a:pt x="10483" y="5023"/>
                  </a:lnTo>
                  <a:lnTo>
                    <a:pt x="10439" y="5060"/>
                  </a:lnTo>
                  <a:lnTo>
                    <a:pt x="10398" y="5094"/>
                  </a:lnTo>
                  <a:lnTo>
                    <a:pt x="10355" y="5128"/>
                  </a:lnTo>
                  <a:lnTo>
                    <a:pt x="10314" y="5160"/>
                  </a:lnTo>
                  <a:lnTo>
                    <a:pt x="10273" y="5191"/>
                  </a:lnTo>
                  <a:lnTo>
                    <a:pt x="10233" y="5221"/>
                  </a:lnTo>
                  <a:lnTo>
                    <a:pt x="10192" y="5249"/>
                  </a:lnTo>
                  <a:lnTo>
                    <a:pt x="10153" y="5277"/>
                  </a:lnTo>
                  <a:lnTo>
                    <a:pt x="10113" y="5301"/>
                  </a:lnTo>
                  <a:lnTo>
                    <a:pt x="10075" y="5326"/>
                  </a:lnTo>
                  <a:lnTo>
                    <a:pt x="10038" y="5348"/>
                  </a:lnTo>
                  <a:lnTo>
                    <a:pt x="9999" y="5369"/>
                  </a:lnTo>
                  <a:lnTo>
                    <a:pt x="9962" y="5390"/>
                  </a:lnTo>
                  <a:lnTo>
                    <a:pt x="9926" y="5408"/>
                  </a:lnTo>
                  <a:lnTo>
                    <a:pt x="9889" y="5425"/>
                  </a:lnTo>
                  <a:lnTo>
                    <a:pt x="9853" y="5441"/>
                  </a:lnTo>
                  <a:lnTo>
                    <a:pt x="9818" y="5455"/>
                  </a:lnTo>
                  <a:lnTo>
                    <a:pt x="9783" y="5468"/>
                  </a:lnTo>
                  <a:lnTo>
                    <a:pt x="9749" y="5480"/>
                  </a:lnTo>
                  <a:lnTo>
                    <a:pt x="9715" y="5490"/>
                  </a:lnTo>
                  <a:lnTo>
                    <a:pt x="9681" y="5499"/>
                  </a:lnTo>
                  <a:lnTo>
                    <a:pt x="9648" y="5507"/>
                  </a:lnTo>
                  <a:lnTo>
                    <a:pt x="9616" y="5512"/>
                  </a:lnTo>
                  <a:lnTo>
                    <a:pt x="9584" y="5517"/>
                  </a:lnTo>
                  <a:lnTo>
                    <a:pt x="9552" y="5521"/>
                  </a:lnTo>
                  <a:lnTo>
                    <a:pt x="9522" y="5523"/>
                  </a:lnTo>
                  <a:lnTo>
                    <a:pt x="9492" y="5524"/>
                  </a:lnTo>
                  <a:lnTo>
                    <a:pt x="9482" y="5524"/>
                  </a:lnTo>
                  <a:lnTo>
                    <a:pt x="9474" y="5524"/>
                  </a:lnTo>
                  <a:lnTo>
                    <a:pt x="9421" y="5523"/>
                  </a:lnTo>
                  <a:lnTo>
                    <a:pt x="9372" y="5521"/>
                  </a:lnTo>
                  <a:lnTo>
                    <a:pt x="9324" y="5517"/>
                  </a:lnTo>
                  <a:lnTo>
                    <a:pt x="9280" y="5512"/>
                  </a:lnTo>
                  <a:lnTo>
                    <a:pt x="9237" y="5506"/>
                  </a:lnTo>
                  <a:lnTo>
                    <a:pt x="9197" y="5498"/>
                  </a:lnTo>
                  <a:lnTo>
                    <a:pt x="9159" y="5489"/>
                  </a:lnTo>
                  <a:lnTo>
                    <a:pt x="9124" y="5478"/>
                  </a:lnTo>
                  <a:lnTo>
                    <a:pt x="9107" y="5472"/>
                  </a:lnTo>
                  <a:lnTo>
                    <a:pt x="9090" y="5465"/>
                  </a:lnTo>
                  <a:lnTo>
                    <a:pt x="9075" y="5459"/>
                  </a:lnTo>
                  <a:lnTo>
                    <a:pt x="9059" y="5452"/>
                  </a:lnTo>
                  <a:lnTo>
                    <a:pt x="9045" y="5445"/>
                  </a:lnTo>
                  <a:lnTo>
                    <a:pt x="9031" y="5438"/>
                  </a:lnTo>
                  <a:lnTo>
                    <a:pt x="9017" y="5429"/>
                  </a:lnTo>
                  <a:lnTo>
                    <a:pt x="9004" y="5422"/>
                  </a:lnTo>
                  <a:lnTo>
                    <a:pt x="8993" y="5413"/>
                  </a:lnTo>
                  <a:lnTo>
                    <a:pt x="8981" y="5403"/>
                  </a:lnTo>
                  <a:lnTo>
                    <a:pt x="8969" y="5394"/>
                  </a:lnTo>
                  <a:lnTo>
                    <a:pt x="8960" y="5384"/>
                  </a:lnTo>
                  <a:lnTo>
                    <a:pt x="8949" y="5375"/>
                  </a:lnTo>
                  <a:lnTo>
                    <a:pt x="8941" y="5364"/>
                  </a:lnTo>
                  <a:lnTo>
                    <a:pt x="8932" y="5353"/>
                  </a:lnTo>
                  <a:lnTo>
                    <a:pt x="8923" y="5343"/>
                  </a:lnTo>
                  <a:lnTo>
                    <a:pt x="8905" y="5318"/>
                  </a:lnTo>
                  <a:lnTo>
                    <a:pt x="8877" y="5283"/>
                  </a:lnTo>
                  <a:lnTo>
                    <a:pt x="8839" y="5238"/>
                  </a:lnTo>
                  <a:lnTo>
                    <a:pt x="8792" y="5184"/>
                  </a:lnTo>
                  <a:lnTo>
                    <a:pt x="8735" y="5119"/>
                  </a:lnTo>
                  <a:lnTo>
                    <a:pt x="8669" y="5043"/>
                  </a:lnTo>
                  <a:lnTo>
                    <a:pt x="8592" y="4959"/>
                  </a:lnTo>
                  <a:lnTo>
                    <a:pt x="8506" y="4863"/>
                  </a:lnTo>
                  <a:lnTo>
                    <a:pt x="8419" y="4769"/>
                  </a:lnTo>
                  <a:lnTo>
                    <a:pt x="8340" y="4685"/>
                  </a:lnTo>
                  <a:lnTo>
                    <a:pt x="8271" y="4612"/>
                  </a:lnTo>
                  <a:lnTo>
                    <a:pt x="8209" y="4551"/>
                  </a:lnTo>
                  <a:lnTo>
                    <a:pt x="8182" y="4524"/>
                  </a:lnTo>
                  <a:lnTo>
                    <a:pt x="8157" y="4501"/>
                  </a:lnTo>
                  <a:lnTo>
                    <a:pt x="8133" y="4480"/>
                  </a:lnTo>
                  <a:lnTo>
                    <a:pt x="8113" y="4462"/>
                  </a:lnTo>
                  <a:lnTo>
                    <a:pt x="8094" y="4446"/>
                  </a:lnTo>
                  <a:lnTo>
                    <a:pt x="8078" y="4434"/>
                  </a:lnTo>
                  <a:lnTo>
                    <a:pt x="8063" y="4425"/>
                  </a:lnTo>
                  <a:lnTo>
                    <a:pt x="8051" y="4418"/>
                  </a:lnTo>
                  <a:lnTo>
                    <a:pt x="8044" y="4412"/>
                  </a:lnTo>
                  <a:lnTo>
                    <a:pt x="8036" y="4406"/>
                  </a:lnTo>
                  <a:lnTo>
                    <a:pt x="8027" y="4401"/>
                  </a:lnTo>
                  <a:lnTo>
                    <a:pt x="8017" y="4397"/>
                  </a:lnTo>
                  <a:lnTo>
                    <a:pt x="8007" y="4394"/>
                  </a:lnTo>
                  <a:lnTo>
                    <a:pt x="7996" y="4392"/>
                  </a:lnTo>
                  <a:lnTo>
                    <a:pt x="7984" y="4391"/>
                  </a:lnTo>
                  <a:lnTo>
                    <a:pt x="7971" y="4391"/>
                  </a:lnTo>
                  <a:lnTo>
                    <a:pt x="7949" y="4409"/>
                  </a:lnTo>
                  <a:lnTo>
                    <a:pt x="7899" y="4462"/>
                  </a:lnTo>
                  <a:lnTo>
                    <a:pt x="7823" y="4547"/>
                  </a:lnTo>
                  <a:lnTo>
                    <a:pt x="7724" y="4665"/>
                  </a:lnTo>
                  <a:lnTo>
                    <a:pt x="7602" y="4810"/>
                  </a:lnTo>
                  <a:lnTo>
                    <a:pt x="7462" y="4981"/>
                  </a:lnTo>
                  <a:lnTo>
                    <a:pt x="7302" y="5176"/>
                  </a:lnTo>
                  <a:lnTo>
                    <a:pt x="7127" y="5394"/>
                  </a:lnTo>
                  <a:lnTo>
                    <a:pt x="6936" y="5632"/>
                  </a:lnTo>
                  <a:lnTo>
                    <a:pt x="6734" y="5886"/>
                  </a:lnTo>
                  <a:lnTo>
                    <a:pt x="6520" y="6156"/>
                  </a:lnTo>
                  <a:lnTo>
                    <a:pt x="6298" y="6441"/>
                  </a:lnTo>
                  <a:lnTo>
                    <a:pt x="6068" y="6735"/>
                  </a:lnTo>
                  <a:lnTo>
                    <a:pt x="5834" y="7039"/>
                  </a:lnTo>
                  <a:lnTo>
                    <a:pt x="5595" y="7350"/>
                  </a:lnTo>
                  <a:lnTo>
                    <a:pt x="5355" y="7665"/>
                  </a:lnTo>
                  <a:lnTo>
                    <a:pt x="5116" y="7983"/>
                  </a:lnTo>
                  <a:lnTo>
                    <a:pt x="4879" y="8302"/>
                  </a:lnTo>
                  <a:lnTo>
                    <a:pt x="4645" y="8618"/>
                  </a:lnTo>
                  <a:lnTo>
                    <a:pt x="4417" y="8931"/>
                  </a:lnTo>
                  <a:lnTo>
                    <a:pt x="4197" y="9238"/>
                  </a:lnTo>
                  <a:lnTo>
                    <a:pt x="3986" y="9536"/>
                  </a:lnTo>
                  <a:lnTo>
                    <a:pt x="3787" y="9824"/>
                  </a:lnTo>
                  <a:lnTo>
                    <a:pt x="3601" y="10099"/>
                  </a:lnTo>
                  <a:lnTo>
                    <a:pt x="3430" y="10359"/>
                  </a:lnTo>
                  <a:lnTo>
                    <a:pt x="3275" y="10603"/>
                  </a:lnTo>
                  <a:lnTo>
                    <a:pt x="3140" y="10827"/>
                  </a:lnTo>
                  <a:lnTo>
                    <a:pt x="3024" y="11031"/>
                  </a:lnTo>
                  <a:lnTo>
                    <a:pt x="2932" y="11210"/>
                  </a:lnTo>
                  <a:lnTo>
                    <a:pt x="2864" y="11364"/>
                  </a:lnTo>
                  <a:lnTo>
                    <a:pt x="2821" y="11491"/>
                  </a:lnTo>
                  <a:lnTo>
                    <a:pt x="2807" y="11587"/>
                  </a:lnTo>
                  <a:lnTo>
                    <a:pt x="2807" y="11605"/>
                  </a:lnTo>
                  <a:lnTo>
                    <a:pt x="2810" y="11622"/>
                  </a:lnTo>
                  <a:lnTo>
                    <a:pt x="2813" y="11641"/>
                  </a:lnTo>
                  <a:lnTo>
                    <a:pt x="2820" y="11658"/>
                  </a:lnTo>
                  <a:lnTo>
                    <a:pt x="2827" y="11675"/>
                  </a:lnTo>
                  <a:lnTo>
                    <a:pt x="2836" y="11691"/>
                  </a:lnTo>
                  <a:lnTo>
                    <a:pt x="2846" y="11708"/>
                  </a:lnTo>
                  <a:lnTo>
                    <a:pt x="2859" y="11724"/>
                  </a:lnTo>
                  <a:lnTo>
                    <a:pt x="2873" y="11740"/>
                  </a:lnTo>
                  <a:lnTo>
                    <a:pt x="2889" y="11756"/>
                  </a:lnTo>
                  <a:lnTo>
                    <a:pt x="2906" y="11772"/>
                  </a:lnTo>
                  <a:lnTo>
                    <a:pt x="2925" y="11788"/>
                  </a:lnTo>
                  <a:lnTo>
                    <a:pt x="2947" y="11803"/>
                  </a:lnTo>
                  <a:lnTo>
                    <a:pt x="2968" y="11818"/>
                  </a:lnTo>
                  <a:lnTo>
                    <a:pt x="2993" y="11832"/>
                  </a:lnTo>
                  <a:lnTo>
                    <a:pt x="3018" y="11847"/>
                  </a:lnTo>
                  <a:lnTo>
                    <a:pt x="3045" y="11862"/>
                  </a:lnTo>
                  <a:lnTo>
                    <a:pt x="3075" y="11876"/>
                  </a:lnTo>
                  <a:lnTo>
                    <a:pt x="3104" y="11890"/>
                  </a:lnTo>
                  <a:lnTo>
                    <a:pt x="3136" y="11904"/>
                  </a:lnTo>
                  <a:lnTo>
                    <a:pt x="3171" y="11918"/>
                  </a:lnTo>
                  <a:lnTo>
                    <a:pt x="3206" y="11932"/>
                  </a:lnTo>
                  <a:lnTo>
                    <a:pt x="3243" y="11944"/>
                  </a:lnTo>
                  <a:lnTo>
                    <a:pt x="3281" y="11957"/>
                  </a:lnTo>
                  <a:lnTo>
                    <a:pt x="3322" y="11970"/>
                  </a:lnTo>
                  <a:lnTo>
                    <a:pt x="3365" y="11983"/>
                  </a:lnTo>
                  <a:lnTo>
                    <a:pt x="3408" y="11996"/>
                  </a:lnTo>
                  <a:lnTo>
                    <a:pt x="3453" y="12007"/>
                  </a:lnTo>
                  <a:lnTo>
                    <a:pt x="3500" y="12020"/>
                  </a:lnTo>
                  <a:lnTo>
                    <a:pt x="3549" y="12032"/>
                  </a:lnTo>
                  <a:lnTo>
                    <a:pt x="3599" y="12042"/>
                  </a:lnTo>
                  <a:lnTo>
                    <a:pt x="3651" y="12054"/>
                  </a:lnTo>
                  <a:lnTo>
                    <a:pt x="3729" y="12070"/>
                  </a:lnTo>
                  <a:lnTo>
                    <a:pt x="3803" y="12087"/>
                  </a:lnTo>
                  <a:lnTo>
                    <a:pt x="3872" y="12105"/>
                  </a:lnTo>
                  <a:lnTo>
                    <a:pt x="3938" y="12125"/>
                  </a:lnTo>
                  <a:lnTo>
                    <a:pt x="3969" y="12134"/>
                  </a:lnTo>
                  <a:lnTo>
                    <a:pt x="4000" y="12145"/>
                  </a:lnTo>
                  <a:lnTo>
                    <a:pt x="4029" y="12155"/>
                  </a:lnTo>
                  <a:lnTo>
                    <a:pt x="4058" y="12166"/>
                  </a:lnTo>
                  <a:lnTo>
                    <a:pt x="4084" y="12177"/>
                  </a:lnTo>
                  <a:lnTo>
                    <a:pt x="4111" y="12187"/>
                  </a:lnTo>
                  <a:lnTo>
                    <a:pt x="4135" y="12199"/>
                  </a:lnTo>
                  <a:lnTo>
                    <a:pt x="4160" y="12211"/>
                  </a:lnTo>
                  <a:lnTo>
                    <a:pt x="4183" y="12223"/>
                  </a:lnTo>
                  <a:lnTo>
                    <a:pt x="4205" y="12235"/>
                  </a:lnTo>
                  <a:lnTo>
                    <a:pt x="4226" y="12247"/>
                  </a:lnTo>
                  <a:lnTo>
                    <a:pt x="4246" y="12260"/>
                  </a:lnTo>
                  <a:lnTo>
                    <a:pt x="4265" y="12273"/>
                  </a:lnTo>
                  <a:lnTo>
                    <a:pt x="4284" y="12287"/>
                  </a:lnTo>
                  <a:lnTo>
                    <a:pt x="4300" y="12299"/>
                  </a:lnTo>
                  <a:lnTo>
                    <a:pt x="4316" y="12313"/>
                  </a:lnTo>
                  <a:lnTo>
                    <a:pt x="4331" y="12327"/>
                  </a:lnTo>
                  <a:lnTo>
                    <a:pt x="4344" y="12341"/>
                  </a:lnTo>
                  <a:lnTo>
                    <a:pt x="4357" y="12356"/>
                  </a:lnTo>
                  <a:lnTo>
                    <a:pt x="4369" y="12371"/>
                  </a:lnTo>
                  <a:lnTo>
                    <a:pt x="4381" y="12386"/>
                  </a:lnTo>
                  <a:lnTo>
                    <a:pt x="4390" y="12401"/>
                  </a:lnTo>
                  <a:lnTo>
                    <a:pt x="4399" y="12417"/>
                  </a:lnTo>
                  <a:lnTo>
                    <a:pt x="4406" y="12432"/>
                  </a:lnTo>
                  <a:lnTo>
                    <a:pt x="4433" y="12477"/>
                  </a:lnTo>
                  <a:lnTo>
                    <a:pt x="4460" y="12527"/>
                  </a:lnTo>
                  <a:lnTo>
                    <a:pt x="4487" y="12583"/>
                  </a:lnTo>
                  <a:lnTo>
                    <a:pt x="4515" y="12643"/>
                  </a:lnTo>
                  <a:lnTo>
                    <a:pt x="4544" y="12709"/>
                  </a:lnTo>
                  <a:lnTo>
                    <a:pt x="4574" y="12779"/>
                  </a:lnTo>
                  <a:lnTo>
                    <a:pt x="4603" y="12855"/>
                  </a:lnTo>
                  <a:lnTo>
                    <a:pt x="4633" y="12936"/>
                  </a:lnTo>
                  <a:lnTo>
                    <a:pt x="4664" y="13022"/>
                  </a:lnTo>
                  <a:lnTo>
                    <a:pt x="4696" y="13113"/>
                  </a:lnTo>
                  <a:lnTo>
                    <a:pt x="4728" y="13209"/>
                  </a:lnTo>
                  <a:lnTo>
                    <a:pt x="4761" y="13310"/>
                  </a:lnTo>
                  <a:lnTo>
                    <a:pt x="4794" y="13415"/>
                  </a:lnTo>
                  <a:lnTo>
                    <a:pt x="4828" y="13527"/>
                  </a:lnTo>
                  <a:lnTo>
                    <a:pt x="4863" y="13644"/>
                  </a:lnTo>
                  <a:lnTo>
                    <a:pt x="4898" y="13764"/>
                  </a:lnTo>
                  <a:lnTo>
                    <a:pt x="4932" y="13886"/>
                  </a:lnTo>
                  <a:lnTo>
                    <a:pt x="4965" y="14005"/>
                  </a:lnTo>
                  <a:lnTo>
                    <a:pt x="4995" y="14120"/>
                  </a:lnTo>
                  <a:lnTo>
                    <a:pt x="5022" y="14232"/>
                  </a:lnTo>
                  <a:lnTo>
                    <a:pt x="5048" y="14342"/>
                  </a:lnTo>
                  <a:lnTo>
                    <a:pt x="5070" y="14447"/>
                  </a:lnTo>
                  <a:lnTo>
                    <a:pt x="5092" y="14551"/>
                  </a:lnTo>
                  <a:lnTo>
                    <a:pt x="5110" y="14651"/>
                  </a:lnTo>
                  <a:lnTo>
                    <a:pt x="5127" y="14747"/>
                  </a:lnTo>
                  <a:lnTo>
                    <a:pt x="5141" y="14841"/>
                  </a:lnTo>
                  <a:lnTo>
                    <a:pt x="5153" y="14931"/>
                  </a:lnTo>
                  <a:lnTo>
                    <a:pt x="5163" y="15019"/>
                  </a:lnTo>
                  <a:lnTo>
                    <a:pt x="5171" y="15103"/>
                  </a:lnTo>
                  <a:lnTo>
                    <a:pt x="5176" y="15184"/>
                  </a:lnTo>
                  <a:lnTo>
                    <a:pt x="5179" y="15262"/>
                  </a:lnTo>
                  <a:lnTo>
                    <a:pt x="5180" y="15336"/>
                  </a:lnTo>
                  <a:lnTo>
                    <a:pt x="5179" y="15398"/>
                  </a:lnTo>
                  <a:lnTo>
                    <a:pt x="5178" y="15458"/>
                  </a:lnTo>
                  <a:lnTo>
                    <a:pt x="5175" y="15515"/>
                  </a:lnTo>
                  <a:lnTo>
                    <a:pt x="5172" y="15571"/>
                  </a:lnTo>
                  <a:lnTo>
                    <a:pt x="5166" y="15623"/>
                  </a:lnTo>
                  <a:lnTo>
                    <a:pt x="5161" y="15674"/>
                  </a:lnTo>
                  <a:lnTo>
                    <a:pt x="5154" y="15722"/>
                  </a:lnTo>
                  <a:lnTo>
                    <a:pt x="5146" y="15767"/>
                  </a:lnTo>
                  <a:lnTo>
                    <a:pt x="5137" y="15811"/>
                  </a:lnTo>
                  <a:lnTo>
                    <a:pt x="5126" y="15851"/>
                  </a:lnTo>
                  <a:lnTo>
                    <a:pt x="5115" y="15891"/>
                  </a:lnTo>
                  <a:lnTo>
                    <a:pt x="5102" y="15927"/>
                  </a:lnTo>
                  <a:lnTo>
                    <a:pt x="5089" y="15961"/>
                  </a:lnTo>
                  <a:lnTo>
                    <a:pt x="5075" y="15992"/>
                  </a:lnTo>
                  <a:lnTo>
                    <a:pt x="5059" y="16022"/>
                  </a:lnTo>
                  <a:lnTo>
                    <a:pt x="5042" y="16048"/>
                  </a:lnTo>
                  <a:lnTo>
                    <a:pt x="5033" y="16061"/>
                  </a:lnTo>
                  <a:lnTo>
                    <a:pt x="5024" y="16074"/>
                  </a:lnTo>
                  <a:lnTo>
                    <a:pt x="5014" y="16087"/>
                  </a:lnTo>
                  <a:lnTo>
                    <a:pt x="5003" y="16100"/>
                  </a:lnTo>
                  <a:lnTo>
                    <a:pt x="4980" y="16124"/>
                  </a:lnTo>
                  <a:lnTo>
                    <a:pt x="4954" y="16148"/>
                  </a:lnTo>
                  <a:lnTo>
                    <a:pt x="4926" y="16171"/>
                  </a:lnTo>
                  <a:lnTo>
                    <a:pt x="4896" y="16193"/>
                  </a:lnTo>
                  <a:lnTo>
                    <a:pt x="4863" y="16216"/>
                  </a:lnTo>
                  <a:lnTo>
                    <a:pt x="4827" y="16237"/>
                  </a:lnTo>
                  <a:lnTo>
                    <a:pt x="4790" y="16258"/>
                  </a:lnTo>
                  <a:lnTo>
                    <a:pt x="4751" y="16279"/>
                  </a:lnTo>
                  <a:lnTo>
                    <a:pt x="4708" y="16299"/>
                  </a:lnTo>
                  <a:lnTo>
                    <a:pt x="4664" y="16318"/>
                  </a:lnTo>
                  <a:lnTo>
                    <a:pt x="4616" y="16337"/>
                  </a:lnTo>
                  <a:lnTo>
                    <a:pt x="4567" y="16355"/>
                  </a:lnTo>
                  <a:lnTo>
                    <a:pt x="4516" y="16373"/>
                  </a:lnTo>
                  <a:lnTo>
                    <a:pt x="4462" y="16390"/>
                  </a:lnTo>
                  <a:lnTo>
                    <a:pt x="4390" y="16419"/>
                  </a:lnTo>
                  <a:lnTo>
                    <a:pt x="4317" y="16450"/>
                  </a:lnTo>
                  <a:lnTo>
                    <a:pt x="4242" y="16479"/>
                  </a:lnTo>
                  <a:lnTo>
                    <a:pt x="4165" y="16509"/>
                  </a:lnTo>
                  <a:lnTo>
                    <a:pt x="4086" y="16538"/>
                  </a:lnTo>
                  <a:lnTo>
                    <a:pt x="4006" y="16567"/>
                  </a:lnTo>
                  <a:lnTo>
                    <a:pt x="3925" y="16594"/>
                  </a:lnTo>
                  <a:lnTo>
                    <a:pt x="3842" y="16622"/>
                  </a:lnTo>
                  <a:lnTo>
                    <a:pt x="3757" y="16650"/>
                  </a:lnTo>
                  <a:lnTo>
                    <a:pt x="3671" y="16676"/>
                  </a:lnTo>
                  <a:lnTo>
                    <a:pt x="3582" y="16703"/>
                  </a:lnTo>
                  <a:lnTo>
                    <a:pt x="3493" y="16730"/>
                  </a:lnTo>
                  <a:lnTo>
                    <a:pt x="3401" y="16756"/>
                  </a:lnTo>
                  <a:lnTo>
                    <a:pt x="3308" y="16782"/>
                  </a:lnTo>
                  <a:lnTo>
                    <a:pt x="3213" y="16806"/>
                  </a:lnTo>
                  <a:lnTo>
                    <a:pt x="3116" y="16832"/>
                  </a:lnTo>
                  <a:lnTo>
                    <a:pt x="3021" y="16855"/>
                  </a:lnTo>
                  <a:lnTo>
                    <a:pt x="2931" y="16878"/>
                  </a:lnTo>
                  <a:lnTo>
                    <a:pt x="2844" y="16899"/>
                  </a:lnTo>
                  <a:lnTo>
                    <a:pt x="2762" y="16918"/>
                  </a:lnTo>
                  <a:lnTo>
                    <a:pt x="2684" y="16935"/>
                  </a:lnTo>
                  <a:lnTo>
                    <a:pt x="2612" y="16952"/>
                  </a:lnTo>
                  <a:lnTo>
                    <a:pt x="2543" y="16966"/>
                  </a:lnTo>
                  <a:lnTo>
                    <a:pt x="2479" y="16979"/>
                  </a:lnTo>
                  <a:lnTo>
                    <a:pt x="2419" y="16991"/>
                  </a:lnTo>
                  <a:lnTo>
                    <a:pt x="2363" y="17000"/>
                  </a:lnTo>
                  <a:lnTo>
                    <a:pt x="2312" y="17009"/>
                  </a:lnTo>
                  <a:lnTo>
                    <a:pt x="2265" y="17016"/>
                  </a:lnTo>
                  <a:lnTo>
                    <a:pt x="2223" y="17022"/>
                  </a:lnTo>
                  <a:lnTo>
                    <a:pt x="2184" y="17025"/>
                  </a:lnTo>
                  <a:lnTo>
                    <a:pt x="2151" y="17027"/>
                  </a:lnTo>
                  <a:lnTo>
                    <a:pt x="2121" y="17028"/>
                  </a:lnTo>
                  <a:lnTo>
                    <a:pt x="2095" y="17027"/>
                  </a:lnTo>
                  <a:lnTo>
                    <a:pt x="2067" y="17025"/>
                  </a:lnTo>
                  <a:lnTo>
                    <a:pt x="2038" y="17021"/>
                  </a:lnTo>
                  <a:lnTo>
                    <a:pt x="2010" y="17015"/>
                  </a:lnTo>
                  <a:lnTo>
                    <a:pt x="1980" y="17008"/>
                  </a:lnTo>
                  <a:lnTo>
                    <a:pt x="1949" y="16999"/>
                  </a:lnTo>
                  <a:lnTo>
                    <a:pt x="1918" y="16989"/>
                  </a:lnTo>
                  <a:lnTo>
                    <a:pt x="1886" y="16977"/>
                  </a:lnTo>
                  <a:lnTo>
                    <a:pt x="1854" y="16963"/>
                  </a:lnTo>
                  <a:lnTo>
                    <a:pt x="1821" y="16948"/>
                  </a:lnTo>
                  <a:lnTo>
                    <a:pt x="1787" y="16931"/>
                  </a:lnTo>
                  <a:lnTo>
                    <a:pt x="1753" y="16913"/>
                  </a:lnTo>
                  <a:lnTo>
                    <a:pt x="1717" y="16893"/>
                  </a:lnTo>
                  <a:lnTo>
                    <a:pt x="1682" y="16871"/>
                  </a:lnTo>
                  <a:lnTo>
                    <a:pt x="1646" y="16848"/>
                  </a:lnTo>
                  <a:lnTo>
                    <a:pt x="1609" y="16823"/>
                  </a:lnTo>
                  <a:lnTo>
                    <a:pt x="1570" y="16797"/>
                  </a:lnTo>
                  <a:lnTo>
                    <a:pt x="1533" y="16769"/>
                  </a:lnTo>
                  <a:lnTo>
                    <a:pt x="1494" y="16739"/>
                  </a:lnTo>
                  <a:lnTo>
                    <a:pt x="1454" y="16708"/>
                  </a:lnTo>
                  <a:lnTo>
                    <a:pt x="1414" y="16675"/>
                  </a:lnTo>
                  <a:lnTo>
                    <a:pt x="1373" y="16641"/>
                  </a:lnTo>
                  <a:lnTo>
                    <a:pt x="1330" y="16605"/>
                  </a:lnTo>
                  <a:lnTo>
                    <a:pt x="1289" y="16567"/>
                  </a:lnTo>
                  <a:lnTo>
                    <a:pt x="1246" y="16528"/>
                  </a:lnTo>
                  <a:lnTo>
                    <a:pt x="1202" y="16487"/>
                  </a:lnTo>
                  <a:lnTo>
                    <a:pt x="1158" y="16445"/>
                  </a:lnTo>
                  <a:lnTo>
                    <a:pt x="1113" y="16400"/>
                  </a:lnTo>
                  <a:lnTo>
                    <a:pt x="1067" y="16355"/>
                  </a:lnTo>
                  <a:lnTo>
                    <a:pt x="1021" y="16308"/>
                  </a:lnTo>
                  <a:lnTo>
                    <a:pt x="974" y="16258"/>
                  </a:lnTo>
                  <a:lnTo>
                    <a:pt x="927" y="16208"/>
                  </a:lnTo>
                </a:path>
              </a:pathLst>
            </a:custGeom>
            <a:solidFill>
              <a:srgbClr val="505050"/>
            </a:solidFill>
            <a:ln w="3175">
              <a:no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68" name="Group 1567">
            <a:extLst>
              <a:ext uri="{FF2B5EF4-FFF2-40B4-BE49-F238E27FC236}">
                <a16:creationId xmlns:a16="http://schemas.microsoft.com/office/drawing/2014/main" id="{C3DF2688-57C5-44DF-BF8A-76533369C9DF}"/>
              </a:ext>
            </a:extLst>
          </p:cNvPr>
          <p:cNvGrpSpPr/>
          <p:nvPr/>
        </p:nvGrpSpPr>
        <p:grpSpPr>
          <a:xfrm>
            <a:off x="4659992" y="3943380"/>
            <a:ext cx="612775" cy="612775"/>
            <a:chOff x="3505363" y="4581723"/>
            <a:chExt cx="612775" cy="612775"/>
          </a:xfrm>
        </p:grpSpPr>
        <p:sp>
          <p:nvSpPr>
            <p:cNvPr id="1569" name="Oval 1568">
              <a:extLst>
                <a:ext uri="{FF2B5EF4-FFF2-40B4-BE49-F238E27FC236}">
                  <a16:creationId xmlns:a16="http://schemas.microsoft.com/office/drawing/2014/main" id="{73A4853C-3945-4200-8803-97E86656CB16}"/>
                </a:ext>
              </a:extLst>
            </p:cNvPr>
            <p:cNvSpPr/>
            <p:nvPr/>
          </p:nvSpPr>
          <p:spPr bwMode="ltGray">
            <a:xfrm>
              <a:off x="3505363"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70" name="Freeform 294">
              <a:extLst>
                <a:ext uri="{FF2B5EF4-FFF2-40B4-BE49-F238E27FC236}">
                  <a16:creationId xmlns:a16="http://schemas.microsoft.com/office/drawing/2014/main" id="{CF5E4363-A696-4A4B-B3F2-E72A8549E65E}"/>
                </a:ext>
              </a:extLst>
            </p:cNvPr>
            <p:cNvSpPr>
              <a:spLocks noEditPoints="1"/>
            </p:cNvSpPr>
            <p:nvPr/>
          </p:nvSpPr>
          <p:spPr bwMode="auto">
            <a:xfrm>
              <a:off x="3655791" y="4688430"/>
              <a:ext cx="311918" cy="419889"/>
            </a:xfrm>
            <a:custGeom>
              <a:avLst/>
              <a:gdLst>
                <a:gd name="T0" fmla="*/ 198266225 w 580"/>
                <a:gd name="T1" fmla="*/ 613374536 h 782"/>
                <a:gd name="T2" fmla="*/ 198266225 w 580"/>
                <a:gd name="T3" fmla="*/ 590657523 h 782"/>
                <a:gd name="T4" fmla="*/ 202824264 w 580"/>
                <a:gd name="T5" fmla="*/ 538406662 h 782"/>
                <a:gd name="T6" fmla="*/ 211940342 w 580"/>
                <a:gd name="T7" fmla="*/ 497514973 h 782"/>
                <a:gd name="T8" fmla="*/ 218777400 w 580"/>
                <a:gd name="T9" fmla="*/ 479341362 h 782"/>
                <a:gd name="T10" fmla="*/ 239287509 w 580"/>
                <a:gd name="T11" fmla="*/ 445264244 h 782"/>
                <a:gd name="T12" fmla="*/ 250681539 w 580"/>
                <a:gd name="T13" fmla="*/ 431634037 h 782"/>
                <a:gd name="T14" fmla="*/ 293981909 w 580"/>
                <a:gd name="T15" fmla="*/ 390742348 h 782"/>
                <a:gd name="T16" fmla="*/ 369186350 w 580"/>
                <a:gd name="T17" fmla="*/ 327133646 h 782"/>
                <a:gd name="T18" fmla="*/ 405649595 w 580"/>
                <a:gd name="T19" fmla="*/ 288513125 h 782"/>
                <a:gd name="T20" fmla="*/ 417043625 w 580"/>
                <a:gd name="T21" fmla="*/ 263523811 h 782"/>
                <a:gd name="T22" fmla="*/ 417043625 w 580"/>
                <a:gd name="T23" fmla="*/ 254437006 h 782"/>
                <a:gd name="T24" fmla="*/ 412485586 w 580"/>
                <a:gd name="T25" fmla="*/ 224904356 h 782"/>
                <a:gd name="T26" fmla="*/ 398812537 w 580"/>
                <a:gd name="T27" fmla="*/ 204458512 h 782"/>
                <a:gd name="T28" fmla="*/ 387417439 w 580"/>
                <a:gd name="T29" fmla="*/ 195371707 h 782"/>
                <a:gd name="T30" fmla="*/ 357791253 w 580"/>
                <a:gd name="T31" fmla="*/ 186283836 h 782"/>
                <a:gd name="T32" fmla="*/ 339560164 w 580"/>
                <a:gd name="T33" fmla="*/ 186283836 h 782"/>
                <a:gd name="T34" fmla="*/ 300818967 w 580"/>
                <a:gd name="T35" fmla="*/ 193099472 h 782"/>
                <a:gd name="T36" fmla="*/ 268913695 w 580"/>
                <a:gd name="T37" fmla="*/ 213545317 h 782"/>
                <a:gd name="T38" fmla="*/ 255239578 w 580"/>
                <a:gd name="T39" fmla="*/ 229447759 h 782"/>
                <a:gd name="T40" fmla="*/ 237008489 w 580"/>
                <a:gd name="T41" fmla="*/ 279426320 h 782"/>
                <a:gd name="T42" fmla="*/ 0 w 580"/>
                <a:gd name="T43" fmla="*/ 281697488 h 782"/>
                <a:gd name="T44" fmla="*/ 4558041 w 580"/>
                <a:gd name="T45" fmla="*/ 252164772 h 782"/>
                <a:gd name="T46" fmla="*/ 18231097 w 580"/>
                <a:gd name="T47" fmla="*/ 193099472 h 782"/>
                <a:gd name="T48" fmla="*/ 43299253 w 580"/>
                <a:gd name="T49" fmla="*/ 143120978 h 782"/>
                <a:gd name="T50" fmla="*/ 72925455 w 580"/>
                <a:gd name="T51" fmla="*/ 97685853 h 782"/>
                <a:gd name="T52" fmla="*/ 93435564 w 580"/>
                <a:gd name="T53" fmla="*/ 77240009 h 782"/>
                <a:gd name="T54" fmla="*/ 139014886 w 580"/>
                <a:gd name="T55" fmla="*/ 43162874 h 782"/>
                <a:gd name="T56" fmla="*/ 195988273 w 580"/>
                <a:gd name="T57" fmla="*/ 20445853 h 782"/>
                <a:gd name="T58" fmla="*/ 264355656 w 580"/>
                <a:gd name="T59" fmla="*/ 4543405 h 782"/>
                <a:gd name="T60" fmla="*/ 341839184 w 580"/>
                <a:gd name="T61" fmla="*/ 0 h 782"/>
                <a:gd name="T62" fmla="*/ 373744389 w 580"/>
                <a:gd name="T63" fmla="*/ 0 h 782"/>
                <a:gd name="T64" fmla="*/ 432996762 w 580"/>
                <a:gd name="T65" fmla="*/ 6815639 h 782"/>
                <a:gd name="T66" fmla="*/ 485412076 w 580"/>
                <a:gd name="T67" fmla="*/ 20445853 h 782"/>
                <a:gd name="T68" fmla="*/ 530990331 w 580"/>
                <a:gd name="T69" fmla="*/ 40891706 h 782"/>
                <a:gd name="T70" fmla="*/ 551500439 w 580"/>
                <a:gd name="T71" fmla="*/ 54521913 h 782"/>
                <a:gd name="T72" fmla="*/ 599357848 w 580"/>
                <a:gd name="T73" fmla="*/ 93142451 h 782"/>
                <a:gd name="T74" fmla="*/ 633542073 w 580"/>
                <a:gd name="T75" fmla="*/ 138577542 h 782"/>
                <a:gd name="T76" fmla="*/ 654052181 w 580"/>
                <a:gd name="T77" fmla="*/ 190827238 h 782"/>
                <a:gd name="T78" fmla="*/ 660889240 w 580"/>
                <a:gd name="T79" fmla="*/ 249893603 h 782"/>
                <a:gd name="T80" fmla="*/ 658610220 w 580"/>
                <a:gd name="T81" fmla="*/ 274882851 h 782"/>
                <a:gd name="T82" fmla="*/ 644937171 w 580"/>
                <a:gd name="T83" fmla="*/ 322589177 h 782"/>
                <a:gd name="T84" fmla="*/ 633542073 w 580"/>
                <a:gd name="T85" fmla="*/ 345307256 h 782"/>
                <a:gd name="T86" fmla="*/ 590242837 w 580"/>
                <a:gd name="T87" fmla="*/ 397557984 h 782"/>
                <a:gd name="T88" fmla="*/ 519595234 w 580"/>
                <a:gd name="T89" fmla="*/ 461166686 h 782"/>
                <a:gd name="T90" fmla="*/ 492248067 w 580"/>
                <a:gd name="T91" fmla="*/ 483884765 h 782"/>
                <a:gd name="T92" fmla="*/ 453506870 w 580"/>
                <a:gd name="T93" fmla="*/ 522504220 h 782"/>
                <a:gd name="T94" fmla="*/ 442111773 w 580"/>
                <a:gd name="T95" fmla="*/ 538406662 h 782"/>
                <a:gd name="T96" fmla="*/ 430717742 w 580"/>
                <a:gd name="T97" fmla="*/ 570211679 h 782"/>
                <a:gd name="T98" fmla="*/ 426159703 w 580"/>
                <a:gd name="T99" fmla="*/ 613374536 h 782"/>
                <a:gd name="T100" fmla="*/ 191430234 w 580"/>
                <a:gd name="T101" fmla="*/ 672440901 h 782"/>
                <a:gd name="T102" fmla="*/ 435274714 w 580"/>
                <a:gd name="T103" fmla="*/ 888257320 h 782"/>
                <a:gd name="T104" fmla="*/ 191430234 w 580"/>
                <a:gd name="T105" fmla="*/ 672440901 h 78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0"/>
                <a:gd name="T160" fmla="*/ 0 h 782"/>
                <a:gd name="T161" fmla="*/ 580 w 580"/>
                <a:gd name="T162" fmla="*/ 782 h 78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0" h="782">
                  <a:moveTo>
                    <a:pt x="374" y="540"/>
                  </a:moveTo>
                  <a:lnTo>
                    <a:pt x="174" y="540"/>
                  </a:lnTo>
                  <a:lnTo>
                    <a:pt x="174" y="520"/>
                  </a:lnTo>
                  <a:lnTo>
                    <a:pt x="176" y="496"/>
                  </a:lnTo>
                  <a:lnTo>
                    <a:pt x="178" y="474"/>
                  </a:lnTo>
                  <a:lnTo>
                    <a:pt x="182" y="454"/>
                  </a:lnTo>
                  <a:lnTo>
                    <a:pt x="186" y="438"/>
                  </a:lnTo>
                  <a:lnTo>
                    <a:pt x="192" y="422"/>
                  </a:lnTo>
                  <a:lnTo>
                    <a:pt x="200" y="406"/>
                  </a:lnTo>
                  <a:lnTo>
                    <a:pt x="210" y="392"/>
                  </a:lnTo>
                  <a:lnTo>
                    <a:pt x="220" y="380"/>
                  </a:lnTo>
                  <a:lnTo>
                    <a:pt x="236" y="364"/>
                  </a:lnTo>
                  <a:lnTo>
                    <a:pt x="258" y="344"/>
                  </a:lnTo>
                  <a:lnTo>
                    <a:pt x="324" y="288"/>
                  </a:lnTo>
                  <a:lnTo>
                    <a:pt x="342" y="270"/>
                  </a:lnTo>
                  <a:lnTo>
                    <a:pt x="356" y="254"/>
                  </a:lnTo>
                  <a:lnTo>
                    <a:pt x="364" y="238"/>
                  </a:lnTo>
                  <a:lnTo>
                    <a:pt x="366" y="232"/>
                  </a:lnTo>
                  <a:lnTo>
                    <a:pt x="366" y="224"/>
                  </a:lnTo>
                  <a:lnTo>
                    <a:pt x="366" y="210"/>
                  </a:lnTo>
                  <a:lnTo>
                    <a:pt x="362" y="198"/>
                  </a:lnTo>
                  <a:lnTo>
                    <a:pt x="356" y="188"/>
                  </a:lnTo>
                  <a:lnTo>
                    <a:pt x="350" y="180"/>
                  </a:lnTo>
                  <a:lnTo>
                    <a:pt x="340" y="172"/>
                  </a:lnTo>
                  <a:lnTo>
                    <a:pt x="328" y="168"/>
                  </a:lnTo>
                  <a:lnTo>
                    <a:pt x="314" y="164"/>
                  </a:lnTo>
                  <a:lnTo>
                    <a:pt x="298" y="164"/>
                  </a:lnTo>
                  <a:lnTo>
                    <a:pt x="280" y="166"/>
                  </a:lnTo>
                  <a:lnTo>
                    <a:pt x="264" y="170"/>
                  </a:lnTo>
                  <a:lnTo>
                    <a:pt x="248" y="178"/>
                  </a:lnTo>
                  <a:lnTo>
                    <a:pt x="236" y="188"/>
                  </a:lnTo>
                  <a:lnTo>
                    <a:pt x="224" y="202"/>
                  </a:lnTo>
                  <a:lnTo>
                    <a:pt x="216" y="222"/>
                  </a:lnTo>
                  <a:lnTo>
                    <a:pt x="208" y="246"/>
                  </a:lnTo>
                  <a:lnTo>
                    <a:pt x="204" y="274"/>
                  </a:lnTo>
                  <a:lnTo>
                    <a:pt x="0" y="248"/>
                  </a:lnTo>
                  <a:lnTo>
                    <a:pt x="4" y="222"/>
                  </a:lnTo>
                  <a:lnTo>
                    <a:pt x="10" y="196"/>
                  </a:lnTo>
                  <a:lnTo>
                    <a:pt x="16" y="170"/>
                  </a:lnTo>
                  <a:lnTo>
                    <a:pt x="26" y="148"/>
                  </a:lnTo>
                  <a:lnTo>
                    <a:pt x="38" y="126"/>
                  </a:lnTo>
                  <a:lnTo>
                    <a:pt x="50" y="106"/>
                  </a:lnTo>
                  <a:lnTo>
                    <a:pt x="64" y="86"/>
                  </a:lnTo>
                  <a:lnTo>
                    <a:pt x="82" y="68"/>
                  </a:lnTo>
                  <a:lnTo>
                    <a:pt x="100" y="52"/>
                  </a:lnTo>
                  <a:lnTo>
                    <a:pt x="122" y="38"/>
                  </a:lnTo>
                  <a:lnTo>
                    <a:pt x="146" y="26"/>
                  </a:lnTo>
                  <a:lnTo>
                    <a:pt x="172" y="18"/>
                  </a:lnTo>
                  <a:lnTo>
                    <a:pt x="200" y="10"/>
                  </a:lnTo>
                  <a:lnTo>
                    <a:pt x="232" y="4"/>
                  </a:lnTo>
                  <a:lnTo>
                    <a:pt x="264" y="2"/>
                  </a:lnTo>
                  <a:lnTo>
                    <a:pt x="300" y="0"/>
                  </a:lnTo>
                  <a:lnTo>
                    <a:pt x="328" y="0"/>
                  </a:lnTo>
                  <a:lnTo>
                    <a:pt x="354" y="2"/>
                  </a:lnTo>
                  <a:lnTo>
                    <a:pt x="380" y="6"/>
                  </a:lnTo>
                  <a:lnTo>
                    <a:pt x="404" y="12"/>
                  </a:lnTo>
                  <a:lnTo>
                    <a:pt x="426" y="18"/>
                  </a:lnTo>
                  <a:lnTo>
                    <a:pt x="446" y="26"/>
                  </a:lnTo>
                  <a:lnTo>
                    <a:pt x="466" y="36"/>
                  </a:lnTo>
                  <a:lnTo>
                    <a:pt x="484" y="48"/>
                  </a:lnTo>
                  <a:lnTo>
                    <a:pt x="508" y="64"/>
                  </a:lnTo>
                  <a:lnTo>
                    <a:pt x="526" y="82"/>
                  </a:lnTo>
                  <a:lnTo>
                    <a:pt x="542" y="102"/>
                  </a:lnTo>
                  <a:lnTo>
                    <a:pt x="556" y="122"/>
                  </a:lnTo>
                  <a:lnTo>
                    <a:pt x="566" y="144"/>
                  </a:lnTo>
                  <a:lnTo>
                    <a:pt x="574" y="168"/>
                  </a:lnTo>
                  <a:lnTo>
                    <a:pt x="578" y="194"/>
                  </a:lnTo>
                  <a:lnTo>
                    <a:pt x="580" y="220"/>
                  </a:lnTo>
                  <a:lnTo>
                    <a:pt x="578" y="242"/>
                  </a:lnTo>
                  <a:lnTo>
                    <a:pt x="574" y="262"/>
                  </a:lnTo>
                  <a:lnTo>
                    <a:pt x="566" y="284"/>
                  </a:lnTo>
                  <a:lnTo>
                    <a:pt x="556" y="304"/>
                  </a:lnTo>
                  <a:lnTo>
                    <a:pt x="540" y="326"/>
                  </a:lnTo>
                  <a:lnTo>
                    <a:pt x="518" y="350"/>
                  </a:lnTo>
                  <a:lnTo>
                    <a:pt x="490" y="378"/>
                  </a:lnTo>
                  <a:lnTo>
                    <a:pt x="456" y="406"/>
                  </a:lnTo>
                  <a:lnTo>
                    <a:pt x="432" y="426"/>
                  </a:lnTo>
                  <a:lnTo>
                    <a:pt x="412" y="444"/>
                  </a:lnTo>
                  <a:lnTo>
                    <a:pt x="398" y="460"/>
                  </a:lnTo>
                  <a:lnTo>
                    <a:pt x="388" y="474"/>
                  </a:lnTo>
                  <a:lnTo>
                    <a:pt x="382" y="486"/>
                  </a:lnTo>
                  <a:lnTo>
                    <a:pt x="378" y="502"/>
                  </a:lnTo>
                  <a:lnTo>
                    <a:pt x="376" y="520"/>
                  </a:lnTo>
                  <a:lnTo>
                    <a:pt x="374" y="540"/>
                  </a:lnTo>
                  <a:close/>
                  <a:moveTo>
                    <a:pt x="168" y="592"/>
                  </a:moveTo>
                  <a:lnTo>
                    <a:pt x="382" y="592"/>
                  </a:lnTo>
                  <a:lnTo>
                    <a:pt x="382" y="782"/>
                  </a:lnTo>
                  <a:lnTo>
                    <a:pt x="168" y="782"/>
                  </a:lnTo>
                  <a:lnTo>
                    <a:pt x="168" y="592"/>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71" name="Group 1570">
            <a:extLst>
              <a:ext uri="{FF2B5EF4-FFF2-40B4-BE49-F238E27FC236}">
                <a16:creationId xmlns:a16="http://schemas.microsoft.com/office/drawing/2014/main" id="{B1A33AFF-713C-4A78-AFE2-F32898B4206C}"/>
              </a:ext>
            </a:extLst>
          </p:cNvPr>
          <p:cNvGrpSpPr/>
          <p:nvPr/>
        </p:nvGrpSpPr>
        <p:grpSpPr>
          <a:xfrm>
            <a:off x="3203714" y="3944155"/>
            <a:ext cx="612000" cy="612000"/>
            <a:chOff x="2049085" y="4582498"/>
            <a:chExt cx="612000" cy="612000"/>
          </a:xfrm>
        </p:grpSpPr>
        <p:sp>
          <p:nvSpPr>
            <p:cNvPr id="1572" name="Oval 1571">
              <a:extLst>
                <a:ext uri="{FF2B5EF4-FFF2-40B4-BE49-F238E27FC236}">
                  <a16:creationId xmlns:a16="http://schemas.microsoft.com/office/drawing/2014/main" id="{D368C069-EC68-438D-AD04-AB79E71C1E27}"/>
                </a:ext>
              </a:extLst>
            </p:cNvPr>
            <p:cNvSpPr/>
            <p:nvPr/>
          </p:nvSpPr>
          <p:spPr bwMode="ltGray">
            <a:xfrm>
              <a:off x="2049085" y="4582498"/>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573" name="Group 243">
              <a:extLst>
                <a:ext uri="{FF2B5EF4-FFF2-40B4-BE49-F238E27FC236}">
                  <a16:creationId xmlns:a16="http://schemas.microsoft.com/office/drawing/2014/main" id="{1BAFA768-1126-45A4-9560-884EE1FEDC3F}"/>
                </a:ext>
              </a:extLst>
            </p:cNvPr>
            <p:cNvGrpSpPr>
              <a:grpSpLocks/>
            </p:cNvGrpSpPr>
            <p:nvPr/>
          </p:nvGrpSpPr>
          <p:grpSpPr bwMode="auto">
            <a:xfrm>
              <a:off x="2134809" y="4684182"/>
              <a:ext cx="459908" cy="428386"/>
              <a:chOff x="3942" y="1627"/>
              <a:chExt cx="503" cy="469"/>
            </a:xfrm>
          </p:grpSpPr>
          <p:sp>
            <p:nvSpPr>
              <p:cNvPr id="1574" name="AutoShape 244">
                <a:extLst>
                  <a:ext uri="{FF2B5EF4-FFF2-40B4-BE49-F238E27FC236}">
                    <a16:creationId xmlns:a16="http://schemas.microsoft.com/office/drawing/2014/main" id="{C7BCC49E-9BC5-40F6-A3C0-6CFED84486D7}"/>
                  </a:ext>
                </a:extLst>
              </p:cNvPr>
              <p:cNvSpPr>
                <a:spLocks noChangeArrowheads="1"/>
              </p:cNvSpPr>
              <p:nvPr/>
            </p:nvSpPr>
            <p:spPr bwMode="auto">
              <a:xfrm rot="16200000">
                <a:off x="3976" y="1627"/>
                <a:ext cx="469" cy="469"/>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2159 h 21600"/>
                </a:gdLst>
                <a:ahLst/>
                <a:cxnLst>
                  <a:cxn ang="T8">
                    <a:pos x="T0" y="T1"/>
                  </a:cxn>
                  <a:cxn ang="T9">
                    <a:pos x="T2" y="T3"/>
                  </a:cxn>
                  <a:cxn ang="T10">
                    <a:pos x="T4" y="T5"/>
                  </a:cxn>
                  <a:cxn ang="T11">
                    <a:pos x="T6" y="T7"/>
                  </a:cxn>
                </a:cxnLst>
                <a:rect l="T12" t="T13" r="T14" b="T15"/>
                <a:pathLst>
                  <a:path w="21600" h="21600">
                    <a:moveTo>
                      <a:pt x="3500" y="13723"/>
                    </a:moveTo>
                    <a:cubicBezTo>
                      <a:pt x="3128" y="12793"/>
                      <a:pt x="2937" y="11801"/>
                      <a:pt x="2937" y="10800"/>
                    </a:cubicBezTo>
                    <a:cubicBezTo>
                      <a:pt x="2937" y="6457"/>
                      <a:pt x="6457" y="2937"/>
                      <a:pt x="10800" y="2937"/>
                    </a:cubicBezTo>
                    <a:cubicBezTo>
                      <a:pt x="15142" y="2937"/>
                      <a:pt x="18663" y="6457"/>
                      <a:pt x="18663" y="10800"/>
                    </a:cubicBezTo>
                    <a:cubicBezTo>
                      <a:pt x="18663" y="11801"/>
                      <a:pt x="18471" y="12793"/>
                      <a:pt x="18099" y="13723"/>
                    </a:cubicBezTo>
                    <a:lnTo>
                      <a:pt x="20825" y="14815"/>
                    </a:lnTo>
                    <a:cubicBezTo>
                      <a:pt x="21337" y="13538"/>
                      <a:pt x="21600" y="12175"/>
                      <a:pt x="21600" y="10800"/>
                    </a:cubicBezTo>
                    <a:cubicBezTo>
                      <a:pt x="21600" y="4835"/>
                      <a:pt x="16764" y="0"/>
                      <a:pt x="10800" y="0"/>
                    </a:cubicBezTo>
                    <a:cubicBezTo>
                      <a:pt x="4835" y="0"/>
                      <a:pt x="0" y="4835"/>
                      <a:pt x="0" y="10800"/>
                    </a:cubicBezTo>
                    <a:cubicBezTo>
                      <a:pt x="-1" y="12175"/>
                      <a:pt x="262" y="13538"/>
                      <a:pt x="774" y="14815"/>
                    </a:cubicBezTo>
                    <a:close/>
                  </a:path>
                </a:pathLst>
              </a:cu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75" name="Rectangle 245">
                <a:extLst>
                  <a:ext uri="{FF2B5EF4-FFF2-40B4-BE49-F238E27FC236}">
                    <a16:creationId xmlns:a16="http://schemas.microsoft.com/office/drawing/2014/main" id="{6BC06B83-B7D3-4DE6-8C81-1167243030BC}"/>
                  </a:ext>
                </a:extLst>
              </p:cNvPr>
              <p:cNvSpPr>
                <a:spLocks noChangeArrowheads="1"/>
              </p:cNvSpPr>
              <p:nvPr/>
            </p:nvSpPr>
            <p:spPr bwMode="auto">
              <a:xfrm>
                <a:off x="3942" y="1889"/>
                <a:ext cx="292" cy="45"/>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576" name="Rectangle 246">
                <a:extLst>
                  <a:ext uri="{FF2B5EF4-FFF2-40B4-BE49-F238E27FC236}">
                    <a16:creationId xmlns:a16="http://schemas.microsoft.com/office/drawing/2014/main" id="{149D104D-E9A2-4939-A1C9-81D7DAA9DCE2}"/>
                  </a:ext>
                </a:extLst>
              </p:cNvPr>
              <p:cNvSpPr>
                <a:spLocks noChangeArrowheads="1"/>
              </p:cNvSpPr>
              <p:nvPr/>
            </p:nvSpPr>
            <p:spPr bwMode="auto">
              <a:xfrm>
                <a:off x="3943" y="1806"/>
                <a:ext cx="292" cy="45"/>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grpSp>
      <p:grpSp>
        <p:nvGrpSpPr>
          <p:cNvPr id="1577" name="Group 1576">
            <a:extLst>
              <a:ext uri="{FF2B5EF4-FFF2-40B4-BE49-F238E27FC236}">
                <a16:creationId xmlns:a16="http://schemas.microsoft.com/office/drawing/2014/main" id="{AE572631-D3C0-4933-AD69-A8BCE93362B0}"/>
              </a:ext>
            </a:extLst>
          </p:cNvPr>
          <p:cNvGrpSpPr/>
          <p:nvPr/>
        </p:nvGrpSpPr>
        <p:grpSpPr>
          <a:xfrm>
            <a:off x="2475575" y="3944155"/>
            <a:ext cx="612000" cy="612000"/>
            <a:chOff x="1320946" y="4582498"/>
            <a:chExt cx="612000" cy="612000"/>
          </a:xfrm>
        </p:grpSpPr>
        <p:sp>
          <p:nvSpPr>
            <p:cNvPr id="1578" name="Oval 1577">
              <a:extLst>
                <a:ext uri="{FF2B5EF4-FFF2-40B4-BE49-F238E27FC236}">
                  <a16:creationId xmlns:a16="http://schemas.microsoft.com/office/drawing/2014/main" id="{55A6924E-F4A3-458F-B2AF-F8CB448D9891}"/>
                </a:ext>
              </a:extLst>
            </p:cNvPr>
            <p:cNvSpPr/>
            <p:nvPr/>
          </p:nvSpPr>
          <p:spPr bwMode="ltGray">
            <a:xfrm>
              <a:off x="1320946" y="4582498"/>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79" name="Freeform 195">
              <a:extLst>
                <a:ext uri="{FF2B5EF4-FFF2-40B4-BE49-F238E27FC236}">
                  <a16:creationId xmlns:a16="http://schemas.microsoft.com/office/drawing/2014/main" id="{1D3E2D32-4E5E-4200-88AB-F06CB0EBDABF}"/>
                </a:ext>
              </a:extLst>
            </p:cNvPr>
            <p:cNvSpPr>
              <a:spLocks noEditPoints="1"/>
            </p:cNvSpPr>
            <p:nvPr/>
          </p:nvSpPr>
          <p:spPr bwMode="auto">
            <a:xfrm>
              <a:off x="1465116" y="4668143"/>
              <a:ext cx="319864" cy="460464"/>
            </a:xfrm>
            <a:custGeom>
              <a:avLst/>
              <a:gdLst>
                <a:gd name="T0" fmla="*/ 350010811 w 636"/>
                <a:gd name="T1" fmla="*/ 216073037 h 916"/>
                <a:gd name="T2" fmla="*/ 328548598 w 636"/>
                <a:gd name="T3" fmla="*/ 174837444 h 916"/>
                <a:gd name="T4" fmla="*/ 295528481 w 636"/>
                <a:gd name="T5" fmla="*/ 151746348 h 916"/>
                <a:gd name="T6" fmla="*/ 354964328 w 636"/>
                <a:gd name="T7" fmla="*/ 291945785 h 916"/>
                <a:gd name="T8" fmla="*/ 424306302 w 636"/>
                <a:gd name="T9" fmla="*/ 318336128 h 916"/>
                <a:gd name="T10" fmla="*/ 468882506 w 636"/>
                <a:gd name="T11" fmla="*/ 346376549 h 916"/>
                <a:gd name="T12" fmla="*/ 493647480 w 636"/>
                <a:gd name="T13" fmla="*/ 374416062 h 916"/>
                <a:gd name="T14" fmla="*/ 516761471 w 636"/>
                <a:gd name="T15" fmla="*/ 420600071 h 916"/>
                <a:gd name="T16" fmla="*/ 525016728 w 636"/>
                <a:gd name="T17" fmla="*/ 476680118 h 916"/>
                <a:gd name="T18" fmla="*/ 520064119 w 636"/>
                <a:gd name="T19" fmla="*/ 519564880 h 916"/>
                <a:gd name="T20" fmla="*/ 505204476 w 636"/>
                <a:gd name="T21" fmla="*/ 560800473 h 916"/>
                <a:gd name="T22" fmla="*/ 467231636 w 636"/>
                <a:gd name="T23" fmla="*/ 611931991 h 916"/>
                <a:gd name="T24" fmla="*/ 435863297 w 636"/>
                <a:gd name="T25" fmla="*/ 636673164 h 916"/>
                <a:gd name="T26" fmla="*/ 384681798 w 636"/>
                <a:gd name="T27" fmla="*/ 663063508 h 916"/>
                <a:gd name="T28" fmla="*/ 343407333 w 636"/>
                <a:gd name="T29" fmla="*/ 671310263 h 916"/>
                <a:gd name="T30" fmla="*/ 295528481 w 636"/>
                <a:gd name="T31" fmla="*/ 755430618 h 916"/>
                <a:gd name="T32" fmla="*/ 234441707 w 636"/>
                <a:gd name="T33" fmla="*/ 676258680 h 916"/>
                <a:gd name="T34" fmla="*/ 155193608 w 636"/>
                <a:gd name="T35" fmla="*/ 663063508 h 916"/>
                <a:gd name="T36" fmla="*/ 115569984 w 636"/>
                <a:gd name="T37" fmla="*/ 648219167 h 916"/>
                <a:gd name="T38" fmla="*/ 67691132 w 636"/>
                <a:gd name="T39" fmla="*/ 615230329 h 916"/>
                <a:gd name="T40" fmla="*/ 41274479 w 636"/>
                <a:gd name="T41" fmla="*/ 588839986 h 916"/>
                <a:gd name="T42" fmla="*/ 23113998 w 636"/>
                <a:gd name="T43" fmla="*/ 560800473 h 916"/>
                <a:gd name="T44" fmla="*/ 4952610 w 636"/>
                <a:gd name="T45" fmla="*/ 508018878 h 916"/>
                <a:gd name="T46" fmla="*/ 171703212 w 636"/>
                <a:gd name="T47" fmla="*/ 468433250 h 916"/>
                <a:gd name="T48" fmla="*/ 186562855 w 636"/>
                <a:gd name="T49" fmla="*/ 517915711 h 916"/>
                <a:gd name="T50" fmla="*/ 199770721 w 636"/>
                <a:gd name="T51" fmla="*/ 537708469 h 916"/>
                <a:gd name="T52" fmla="*/ 234441707 w 636"/>
                <a:gd name="T53" fmla="*/ 560800473 h 916"/>
                <a:gd name="T54" fmla="*/ 194817203 w 636"/>
                <a:gd name="T55" fmla="*/ 400807314 h 916"/>
                <a:gd name="T56" fmla="*/ 113919114 w 636"/>
                <a:gd name="T57" fmla="*/ 371117723 h 916"/>
                <a:gd name="T58" fmla="*/ 80898997 w 636"/>
                <a:gd name="T59" fmla="*/ 348025719 h 916"/>
                <a:gd name="T60" fmla="*/ 51180605 w 636"/>
                <a:gd name="T61" fmla="*/ 315037789 h 916"/>
                <a:gd name="T62" fmla="*/ 26415737 w 636"/>
                <a:gd name="T63" fmla="*/ 249061023 h 916"/>
                <a:gd name="T64" fmla="*/ 26415737 w 636"/>
                <a:gd name="T65" fmla="*/ 204527034 h 916"/>
                <a:gd name="T66" fmla="*/ 37972740 w 636"/>
                <a:gd name="T67" fmla="*/ 153395517 h 916"/>
                <a:gd name="T68" fmla="*/ 66040263 w 636"/>
                <a:gd name="T69" fmla="*/ 110510727 h 916"/>
                <a:gd name="T70" fmla="*/ 92455993 w 636"/>
                <a:gd name="T71" fmla="*/ 85769553 h 916"/>
                <a:gd name="T72" fmla="*/ 143636612 w 636"/>
                <a:gd name="T73" fmla="*/ 57729117 h 916"/>
                <a:gd name="T74" fmla="*/ 209676847 w 636"/>
                <a:gd name="T75" fmla="*/ 42884776 h 916"/>
                <a:gd name="T76" fmla="*/ 295528481 w 636"/>
                <a:gd name="T77" fmla="*/ 0 h 916"/>
                <a:gd name="T78" fmla="*/ 318642472 w 636"/>
                <a:gd name="T79" fmla="*/ 42884776 h 916"/>
                <a:gd name="T80" fmla="*/ 379729189 w 636"/>
                <a:gd name="T81" fmla="*/ 54430779 h 916"/>
                <a:gd name="T82" fmla="*/ 427608041 w 636"/>
                <a:gd name="T83" fmla="*/ 75872720 h 916"/>
                <a:gd name="T84" fmla="*/ 454023771 w 636"/>
                <a:gd name="T85" fmla="*/ 95665477 h 916"/>
                <a:gd name="T86" fmla="*/ 483742263 w 636"/>
                <a:gd name="T87" fmla="*/ 131952682 h 916"/>
                <a:gd name="T88" fmla="*/ 503553606 w 636"/>
                <a:gd name="T89" fmla="*/ 174837444 h 916"/>
                <a:gd name="T90" fmla="*/ 234441707 w 636"/>
                <a:gd name="T91" fmla="*/ 150096270 h 916"/>
                <a:gd name="T92" fmla="*/ 212978586 w 636"/>
                <a:gd name="T93" fmla="*/ 159993103 h 916"/>
                <a:gd name="T94" fmla="*/ 198119851 w 636"/>
                <a:gd name="T95" fmla="*/ 171539105 h 916"/>
                <a:gd name="T96" fmla="*/ 188213725 w 636"/>
                <a:gd name="T97" fmla="*/ 194630202 h 916"/>
                <a:gd name="T98" fmla="*/ 188213725 w 636"/>
                <a:gd name="T99" fmla="*/ 211124620 h 916"/>
                <a:gd name="T100" fmla="*/ 198119851 w 636"/>
                <a:gd name="T101" fmla="*/ 234216625 h 916"/>
                <a:gd name="T102" fmla="*/ 212978586 w 636"/>
                <a:gd name="T103" fmla="*/ 247411853 h 916"/>
                <a:gd name="T104" fmla="*/ 234441707 w 636"/>
                <a:gd name="T105" fmla="*/ 150096270 h 916"/>
                <a:gd name="T106" fmla="*/ 312038085 w 636"/>
                <a:gd name="T107" fmla="*/ 560800473 h 916"/>
                <a:gd name="T108" fmla="*/ 348359941 w 636"/>
                <a:gd name="T109" fmla="*/ 539357638 h 916"/>
                <a:gd name="T110" fmla="*/ 361567807 w 636"/>
                <a:gd name="T111" fmla="*/ 519564880 h 916"/>
                <a:gd name="T112" fmla="*/ 364870454 w 636"/>
                <a:gd name="T113" fmla="*/ 498122953 h 916"/>
                <a:gd name="T114" fmla="*/ 358266067 w 636"/>
                <a:gd name="T115" fmla="*/ 470082419 h 916"/>
                <a:gd name="T116" fmla="*/ 343407333 w 636"/>
                <a:gd name="T117" fmla="*/ 453588000 h 916"/>
                <a:gd name="T118" fmla="*/ 295528481 w 636"/>
                <a:gd name="T119" fmla="*/ 430496904 h 91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6"/>
                <a:gd name="T181" fmla="*/ 0 h 916"/>
                <a:gd name="T182" fmla="*/ 636 w 636"/>
                <a:gd name="T183" fmla="*/ 916 h 91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6" h="916">
                  <a:moveTo>
                    <a:pt x="614" y="232"/>
                  </a:moveTo>
                  <a:lnTo>
                    <a:pt x="424" y="262"/>
                  </a:lnTo>
                  <a:lnTo>
                    <a:pt x="410" y="232"/>
                  </a:lnTo>
                  <a:lnTo>
                    <a:pt x="398" y="212"/>
                  </a:lnTo>
                  <a:lnTo>
                    <a:pt x="392" y="206"/>
                  </a:lnTo>
                  <a:lnTo>
                    <a:pt x="382" y="198"/>
                  </a:lnTo>
                  <a:lnTo>
                    <a:pt x="358" y="184"/>
                  </a:lnTo>
                  <a:lnTo>
                    <a:pt x="358" y="332"/>
                  </a:lnTo>
                  <a:lnTo>
                    <a:pt x="430" y="354"/>
                  </a:lnTo>
                  <a:lnTo>
                    <a:pt x="462" y="364"/>
                  </a:lnTo>
                  <a:lnTo>
                    <a:pt x="490" y="376"/>
                  </a:lnTo>
                  <a:lnTo>
                    <a:pt x="514" y="386"/>
                  </a:lnTo>
                  <a:lnTo>
                    <a:pt x="534" y="398"/>
                  </a:lnTo>
                  <a:lnTo>
                    <a:pt x="552" y="408"/>
                  </a:lnTo>
                  <a:lnTo>
                    <a:pt x="568" y="420"/>
                  </a:lnTo>
                  <a:lnTo>
                    <a:pt x="584" y="436"/>
                  </a:lnTo>
                  <a:lnTo>
                    <a:pt x="598" y="454"/>
                  </a:lnTo>
                  <a:lnTo>
                    <a:pt x="610" y="472"/>
                  </a:lnTo>
                  <a:lnTo>
                    <a:pt x="620" y="490"/>
                  </a:lnTo>
                  <a:lnTo>
                    <a:pt x="626" y="510"/>
                  </a:lnTo>
                  <a:lnTo>
                    <a:pt x="632" y="532"/>
                  </a:lnTo>
                  <a:lnTo>
                    <a:pt x="636" y="554"/>
                  </a:lnTo>
                  <a:lnTo>
                    <a:pt x="636" y="578"/>
                  </a:lnTo>
                  <a:lnTo>
                    <a:pt x="636" y="604"/>
                  </a:lnTo>
                  <a:lnTo>
                    <a:pt x="630" y="630"/>
                  </a:lnTo>
                  <a:lnTo>
                    <a:pt x="622" y="656"/>
                  </a:lnTo>
                  <a:lnTo>
                    <a:pt x="612" y="680"/>
                  </a:lnTo>
                  <a:lnTo>
                    <a:pt x="598" y="702"/>
                  </a:lnTo>
                  <a:lnTo>
                    <a:pt x="584" y="722"/>
                  </a:lnTo>
                  <a:lnTo>
                    <a:pt x="566" y="742"/>
                  </a:lnTo>
                  <a:lnTo>
                    <a:pt x="548" y="758"/>
                  </a:lnTo>
                  <a:lnTo>
                    <a:pt x="528" y="772"/>
                  </a:lnTo>
                  <a:lnTo>
                    <a:pt x="508" y="784"/>
                  </a:lnTo>
                  <a:lnTo>
                    <a:pt x="488" y="796"/>
                  </a:lnTo>
                  <a:lnTo>
                    <a:pt x="466" y="804"/>
                  </a:lnTo>
                  <a:lnTo>
                    <a:pt x="442" y="810"/>
                  </a:lnTo>
                  <a:lnTo>
                    <a:pt x="416" y="814"/>
                  </a:lnTo>
                  <a:lnTo>
                    <a:pt x="390" y="818"/>
                  </a:lnTo>
                  <a:lnTo>
                    <a:pt x="358" y="820"/>
                  </a:lnTo>
                  <a:lnTo>
                    <a:pt x="358" y="916"/>
                  </a:lnTo>
                  <a:lnTo>
                    <a:pt x="284" y="916"/>
                  </a:lnTo>
                  <a:lnTo>
                    <a:pt x="284" y="820"/>
                  </a:lnTo>
                  <a:lnTo>
                    <a:pt x="248" y="816"/>
                  </a:lnTo>
                  <a:lnTo>
                    <a:pt x="216" y="810"/>
                  </a:lnTo>
                  <a:lnTo>
                    <a:pt x="188" y="804"/>
                  </a:lnTo>
                  <a:lnTo>
                    <a:pt x="162" y="796"/>
                  </a:lnTo>
                  <a:lnTo>
                    <a:pt x="140" y="786"/>
                  </a:lnTo>
                  <a:lnTo>
                    <a:pt x="118" y="774"/>
                  </a:lnTo>
                  <a:lnTo>
                    <a:pt x="98" y="762"/>
                  </a:lnTo>
                  <a:lnTo>
                    <a:pt x="82" y="746"/>
                  </a:lnTo>
                  <a:lnTo>
                    <a:pt x="64" y="730"/>
                  </a:lnTo>
                  <a:lnTo>
                    <a:pt x="50" y="714"/>
                  </a:lnTo>
                  <a:lnTo>
                    <a:pt x="38" y="696"/>
                  </a:lnTo>
                  <a:lnTo>
                    <a:pt x="28" y="680"/>
                  </a:lnTo>
                  <a:lnTo>
                    <a:pt x="20" y="660"/>
                  </a:lnTo>
                  <a:lnTo>
                    <a:pt x="12" y="640"/>
                  </a:lnTo>
                  <a:lnTo>
                    <a:pt x="6" y="616"/>
                  </a:lnTo>
                  <a:lnTo>
                    <a:pt x="0" y="592"/>
                  </a:lnTo>
                  <a:lnTo>
                    <a:pt x="208" y="568"/>
                  </a:lnTo>
                  <a:lnTo>
                    <a:pt x="214" y="592"/>
                  </a:lnTo>
                  <a:lnTo>
                    <a:pt x="220" y="612"/>
                  </a:lnTo>
                  <a:lnTo>
                    <a:pt x="226" y="628"/>
                  </a:lnTo>
                  <a:lnTo>
                    <a:pt x="234" y="640"/>
                  </a:lnTo>
                  <a:lnTo>
                    <a:pt x="242" y="652"/>
                  </a:lnTo>
                  <a:lnTo>
                    <a:pt x="254" y="662"/>
                  </a:lnTo>
                  <a:lnTo>
                    <a:pt x="268" y="672"/>
                  </a:lnTo>
                  <a:lnTo>
                    <a:pt x="284" y="680"/>
                  </a:lnTo>
                  <a:lnTo>
                    <a:pt x="284" y="500"/>
                  </a:lnTo>
                  <a:lnTo>
                    <a:pt x="236" y="486"/>
                  </a:lnTo>
                  <a:lnTo>
                    <a:pt x="196" y="474"/>
                  </a:lnTo>
                  <a:lnTo>
                    <a:pt x="162" y="462"/>
                  </a:lnTo>
                  <a:lnTo>
                    <a:pt x="138" y="450"/>
                  </a:lnTo>
                  <a:lnTo>
                    <a:pt x="116" y="438"/>
                  </a:lnTo>
                  <a:lnTo>
                    <a:pt x="98" y="422"/>
                  </a:lnTo>
                  <a:lnTo>
                    <a:pt x="80" y="404"/>
                  </a:lnTo>
                  <a:lnTo>
                    <a:pt x="62" y="382"/>
                  </a:lnTo>
                  <a:lnTo>
                    <a:pt x="48" y="358"/>
                  </a:lnTo>
                  <a:lnTo>
                    <a:pt x="38" y="332"/>
                  </a:lnTo>
                  <a:lnTo>
                    <a:pt x="32" y="302"/>
                  </a:lnTo>
                  <a:lnTo>
                    <a:pt x="30" y="270"/>
                  </a:lnTo>
                  <a:lnTo>
                    <a:pt x="32" y="248"/>
                  </a:lnTo>
                  <a:lnTo>
                    <a:pt x="34" y="226"/>
                  </a:lnTo>
                  <a:lnTo>
                    <a:pt x="40" y="206"/>
                  </a:lnTo>
                  <a:lnTo>
                    <a:pt x="46" y="186"/>
                  </a:lnTo>
                  <a:lnTo>
                    <a:pt x="56" y="168"/>
                  </a:lnTo>
                  <a:lnTo>
                    <a:pt x="66" y="150"/>
                  </a:lnTo>
                  <a:lnTo>
                    <a:pt x="80" y="134"/>
                  </a:lnTo>
                  <a:lnTo>
                    <a:pt x="94" y="118"/>
                  </a:lnTo>
                  <a:lnTo>
                    <a:pt x="112" y="104"/>
                  </a:lnTo>
                  <a:lnTo>
                    <a:pt x="130" y="90"/>
                  </a:lnTo>
                  <a:lnTo>
                    <a:pt x="152" y="80"/>
                  </a:lnTo>
                  <a:lnTo>
                    <a:pt x="174" y="70"/>
                  </a:lnTo>
                  <a:lnTo>
                    <a:pt x="198" y="62"/>
                  </a:lnTo>
                  <a:lnTo>
                    <a:pt x="226" y="56"/>
                  </a:lnTo>
                  <a:lnTo>
                    <a:pt x="254" y="52"/>
                  </a:lnTo>
                  <a:lnTo>
                    <a:pt x="284" y="50"/>
                  </a:lnTo>
                  <a:lnTo>
                    <a:pt x="284" y="0"/>
                  </a:lnTo>
                  <a:lnTo>
                    <a:pt x="358" y="0"/>
                  </a:lnTo>
                  <a:lnTo>
                    <a:pt x="358" y="50"/>
                  </a:lnTo>
                  <a:lnTo>
                    <a:pt x="386" y="52"/>
                  </a:lnTo>
                  <a:lnTo>
                    <a:pt x="412" y="56"/>
                  </a:lnTo>
                  <a:lnTo>
                    <a:pt x="438" y="60"/>
                  </a:lnTo>
                  <a:lnTo>
                    <a:pt x="460" y="66"/>
                  </a:lnTo>
                  <a:lnTo>
                    <a:pt x="482" y="74"/>
                  </a:lnTo>
                  <a:lnTo>
                    <a:pt x="502" y="82"/>
                  </a:lnTo>
                  <a:lnTo>
                    <a:pt x="518" y="92"/>
                  </a:lnTo>
                  <a:lnTo>
                    <a:pt x="536" y="104"/>
                  </a:lnTo>
                  <a:lnTo>
                    <a:pt x="550" y="116"/>
                  </a:lnTo>
                  <a:lnTo>
                    <a:pt x="562" y="130"/>
                  </a:lnTo>
                  <a:lnTo>
                    <a:pt x="574" y="144"/>
                  </a:lnTo>
                  <a:lnTo>
                    <a:pt x="586" y="160"/>
                  </a:lnTo>
                  <a:lnTo>
                    <a:pt x="594" y="176"/>
                  </a:lnTo>
                  <a:lnTo>
                    <a:pt x="602" y="194"/>
                  </a:lnTo>
                  <a:lnTo>
                    <a:pt x="610" y="212"/>
                  </a:lnTo>
                  <a:lnTo>
                    <a:pt x="614" y="232"/>
                  </a:lnTo>
                  <a:close/>
                  <a:moveTo>
                    <a:pt x="284" y="182"/>
                  </a:moveTo>
                  <a:lnTo>
                    <a:pt x="284" y="182"/>
                  </a:lnTo>
                  <a:lnTo>
                    <a:pt x="270" y="188"/>
                  </a:lnTo>
                  <a:lnTo>
                    <a:pt x="258" y="194"/>
                  </a:lnTo>
                  <a:lnTo>
                    <a:pt x="246" y="200"/>
                  </a:lnTo>
                  <a:lnTo>
                    <a:pt x="240" y="208"/>
                  </a:lnTo>
                  <a:lnTo>
                    <a:pt x="234" y="216"/>
                  </a:lnTo>
                  <a:lnTo>
                    <a:pt x="230" y="226"/>
                  </a:lnTo>
                  <a:lnTo>
                    <a:pt x="228" y="236"/>
                  </a:lnTo>
                  <a:lnTo>
                    <a:pt x="226" y="246"/>
                  </a:lnTo>
                  <a:lnTo>
                    <a:pt x="228" y="256"/>
                  </a:lnTo>
                  <a:lnTo>
                    <a:pt x="230" y="266"/>
                  </a:lnTo>
                  <a:lnTo>
                    <a:pt x="234" y="276"/>
                  </a:lnTo>
                  <a:lnTo>
                    <a:pt x="240" y="284"/>
                  </a:lnTo>
                  <a:lnTo>
                    <a:pt x="248" y="292"/>
                  </a:lnTo>
                  <a:lnTo>
                    <a:pt x="258" y="300"/>
                  </a:lnTo>
                  <a:lnTo>
                    <a:pt x="270" y="306"/>
                  </a:lnTo>
                  <a:lnTo>
                    <a:pt x="284" y="312"/>
                  </a:lnTo>
                  <a:lnTo>
                    <a:pt x="284" y="182"/>
                  </a:lnTo>
                  <a:close/>
                  <a:moveTo>
                    <a:pt x="358" y="686"/>
                  </a:moveTo>
                  <a:lnTo>
                    <a:pt x="358" y="686"/>
                  </a:lnTo>
                  <a:lnTo>
                    <a:pt x="378" y="680"/>
                  </a:lnTo>
                  <a:lnTo>
                    <a:pt x="396" y="672"/>
                  </a:lnTo>
                  <a:lnTo>
                    <a:pt x="410" y="664"/>
                  </a:lnTo>
                  <a:lnTo>
                    <a:pt x="422" y="654"/>
                  </a:lnTo>
                  <a:lnTo>
                    <a:pt x="432" y="642"/>
                  </a:lnTo>
                  <a:lnTo>
                    <a:pt x="438" y="630"/>
                  </a:lnTo>
                  <a:lnTo>
                    <a:pt x="442" y="618"/>
                  </a:lnTo>
                  <a:lnTo>
                    <a:pt x="442" y="604"/>
                  </a:lnTo>
                  <a:lnTo>
                    <a:pt x="442" y="592"/>
                  </a:lnTo>
                  <a:lnTo>
                    <a:pt x="438" y="580"/>
                  </a:lnTo>
                  <a:lnTo>
                    <a:pt x="434" y="570"/>
                  </a:lnTo>
                  <a:lnTo>
                    <a:pt x="426" y="560"/>
                  </a:lnTo>
                  <a:lnTo>
                    <a:pt x="416" y="550"/>
                  </a:lnTo>
                  <a:lnTo>
                    <a:pt x="400" y="540"/>
                  </a:lnTo>
                  <a:lnTo>
                    <a:pt x="382" y="530"/>
                  </a:lnTo>
                  <a:lnTo>
                    <a:pt x="358" y="522"/>
                  </a:lnTo>
                  <a:lnTo>
                    <a:pt x="358" y="686"/>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80" name="Group 1579">
            <a:extLst>
              <a:ext uri="{FF2B5EF4-FFF2-40B4-BE49-F238E27FC236}">
                <a16:creationId xmlns:a16="http://schemas.microsoft.com/office/drawing/2014/main" id="{166FC9D3-D6FA-4418-AC19-7E8BE529C66C}"/>
              </a:ext>
            </a:extLst>
          </p:cNvPr>
          <p:cNvGrpSpPr/>
          <p:nvPr/>
        </p:nvGrpSpPr>
        <p:grpSpPr>
          <a:xfrm>
            <a:off x="3931853" y="3944155"/>
            <a:ext cx="612000" cy="612000"/>
            <a:chOff x="2777224" y="4582498"/>
            <a:chExt cx="612000" cy="612000"/>
          </a:xfrm>
        </p:grpSpPr>
        <p:sp>
          <p:nvSpPr>
            <p:cNvPr id="1581" name="Oval 1580">
              <a:extLst>
                <a:ext uri="{FF2B5EF4-FFF2-40B4-BE49-F238E27FC236}">
                  <a16:creationId xmlns:a16="http://schemas.microsoft.com/office/drawing/2014/main" id="{90B0EA12-3AF7-4D68-A488-65B2DED18F43}"/>
                </a:ext>
              </a:extLst>
            </p:cNvPr>
            <p:cNvSpPr/>
            <p:nvPr/>
          </p:nvSpPr>
          <p:spPr bwMode="ltGray">
            <a:xfrm>
              <a:off x="2777224" y="4582498"/>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82" name="Freeform 196">
              <a:extLst>
                <a:ext uri="{FF2B5EF4-FFF2-40B4-BE49-F238E27FC236}">
                  <a16:creationId xmlns:a16="http://schemas.microsoft.com/office/drawing/2014/main" id="{F85CBB31-761E-4280-BF03-C1B87EB2DC11}"/>
                </a:ext>
              </a:extLst>
            </p:cNvPr>
            <p:cNvSpPr>
              <a:spLocks noEditPoints="1"/>
            </p:cNvSpPr>
            <p:nvPr/>
          </p:nvSpPr>
          <p:spPr bwMode="auto">
            <a:xfrm>
              <a:off x="2908755" y="4710118"/>
              <a:ext cx="356047" cy="348840"/>
            </a:xfrm>
            <a:custGeom>
              <a:avLst/>
              <a:gdLst>
                <a:gd name="T0" fmla="*/ 4088702 w 950"/>
                <a:gd name="T1" fmla="*/ 135840850 h 802"/>
                <a:gd name="T2" fmla="*/ 24532209 w 950"/>
                <a:gd name="T3" fmla="*/ 69756033 h 802"/>
                <a:gd name="T4" fmla="*/ 62693433 w 950"/>
                <a:gd name="T5" fmla="*/ 23863878 h 802"/>
                <a:gd name="T6" fmla="*/ 139015867 w 950"/>
                <a:gd name="T7" fmla="*/ 0 h 802"/>
                <a:gd name="T8" fmla="*/ 182628672 w 950"/>
                <a:gd name="T9" fmla="*/ 7342437 h 802"/>
                <a:gd name="T10" fmla="*/ 230330228 w 950"/>
                <a:gd name="T11" fmla="*/ 38549713 h 802"/>
                <a:gd name="T12" fmla="*/ 256225331 w 950"/>
                <a:gd name="T13" fmla="*/ 77099426 h 802"/>
                <a:gd name="T14" fmla="*/ 275305933 w 950"/>
                <a:gd name="T15" fmla="*/ 143184242 h 802"/>
                <a:gd name="T16" fmla="*/ 276668834 w 950"/>
                <a:gd name="T17" fmla="*/ 201925636 h 802"/>
                <a:gd name="T18" fmla="*/ 263039832 w 950"/>
                <a:gd name="T19" fmla="*/ 273518266 h 802"/>
                <a:gd name="T20" fmla="*/ 239870530 w 950"/>
                <a:gd name="T21" fmla="*/ 313903573 h 802"/>
                <a:gd name="T22" fmla="*/ 196257673 w 950"/>
                <a:gd name="T23" fmla="*/ 352452313 h 802"/>
                <a:gd name="T24" fmla="*/ 139015867 w 950"/>
                <a:gd name="T25" fmla="*/ 363466923 h 802"/>
                <a:gd name="T26" fmla="*/ 80411135 w 950"/>
                <a:gd name="T27" fmla="*/ 350616704 h 802"/>
                <a:gd name="T28" fmla="*/ 35435417 w 950"/>
                <a:gd name="T29" fmla="*/ 312067006 h 802"/>
                <a:gd name="T30" fmla="*/ 9540304 w 950"/>
                <a:gd name="T31" fmla="*/ 251490004 h 802"/>
                <a:gd name="T32" fmla="*/ 0 w 950"/>
                <a:gd name="T33" fmla="*/ 181732982 h 802"/>
                <a:gd name="T34" fmla="*/ 102217537 w 950"/>
                <a:gd name="T35" fmla="*/ 233132899 h 802"/>
                <a:gd name="T36" fmla="*/ 117209464 w 950"/>
                <a:gd name="T37" fmla="*/ 273518266 h 802"/>
                <a:gd name="T38" fmla="*/ 139015867 w 950"/>
                <a:gd name="T39" fmla="*/ 282696309 h 802"/>
                <a:gd name="T40" fmla="*/ 164910970 w 950"/>
                <a:gd name="T41" fmla="*/ 266174873 h 802"/>
                <a:gd name="T42" fmla="*/ 178539971 w 950"/>
                <a:gd name="T43" fmla="*/ 209269028 h 802"/>
                <a:gd name="T44" fmla="*/ 175814171 w 950"/>
                <a:gd name="T45" fmla="*/ 132169632 h 802"/>
                <a:gd name="T46" fmla="*/ 159459369 w 950"/>
                <a:gd name="T47" fmla="*/ 91784296 h 802"/>
                <a:gd name="T48" fmla="*/ 139015867 w 950"/>
                <a:gd name="T49" fmla="*/ 80770644 h 802"/>
                <a:gd name="T50" fmla="*/ 111757864 w 950"/>
                <a:gd name="T51" fmla="*/ 99127688 h 802"/>
                <a:gd name="T52" fmla="*/ 99491737 w 950"/>
                <a:gd name="T53" fmla="*/ 156033503 h 802"/>
                <a:gd name="T54" fmla="*/ 509724862 w 950"/>
                <a:gd name="T55" fmla="*/ 0 h 802"/>
                <a:gd name="T56" fmla="*/ 370708944 w 950"/>
                <a:gd name="T57" fmla="*/ 554378966 h 802"/>
                <a:gd name="T58" fmla="*/ 380249245 w 950"/>
                <a:gd name="T59" fmla="*/ 484621885 h 802"/>
                <a:gd name="T60" fmla="*/ 406144348 w 950"/>
                <a:gd name="T61" fmla="*/ 425880492 h 802"/>
                <a:gd name="T62" fmla="*/ 451120156 w 950"/>
                <a:gd name="T63" fmla="*/ 387330793 h 802"/>
                <a:gd name="T64" fmla="*/ 509724862 w 950"/>
                <a:gd name="T65" fmla="*/ 372644966 h 802"/>
                <a:gd name="T66" fmla="*/ 566966669 w 950"/>
                <a:gd name="T67" fmla="*/ 385495185 h 802"/>
                <a:gd name="T68" fmla="*/ 610579473 w 950"/>
                <a:gd name="T69" fmla="*/ 424044883 h 802"/>
                <a:gd name="T70" fmla="*/ 633748776 w 950"/>
                <a:gd name="T71" fmla="*/ 464429232 h 802"/>
                <a:gd name="T72" fmla="*/ 647377778 w 950"/>
                <a:gd name="T73" fmla="*/ 536021922 h 802"/>
                <a:gd name="T74" fmla="*/ 646014877 w 950"/>
                <a:gd name="T75" fmla="*/ 594764273 h 802"/>
                <a:gd name="T76" fmla="*/ 626934275 w 950"/>
                <a:gd name="T77" fmla="*/ 660849059 h 802"/>
                <a:gd name="T78" fmla="*/ 601039172 w 950"/>
                <a:gd name="T79" fmla="*/ 699397799 h 802"/>
                <a:gd name="T80" fmla="*/ 553337667 w 950"/>
                <a:gd name="T81" fmla="*/ 730605063 h 802"/>
                <a:gd name="T82" fmla="*/ 509724862 w 950"/>
                <a:gd name="T83" fmla="*/ 736111889 h 802"/>
                <a:gd name="T84" fmla="*/ 433402454 w 950"/>
                <a:gd name="T85" fmla="*/ 714083627 h 802"/>
                <a:gd name="T86" fmla="*/ 395241147 w 950"/>
                <a:gd name="T87" fmla="*/ 666355885 h 802"/>
                <a:gd name="T88" fmla="*/ 374797644 w 950"/>
                <a:gd name="T89" fmla="*/ 602106708 h 802"/>
                <a:gd name="T90" fmla="*/ 468837858 w 950"/>
                <a:gd name="T91" fmla="*/ 556214575 h 802"/>
                <a:gd name="T92" fmla="*/ 477015259 w 950"/>
                <a:gd name="T93" fmla="*/ 624134970 h 802"/>
                <a:gd name="T94" fmla="*/ 493370061 w 950"/>
                <a:gd name="T95" fmla="*/ 651670058 h 802"/>
                <a:gd name="T96" fmla="*/ 517902263 w 950"/>
                <a:gd name="T97" fmla="*/ 655341275 h 802"/>
                <a:gd name="T98" fmla="*/ 535619965 w 950"/>
                <a:gd name="T99" fmla="*/ 638820797 h 802"/>
                <a:gd name="T100" fmla="*/ 549248967 w 950"/>
                <a:gd name="T101" fmla="*/ 556214575 h 802"/>
                <a:gd name="T102" fmla="*/ 541071566 w 950"/>
                <a:gd name="T103" fmla="*/ 486458452 h 802"/>
                <a:gd name="T104" fmla="*/ 524716764 w 950"/>
                <a:gd name="T105" fmla="*/ 458922406 h 802"/>
                <a:gd name="T106" fmla="*/ 501547461 w 950"/>
                <a:gd name="T107" fmla="*/ 455251188 h 802"/>
                <a:gd name="T108" fmla="*/ 482466859 w 950"/>
                <a:gd name="T109" fmla="*/ 471772624 h 802"/>
                <a:gd name="T110" fmla="*/ 468837858 w 950"/>
                <a:gd name="T111" fmla="*/ 556214575 h 80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950"/>
                <a:gd name="T169" fmla="*/ 0 h 802"/>
                <a:gd name="T170" fmla="*/ 950 w 950"/>
                <a:gd name="T171" fmla="*/ 802 h 80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950" h="802">
                  <a:moveTo>
                    <a:pt x="0" y="198"/>
                  </a:moveTo>
                  <a:lnTo>
                    <a:pt x="0" y="198"/>
                  </a:lnTo>
                  <a:lnTo>
                    <a:pt x="2" y="172"/>
                  </a:lnTo>
                  <a:lnTo>
                    <a:pt x="6" y="148"/>
                  </a:lnTo>
                  <a:lnTo>
                    <a:pt x="14" y="122"/>
                  </a:lnTo>
                  <a:lnTo>
                    <a:pt x="24" y="100"/>
                  </a:lnTo>
                  <a:lnTo>
                    <a:pt x="36" y="76"/>
                  </a:lnTo>
                  <a:lnTo>
                    <a:pt x="52" y="58"/>
                  </a:lnTo>
                  <a:lnTo>
                    <a:pt x="70" y="40"/>
                  </a:lnTo>
                  <a:lnTo>
                    <a:pt x="92" y="26"/>
                  </a:lnTo>
                  <a:lnTo>
                    <a:pt x="118" y="16"/>
                  </a:lnTo>
                  <a:lnTo>
                    <a:pt x="144" y="8"/>
                  </a:lnTo>
                  <a:lnTo>
                    <a:pt x="172" y="2"/>
                  </a:lnTo>
                  <a:lnTo>
                    <a:pt x="204" y="0"/>
                  </a:lnTo>
                  <a:lnTo>
                    <a:pt x="226" y="2"/>
                  </a:lnTo>
                  <a:lnTo>
                    <a:pt x="248" y="4"/>
                  </a:lnTo>
                  <a:lnTo>
                    <a:pt x="268" y="8"/>
                  </a:lnTo>
                  <a:lnTo>
                    <a:pt x="288" y="14"/>
                  </a:lnTo>
                  <a:lnTo>
                    <a:pt x="306" y="22"/>
                  </a:lnTo>
                  <a:lnTo>
                    <a:pt x="322" y="32"/>
                  </a:lnTo>
                  <a:lnTo>
                    <a:pt x="338" y="42"/>
                  </a:lnTo>
                  <a:lnTo>
                    <a:pt x="352" y="54"/>
                  </a:lnTo>
                  <a:lnTo>
                    <a:pt x="364" y="68"/>
                  </a:lnTo>
                  <a:lnTo>
                    <a:pt x="376" y="84"/>
                  </a:lnTo>
                  <a:lnTo>
                    <a:pt x="386" y="100"/>
                  </a:lnTo>
                  <a:lnTo>
                    <a:pt x="392" y="118"/>
                  </a:lnTo>
                  <a:lnTo>
                    <a:pt x="398" y="136"/>
                  </a:lnTo>
                  <a:lnTo>
                    <a:pt x="404" y="156"/>
                  </a:lnTo>
                  <a:lnTo>
                    <a:pt x="406" y="176"/>
                  </a:lnTo>
                  <a:lnTo>
                    <a:pt x="406" y="198"/>
                  </a:lnTo>
                  <a:lnTo>
                    <a:pt x="406" y="220"/>
                  </a:lnTo>
                  <a:lnTo>
                    <a:pt x="404" y="242"/>
                  </a:lnTo>
                  <a:lnTo>
                    <a:pt x="398" y="262"/>
                  </a:lnTo>
                  <a:lnTo>
                    <a:pt x="392" y="280"/>
                  </a:lnTo>
                  <a:lnTo>
                    <a:pt x="386" y="298"/>
                  </a:lnTo>
                  <a:lnTo>
                    <a:pt x="376" y="314"/>
                  </a:lnTo>
                  <a:lnTo>
                    <a:pt x="364" y="328"/>
                  </a:lnTo>
                  <a:lnTo>
                    <a:pt x="352" y="342"/>
                  </a:lnTo>
                  <a:lnTo>
                    <a:pt x="338" y="356"/>
                  </a:lnTo>
                  <a:lnTo>
                    <a:pt x="322" y="366"/>
                  </a:lnTo>
                  <a:lnTo>
                    <a:pt x="306" y="376"/>
                  </a:lnTo>
                  <a:lnTo>
                    <a:pt x="288" y="384"/>
                  </a:lnTo>
                  <a:lnTo>
                    <a:pt x="268" y="390"/>
                  </a:lnTo>
                  <a:lnTo>
                    <a:pt x="248" y="394"/>
                  </a:lnTo>
                  <a:lnTo>
                    <a:pt x="226" y="396"/>
                  </a:lnTo>
                  <a:lnTo>
                    <a:pt x="204" y="396"/>
                  </a:lnTo>
                  <a:lnTo>
                    <a:pt x="172" y="396"/>
                  </a:lnTo>
                  <a:lnTo>
                    <a:pt x="144" y="390"/>
                  </a:lnTo>
                  <a:lnTo>
                    <a:pt x="118" y="382"/>
                  </a:lnTo>
                  <a:lnTo>
                    <a:pt x="92" y="372"/>
                  </a:lnTo>
                  <a:lnTo>
                    <a:pt x="70" y="358"/>
                  </a:lnTo>
                  <a:lnTo>
                    <a:pt x="52" y="340"/>
                  </a:lnTo>
                  <a:lnTo>
                    <a:pt x="36" y="322"/>
                  </a:lnTo>
                  <a:lnTo>
                    <a:pt x="24" y="298"/>
                  </a:lnTo>
                  <a:lnTo>
                    <a:pt x="14" y="274"/>
                  </a:lnTo>
                  <a:lnTo>
                    <a:pt x="6" y="250"/>
                  </a:lnTo>
                  <a:lnTo>
                    <a:pt x="2" y="224"/>
                  </a:lnTo>
                  <a:lnTo>
                    <a:pt x="0" y="198"/>
                  </a:lnTo>
                  <a:close/>
                  <a:moveTo>
                    <a:pt x="144" y="198"/>
                  </a:moveTo>
                  <a:lnTo>
                    <a:pt x="144" y="198"/>
                  </a:lnTo>
                  <a:lnTo>
                    <a:pt x="146" y="228"/>
                  </a:lnTo>
                  <a:lnTo>
                    <a:pt x="150" y="254"/>
                  </a:lnTo>
                  <a:lnTo>
                    <a:pt x="156" y="274"/>
                  </a:lnTo>
                  <a:lnTo>
                    <a:pt x="164" y="290"/>
                  </a:lnTo>
                  <a:lnTo>
                    <a:pt x="172" y="298"/>
                  </a:lnTo>
                  <a:lnTo>
                    <a:pt x="182" y="304"/>
                  </a:lnTo>
                  <a:lnTo>
                    <a:pt x="192" y="308"/>
                  </a:lnTo>
                  <a:lnTo>
                    <a:pt x="204" y="308"/>
                  </a:lnTo>
                  <a:lnTo>
                    <a:pt x="216" y="308"/>
                  </a:lnTo>
                  <a:lnTo>
                    <a:pt x="226" y="304"/>
                  </a:lnTo>
                  <a:lnTo>
                    <a:pt x="234" y="298"/>
                  </a:lnTo>
                  <a:lnTo>
                    <a:pt x="242" y="290"/>
                  </a:lnTo>
                  <a:lnTo>
                    <a:pt x="250" y="274"/>
                  </a:lnTo>
                  <a:lnTo>
                    <a:pt x="258" y="254"/>
                  </a:lnTo>
                  <a:lnTo>
                    <a:pt x="262" y="228"/>
                  </a:lnTo>
                  <a:lnTo>
                    <a:pt x="262" y="198"/>
                  </a:lnTo>
                  <a:lnTo>
                    <a:pt x="262" y="170"/>
                  </a:lnTo>
                  <a:lnTo>
                    <a:pt x="258" y="144"/>
                  </a:lnTo>
                  <a:lnTo>
                    <a:pt x="250" y="124"/>
                  </a:lnTo>
                  <a:lnTo>
                    <a:pt x="242" y="108"/>
                  </a:lnTo>
                  <a:lnTo>
                    <a:pt x="234" y="100"/>
                  </a:lnTo>
                  <a:lnTo>
                    <a:pt x="226" y="94"/>
                  </a:lnTo>
                  <a:lnTo>
                    <a:pt x="216" y="90"/>
                  </a:lnTo>
                  <a:lnTo>
                    <a:pt x="204" y="88"/>
                  </a:lnTo>
                  <a:lnTo>
                    <a:pt x="192" y="90"/>
                  </a:lnTo>
                  <a:lnTo>
                    <a:pt x="182" y="94"/>
                  </a:lnTo>
                  <a:lnTo>
                    <a:pt x="172" y="100"/>
                  </a:lnTo>
                  <a:lnTo>
                    <a:pt x="164" y="108"/>
                  </a:lnTo>
                  <a:lnTo>
                    <a:pt x="156" y="124"/>
                  </a:lnTo>
                  <a:lnTo>
                    <a:pt x="150" y="144"/>
                  </a:lnTo>
                  <a:lnTo>
                    <a:pt x="146" y="170"/>
                  </a:lnTo>
                  <a:lnTo>
                    <a:pt x="144" y="198"/>
                  </a:lnTo>
                  <a:close/>
                  <a:moveTo>
                    <a:pt x="642" y="0"/>
                  </a:moveTo>
                  <a:lnTo>
                    <a:pt x="748" y="0"/>
                  </a:lnTo>
                  <a:lnTo>
                    <a:pt x="312" y="802"/>
                  </a:lnTo>
                  <a:lnTo>
                    <a:pt x="204" y="802"/>
                  </a:lnTo>
                  <a:lnTo>
                    <a:pt x="642" y="0"/>
                  </a:lnTo>
                  <a:close/>
                  <a:moveTo>
                    <a:pt x="544" y="604"/>
                  </a:moveTo>
                  <a:lnTo>
                    <a:pt x="544" y="604"/>
                  </a:lnTo>
                  <a:lnTo>
                    <a:pt x="546" y="578"/>
                  </a:lnTo>
                  <a:lnTo>
                    <a:pt x="550" y="554"/>
                  </a:lnTo>
                  <a:lnTo>
                    <a:pt x="558" y="528"/>
                  </a:lnTo>
                  <a:lnTo>
                    <a:pt x="566" y="506"/>
                  </a:lnTo>
                  <a:lnTo>
                    <a:pt x="580" y="484"/>
                  </a:lnTo>
                  <a:lnTo>
                    <a:pt x="596" y="464"/>
                  </a:lnTo>
                  <a:lnTo>
                    <a:pt x="614" y="446"/>
                  </a:lnTo>
                  <a:lnTo>
                    <a:pt x="636" y="432"/>
                  </a:lnTo>
                  <a:lnTo>
                    <a:pt x="662" y="422"/>
                  </a:lnTo>
                  <a:lnTo>
                    <a:pt x="688" y="414"/>
                  </a:lnTo>
                  <a:lnTo>
                    <a:pt x="716" y="408"/>
                  </a:lnTo>
                  <a:lnTo>
                    <a:pt x="748" y="406"/>
                  </a:lnTo>
                  <a:lnTo>
                    <a:pt x="770" y="408"/>
                  </a:lnTo>
                  <a:lnTo>
                    <a:pt x="792" y="410"/>
                  </a:lnTo>
                  <a:lnTo>
                    <a:pt x="812" y="414"/>
                  </a:lnTo>
                  <a:lnTo>
                    <a:pt x="832" y="420"/>
                  </a:lnTo>
                  <a:lnTo>
                    <a:pt x="850" y="428"/>
                  </a:lnTo>
                  <a:lnTo>
                    <a:pt x="866" y="438"/>
                  </a:lnTo>
                  <a:lnTo>
                    <a:pt x="882" y="448"/>
                  </a:lnTo>
                  <a:lnTo>
                    <a:pt x="896" y="462"/>
                  </a:lnTo>
                  <a:lnTo>
                    <a:pt x="908" y="476"/>
                  </a:lnTo>
                  <a:lnTo>
                    <a:pt x="920" y="490"/>
                  </a:lnTo>
                  <a:lnTo>
                    <a:pt x="930" y="506"/>
                  </a:lnTo>
                  <a:lnTo>
                    <a:pt x="936" y="524"/>
                  </a:lnTo>
                  <a:lnTo>
                    <a:pt x="942" y="542"/>
                  </a:lnTo>
                  <a:lnTo>
                    <a:pt x="948" y="562"/>
                  </a:lnTo>
                  <a:lnTo>
                    <a:pt x="950" y="584"/>
                  </a:lnTo>
                  <a:lnTo>
                    <a:pt x="950" y="604"/>
                  </a:lnTo>
                  <a:lnTo>
                    <a:pt x="950" y="626"/>
                  </a:lnTo>
                  <a:lnTo>
                    <a:pt x="948" y="648"/>
                  </a:lnTo>
                  <a:lnTo>
                    <a:pt x="942" y="668"/>
                  </a:lnTo>
                  <a:lnTo>
                    <a:pt x="936" y="686"/>
                  </a:lnTo>
                  <a:lnTo>
                    <a:pt x="930" y="704"/>
                  </a:lnTo>
                  <a:lnTo>
                    <a:pt x="920" y="720"/>
                  </a:lnTo>
                  <a:lnTo>
                    <a:pt x="908" y="734"/>
                  </a:lnTo>
                  <a:lnTo>
                    <a:pt x="896" y="748"/>
                  </a:lnTo>
                  <a:lnTo>
                    <a:pt x="882" y="762"/>
                  </a:lnTo>
                  <a:lnTo>
                    <a:pt x="866" y="772"/>
                  </a:lnTo>
                  <a:lnTo>
                    <a:pt x="850" y="782"/>
                  </a:lnTo>
                  <a:lnTo>
                    <a:pt x="832" y="790"/>
                  </a:lnTo>
                  <a:lnTo>
                    <a:pt x="812" y="796"/>
                  </a:lnTo>
                  <a:lnTo>
                    <a:pt x="792" y="800"/>
                  </a:lnTo>
                  <a:lnTo>
                    <a:pt x="770" y="802"/>
                  </a:lnTo>
                  <a:lnTo>
                    <a:pt x="748" y="802"/>
                  </a:lnTo>
                  <a:lnTo>
                    <a:pt x="716" y="802"/>
                  </a:lnTo>
                  <a:lnTo>
                    <a:pt x="688" y="796"/>
                  </a:lnTo>
                  <a:lnTo>
                    <a:pt x="662" y="788"/>
                  </a:lnTo>
                  <a:lnTo>
                    <a:pt x="636" y="778"/>
                  </a:lnTo>
                  <a:lnTo>
                    <a:pt x="614" y="764"/>
                  </a:lnTo>
                  <a:lnTo>
                    <a:pt x="596" y="746"/>
                  </a:lnTo>
                  <a:lnTo>
                    <a:pt x="580" y="726"/>
                  </a:lnTo>
                  <a:lnTo>
                    <a:pt x="566" y="704"/>
                  </a:lnTo>
                  <a:lnTo>
                    <a:pt x="558" y="680"/>
                  </a:lnTo>
                  <a:lnTo>
                    <a:pt x="550" y="656"/>
                  </a:lnTo>
                  <a:lnTo>
                    <a:pt x="546" y="630"/>
                  </a:lnTo>
                  <a:lnTo>
                    <a:pt x="544" y="604"/>
                  </a:lnTo>
                  <a:close/>
                  <a:moveTo>
                    <a:pt x="688" y="606"/>
                  </a:moveTo>
                  <a:lnTo>
                    <a:pt x="688" y="606"/>
                  </a:lnTo>
                  <a:lnTo>
                    <a:pt x="690" y="634"/>
                  </a:lnTo>
                  <a:lnTo>
                    <a:pt x="694" y="660"/>
                  </a:lnTo>
                  <a:lnTo>
                    <a:pt x="700" y="680"/>
                  </a:lnTo>
                  <a:lnTo>
                    <a:pt x="708" y="696"/>
                  </a:lnTo>
                  <a:lnTo>
                    <a:pt x="716" y="704"/>
                  </a:lnTo>
                  <a:lnTo>
                    <a:pt x="724" y="710"/>
                  </a:lnTo>
                  <a:lnTo>
                    <a:pt x="736" y="714"/>
                  </a:lnTo>
                  <a:lnTo>
                    <a:pt x="748" y="714"/>
                  </a:lnTo>
                  <a:lnTo>
                    <a:pt x="760" y="714"/>
                  </a:lnTo>
                  <a:lnTo>
                    <a:pt x="770" y="710"/>
                  </a:lnTo>
                  <a:lnTo>
                    <a:pt x="778" y="704"/>
                  </a:lnTo>
                  <a:lnTo>
                    <a:pt x="786" y="696"/>
                  </a:lnTo>
                  <a:lnTo>
                    <a:pt x="794" y="680"/>
                  </a:lnTo>
                  <a:lnTo>
                    <a:pt x="802" y="660"/>
                  </a:lnTo>
                  <a:lnTo>
                    <a:pt x="806" y="634"/>
                  </a:lnTo>
                  <a:lnTo>
                    <a:pt x="806" y="606"/>
                  </a:lnTo>
                  <a:lnTo>
                    <a:pt x="806" y="576"/>
                  </a:lnTo>
                  <a:lnTo>
                    <a:pt x="802" y="550"/>
                  </a:lnTo>
                  <a:lnTo>
                    <a:pt x="794" y="530"/>
                  </a:lnTo>
                  <a:lnTo>
                    <a:pt x="786" y="514"/>
                  </a:lnTo>
                  <a:lnTo>
                    <a:pt x="778" y="506"/>
                  </a:lnTo>
                  <a:lnTo>
                    <a:pt x="770" y="500"/>
                  </a:lnTo>
                  <a:lnTo>
                    <a:pt x="760" y="496"/>
                  </a:lnTo>
                  <a:lnTo>
                    <a:pt x="748" y="494"/>
                  </a:lnTo>
                  <a:lnTo>
                    <a:pt x="736" y="496"/>
                  </a:lnTo>
                  <a:lnTo>
                    <a:pt x="724" y="500"/>
                  </a:lnTo>
                  <a:lnTo>
                    <a:pt x="716" y="506"/>
                  </a:lnTo>
                  <a:lnTo>
                    <a:pt x="708" y="514"/>
                  </a:lnTo>
                  <a:lnTo>
                    <a:pt x="700" y="530"/>
                  </a:lnTo>
                  <a:lnTo>
                    <a:pt x="694" y="550"/>
                  </a:lnTo>
                  <a:lnTo>
                    <a:pt x="690" y="576"/>
                  </a:lnTo>
                  <a:lnTo>
                    <a:pt x="688" y="606"/>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83" name="Group 1582">
            <a:extLst>
              <a:ext uri="{FF2B5EF4-FFF2-40B4-BE49-F238E27FC236}">
                <a16:creationId xmlns:a16="http://schemas.microsoft.com/office/drawing/2014/main" id="{4EE597BD-A88C-4778-9FA8-F95A1BE23A5A}"/>
              </a:ext>
            </a:extLst>
          </p:cNvPr>
          <p:cNvGrpSpPr/>
          <p:nvPr/>
        </p:nvGrpSpPr>
        <p:grpSpPr>
          <a:xfrm>
            <a:off x="1747436" y="3944155"/>
            <a:ext cx="612000" cy="612000"/>
            <a:chOff x="592807" y="4582498"/>
            <a:chExt cx="612000" cy="612000"/>
          </a:xfrm>
        </p:grpSpPr>
        <p:sp>
          <p:nvSpPr>
            <p:cNvPr id="1584" name="Oval 1583">
              <a:extLst>
                <a:ext uri="{FF2B5EF4-FFF2-40B4-BE49-F238E27FC236}">
                  <a16:creationId xmlns:a16="http://schemas.microsoft.com/office/drawing/2014/main" id="{DB4A813D-6D13-44AE-9BCA-CD21BF87FB05}"/>
                </a:ext>
              </a:extLst>
            </p:cNvPr>
            <p:cNvSpPr/>
            <p:nvPr/>
          </p:nvSpPr>
          <p:spPr bwMode="ltGray">
            <a:xfrm>
              <a:off x="592807" y="4582498"/>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85" name="Freeform 197">
              <a:extLst>
                <a:ext uri="{FF2B5EF4-FFF2-40B4-BE49-F238E27FC236}">
                  <a16:creationId xmlns:a16="http://schemas.microsoft.com/office/drawing/2014/main" id="{F90E83B7-6EFC-4D43-BB8A-442D1CA23000}"/>
                </a:ext>
              </a:extLst>
            </p:cNvPr>
            <p:cNvSpPr>
              <a:spLocks/>
            </p:cNvSpPr>
            <p:nvPr/>
          </p:nvSpPr>
          <p:spPr bwMode="auto">
            <a:xfrm>
              <a:off x="744241" y="4676307"/>
              <a:ext cx="307725" cy="409154"/>
            </a:xfrm>
            <a:custGeom>
              <a:avLst/>
              <a:gdLst>
                <a:gd name="T0" fmla="*/ 354537374 w 636"/>
                <a:gd name="T1" fmla="*/ 430500413 h 776"/>
                <a:gd name="T2" fmla="*/ 242746281 w 636"/>
                <a:gd name="T3" fmla="*/ 449465664 h 776"/>
                <a:gd name="T4" fmla="*/ 231567384 w 636"/>
                <a:gd name="T5" fmla="*/ 502566614 h 776"/>
                <a:gd name="T6" fmla="*/ 220388543 w 636"/>
                <a:gd name="T7" fmla="*/ 529117698 h 776"/>
                <a:gd name="T8" fmla="*/ 204418259 w 636"/>
                <a:gd name="T9" fmla="*/ 555668659 h 776"/>
                <a:gd name="T10" fmla="*/ 242746281 w 636"/>
                <a:gd name="T11" fmla="*/ 549978889 h 776"/>
                <a:gd name="T12" fmla="*/ 297044531 w 636"/>
                <a:gd name="T13" fmla="*/ 559461515 h 776"/>
                <a:gd name="T14" fmla="*/ 370507658 w 636"/>
                <a:gd name="T15" fmla="*/ 572736996 h 776"/>
                <a:gd name="T16" fmla="*/ 408836518 w 636"/>
                <a:gd name="T17" fmla="*/ 567047226 h 776"/>
                <a:gd name="T18" fmla="*/ 451955926 w 636"/>
                <a:gd name="T19" fmla="*/ 548081975 h 776"/>
                <a:gd name="T20" fmla="*/ 469523172 w 636"/>
                <a:gd name="T21" fmla="*/ 713075569 h 776"/>
                <a:gd name="T22" fmla="*/ 435985643 w 636"/>
                <a:gd name="T23" fmla="*/ 726351049 h 776"/>
                <a:gd name="T24" fmla="*/ 388074791 w 636"/>
                <a:gd name="T25" fmla="*/ 733936760 h 776"/>
                <a:gd name="T26" fmla="*/ 351343675 w 636"/>
                <a:gd name="T27" fmla="*/ 733936760 h 776"/>
                <a:gd name="T28" fmla="*/ 282671990 w 636"/>
                <a:gd name="T29" fmla="*/ 718765339 h 776"/>
                <a:gd name="T30" fmla="*/ 202821409 w 636"/>
                <a:gd name="T31" fmla="*/ 696007232 h 776"/>
                <a:gd name="T32" fmla="*/ 169283992 w 636"/>
                <a:gd name="T33" fmla="*/ 692214377 h 776"/>
                <a:gd name="T34" fmla="*/ 142134867 w 636"/>
                <a:gd name="T35" fmla="*/ 694111291 h 776"/>
                <a:gd name="T36" fmla="*/ 83045146 w 636"/>
                <a:gd name="T37" fmla="*/ 716868424 h 776"/>
                <a:gd name="T38" fmla="*/ 0 w 636"/>
                <a:gd name="T39" fmla="*/ 597391043 h 776"/>
                <a:gd name="T40" fmla="*/ 52701414 w 636"/>
                <a:gd name="T41" fmla="*/ 542393178 h 776"/>
                <a:gd name="T42" fmla="*/ 79850553 w 636"/>
                <a:gd name="T43" fmla="*/ 489291133 h 776"/>
                <a:gd name="T44" fmla="*/ 86238846 w 636"/>
                <a:gd name="T45" fmla="*/ 451361605 h 776"/>
                <a:gd name="T46" fmla="*/ 0 w 636"/>
                <a:gd name="T47" fmla="*/ 314815887 h 776"/>
                <a:gd name="T48" fmla="*/ 43119423 w 636"/>
                <a:gd name="T49" fmla="*/ 238955796 h 776"/>
                <a:gd name="T50" fmla="*/ 41522573 w 636"/>
                <a:gd name="T51" fmla="*/ 201026268 h 776"/>
                <a:gd name="T52" fmla="*/ 47910865 w 636"/>
                <a:gd name="T53" fmla="*/ 144132463 h 776"/>
                <a:gd name="T54" fmla="*/ 68671712 w 636"/>
                <a:gd name="T55" fmla="*/ 91030509 h 776"/>
                <a:gd name="T56" fmla="*/ 118179441 w 636"/>
                <a:gd name="T57" fmla="*/ 34136688 h 776"/>
                <a:gd name="T58" fmla="*/ 162895700 w 636"/>
                <a:gd name="T59" fmla="*/ 11378570 h 776"/>
                <a:gd name="T60" fmla="*/ 258716565 w 636"/>
                <a:gd name="T61" fmla="*/ 0 h 776"/>
                <a:gd name="T62" fmla="*/ 322596806 w 636"/>
                <a:gd name="T63" fmla="*/ 3792856 h 776"/>
                <a:gd name="T64" fmla="*/ 370507658 w 636"/>
                <a:gd name="T65" fmla="*/ 18965259 h 776"/>
                <a:gd name="T66" fmla="*/ 424805908 w 636"/>
                <a:gd name="T67" fmla="*/ 60687650 h 776"/>
                <a:gd name="T68" fmla="*/ 451955926 w 636"/>
                <a:gd name="T69" fmla="*/ 104305990 h 776"/>
                <a:gd name="T70" fmla="*/ 479105163 w 636"/>
                <a:gd name="T71" fmla="*/ 185854846 h 776"/>
                <a:gd name="T72" fmla="*/ 316209408 w 636"/>
                <a:gd name="T73" fmla="*/ 191544617 h 776"/>
                <a:gd name="T74" fmla="*/ 295447681 w 636"/>
                <a:gd name="T75" fmla="*/ 146028404 h 776"/>
                <a:gd name="T76" fmla="*/ 279477398 w 636"/>
                <a:gd name="T77" fmla="*/ 132753896 h 776"/>
                <a:gd name="T78" fmla="*/ 260313414 w 636"/>
                <a:gd name="T79" fmla="*/ 128961041 h 776"/>
                <a:gd name="T80" fmla="*/ 231567384 w 636"/>
                <a:gd name="T81" fmla="*/ 138442693 h 776"/>
                <a:gd name="T82" fmla="*/ 217193950 w 636"/>
                <a:gd name="T83" fmla="*/ 157407944 h 776"/>
                <a:gd name="T84" fmla="*/ 209208808 w 636"/>
                <a:gd name="T85" fmla="*/ 199130327 h 776"/>
                <a:gd name="T86" fmla="*/ 210806551 w 636"/>
                <a:gd name="T87" fmla="*/ 235162941 h 776"/>
                <a:gd name="T88" fmla="*/ 229970534 w 636"/>
                <a:gd name="T89" fmla="*/ 314815887 h 77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36"/>
                <a:gd name="T136" fmla="*/ 0 h 776"/>
                <a:gd name="T137" fmla="*/ 636 w 636"/>
                <a:gd name="T138" fmla="*/ 776 h 77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36" h="776">
                  <a:moveTo>
                    <a:pt x="288" y="332"/>
                  </a:moveTo>
                  <a:lnTo>
                    <a:pt x="444" y="332"/>
                  </a:lnTo>
                  <a:lnTo>
                    <a:pt x="444" y="454"/>
                  </a:lnTo>
                  <a:lnTo>
                    <a:pt x="306" y="454"/>
                  </a:lnTo>
                  <a:lnTo>
                    <a:pt x="304" y="474"/>
                  </a:lnTo>
                  <a:lnTo>
                    <a:pt x="300" y="494"/>
                  </a:lnTo>
                  <a:lnTo>
                    <a:pt x="296" y="514"/>
                  </a:lnTo>
                  <a:lnTo>
                    <a:pt x="290" y="530"/>
                  </a:lnTo>
                  <a:lnTo>
                    <a:pt x="284" y="544"/>
                  </a:lnTo>
                  <a:lnTo>
                    <a:pt x="276" y="558"/>
                  </a:lnTo>
                  <a:lnTo>
                    <a:pt x="266" y="572"/>
                  </a:lnTo>
                  <a:lnTo>
                    <a:pt x="256" y="586"/>
                  </a:lnTo>
                  <a:lnTo>
                    <a:pt x="282" y="582"/>
                  </a:lnTo>
                  <a:lnTo>
                    <a:pt x="304" y="580"/>
                  </a:lnTo>
                  <a:lnTo>
                    <a:pt x="334" y="582"/>
                  </a:lnTo>
                  <a:lnTo>
                    <a:pt x="372" y="590"/>
                  </a:lnTo>
                  <a:lnTo>
                    <a:pt x="424" y="600"/>
                  </a:lnTo>
                  <a:lnTo>
                    <a:pt x="444" y="602"/>
                  </a:lnTo>
                  <a:lnTo>
                    <a:pt x="464" y="604"/>
                  </a:lnTo>
                  <a:lnTo>
                    <a:pt x="490" y="602"/>
                  </a:lnTo>
                  <a:lnTo>
                    <a:pt x="512" y="598"/>
                  </a:lnTo>
                  <a:lnTo>
                    <a:pt x="536" y="592"/>
                  </a:lnTo>
                  <a:lnTo>
                    <a:pt x="566" y="578"/>
                  </a:lnTo>
                  <a:lnTo>
                    <a:pt x="636" y="732"/>
                  </a:lnTo>
                  <a:lnTo>
                    <a:pt x="588" y="752"/>
                  </a:lnTo>
                  <a:lnTo>
                    <a:pt x="566" y="760"/>
                  </a:lnTo>
                  <a:lnTo>
                    <a:pt x="546" y="766"/>
                  </a:lnTo>
                  <a:lnTo>
                    <a:pt x="526" y="770"/>
                  </a:lnTo>
                  <a:lnTo>
                    <a:pt x="506" y="774"/>
                  </a:lnTo>
                  <a:lnTo>
                    <a:pt x="486" y="774"/>
                  </a:lnTo>
                  <a:lnTo>
                    <a:pt x="464" y="776"/>
                  </a:lnTo>
                  <a:lnTo>
                    <a:pt x="440" y="774"/>
                  </a:lnTo>
                  <a:lnTo>
                    <a:pt x="412" y="772"/>
                  </a:lnTo>
                  <a:lnTo>
                    <a:pt x="384" y="766"/>
                  </a:lnTo>
                  <a:lnTo>
                    <a:pt x="354" y="758"/>
                  </a:lnTo>
                  <a:lnTo>
                    <a:pt x="288" y="742"/>
                  </a:lnTo>
                  <a:lnTo>
                    <a:pt x="254" y="734"/>
                  </a:lnTo>
                  <a:lnTo>
                    <a:pt x="234" y="730"/>
                  </a:lnTo>
                  <a:lnTo>
                    <a:pt x="212" y="730"/>
                  </a:lnTo>
                  <a:lnTo>
                    <a:pt x="194" y="730"/>
                  </a:lnTo>
                  <a:lnTo>
                    <a:pt x="178" y="732"/>
                  </a:lnTo>
                  <a:lnTo>
                    <a:pt x="160" y="736"/>
                  </a:lnTo>
                  <a:lnTo>
                    <a:pt x="142" y="742"/>
                  </a:lnTo>
                  <a:lnTo>
                    <a:pt x="104" y="756"/>
                  </a:lnTo>
                  <a:lnTo>
                    <a:pt x="66" y="776"/>
                  </a:lnTo>
                  <a:lnTo>
                    <a:pt x="0" y="630"/>
                  </a:lnTo>
                  <a:lnTo>
                    <a:pt x="24" y="612"/>
                  </a:lnTo>
                  <a:lnTo>
                    <a:pt x="46" y="592"/>
                  </a:lnTo>
                  <a:lnTo>
                    <a:pt x="66" y="572"/>
                  </a:lnTo>
                  <a:lnTo>
                    <a:pt x="80" y="554"/>
                  </a:lnTo>
                  <a:lnTo>
                    <a:pt x="92" y="534"/>
                  </a:lnTo>
                  <a:lnTo>
                    <a:pt x="100" y="516"/>
                  </a:lnTo>
                  <a:lnTo>
                    <a:pt x="106" y="496"/>
                  </a:lnTo>
                  <a:lnTo>
                    <a:pt x="108" y="476"/>
                  </a:lnTo>
                  <a:lnTo>
                    <a:pt x="106" y="454"/>
                  </a:lnTo>
                  <a:lnTo>
                    <a:pt x="0" y="454"/>
                  </a:lnTo>
                  <a:lnTo>
                    <a:pt x="0" y="332"/>
                  </a:lnTo>
                  <a:lnTo>
                    <a:pt x="76" y="332"/>
                  </a:lnTo>
                  <a:lnTo>
                    <a:pt x="54" y="252"/>
                  </a:lnTo>
                  <a:lnTo>
                    <a:pt x="52" y="234"/>
                  </a:lnTo>
                  <a:lnTo>
                    <a:pt x="52" y="212"/>
                  </a:lnTo>
                  <a:lnTo>
                    <a:pt x="54" y="182"/>
                  </a:lnTo>
                  <a:lnTo>
                    <a:pt x="60" y="152"/>
                  </a:lnTo>
                  <a:lnTo>
                    <a:pt x="70" y="124"/>
                  </a:lnTo>
                  <a:lnTo>
                    <a:pt x="86" y="96"/>
                  </a:lnTo>
                  <a:lnTo>
                    <a:pt x="104" y="74"/>
                  </a:lnTo>
                  <a:lnTo>
                    <a:pt x="124" y="52"/>
                  </a:lnTo>
                  <a:lnTo>
                    <a:pt x="148" y="36"/>
                  </a:lnTo>
                  <a:lnTo>
                    <a:pt x="174" y="22"/>
                  </a:lnTo>
                  <a:lnTo>
                    <a:pt x="204" y="12"/>
                  </a:lnTo>
                  <a:lnTo>
                    <a:pt x="240" y="6"/>
                  </a:lnTo>
                  <a:lnTo>
                    <a:pt x="280" y="2"/>
                  </a:lnTo>
                  <a:lnTo>
                    <a:pt x="324" y="0"/>
                  </a:lnTo>
                  <a:lnTo>
                    <a:pt x="366" y="0"/>
                  </a:lnTo>
                  <a:lnTo>
                    <a:pt x="404" y="4"/>
                  </a:lnTo>
                  <a:lnTo>
                    <a:pt x="436" y="10"/>
                  </a:lnTo>
                  <a:lnTo>
                    <a:pt x="464" y="20"/>
                  </a:lnTo>
                  <a:lnTo>
                    <a:pt x="488" y="30"/>
                  </a:lnTo>
                  <a:lnTo>
                    <a:pt x="512" y="46"/>
                  </a:lnTo>
                  <a:lnTo>
                    <a:pt x="532" y="64"/>
                  </a:lnTo>
                  <a:lnTo>
                    <a:pt x="550" y="86"/>
                  </a:lnTo>
                  <a:lnTo>
                    <a:pt x="566" y="110"/>
                  </a:lnTo>
                  <a:lnTo>
                    <a:pt x="580" y="136"/>
                  </a:lnTo>
                  <a:lnTo>
                    <a:pt x="592" y="164"/>
                  </a:lnTo>
                  <a:lnTo>
                    <a:pt x="600" y="196"/>
                  </a:lnTo>
                  <a:lnTo>
                    <a:pt x="404" y="228"/>
                  </a:lnTo>
                  <a:lnTo>
                    <a:pt x="396" y="202"/>
                  </a:lnTo>
                  <a:lnTo>
                    <a:pt x="388" y="182"/>
                  </a:lnTo>
                  <a:lnTo>
                    <a:pt x="378" y="166"/>
                  </a:lnTo>
                  <a:lnTo>
                    <a:pt x="370" y="154"/>
                  </a:lnTo>
                  <a:lnTo>
                    <a:pt x="360" y="146"/>
                  </a:lnTo>
                  <a:lnTo>
                    <a:pt x="350" y="140"/>
                  </a:lnTo>
                  <a:lnTo>
                    <a:pt x="338" y="136"/>
                  </a:lnTo>
                  <a:lnTo>
                    <a:pt x="326" y="136"/>
                  </a:lnTo>
                  <a:lnTo>
                    <a:pt x="312" y="136"/>
                  </a:lnTo>
                  <a:lnTo>
                    <a:pt x="300" y="140"/>
                  </a:lnTo>
                  <a:lnTo>
                    <a:pt x="290" y="146"/>
                  </a:lnTo>
                  <a:lnTo>
                    <a:pt x="280" y="156"/>
                  </a:lnTo>
                  <a:lnTo>
                    <a:pt x="272" y="166"/>
                  </a:lnTo>
                  <a:lnTo>
                    <a:pt x="266" y="178"/>
                  </a:lnTo>
                  <a:lnTo>
                    <a:pt x="262" y="194"/>
                  </a:lnTo>
                  <a:lnTo>
                    <a:pt x="262" y="210"/>
                  </a:lnTo>
                  <a:lnTo>
                    <a:pt x="262" y="230"/>
                  </a:lnTo>
                  <a:lnTo>
                    <a:pt x="264" y="248"/>
                  </a:lnTo>
                  <a:lnTo>
                    <a:pt x="272" y="278"/>
                  </a:lnTo>
                  <a:lnTo>
                    <a:pt x="288" y="332"/>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86" name="Group 1585">
            <a:extLst>
              <a:ext uri="{FF2B5EF4-FFF2-40B4-BE49-F238E27FC236}">
                <a16:creationId xmlns:a16="http://schemas.microsoft.com/office/drawing/2014/main" id="{A0759CB8-4675-497F-BA1C-83A88598E976}"/>
              </a:ext>
            </a:extLst>
          </p:cNvPr>
          <p:cNvGrpSpPr/>
          <p:nvPr/>
        </p:nvGrpSpPr>
        <p:grpSpPr>
          <a:xfrm>
            <a:off x="3191649" y="2393776"/>
            <a:ext cx="612775" cy="612775"/>
            <a:chOff x="1321592" y="3032119"/>
            <a:chExt cx="612775" cy="612775"/>
          </a:xfrm>
        </p:grpSpPr>
        <p:sp>
          <p:nvSpPr>
            <p:cNvPr id="1587" name="Oval 1586">
              <a:extLst>
                <a:ext uri="{FF2B5EF4-FFF2-40B4-BE49-F238E27FC236}">
                  <a16:creationId xmlns:a16="http://schemas.microsoft.com/office/drawing/2014/main" id="{9BDB9A4E-5A73-4FE6-8028-F3A274B25D57}"/>
                </a:ext>
              </a:extLst>
            </p:cNvPr>
            <p:cNvSpPr/>
            <p:nvPr/>
          </p:nvSpPr>
          <p:spPr bwMode="ltGray">
            <a:xfrm>
              <a:off x="132159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588" name="Freeform 318">
              <a:extLst>
                <a:ext uri="{FF2B5EF4-FFF2-40B4-BE49-F238E27FC236}">
                  <a16:creationId xmlns:a16="http://schemas.microsoft.com/office/drawing/2014/main" id="{D463DF4E-C4D0-47C4-A782-5E9CDEAE39A9}"/>
                </a:ext>
              </a:extLst>
            </p:cNvPr>
            <p:cNvSpPr>
              <a:spLocks noEditPoints="1"/>
            </p:cNvSpPr>
            <p:nvPr/>
          </p:nvSpPr>
          <p:spPr bwMode="auto">
            <a:xfrm>
              <a:off x="1442235" y="3184981"/>
              <a:ext cx="379066" cy="284152"/>
            </a:xfrm>
            <a:custGeom>
              <a:avLst/>
              <a:gdLst>
                <a:gd name="T0" fmla="*/ 0 w 770"/>
                <a:gd name="T1" fmla="*/ 0 h 578"/>
                <a:gd name="T2" fmla="*/ 1336404718 w 770"/>
                <a:gd name="T3" fmla="*/ 0 h 578"/>
                <a:gd name="T4" fmla="*/ 1336404718 w 770"/>
                <a:gd name="T5" fmla="*/ 1000394250 h 578"/>
                <a:gd name="T6" fmla="*/ 0 w 770"/>
                <a:gd name="T7" fmla="*/ 1000394250 h 578"/>
                <a:gd name="T8" fmla="*/ 0 w 770"/>
                <a:gd name="T9" fmla="*/ 0 h 578"/>
                <a:gd name="T10" fmla="*/ 475552407 w 770"/>
                <a:gd name="T11" fmla="*/ 498466463 h 578"/>
                <a:gd name="T12" fmla="*/ 31241255 w 770"/>
                <a:gd name="T13" fmla="*/ 55385165 h 578"/>
                <a:gd name="T14" fmla="*/ 31241255 w 770"/>
                <a:gd name="T15" fmla="*/ 941547781 h 578"/>
                <a:gd name="T16" fmla="*/ 475552407 w 770"/>
                <a:gd name="T17" fmla="*/ 498466463 h 578"/>
                <a:gd name="T18" fmla="*/ 55538401 w 770"/>
                <a:gd name="T19" fmla="*/ 31154565 h 578"/>
                <a:gd name="T20" fmla="*/ 645640263 w 770"/>
                <a:gd name="T21" fmla="*/ 619620726 h 578"/>
                <a:gd name="T22" fmla="*/ 645640263 w 770"/>
                <a:gd name="T23" fmla="*/ 619620726 h 578"/>
                <a:gd name="T24" fmla="*/ 656053133 w 770"/>
                <a:gd name="T25" fmla="*/ 626544691 h 578"/>
                <a:gd name="T26" fmla="*/ 669937398 w 770"/>
                <a:gd name="T27" fmla="*/ 630006016 h 578"/>
                <a:gd name="T28" fmla="*/ 669937398 w 770"/>
                <a:gd name="T29" fmla="*/ 630006016 h 578"/>
                <a:gd name="T30" fmla="*/ 680351586 w 770"/>
                <a:gd name="T31" fmla="*/ 626544691 h 578"/>
                <a:gd name="T32" fmla="*/ 690764620 w 770"/>
                <a:gd name="T33" fmla="*/ 619620726 h 578"/>
                <a:gd name="T34" fmla="*/ 1280866338 w 770"/>
                <a:gd name="T35" fmla="*/ 31154565 h 578"/>
                <a:gd name="T36" fmla="*/ 55538401 w 770"/>
                <a:gd name="T37" fmla="*/ 31154565 h 578"/>
                <a:gd name="T38" fmla="*/ 836555340 w 770"/>
                <a:gd name="T39" fmla="*/ 522697052 h 578"/>
                <a:gd name="T40" fmla="*/ 715063074 w 770"/>
                <a:gd name="T41" fmla="*/ 640391306 h 578"/>
                <a:gd name="T42" fmla="*/ 715063074 w 770"/>
                <a:gd name="T43" fmla="*/ 640391306 h 578"/>
                <a:gd name="T44" fmla="*/ 704650204 w 770"/>
                <a:gd name="T45" fmla="*/ 650775280 h 578"/>
                <a:gd name="T46" fmla="*/ 694236016 w 770"/>
                <a:gd name="T47" fmla="*/ 657697930 h 578"/>
                <a:gd name="T48" fmla="*/ 680351586 w 770"/>
                <a:gd name="T49" fmla="*/ 661160570 h 578"/>
                <a:gd name="T50" fmla="*/ 669937398 w 770"/>
                <a:gd name="T51" fmla="*/ 661160570 h 578"/>
                <a:gd name="T52" fmla="*/ 669937398 w 770"/>
                <a:gd name="T53" fmla="*/ 661160570 h 578"/>
                <a:gd name="T54" fmla="*/ 656053133 w 770"/>
                <a:gd name="T55" fmla="*/ 661160570 h 578"/>
                <a:gd name="T56" fmla="*/ 642168867 w 770"/>
                <a:gd name="T57" fmla="*/ 657697930 h 578"/>
                <a:gd name="T58" fmla="*/ 631754679 w 770"/>
                <a:gd name="T59" fmla="*/ 650775280 h 578"/>
                <a:gd name="T60" fmla="*/ 621341809 w 770"/>
                <a:gd name="T61" fmla="*/ 640391306 h 578"/>
                <a:gd name="T62" fmla="*/ 499849543 w 770"/>
                <a:gd name="T63" fmla="*/ 522697052 h 578"/>
                <a:gd name="T64" fmla="*/ 55538401 w 770"/>
                <a:gd name="T65" fmla="*/ 965778370 h 578"/>
                <a:gd name="T66" fmla="*/ 1280866338 w 770"/>
                <a:gd name="T67" fmla="*/ 965778370 h 578"/>
                <a:gd name="T68" fmla="*/ 836555340 w 770"/>
                <a:gd name="T69" fmla="*/ 522697052 h 578"/>
                <a:gd name="T70" fmla="*/ 860852476 w 770"/>
                <a:gd name="T71" fmla="*/ 498466463 h 578"/>
                <a:gd name="T72" fmla="*/ 1305163473 w 770"/>
                <a:gd name="T73" fmla="*/ 941547781 h 578"/>
                <a:gd name="T74" fmla="*/ 1305163473 w 770"/>
                <a:gd name="T75" fmla="*/ 55385165 h 578"/>
                <a:gd name="T76" fmla="*/ 860852476 w 770"/>
                <a:gd name="T77" fmla="*/ 498466463 h 57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70"/>
                <a:gd name="T118" fmla="*/ 0 h 578"/>
                <a:gd name="T119" fmla="*/ 770 w 770"/>
                <a:gd name="T120" fmla="*/ 578 h 57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70" h="578">
                  <a:moveTo>
                    <a:pt x="0" y="0"/>
                  </a:moveTo>
                  <a:lnTo>
                    <a:pt x="770" y="0"/>
                  </a:lnTo>
                  <a:lnTo>
                    <a:pt x="770" y="578"/>
                  </a:lnTo>
                  <a:lnTo>
                    <a:pt x="0" y="578"/>
                  </a:lnTo>
                  <a:lnTo>
                    <a:pt x="0" y="0"/>
                  </a:lnTo>
                  <a:close/>
                  <a:moveTo>
                    <a:pt x="274" y="288"/>
                  </a:moveTo>
                  <a:lnTo>
                    <a:pt x="18" y="32"/>
                  </a:lnTo>
                  <a:lnTo>
                    <a:pt x="18" y="544"/>
                  </a:lnTo>
                  <a:lnTo>
                    <a:pt x="274" y="288"/>
                  </a:lnTo>
                  <a:close/>
                  <a:moveTo>
                    <a:pt x="32" y="18"/>
                  </a:moveTo>
                  <a:lnTo>
                    <a:pt x="372" y="358"/>
                  </a:lnTo>
                  <a:lnTo>
                    <a:pt x="378" y="362"/>
                  </a:lnTo>
                  <a:lnTo>
                    <a:pt x="386" y="364"/>
                  </a:lnTo>
                  <a:lnTo>
                    <a:pt x="392" y="362"/>
                  </a:lnTo>
                  <a:lnTo>
                    <a:pt x="398" y="358"/>
                  </a:lnTo>
                  <a:lnTo>
                    <a:pt x="738" y="18"/>
                  </a:lnTo>
                  <a:lnTo>
                    <a:pt x="32" y="18"/>
                  </a:lnTo>
                  <a:close/>
                  <a:moveTo>
                    <a:pt x="482" y="302"/>
                  </a:moveTo>
                  <a:lnTo>
                    <a:pt x="412" y="370"/>
                  </a:lnTo>
                  <a:lnTo>
                    <a:pt x="406" y="376"/>
                  </a:lnTo>
                  <a:lnTo>
                    <a:pt x="400" y="380"/>
                  </a:lnTo>
                  <a:lnTo>
                    <a:pt x="392" y="382"/>
                  </a:lnTo>
                  <a:lnTo>
                    <a:pt x="386" y="382"/>
                  </a:lnTo>
                  <a:lnTo>
                    <a:pt x="378" y="382"/>
                  </a:lnTo>
                  <a:lnTo>
                    <a:pt x="370" y="380"/>
                  </a:lnTo>
                  <a:lnTo>
                    <a:pt x="364" y="376"/>
                  </a:lnTo>
                  <a:lnTo>
                    <a:pt x="358" y="370"/>
                  </a:lnTo>
                  <a:lnTo>
                    <a:pt x="288" y="302"/>
                  </a:lnTo>
                  <a:lnTo>
                    <a:pt x="32" y="558"/>
                  </a:lnTo>
                  <a:lnTo>
                    <a:pt x="738" y="558"/>
                  </a:lnTo>
                  <a:lnTo>
                    <a:pt x="482" y="302"/>
                  </a:lnTo>
                  <a:close/>
                  <a:moveTo>
                    <a:pt x="496" y="288"/>
                  </a:moveTo>
                  <a:lnTo>
                    <a:pt x="752" y="544"/>
                  </a:lnTo>
                  <a:lnTo>
                    <a:pt x="752" y="32"/>
                  </a:lnTo>
                  <a:lnTo>
                    <a:pt x="496" y="288"/>
                  </a:lnTo>
                  <a:close/>
                </a:path>
              </a:pathLst>
            </a:custGeom>
            <a:solidFill>
              <a:srgbClr val="505050"/>
            </a:solidFill>
            <a:ln w="9525">
              <a:solidFill>
                <a:srgbClr val="50505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589" name="Group 1588">
            <a:extLst>
              <a:ext uri="{FF2B5EF4-FFF2-40B4-BE49-F238E27FC236}">
                <a16:creationId xmlns:a16="http://schemas.microsoft.com/office/drawing/2014/main" id="{2A8C3000-0154-46E3-BC4A-AC63CF7CB179}"/>
              </a:ext>
            </a:extLst>
          </p:cNvPr>
          <p:cNvGrpSpPr/>
          <p:nvPr/>
        </p:nvGrpSpPr>
        <p:grpSpPr>
          <a:xfrm>
            <a:off x="5378004" y="2393776"/>
            <a:ext cx="612775" cy="612775"/>
            <a:chOff x="4223375" y="3032119"/>
            <a:chExt cx="612775" cy="612775"/>
          </a:xfrm>
        </p:grpSpPr>
        <p:sp>
          <p:nvSpPr>
            <p:cNvPr id="1590" name="Oval 1589">
              <a:extLst>
                <a:ext uri="{FF2B5EF4-FFF2-40B4-BE49-F238E27FC236}">
                  <a16:creationId xmlns:a16="http://schemas.microsoft.com/office/drawing/2014/main" id="{E9395C8B-5899-498B-9EBB-41FB70D841F3}"/>
                </a:ext>
              </a:extLst>
            </p:cNvPr>
            <p:cNvSpPr/>
            <p:nvPr/>
          </p:nvSpPr>
          <p:spPr bwMode="ltGray">
            <a:xfrm>
              <a:off x="4223375"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591" name="Group 175">
              <a:extLst>
                <a:ext uri="{FF2B5EF4-FFF2-40B4-BE49-F238E27FC236}">
                  <a16:creationId xmlns:a16="http://schemas.microsoft.com/office/drawing/2014/main" id="{15C22B42-7A81-4029-B89B-96ACC988FC18}"/>
                </a:ext>
              </a:extLst>
            </p:cNvPr>
            <p:cNvGrpSpPr>
              <a:grpSpLocks/>
            </p:cNvGrpSpPr>
            <p:nvPr/>
          </p:nvGrpSpPr>
          <p:grpSpPr bwMode="auto">
            <a:xfrm>
              <a:off x="4313188" y="3208421"/>
              <a:ext cx="434808" cy="298060"/>
              <a:chOff x="2601" y="4040"/>
              <a:chExt cx="1155" cy="792"/>
            </a:xfrm>
          </p:grpSpPr>
          <p:sp>
            <p:nvSpPr>
              <p:cNvPr id="1592" name="Freeform 176">
                <a:extLst>
                  <a:ext uri="{FF2B5EF4-FFF2-40B4-BE49-F238E27FC236}">
                    <a16:creationId xmlns:a16="http://schemas.microsoft.com/office/drawing/2014/main" id="{1AFA1281-BAEA-4D8A-88C8-99984FA04A1B}"/>
                  </a:ext>
                </a:extLst>
              </p:cNvPr>
              <p:cNvSpPr>
                <a:spLocks/>
              </p:cNvSpPr>
              <p:nvPr/>
            </p:nvSpPr>
            <p:spPr bwMode="auto">
              <a:xfrm>
                <a:off x="2601" y="4040"/>
                <a:ext cx="1155" cy="792"/>
              </a:xfrm>
              <a:custGeom>
                <a:avLst/>
                <a:gdLst>
                  <a:gd name="T0" fmla="*/ 63 w 16169"/>
                  <a:gd name="T1" fmla="*/ 2 h 11090"/>
                  <a:gd name="T2" fmla="*/ 78 w 16169"/>
                  <a:gd name="T3" fmla="*/ 0 h 11090"/>
                  <a:gd name="T4" fmla="*/ 78 w 16169"/>
                  <a:gd name="T5" fmla="*/ 0 h 11090"/>
                  <a:gd name="T6" fmla="*/ 79 w 16169"/>
                  <a:gd name="T7" fmla="*/ 1 h 11090"/>
                  <a:gd name="T8" fmla="*/ 79 w 16169"/>
                  <a:gd name="T9" fmla="*/ 1 h 11090"/>
                  <a:gd name="T10" fmla="*/ 79 w 16169"/>
                  <a:gd name="T11" fmla="*/ 2 h 11090"/>
                  <a:gd name="T12" fmla="*/ 80 w 16169"/>
                  <a:gd name="T13" fmla="*/ 2 h 11090"/>
                  <a:gd name="T14" fmla="*/ 80 w 16169"/>
                  <a:gd name="T15" fmla="*/ 2 h 11090"/>
                  <a:gd name="T16" fmla="*/ 80 w 16169"/>
                  <a:gd name="T17" fmla="*/ 2 h 11090"/>
                  <a:gd name="T18" fmla="*/ 80 w 16169"/>
                  <a:gd name="T19" fmla="*/ 2 h 11090"/>
                  <a:gd name="T20" fmla="*/ 80 w 16169"/>
                  <a:gd name="T21" fmla="*/ 2 h 11090"/>
                  <a:gd name="T22" fmla="*/ 80 w 16169"/>
                  <a:gd name="T23" fmla="*/ 3 h 11090"/>
                  <a:gd name="T24" fmla="*/ 80 w 16169"/>
                  <a:gd name="T25" fmla="*/ 3 h 11090"/>
                  <a:gd name="T26" fmla="*/ 81 w 16169"/>
                  <a:gd name="T27" fmla="*/ 3 h 11090"/>
                  <a:gd name="T28" fmla="*/ 81 w 16169"/>
                  <a:gd name="T29" fmla="*/ 3 h 11090"/>
                  <a:gd name="T30" fmla="*/ 81 w 16169"/>
                  <a:gd name="T31" fmla="*/ 3 h 11090"/>
                  <a:gd name="T32" fmla="*/ 81 w 16169"/>
                  <a:gd name="T33" fmla="*/ 3 h 11090"/>
                  <a:gd name="T34" fmla="*/ 82 w 16169"/>
                  <a:gd name="T35" fmla="*/ 3 h 11090"/>
                  <a:gd name="T36" fmla="*/ 82 w 16169"/>
                  <a:gd name="T37" fmla="*/ 3 h 11090"/>
                  <a:gd name="T38" fmla="*/ 82 w 16169"/>
                  <a:gd name="T39" fmla="*/ 3 h 11090"/>
                  <a:gd name="T40" fmla="*/ 82 w 16169"/>
                  <a:gd name="T41" fmla="*/ 3 h 11090"/>
                  <a:gd name="T42" fmla="*/ 80 w 16169"/>
                  <a:gd name="T43" fmla="*/ 45 h 11090"/>
                  <a:gd name="T44" fmla="*/ 0 w 16169"/>
                  <a:gd name="T45" fmla="*/ 9 h 11090"/>
                  <a:gd name="T46" fmla="*/ 0 w 16169"/>
                  <a:gd name="T47" fmla="*/ 9 h 11090"/>
                  <a:gd name="T48" fmla="*/ 1 w 16169"/>
                  <a:gd name="T49" fmla="*/ 9 h 11090"/>
                  <a:gd name="T50" fmla="*/ 1 w 16169"/>
                  <a:gd name="T51" fmla="*/ 9 h 11090"/>
                  <a:gd name="T52" fmla="*/ 2 w 16169"/>
                  <a:gd name="T53" fmla="*/ 9 h 11090"/>
                  <a:gd name="T54" fmla="*/ 2 w 16169"/>
                  <a:gd name="T55" fmla="*/ 9 h 11090"/>
                  <a:gd name="T56" fmla="*/ 2 w 16169"/>
                  <a:gd name="T57" fmla="*/ 9 h 11090"/>
                  <a:gd name="T58" fmla="*/ 2 w 16169"/>
                  <a:gd name="T59" fmla="*/ 9 h 11090"/>
                  <a:gd name="T60" fmla="*/ 3 w 16169"/>
                  <a:gd name="T61" fmla="*/ 8 h 11090"/>
                  <a:gd name="T62" fmla="*/ 3 w 16169"/>
                  <a:gd name="T63" fmla="*/ 8 h 11090"/>
                  <a:gd name="T64" fmla="*/ 3 w 16169"/>
                  <a:gd name="T65" fmla="*/ 8 h 11090"/>
                  <a:gd name="T66" fmla="*/ 3 w 16169"/>
                  <a:gd name="T67" fmla="*/ 8 h 11090"/>
                  <a:gd name="T68" fmla="*/ 3 w 16169"/>
                  <a:gd name="T69" fmla="*/ 7 h 11090"/>
                  <a:gd name="T70" fmla="*/ 3 w 16169"/>
                  <a:gd name="T71" fmla="*/ 7 h 11090"/>
                  <a:gd name="T72" fmla="*/ 3 w 16169"/>
                  <a:gd name="T73" fmla="*/ 7 h 11090"/>
                  <a:gd name="T74" fmla="*/ 3 w 16169"/>
                  <a:gd name="T75" fmla="*/ 6 h 11090"/>
                  <a:gd name="T76" fmla="*/ 3 w 16169"/>
                  <a:gd name="T77" fmla="*/ 6 h 11090"/>
                  <a:gd name="T78" fmla="*/ 19 w 16169"/>
                  <a:gd name="T79" fmla="*/ 3 h 11090"/>
                  <a:gd name="T80" fmla="*/ 62 w 16169"/>
                  <a:gd name="T81" fmla="*/ 1 h 1109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6169"/>
                  <a:gd name="T124" fmla="*/ 0 h 11090"/>
                  <a:gd name="T125" fmla="*/ 16169 w 16169"/>
                  <a:gd name="T126" fmla="*/ 11090 h 1109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6169" h="11090">
                    <a:moveTo>
                      <a:pt x="12101" y="186"/>
                    </a:moveTo>
                    <a:lnTo>
                      <a:pt x="12407" y="337"/>
                    </a:lnTo>
                    <a:lnTo>
                      <a:pt x="15304" y="0"/>
                    </a:lnTo>
                    <a:lnTo>
                      <a:pt x="15307" y="5"/>
                    </a:lnTo>
                    <a:lnTo>
                      <a:pt x="15319" y="19"/>
                    </a:lnTo>
                    <a:lnTo>
                      <a:pt x="15339" y="44"/>
                    </a:lnTo>
                    <a:lnTo>
                      <a:pt x="15365" y="77"/>
                    </a:lnTo>
                    <a:lnTo>
                      <a:pt x="15399" y="121"/>
                    </a:lnTo>
                    <a:lnTo>
                      <a:pt x="15442" y="172"/>
                    </a:lnTo>
                    <a:lnTo>
                      <a:pt x="15491" y="235"/>
                    </a:lnTo>
                    <a:lnTo>
                      <a:pt x="15547" y="306"/>
                    </a:lnTo>
                    <a:lnTo>
                      <a:pt x="15555" y="325"/>
                    </a:lnTo>
                    <a:lnTo>
                      <a:pt x="15564" y="343"/>
                    </a:lnTo>
                    <a:lnTo>
                      <a:pt x="15575" y="360"/>
                    </a:lnTo>
                    <a:lnTo>
                      <a:pt x="15586" y="377"/>
                    </a:lnTo>
                    <a:lnTo>
                      <a:pt x="15597" y="394"/>
                    </a:lnTo>
                    <a:lnTo>
                      <a:pt x="15610" y="410"/>
                    </a:lnTo>
                    <a:lnTo>
                      <a:pt x="15623" y="425"/>
                    </a:lnTo>
                    <a:lnTo>
                      <a:pt x="15638" y="439"/>
                    </a:lnTo>
                    <a:lnTo>
                      <a:pt x="15654" y="452"/>
                    </a:lnTo>
                    <a:lnTo>
                      <a:pt x="15670" y="465"/>
                    </a:lnTo>
                    <a:lnTo>
                      <a:pt x="15688" y="479"/>
                    </a:lnTo>
                    <a:lnTo>
                      <a:pt x="15706" y="491"/>
                    </a:lnTo>
                    <a:lnTo>
                      <a:pt x="15725" y="502"/>
                    </a:lnTo>
                    <a:lnTo>
                      <a:pt x="15747" y="513"/>
                    </a:lnTo>
                    <a:lnTo>
                      <a:pt x="15768" y="523"/>
                    </a:lnTo>
                    <a:lnTo>
                      <a:pt x="15791" y="533"/>
                    </a:lnTo>
                    <a:lnTo>
                      <a:pt x="15807" y="548"/>
                    </a:lnTo>
                    <a:lnTo>
                      <a:pt x="15824" y="563"/>
                    </a:lnTo>
                    <a:lnTo>
                      <a:pt x="15842" y="575"/>
                    </a:lnTo>
                    <a:lnTo>
                      <a:pt x="15861" y="587"/>
                    </a:lnTo>
                    <a:lnTo>
                      <a:pt x="15881" y="598"/>
                    </a:lnTo>
                    <a:lnTo>
                      <a:pt x="15902" y="607"/>
                    </a:lnTo>
                    <a:lnTo>
                      <a:pt x="15924" y="616"/>
                    </a:lnTo>
                    <a:lnTo>
                      <a:pt x="15947" y="624"/>
                    </a:lnTo>
                    <a:lnTo>
                      <a:pt x="15971" y="630"/>
                    </a:lnTo>
                    <a:lnTo>
                      <a:pt x="15997" y="636"/>
                    </a:lnTo>
                    <a:lnTo>
                      <a:pt x="16022" y="641"/>
                    </a:lnTo>
                    <a:lnTo>
                      <a:pt x="16049" y="645"/>
                    </a:lnTo>
                    <a:lnTo>
                      <a:pt x="16078" y="648"/>
                    </a:lnTo>
                    <a:lnTo>
                      <a:pt x="16107" y="651"/>
                    </a:lnTo>
                    <a:lnTo>
                      <a:pt x="16137" y="652"/>
                    </a:lnTo>
                    <a:lnTo>
                      <a:pt x="16169" y="653"/>
                    </a:lnTo>
                    <a:lnTo>
                      <a:pt x="15728" y="8755"/>
                    </a:lnTo>
                    <a:lnTo>
                      <a:pt x="3203" y="11090"/>
                    </a:lnTo>
                    <a:lnTo>
                      <a:pt x="0" y="1869"/>
                    </a:lnTo>
                    <a:lnTo>
                      <a:pt x="45" y="1863"/>
                    </a:lnTo>
                    <a:lnTo>
                      <a:pt x="88" y="1856"/>
                    </a:lnTo>
                    <a:lnTo>
                      <a:pt x="129" y="1848"/>
                    </a:lnTo>
                    <a:lnTo>
                      <a:pt x="168" y="1839"/>
                    </a:lnTo>
                    <a:lnTo>
                      <a:pt x="206" y="1830"/>
                    </a:lnTo>
                    <a:lnTo>
                      <a:pt x="241" y="1819"/>
                    </a:lnTo>
                    <a:lnTo>
                      <a:pt x="276" y="1808"/>
                    </a:lnTo>
                    <a:lnTo>
                      <a:pt x="308" y="1795"/>
                    </a:lnTo>
                    <a:lnTo>
                      <a:pt x="338" y="1783"/>
                    </a:lnTo>
                    <a:lnTo>
                      <a:pt x="367" y="1769"/>
                    </a:lnTo>
                    <a:lnTo>
                      <a:pt x="394" y="1755"/>
                    </a:lnTo>
                    <a:lnTo>
                      <a:pt x="419" y="1740"/>
                    </a:lnTo>
                    <a:lnTo>
                      <a:pt x="443" y="1725"/>
                    </a:lnTo>
                    <a:lnTo>
                      <a:pt x="465" y="1707"/>
                    </a:lnTo>
                    <a:lnTo>
                      <a:pt x="484" y="1690"/>
                    </a:lnTo>
                    <a:lnTo>
                      <a:pt x="503" y="1672"/>
                    </a:lnTo>
                    <a:lnTo>
                      <a:pt x="521" y="1647"/>
                    </a:lnTo>
                    <a:lnTo>
                      <a:pt x="538" y="1622"/>
                    </a:lnTo>
                    <a:lnTo>
                      <a:pt x="553" y="1595"/>
                    </a:lnTo>
                    <a:lnTo>
                      <a:pt x="568" y="1568"/>
                    </a:lnTo>
                    <a:lnTo>
                      <a:pt x="581" y="1542"/>
                    </a:lnTo>
                    <a:lnTo>
                      <a:pt x="593" y="1514"/>
                    </a:lnTo>
                    <a:lnTo>
                      <a:pt x="605" y="1486"/>
                    </a:lnTo>
                    <a:lnTo>
                      <a:pt x="615" y="1458"/>
                    </a:lnTo>
                    <a:lnTo>
                      <a:pt x="624" y="1429"/>
                    </a:lnTo>
                    <a:lnTo>
                      <a:pt x="632" y="1401"/>
                    </a:lnTo>
                    <a:lnTo>
                      <a:pt x="638" y="1371"/>
                    </a:lnTo>
                    <a:lnTo>
                      <a:pt x="643" y="1341"/>
                    </a:lnTo>
                    <a:lnTo>
                      <a:pt x="648" y="1311"/>
                    </a:lnTo>
                    <a:lnTo>
                      <a:pt x="651" y="1280"/>
                    </a:lnTo>
                    <a:lnTo>
                      <a:pt x="652" y="1248"/>
                    </a:lnTo>
                    <a:lnTo>
                      <a:pt x="653" y="1217"/>
                    </a:lnTo>
                    <a:lnTo>
                      <a:pt x="653" y="958"/>
                    </a:lnTo>
                    <a:lnTo>
                      <a:pt x="3737" y="533"/>
                    </a:lnTo>
                    <a:lnTo>
                      <a:pt x="4421" y="1051"/>
                    </a:lnTo>
                    <a:lnTo>
                      <a:pt x="12101" y="186"/>
                    </a:lnTo>
                    <a:close/>
                  </a:path>
                </a:pathLst>
              </a:custGeom>
              <a:solidFill>
                <a:srgbClr val="505050"/>
              </a:solidFill>
              <a:ln w="3175">
                <a:no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593" name="Freeform 177">
                <a:extLst>
                  <a:ext uri="{FF2B5EF4-FFF2-40B4-BE49-F238E27FC236}">
                    <a16:creationId xmlns:a16="http://schemas.microsoft.com/office/drawing/2014/main" id="{DF027308-C447-47FE-8A7F-35AB3FAA3C44}"/>
                  </a:ext>
                </a:extLst>
              </p:cNvPr>
              <p:cNvSpPr>
                <a:spLocks/>
              </p:cNvSpPr>
              <p:nvPr/>
            </p:nvSpPr>
            <p:spPr bwMode="auto">
              <a:xfrm>
                <a:off x="2890" y="4066"/>
                <a:ext cx="832" cy="709"/>
              </a:xfrm>
              <a:custGeom>
                <a:avLst/>
                <a:gdLst>
                  <a:gd name="T0" fmla="*/ 59 w 11660"/>
                  <a:gd name="T1" fmla="*/ 3 h 9921"/>
                  <a:gd name="T2" fmla="*/ 59 w 11660"/>
                  <a:gd name="T3" fmla="*/ 3 h 9921"/>
                  <a:gd name="T4" fmla="*/ 59 w 11660"/>
                  <a:gd name="T5" fmla="*/ 3 h 9921"/>
                  <a:gd name="T6" fmla="*/ 58 w 11660"/>
                  <a:gd name="T7" fmla="*/ 3 h 9921"/>
                  <a:gd name="T8" fmla="*/ 58 w 11660"/>
                  <a:gd name="T9" fmla="*/ 2 h 9921"/>
                  <a:gd name="T10" fmla="*/ 58 w 11660"/>
                  <a:gd name="T11" fmla="*/ 2 h 9921"/>
                  <a:gd name="T12" fmla="*/ 58 w 11660"/>
                  <a:gd name="T13" fmla="*/ 2 h 9921"/>
                  <a:gd name="T14" fmla="*/ 57 w 11660"/>
                  <a:gd name="T15" fmla="*/ 2 h 9921"/>
                  <a:gd name="T16" fmla="*/ 57 w 11660"/>
                  <a:gd name="T17" fmla="*/ 2 h 9921"/>
                  <a:gd name="T18" fmla="*/ 57 w 11660"/>
                  <a:gd name="T19" fmla="*/ 2 h 9921"/>
                  <a:gd name="T20" fmla="*/ 57 w 11660"/>
                  <a:gd name="T21" fmla="*/ 1 h 9921"/>
                  <a:gd name="T22" fmla="*/ 57 w 11660"/>
                  <a:gd name="T23" fmla="*/ 1 h 9921"/>
                  <a:gd name="T24" fmla="*/ 56 w 11660"/>
                  <a:gd name="T25" fmla="*/ 1 h 9921"/>
                  <a:gd name="T26" fmla="*/ 56 w 11660"/>
                  <a:gd name="T27" fmla="*/ 1 h 9921"/>
                  <a:gd name="T28" fmla="*/ 56 w 11660"/>
                  <a:gd name="T29" fmla="*/ 0 h 9921"/>
                  <a:gd name="T30" fmla="*/ 56 w 11660"/>
                  <a:gd name="T31" fmla="*/ 0 h 9921"/>
                  <a:gd name="T32" fmla="*/ 26 w 11660"/>
                  <a:gd name="T33" fmla="*/ 4 h 9921"/>
                  <a:gd name="T34" fmla="*/ 26 w 11660"/>
                  <a:gd name="T35" fmla="*/ 4 h 9921"/>
                  <a:gd name="T36" fmla="*/ 26 w 11660"/>
                  <a:gd name="T37" fmla="*/ 4 h 9921"/>
                  <a:gd name="T38" fmla="*/ 25 w 11660"/>
                  <a:gd name="T39" fmla="*/ 4 h 9921"/>
                  <a:gd name="T40" fmla="*/ 25 w 11660"/>
                  <a:gd name="T41" fmla="*/ 5 h 9921"/>
                  <a:gd name="T42" fmla="*/ 25 w 11660"/>
                  <a:gd name="T43" fmla="*/ 5 h 9921"/>
                  <a:gd name="T44" fmla="*/ 25 w 11660"/>
                  <a:gd name="T45" fmla="*/ 5 h 9921"/>
                  <a:gd name="T46" fmla="*/ 25 w 11660"/>
                  <a:gd name="T47" fmla="*/ 5 h 9921"/>
                  <a:gd name="T48" fmla="*/ 25 w 11660"/>
                  <a:gd name="T49" fmla="*/ 6 h 9921"/>
                  <a:gd name="T50" fmla="*/ 24 w 11660"/>
                  <a:gd name="T51" fmla="*/ 7 h 9921"/>
                  <a:gd name="T52" fmla="*/ 24 w 11660"/>
                  <a:gd name="T53" fmla="*/ 7 h 9921"/>
                  <a:gd name="T54" fmla="*/ 24 w 11660"/>
                  <a:gd name="T55" fmla="*/ 7 h 9921"/>
                  <a:gd name="T56" fmla="*/ 24 w 11660"/>
                  <a:gd name="T57" fmla="*/ 8 h 9921"/>
                  <a:gd name="T58" fmla="*/ 24 w 11660"/>
                  <a:gd name="T59" fmla="*/ 8 h 9921"/>
                  <a:gd name="T60" fmla="*/ 23 w 11660"/>
                  <a:gd name="T61" fmla="*/ 8 h 9921"/>
                  <a:gd name="T62" fmla="*/ 23 w 11660"/>
                  <a:gd name="T63" fmla="*/ 8 h 9921"/>
                  <a:gd name="T64" fmla="*/ 23 w 11660"/>
                  <a:gd name="T65" fmla="*/ 8 h 9921"/>
                  <a:gd name="T66" fmla="*/ 23 w 11660"/>
                  <a:gd name="T67" fmla="*/ 9 h 9921"/>
                  <a:gd name="T68" fmla="*/ 23 w 11660"/>
                  <a:gd name="T69" fmla="*/ 9 h 9921"/>
                  <a:gd name="T70" fmla="*/ 23 w 11660"/>
                  <a:gd name="T71" fmla="*/ 9 h 9921"/>
                  <a:gd name="T72" fmla="*/ 23 w 11660"/>
                  <a:gd name="T73" fmla="*/ 9 h 9921"/>
                  <a:gd name="T74" fmla="*/ 22 w 11660"/>
                  <a:gd name="T75" fmla="*/ 9 h 9921"/>
                  <a:gd name="T76" fmla="*/ 22 w 11660"/>
                  <a:gd name="T77" fmla="*/ 9 h 9921"/>
                  <a:gd name="T78" fmla="*/ 22 w 11660"/>
                  <a:gd name="T79" fmla="*/ 9 h 9921"/>
                  <a:gd name="T80" fmla="*/ 5 w 11660"/>
                  <a:gd name="T81" fmla="*/ 12 h 9921"/>
                  <a:gd name="T82" fmla="*/ 4 w 11660"/>
                  <a:gd name="T83" fmla="*/ 12 h 9921"/>
                  <a:gd name="T84" fmla="*/ 4 w 11660"/>
                  <a:gd name="T85" fmla="*/ 13 h 9921"/>
                  <a:gd name="T86" fmla="*/ 3 w 11660"/>
                  <a:gd name="T87" fmla="*/ 13 h 9921"/>
                  <a:gd name="T88" fmla="*/ 3 w 11660"/>
                  <a:gd name="T89" fmla="*/ 13 h 9921"/>
                  <a:gd name="T90" fmla="*/ 3 w 11660"/>
                  <a:gd name="T91" fmla="*/ 13 h 9921"/>
                  <a:gd name="T92" fmla="*/ 3 w 11660"/>
                  <a:gd name="T93" fmla="*/ 13 h 9921"/>
                  <a:gd name="T94" fmla="*/ 3 w 11660"/>
                  <a:gd name="T95" fmla="*/ 14 h 9921"/>
                  <a:gd name="T96" fmla="*/ 2 w 11660"/>
                  <a:gd name="T97" fmla="*/ 14 h 9921"/>
                  <a:gd name="T98" fmla="*/ 2 w 11660"/>
                  <a:gd name="T99" fmla="*/ 14 h 9921"/>
                  <a:gd name="T100" fmla="*/ 2 w 11660"/>
                  <a:gd name="T101" fmla="*/ 14 h 9921"/>
                  <a:gd name="T102" fmla="*/ 2 w 11660"/>
                  <a:gd name="T103" fmla="*/ 14 h 9921"/>
                  <a:gd name="T104" fmla="*/ 2 w 11660"/>
                  <a:gd name="T105" fmla="*/ 14 h 9921"/>
                  <a:gd name="T106" fmla="*/ 2 w 11660"/>
                  <a:gd name="T107" fmla="*/ 14 h 9921"/>
                  <a:gd name="T108" fmla="*/ 0 w 11660"/>
                  <a:gd name="T109" fmla="*/ 51 h 9921"/>
                  <a:gd name="T110" fmla="*/ 59 w 11660"/>
                  <a:gd name="T111" fmla="*/ 3 h 992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60"/>
                  <a:gd name="T169" fmla="*/ 0 h 9921"/>
                  <a:gd name="T170" fmla="*/ 11660 w 11660"/>
                  <a:gd name="T171" fmla="*/ 9921 h 992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60" h="9921">
                    <a:moveTo>
                      <a:pt x="11660" y="560"/>
                    </a:moveTo>
                    <a:lnTo>
                      <a:pt x="11628" y="554"/>
                    </a:lnTo>
                    <a:lnTo>
                      <a:pt x="11597" y="546"/>
                    </a:lnTo>
                    <a:lnTo>
                      <a:pt x="11566" y="539"/>
                    </a:lnTo>
                    <a:lnTo>
                      <a:pt x="11537" y="530"/>
                    </a:lnTo>
                    <a:lnTo>
                      <a:pt x="11507" y="521"/>
                    </a:lnTo>
                    <a:lnTo>
                      <a:pt x="11479" y="512"/>
                    </a:lnTo>
                    <a:lnTo>
                      <a:pt x="11452" y="501"/>
                    </a:lnTo>
                    <a:lnTo>
                      <a:pt x="11424" y="490"/>
                    </a:lnTo>
                    <a:lnTo>
                      <a:pt x="11398" y="478"/>
                    </a:lnTo>
                    <a:lnTo>
                      <a:pt x="11373" y="466"/>
                    </a:lnTo>
                    <a:lnTo>
                      <a:pt x="11347" y="451"/>
                    </a:lnTo>
                    <a:lnTo>
                      <a:pt x="11323" y="437"/>
                    </a:lnTo>
                    <a:lnTo>
                      <a:pt x="11300" y="422"/>
                    </a:lnTo>
                    <a:lnTo>
                      <a:pt x="11276" y="407"/>
                    </a:lnTo>
                    <a:lnTo>
                      <a:pt x="11254" y="391"/>
                    </a:lnTo>
                    <a:lnTo>
                      <a:pt x="11232" y="374"/>
                    </a:lnTo>
                    <a:lnTo>
                      <a:pt x="11211" y="355"/>
                    </a:lnTo>
                    <a:lnTo>
                      <a:pt x="11190" y="337"/>
                    </a:lnTo>
                    <a:lnTo>
                      <a:pt x="11171" y="318"/>
                    </a:lnTo>
                    <a:lnTo>
                      <a:pt x="11152" y="298"/>
                    </a:lnTo>
                    <a:lnTo>
                      <a:pt x="11134" y="277"/>
                    </a:lnTo>
                    <a:lnTo>
                      <a:pt x="11115" y="255"/>
                    </a:lnTo>
                    <a:lnTo>
                      <a:pt x="11099" y="233"/>
                    </a:lnTo>
                    <a:lnTo>
                      <a:pt x="11082" y="211"/>
                    </a:lnTo>
                    <a:lnTo>
                      <a:pt x="11067" y="186"/>
                    </a:lnTo>
                    <a:lnTo>
                      <a:pt x="11052" y="162"/>
                    </a:lnTo>
                    <a:lnTo>
                      <a:pt x="11037" y="137"/>
                    </a:lnTo>
                    <a:lnTo>
                      <a:pt x="11023" y="112"/>
                    </a:lnTo>
                    <a:lnTo>
                      <a:pt x="11010" y="84"/>
                    </a:lnTo>
                    <a:lnTo>
                      <a:pt x="10998" y="57"/>
                    </a:lnTo>
                    <a:lnTo>
                      <a:pt x="10987" y="30"/>
                    </a:lnTo>
                    <a:lnTo>
                      <a:pt x="10976" y="0"/>
                    </a:lnTo>
                    <a:lnTo>
                      <a:pt x="5135" y="726"/>
                    </a:lnTo>
                    <a:lnTo>
                      <a:pt x="5105" y="745"/>
                    </a:lnTo>
                    <a:lnTo>
                      <a:pt x="5077" y="766"/>
                    </a:lnTo>
                    <a:lnTo>
                      <a:pt x="5050" y="786"/>
                    </a:lnTo>
                    <a:lnTo>
                      <a:pt x="5025" y="808"/>
                    </a:lnTo>
                    <a:lnTo>
                      <a:pt x="5002" y="831"/>
                    </a:lnTo>
                    <a:lnTo>
                      <a:pt x="4980" y="853"/>
                    </a:lnTo>
                    <a:lnTo>
                      <a:pt x="4961" y="876"/>
                    </a:lnTo>
                    <a:lnTo>
                      <a:pt x="4943" y="901"/>
                    </a:lnTo>
                    <a:lnTo>
                      <a:pt x="4927" y="926"/>
                    </a:lnTo>
                    <a:lnTo>
                      <a:pt x="4913" y="951"/>
                    </a:lnTo>
                    <a:lnTo>
                      <a:pt x="4899" y="977"/>
                    </a:lnTo>
                    <a:lnTo>
                      <a:pt x="4888" y="1005"/>
                    </a:lnTo>
                    <a:lnTo>
                      <a:pt x="4879" y="1032"/>
                    </a:lnTo>
                    <a:lnTo>
                      <a:pt x="4871" y="1060"/>
                    </a:lnTo>
                    <a:lnTo>
                      <a:pt x="4865" y="1090"/>
                    </a:lnTo>
                    <a:lnTo>
                      <a:pt x="4860" y="1119"/>
                    </a:lnTo>
                    <a:lnTo>
                      <a:pt x="4818" y="1203"/>
                    </a:lnTo>
                    <a:lnTo>
                      <a:pt x="4779" y="1280"/>
                    </a:lnTo>
                    <a:lnTo>
                      <a:pt x="4759" y="1316"/>
                    </a:lnTo>
                    <a:lnTo>
                      <a:pt x="4741" y="1350"/>
                    </a:lnTo>
                    <a:lnTo>
                      <a:pt x="4721" y="1382"/>
                    </a:lnTo>
                    <a:lnTo>
                      <a:pt x="4704" y="1412"/>
                    </a:lnTo>
                    <a:lnTo>
                      <a:pt x="4686" y="1442"/>
                    </a:lnTo>
                    <a:lnTo>
                      <a:pt x="4669" y="1468"/>
                    </a:lnTo>
                    <a:lnTo>
                      <a:pt x="4651" y="1493"/>
                    </a:lnTo>
                    <a:lnTo>
                      <a:pt x="4634" y="1516"/>
                    </a:lnTo>
                    <a:lnTo>
                      <a:pt x="4618" y="1538"/>
                    </a:lnTo>
                    <a:lnTo>
                      <a:pt x="4602" y="1557"/>
                    </a:lnTo>
                    <a:lnTo>
                      <a:pt x="4586" y="1574"/>
                    </a:lnTo>
                    <a:lnTo>
                      <a:pt x="4570" y="1590"/>
                    </a:lnTo>
                    <a:lnTo>
                      <a:pt x="4558" y="1617"/>
                    </a:lnTo>
                    <a:lnTo>
                      <a:pt x="4546" y="1641"/>
                    </a:lnTo>
                    <a:lnTo>
                      <a:pt x="4533" y="1663"/>
                    </a:lnTo>
                    <a:lnTo>
                      <a:pt x="4521" y="1684"/>
                    </a:lnTo>
                    <a:lnTo>
                      <a:pt x="4507" y="1704"/>
                    </a:lnTo>
                    <a:lnTo>
                      <a:pt x="4493" y="1721"/>
                    </a:lnTo>
                    <a:lnTo>
                      <a:pt x="4478" y="1737"/>
                    </a:lnTo>
                    <a:lnTo>
                      <a:pt x="4464" y="1750"/>
                    </a:lnTo>
                    <a:lnTo>
                      <a:pt x="4449" y="1763"/>
                    </a:lnTo>
                    <a:lnTo>
                      <a:pt x="4433" y="1773"/>
                    </a:lnTo>
                    <a:lnTo>
                      <a:pt x="4417" y="1783"/>
                    </a:lnTo>
                    <a:lnTo>
                      <a:pt x="4399" y="1790"/>
                    </a:lnTo>
                    <a:lnTo>
                      <a:pt x="4382" y="1796"/>
                    </a:lnTo>
                    <a:lnTo>
                      <a:pt x="4364" y="1800"/>
                    </a:lnTo>
                    <a:lnTo>
                      <a:pt x="4346" y="1802"/>
                    </a:lnTo>
                    <a:lnTo>
                      <a:pt x="4326" y="1803"/>
                    </a:lnTo>
                    <a:lnTo>
                      <a:pt x="942" y="2273"/>
                    </a:lnTo>
                    <a:lnTo>
                      <a:pt x="896" y="2327"/>
                    </a:lnTo>
                    <a:lnTo>
                      <a:pt x="849" y="2377"/>
                    </a:lnTo>
                    <a:lnTo>
                      <a:pt x="803" y="2424"/>
                    </a:lnTo>
                    <a:lnTo>
                      <a:pt x="759" y="2467"/>
                    </a:lnTo>
                    <a:lnTo>
                      <a:pt x="737" y="2487"/>
                    </a:lnTo>
                    <a:lnTo>
                      <a:pt x="715" y="2507"/>
                    </a:lnTo>
                    <a:lnTo>
                      <a:pt x="693" y="2525"/>
                    </a:lnTo>
                    <a:lnTo>
                      <a:pt x="672" y="2542"/>
                    </a:lnTo>
                    <a:lnTo>
                      <a:pt x="651" y="2559"/>
                    </a:lnTo>
                    <a:lnTo>
                      <a:pt x="630" y="2575"/>
                    </a:lnTo>
                    <a:lnTo>
                      <a:pt x="609" y="2591"/>
                    </a:lnTo>
                    <a:lnTo>
                      <a:pt x="589" y="2604"/>
                    </a:lnTo>
                    <a:lnTo>
                      <a:pt x="569" y="2618"/>
                    </a:lnTo>
                    <a:lnTo>
                      <a:pt x="548" y="2630"/>
                    </a:lnTo>
                    <a:lnTo>
                      <a:pt x="528" y="2641"/>
                    </a:lnTo>
                    <a:lnTo>
                      <a:pt x="509" y="2652"/>
                    </a:lnTo>
                    <a:lnTo>
                      <a:pt x="490" y="2662"/>
                    </a:lnTo>
                    <a:lnTo>
                      <a:pt x="470" y="2672"/>
                    </a:lnTo>
                    <a:lnTo>
                      <a:pt x="451" y="2680"/>
                    </a:lnTo>
                    <a:lnTo>
                      <a:pt x="432" y="2687"/>
                    </a:lnTo>
                    <a:lnTo>
                      <a:pt x="414" y="2693"/>
                    </a:lnTo>
                    <a:lnTo>
                      <a:pt x="395" y="2699"/>
                    </a:lnTo>
                    <a:lnTo>
                      <a:pt x="377" y="2703"/>
                    </a:lnTo>
                    <a:lnTo>
                      <a:pt x="359" y="2707"/>
                    </a:lnTo>
                    <a:lnTo>
                      <a:pt x="342" y="2710"/>
                    </a:lnTo>
                    <a:lnTo>
                      <a:pt x="324" y="2712"/>
                    </a:lnTo>
                    <a:lnTo>
                      <a:pt x="306" y="2713"/>
                    </a:lnTo>
                    <a:lnTo>
                      <a:pt x="289" y="2714"/>
                    </a:lnTo>
                    <a:lnTo>
                      <a:pt x="0" y="9921"/>
                    </a:lnTo>
                    <a:lnTo>
                      <a:pt x="11266" y="7736"/>
                    </a:lnTo>
                    <a:lnTo>
                      <a:pt x="11660" y="560"/>
                    </a:lnTo>
                  </a:path>
                </a:pathLst>
              </a:custGeom>
              <a:solidFill>
                <a:sysClr val="window" lastClr="FFFFFF"/>
              </a:solidFill>
              <a:ln w="3175">
                <a:no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594" name="Group 1593">
            <a:extLst>
              <a:ext uri="{FF2B5EF4-FFF2-40B4-BE49-F238E27FC236}">
                <a16:creationId xmlns:a16="http://schemas.microsoft.com/office/drawing/2014/main" id="{3D200D0F-88A4-423D-B185-6DD3B4E09FA2}"/>
              </a:ext>
            </a:extLst>
          </p:cNvPr>
          <p:cNvGrpSpPr/>
          <p:nvPr/>
        </p:nvGrpSpPr>
        <p:grpSpPr>
          <a:xfrm>
            <a:off x="9035286" y="2393776"/>
            <a:ext cx="612775" cy="612775"/>
            <a:chOff x="7880657" y="3032119"/>
            <a:chExt cx="612775" cy="612775"/>
          </a:xfrm>
        </p:grpSpPr>
        <p:sp>
          <p:nvSpPr>
            <p:cNvPr id="1595" name="Oval 1594">
              <a:extLst>
                <a:ext uri="{FF2B5EF4-FFF2-40B4-BE49-F238E27FC236}">
                  <a16:creationId xmlns:a16="http://schemas.microsoft.com/office/drawing/2014/main" id="{AF62F437-CD0D-42A8-BA22-74A90F681188}"/>
                </a:ext>
              </a:extLst>
            </p:cNvPr>
            <p:cNvSpPr/>
            <p:nvPr/>
          </p:nvSpPr>
          <p:spPr bwMode="ltGray">
            <a:xfrm>
              <a:off x="7880657"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596" name="Group 255">
              <a:extLst>
                <a:ext uri="{FF2B5EF4-FFF2-40B4-BE49-F238E27FC236}">
                  <a16:creationId xmlns:a16="http://schemas.microsoft.com/office/drawing/2014/main" id="{73C87EE8-84BE-4F9E-ABC0-426F835E6599}"/>
                </a:ext>
              </a:extLst>
            </p:cNvPr>
            <p:cNvGrpSpPr>
              <a:grpSpLocks/>
            </p:cNvGrpSpPr>
            <p:nvPr/>
          </p:nvGrpSpPr>
          <p:grpSpPr bwMode="auto">
            <a:xfrm rot="2192002">
              <a:off x="7983147" y="3137699"/>
              <a:ext cx="411418" cy="410681"/>
              <a:chOff x="1034" y="3733"/>
              <a:chExt cx="826" cy="826"/>
            </a:xfrm>
          </p:grpSpPr>
          <p:sp>
            <p:nvSpPr>
              <p:cNvPr id="1597" name="Oval 256">
                <a:extLst>
                  <a:ext uri="{FF2B5EF4-FFF2-40B4-BE49-F238E27FC236}">
                    <a16:creationId xmlns:a16="http://schemas.microsoft.com/office/drawing/2014/main" id="{6E62F30F-D644-4567-8691-7AC02CE6C910}"/>
                  </a:ext>
                </a:extLst>
              </p:cNvPr>
              <p:cNvSpPr>
                <a:spLocks noChangeArrowheads="1"/>
              </p:cNvSpPr>
              <p:nvPr/>
            </p:nvSpPr>
            <p:spPr bwMode="auto">
              <a:xfrm>
                <a:off x="1034" y="3733"/>
                <a:ext cx="826" cy="826"/>
              </a:xfrm>
              <a:prstGeom prst="ellipse">
                <a:avLst/>
              </a:prstGeom>
              <a:solidFill>
                <a:srgbClr val="505050"/>
              </a:solidFill>
              <a:ln w="317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598" name="AutoShape 257">
                <a:extLst>
                  <a:ext uri="{FF2B5EF4-FFF2-40B4-BE49-F238E27FC236}">
                    <a16:creationId xmlns:a16="http://schemas.microsoft.com/office/drawing/2014/main" id="{32276A11-051F-4A95-BFD4-08A899FF04BC}"/>
                  </a:ext>
                </a:extLst>
              </p:cNvPr>
              <p:cNvSpPr>
                <a:spLocks noChangeArrowheads="1"/>
              </p:cNvSpPr>
              <p:nvPr/>
            </p:nvSpPr>
            <p:spPr bwMode="auto">
              <a:xfrm>
                <a:off x="1065" y="3768"/>
                <a:ext cx="764" cy="764"/>
              </a:xfrm>
              <a:custGeom>
                <a:avLst/>
                <a:gdLst>
                  <a:gd name="T0" fmla="*/ 0 w 21600"/>
                  <a:gd name="T1" fmla="*/ 1 h 21600"/>
                  <a:gd name="T2" fmla="*/ 1 w 21600"/>
                  <a:gd name="T3" fmla="*/ 0 h 21600"/>
                  <a:gd name="T4" fmla="*/ 0 w 21600"/>
                  <a:gd name="T5" fmla="*/ 0 h 21600"/>
                  <a:gd name="T6" fmla="*/ 0 w 21600"/>
                  <a:gd name="T7" fmla="*/ 0 h 21600"/>
                  <a:gd name="T8" fmla="*/ 0 60000 65536"/>
                  <a:gd name="T9" fmla="*/ 0 60000 65536"/>
                  <a:gd name="T10" fmla="*/ 0 60000 65536"/>
                  <a:gd name="T11" fmla="*/ 0 60000 65536"/>
                  <a:gd name="T12" fmla="*/ 15974 w 21600"/>
                  <a:gd name="T13" fmla="*/ 0 h 21600"/>
                  <a:gd name="T14" fmla="*/ 5626 w 21600"/>
                  <a:gd name="T15" fmla="*/ 10715 h 21600"/>
                </a:gdLst>
                <a:ahLst/>
                <a:cxnLst>
                  <a:cxn ang="T8">
                    <a:pos x="T0" y="T1"/>
                  </a:cxn>
                  <a:cxn ang="T9">
                    <a:pos x="T2" y="T3"/>
                  </a:cxn>
                  <a:cxn ang="T10">
                    <a:pos x="T4" y="T5"/>
                  </a:cxn>
                  <a:cxn ang="T11">
                    <a:pos x="T6" y="T7"/>
                  </a:cxn>
                </a:cxnLst>
                <a:rect l="T12" t="T13" r="T14" b="T15"/>
                <a:pathLst>
                  <a:path w="21600" h="21600">
                    <a:moveTo>
                      <a:pt x="10856" y="10715"/>
                    </a:moveTo>
                    <a:cubicBezTo>
                      <a:pt x="10885" y="10734"/>
                      <a:pt x="10902" y="10765"/>
                      <a:pt x="10902" y="10800"/>
                    </a:cubicBezTo>
                    <a:cubicBezTo>
                      <a:pt x="10902" y="10856"/>
                      <a:pt x="10856" y="10902"/>
                      <a:pt x="10800" y="10902"/>
                    </a:cubicBezTo>
                    <a:cubicBezTo>
                      <a:pt x="10743" y="10902"/>
                      <a:pt x="10698" y="10856"/>
                      <a:pt x="10698" y="10800"/>
                    </a:cubicBezTo>
                    <a:cubicBezTo>
                      <a:pt x="10697" y="10765"/>
                      <a:pt x="10714" y="10734"/>
                      <a:pt x="10743" y="10715"/>
                    </a:cubicBezTo>
                    <a:lnTo>
                      <a:pt x="4784" y="1830"/>
                    </a:lnTo>
                    <a:cubicBezTo>
                      <a:pt x="1794" y="3835"/>
                      <a:pt x="-1" y="7199"/>
                      <a:pt x="0" y="10800"/>
                    </a:cubicBezTo>
                    <a:cubicBezTo>
                      <a:pt x="0" y="16764"/>
                      <a:pt x="4835" y="21600"/>
                      <a:pt x="10800" y="21600"/>
                    </a:cubicBezTo>
                    <a:cubicBezTo>
                      <a:pt x="16764" y="21600"/>
                      <a:pt x="21600" y="16764"/>
                      <a:pt x="21600" y="10800"/>
                    </a:cubicBezTo>
                    <a:cubicBezTo>
                      <a:pt x="21600" y="7199"/>
                      <a:pt x="19805" y="3835"/>
                      <a:pt x="16815" y="1830"/>
                    </a:cubicBezTo>
                    <a:close/>
                  </a:path>
                </a:pathLst>
              </a:custGeom>
              <a:solidFill>
                <a:sysClr val="window" lastClr="FFFFFF"/>
              </a:solidFill>
              <a:ln w="3175">
                <a:solidFill>
                  <a:srgbClr val="505050"/>
                </a:solid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599" name="Group 1598">
            <a:extLst>
              <a:ext uri="{FF2B5EF4-FFF2-40B4-BE49-F238E27FC236}">
                <a16:creationId xmlns:a16="http://schemas.microsoft.com/office/drawing/2014/main" id="{E089B96B-A55E-403D-BEE2-511D45BDB72D}"/>
              </a:ext>
            </a:extLst>
          </p:cNvPr>
          <p:cNvGrpSpPr/>
          <p:nvPr/>
        </p:nvGrpSpPr>
        <p:grpSpPr>
          <a:xfrm>
            <a:off x="9762521" y="2393776"/>
            <a:ext cx="612775" cy="612775"/>
            <a:chOff x="8607892" y="3032119"/>
            <a:chExt cx="612775" cy="612775"/>
          </a:xfrm>
        </p:grpSpPr>
        <p:sp>
          <p:nvSpPr>
            <p:cNvPr id="1600" name="Oval 1599">
              <a:extLst>
                <a:ext uri="{FF2B5EF4-FFF2-40B4-BE49-F238E27FC236}">
                  <a16:creationId xmlns:a16="http://schemas.microsoft.com/office/drawing/2014/main" id="{9AE09208-F090-47E7-8094-C8F2F3A981B9}"/>
                </a:ext>
              </a:extLst>
            </p:cNvPr>
            <p:cNvSpPr/>
            <p:nvPr/>
          </p:nvSpPr>
          <p:spPr bwMode="ltGray">
            <a:xfrm>
              <a:off x="860789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601" name="Group 136">
              <a:extLst>
                <a:ext uri="{FF2B5EF4-FFF2-40B4-BE49-F238E27FC236}">
                  <a16:creationId xmlns:a16="http://schemas.microsoft.com/office/drawing/2014/main" id="{C0EABACE-423E-4100-85F6-D75C5B593DE8}"/>
                </a:ext>
              </a:extLst>
            </p:cNvPr>
            <p:cNvGrpSpPr>
              <a:grpSpLocks/>
            </p:cNvGrpSpPr>
            <p:nvPr/>
          </p:nvGrpSpPr>
          <p:grpSpPr bwMode="auto">
            <a:xfrm>
              <a:off x="8729509" y="3210299"/>
              <a:ext cx="389551" cy="253827"/>
              <a:chOff x="2979" y="3397"/>
              <a:chExt cx="581" cy="379"/>
            </a:xfrm>
          </p:grpSpPr>
          <p:grpSp>
            <p:nvGrpSpPr>
              <p:cNvPr id="1602" name="Group 137">
                <a:extLst>
                  <a:ext uri="{FF2B5EF4-FFF2-40B4-BE49-F238E27FC236}">
                    <a16:creationId xmlns:a16="http://schemas.microsoft.com/office/drawing/2014/main" id="{0B414FE9-7BEB-491E-AECF-EF6A3747438C}"/>
                  </a:ext>
                </a:extLst>
              </p:cNvPr>
              <p:cNvGrpSpPr>
                <a:grpSpLocks/>
              </p:cNvGrpSpPr>
              <p:nvPr/>
            </p:nvGrpSpPr>
            <p:grpSpPr bwMode="auto">
              <a:xfrm flipH="1">
                <a:off x="3019" y="3480"/>
                <a:ext cx="501" cy="285"/>
                <a:chOff x="2445" y="4170"/>
                <a:chExt cx="678" cy="386"/>
              </a:xfrm>
            </p:grpSpPr>
            <p:sp>
              <p:nvSpPr>
                <p:cNvPr id="1605" name="Rectangle 138">
                  <a:extLst>
                    <a:ext uri="{FF2B5EF4-FFF2-40B4-BE49-F238E27FC236}">
                      <a16:creationId xmlns:a16="http://schemas.microsoft.com/office/drawing/2014/main" id="{0947DFC5-A18A-401E-8B6E-133443AC1B52}"/>
                    </a:ext>
                  </a:extLst>
                </p:cNvPr>
                <p:cNvSpPr>
                  <a:spLocks noChangeArrowheads="1"/>
                </p:cNvSpPr>
                <p:nvPr/>
              </p:nvSpPr>
              <p:spPr bwMode="auto">
                <a:xfrm>
                  <a:off x="2445" y="4170"/>
                  <a:ext cx="180" cy="386"/>
                </a:xfrm>
                <a:prstGeom prst="rect">
                  <a:avLst/>
                </a:prstGeom>
                <a:solidFill>
                  <a:srgbClr val="505050"/>
                </a:solidFill>
                <a:ln w="9525">
                  <a:solidFill>
                    <a:srgbClr val="505050"/>
                  </a:solid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606" name="Rectangle 139">
                  <a:extLst>
                    <a:ext uri="{FF2B5EF4-FFF2-40B4-BE49-F238E27FC236}">
                      <a16:creationId xmlns:a16="http://schemas.microsoft.com/office/drawing/2014/main" id="{C9A74FEA-F2FD-499D-950F-0FBD68D1F34D}"/>
                    </a:ext>
                  </a:extLst>
                </p:cNvPr>
                <p:cNvSpPr>
                  <a:spLocks noChangeArrowheads="1"/>
                </p:cNvSpPr>
                <p:nvPr/>
              </p:nvSpPr>
              <p:spPr bwMode="auto">
                <a:xfrm>
                  <a:off x="2699" y="4304"/>
                  <a:ext cx="180" cy="244"/>
                </a:xfrm>
                <a:prstGeom prst="rect">
                  <a:avLst/>
                </a:prstGeom>
                <a:solidFill>
                  <a:srgbClr val="505050"/>
                </a:solidFill>
                <a:ln w="9525">
                  <a:solidFill>
                    <a:srgbClr val="505050"/>
                  </a:solid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607" name="Rectangle 140">
                  <a:extLst>
                    <a:ext uri="{FF2B5EF4-FFF2-40B4-BE49-F238E27FC236}">
                      <a16:creationId xmlns:a16="http://schemas.microsoft.com/office/drawing/2014/main" id="{10F0A337-29F4-4D09-A313-6040544E8EDA}"/>
                    </a:ext>
                  </a:extLst>
                </p:cNvPr>
                <p:cNvSpPr>
                  <a:spLocks noChangeArrowheads="1"/>
                </p:cNvSpPr>
                <p:nvPr/>
              </p:nvSpPr>
              <p:spPr bwMode="auto">
                <a:xfrm>
                  <a:off x="2943" y="4405"/>
                  <a:ext cx="180" cy="150"/>
                </a:xfrm>
                <a:prstGeom prst="rect">
                  <a:avLst/>
                </a:prstGeom>
                <a:solidFill>
                  <a:srgbClr val="505050"/>
                </a:solidFill>
                <a:ln w="9525">
                  <a:solidFill>
                    <a:srgbClr val="505050"/>
                  </a:solid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sp>
            <p:nvSpPr>
              <p:cNvPr id="1603" name="Line 141">
                <a:extLst>
                  <a:ext uri="{FF2B5EF4-FFF2-40B4-BE49-F238E27FC236}">
                    <a16:creationId xmlns:a16="http://schemas.microsoft.com/office/drawing/2014/main" id="{6EC7F3E1-6B15-4488-85CC-30325A19E55C}"/>
                  </a:ext>
                </a:extLst>
              </p:cNvPr>
              <p:cNvSpPr>
                <a:spLocks noChangeShapeType="1"/>
              </p:cNvSpPr>
              <p:nvPr/>
            </p:nvSpPr>
            <p:spPr bwMode="auto">
              <a:xfrm flipH="1">
                <a:off x="2979" y="3771"/>
                <a:ext cx="581" cy="0"/>
              </a:xfrm>
              <a:prstGeom prst="line">
                <a:avLst/>
              </a:prstGeom>
              <a:noFill/>
              <a:ln w="9525">
                <a:solidFill>
                  <a:srgbClr val="50505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604" name="Line 142">
                <a:extLst>
                  <a:ext uri="{FF2B5EF4-FFF2-40B4-BE49-F238E27FC236}">
                    <a16:creationId xmlns:a16="http://schemas.microsoft.com/office/drawing/2014/main" id="{5A5D9925-7099-4EDF-A055-989A0C974752}"/>
                  </a:ext>
                </a:extLst>
              </p:cNvPr>
              <p:cNvSpPr>
                <a:spLocks noChangeShapeType="1"/>
              </p:cNvSpPr>
              <p:nvPr/>
            </p:nvSpPr>
            <p:spPr bwMode="auto">
              <a:xfrm rot="5400000" flipH="1">
                <a:off x="2789" y="3587"/>
                <a:ext cx="379" cy="0"/>
              </a:xfrm>
              <a:prstGeom prst="line">
                <a:avLst/>
              </a:prstGeom>
              <a:noFill/>
              <a:ln w="12700">
                <a:solidFill>
                  <a:srgbClr val="50505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608" name="Group 1607">
            <a:extLst>
              <a:ext uri="{FF2B5EF4-FFF2-40B4-BE49-F238E27FC236}">
                <a16:creationId xmlns:a16="http://schemas.microsoft.com/office/drawing/2014/main" id="{D9B24CDD-C759-4925-A956-3D5EB1541056}"/>
              </a:ext>
            </a:extLst>
          </p:cNvPr>
          <p:cNvGrpSpPr/>
          <p:nvPr/>
        </p:nvGrpSpPr>
        <p:grpSpPr>
          <a:xfrm>
            <a:off x="8304562" y="5498899"/>
            <a:ext cx="612775" cy="612775"/>
            <a:chOff x="9336672" y="3032119"/>
            <a:chExt cx="612775" cy="612775"/>
          </a:xfrm>
        </p:grpSpPr>
        <p:sp>
          <p:nvSpPr>
            <p:cNvPr id="1609" name="Oval 1608">
              <a:extLst>
                <a:ext uri="{FF2B5EF4-FFF2-40B4-BE49-F238E27FC236}">
                  <a16:creationId xmlns:a16="http://schemas.microsoft.com/office/drawing/2014/main" id="{809AF124-16C5-49D9-A7D9-33F775A6E9E5}"/>
                </a:ext>
              </a:extLst>
            </p:cNvPr>
            <p:cNvSpPr/>
            <p:nvPr/>
          </p:nvSpPr>
          <p:spPr bwMode="ltGray">
            <a:xfrm>
              <a:off x="933667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610" name="Group 1609">
              <a:extLst>
                <a:ext uri="{FF2B5EF4-FFF2-40B4-BE49-F238E27FC236}">
                  <a16:creationId xmlns:a16="http://schemas.microsoft.com/office/drawing/2014/main" id="{AE194CE3-17FE-4D88-9A03-DEC747E3CC78}"/>
                </a:ext>
              </a:extLst>
            </p:cNvPr>
            <p:cNvGrpSpPr/>
            <p:nvPr/>
          </p:nvGrpSpPr>
          <p:grpSpPr>
            <a:xfrm>
              <a:off x="9432222" y="3207560"/>
              <a:ext cx="460314" cy="300327"/>
              <a:chOff x="7151118" y="6039346"/>
              <a:chExt cx="1041400" cy="679450"/>
            </a:xfrm>
          </p:grpSpPr>
          <p:sp>
            <p:nvSpPr>
              <p:cNvPr id="1611" name="Line 287">
                <a:extLst>
                  <a:ext uri="{FF2B5EF4-FFF2-40B4-BE49-F238E27FC236}">
                    <a16:creationId xmlns:a16="http://schemas.microsoft.com/office/drawing/2014/main" id="{4170F1FE-AE88-4F3A-9C5C-38F4B8DFD954}"/>
                  </a:ext>
                </a:extLst>
              </p:cNvPr>
              <p:cNvSpPr>
                <a:spLocks noChangeShapeType="1"/>
              </p:cNvSpPr>
              <p:nvPr/>
            </p:nvSpPr>
            <p:spPr bwMode="auto">
              <a:xfrm flipH="1">
                <a:off x="7151118" y="6379071"/>
                <a:ext cx="1041400" cy="0"/>
              </a:xfrm>
              <a:prstGeom prst="line">
                <a:avLst/>
              </a:prstGeom>
              <a:noFill/>
              <a:ln w="19050">
                <a:solidFill>
                  <a:srgbClr val="50505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612" name="Line 288">
                <a:extLst>
                  <a:ext uri="{FF2B5EF4-FFF2-40B4-BE49-F238E27FC236}">
                    <a16:creationId xmlns:a16="http://schemas.microsoft.com/office/drawing/2014/main" id="{C164A1EB-127D-4D4F-8CEA-53CECC6DAE2D}"/>
                  </a:ext>
                </a:extLst>
              </p:cNvPr>
              <p:cNvSpPr>
                <a:spLocks noChangeShapeType="1"/>
              </p:cNvSpPr>
              <p:nvPr/>
            </p:nvSpPr>
            <p:spPr bwMode="auto">
              <a:xfrm rot="5400000" flipH="1">
                <a:off x="6866955" y="6379071"/>
                <a:ext cx="679450" cy="0"/>
              </a:xfrm>
              <a:prstGeom prst="line">
                <a:avLst/>
              </a:prstGeom>
              <a:noFill/>
              <a:ln w="19050">
                <a:solidFill>
                  <a:srgbClr val="50505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613" name="Freeform 289">
                <a:extLst>
                  <a:ext uri="{FF2B5EF4-FFF2-40B4-BE49-F238E27FC236}">
                    <a16:creationId xmlns:a16="http://schemas.microsoft.com/office/drawing/2014/main" id="{10C51C33-FD7E-490B-9D8B-2C784B1CF06D}"/>
                  </a:ext>
                </a:extLst>
              </p:cNvPr>
              <p:cNvSpPr>
                <a:spLocks/>
              </p:cNvSpPr>
              <p:nvPr/>
            </p:nvSpPr>
            <p:spPr bwMode="auto">
              <a:xfrm rot="-449752">
                <a:off x="7186043" y="6177458"/>
                <a:ext cx="892175" cy="403225"/>
              </a:xfrm>
              <a:custGeom>
                <a:avLst/>
                <a:gdLst>
                  <a:gd name="T0" fmla="*/ 0 w 522"/>
                  <a:gd name="T1" fmla="*/ 716257301 h 227"/>
                  <a:gd name="T2" fmla="*/ 333015379 w 522"/>
                  <a:gd name="T3" fmla="*/ 429123764 h 227"/>
                  <a:gd name="T4" fmla="*/ 464467669 w 522"/>
                  <a:gd name="T5" fmla="*/ 574268849 h 227"/>
                  <a:gd name="T6" fmla="*/ 531655935 w 522"/>
                  <a:gd name="T7" fmla="*/ 287133537 h 227"/>
                  <a:gd name="T8" fmla="*/ 730296384 w 522"/>
                  <a:gd name="T9" fmla="*/ 429123764 h 227"/>
                  <a:gd name="T10" fmla="*/ 794562009 w 522"/>
                  <a:gd name="T11" fmla="*/ 145145030 h 227"/>
                  <a:gd name="T12" fmla="*/ 993202672 w 522"/>
                  <a:gd name="T13" fmla="*/ 429123764 h 227"/>
                  <a:gd name="T14" fmla="*/ 1191843121 w 522"/>
                  <a:gd name="T15" fmla="*/ 359706912 h 227"/>
                  <a:gd name="T16" fmla="*/ 1259029678 w 522"/>
                  <a:gd name="T17" fmla="*/ 145145030 h 227"/>
                  <a:gd name="T18" fmla="*/ 1457670127 w 522"/>
                  <a:gd name="T19" fmla="*/ 145145030 h 227"/>
                  <a:gd name="T20" fmla="*/ 1524858393 w 522"/>
                  <a:gd name="T21" fmla="*/ 0 h 22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2"/>
                  <a:gd name="T34" fmla="*/ 0 h 227"/>
                  <a:gd name="T35" fmla="*/ 522 w 522"/>
                  <a:gd name="T36" fmla="*/ 227 h 22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2" h="227">
                    <a:moveTo>
                      <a:pt x="0" y="227"/>
                    </a:moveTo>
                    <a:lnTo>
                      <a:pt x="114" y="136"/>
                    </a:lnTo>
                    <a:lnTo>
                      <a:pt x="159" y="182"/>
                    </a:lnTo>
                    <a:lnTo>
                      <a:pt x="182" y="91"/>
                    </a:lnTo>
                    <a:lnTo>
                      <a:pt x="250" y="136"/>
                    </a:lnTo>
                    <a:lnTo>
                      <a:pt x="272" y="46"/>
                    </a:lnTo>
                    <a:lnTo>
                      <a:pt x="340" y="136"/>
                    </a:lnTo>
                    <a:lnTo>
                      <a:pt x="408" y="114"/>
                    </a:lnTo>
                    <a:lnTo>
                      <a:pt x="431" y="46"/>
                    </a:lnTo>
                    <a:lnTo>
                      <a:pt x="499" y="46"/>
                    </a:lnTo>
                    <a:lnTo>
                      <a:pt x="522" y="0"/>
                    </a:lnTo>
                  </a:path>
                </a:pathLst>
              </a:custGeom>
              <a:noFill/>
              <a:ln w="19050" cmpd="sng">
                <a:solidFill>
                  <a:srgbClr val="505050"/>
                </a:solid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614" name="Group 1613">
            <a:extLst>
              <a:ext uri="{FF2B5EF4-FFF2-40B4-BE49-F238E27FC236}">
                <a16:creationId xmlns:a16="http://schemas.microsoft.com/office/drawing/2014/main" id="{898B3D60-131F-4460-ABBD-921AF1C5479F}"/>
              </a:ext>
            </a:extLst>
          </p:cNvPr>
          <p:cNvGrpSpPr/>
          <p:nvPr/>
        </p:nvGrpSpPr>
        <p:grpSpPr>
          <a:xfrm>
            <a:off x="8306501" y="2393776"/>
            <a:ext cx="612775" cy="612775"/>
            <a:chOff x="7151872" y="3032119"/>
            <a:chExt cx="612775" cy="612775"/>
          </a:xfrm>
        </p:grpSpPr>
        <p:sp>
          <p:nvSpPr>
            <p:cNvPr id="1615" name="Oval 1614">
              <a:extLst>
                <a:ext uri="{FF2B5EF4-FFF2-40B4-BE49-F238E27FC236}">
                  <a16:creationId xmlns:a16="http://schemas.microsoft.com/office/drawing/2014/main" id="{06DE3FBA-3E9C-4E5C-B3EF-0A3446E004B5}"/>
                </a:ext>
              </a:extLst>
            </p:cNvPr>
            <p:cNvSpPr/>
            <p:nvPr/>
          </p:nvSpPr>
          <p:spPr bwMode="ltGray">
            <a:xfrm>
              <a:off x="715187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616" name="Group 1615">
              <a:extLst>
                <a:ext uri="{FF2B5EF4-FFF2-40B4-BE49-F238E27FC236}">
                  <a16:creationId xmlns:a16="http://schemas.microsoft.com/office/drawing/2014/main" id="{66056B31-6EF6-4413-A018-71C7C8F0E5EE}"/>
                </a:ext>
              </a:extLst>
            </p:cNvPr>
            <p:cNvGrpSpPr/>
            <p:nvPr/>
          </p:nvGrpSpPr>
          <p:grpSpPr>
            <a:xfrm>
              <a:off x="7270896" y="3133470"/>
              <a:ext cx="397677" cy="355530"/>
              <a:chOff x="2061332" y="3048000"/>
              <a:chExt cx="451736" cy="403860"/>
            </a:xfrm>
          </p:grpSpPr>
          <p:sp>
            <p:nvSpPr>
              <p:cNvPr id="1617" name="Rectangle 1616">
                <a:extLst>
                  <a:ext uri="{FF2B5EF4-FFF2-40B4-BE49-F238E27FC236}">
                    <a16:creationId xmlns:a16="http://schemas.microsoft.com/office/drawing/2014/main" id="{C11BBF11-638C-4639-AE54-E8D6535C6462}"/>
                  </a:ext>
                </a:extLst>
              </p:cNvPr>
              <p:cNvSpPr/>
              <p:nvPr/>
            </p:nvSpPr>
            <p:spPr bwMode="ltGray">
              <a:xfrm>
                <a:off x="2222400" y="3048000"/>
                <a:ext cx="129600" cy="89812"/>
              </a:xfrm>
              <a:prstGeom prst="rect">
                <a:avLst/>
              </a:prstGeom>
              <a:solidFill>
                <a:srgbClr val="505050"/>
              </a:solid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618" name="Rectangle 1617">
                <a:extLst>
                  <a:ext uri="{FF2B5EF4-FFF2-40B4-BE49-F238E27FC236}">
                    <a16:creationId xmlns:a16="http://schemas.microsoft.com/office/drawing/2014/main" id="{5CEBC9B6-156F-4C39-851A-94C7D4D17A67}"/>
                  </a:ext>
                </a:extLst>
              </p:cNvPr>
              <p:cNvSpPr/>
              <p:nvPr/>
            </p:nvSpPr>
            <p:spPr bwMode="ltGray">
              <a:xfrm>
                <a:off x="2222713" y="3205024"/>
                <a:ext cx="128974" cy="89812"/>
              </a:xfrm>
              <a:prstGeom prst="rect">
                <a:avLst/>
              </a:prstGeom>
              <a:solidFill>
                <a:srgbClr val="505050"/>
              </a:solid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619" name="Rectangle 1618">
                <a:extLst>
                  <a:ext uri="{FF2B5EF4-FFF2-40B4-BE49-F238E27FC236}">
                    <a16:creationId xmlns:a16="http://schemas.microsoft.com/office/drawing/2014/main" id="{55FE15BF-EE5E-4D89-8567-ED182BB4A4FB}"/>
                  </a:ext>
                </a:extLst>
              </p:cNvPr>
              <p:cNvSpPr/>
              <p:nvPr/>
            </p:nvSpPr>
            <p:spPr bwMode="ltGray">
              <a:xfrm>
                <a:off x="2061332" y="3205024"/>
                <a:ext cx="128974" cy="89812"/>
              </a:xfrm>
              <a:prstGeom prst="rect">
                <a:avLst/>
              </a:prstGeom>
              <a:solidFill>
                <a:srgbClr val="505050"/>
              </a:solid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620" name="Rectangle 1619">
                <a:extLst>
                  <a:ext uri="{FF2B5EF4-FFF2-40B4-BE49-F238E27FC236}">
                    <a16:creationId xmlns:a16="http://schemas.microsoft.com/office/drawing/2014/main" id="{96C39DB2-D3F5-42E5-BFAC-B4CB03B7C1D6}"/>
                  </a:ext>
                </a:extLst>
              </p:cNvPr>
              <p:cNvSpPr/>
              <p:nvPr/>
            </p:nvSpPr>
            <p:spPr bwMode="ltGray">
              <a:xfrm>
                <a:off x="2384094" y="3205024"/>
                <a:ext cx="128974" cy="89812"/>
              </a:xfrm>
              <a:prstGeom prst="rect">
                <a:avLst/>
              </a:prstGeom>
              <a:solidFill>
                <a:srgbClr val="505050"/>
              </a:solid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621" name="Rectangle 1620">
                <a:extLst>
                  <a:ext uri="{FF2B5EF4-FFF2-40B4-BE49-F238E27FC236}">
                    <a16:creationId xmlns:a16="http://schemas.microsoft.com/office/drawing/2014/main" id="{963B4F3F-887B-4DDE-ADF6-70D00153739E}"/>
                  </a:ext>
                </a:extLst>
              </p:cNvPr>
              <p:cNvSpPr/>
              <p:nvPr/>
            </p:nvSpPr>
            <p:spPr bwMode="ltGray">
              <a:xfrm>
                <a:off x="2061332" y="3362048"/>
                <a:ext cx="128974" cy="89812"/>
              </a:xfrm>
              <a:prstGeom prst="rect">
                <a:avLst/>
              </a:prstGeom>
              <a:solidFill>
                <a:srgbClr val="505050"/>
              </a:solid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622" name="Rectangle 1621">
                <a:extLst>
                  <a:ext uri="{FF2B5EF4-FFF2-40B4-BE49-F238E27FC236}">
                    <a16:creationId xmlns:a16="http://schemas.microsoft.com/office/drawing/2014/main" id="{C957274A-9CC1-469D-ADBD-A2D900D3A267}"/>
                  </a:ext>
                </a:extLst>
              </p:cNvPr>
              <p:cNvSpPr/>
              <p:nvPr/>
            </p:nvSpPr>
            <p:spPr bwMode="ltGray">
              <a:xfrm>
                <a:off x="2222713" y="3362048"/>
                <a:ext cx="128974" cy="89812"/>
              </a:xfrm>
              <a:prstGeom prst="rect">
                <a:avLst/>
              </a:prstGeom>
              <a:solidFill>
                <a:srgbClr val="505050"/>
              </a:solid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623" name="Rectangle 1622">
                <a:extLst>
                  <a:ext uri="{FF2B5EF4-FFF2-40B4-BE49-F238E27FC236}">
                    <a16:creationId xmlns:a16="http://schemas.microsoft.com/office/drawing/2014/main" id="{83207CEC-1BB2-4685-9605-E5F5458FE86C}"/>
                  </a:ext>
                </a:extLst>
              </p:cNvPr>
              <p:cNvSpPr/>
              <p:nvPr/>
            </p:nvSpPr>
            <p:spPr bwMode="ltGray">
              <a:xfrm>
                <a:off x="2384094" y="3362048"/>
                <a:ext cx="128974" cy="89812"/>
              </a:xfrm>
              <a:prstGeom prst="rect">
                <a:avLst/>
              </a:prstGeom>
              <a:solidFill>
                <a:srgbClr val="505050"/>
              </a:solid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cxnSp>
            <p:nvCxnSpPr>
              <p:cNvPr id="1624" name="Elbow Connector 434">
                <a:extLst>
                  <a:ext uri="{FF2B5EF4-FFF2-40B4-BE49-F238E27FC236}">
                    <a16:creationId xmlns:a16="http://schemas.microsoft.com/office/drawing/2014/main" id="{4F47F55E-1684-4936-B401-13E4174C9239}"/>
                  </a:ext>
                </a:extLst>
              </p:cNvPr>
              <p:cNvCxnSpPr>
                <a:stCxn id="1617" idx="2"/>
                <a:endCxn id="1619" idx="0"/>
              </p:cNvCxnSpPr>
              <p:nvPr/>
            </p:nvCxnSpPr>
            <p:spPr>
              <a:xfrm rot="5400000">
                <a:off x="2172904" y="3090728"/>
                <a:ext cx="67212" cy="161381"/>
              </a:xfrm>
              <a:prstGeom prst="bentConnector3">
                <a:avLst>
                  <a:gd name="adj1" fmla="val 50000"/>
                </a:avLst>
              </a:prstGeom>
              <a:noFill/>
              <a:ln w="3175" cap="flat" cmpd="sng" algn="ctr">
                <a:solidFill>
                  <a:srgbClr val="505050"/>
                </a:solidFill>
                <a:prstDash val="solid"/>
              </a:ln>
              <a:effectLst/>
            </p:spPr>
          </p:cxnSp>
          <p:cxnSp>
            <p:nvCxnSpPr>
              <p:cNvPr id="1625" name="Elbow Connector 440">
                <a:extLst>
                  <a:ext uri="{FF2B5EF4-FFF2-40B4-BE49-F238E27FC236}">
                    <a16:creationId xmlns:a16="http://schemas.microsoft.com/office/drawing/2014/main" id="{5ADC2A3F-E59E-48EE-91E8-E6941E227CD5}"/>
                  </a:ext>
                </a:extLst>
              </p:cNvPr>
              <p:cNvCxnSpPr>
                <a:stCxn id="1617" idx="2"/>
                <a:endCxn id="1620" idx="0"/>
              </p:cNvCxnSpPr>
              <p:nvPr/>
            </p:nvCxnSpPr>
            <p:spPr>
              <a:xfrm rot="16200000" flipH="1">
                <a:off x="2334284" y="3090727"/>
                <a:ext cx="67212" cy="161381"/>
              </a:xfrm>
              <a:prstGeom prst="bentConnector3">
                <a:avLst>
                  <a:gd name="adj1" fmla="val 50000"/>
                </a:avLst>
              </a:prstGeom>
              <a:noFill/>
              <a:ln w="3175" cap="flat" cmpd="sng" algn="ctr">
                <a:solidFill>
                  <a:srgbClr val="505050"/>
                </a:solidFill>
                <a:prstDash val="solid"/>
              </a:ln>
              <a:effectLst/>
            </p:spPr>
          </p:cxnSp>
          <p:cxnSp>
            <p:nvCxnSpPr>
              <p:cNvPr id="1626" name="Elbow Connector 142">
                <a:extLst>
                  <a:ext uri="{FF2B5EF4-FFF2-40B4-BE49-F238E27FC236}">
                    <a16:creationId xmlns:a16="http://schemas.microsoft.com/office/drawing/2014/main" id="{88A1E1D2-05BD-469D-A408-ACAED0BE91F6}"/>
                  </a:ext>
                </a:extLst>
              </p:cNvPr>
              <p:cNvCxnSpPr>
                <a:stCxn id="1620" idx="2"/>
                <a:endCxn id="1623" idx="0"/>
              </p:cNvCxnSpPr>
              <p:nvPr/>
            </p:nvCxnSpPr>
            <p:spPr>
              <a:xfrm>
                <a:off x="2448581" y="3294836"/>
                <a:ext cx="0" cy="67212"/>
              </a:xfrm>
              <a:prstGeom prst="straightConnector1">
                <a:avLst/>
              </a:prstGeom>
              <a:noFill/>
              <a:ln w="3175" cap="flat" cmpd="sng" algn="ctr">
                <a:solidFill>
                  <a:srgbClr val="505050"/>
                </a:solidFill>
                <a:prstDash val="solid"/>
              </a:ln>
              <a:effectLst/>
            </p:spPr>
          </p:cxnSp>
          <p:cxnSp>
            <p:nvCxnSpPr>
              <p:cNvPr id="1627" name="Elbow Connector 142">
                <a:extLst>
                  <a:ext uri="{FF2B5EF4-FFF2-40B4-BE49-F238E27FC236}">
                    <a16:creationId xmlns:a16="http://schemas.microsoft.com/office/drawing/2014/main" id="{34DA059A-0AE5-4B4C-BFE1-B54D8FDF0EB1}"/>
                  </a:ext>
                </a:extLst>
              </p:cNvPr>
              <p:cNvCxnSpPr>
                <a:stCxn id="1618" idx="2"/>
                <a:endCxn id="1622" idx="0"/>
              </p:cNvCxnSpPr>
              <p:nvPr/>
            </p:nvCxnSpPr>
            <p:spPr>
              <a:xfrm>
                <a:off x="2287200" y="3294836"/>
                <a:ext cx="0" cy="67212"/>
              </a:xfrm>
              <a:prstGeom prst="straightConnector1">
                <a:avLst/>
              </a:prstGeom>
              <a:noFill/>
              <a:ln w="3175" cap="flat" cmpd="sng" algn="ctr">
                <a:solidFill>
                  <a:srgbClr val="505050"/>
                </a:solidFill>
                <a:prstDash val="solid"/>
              </a:ln>
              <a:effectLst/>
            </p:spPr>
          </p:cxnSp>
          <p:cxnSp>
            <p:nvCxnSpPr>
              <p:cNvPr id="1628" name="Elbow Connector 142">
                <a:extLst>
                  <a:ext uri="{FF2B5EF4-FFF2-40B4-BE49-F238E27FC236}">
                    <a16:creationId xmlns:a16="http://schemas.microsoft.com/office/drawing/2014/main" id="{EEFF3D93-6430-470B-BB49-2DDC9F87C560}"/>
                  </a:ext>
                </a:extLst>
              </p:cNvPr>
              <p:cNvCxnSpPr>
                <a:stCxn id="1619" idx="2"/>
                <a:endCxn id="1621" idx="0"/>
              </p:cNvCxnSpPr>
              <p:nvPr/>
            </p:nvCxnSpPr>
            <p:spPr>
              <a:xfrm>
                <a:off x="2125819" y="3294836"/>
                <a:ext cx="0" cy="67212"/>
              </a:xfrm>
              <a:prstGeom prst="straightConnector1">
                <a:avLst/>
              </a:prstGeom>
              <a:noFill/>
              <a:ln w="3175" cap="flat" cmpd="sng" algn="ctr">
                <a:solidFill>
                  <a:srgbClr val="505050"/>
                </a:solidFill>
                <a:prstDash val="solid"/>
              </a:ln>
              <a:effectLst/>
            </p:spPr>
          </p:cxnSp>
        </p:grpSp>
      </p:grpSp>
      <p:grpSp>
        <p:nvGrpSpPr>
          <p:cNvPr id="1629" name="Group 1628">
            <a:extLst>
              <a:ext uri="{FF2B5EF4-FFF2-40B4-BE49-F238E27FC236}">
                <a16:creationId xmlns:a16="http://schemas.microsoft.com/office/drawing/2014/main" id="{70F5A013-C5E2-4958-8A78-4ED389BBC454}"/>
              </a:ext>
            </a:extLst>
          </p:cNvPr>
          <p:cNvGrpSpPr/>
          <p:nvPr/>
        </p:nvGrpSpPr>
        <p:grpSpPr>
          <a:xfrm>
            <a:off x="2475446" y="2393776"/>
            <a:ext cx="612775" cy="612775"/>
            <a:chOff x="1320817" y="3032119"/>
            <a:chExt cx="612775" cy="612775"/>
          </a:xfrm>
        </p:grpSpPr>
        <p:sp>
          <p:nvSpPr>
            <p:cNvPr id="1630" name="Oval 1629">
              <a:extLst>
                <a:ext uri="{FF2B5EF4-FFF2-40B4-BE49-F238E27FC236}">
                  <a16:creationId xmlns:a16="http://schemas.microsoft.com/office/drawing/2014/main" id="{0F89F6E2-2EE2-469E-872C-E5577B0ADDD9}"/>
                </a:ext>
              </a:extLst>
            </p:cNvPr>
            <p:cNvSpPr/>
            <p:nvPr/>
          </p:nvSpPr>
          <p:spPr bwMode="ltGray">
            <a:xfrm>
              <a:off x="1320817"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631" name="Freeform 7">
              <a:extLst>
                <a:ext uri="{FF2B5EF4-FFF2-40B4-BE49-F238E27FC236}">
                  <a16:creationId xmlns:a16="http://schemas.microsoft.com/office/drawing/2014/main" id="{6252849A-5AE4-49A5-A228-F785902E765C}"/>
                </a:ext>
              </a:extLst>
            </p:cNvPr>
            <p:cNvSpPr>
              <a:spLocks noEditPoints="1"/>
            </p:cNvSpPr>
            <p:nvPr/>
          </p:nvSpPr>
          <p:spPr bwMode="auto">
            <a:xfrm>
              <a:off x="1402590" y="3079227"/>
              <a:ext cx="489492" cy="514339"/>
            </a:xfrm>
            <a:custGeom>
              <a:avLst/>
              <a:gdLst>
                <a:gd name="T0" fmla="*/ 2560 w 2758"/>
                <a:gd name="T1" fmla="*/ 1750 h 2898"/>
                <a:gd name="T2" fmla="*/ 2460 w 2758"/>
                <a:gd name="T3" fmla="*/ 2172 h 2898"/>
                <a:gd name="T4" fmla="*/ 2380 w 2758"/>
                <a:gd name="T5" fmla="*/ 2164 h 2898"/>
                <a:gd name="T6" fmla="*/ 1662 w 2758"/>
                <a:gd name="T7" fmla="*/ 518 h 2898"/>
                <a:gd name="T8" fmla="*/ 1492 w 2758"/>
                <a:gd name="T9" fmla="*/ 568 h 2898"/>
                <a:gd name="T10" fmla="*/ 1426 w 2758"/>
                <a:gd name="T11" fmla="*/ 2590 h 2898"/>
                <a:gd name="T12" fmla="*/ 1398 w 2758"/>
                <a:gd name="T13" fmla="*/ 2182 h 2898"/>
                <a:gd name="T14" fmla="*/ 1338 w 2758"/>
                <a:gd name="T15" fmla="*/ 792 h 2898"/>
                <a:gd name="T16" fmla="*/ 1098 w 2758"/>
                <a:gd name="T17" fmla="*/ 706 h 2898"/>
                <a:gd name="T18" fmla="*/ 980 w 2758"/>
                <a:gd name="T19" fmla="*/ 580 h 2898"/>
                <a:gd name="T20" fmla="*/ 972 w 2758"/>
                <a:gd name="T21" fmla="*/ 0 h 2898"/>
                <a:gd name="T22" fmla="*/ 958 w 2758"/>
                <a:gd name="T23" fmla="*/ 556 h 2898"/>
                <a:gd name="T24" fmla="*/ 926 w 2758"/>
                <a:gd name="T25" fmla="*/ 602 h 2898"/>
                <a:gd name="T26" fmla="*/ 786 w 2758"/>
                <a:gd name="T27" fmla="*/ 762 h 2898"/>
                <a:gd name="T28" fmla="*/ 682 w 2758"/>
                <a:gd name="T29" fmla="*/ 774 h 2898"/>
                <a:gd name="T30" fmla="*/ 536 w 2758"/>
                <a:gd name="T31" fmla="*/ 788 h 2898"/>
                <a:gd name="T32" fmla="*/ 478 w 2758"/>
                <a:gd name="T33" fmla="*/ 2086 h 2898"/>
                <a:gd name="T34" fmla="*/ 470 w 2758"/>
                <a:gd name="T35" fmla="*/ 2048 h 2898"/>
                <a:gd name="T36" fmla="*/ 54 w 2758"/>
                <a:gd name="T37" fmla="*/ 2300 h 2898"/>
                <a:gd name="T38" fmla="*/ 310 w 2758"/>
                <a:gd name="T39" fmla="*/ 2562 h 2898"/>
                <a:gd name="T40" fmla="*/ 622 w 2758"/>
                <a:gd name="T41" fmla="*/ 2756 h 2898"/>
                <a:gd name="T42" fmla="*/ 980 w 2758"/>
                <a:gd name="T43" fmla="*/ 2872 h 2898"/>
                <a:gd name="T44" fmla="*/ 1336 w 2758"/>
                <a:gd name="T45" fmla="*/ 2898 h 2898"/>
                <a:gd name="T46" fmla="*/ 1838 w 2758"/>
                <a:gd name="T47" fmla="*/ 2790 h 2898"/>
                <a:gd name="T48" fmla="*/ 2266 w 2758"/>
                <a:gd name="T49" fmla="*/ 2530 h 2898"/>
                <a:gd name="T50" fmla="*/ 2586 w 2758"/>
                <a:gd name="T51" fmla="*/ 2150 h 2898"/>
                <a:gd name="T52" fmla="*/ 2754 w 2758"/>
                <a:gd name="T53" fmla="*/ 1744 h 2898"/>
                <a:gd name="T54" fmla="*/ 1016 w 2758"/>
                <a:gd name="T55" fmla="*/ 652 h 2898"/>
                <a:gd name="T56" fmla="*/ 972 w 2758"/>
                <a:gd name="T57" fmla="*/ 618 h 2898"/>
                <a:gd name="T58" fmla="*/ 670 w 2758"/>
                <a:gd name="T59" fmla="*/ 1924 h 2898"/>
                <a:gd name="T60" fmla="*/ 802 w 2758"/>
                <a:gd name="T61" fmla="*/ 1600 h 2898"/>
                <a:gd name="T62" fmla="*/ 802 w 2758"/>
                <a:gd name="T63" fmla="*/ 1240 h 2898"/>
                <a:gd name="T64" fmla="*/ 864 w 2758"/>
                <a:gd name="T65" fmla="*/ 696 h 2898"/>
                <a:gd name="T66" fmla="*/ 942 w 2758"/>
                <a:gd name="T67" fmla="*/ 736 h 2898"/>
                <a:gd name="T68" fmla="*/ 814 w 2758"/>
                <a:gd name="T69" fmla="*/ 750 h 2898"/>
                <a:gd name="T70" fmla="*/ 894 w 2758"/>
                <a:gd name="T71" fmla="*/ 2380 h 2898"/>
                <a:gd name="T72" fmla="*/ 1026 w 2758"/>
                <a:gd name="T73" fmla="*/ 2056 h 2898"/>
                <a:gd name="T74" fmla="*/ 1026 w 2758"/>
                <a:gd name="T75" fmla="*/ 1696 h 2898"/>
                <a:gd name="T76" fmla="*/ 894 w 2758"/>
                <a:gd name="T77" fmla="*/ 1372 h 2898"/>
                <a:gd name="T78" fmla="*/ 1026 w 2758"/>
                <a:gd name="T79" fmla="*/ 1144 h 2898"/>
                <a:gd name="T80" fmla="*/ 1118 w 2758"/>
                <a:gd name="T81" fmla="*/ 1924 h 2898"/>
                <a:gd name="T82" fmla="*/ 1252 w 2758"/>
                <a:gd name="T83" fmla="*/ 1600 h 2898"/>
                <a:gd name="T84" fmla="*/ 1252 w 2758"/>
                <a:gd name="T85" fmla="*/ 1240 h 2898"/>
                <a:gd name="T86" fmla="*/ 1594 w 2758"/>
                <a:gd name="T87" fmla="*/ 2284 h 2898"/>
                <a:gd name="T88" fmla="*/ 1726 w 2758"/>
                <a:gd name="T89" fmla="*/ 2056 h 2898"/>
                <a:gd name="T90" fmla="*/ 1594 w 2758"/>
                <a:gd name="T91" fmla="*/ 1468 h 2898"/>
                <a:gd name="T92" fmla="*/ 1726 w 2758"/>
                <a:gd name="T93" fmla="*/ 1144 h 2898"/>
                <a:gd name="T94" fmla="*/ 1726 w 2758"/>
                <a:gd name="T95" fmla="*/ 782 h 2898"/>
                <a:gd name="T96" fmla="*/ 1818 w 2758"/>
                <a:gd name="T97" fmla="*/ 2284 h 2898"/>
                <a:gd name="T98" fmla="*/ 1950 w 2758"/>
                <a:gd name="T99" fmla="*/ 2056 h 2898"/>
                <a:gd name="T100" fmla="*/ 1818 w 2758"/>
                <a:gd name="T101" fmla="*/ 1468 h 2898"/>
                <a:gd name="T102" fmla="*/ 1950 w 2758"/>
                <a:gd name="T103" fmla="*/ 1144 h 2898"/>
                <a:gd name="T104" fmla="*/ 1950 w 2758"/>
                <a:gd name="T105" fmla="*/ 782 h 2898"/>
                <a:gd name="T106" fmla="*/ 2042 w 2758"/>
                <a:gd name="T107" fmla="*/ 2056 h 2898"/>
                <a:gd name="T108" fmla="*/ 2176 w 2758"/>
                <a:gd name="T109" fmla="*/ 1828 h 2898"/>
                <a:gd name="T110" fmla="*/ 2042 w 2758"/>
                <a:gd name="T111" fmla="*/ 1240 h 2898"/>
                <a:gd name="T112" fmla="*/ 2176 w 2758"/>
                <a:gd name="T113" fmla="*/ 916 h 28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758" h="2898">
                  <a:moveTo>
                    <a:pt x="2758" y="1692"/>
                  </a:moveTo>
                  <a:lnTo>
                    <a:pt x="2758" y="1692"/>
                  </a:lnTo>
                  <a:lnTo>
                    <a:pt x="2562" y="1692"/>
                  </a:lnTo>
                  <a:lnTo>
                    <a:pt x="2562" y="1692"/>
                  </a:lnTo>
                  <a:lnTo>
                    <a:pt x="2564" y="1730"/>
                  </a:lnTo>
                  <a:lnTo>
                    <a:pt x="2564" y="1738"/>
                  </a:lnTo>
                  <a:lnTo>
                    <a:pt x="2562" y="1744"/>
                  </a:lnTo>
                  <a:lnTo>
                    <a:pt x="2560" y="1750"/>
                  </a:lnTo>
                  <a:lnTo>
                    <a:pt x="2556" y="1754"/>
                  </a:lnTo>
                  <a:lnTo>
                    <a:pt x="2556" y="1754"/>
                  </a:lnTo>
                  <a:lnTo>
                    <a:pt x="2468" y="1754"/>
                  </a:lnTo>
                  <a:lnTo>
                    <a:pt x="2468" y="1754"/>
                  </a:lnTo>
                  <a:lnTo>
                    <a:pt x="2464" y="1856"/>
                  </a:lnTo>
                  <a:lnTo>
                    <a:pt x="2464" y="1960"/>
                  </a:lnTo>
                  <a:lnTo>
                    <a:pt x="2464" y="2066"/>
                  </a:lnTo>
                  <a:lnTo>
                    <a:pt x="2460" y="2172"/>
                  </a:lnTo>
                  <a:lnTo>
                    <a:pt x="2460" y="2172"/>
                  </a:lnTo>
                  <a:lnTo>
                    <a:pt x="2452" y="2170"/>
                  </a:lnTo>
                  <a:lnTo>
                    <a:pt x="2442" y="2170"/>
                  </a:lnTo>
                  <a:lnTo>
                    <a:pt x="2418" y="2170"/>
                  </a:lnTo>
                  <a:lnTo>
                    <a:pt x="2406" y="2172"/>
                  </a:lnTo>
                  <a:lnTo>
                    <a:pt x="2396" y="2170"/>
                  </a:lnTo>
                  <a:lnTo>
                    <a:pt x="2388" y="2168"/>
                  </a:lnTo>
                  <a:lnTo>
                    <a:pt x="2380" y="2164"/>
                  </a:lnTo>
                  <a:lnTo>
                    <a:pt x="2380" y="2164"/>
                  </a:lnTo>
                  <a:lnTo>
                    <a:pt x="2380" y="572"/>
                  </a:lnTo>
                  <a:lnTo>
                    <a:pt x="2380" y="572"/>
                  </a:lnTo>
                  <a:lnTo>
                    <a:pt x="1670" y="572"/>
                  </a:lnTo>
                  <a:lnTo>
                    <a:pt x="1670" y="572"/>
                  </a:lnTo>
                  <a:lnTo>
                    <a:pt x="1668" y="540"/>
                  </a:lnTo>
                  <a:lnTo>
                    <a:pt x="1666" y="526"/>
                  </a:lnTo>
                  <a:lnTo>
                    <a:pt x="1662" y="518"/>
                  </a:lnTo>
                  <a:lnTo>
                    <a:pt x="1662" y="518"/>
                  </a:lnTo>
                  <a:lnTo>
                    <a:pt x="1496" y="518"/>
                  </a:lnTo>
                  <a:lnTo>
                    <a:pt x="1496" y="518"/>
                  </a:lnTo>
                  <a:lnTo>
                    <a:pt x="1494" y="522"/>
                  </a:lnTo>
                  <a:lnTo>
                    <a:pt x="1494" y="528"/>
                  </a:lnTo>
                  <a:lnTo>
                    <a:pt x="1494" y="546"/>
                  </a:lnTo>
                  <a:lnTo>
                    <a:pt x="1494" y="562"/>
                  </a:lnTo>
                  <a:lnTo>
                    <a:pt x="1492" y="568"/>
                  </a:lnTo>
                  <a:lnTo>
                    <a:pt x="1488" y="572"/>
                  </a:lnTo>
                  <a:lnTo>
                    <a:pt x="1488" y="572"/>
                  </a:lnTo>
                  <a:lnTo>
                    <a:pt x="1422" y="572"/>
                  </a:lnTo>
                  <a:lnTo>
                    <a:pt x="1422" y="572"/>
                  </a:lnTo>
                  <a:lnTo>
                    <a:pt x="1422" y="2520"/>
                  </a:lnTo>
                  <a:lnTo>
                    <a:pt x="1422" y="2520"/>
                  </a:lnTo>
                  <a:lnTo>
                    <a:pt x="1424" y="2556"/>
                  </a:lnTo>
                  <a:lnTo>
                    <a:pt x="1426" y="2590"/>
                  </a:lnTo>
                  <a:lnTo>
                    <a:pt x="1426" y="2604"/>
                  </a:lnTo>
                  <a:lnTo>
                    <a:pt x="1422" y="2618"/>
                  </a:lnTo>
                  <a:lnTo>
                    <a:pt x="1418" y="2628"/>
                  </a:lnTo>
                  <a:lnTo>
                    <a:pt x="1414" y="2632"/>
                  </a:lnTo>
                  <a:lnTo>
                    <a:pt x="1408" y="2636"/>
                  </a:lnTo>
                  <a:lnTo>
                    <a:pt x="1408" y="2636"/>
                  </a:lnTo>
                  <a:lnTo>
                    <a:pt x="1402" y="2410"/>
                  </a:lnTo>
                  <a:lnTo>
                    <a:pt x="1398" y="2182"/>
                  </a:lnTo>
                  <a:lnTo>
                    <a:pt x="1398" y="1950"/>
                  </a:lnTo>
                  <a:lnTo>
                    <a:pt x="1398" y="1718"/>
                  </a:lnTo>
                  <a:lnTo>
                    <a:pt x="1402" y="1252"/>
                  </a:lnTo>
                  <a:lnTo>
                    <a:pt x="1402" y="1018"/>
                  </a:lnTo>
                  <a:lnTo>
                    <a:pt x="1400" y="788"/>
                  </a:lnTo>
                  <a:lnTo>
                    <a:pt x="1400" y="788"/>
                  </a:lnTo>
                  <a:lnTo>
                    <a:pt x="1368" y="790"/>
                  </a:lnTo>
                  <a:lnTo>
                    <a:pt x="1338" y="792"/>
                  </a:lnTo>
                  <a:lnTo>
                    <a:pt x="1308" y="792"/>
                  </a:lnTo>
                  <a:lnTo>
                    <a:pt x="1280" y="790"/>
                  </a:lnTo>
                  <a:lnTo>
                    <a:pt x="1224" y="784"/>
                  </a:lnTo>
                  <a:lnTo>
                    <a:pt x="1168" y="774"/>
                  </a:lnTo>
                  <a:lnTo>
                    <a:pt x="1168" y="774"/>
                  </a:lnTo>
                  <a:lnTo>
                    <a:pt x="1146" y="752"/>
                  </a:lnTo>
                  <a:lnTo>
                    <a:pt x="1122" y="730"/>
                  </a:lnTo>
                  <a:lnTo>
                    <a:pt x="1098" y="706"/>
                  </a:lnTo>
                  <a:lnTo>
                    <a:pt x="1086" y="694"/>
                  </a:lnTo>
                  <a:lnTo>
                    <a:pt x="1074" y="680"/>
                  </a:lnTo>
                  <a:lnTo>
                    <a:pt x="1074" y="680"/>
                  </a:lnTo>
                  <a:lnTo>
                    <a:pt x="1052" y="660"/>
                  </a:lnTo>
                  <a:lnTo>
                    <a:pt x="1024" y="634"/>
                  </a:lnTo>
                  <a:lnTo>
                    <a:pt x="998" y="606"/>
                  </a:lnTo>
                  <a:lnTo>
                    <a:pt x="988" y="592"/>
                  </a:lnTo>
                  <a:lnTo>
                    <a:pt x="980" y="580"/>
                  </a:lnTo>
                  <a:lnTo>
                    <a:pt x="980" y="580"/>
                  </a:lnTo>
                  <a:lnTo>
                    <a:pt x="976" y="552"/>
                  </a:lnTo>
                  <a:lnTo>
                    <a:pt x="974" y="500"/>
                  </a:lnTo>
                  <a:lnTo>
                    <a:pt x="968" y="340"/>
                  </a:lnTo>
                  <a:lnTo>
                    <a:pt x="966" y="248"/>
                  </a:lnTo>
                  <a:lnTo>
                    <a:pt x="966" y="156"/>
                  </a:lnTo>
                  <a:lnTo>
                    <a:pt x="968" y="70"/>
                  </a:lnTo>
                  <a:lnTo>
                    <a:pt x="972" y="0"/>
                  </a:lnTo>
                  <a:lnTo>
                    <a:pt x="972" y="0"/>
                  </a:lnTo>
                  <a:lnTo>
                    <a:pt x="966" y="68"/>
                  </a:lnTo>
                  <a:lnTo>
                    <a:pt x="962" y="136"/>
                  </a:lnTo>
                  <a:lnTo>
                    <a:pt x="958" y="204"/>
                  </a:lnTo>
                  <a:lnTo>
                    <a:pt x="958" y="272"/>
                  </a:lnTo>
                  <a:lnTo>
                    <a:pt x="958" y="414"/>
                  </a:lnTo>
                  <a:lnTo>
                    <a:pt x="958" y="556"/>
                  </a:lnTo>
                  <a:lnTo>
                    <a:pt x="958" y="556"/>
                  </a:lnTo>
                  <a:lnTo>
                    <a:pt x="944" y="562"/>
                  </a:lnTo>
                  <a:lnTo>
                    <a:pt x="940" y="566"/>
                  </a:lnTo>
                  <a:lnTo>
                    <a:pt x="936" y="570"/>
                  </a:lnTo>
                  <a:lnTo>
                    <a:pt x="934" y="576"/>
                  </a:lnTo>
                  <a:lnTo>
                    <a:pt x="934" y="580"/>
                  </a:lnTo>
                  <a:lnTo>
                    <a:pt x="936" y="596"/>
                  </a:lnTo>
                  <a:lnTo>
                    <a:pt x="936" y="596"/>
                  </a:lnTo>
                  <a:lnTo>
                    <a:pt x="926" y="602"/>
                  </a:lnTo>
                  <a:lnTo>
                    <a:pt x="914" y="612"/>
                  </a:lnTo>
                  <a:lnTo>
                    <a:pt x="894" y="634"/>
                  </a:lnTo>
                  <a:lnTo>
                    <a:pt x="872" y="662"/>
                  </a:lnTo>
                  <a:lnTo>
                    <a:pt x="852" y="690"/>
                  </a:lnTo>
                  <a:lnTo>
                    <a:pt x="830" y="718"/>
                  </a:lnTo>
                  <a:lnTo>
                    <a:pt x="808" y="744"/>
                  </a:lnTo>
                  <a:lnTo>
                    <a:pt x="798" y="754"/>
                  </a:lnTo>
                  <a:lnTo>
                    <a:pt x="786" y="762"/>
                  </a:lnTo>
                  <a:lnTo>
                    <a:pt x="774" y="770"/>
                  </a:lnTo>
                  <a:lnTo>
                    <a:pt x="762" y="774"/>
                  </a:lnTo>
                  <a:lnTo>
                    <a:pt x="762" y="774"/>
                  </a:lnTo>
                  <a:lnTo>
                    <a:pt x="752" y="776"/>
                  </a:lnTo>
                  <a:lnTo>
                    <a:pt x="740" y="776"/>
                  </a:lnTo>
                  <a:lnTo>
                    <a:pt x="720" y="776"/>
                  </a:lnTo>
                  <a:lnTo>
                    <a:pt x="700" y="774"/>
                  </a:lnTo>
                  <a:lnTo>
                    <a:pt x="682" y="774"/>
                  </a:lnTo>
                  <a:lnTo>
                    <a:pt x="668" y="788"/>
                  </a:lnTo>
                  <a:lnTo>
                    <a:pt x="668" y="788"/>
                  </a:lnTo>
                  <a:lnTo>
                    <a:pt x="650" y="792"/>
                  </a:lnTo>
                  <a:lnTo>
                    <a:pt x="634" y="794"/>
                  </a:lnTo>
                  <a:lnTo>
                    <a:pt x="616" y="794"/>
                  </a:lnTo>
                  <a:lnTo>
                    <a:pt x="596" y="792"/>
                  </a:lnTo>
                  <a:lnTo>
                    <a:pt x="558" y="788"/>
                  </a:lnTo>
                  <a:lnTo>
                    <a:pt x="536" y="788"/>
                  </a:lnTo>
                  <a:lnTo>
                    <a:pt x="516" y="788"/>
                  </a:lnTo>
                  <a:lnTo>
                    <a:pt x="516" y="788"/>
                  </a:lnTo>
                  <a:lnTo>
                    <a:pt x="512" y="1114"/>
                  </a:lnTo>
                  <a:lnTo>
                    <a:pt x="512" y="1440"/>
                  </a:lnTo>
                  <a:lnTo>
                    <a:pt x="512" y="1766"/>
                  </a:lnTo>
                  <a:lnTo>
                    <a:pt x="508" y="2086"/>
                  </a:lnTo>
                  <a:lnTo>
                    <a:pt x="508" y="2086"/>
                  </a:lnTo>
                  <a:lnTo>
                    <a:pt x="478" y="2086"/>
                  </a:lnTo>
                  <a:lnTo>
                    <a:pt x="478" y="2086"/>
                  </a:lnTo>
                  <a:lnTo>
                    <a:pt x="476" y="2086"/>
                  </a:lnTo>
                  <a:lnTo>
                    <a:pt x="474" y="2084"/>
                  </a:lnTo>
                  <a:lnTo>
                    <a:pt x="474" y="2080"/>
                  </a:lnTo>
                  <a:lnTo>
                    <a:pt x="474" y="2064"/>
                  </a:lnTo>
                  <a:lnTo>
                    <a:pt x="474" y="2058"/>
                  </a:lnTo>
                  <a:lnTo>
                    <a:pt x="474" y="2050"/>
                  </a:lnTo>
                  <a:lnTo>
                    <a:pt x="470" y="2048"/>
                  </a:lnTo>
                  <a:lnTo>
                    <a:pt x="464" y="2048"/>
                  </a:lnTo>
                  <a:lnTo>
                    <a:pt x="464" y="2048"/>
                  </a:lnTo>
                  <a:lnTo>
                    <a:pt x="0" y="2048"/>
                  </a:lnTo>
                  <a:lnTo>
                    <a:pt x="0" y="2048"/>
                  </a:lnTo>
                  <a:lnTo>
                    <a:pt x="0" y="2226"/>
                  </a:lnTo>
                  <a:lnTo>
                    <a:pt x="0" y="2226"/>
                  </a:lnTo>
                  <a:lnTo>
                    <a:pt x="26" y="2262"/>
                  </a:lnTo>
                  <a:lnTo>
                    <a:pt x="54" y="2300"/>
                  </a:lnTo>
                  <a:lnTo>
                    <a:pt x="82" y="2336"/>
                  </a:lnTo>
                  <a:lnTo>
                    <a:pt x="112" y="2370"/>
                  </a:lnTo>
                  <a:lnTo>
                    <a:pt x="142" y="2406"/>
                  </a:lnTo>
                  <a:lnTo>
                    <a:pt x="174" y="2438"/>
                  </a:lnTo>
                  <a:lnTo>
                    <a:pt x="206" y="2470"/>
                  </a:lnTo>
                  <a:lnTo>
                    <a:pt x="240" y="2502"/>
                  </a:lnTo>
                  <a:lnTo>
                    <a:pt x="274" y="2532"/>
                  </a:lnTo>
                  <a:lnTo>
                    <a:pt x="310" y="2562"/>
                  </a:lnTo>
                  <a:lnTo>
                    <a:pt x="346" y="2590"/>
                  </a:lnTo>
                  <a:lnTo>
                    <a:pt x="384" y="2616"/>
                  </a:lnTo>
                  <a:lnTo>
                    <a:pt x="422" y="2644"/>
                  </a:lnTo>
                  <a:lnTo>
                    <a:pt x="460" y="2668"/>
                  </a:lnTo>
                  <a:lnTo>
                    <a:pt x="500" y="2692"/>
                  </a:lnTo>
                  <a:lnTo>
                    <a:pt x="540" y="2714"/>
                  </a:lnTo>
                  <a:lnTo>
                    <a:pt x="580" y="2736"/>
                  </a:lnTo>
                  <a:lnTo>
                    <a:pt x="622" y="2756"/>
                  </a:lnTo>
                  <a:lnTo>
                    <a:pt x="664" y="2776"/>
                  </a:lnTo>
                  <a:lnTo>
                    <a:pt x="708" y="2792"/>
                  </a:lnTo>
                  <a:lnTo>
                    <a:pt x="752" y="2810"/>
                  </a:lnTo>
                  <a:lnTo>
                    <a:pt x="796" y="2824"/>
                  </a:lnTo>
                  <a:lnTo>
                    <a:pt x="840" y="2838"/>
                  </a:lnTo>
                  <a:lnTo>
                    <a:pt x="886" y="2850"/>
                  </a:lnTo>
                  <a:lnTo>
                    <a:pt x="932" y="2862"/>
                  </a:lnTo>
                  <a:lnTo>
                    <a:pt x="980" y="2872"/>
                  </a:lnTo>
                  <a:lnTo>
                    <a:pt x="1026" y="2880"/>
                  </a:lnTo>
                  <a:lnTo>
                    <a:pt x="1074" y="2886"/>
                  </a:lnTo>
                  <a:lnTo>
                    <a:pt x="1122" y="2892"/>
                  </a:lnTo>
                  <a:lnTo>
                    <a:pt x="1170" y="2896"/>
                  </a:lnTo>
                  <a:lnTo>
                    <a:pt x="1220" y="2898"/>
                  </a:lnTo>
                  <a:lnTo>
                    <a:pt x="1268" y="2898"/>
                  </a:lnTo>
                  <a:lnTo>
                    <a:pt x="1268" y="2898"/>
                  </a:lnTo>
                  <a:lnTo>
                    <a:pt x="1336" y="2898"/>
                  </a:lnTo>
                  <a:lnTo>
                    <a:pt x="1402" y="2894"/>
                  </a:lnTo>
                  <a:lnTo>
                    <a:pt x="1466" y="2886"/>
                  </a:lnTo>
                  <a:lnTo>
                    <a:pt x="1532" y="2876"/>
                  </a:lnTo>
                  <a:lnTo>
                    <a:pt x="1594" y="2864"/>
                  </a:lnTo>
                  <a:lnTo>
                    <a:pt x="1658" y="2850"/>
                  </a:lnTo>
                  <a:lnTo>
                    <a:pt x="1718" y="2832"/>
                  </a:lnTo>
                  <a:lnTo>
                    <a:pt x="1780" y="2812"/>
                  </a:lnTo>
                  <a:lnTo>
                    <a:pt x="1838" y="2790"/>
                  </a:lnTo>
                  <a:lnTo>
                    <a:pt x="1896" y="2764"/>
                  </a:lnTo>
                  <a:lnTo>
                    <a:pt x="1954" y="2738"/>
                  </a:lnTo>
                  <a:lnTo>
                    <a:pt x="2010" y="2708"/>
                  </a:lnTo>
                  <a:lnTo>
                    <a:pt x="2064" y="2676"/>
                  </a:lnTo>
                  <a:lnTo>
                    <a:pt x="2116" y="2644"/>
                  </a:lnTo>
                  <a:lnTo>
                    <a:pt x="2168" y="2608"/>
                  </a:lnTo>
                  <a:lnTo>
                    <a:pt x="2218" y="2570"/>
                  </a:lnTo>
                  <a:lnTo>
                    <a:pt x="2266" y="2530"/>
                  </a:lnTo>
                  <a:lnTo>
                    <a:pt x="2312" y="2490"/>
                  </a:lnTo>
                  <a:lnTo>
                    <a:pt x="2356" y="2446"/>
                  </a:lnTo>
                  <a:lnTo>
                    <a:pt x="2400" y="2400"/>
                  </a:lnTo>
                  <a:lnTo>
                    <a:pt x="2440" y="2354"/>
                  </a:lnTo>
                  <a:lnTo>
                    <a:pt x="2480" y="2306"/>
                  </a:lnTo>
                  <a:lnTo>
                    <a:pt x="2516" y="2256"/>
                  </a:lnTo>
                  <a:lnTo>
                    <a:pt x="2552" y="2204"/>
                  </a:lnTo>
                  <a:lnTo>
                    <a:pt x="2586" y="2150"/>
                  </a:lnTo>
                  <a:lnTo>
                    <a:pt x="2616" y="2096"/>
                  </a:lnTo>
                  <a:lnTo>
                    <a:pt x="2646" y="2040"/>
                  </a:lnTo>
                  <a:lnTo>
                    <a:pt x="2672" y="1984"/>
                  </a:lnTo>
                  <a:lnTo>
                    <a:pt x="2696" y="1926"/>
                  </a:lnTo>
                  <a:lnTo>
                    <a:pt x="2718" y="1866"/>
                  </a:lnTo>
                  <a:lnTo>
                    <a:pt x="2738" y="1804"/>
                  </a:lnTo>
                  <a:lnTo>
                    <a:pt x="2754" y="1744"/>
                  </a:lnTo>
                  <a:lnTo>
                    <a:pt x="2754" y="1744"/>
                  </a:lnTo>
                  <a:lnTo>
                    <a:pt x="2754" y="1730"/>
                  </a:lnTo>
                  <a:lnTo>
                    <a:pt x="2756" y="1716"/>
                  </a:lnTo>
                  <a:lnTo>
                    <a:pt x="2758" y="1692"/>
                  </a:lnTo>
                  <a:lnTo>
                    <a:pt x="2758" y="1692"/>
                  </a:lnTo>
                  <a:close/>
                  <a:moveTo>
                    <a:pt x="972" y="618"/>
                  </a:moveTo>
                  <a:lnTo>
                    <a:pt x="972" y="618"/>
                  </a:lnTo>
                  <a:lnTo>
                    <a:pt x="994" y="634"/>
                  </a:lnTo>
                  <a:lnTo>
                    <a:pt x="1016" y="652"/>
                  </a:lnTo>
                  <a:lnTo>
                    <a:pt x="1060" y="694"/>
                  </a:lnTo>
                  <a:lnTo>
                    <a:pt x="1100" y="734"/>
                  </a:lnTo>
                  <a:lnTo>
                    <a:pt x="1132" y="774"/>
                  </a:lnTo>
                  <a:lnTo>
                    <a:pt x="1132" y="774"/>
                  </a:lnTo>
                  <a:lnTo>
                    <a:pt x="972" y="774"/>
                  </a:lnTo>
                  <a:lnTo>
                    <a:pt x="972" y="774"/>
                  </a:lnTo>
                  <a:lnTo>
                    <a:pt x="972" y="618"/>
                  </a:lnTo>
                  <a:lnTo>
                    <a:pt x="972" y="618"/>
                  </a:lnTo>
                  <a:close/>
                  <a:moveTo>
                    <a:pt x="802" y="2284"/>
                  </a:moveTo>
                  <a:lnTo>
                    <a:pt x="670" y="2284"/>
                  </a:lnTo>
                  <a:lnTo>
                    <a:pt x="670" y="2152"/>
                  </a:lnTo>
                  <a:lnTo>
                    <a:pt x="802" y="2152"/>
                  </a:lnTo>
                  <a:lnTo>
                    <a:pt x="802" y="2284"/>
                  </a:lnTo>
                  <a:close/>
                  <a:moveTo>
                    <a:pt x="802" y="2056"/>
                  </a:moveTo>
                  <a:lnTo>
                    <a:pt x="670" y="2056"/>
                  </a:lnTo>
                  <a:lnTo>
                    <a:pt x="670" y="1924"/>
                  </a:lnTo>
                  <a:lnTo>
                    <a:pt x="802" y="1924"/>
                  </a:lnTo>
                  <a:lnTo>
                    <a:pt x="802" y="2056"/>
                  </a:lnTo>
                  <a:close/>
                  <a:moveTo>
                    <a:pt x="802" y="1828"/>
                  </a:moveTo>
                  <a:lnTo>
                    <a:pt x="670" y="1828"/>
                  </a:lnTo>
                  <a:lnTo>
                    <a:pt x="670" y="1696"/>
                  </a:lnTo>
                  <a:lnTo>
                    <a:pt x="802" y="1696"/>
                  </a:lnTo>
                  <a:lnTo>
                    <a:pt x="802" y="1828"/>
                  </a:lnTo>
                  <a:close/>
                  <a:moveTo>
                    <a:pt x="802" y="1600"/>
                  </a:moveTo>
                  <a:lnTo>
                    <a:pt x="670" y="1600"/>
                  </a:lnTo>
                  <a:lnTo>
                    <a:pt x="670" y="1468"/>
                  </a:lnTo>
                  <a:lnTo>
                    <a:pt x="802" y="1468"/>
                  </a:lnTo>
                  <a:lnTo>
                    <a:pt x="802" y="1600"/>
                  </a:lnTo>
                  <a:close/>
                  <a:moveTo>
                    <a:pt x="802" y="1372"/>
                  </a:moveTo>
                  <a:lnTo>
                    <a:pt x="670" y="1372"/>
                  </a:lnTo>
                  <a:lnTo>
                    <a:pt x="670" y="1240"/>
                  </a:lnTo>
                  <a:lnTo>
                    <a:pt x="802" y="1240"/>
                  </a:lnTo>
                  <a:lnTo>
                    <a:pt x="802" y="1372"/>
                  </a:lnTo>
                  <a:close/>
                  <a:moveTo>
                    <a:pt x="802" y="1144"/>
                  </a:moveTo>
                  <a:lnTo>
                    <a:pt x="670" y="1144"/>
                  </a:lnTo>
                  <a:lnTo>
                    <a:pt x="670" y="1012"/>
                  </a:lnTo>
                  <a:lnTo>
                    <a:pt x="802" y="1012"/>
                  </a:lnTo>
                  <a:lnTo>
                    <a:pt x="802" y="1144"/>
                  </a:lnTo>
                  <a:close/>
                  <a:moveTo>
                    <a:pt x="864" y="696"/>
                  </a:moveTo>
                  <a:lnTo>
                    <a:pt x="864" y="696"/>
                  </a:lnTo>
                  <a:lnTo>
                    <a:pt x="884" y="678"/>
                  </a:lnTo>
                  <a:lnTo>
                    <a:pt x="902" y="658"/>
                  </a:lnTo>
                  <a:lnTo>
                    <a:pt x="936" y="618"/>
                  </a:lnTo>
                  <a:lnTo>
                    <a:pt x="936" y="618"/>
                  </a:lnTo>
                  <a:lnTo>
                    <a:pt x="940" y="636"/>
                  </a:lnTo>
                  <a:lnTo>
                    <a:pt x="942" y="656"/>
                  </a:lnTo>
                  <a:lnTo>
                    <a:pt x="942" y="696"/>
                  </a:lnTo>
                  <a:lnTo>
                    <a:pt x="942" y="736"/>
                  </a:lnTo>
                  <a:lnTo>
                    <a:pt x="942" y="756"/>
                  </a:lnTo>
                  <a:lnTo>
                    <a:pt x="944" y="774"/>
                  </a:lnTo>
                  <a:lnTo>
                    <a:pt x="944" y="774"/>
                  </a:lnTo>
                  <a:lnTo>
                    <a:pt x="806" y="774"/>
                  </a:lnTo>
                  <a:lnTo>
                    <a:pt x="806" y="774"/>
                  </a:lnTo>
                  <a:lnTo>
                    <a:pt x="806" y="766"/>
                  </a:lnTo>
                  <a:lnTo>
                    <a:pt x="808" y="758"/>
                  </a:lnTo>
                  <a:lnTo>
                    <a:pt x="814" y="750"/>
                  </a:lnTo>
                  <a:lnTo>
                    <a:pt x="824" y="740"/>
                  </a:lnTo>
                  <a:lnTo>
                    <a:pt x="844" y="718"/>
                  </a:lnTo>
                  <a:lnTo>
                    <a:pt x="854" y="708"/>
                  </a:lnTo>
                  <a:lnTo>
                    <a:pt x="864" y="696"/>
                  </a:lnTo>
                  <a:lnTo>
                    <a:pt x="864" y="696"/>
                  </a:lnTo>
                  <a:close/>
                  <a:moveTo>
                    <a:pt x="1026" y="2670"/>
                  </a:moveTo>
                  <a:lnTo>
                    <a:pt x="894" y="2670"/>
                  </a:lnTo>
                  <a:lnTo>
                    <a:pt x="894" y="2380"/>
                  </a:lnTo>
                  <a:lnTo>
                    <a:pt x="1026" y="2380"/>
                  </a:lnTo>
                  <a:lnTo>
                    <a:pt x="1026" y="2670"/>
                  </a:lnTo>
                  <a:close/>
                  <a:moveTo>
                    <a:pt x="1026" y="2284"/>
                  </a:moveTo>
                  <a:lnTo>
                    <a:pt x="894" y="2284"/>
                  </a:lnTo>
                  <a:lnTo>
                    <a:pt x="894" y="2152"/>
                  </a:lnTo>
                  <a:lnTo>
                    <a:pt x="1026" y="2152"/>
                  </a:lnTo>
                  <a:lnTo>
                    <a:pt x="1026" y="2284"/>
                  </a:lnTo>
                  <a:close/>
                  <a:moveTo>
                    <a:pt x="1026" y="2056"/>
                  </a:moveTo>
                  <a:lnTo>
                    <a:pt x="894" y="2056"/>
                  </a:lnTo>
                  <a:lnTo>
                    <a:pt x="894" y="1924"/>
                  </a:lnTo>
                  <a:lnTo>
                    <a:pt x="1026" y="1924"/>
                  </a:lnTo>
                  <a:lnTo>
                    <a:pt x="1026" y="2056"/>
                  </a:lnTo>
                  <a:close/>
                  <a:moveTo>
                    <a:pt x="1026" y="1828"/>
                  </a:moveTo>
                  <a:lnTo>
                    <a:pt x="894" y="1828"/>
                  </a:lnTo>
                  <a:lnTo>
                    <a:pt x="894" y="1696"/>
                  </a:lnTo>
                  <a:lnTo>
                    <a:pt x="1026" y="1696"/>
                  </a:lnTo>
                  <a:lnTo>
                    <a:pt x="1026" y="1828"/>
                  </a:lnTo>
                  <a:close/>
                  <a:moveTo>
                    <a:pt x="1026" y="1600"/>
                  </a:moveTo>
                  <a:lnTo>
                    <a:pt x="894" y="1600"/>
                  </a:lnTo>
                  <a:lnTo>
                    <a:pt x="894" y="1468"/>
                  </a:lnTo>
                  <a:lnTo>
                    <a:pt x="1026" y="1468"/>
                  </a:lnTo>
                  <a:lnTo>
                    <a:pt x="1026" y="1600"/>
                  </a:lnTo>
                  <a:close/>
                  <a:moveTo>
                    <a:pt x="1026" y="1372"/>
                  </a:moveTo>
                  <a:lnTo>
                    <a:pt x="894" y="1372"/>
                  </a:lnTo>
                  <a:lnTo>
                    <a:pt x="894" y="1240"/>
                  </a:lnTo>
                  <a:lnTo>
                    <a:pt x="1026" y="1240"/>
                  </a:lnTo>
                  <a:lnTo>
                    <a:pt x="1026" y="1372"/>
                  </a:lnTo>
                  <a:close/>
                  <a:moveTo>
                    <a:pt x="1026" y="1144"/>
                  </a:moveTo>
                  <a:lnTo>
                    <a:pt x="894" y="1144"/>
                  </a:lnTo>
                  <a:lnTo>
                    <a:pt x="894" y="1012"/>
                  </a:lnTo>
                  <a:lnTo>
                    <a:pt x="1026" y="1012"/>
                  </a:lnTo>
                  <a:lnTo>
                    <a:pt x="1026" y="1144"/>
                  </a:lnTo>
                  <a:close/>
                  <a:moveTo>
                    <a:pt x="1252" y="2284"/>
                  </a:moveTo>
                  <a:lnTo>
                    <a:pt x="1118" y="2284"/>
                  </a:lnTo>
                  <a:lnTo>
                    <a:pt x="1118" y="2152"/>
                  </a:lnTo>
                  <a:lnTo>
                    <a:pt x="1252" y="2152"/>
                  </a:lnTo>
                  <a:lnTo>
                    <a:pt x="1252" y="2284"/>
                  </a:lnTo>
                  <a:close/>
                  <a:moveTo>
                    <a:pt x="1252" y="2056"/>
                  </a:moveTo>
                  <a:lnTo>
                    <a:pt x="1118" y="2056"/>
                  </a:lnTo>
                  <a:lnTo>
                    <a:pt x="1118" y="1924"/>
                  </a:lnTo>
                  <a:lnTo>
                    <a:pt x="1252" y="1924"/>
                  </a:lnTo>
                  <a:lnTo>
                    <a:pt x="1252" y="2056"/>
                  </a:lnTo>
                  <a:close/>
                  <a:moveTo>
                    <a:pt x="1252" y="1828"/>
                  </a:moveTo>
                  <a:lnTo>
                    <a:pt x="1118" y="1828"/>
                  </a:lnTo>
                  <a:lnTo>
                    <a:pt x="1118" y="1696"/>
                  </a:lnTo>
                  <a:lnTo>
                    <a:pt x="1252" y="1696"/>
                  </a:lnTo>
                  <a:lnTo>
                    <a:pt x="1252" y="1828"/>
                  </a:lnTo>
                  <a:close/>
                  <a:moveTo>
                    <a:pt x="1252" y="1600"/>
                  </a:moveTo>
                  <a:lnTo>
                    <a:pt x="1118" y="1600"/>
                  </a:lnTo>
                  <a:lnTo>
                    <a:pt x="1118" y="1468"/>
                  </a:lnTo>
                  <a:lnTo>
                    <a:pt x="1252" y="1468"/>
                  </a:lnTo>
                  <a:lnTo>
                    <a:pt x="1252" y="1600"/>
                  </a:lnTo>
                  <a:close/>
                  <a:moveTo>
                    <a:pt x="1252" y="1372"/>
                  </a:moveTo>
                  <a:lnTo>
                    <a:pt x="1118" y="1372"/>
                  </a:lnTo>
                  <a:lnTo>
                    <a:pt x="1118" y="1240"/>
                  </a:lnTo>
                  <a:lnTo>
                    <a:pt x="1252" y="1240"/>
                  </a:lnTo>
                  <a:lnTo>
                    <a:pt x="1252" y="1372"/>
                  </a:lnTo>
                  <a:close/>
                  <a:moveTo>
                    <a:pt x="1252" y="1144"/>
                  </a:moveTo>
                  <a:lnTo>
                    <a:pt x="1118" y="1144"/>
                  </a:lnTo>
                  <a:lnTo>
                    <a:pt x="1118" y="1012"/>
                  </a:lnTo>
                  <a:lnTo>
                    <a:pt x="1252" y="1012"/>
                  </a:lnTo>
                  <a:lnTo>
                    <a:pt x="1252" y="1144"/>
                  </a:lnTo>
                  <a:close/>
                  <a:moveTo>
                    <a:pt x="1726" y="2284"/>
                  </a:moveTo>
                  <a:lnTo>
                    <a:pt x="1594" y="2284"/>
                  </a:lnTo>
                  <a:lnTo>
                    <a:pt x="1594" y="2152"/>
                  </a:lnTo>
                  <a:lnTo>
                    <a:pt x="1726" y="2152"/>
                  </a:lnTo>
                  <a:lnTo>
                    <a:pt x="1726" y="2284"/>
                  </a:lnTo>
                  <a:close/>
                  <a:moveTo>
                    <a:pt x="1726" y="2056"/>
                  </a:moveTo>
                  <a:lnTo>
                    <a:pt x="1594" y="2056"/>
                  </a:lnTo>
                  <a:lnTo>
                    <a:pt x="1594" y="1924"/>
                  </a:lnTo>
                  <a:lnTo>
                    <a:pt x="1726" y="1924"/>
                  </a:lnTo>
                  <a:lnTo>
                    <a:pt x="1726" y="2056"/>
                  </a:lnTo>
                  <a:close/>
                  <a:moveTo>
                    <a:pt x="1726" y="1828"/>
                  </a:moveTo>
                  <a:lnTo>
                    <a:pt x="1594" y="1828"/>
                  </a:lnTo>
                  <a:lnTo>
                    <a:pt x="1594" y="1696"/>
                  </a:lnTo>
                  <a:lnTo>
                    <a:pt x="1726" y="1696"/>
                  </a:lnTo>
                  <a:lnTo>
                    <a:pt x="1726" y="1828"/>
                  </a:lnTo>
                  <a:close/>
                  <a:moveTo>
                    <a:pt x="1726" y="1600"/>
                  </a:moveTo>
                  <a:lnTo>
                    <a:pt x="1594" y="1600"/>
                  </a:lnTo>
                  <a:lnTo>
                    <a:pt x="1594" y="1468"/>
                  </a:lnTo>
                  <a:lnTo>
                    <a:pt x="1726" y="1468"/>
                  </a:lnTo>
                  <a:lnTo>
                    <a:pt x="1726" y="1600"/>
                  </a:lnTo>
                  <a:close/>
                  <a:moveTo>
                    <a:pt x="1726" y="1372"/>
                  </a:moveTo>
                  <a:lnTo>
                    <a:pt x="1594" y="1372"/>
                  </a:lnTo>
                  <a:lnTo>
                    <a:pt x="1594" y="1240"/>
                  </a:lnTo>
                  <a:lnTo>
                    <a:pt x="1726" y="1240"/>
                  </a:lnTo>
                  <a:lnTo>
                    <a:pt x="1726" y="1372"/>
                  </a:lnTo>
                  <a:close/>
                  <a:moveTo>
                    <a:pt x="1726" y="1144"/>
                  </a:moveTo>
                  <a:lnTo>
                    <a:pt x="1594" y="1144"/>
                  </a:lnTo>
                  <a:lnTo>
                    <a:pt x="1594" y="1012"/>
                  </a:lnTo>
                  <a:lnTo>
                    <a:pt x="1726" y="1012"/>
                  </a:lnTo>
                  <a:lnTo>
                    <a:pt x="1726" y="1144"/>
                  </a:lnTo>
                  <a:close/>
                  <a:moveTo>
                    <a:pt x="1726" y="916"/>
                  </a:moveTo>
                  <a:lnTo>
                    <a:pt x="1594" y="916"/>
                  </a:lnTo>
                  <a:lnTo>
                    <a:pt x="1594" y="782"/>
                  </a:lnTo>
                  <a:lnTo>
                    <a:pt x="1726" y="782"/>
                  </a:lnTo>
                  <a:lnTo>
                    <a:pt x="1726" y="916"/>
                  </a:lnTo>
                  <a:close/>
                  <a:moveTo>
                    <a:pt x="1950" y="2670"/>
                  </a:moveTo>
                  <a:lnTo>
                    <a:pt x="1818" y="2670"/>
                  </a:lnTo>
                  <a:lnTo>
                    <a:pt x="1818" y="2380"/>
                  </a:lnTo>
                  <a:lnTo>
                    <a:pt x="1950" y="2380"/>
                  </a:lnTo>
                  <a:lnTo>
                    <a:pt x="1950" y="2670"/>
                  </a:lnTo>
                  <a:close/>
                  <a:moveTo>
                    <a:pt x="1950" y="2284"/>
                  </a:moveTo>
                  <a:lnTo>
                    <a:pt x="1818" y="2284"/>
                  </a:lnTo>
                  <a:lnTo>
                    <a:pt x="1818" y="2152"/>
                  </a:lnTo>
                  <a:lnTo>
                    <a:pt x="1950" y="2152"/>
                  </a:lnTo>
                  <a:lnTo>
                    <a:pt x="1950" y="2284"/>
                  </a:lnTo>
                  <a:close/>
                  <a:moveTo>
                    <a:pt x="1950" y="2056"/>
                  </a:moveTo>
                  <a:lnTo>
                    <a:pt x="1818" y="2056"/>
                  </a:lnTo>
                  <a:lnTo>
                    <a:pt x="1818" y="1924"/>
                  </a:lnTo>
                  <a:lnTo>
                    <a:pt x="1950" y="1924"/>
                  </a:lnTo>
                  <a:lnTo>
                    <a:pt x="1950" y="2056"/>
                  </a:lnTo>
                  <a:close/>
                  <a:moveTo>
                    <a:pt x="1950" y="1828"/>
                  </a:moveTo>
                  <a:lnTo>
                    <a:pt x="1818" y="1828"/>
                  </a:lnTo>
                  <a:lnTo>
                    <a:pt x="1818" y="1696"/>
                  </a:lnTo>
                  <a:lnTo>
                    <a:pt x="1950" y="1696"/>
                  </a:lnTo>
                  <a:lnTo>
                    <a:pt x="1950" y="1828"/>
                  </a:lnTo>
                  <a:close/>
                  <a:moveTo>
                    <a:pt x="1950" y="1600"/>
                  </a:moveTo>
                  <a:lnTo>
                    <a:pt x="1818" y="1600"/>
                  </a:lnTo>
                  <a:lnTo>
                    <a:pt x="1818" y="1468"/>
                  </a:lnTo>
                  <a:lnTo>
                    <a:pt x="1950" y="1468"/>
                  </a:lnTo>
                  <a:lnTo>
                    <a:pt x="1950" y="1600"/>
                  </a:lnTo>
                  <a:close/>
                  <a:moveTo>
                    <a:pt x="1950" y="1372"/>
                  </a:moveTo>
                  <a:lnTo>
                    <a:pt x="1818" y="1372"/>
                  </a:lnTo>
                  <a:lnTo>
                    <a:pt x="1818" y="1240"/>
                  </a:lnTo>
                  <a:lnTo>
                    <a:pt x="1950" y="1240"/>
                  </a:lnTo>
                  <a:lnTo>
                    <a:pt x="1950" y="1372"/>
                  </a:lnTo>
                  <a:close/>
                  <a:moveTo>
                    <a:pt x="1950" y="1144"/>
                  </a:moveTo>
                  <a:lnTo>
                    <a:pt x="1818" y="1144"/>
                  </a:lnTo>
                  <a:lnTo>
                    <a:pt x="1818" y="1012"/>
                  </a:lnTo>
                  <a:lnTo>
                    <a:pt x="1950" y="1012"/>
                  </a:lnTo>
                  <a:lnTo>
                    <a:pt x="1950" y="1144"/>
                  </a:lnTo>
                  <a:close/>
                  <a:moveTo>
                    <a:pt x="1950" y="916"/>
                  </a:moveTo>
                  <a:lnTo>
                    <a:pt x="1818" y="916"/>
                  </a:lnTo>
                  <a:lnTo>
                    <a:pt x="1818" y="782"/>
                  </a:lnTo>
                  <a:lnTo>
                    <a:pt x="1950" y="782"/>
                  </a:lnTo>
                  <a:lnTo>
                    <a:pt x="1950" y="916"/>
                  </a:lnTo>
                  <a:close/>
                  <a:moveTo>
                    <a:pt x="2176" y="2284"/>
                  </a:moveTo>
                  <a:lnTo>
                    <a:pt x="2042" y="2284"/>
                  </a:lnTo>
                  <a:lnTo>
                    <a:pt x="2042" y="2152"/>
                  </a:lnTo>
                  <a:lnTo>
                    <a:pt x="2176" y="2152"/>
                  </a:lnTo>
                  <a:lnTo>
                    <a:pt x="2176" y="2284"/>
                  </a:lnTo>
                  <a:close/>
                  <a:moveTo>
                    <a:pt x="2176" y="2056"/>
                  </a:moveTo>
                  <a:lnTo>
                    <a:pt x="2042" y="2056"/>
                  </a:lnTo>
                  <a:lnTo>
                    <a:pt x="2042" y="1924"/>
                  </a:lnTo>
                  <a:lnTo>
                    <a:pt x="2176" y="1924"/>
                  </a:lnTo>
                  <a:lnTo>
                    <a:pt x="2176" y="2056"/>
                  </a:lnTo>
                  <a:close/>
                  <a:moveTo>
                    <a:pt x="2176" y="1828"/>
                  </a:moveTo>
                  <a:lnTo>
                    <a:pt x="2042" y="1828"/>
                  </a:lnTo>
                  <a:lnTo>
                    <a:pt x="2042" y="1696"/>
                  </a:lnTo>
                  <a:lnTo>
                    <a:pt x="2176" y="1696"/>
                  </a:lnTo>
                  <a:lnTo>
                    <a:pt x="2176" y="1828"/>
                  </a:lnTo>
                  <a:close/>
                  <a:moveTo>
                    <a:pt x="2176" y="1600"/>
                  </a:moveTo>
                  <a:lnTo>
                    <a:pt x="2042" y="1600"/>
                  </a:lnTo>
                  <a:lnTo>
                    <a:pt x="2042" y="1468"/>
                  </a:lnTo>
                  <a:lnTo>
                    <a:pt x="2176" y="1468"/>
                  </a:lnTo>
                  <a:lnTo>
                    <a:pt x="2176" y="1600"/>
                  </a:lnTo>
                  <a:close/>
                  <a:moveTo>
                    <a:pt x="2176" y="1372"/>
                  </a:moveTo>
                  <a:lnTo>
                    <a:pt x="2042" y="1372"/>
                  </a:lnTo>
                  <a:lnTo>
                    <a:pt x="2042" y="1240"/>
                  </a:lnTo>
                  <a:lnTo>
                    <a:pt x="2176" y="1240"/>
                  </a:lnTo>
                  <a:lnTo>
                    <a:pt x="2176" y="1372"/>
                  </a:lnTo>
                  <a:close/>
                  <a:moveTo>
                    <a:pt x="2176" y="1144"/>
                  </a:moveTo>
                  <a:lnTo>
                    <a:pt x="2042" y="1144"/>
                  </a:lnTo>
                  <a:lnTo>
                    <a:pt x="2042" y="1012"/>
                  </a:lnTo>
                  <a:lnTo>
                    <a:pt x="2176" y="1012"/>
                  </a:lnTo>
                  <a:lnTo>
                    <a:pt x="2176" y="1144"/>
                  </a:lnTo>
                  <a:close/>
                  <a:moveTo>
                    <a:pt x="2176" y="916"/>
                  </a:moveTo>
                  <a:lnTo>
                    <a:pt x="2042" y="916"/>
                  </a:lnTo>
                  <a:lnTo>
                    <a:pt x="2042" y="782"/>
                  </a:lnTo>
                  <a:lnTo>
                    <a:pt x="2176" y="782"/>
                  </a:lnTo>
                  <a:lnTo>
                    <a:pt x="2176" y="9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632" name="Group 1631">
            <a:extLst>
              <a:ext uri="{FF2B5EF4-FFF2-40B4-BE49-F238E27FC236}">
                <a16:creationId xmlns:a16="http://schemas.microsoft.com/office/drawing/2014/main" id="{20B38379-BDFC-4BE0-A265-EC858EE41B79}"/>
              </a:ext>
            </a:extLst>
          </p:cNvPr>
          <p:cNvGrpSpPr/>
          <p:nvPr/>
        </p:nvGrpSpPr>
        <p:grpSpPr>
          <a:xfrm>
            <a:off x="3920434" y="2393776"/>
            <a:ext cx="612775" cy="612775"/>
            <a:chOff x="2765805" y="3032119"/>
            <a:chExt cx="612775" cy="612775"/>
          </a:xfrm>
        </p:grpSpPr>
        <p:sp>
          <p:nvSpPr>
            <p:cNvPr id="1633" name="Oval 1632">
              <a:extLst>
                <a:ext uri="{FF2B5EF4-FFF2-40B4-BE49-F238E27FC236}">
                  <a16:creationId xmlns:a16="http://schemas.microsoft.com/office/drawing/2014/main" id="{424CAB8F-5FC4-4BB1-9DD2-6265035E0E3E}"/>
                </a:ext>
              </a:extLst>
            </p:cNvPr>
            <p:cNvSpPr/>
            <p:nvPr/>
          </p:nvSpPr>
          <p:spPr bwMode="ltGray">
            <a:xfrm>
              <a:off x="2765805"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634" name="Group 1633">
              <a:extLst>
                <a:ext uri="{FF2B5EF4-FFF2-40B4-BE49-F238E27FC236}">
                  <a16:creationId xmlns:a16="http://schemas.microsoft.com/office/drawing/2014/main" id="{B681831D-E0B2-48C5-9173-FF74D90F413B}"/>
                </a:ext>
              </a:extLst>
            </p:cNvPr>
            <p:cNvGrpSpPr/>
            <p:nvPr/>
          </p:nvGrpSpPr>
          <p:grpSpPr>
            <a:xfrm>
              <a:off x="2938244" y="3139599"/>
              <a:ext cx="283145" cy="383500"/>
              <a:chOff x="2938244" y="3139599"/>
              <a:chExt cx="283145" cy="383500"/>
            </a:xfrm>
          </p:grpSpPr>
          <p:grpSp>
            <p:nvGrpSpPr>
              <p:cNvPr id="1635" name="Group 225">
                <a:extLst>
                  <a:ext uri="{FF2B5EF4-FFF2-40B4-BE49-F238E27FC236}">
                    <a16:creationId xmlns:a16="http://schemas.microsoft.com/office/drawing/2014/main" id="{33C5525C-24F9-48BF-95E5-88E0C6092C9D}"/>
                  </a:ext>
                </a:extLst>
              </p:cNvPr>
              <p:cNvGrpSpPr>
                <a:grpSpLocks/>
              </p:cNvGrpSpPr>
              <p:nvPr/>
            </p:nvGrpSpPr>
            <p:grpSpPr bwMode="auto">
              <a:xfrm>
                <a:off x="2938244" y="3139599"/>
                <a:ext cx="283145" cy="383500"/>
                <a:chOff x="476" y="2704"/>
                <a:chExt cx="771" cy="1225"/>
              </a:xfrm>
            </p:grpSpPr>
            <p:sp>
              <p:nvSpPr>
                <p:cNvPr id="1640" name="AutoShape 226">
                  <a:extLst>
                    <a:ext uri="{FF2B5EF4-FFF2-40B4-BE49-F238E27FC236}">
                      <a16:creationId xmlns:a16="http://schemas.microsoft.com/office/drawing/2014/main" id="{07584C58-9EC6-4A98-97EE-128E1E0F9C10}"/>
                    </a:ext>
                  </a:extLst>
                </p:cNvPr>
                <p:cNvSpPr>
                  <a:spLocks noChangeArrowheads="1"/>
                </p:cNvSpPr>
                <p:nvPr/>
              </p:nvSpPr>
              <p:spPr bwMode="auto">
                <a:xfrm>
                  <a:off x="476" y="2795"/>
                  <a:ext cx="771" cy="1134"/>
                </a:xfrm>
                <a:prstGeom prst="roundRect">
                  <a:avLst>
                    <a:gd name="adj" fmla="val 16667"/>
                  </a:avLst>
                </a:prstGeom>
                <a:solidFill>
                  <a:srgbClr val="505050"/>
                </a:solidFill>
                <a:ln w="38100">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641" name="AutoShape 227">
                  <a:extLst>
                    <a:ext uri="{FF2B5EF4-FFF2-40B4-BE49-F238E27FC236}">
                      <a16:creationId xmlns:a16="http://schemas.microsoft.com/office/drawing/2014/main" id="{00195BF7-53ED-466E-9F3F-969B3ED9605E}"/>
                    </a:ext>
                  </a:extLst>
                </p:cNvPr>
                <p:cNvSpPr>
                  <a:spLocks noChangeArrowheads="1"/>
                </p:cNvSpPr>
                <p:nvPr/>
              </p:nvSpPr>
              <p:spPr bwMode="auto">
                <a:xfrm>
                  <a:off x="680" y="2704"/>
                  <a:ext cx="363" cy="182"/>
                </a:xfrm>
                <a:prstGeom prst="roundRect">
                  <a:avLst>
                    <a:gd name="adj" fmla="val 16667"/>
                  </a:avLst>
                </a:prstGeom>
                <a:solidFill>
                  <a:srgbClr val="505050"/>
                </a:solidFill>
                <a:ln w="6350">
                  <a:solidFill>
                    <a:sysClr val="window" lastClr="FFFFFF"/>
                  </a:solid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cxnSp>
            <p:nvCxnSpPr>
              <p:cNvPr id="1636" name="Straight Connector 1635">
                <a:extLst>
                  <a:ext uri="{FF2B5EF4-FFF2-40B4-BE49-F238E27FC236}">
                    <a16:creationId xmlns:a16="http://schemas.microsoft.com/office/drawing/2014/main" id="{851AF3AD-36CA-4BB0-A6B6-99F056ACA59C}"/>
                  </a:ext>
                </a:extLst>
              </p:cNvPr>
              <p:cNvCxnSpPr/>
              <p:nvPr/>
            </p:nvCxnSpPr>
            <p:spPr>
              <a:xfrm>
                <a:off x="2971816" y="3273405"/>
                <a:ext cx="216000" cy="0"/>
              </a:xfrm>
              <a:prstGeom prst="line">
                <a:avLst/>
              </a:prstGeom>
              <a:noFill/>
              <a:ln w="12700" cap="flat" cmpd="sng" algn="ctr">
                <a:solidFill>
                  <a:sysClr val="window" lastClr="FFFFFF"/>
                </a:solidFill>
                <a:prstDash val="solid"/>
              </a:ln>
              <a:effectLst/>
            </p:spPr>
          </p:cxnSp>
          <p:cxnSp>
            <p:nvCxnSpPr>
              <p:cNvPr id="1637" name="Straight Connector 1636">
                <a:extLst>
                  <a:ext uri="{FF2B5EF4-FFF2-40B4-BE49-F238E27FC236}">
                    <a16:creationId xmlns:a16="http://schemas.microsoft.com/office/drawing/2014/main" id="{80F5C3E2-5795-4030-BB27-1CC4E5079022}"/>
                  </a:ext>
                </a:extLst>
              </p:cNvPr>
              <p:cNvCxnSpPr/>
              <p:nvPr/>
            </p:nvCxnSpPr>
            <p:spPr>
              <a:xfrm>
                <a:off x="2971816" y="3313511"/>
                <a:ext cx="216000" cy="0"/>
              </a:xfrm>
              <a:prstGeom prst="line">
                <a:avLst/>
              </a:prstGeom>
              <a:noFill/>
              <a:ln w="12700" cap="flat" cmpd="sng" algn="ctr">
                <a:solidFill>
                  <a:sysClr val="window" lastClr="FFFFFF"/>
                </a:solidFill>
                <a:prstDash val="solid"/>
              </a:ln>
              <a:effectLst/>
            </p:spPr>
          </p:cxnSp>
          <p:cxnSp>
            <p:nvCxnSpPr>
              <p:cNvPr id="1638" name="Straight Connector 1637">
                <a:extLst>
                  <a:ext uri="{FF2B5EF4-FFF2-40B4-BE49-F238E27FC236}">
                    <a16:creationId xmlns:a16="http://schemas.microsoft.com/office/drawing/2014/main" id="{2D4AA28C-EACF-4157-A4E5-EF7B8143BDAD}"/>
                  </a:ext>
                </a:extLst>
              </p:cNvPr>
              <p:cNvCxnSpPr/>
              <p:nvPr/>
            </p:nvCxnSpPr>
            <p:spPr>
              <a:xfrm>
                <a:off x="2971816" y="3353616"/>
                <a:ext cx="216000" cy="0"/>
              </a:xfrm>
              <a:prstGeom prst="line">
                <a:avLst/>
              </a:prstGeom>
              <a:noFill/>
              <a:ln w="12700" cap="flat" cmpd="sng" algn="ctr">
                <a:solidFill>
                  <a:sysClr val="window" lastClr="FFFFFF"/>
                </a:solidFill>
                <a:prstDash val="solid"/>
              </a:ln>
              <a:effectLst/>
            </p:spPr>
          </p:cxnSp>
          <p:cxnSp>
            <p:nvCxnSpPr>
              <p:cNvPr id="1639" name="Straight Connector 1638">
                <a:extLst>
                  <a:ext uri="{FF2B5EF4-FFF2-40B4-BE49-F238E27FC236}">
                    <a16:creationId xmlns:a16="http://schemas.microsoft.com/office/drawing/2014/main" id="{60EB6A30-9054-4310-8C6A-00BC17D586DF}"/>
                  </a:ext>
                </a:extLst>
              </p:cNvPr>
              <p:cNvCxnSpPr/>
              <p:nvPr/>
            </p:nvCxnSpPr>
            <p:spPr>
              <a:xfrm>
                <a:off x="2971816" y="3393721"/>
                <a:ext cx="216000" cy="0"/>
              </a:xfrm>
              <a:prstGeom prst="line">
                <a:avLst/>
              </a:prstGeom>
              <a:noFill/>
              <a:ln w="12700" cap="flat" cmpd="sng" algn="ctr">
                <a:solidFill>
                  <a:sysClr val="window" lastClr="FFFFFF"/>
                </a:solidFill>
                <a:prstDash val="solid"/>
              </a:ln>
              <a:effectLst/>
            </p:spPr>
          </p:cxnSp>
        </p:grpSp>
      </p:grpSp>
      <p:sp>
        <p:nvSpPr>
          <p:cNvPr id="498" name="TextBox 497">
            <a:extLst>
              <a:ext uri="{FF2B5EF4-FFF2-40B4-BE49-F238E27FC236}">
                <a16:creationId xmlns:a16="http://schemas.microsoft.com/office/drawing/2014/main" id="{23BE45C3-31A1-48EC-9082-EEA2BD2DE278}"/>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Icons - Business</a:t>
            </a:r>
          </a:p>
        </p:txBody>
      </p:sp>
    </p:spTree>
    <p:extLst>
      <p:ext uri="{BB962C8B-B14F-4D97-AF65-F5344CB8AC3E}">
        <p14:creationId xmlns:p14="http://schemas.microsoft.com/office/powerpoint/2010/main" val="35938541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852" name="Group 1851">
            <a:extLst>
              <a:ext uri="{FF2B5EF4-FFF2-40B4-BE49-F238E27FC236}">
                <a16:creationId xmlns:a16="http://schemas.microsoft.com/office/drawing/2014/main" id="{6B0CDC50-DEAB-4AEB-9AB4-4E54907F8DED}"/>
              </a:ext>
            </a:extLst>
          </p:cNvPr>
          <p:cNvGrpSpPr/>
          <p:nvPr/>
        </p:nvGrpSpPr>
        <p:grpSpPr>
          <a:xfrm>
            <a:off x="9711596" y="2430926"/>
            <a:ext cx="612775" cy="612775"/>
            <a:chOff x="7879232" y="3032119"/>
            <a:chExt cx="612775" cy="612775"/>
          </a:xfrm>
        </p:grpSpPr>
        <p:sp>
          <p:nvSpPr>
            <p:cNvPr id="1853" name="Oval 1852">
              <a:extLst>
                <a:ext uri="{FF2B5EF4-FFF2-40B4-BE49-F238E27FC236}">
                  <a16:creationId xmlns:a16="http://schemas.microsoft.com/office/drawing/2014/main" id="{4A05D6A9-F9DB-45B8-8E82-875574441B3C}"/>
                </a:ext>
              </a:extLst>
            </p:cNvPr>
            <p:cNvSpPr/>
            <p:nvPr/>
          </p:nvSpPr>
          <p:spPr bwMode="ltGray">
            <a:xfrm>
              <a:off x="787923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854" name="Group 230">
              <a:extLst>
                <a:ext uri="{FF2B5EF4-FFF2-40B4-BE49-F238E27FC236}">
                  <a16:creationId xmlns:a16="http://schemas.microsoft.com/office/drawing/2014/main" id="{FFE6CA10-33E0-4621-83A0-4066C7D7C4E0}"/>
                </a:ext>
              </a:extLst>
            </p:cNvPr>
            <p:cNvGrpSpPr>
              <a:grpSpLocks/>
            </p:cNvGrpSpPr>
            <p:nvPr/>
          </p:nvGrpSpPr>
          <p:grpSpPr bwMode="auto">
            <a:xfrm>
              <a:off x="7992612" y="3106066"/>
              <a:ext cx="415307" cy="437165"/>
              <a:chOff x="3918" y="2385"/>
              <a:chExt cx="454" cy="478"/>
            </a:xfrm>
          </p:grpSpPr>
          <p:sp>
            <p:nvSpPr>
              <p:cNvPr id="1855" name="AutoShape 231">
                <a:extLst>
                  <a:ext uri="{FF2B5EF4-FFF2-40B4-BE49-F238E27FC236}">
                    <a16:creationId xmlns:a16="http://schemas.microsoft.com/office/drawing/2014/main" id="{3D5022E0-B25C-4911-90DE-45EFEDFA4553}"/>
                  </a:ext>
                </a:extLst>
              </p:cNvPr>
              <p:cNvSpPr>
                <a:spLocks noChangeArrowheads="1"/>
              </p:cNvSpPr>
              <p:nvPr/>
            </p:nvSpPr>
            <p:spPr bwMode="auto">
              <a:xfrm>
                <a:off x="4150" y="2385"/>
                <a:ext cx="214" cy="340"/>
              </a:xfrm>
              <a:prstGeom prst="rtTriangle">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56" name="AutoShape 232">
                <a:extLst>
                  <a:ext uri="{FF2B5EF4-FFF2-40B4-BE49-F238E27FC236}">
                    <a16:creationId xmlns:a16="http://schemas.microsoft.com/office/drawing/2014/main" id="{8CFA64A9-EED6-4B81-A490-98ADA2AF3D4A}"/>
                  </a:ext>
                </a:extLst>
              </p:cNvPr>
              <p:cNvSpPr>
                <a:spLocks noChangeArrowheads="1"/>
              </p:cNvSpPr>
              <p:nvPr/>
            </p:nvSpPr>
            <p:spPr bwMode="auto">
              <a:xfrm flipH="1">
                <a:off x="3923" y="2441"/>
                <a:ext cx="205" cy="284"/>
              </a:xfrm>
              <a:prstGeom prst="rtTriangle">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57" name="AutoShape 233">
                <a:extLst>
                  <a:ext uri="{FF2B5EF4-FFF2-40B4-BE49-F238E27FC236}">
                    <a16:creationId xmlns:a16="http://schemas.microsoft.com/office/drawing/2014/main" id="{031865F7-D3BE-422B-B3DB-A409359E3504}"/>
                  </a:ext>
                </a:extLst>
              </p:cNvPr>
              <p:cNvSpPr>
                <a:spLocks noChangeArrowheads="1"/>
              </p:cNvSpPr>
              <p:nvPr/>
            </p:nvSpPr>
            <p:spPr bwMode="auto">
              <a:xfrm rot="10800000">
                <a:off x="3918" y="2657"/>
                <a:ext cx="454" cy="206"/>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7759 h 21600"/>
                </a:gdLst>
                <a:ahLst/>
                <a:cxnLst>
                  <a:cxn ang="T8">
                    <a:pos x="T0" y="T1"/>
                  </a:cxn>
                  <a:cxn ang="T9">
                    <a:pos x="T2" y="T3"/>
                  </a:cxn>
                  <a:cxn ang="T10">
                    <a:pos x="T4" y="T5"/>
                  </a:cxn>
                  <a:cxn ang="T11">
                    <a:pos x="T6" y="T7"/>
                  </a:cxn>
                </a:cxnLst>
                <a:rect l="T12" t="T13" r="T14" b="T15"/>
                <a:pathLst>
                  <a:path w="21600" h="21600">
                    <a:moveTo>
                      <a:pt x="10425" y="10800"/>
                    </a:moveTo>
                    <a:cubicBezTo>
                      <a:pt x="10425" y="10592"/>
                      <a:pt x="10592" y="10425"/>
                      <a:pt x="10800" y="10425"/>
                    </a:cubicBezTo>
                    <a:cubicBezTo>
                      <a:pt x="11007" y="10424"/>
                      <a:pt x="11174" y="10592"/>
                      <a:pt x="11175" y="10799"/>
                    </a:cubicBezTo>
                    <a:lnTo>
                      <a:pt x="21600" y="10800"/>
                    </a:lnTo>
                    <a:cubicBezTo>
                      <a:pt x="21600" y="4835"/>
                      <a:pt x="16764" y="0"/>
                      <a:pt x="10800" y="0"/>
                    </a:cubicBezTo>
                    <a:cubicBezTo>
                      <a:pt x="4835" y="0"/>
                      <a:pt x="0" y="4835"/>
                      <a:pt x="0" y="10800"/>
                    </a:cubicBezTo>
                    <a:close/>
                  </a:path>
                </a:pathLst>
              </a:cu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858" name="Group 1857">
            <a:extLst>
              <a:ext uri="{FF2B5EF4-FFF2-40B4-BE49-F238E27FC236}">
                <a16:creationId xmlns:a16="http://schemas.microsoft.com/office/drawing/2014/main" id="{E0185B5F-A53E-48CF-9D56-1F319C734338}"/>
              </a:ext>
            </a:extLst>
          </p:cNvPr>
          <p:cNvGrpSpPr/>
          <p:nvPr/>
        </p:nvGrpSpPr>
        <p:grpSpPr>
          <a:xfrm>
            <a:off x="3881449" y="2430926"/>
            <a:ext cx="612000" cy="612000"/>
            <a:chOff x="2049085" y="3032119"/>
            <a:chExt cx="612000" cy="612000"/>
          </a:xfrm>
        </p:grpSpPr>
        <p:sp>
          <p:nvSpPr>
            <p:cNvPr id="1859" name="Oval 1858">
              <a:extLst>
                <a:ext uri="{FF2B5EF4-FFF2-40B4-BE49-F238E27FC236}">
                  <a16:creationId xmlns:a16="http://schemas.microsoft.com/office/drawing/2014/main" id="{7A1DCE2A-3405-46F4-9EF4-4AF25AC1FF50}"/>
                </a:ext>
              </a:extLst>
            </p:cNvPr>
            <p:cNvSpPr/>
            <p:nvPr/>
          </p:nvSpPr>
          <p:spPr bwMode="ltGray">
            <a:xfrm>
              <a:off x="2049085" y="3032119"/>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860" name="Group 279">
              <a:extLst>
                <a:ext uri="{FF2B5EF4-FFF2-40B4-BE49-F238E27FC236}">
                  <a16:creationId xmlns:a16="http://schemas.microsoft.com/office/drawing/2014/main" id="{12FFD6B7-B129-46B3-9209-4D6377754632}"/>
                </a:ext>
              </a:extLst>
            </p:cNvPr>
            <p:cNvGrpSpPr>
              <a:grpSpLocks/>
            </p:cNvGrpSpPr>
            <p:nvPr/>
          </p:nvGrpSpPr>
          <p:grpSpPr bwMode="auto">
            <a:xfrm>
              <a:off x="2113042" y="3156871"/>
              <a:ext cx="507198" cy="300561"/>
              <a:chOff x="736" y="1570"/>
              <a:chExt cx="3824" cy="2263"/>
            </a:xfrm>
          </p:grpSpPr>
          <p:sp>
            <p:nvSpPr>
              <p:cNvPr id="1861" name="AutoShape 280">
                <a:extLst>
                  <a:ext uri="{FF2B5EF4-FFF2-40B4-BE49-F238E27FC236}">
                    <a16:creationId xmlns:a16="http://schemas.microsoft.com/office/drawing/2014/main" id="{43DBFD85-9485-4FFB-B66A-D3D1FDF2930A}"/>
                  </a:ext>
                </a:extLst>
              </p:cNvPr>
              <p:cNvSpPr>
                <a:spLocks noChangeArrowheads="1"/>
              </p:cNvSpPr>
              <p:nvPr/>
            </p:nvSpPr>
            <p:spPr bwMode="auto">
              <a:xfrm>
                <a:off x="736" y="2200"/>
                <a:ext cx="1603" cy="1603"/>
              </a:xfrm>
              <a:custGeom>
                <a:avLst/>
                <a:gdLst>
                  <a:gd name="T0" fmla="*/ 4 w 21600"/>
                  <a:gd name="T1" fmla="*/ 0 h 21600"/>
                  <a:gd name="T2" fmla="*/ 1 w 21600"/>
                  <a:gd name="T3" fmla="*/ 1 h 21600"/>
                  <a:gd name="T4" fmla="*/ 0 w 21600"/>
                  <a:gd name="T5" fmla="*/ 4 h 21600"/>
                  <a:gd name="T6" fmla="*/ 1 w 21600"/>
                  <a:gd name="T7" fmla="*/ 8 h 21600"/>
                  <a:gd name="T8" fmla="*/ 4 w 21600"/>
                  <a:gd name="T9" fmla="*/ 9 h 21600"/>
                  <a:gd name="T10" fmla="*/ 8 w 21600"/>
                  <a:gd name="T11" fmla="*/ 8 h 21600"/>
                  <a:gd name="T12" fmla="*/ 9 w 21600"/>
                  <a:gd name="T13" fmla="*/ 4 h 21600"/>
                  <a:gd name="T14" fmla="*/ 8 w 21600"/>
                  <a:gd name="T15" fmla="*/ 1 h 21600"/>
                  <a:gd name="T16" fmla="*/ 0 60000 65536"/>
                  <a:gd name="T17" fmla="*/ 0 60000 65536"/>
                  <a:gd name="T18" fmla="*/ 0 60000 65536"/>
                  <a:gd name="T19" fmla="*/ 0 60000 65536"/>
                  <a:gd name="T20" fmla="*/ 0 60000 65536"/>
                  <a:gd name="T21" fmla="*/ 0 60000 65536"/>
                  <a:gd name="T22" fmla="*/ 0 60000 65536"/>
                  <a:gd name="T23" fmla="*/ 0 60000 65536"/>
                  <a:gd name="T24" fmla="*/ 3167 w 21600"/>
                  <a:gd name="T25" fmla="*/ 3167 h 21600"/>
                  <a:gd name="T26" fmla="*/ 18433 w 21600"/>
                  <a:gd name="T27" fmla="*/ 18433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223" y="10800"/>
                    </a:moveTo>
                    <a:cubicBezTo>
                      <a:pt x="2223" y="15537"/>
                      <a:pt x="6063" y="19377"/>
                      <a:pt x="10800" y="19377"/>
                    </a:cubicBezTo>
                    <a:cubicBezTo>
                      <a:pt x="15537" y="19377"/>
                      <a:pt x="19377" y="15537"/>
                      <a:pt x="19377" y="10800"/>
                    </a:cubicBezTo>
                    <a:cubicBezTo>
                      <a:pt x="19377" y="6063"/>
                      <a:pt x="15537" y="2223"/>
                      <a:pt x="10800" y="2223"/>
                    </a:cubicBezTo>
                    <a:cubicBezTo>
                      <a:pt x="6063" y="2223"/>
                      <a:pt x="2223" y="6063"/>
                      <a:pt x="2223" y="10800"/>
                    </a:cubicBezTo>
                    <a:close/>
                  </a:path>
                </a:pathLst>
              </a:custGeom>
              <a:solidFill>
                <a:srgbClr val="505050"/>
              </a:solidFill>
              <a:ln w="952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862" name="AutoShape 281">
                <a:extLst>
                  <a:ext uri="{FF2B5EF4-FFF2-40B4-BE49-F238E27FC236}">
                    <a16:creationId xmlns:a16="http://schemas.microsoft.com/office/drawing/2014/main" id="{20180439-B987-484B-B24A-DA49966E1C3D}"/>
                  </a:ext>
                </a:extLst>
              </p:cNvPr>
              <p:cNvSpPr>
                <a:spLocks noChangeArrowheads="1"/>
              </p:cNvSpPr>
              <p:nvPr/>
            </p:nvSpPr>
            <p:spPr bwMode="auto">
              <a:xfrm>
                <a:off x="2957" y="2230"/>
                <a:ext cx="1603" cy="1603"/>
              </a:xfrm>
              <a:custGeom>
                <a:avLst/>
                <a:gdLst>
                  <a:gd name="T0" fmla="*/ 4 w 21600"/>
                  <a:gd name="T1" fmla="*/ 0 h 21600"/>
                  <a:gd name="T2" fmla="*/ 1 w 21600"/>
                  <a:gd name="T3" fmla="*/ 1 h 21600"/>
                  <a:gd name="T4" fmla="*/ 0 w 21600"/>
                  <a:gd name="T5" fmla="*/ 4 h 21600"/>
                  <a:gd name="T6" fmla="*/ 1 w 21600"/>
                  <a:gd name="T7" fmla="*/ 8 h 21600"/>
                  <a:gd name="T8" fmla="*/ 4 w 21600"/>
                  <a:gd name="T9" fmla="*/ 9 h 21600"/>
                  <a:gd name="T10" fmla="*/ 8 w 21600"/>
                  <a:gd name="T11" fmla="*/ 8 h 21600"/>
                  <a:gd name="T12" fmla="*/ 9 w 21600"/>
                  <a:gd name="T13" fmla="*/ 4 h 21600"/>
                  <a:gd name="T14" fmla="*/ 8 w 21600"/>
                  <a:gd name="T15" fmla="*/ 1 h 21600"/>
                  <a:gd name="T16" fmla="*/ 0 60000 65536"/>
                  <a:gd name="T17" fmla="*/ 0 60000 65536"/>
                  <a:gd name="T18" fmla="*/ 0 60000 65536"/>
                  <a:gd name="T19" fmla="*/ 0 60000 65536"/>
                  <a:gd name="T20" fmla="*/ 0 60000 65536"/>
                  <a:gd name="T21" fmla="*/ 0 60000 65536"/>
                  <a:gd name="T22" fmla="*/ 0 60000 65536"/>
                  <a:gd name="T23" fmla="*/ 0 60000 65536"/>
                  <a:gd name="T24" fmla="*/ 3167 w 21600"/>
                  <a:gd name="T25" fmla="*/ 3167 h 21600"/>
                  <a:gd name="T26" fmla="*/ 18433 w 21600"/>
                  <a:gd name="T27" fmla="*/ 18433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2223" y="10800"/>
                    </a:moveTo>
                    <a:cubicBezTo>
                      <a:pt x="2223" y="15537"/>
                      <a:pt x="6063" y="19377"/>
                      <a:pt x="10800" y="19377"/>
                    </a:cubicBezTo>
                    <a:cubicBezTo>
                      <a:pt x="15537" y="19377"/>
                      <a:pt x="19377" y="15537"/>
                      <a:pt x="19377" y="10800"/>
                    </a:cubicBezTo>
                    <a:cubicBezTo>
                      <a:pt x="19377" y="6063"/>
                      <a:pt x="15537" y="2223"/>
                      <a:pt x="10800" y="2223"/>
                    </a:cubicBezTo>
                    <a:cubicBezTo>
                      <a:pt x="6063" y="2223"/>
                      <a:pt x="2223" y="6063"/>
                      <a:pt x="2223" y="10800"/>
                    </a:cubicBezTo>
                    <a:close/>
                  </a:path>
                </a:pathLst>
              </a:custGeom>
              <a:solidFill>
                <a:srgbClr val="505050"/>
              </a:solidFill>
              <a:ln w="952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863" name="Rectangle 282">
                <a:extLst>
                  <a:ext uri="{FF2B5EF4-FFF2-40B4-BE49-F238E27FC236}">
                    <a16:creationId xmlns:a16="http://schemas.microsoft.com/office/drawing/2014/main" id="{68AE0772-18D9-48FA-BEFC-C0F28B68B7E9}"/>
                  </a:ext>
                </a:extLst>
              </p:cNvPr>
              <p:cNvSpPr>
                <a:spLocks noChangeArrowheads="1"/>
              </p:cNvSpPr>
              <p:nvPr/>
            </p:nvSpPr>
            <p:spPr bwMode="auto">
              <a:xfrm>
                <a:off x="1556" y="2935"/>
                <a:ext cx="950" cy="87"/>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64" name="Rectangle 283">
                <a:extLst>
                  <a:ext uri="{FF2B5EF4-FFF2-40B4-BE49-F238E27FC236}">
                    <a16:creationId xmlns:a16="http://schemas.microsoft.com/office/drawing/2014/main" id="{6066A638-4BBD-43C4-B139-57894DA8116C}"/>
                  </a:ext>
                </a:extLst>
              </p:cNvPr>
              <p:cNvSpPr>
                <a:spLocks noChangeArrowheads="1"/>
              </p:cNvSpPr>
              <p:nvPr/>
            </p:nvSpPr>
            <p:spPr bwMode="auto">
              <a:xfrm rot="-2879465">
                <a:off x="2278" y="2501"/>
                <a:ext cx="1203" cy="79"/>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65" name="Oval 284">
                <a:extLst>
                  <a:ext uri="{FF2B5EF4-FFF2-40B4-BE49-F238E27FC236}">
                    <a16:creationId xmlns:a16="http://schemas.microsoft.com/office/drawing/2014/main" id="{334F20ED-D20D-44EE-A342-504A9EA119A6}"/>
                  </a:ext>
                </a:extLst>
              </p:cNvPr>
              <p:cNvSpPr>
                <a:spLocks noChangeArrowheads="1"/>
              </p:cNvSpPr>
              <p:nvPr/>
            </p:nvSpPr>
            <p:spPr bwMode="auto">
              <a:xfrm>
                <a:off x="1451" y="2901"/>
                <a:ext cx="177" cy="177"/>
              </a:xfrm>
              <a:prstGeom prst="ellipse">
                <a:avLst/>
              </a:prstGeom>
              <a:solidFill>
                <a:srgbClr val="505050"/>
              </a:solidFill>
              <a:ln w="952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66" name="Oval 285">
                <a:extLst>
                  <a:ext uri="{FF2B5EF4-FFF2-40B4-BE49-F238E27FC236}">
                    <a16:creationId xmlns:a16="http://schemas.microsoft.com/office/drawing/2014/main" id="{1B8337CC-F3E3-4ADD-8D5F-8E683EB983D4}"/>
                  </a:ext>
                </a:extLst>
              </p:cNvPr>
              <p:cNvSpPr>
                <a:spLocks noChangeArrowheads="1"/>
              </p:cNvSpPr>
              <p:nvPr/>
            </p:nvSpPr>
            <p:spPr bwMode="auto">
              <a:xfrm>
                <a:off x="3673" y="2931"/>
                <a:ext cx="177" cy="177"/>
              </a:xfrm>
              <a:prstGeom prst="ellipse">
                <a:avLst/>
              </a:prstGeom>
              <a:solidFill>
                <a:srgbClr val="505050"/>
              </a:solidFill>
              <a:ln w="952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67" name="Rectangle 286">
                <a:extLst>
                  <a:ext uri="{FF2B5EF4-FFF2-40B4-BE49-F238E27FC236}">
                    <a16:creationId xmlns:a16="http://schemas.microsoft.com/office/drawing/2014/main" id="{EDDD815E-85DA-4442-8B37-630C43CECE67}"/>
                  </a:ext>
                </a:extLst>
              </p:cNvPr>
              <p:cNvSpPr>
                <a:spLocks noChangeArrowheads="1"/>
              </p:cNvSpPr>
              <p:nvPr/>
            </p:nvSpPr>
            <p:spPr bwMode="auto">
              <a:xfrm rot="-7127351">
                <a:off x="2635" y="2264"/>
                <a:ext cx="1471" cy="83"/>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68" name="Rectangle 287">
                <a:extLst>
                  <a:ext uri="{FF2B5EF4-FFF2-40B4-BE49-F238E27FC236}">
                    <a16:creationId xmlns:a16="http://schemas.microsoft.com/office/drawing/2014/main" id="{B7D39D0E-010D-43DF-8789-21CB05618318}"/>
                  </a:ext>
                </a:extLst>
              </p:cNvPr>
              <p:cNvSpPr>
                <a:spLocks noChangeArrowheads="1"/>
              </p:cNvSpPr>
              <p:nvPr/>
            </p:nvSpPr>
            <p:spPr bwMode="auto">
              <a:xfrm>
                <a:off x="2117" y="2037"/>
                <a:ext cx="1110" cy="76"/>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69" name="Rectangle 288">
                <a:extLst>
                  <a:ext uri="{FF2B5EF4-FFF2-40B4-BE49-F238E27FC236}">
                    <a16:creationId xmlns:a16="http://schemas.microsoft.com/office/drawing/2014/main" id="{454A4896-8E7F-4037-AC70-31D71753BDF4}"/>
                  </a:ext>
                </a:extLst>
              </p:cNvPr>
              <p:cNvSpPr>
                <a:spLocks noChangeArrowheads="1"/>
              </p:cNvSpPr>
              <p:nvPr/>
            </p:nvSpPr>
            <p:spPr bwMode="auto">
              <a:xfrm rot="-6801848">
                <a:off x="1589" y="2352"/>
                <a:ext cx="1312" cy="82"/>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nvGrpSpPr>
              <p:cNvPr id="1870" name="Group 289">
                <a:extLst>
                  <a:ext uri="{FF2B5EF4-FFF2-40B4-BE49-F238E27FC236}">
                    <a16:creationId xmlns:a16="http://schemas.microsoft.com/office/drawing/2014/main" id="{1D977DA3-B112-43CB-BDD0-E8CB46857AE8}"/>
                  </a:ext>
                </a:extLst>
              </p:cNvPr>
              <p:cNvGrpSpPr>
                <a:grpSpLocks/>
              </p:cNvGrpSpPr>
              <p:nvPr/>
            </p:nvGrpSpPr>
            <p:grpSpPr bwMode="auto">
              <a:xfrm rot="308454">
                <a:off x="3027" y="1614"/>
                <a:ext cx="443" cy="177"/>
                <a:chOff x="3034" y="1607"/>
                <a:chExt cx="443" cy="177"/>
              </a:xfrm>
            </p:grpSpPr>
            <p:sp>
              <p:nvSpPr>
                <p:cNvPr id="1873" name="Rectangle 290">
                  <a:extLst>
                    <a:ext uri="{FF2B5EF4-FFF2-40B4-BE49-F238E27FC236}">
                      <a16:creationId xmlns:a16="http://schemas.microsoft.com/office/drawing/2014/main" id="{DBFA1942-66F2-45D8-8F9C-9B56D40DB66F}"/>
                    </a:ext>
                  </a:extLst>
                </p:cNvPr>
                <p:cNvSpPr>
                  <a:spLocks noChangeArrowheads="1"/>
                </p:cNvSpPr>
                <p:nvPr/>
              </p:nvSpPr>
              <p:spPr bwMode="auto">
                <a:xfrm>
                  <a:off x="3034" y="1658"/>
                  <a:ext cx="368" cy="90"/>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74" name="Oval 291">
                  <a:extLst>
                    <a:ext uri="{FF2B5EF4-FFF2-40B4-BE49-F238E27FC236}">
                      <a16:creationId xmlns:a16="http://schemas.microsoft.com/office/drawing/2014/main" id="{21333D9C-7A5E-46E1-8159-F86FEDCED2A3}"/>
                    </a:ext>
                  </a:extLst>
                </p:cNvPr>
                <p:cNvSpPr>
                  <a:spLocks noChangeArrowheads="1"/>
                </p:cNvSpPr>
                <p:nvPr/>
              </p:nvSpPr>
              <p:spPr bwMode="auto">
                <a:xfrm>
                  <a:off x="3300" y="1607"/>
                  <a:ext cx="177" cy="177"/>
                </a:xfrm>
                <a:prstGeom prst="ellipse">
                  <a:avLst/>
                </a:prstGeom>
                <a:solidFill>
                  <a:srgbClr val="505050"/>
                </a:solidFill>
                <a:ln w="952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sp>
            <p:nvSpPr>
              <p:cNvPr id="1871" name="AutoShape 292">
                <a:extLst>
                  <a:ext uri="{FF2B5EF4-FFF2-40B4-BE49-F238E27FC236}">
                    <a16:creationId xmlns:a16="http://schemas.microsoft.com/office/drawing/2014/main" id="{00E7AC35-EE96-4F0D-8AED-35B635C22309}"/>
                  </a:ext>
                </a:extLst>
              </p:cNvPr>
              <p:cNvSpPr>
                <a:spLocks noChangeArrowheads="1"/>
              </p:cNvSpPr>
              <p:nvPr/>
            </p:nvSpPr>
            <p:spPr bwMode="auto">
              <a:xfrm>
                <a:off x="1617" y="1667"/>
                <a:ext cx="835" cy="429"/>
              </a:xfrm>
              <a:custGeom>
                <a:avLst/>
                <a:gdLst>
                  <a:gd name="T0" fmla="*/ 1 w 21600"/>
                  <a:gd name="T1" fmla="*/ 0 h 21600"/>
                  <a:gd name="T2" fmla="*/ 0 w 21600"/>
                  <a:gd name="T3" fmla="*/ 0 h 21600"/>
                  <a:gd name="T4" fmla="*/ 1 w 21600"/>
                  <a:gd name="T5" fmla="*/ 0 h 21600"/>
                  <a:gd name="T6" fmla="*/ 1 w 21600"/>
                  <a:gd name="T7" fmla="*/ 0 h 21600"/>
                  <a:gd name="T8" fmla="*/ 0 60000 65536"/>
                  <a:gd name="T9" fmla="*/ 0 60000 65536"/>
                  <a:gd name="T10" fmla="*/ 0 60000 65536"/>
                  <a:gd name="T11" fmla="*/ 0 60000 65536"/>
                  <a:gd name="T12" fmla="*/ 1216 w 21600"/>
                  <a:gd name="T13" fmla="*/ 0 h 21600"/>
                  <a:gd name="T14" fmla="*/ 20384 w 21600"/>
                  <a:gd name="T15" fmla="*/ 10271 h 21600"/>
                </a:gdLst>
                <a:ahLst/>
                <a:cxnLst>
                  <a:cxn ang="T8">
                    <a:pos x="T0" y="T1"/>
                  </a:cxn>
                  <a:cxn ang="T9">
                    <a:pos x="T2" y="T3"/>
                  </a:cxn>
                  <a:cxn ang="T10">
                    <a:pos x="T4" y="T5"/>
                  </a:cxn>
                  <a:cxn ang="T11">
                    <a:pos x="T6" y="T7"/>
                  </a:cxn>
                </a:cxnLst>
                <a:rect l="T12" t="T13" r="T14" b="T15"/>
                <a:pathLst>
                  <a:path w="21600" h="21600">
                    <a:moveTo>
                      <a:pt x="9952" y="10078"/>
                    </a:moveTo>
                    <a:cubicBezTo>
                      <a:pt x="10164" y="9830"/>
                      <a:pt x="10473" y="9686"/>
                      <a:pt x="10800" y="9687"/>
                    </a:cubicBezTo>
                    <a:cubicBezTo>
                      <a:pt x="11126" y="9687"/>
                      <a:pt x="11435" y="9830"/>
                      <a:pt x="11647" y="10078"/>
                    </a:cubicBezTo>
                    <a:lnTo>
                      <a:pt x="19023" y="3798"/>
                    </a:lnTo>
                    <a:cubicBezTo>
                      <a:pt x="16971" y="1388"/>
                      <a:pt x="13965" y="-1"/>
                      <a:pt x="10799" y="0"/>
                    </a:cubicBezTo>
                    <a:cubicBezTo>
                      <a:pt x="7634" y="0"/>
                      <a:pt x="4628" y="1388"/>
                      <a:pt x="2576" y="3798"/>
                    </a:cubicBezTo>
                    <a:close/>
                  </a:path>
                </a:pathLst>
              </a:cu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872" name="Rectangle 293">
                <a:extLst>
                  <a:ext uri="{FF2B5EF4-FFF2-40B4-BE49-F238E27FC236}">
                    <a16:creationId xmlns:a16="http://schemas.microsoft.com/office/drawing/2014/main" id="{E6993C95-2093-412A-A191-D35144EE1FB6}"/>
                  </a:ext>
                </a:extLst>
              </p:cNvPr>
              <p:cNvSpPr>
                <a:spLocks noChangeArrowheads="1"/>
              </p:cNvSpPr>
              <p:nvPr/>
            </p:nvSpPr>
            <p:spPr bwMode="auto">
              <a:xfrm rot="-3643988">
                <a:off x="1272" y="2452"/>
                <a:ext cx="1113" cy="74"/>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grpSp>
      <p:grpSp>
        <p:nvGrpSpPr>
          <p:cNvPr id="1875" name="Group 1874">
            <a:extLst>
              <a:ext uri="{FF2B5EF4-FFF2-40B4-BE49-F238E27FC236}">
                <a16:creationId xmlns:a16="http://schemas.microsoft.com/office/drawing/2014/main" id="{A69DC6B1-206A-4C22-A5A3-B6B5A4A55D31}"/>
              </a:ext>
            </a:extLst>
          </p:cNvPr>
          <p:cNvGrpSpPr/>
          <p:nvPr/>
        </p:nvGrpSpPr>
        <p:grpSpPr>
          <a:xfrm>
            <a:off x="2425171" y="1656899"/>
            <a:ext cx="612775" cy="612775"/>
            <a:chOff x="592807" y="2258092"/>
            <a:chExt cx="612775" cy="612775"/>
          </a:xfrm>
        </p:grpSpPr>
        <p:sp>
          <p:nvSpPr>
            <p:cNvPr id="1876" name="Oval 1875">
              <a:extLst>
                <a:ext uri="{FF2B5EF4-FFF2-40B4-BE49-F238E27FC236}">
                  <a16:creationId xmlns:a16="http://schemas.microsoft.com/office/drawing/2014/main" id="{84D09A24-0464-4DFC-8365-87EBD96AE2C7}"/>
                </a:ext>
              </a:extLst>
            </p:cNvPr>
            <p:cNvSpPr/>
            <p:nvPr/>
          </p:nvSpPr>
          <p:spPr bwMode="ltGray">
            <a:xfrm>
              <a:off x="592807"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877" name="Freeform 311">
              <a:extLst>
                <a:ext uri="{FF2B5EF4-FFF2-40B4-BE49-F238E27FC236}">
                  <a16:creationId xmlns:a16="http://schemas.microsoft.com/office/drawing/2014/main" id="{1C822EDB-C3A4-49F5-A7BF-124C3DDF838C}"/>
                </a:ext>
              </a:extLst>
            </p:cNvPr>
            <p:cNvSpPr>
              <a:spLocks/>
            </p:cNvSpPr>
            <p:nvPr/>
          </p:nvSpPr>
          <p:spPr bwMode="auto">
            <a:xfrm>
              <a:off x="675148" y="2376369"/>
              <a:ext cx="442269" cy="314577"/>
            </a:xfrm>
            <a:custGeom>
              <a:avLst/>
              <a:gdLst>
                <a:gd name="T0" fmla="*/ 62498714 w 16292"/>
                <a:gd name="T1" fmla="*/ 36568016 h 11588"/>
                <a:gd name="T2" fmla="*/ 66256604 w 16292"/>
                <a:gd name="T3" fmla="*/ 40451988 h 11588"/>
                <a:gd name="T4" fmla="*/ 67831194 w 16292"/>
                <a:gd name="T5" fmla="*/ 42677435 h 11588"/>
                <a:gd name="T6" fmla="*/ 68406421 w 16292"/>
                <a:gd name="T7" fmla="*/ 44571114 h 11588"/>
                <a:gd name="T8" fmla="*/ 67978172 w 16292"/>
                <a:gd name="T9" fmla="*/ 46120516 h 11588"/>
                <a:gd name="T10" fmla="*/ 66768897 w 16292"/>
                <a:gd name="T11" fmla="*/ 46960243 h 11588"/>
                <a:gd name="T12" fmla="*/ 65013780 w 16292"/>
                <a:gd name="T13" fmla="*/ 46880476 h 11588"/>
                <a:gd name="T14" fmla="*/ 62704447 w 16292"/>
                <a:gd name="T15" fmla="*/ 45881150 h 11588"/>
                <a:gd name="T16" fmla="*/ 57913677 w 16292"/>
                <a:gd name="T17" fmla="*/ 42937732 h 11588"/>
                <a:gd name="T18" fmla="*/ 40333418 w 16292"/>
                <a:gd name="T19" fmla="*/ 33045160 h 11588"/>
                <a:gd name="T20" fmla="*/ 34782634 w 16292"/>
                <a:gd name="T21" fmla="*/ 35732437 h 11588"/>
                <a:gd name="T22" fmla="*/ 25994602 w 16292"/>
                <a:gd name="T23" fmla="*/ 41329557 h 11588"/>
                <a:gd name="T24" fmla="*/ 27304621 w 16292"/>
                <a:gd name="T25" fmla="*/ 41883845 h 11588"/>
                <a:gd name="T26" fmla="*/ 28123408 w 16292"/>
                <a:gd name="T27" fmla="*/ 42824399 h 11588"/>
                <a:gd name="T28" fmla="*/ 28442473 w 16292"/>
                <a:gd name="T29" fmla="*/ 44151218 h 11588"/>
                <a:gd name="T30" fmla="*/ 28329141 w 16292"/>
                <a:gd name="T31" fmla="*/ 45511667 h 11588"/>
                <a:gd name="T32" fmla="*/ 27812702 w 16292"/>
                <a:gd name="T33" fmla="*/ 46569766 h 11588"/>
                <a:gd name="T34" fmla="*/ 26897366 w 16292"/>
                <a:gd name="T35" fmla="*/ 47317154 h 11588"/>
                <a:gd name="T36" fmla="*/ 25793080 w 16292"/>
                <a:gd name="T37" fmla="*/ 47762257 h 11588"/>
                <a:gd name="T38" fmla="*/ 24667799 w 16292"/>
                <a:gd name="T39" fmla="*/ 47779040 h 11588"/>
                <a:gd name="T40" fmla="*/ 23508953 w 16292"/>
                <a:gd name="T41" fmla="*/ 47346573 h 11588"/>
                <a:gd name="T42" fmla="*/ 22421450 w 16292"/>
                <a:gd name="T43" fmla="*/ 46498358 h 11588"/>
                <a:gd name="T44" fmla="*/ 21850451 w 16292"/>
                <a:gd name="T45" fmla="*/ 45402481 h 11588"/>
                <a:gd name="T46" fmla="*/ 21850451 w 16292"/>
                <a:gd name="T47" fmla="*/ 44058815 h 11588"/>
                <a:gd name="T48" fmla="*/ 2716589 w 16292"/>
                <a:gd name="T49" fmla="*/ 48597837 h 11588"/>
                <a:gd name="T50" fmla="*/ 1923008 w 16292"/>
                <a:gd name="T51" fmla="*/ 48576842 h 11588"/>
                <a:gd name="T52" fmla="*/ 1167270 w 16292"/>
                <a:gd name="T53" fmla="*/ 48026765 h 11588"/>
                <a:gd name="T54" fmla="*/ 449244 w 16292"/>
                <a:gd name="T55" fmla="*/ 46930889 h 11588"/>
                <a:gd name="T56" fmla="*/ 16783 w 16292"/>
                <a:gd name="T57" fmla="*/ 45700620 h 11588"/>
                <a:gd name="T58" fmla="*/ 146962 w 16292"/>
                <a:gd name="T59" fmla="*/ 44747431 h 11588"/>
                <a:gd name="T60" fmla="*/ 831358 w 16292"/>
                <a:gd name="T61" fmla="*/ 44079810 h 11588"/>
                <a:gd name="T62" fmla="*/ 25125467 w 16292"/>
                <a:gd name="T63" fmla="*/ 13331437 h 11588"/>
                <a:gd name="T64" fmla="*/ 22476010 w 16292"/>
                <a:gd name="T65" fmla="*/ 9888356 h 11588"/>
                <a:gd name="T66" fmla="*/ 19885389 w 16292"/>
                <a:gd name="T67" fmla="*/ 6592237 h 11588"/>
                <a:gd name="T68" fmla="*/ 19070814 w 16292"/>
                <a:gd name="T69" fmla="*/ 5198221 h 11588"/>
                <a:gd name="T70" fmla="*/ 19041461 w 16292"/>
                <a:gd name="T71" fmla="*/ 4459192 h 11588"/>
                <a:gd name="T72" fmla="*/ 62204790 w 16292"/>
                <a:gd name="T73" fmla="*/ 705399 h 11588"/>
                <a:gd name="T74" fmla="*/ 63065566 w 16292"/>
                <a:gd name="T75" fmla="*/ 96550 h 11588"/>
                <a:gd name="T76" fmla="*/ 64056456 w 16292"/>
                <a:gd name="T77" fmla="*/ 50413 h 11588"/>
                <a:gd name="T78" fmla="*/ 65181736 w 16292"/>
                <a:gd name="T79" fmla="*/ 558436 h 11588"/>
                <a:gd name="T80" fmla="*/ 66181050 w 16292"/>
                <a:gd name="T81" fmla="*/ 1360450 h 11588"/>
                <a:gd name="T82" fmla="*/ 66710125 w 16292"/>
                <a:gd name="T83" fmla="*/ 2095268 h 11588"/>
                <a:gd name="T84" fmla="*/ 66760473 w 16292"/>
                <a:gd name="T85" fmla="*/ 2758678 h 11588"/>
                <a:gd name="T86" fmla="*/ 60781439 w 16292"/>
                <a:gd name="T87" fmla="*/ 14809431 h 11588"/>
                <a:gd name="T88" fmla="*/ 61961280 w 16292"/>
                <a:gd name="T89" fmla="*/ 14738088 h 11588"/>
                <a:gd name="T90" fmla="*/ 63015153 w 16292"/>
                <a:gd name="T91" fmla="*/ 15166342 h 11588"/>
                <a:gd name="T92" fmla="*/ 63926341 w 16292"/>
                <a:gd name="T93" fmla="*/ 16069118 h 11588"/>
                <a:gd name="T94" fmla="*/ 64396580 w 16292"/>
                <a:gd name="T95" fmla="*/ 17144004 h 11588"/>
                <a:gd name="T96" fmla="*/ 64346167 w 16292"/>
                <a:gd name="T97" fmla="*/ 18269299 h 11588"/>
                <a:gd name="T98" fmla="*/ 63766744 w 16292"/>
                <a:gd name="T99" fmla="*/ 19449219 h 11588"/>
                <a:gd name="T100" fmla="*/ 62834626 w 16292"/>
                <a:gd name="T101" fmla="*/ 20326788 h 11588"/>
                <a:gd name="T102" fmla="*/ 61721981 w 16292"/>
                <a:gd name="T103" fmla="*/ 20658493 h 11588"/>
                <a:gd name="T104" fmla="*/ 60411961 w 16292"/>
                <a:gd name="T105" fmla="*/ 20427550 h 11588"/>
                <a:gd name="T106" fmla="*/ 59219485 w 16292"/>
                <a:gd name="T107" fmla="*/ 19734722 h 11588"/>
                <a:gd name="T108" fmla="*/ 58572867 w 16292"/>
                <a:gd name="T109" fmla="*/ 18718613 h 11588"/>
                <a:gd name="T110" fmla="*/ 58488889 w 16292"/>
                <a:gd name="T111" fmla="*/ 17379159 h 11588"/>
                <a:gd name="T112" fmla="*/ 54533688 w 16292"/>
                <a:gd name="T113" fmla="*/ 20398132 h 11588"/>
                <a:gd name="T114" fmla="*/ 49738642 w 16292"/>
                <a:gd name="T115" fmla="*/ 26595677 h 1158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292"/>
                <a:gd name="T175" fmla="*/ 0 h 11588"/>
                <a:gd name="T176" fmla="*/ 16292 w 16292"/>
                <a:gd name="T177" fmla="*/ 11588 h 1158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292" h="11588">
                  <a:moveTo>
                    <a:pt x="11846" y="6334"/>
                  </a:moveTo>
                  <a:lnTo>
                    <a:pt x="14258" y="8167"/>
                  </a:lnTo>
                  <a:lnTo>
                    <a:pt x="14328" y="8221"/>
                  </a:lnTo>
                  <a:lnTo>
                    <a:pt x="14400" y="8278"/>
                  </a:lnTo>
                  <a:lnTo>
                    <a:pt x="14474" y="8340"/>
                  </a:lnTo>
                  <a:lnTo>
                    <a:pt x="14552" y="8406"/>
                  </a:lnTo>
                  <a:lnTo>
                    <a:pt x="14631" y="8475"/>
                  </a:lnTo>
                  <a:lnTo>
                    <a:pt x="14714" y="8549"/>
                  </a:lnTo>
                  <a:lnTo>
                    <a:pt x="14798" y="8628"/>
                  </a:lnTo>
                  <a:lnTo>
                    <a:pt x="14885" y="8709"/>
                  </a:lnTo>
                  <a:lnTo>
                    <a:pt x="14976" y="8796"/>
                  </a:lnTo>
                  <a:lnTo>
                    <a:pt x="15068" y="8887"/>
                  </a:lnTo>
                  <a:lnTo>
                    <a:pt x="15163" y="8982"/>
                  </a:lnTo>
                  <a:lnTo>
                    <a:pt x="15261" y="9080"/>
                  </a:lnTo>
                  <a:lnTo>
                    <a:pt x="15360" y="9184"/>
                  </a:lnTo>
                  <a:lnTo>
                    <a:pt x="15463" y="9291"/>
                  </a:lnTo>
                  <a:lnTo>
                    <a:pt x="15569" y="9403"/>
                  </a:lnTo>
                  <a:lnTo>
                    <a:pt x="15677" y="9518"/>
                  </a:lnTo>
                  <a:lnTo>
                    <a:pt x="15730" y="9576"/>
                  </a:lnTo>
                  <a:lnTo>
                    <a:pt x="15780" y="9634"/>
                  </a:lnTo>
                  <a:lnTo>
                    <a:pt x="15828" y="9691"/>
                  </a:lnTo>
                  <a:lnTo>
                    <a:pt x="15874" y="9747"/>
                  </a:lnTo>
                  <a:lnTo>
                    <a:pt x="15917" y="9802"/>
                  </a:lnTo>
                  <a:lnTo>
                    <a:pt x="15958" y="9856"/>
                  </a:lnTo>
                  <a:lnTo>
                    <a:pt x="15997" y="9909"/>
                  </a:lnTo>
                  <a:lnTo>
                    <a:pt x="16034" y="9962"/>
                  </a:lnTo>
                  <a:lnTo>
                    <a:pt x="16067" y="10013"/>
                  </a:lnTo>
                  <a:lnTo>
                    <a:pt x="16099" y="10064"/>
                  </a:lnTo>
                  <a:lnTo>
                    <a:pt x="16129" y="10115"/>
                  </a:lnTo>
                  <a:lnTo>
                    <a:pt x="16155" y="10164"/>
                  </a:lnTo>
                  <a:lnTo>
                    <a:pt x="16180" y="10213"/>
                  </a:lnTo>
                  <a:lnTo>
                    <a:pt x="16201" y="10260"/>
                  </a:lnTo>
                  <a:lnTo>
                    <a:pt x="16221" y="10308"/>
                  </a:lnTo>
                  <a:lnTo>
                    <a:pt x="16239" y="10354"/>
                  </a:lnTo>
                  <a:lnTo>
                    <a:pt x="16253" y="10399"/>
                  </a:lnTo>
                  <a:lnTo>
                    <a:pt x="16265" y="10444"/>
                  </a:lnTo>
                  <a:lnTo>
                    <a:pt x="16275" y="10488"/>
                  </a:lnTo>
                  <a:lnTo>
                    <a:pt x="16284" y="10531"/>
                  </a:lnTo>
                  <a:lnTo>
                    <a:pt x="16289" y="10573"/>
                  </a:lnTo>
                  <a:lnTo>
                    <a:pt x="16292" y="10615"/>
                  </a:lnTo>
                  <a:lnTo>
                    <a:pt x="16292" y="10655"/>
                  </a:lnTo>
                  <a:lnTo>
                    <a:pt x="16290" y="10695"/>
                  </a:lnTo>
                  <a:lnTo>
                    <a:pt x="16286" y="10734"/>
                  </a:lnTo>
                  <a:lnTo>
                    <a:pt x="16279" y="10772"/>
                  </a:lnTo>
                  <a:lnTo>
                    <a:pt x="16270" y="10810"/>
                  </a:lnTo>
                  <a:lnTo>
                    <a:pt x="16259" y="10846"/>
                  </a:lnTo>
                  <a:lnTo>
                    <a:pt x="16245" y="10882"/>
                  </a:lnTo>
                  <a:lnTo>
                    <a:pt x="16228" y="10917"/>
                  </a:lnTo>
                  <a:lnTo>
                    <a:pt x="16210" y="10951"/>
                  </a:lnTo>
                  <a:lnTo>
                    <a:pt x="16190" y="10984"/>
                  </a:lnTo>
                  <a:lnTo>
                    <a:pt x="16166" y="11014"/>
                  </a:lnTo>
                  <a:lnTo>
                    <a:pt x="16143" y="11041"/>
                  </a:lnTo>
                  <a:lnTo>
                    <a:pt x="16117" y="11067"/>
                  </a:lnTo>
                  <a:lnTo>
                    <a:pt x="16090" y="11090"/>
                  </a:lnTo>
                  <a:lnTo>
                    <a:pt x="16062" y="11112"/>
                  </a:lnTo>
                  <a:lnTo>
                    <a:pt x="16033" y="11130"/>
                  </a:lnTo>
                  <a:lnTo>
                    <a:pt x="16002" y="11148"/>
                  </a:lnTo>
                  <a:lnTo>
                    <a:pt x="15970" y="11162"/>
                  </a:lnTo>
                  <a:lnTo>
                    <a:pt x="15937" y="11174"/>
                  </a:lnTo>
                  <a:lnTo>
                    <a:pt x="15902" y="11184"/>
                  </a:lnTo>
                  <a:lnTo>
                    <a:pt x="15866" y="11193"/>
                  </a:lnTo>
                  <a:lnTo>
                    <a:pt x="15829" y="11198"/>
                  </a:lnTo>
                  <a:lnTo>
                    <a:pt x="15790" y="11202"/>
                  </a:lnTo>
                  <a:lnTo>
                    <a:pt x="15750" y="11203"/>
                  </a:lnTo>
                  <a:lnTo>
                    <a:pt x="15709" y="11202"/>
                  </a:lnTo>
                  <a:lnTo>
                    <a:pt x="15666" y="11199"/>
                  </a:lnTo>
                  <a:lnTo>
                    <a:pt x="15623" y="11194"/>
                  </a:lnTo>
                  <a:lnTo>
                    <a:pt x="15578" y="11186"/>
                  </a:lnTo>
                  <a:lnTo>
                    <a:pt x="15532" y="11177"/>
                  </a:lnTo>
                  <a:lnTo>
                    <a:pt x="15484" y="11165"/>
                  </a:lnTo>
                  <a:lnTo>
                    <a:pt x="15435" y="11152"/>
                  </a:lnTo>
                  <a:lnTo>
                    <a:pt x="15384" y="11135"/>
                  </a:lnTo>
                  <a:lnTo>
                    <a:pt x="15333" y="11117"/>
                  </a:lnTo>
                  <a:lnTo>
                    <a:pt x="15280" y="11097"/>
                  </a:lnTo>
                  <a:lnTo>
                    <a:pt x="15226" y="11074"/>
                  </a:lnTo>
                  <a:lnTo>
                    <a:pt x="15170" y="11049"/>
                  </a:lnTo>
                  <a:lnTo>
                    <a:pt x="15113" y="11022"/>
                  </a:lnTo>
                  <a:lnTo>
                    <a:pt x="15054" y="10992"/>
                  </a:lnTo>
                  <a:lnTo>
                    <a:pt x="14995" y="10961"/>
                  </a:lnTo>
                  <a:lnTo>
                    <a:pt x="14934" y="10927"/>
                  </a:lnTo>
                  <a:lnTo>
                    <a:pt x="14872" y="10891"/>
                  </a:lnTo>
                  <a:lnTo>
                    <a:pt x="14809" y="10854"/>
                  </a:lnTo>
                  <a:lnTo>
                    <a:pt x="14681" y="10775"/>
                  </a:lnTo>
                  <a:lnTo>
                    <a:pt x="14554" y="10697"/>
                  </a:lnTo>
                  <a:lnTo>
                    <a:pt x="14426" y="10619"/>
                  </a:lnTo>
                  <a:lnTo>
                    <a:pt x="14300" y="10540"/>
                  </a:lnTo>
                  <a:lnTo>
                    <a:pt x="14172" y="10461"/>
                  </a:lnTo>
                  <a:lnTo>
                    <a:pt x="14046" y="10383"/>
                  </a:lnTo>
                  <a:lnTo>
                    <a:pt x="13919" y="10304"/>
                  </a:lnTo>
                  <a:lnTo>
                    <a:pt x="13793" y="10226"/>
                  </a:lnTo>
                  <a:lnTo>
                    <a:pt x="13666" y="10146"/>
                  </a:lnTo>
                  <a:lnTo>
                    <a:pt x="13541" y="10067"/>
                  </a:lnTo>
                  <a:lnTo>
                    <a:pt x="13415" y="9988"/>
                  </a:lnTo>
                  <a:lnTo>
                    <a:pt x="13290" y="9908"/>
                  </a:lnTo>
                  <a:lnTo>
                    <a:pt x="13164" y="9829"/>
                  </a:lnTo>
                  <a:lnTo>
                    <a:pt x="13040" y="9750"/>
                  </a:lnTo>
                  <a:lnTo>
                    <a:pt x="12915" y="9670"/>
                  </a:lnTo>
                  <a:lnTo>
                    <a:pt x="12791" y="9589"/>
                  </a:lnTo>
                  <a:lnTo>
                    <a:pt x="9977" y="7694"/>
                  </a:lnTo>
                  <a:lnTo>
                    <a:pt x="9606" y="7870"/>
                  </a:lnTo>
                  <a:lnTo>
                    <a:pt x="9314" y="8009"/>
                  </a:lnTo>
                  <a:lnTo>
                    <a:pt x="9088" y="8119"/>
                  </a:lnTo>
                  <a:lnTo>
                    <a:pt x="8915" y="8205"/>
                  </a:lnTo>
                  <a:lnTo>
                    <a:pt x="8780" y="8273"/>
                  </a:lnTo>
                  <a:lnTo>
                    <a:pt x="8671" y="8328"/>
                  </a:lnTo>
                  <a:lnTo>
                    <a:pt x="8572" y="8377"/>
                  </a:lnTo>
                  <a:lnTo>
                    <a:pt x="8471" y="8425"/>
                  </a:lnTo>
                  <a:lnTo>
                    <a:pt x="8415" y="8452"/>
                  </a:lnTo>
                  <a:lnTo>
                    <a:pt x="8353" y="8479"/>
                  </a:lnTo>
                  <a:lnTo>
                    <a:pt x="8284" y="8510"/>
                  </a:lnTo>
                  <a:lnTo>
                    <a:pt x="8205" y="8544"/>
                  </a:lnTo>
                  <a:lnTo>
                    <a:pt x="8013" y="8626"/>
                  </a:lnTo>
                  <a:lnTo>
                    <a:pt x="7765" y="8730"/>
                  </a:lnTo>
                  <a:lnTo>
                    <a:pt x="7443" y="8862"/>
                  </a:lnTo>
                  <a:lnTo>
                    <a:pt x="7037" y="9030"/>
                  </a:lnTo>
                  <a:lnTo>
                    <a:pt x="6533" y="9237"/>
                  </a:lnTo>
                  <a:lnTo>
                    <a:pt x="5916" y="9490"/>
                  </a:lnTo>
                  <a:lnTo>
                    <a:pt x="6115" y="9826"/>
                  </a:lnTo>
                  <a:lnTo>
                    <a:pt x="6154" y="9833"/>
                  </a:lnTo>
                  <a:lnTo>
                    <a:pt x="6191" y="9843"/>
                  </a:lnTo>
                  <a:lnTo>
                    <a:pt x="6227" y="9852"/>
                  </a:lnTo>
                  <a:lnTo>
                    <a:pt x="6263" y="9861"/>
                  </a:lnTo>
                  <a:lnTo>
                    <a:pt x="6297" y="9872"/>
                  </a:lnTo>
                  <a:lnTo>
                    <a:pt x="6329" y="9885"/>
                  </a:lnTo>
                  <a:lnTo>
                    <a:pt x="6362" y="9898"/>
                  </a:lnTo>
                  <a:lnTo>
                    <a:pt x="6393" y="9911"/>
                  </a:lnTo>
                  <a:lnTo>
                    <a:pt x="6421" y="9925"/>
                  </a:lnTo>
                  <a:lnTo>
                    <a:pt x="6450" y="9942"/>
                  </a:lnTo>
                  <a:lnTo>
                    <a:pt x="6477" y="9958"/>
                  </a:lnTo>
                  <a:lnTo>
                    <a:pt x="6503" y="9975"/>
                  </a:lnTo>
                  <a:lnTo>
                    <a:pt x="6527" y="9994"/>
                  </a:lnTo>
                  <a:lnTo>
                    <a:pt x="6551" y="10012"/>
                  </a:lnTo>
                  <a:lnTo>
                    <a:pt x="6573" y="10033"/>
                  </a:lnTo>
                  <a:lnTo>
                    <a:pt x="6595" y="10054"/>
                  </a:lnTo>
                  <a:lnTo>
                    <a:pt x="6615" y="10075"/>
                  </a:lnTo>
                  <a:lnTo>
                    <a:pt x="6633" y="10098"/>
                  </a:lnTo>
                  <a:lnTo>
                    <a:pt x="6652" y="10122"/>
                  </a:lnTo>
                  <a:lnTo>
                    <a:pt x="6668" y="10147"/>
                  </a:lnTo>
                  <a:lnTo>
                    <a:pt x="6683" y="10172"/>
                  </a:lnTo>
                  <a:lnTo>
                    <a:pt x="6698" y="10199"/>
                  </a:lnTo>
                  <a:lnTo>
                    <a:pt x="6710" y="10227"/>
                  </a:lnTo>
                  <a:lnTo>
                    <a:pt x="6722" y="10254"/>
                  </a:lnTo>
                  <a:lnTo>
                    <a:pt x="6732" y="10284"/>
                  </a:lnTo>
                  <a:lnTo>
                    <a:pt x="6742" y="10313"/>
                  </a:lnTo>
                  <a:lnTo>
                    <a:pt x="6751" y="10345"/>
                  </a:lnTo>
                  <a:lnTo>
                    <a:pt x="6758" y="10377"/>
                  </a:lnTo>
                  <a:lnTo>
                    <a:pt x="6763" y="10410"/>
                  </a:lnTo>
                  <a:lnTo>
                    <a:pt x="6768" y="10444"/>
                  </a:lnTo>
                  <a:lnTo>
                    <a:pt x="6772" y="10479"/>
                  </a:lnTo>
                  <a:lnTo>
                    <a:pt x="6774" y="10515"/>
                  </a:lnTo>
                  <a:lnTo>
                    <a:pt x="6775" y="10550"/>
                  </a:lnTo>
                  <a:lnTo>
                    <a:pt x="6776" y="10585"/>
                  </a:lnTo>
                  <a:lnTo>
                    <a:pt x="6776" y="10620"/>
                  </a:lnTo>
                  <a:lnTo>
                    <a:pt x="6774" y="10653"/>
                  </a:lnTo>
                  <a:lnTo>
                    <a:pt x="6772" y="10686"/>
                  </a:lnTo>
                  <a:lnTo>
                    <a:pt x="6769" y="10718"/>
                  </a:lnTo>
                  <a:lnTo>
                    <a:pt x="6765" y="10749"/>
                  </a:lnTo>
                  <a:lnTo>
                    <a:pt x="6760" y="10780"/>
                  </a:lnTo>
                  <a:lnTo>
                    <a:pt x="6754" y="10811"/>
                  </a:lnTo>
                  <a:lnTo>
                    <a:pt x="6747" y="10839"/>
                  </a:lnTo>
                  <a:lnTo>
                    <a:pt x="6738" y="10868"/>
                  </a:lnTo>
                  <a:lnTo>
                    <a:pt x="6730" y="10895"/>
                  </a:lnTo>
                  <a:lnTo>
                    <a:pt x="6720" y="10923"/>
                  </a:lnTo>
                  <a:lnTo>
                    <a:pt x="6710" y="10950"/>
                  </a:lnTo>
                  <a:lnTo>
                    <a:pt x="6698" y="10975"/>
                  </a:lnTo>
                  <a:lnTo>
                    <a:pt x="6685" y="11000"/>
                  </a:lnTo>
                  <a:lnTo>
                    <a:pt x="6671" y="11023"/>
                  </a:lnTo>
                  <a:lnTo>
                    <a:pt x="6657" y="11047"/>
                  </a:lnTo>
                  <a:lnTo>
                    <a:pt x="6642" y="11069"/>
                  </a:lnTo>
                  <a:lnTo>
                    <a:pt x="6624" y="11091"/>
                  </a:lnTo>
                  <a:lnTo>
                    <a:pt x="6607" y="11113"/>
                  </a:lnTo>
                  <a:lnTo>
                    <a:pt x="6588" y="11132"/>
                  </a:lnTo>
                  <a:lnTo>
                    <a:pt x="6569" y="11153"/>
                  </a:lnTo>
                  <a:lnTo>
                    <a:pt x="6549" y="11171"/>
                  </a:lnTo>
                  <a:lnTo>
                    <a:pt x="6527" y="11189"/>
                  </a:lnTo>
                  <a:lnTo>
                    <a:pt x="6505" y="11207"/>
                  </a:lnTo>
                  <a:lnTo>
                    <a:pt x="6481" y="11223"/>
                  </a:lnTo>
                  <a:lnTo>
                    <a:pt x="6458" y="11240"/>
                  </a:lnTo>
                  <a:lnTo>
                    <a:pt x="6432" y="11255"/>
                  </a:lnTo>
                  <a:lnTo>
                    <a:pt x="6406" y="11269"/>
                  </a:lnTo>
                  <a:lnTo>
                    <a:pt x="6379" y="11282"/>
                  </a:lnTo>
                  <a:lnTo>
                    <a:pt x="6351" y="11296"/>
                  </a:lnTo>
                  <a:lnTo>
                    <a:pt x="6325" y="11309"/>
                  </a:lnTo>
                  <a:lnTo>
                    <a:pt x="6300" y="11322"/>
                  </a:lnTo>
                  <a:lnTo>
                    <a:pt x="6273" y="11333"/>
                  </a:lnTo>
                  <a:lnTo>
                    <a:pt x="6248" y="11344"/>
                  </a:lnTo>
                  <a:lnTo>
                    <a:pt x="6221" y="11354"/>
                  </a:lnTo>
                  <a:lnTo>
                    <a:pt x="6196" y="11362"/>
                  </a:lnTo>
                  <a:lnTo>
                    <a:pt x="6169" y="11369"/>
                  </a:lnTo>
                  <a:lnTo>
                    <a:pt x="6143" y="11375"/>
                  </a:lnTo>
                  <a:lnTo>
                    <a:pt x="6116" y="11380"/>
                  </a:lnTo>
                  <a:lnTo>
                    <a:pt x="6090" y="11385"/>
                  </a:lnTo>
                  <a:lnTo>
                    <a:pt x="6063" y="11388"/>
                  </a:lnTo>
                  <a:lnTo>
                    <a:pt x="6037" y="11390"/>
                  </a:lnTo>
                  <a:lnTo>
                    <a:pt x="6010" y="11391"/>
                  </a:lnTo>
                  <a:lnTo>
                    <a:pt x="5984" y="11391"/>
                  </a:lnTo>
                  <a:lnTo>
                    <a:pt x="5956" y="11390"/>
                  </a:lnTo>
                  <a:lnTo>
                    <a:pt x="5930" y="11387"/>
                  </a:lnTo>
                  <a:lnTo>
                    <a:pt x="5902" y="11383"/>
                  </a:lnTo>
                  <a:lnTo>
                    <a:pt x="5875" y="11379"/>
                  </a:lnTo>
                  <a:lnTo>
                    <a:pt x="5848" y="11373"/>
                  </a:lnTo>
                  <a:lnTo>
                    <a:pt x="5820" y="11367"/>
                  </a:lnTo>
                  <a:lnTo>
                    <a:pt x="5793" y="11359"/>
                  </a:lnTo>
                  <a:lnTo>
                    <a:pt x="5765" y="11351"/>
                  </a:lnTo>
                  <a:lnTo>
                    <a:pt x="5738" y="11341"/>
                  </a:lnTo>
                  <a:lnTo>
                    <a:pt x="5710" y="11330"/>
                  </a:lnTo>
                  <a:lnTo>
                    <a:pt x="5683" y="11318"/>
                  </a:lnTo>
                  <a:lnTo>
                    <a:pt x="5655" y="11305"/>
                  </a:lnTo>
                  <a:lnTo>
                    <a:pt x="5627" y="11292"/>
                  </a:lnTo>
                  <a:lnTo>
                    <a:pt x="5599" y="11276"/>
                  </a:lnTo>
                  <a:lnTo>
                    <a:pt x="5572" y="11260"/>
                  </a:lnTo>
                  <a:lnTo>
                    <a:pt x="5543" y="11243"/>
                  </a:lnTo>
                  <a:lnTo>
                    <a:pt x="5514" y="11224"/>
                  </a:lnTo>
                  <a:lnTo>
                    <a:pt x="5487" y="11205"/>
                  </a:lnTo>
                  <a:lnTo>
                    <a:pt x="5458" y="11184"/>
                  </a:lnTo>
                  <a:lnTo>
                    <a:pt x="5432" y="11164"/>
                  </a:lnTo>
                  <a:lnTo>
                    <a:pt x="5407" y="11143"/>
                  </a:lnTo>
                  <a:lnTo>
                    <a:pt x="5383" y="11120"/>
                  </a:lnTo>
                  <a:lnTo>
                    <a:pt x="5360" y="11098"/>
                  </a:lnTo>
                  <a:lnTo>
                    <a:pt x="5340" y="11074"/>
                  </a:lnTo>
                  <a:lnTo>
                    <a:pt x="5320" y="11051"/>
                  </a:lnTo>
                  <a:lnTo>
                    <a:pt x="5302" y="11026"/>
                  </a:lnTo>
                  <a:lnTo>
                    <a:pt x="5285" y="11002"/>
                  </a:lnTo>
                  <a:lnTo>
                    <a:pt x="5270" y="10976"/>
                  </a:lnTo>
                  <a:lnTo>
                    <a:pt x="5255" y="10951"/>
                  </a:lnTo>
                  <a:lnTo>
                    <a:pt x="5242" y="10924"/>
                  </a:lnTo>
                  <a:lnTo>
                    <a:pt x="5231" y="10896"/>
                  </a:lnTo>
                  <a:lnTo>
                    <a:pt x="5221" y="10869"/>
                  </a:lnTo>
                  <a:lnTo>
                    <a:pt x="5211" y="10841"/>
                  </a:lnTo>
                  <a:lnTo>
                    <a:pt x="5204" y="10813"/>
                  </a:lnTo>
                  <a:lnTo>
                    <a:pt x="5198" y="10783"/>
                  </a:lnTo>
                  <a:lnTo>
                    <a:pt x="5193" y="10753"/>
                  </a:lnTo>
                  <a:lnTo>
                    <a:pt x="5190" y="10723"/>
                  </a:lnTo>
                  <a:lnTo>
                    <a:pt x="5188" y="10691"/>
                  </a:lnTo>
                  <a:lnTo>
                    <a:pt x="5187" y="10660"/>
                  </a:lnTo>
                  <a:lnTo>
                    <a:pt x="5188" y="10628"/>
                  </a:lnTo>
                  <a:lnTo>
                    <a:pt x="5190" y="10595"/>
                  </a:lnTo>
                  <a:lnTo>
                    <a:pt x="5193" y="10562"/>
                  </a:lnTo>
                  <a:lnTo>
                    <a:pt x="5198" y="10528"/>
                  </a:lnTo>
                  <a:lnTo>
                    <a:pt x="5204" y="10493"/>
                  </a:lnTo>
                  <a:lnTo>
                    <a:pt x="5211" y="10458"/>
                  </a:lnTo>
                  <a:lnTo>
                    <a:pt x="5221" y="10423"/>
                  </a:lnTo>
                  <a:lnTo>
                    <a:pt x="5231" y="10387"/>
                  </a:lnTo>
                  <a:lnTo>
                    <a:pt x="5242" y="10350"/>
                  </a:lnTo>
                  <a:lnTo>
                    <a:pt x="5254" y="10312"/>
                  </a:lnTo>
                  <a:lnTo>
                    <a:pt x="5269" y="10275"/>
                  </a:lnTo>
                  <a:lnTo>
                    <a:pt x="4995" y="9864"/>
                  </a:lnTo>
                  <a:lnTo>
                    <a:pt x="686" y="11560"/>
                  </a:lnTo>
                  <a:lnTo>
                    <a:pt x="666" y="11568"/>
                  </a:lnTo>
                  <a:lnTo>
                    <a:pt x="647" y="11574"/>
                  </a:lnTo>
                  <a:lnTo>
                    <a:pt x="628" y="11580"/>
                  </a:lnTo>
                  <a:lnTo>
                    <a:pt x="608" y="11584"/>
                  </a:lnTo>
                  <a:lnTo>
                    <a:pt x="589" y="11587"/>
                  </a:lnTo>
                  <a:lnTo>
                    <a:pt x="570" y="11588"/>
                  </a:lnTo>
                  <a:lnTo>
                    <a:pt x="551" y="11588"/>
                  </a:lnTo>
                  <a:lnTo>
                    <a:pt x="533" y="11587"/>
                  </a:lnTo>
                  <a:lnTo>
                    <a:pt x="513" y="11585"/>
                  </a:lnTo>
                  <a:lnTo>
                    <a:pt x="495" y="11581"/>
                  </a:lnTo>
                  <a:lnTo>
                    <a:pt x="477" y="11576"/>
                  </a:lnTo>
                  <a:lnTo>
                    <a:pt x="458" y="11569"/>
                  </a:lnTo>
                  <a:lnTo>
                    <a:pt x="440" y="11562"/>
                  </a:lnTo>
                  <a:lnTo>
                    <a:pt x="422" y="11553"/>
                  </a:lnTo>
                  <a:lnTo>
                    <a:pt x="403" y="11544"/>
                  </a:lnTo>
                  <a:lnTo>
                    <a:pt x="385" y="11532"/>
                  </a:lnTo>
                  <a:lnTo>
                    <a:pt x="366" y="11519"/>
                  </a:lnTo>
                  <a:lnTo>
                    <a:pt x="349" y="11506"/>
                  </a:lnTo>
                  <a:lnTo>
                    <a:pt x="331" y="11491"/>
                  </a:lnTo>
                  <a:lnTo>
                    <a:pt x="313" y="11474"/>
                  </a:lnTo>
                  <a:lnTo>
                    <a:pt x="296" y="11456"/>
                  </a:lnTo>
                  <a:lnTo>
                    <a:pt x="278" y="11438"/>
                  </a:lnTo>
                  <a:lnTo>
                    <a:pt x="260" y="11417"/>
                  </a:lnTo>
                  <a:lnTo>
                    <a:pt x="243" y="11396"/>
                  </a:lnTo>
                  <a:lnTo>
                    <a:pt x="226" y="11372"/>
                  </a:lnTo>
                  <a:lnTo>
                    <a:pt x="208" y="11349"/>
                  </a:lnTo>
                  <a:lnTo>
                    <a:pt x="192" y="11323"/>
                  </a:lnTo>
                  <a:lnTo>
                    <a:pt x="175" y="11297"/>
                  </a:lnTo>
                  <a:lnTo>
                    <a:pt x="157" y="11269"/>
                  </a:lnTo>
                  <a:lnTo>
                    <a:pt x="141" y="11240"/>
                  </a:lnTo>
                  <a:lnTo>
                    <a:pt x="124" y="11209"/>
                  </a:lnTo>
                  <a:lnTo>
                    <a:pt x="107" y="11177"/>
                  </a:lnTo>
                  <a:lnTo>
                    <a:pt x="91" y="11145"/>
                  </a:lnTo>
                  <a:lnTo>
                    <a:pt x="76" y="11113"/>
                  </a:lnTo>
                  <a:lnTo>
                    <a:pt x="63" y="11082"/>
                  </a:lnTo>
                  <a:lnTo>
                    <a:pt x="50" y="11052"/>
                  </a:lnTo>
                  <a:lnTo>
                    <a:pt x="39" y="11022"/>
                  </a:lnTo>
                  <a:lnTo>
                    <a:pt x="30" y="10993"/>
                  </a:lnTo>
                  <a:lnTo>
                    <a:pt x="22" y="10965"/>
                  </a:lnTo>
                  <a:lnTo>
                    <a:pt x="15" y="10937"/>
                  </a:lnTo>
                  <a:lnTo>
                    <a:pt x="9" y="10911"/>
                  </a:lnTo>
                  <a:lnTo>
                    <a:pt x="4" y="10884"/>
                  </a:lnTo>
                  <a:lnTo>
                    <a:pt x="1" y="10859"/>
                  </a:lnTo>
                  <a:lnTo>
                    <a:pt x="0" y="10833"/>
                  </a:lnTo>
                  <a:lnTo>
                    <a:pt x="0" y="10810"/>
                  </a:lnTo>
                  <a:lnTo>
                    <a:pt x="1" y="10785"/>
                  </a:lnTo>
                  <a:lnTo>
                    <a:pt x="3" y="10763"/>
                  </a:lnTo>
                  <a:lnTo>
                    <a:pt x="7" y="10740"/>
                  </a:lnTo>
                  <a:lnTo>
                    <a:pt x="13" y="10719"/>
                  </a:lnTo>
                  <a:lnTo>
                    <a:pt x="19" y="10697"/>
                  </a:lnTo>
                  <a:lnTo>
                    <a:pt x="26" y="10678"/>
                  </a:lnTo>
                  <a:lnTo>
                    <a:pt x="35" y="10657"/>
                  </a:lnTo>
                  <a:lnTo>
                    <a:pt x="45" y="10639"/>
                  </a:lnTo>
                  <a:lnTo>
                    <a:pt x="57" y="10621"/>
                  </a:lnTo>
                  <a:lnTo>
                    <a:pt x="71" y="10602"/>
                  </a:lnTo>
                  <a:lnTo>
                    <a:pt x="85" y="10586"/>
                  </a:lnTo>
                  <a:lnTo>
                    <a:pt x="100" y="10570"/>
                  </a:lnTo>
                  <a:lnTo>
                    <a:pt x="118" y="10554"/>
                  </a:lnTo>
                  <a:lnTo>
                    <a:pt x="136" y="10539"/>
                  </a:lnTo>
                  <a:lnTo>
                    <a:pt x="155" y="10525"/>
                  </a:lnTo>
                  <a:lnTo>
                    <a:pt x="177" y="10510"/>
                  </a:lnTo>
                  <a:lnTo>
                    <a:pt x="198" y="10498"/>
                  </a:lnTo>
                  <a:lnTo>
                    <a:pt x="223" y="10486"/>
                  </a:lnTo>
                  <a:lnTo>
                    <a:pt x="247" y="10474"/>
                  </a:lnTo>
                  <a:lnTo>
                    <a:pt x="8895" y="6570"/>
                  </a:lnTo>
                  <a:lnTo>
                    <a:pt x="7262" y="4977"/>
                  </a:lnTo>
                  <a:lnTo>
                    <a:pt x="4722" y="5550"/>
                  </a:lnTo>
                  <a:lnTo>
                    <a:pt x="6525" y="4127"/>
                  </a:lnTo>
                  <a:lnTo>
                    <a:pt x="5631" y="3479"/>
                  </a:lnTo>
                  <a:lnTo>
                    <a:pt x="6077" y="3306"/>
                  </a:lnTo>
                  <a:lnTo>
                    <a:pt x="6032" y="3241"/>
                  </a:lnTo>
                  <a:lnTo>
                    <a:pt x="5984" y="3175"/>
                  </a:lnTo>
                  <a:lnTo>
                    <a:pt x="5933" y="3105"/>
                  </a:lnTo>
                  <a:lnTo>
                    <a:pt x="5879" y="3033"/>
                  </a:lnTo>
                  <a:lnTo>
                    <a:pt x="5822" y="2958"/>
                  </a:lnTo>
                  <a:lnTo>
                    <a:pt x="5763" y="2881"/>
                  </a:lnTo>
                  <a:lnTo>
                    <a:pt x="5701" y="2800"/>
                  </a:lnTo>
                  <a:lnTo>
                    <a:pt x="5637" y="2716"/>
                  </a:lnTo>
                  <a:lnTo>
                    <a:pt x="5569" y="2631"/>
                  </a:lnTo>
                  <a:lnTo>
                    <a:pt x="5500" y="2542"/>
                  </a:lnTo>
                  <a:lnTo>
                    <a:pt x="5428" y="2450"/>
                  </a:lnTo>
                  <a:lnTo>
                    <a:pt x="5353" y="2355"/>
                  </a:lnTo>
                  <a:lnTo>
                    <a:pt x="5276" y="2258"/>
                  </a:lnTo>
                  <a:lnTo>
                    <a:pt x="5195" y="2157"/>
                  </a:lnTo>
                  <a:lnTo>
                    <a:pt x="5112" y="2054"/>
                  </a:lnTo>
                  <a:lnTo>
                    <a:pt x="5027" y="1949"/>
                  </a:lnTo>
                  <a:lnTo>
                    <a:pt x="4943" y="1844"/>
                  </a:lnTo>
                  <a:lnTo>
                    <a:pt x="4867" y="1746"/>
                  </a:lnTo>
                  <a:lnTo>
                    <a:pt x="4831" y="1699"/>
                  </a:lnTo>
                  <a:lnTo>
                    <a:pt x="4797" y="1654"/>
                  </a:lnTo>
                  <a:lnTo>
                    <a:pt x="4767" y="1612"/>
                  </a:lnTo>
                  <a:lnTo>
                    <a:pt x="4736" y="1570"/>
                  </a:lnTo>
                  <a:lnTo>
                    <a:pt x="4709" y="1529"/>
                  </a:lnTo>
                  <a:lnTo>
                    <a:pt x="4683" y="1490"/>
                  </a:lnTo>
                  <a:lnTo>
                    <a:pt x="4659" y="1453"/>
                  </a:lnTo>
                  <a:lnTo>
                    <a:pt x="4636" y="1418"/>
                  </a:lnTo>
                  <a:lnTo>
                    <a:pt x="4617" y="1384"/>
                  </a:lnTo>
                  <a:lnTo>
                    <a:pt x="4597" y="1351"/>
                  </a:lnTo>
                  <a:lnTo>
                    <a:pt x="4581" y="1321"/>
                  </a:lnTo>
                  <a:lnTo>
                    <a:pt x="4567" y="1292"/>
                  </a:lnTo>
                  <a:lnTo>
                    <a:pt x="4554" y="1263"/>
                  </a:lnTo>
                  <a:lnTo>
                    <a:pt x="4542" y="1238"/>
                  </a:lnTo>
                  <a:lnTo>
                    <a:pt x="4533" y="1213"/>
                  </a:lnTo>
                  <a:lnTo>
                    <a:pt x="4526" y="1190"/>
                  </a:lnTo>
                  <a:lnTo>
                    <a:pt x="4521" y="1168"/>
                  </a:lnTo>
                  <a:lnTo>
                    <a:pt x="4518" y="1149"/>
                  </a:lnTo>
                  <a:lnTo>
                    <a:pt x="4516" y="1131"/>
                  </a:lnTo>
                  <a:lnTo>
                    <a:pt x="4516" y="1114"/>
                  </a:lnTo>
                  <a:lnTo>
                    <a:pt x="4518" y="1099"/>
                  </a:lnTo>
                  <a:lnTo>
                    <a:pt x="4522" y="1086"/>
                  </a:lnTo>
                  <a:lnTo>
                    <a:pt x="4528" y="1073"/>
                  </a:lnTo>
                  <a:lnTo>
                    <a:pt x="4535" y="1062"/>
                  </a:lnTo>
                  <a:lnTo>
                    <a:pt x="4545" y="1054"/>
                  </a:lnTo>
                  <a:lnTo>
                    <a:pt x="4557" y="1046"/>
                  </a:lnTo>
                  <a:lnTo>
                    <a:pt x="4570" y="1041"/>
                  </a:lnTo>
                  <a:lnTo>
                    <a:pt x="4585" y="1037"/>
                  </a:lnTo>
                  <a:lnTo>
                    <a:pt x="6961" y="3617"/>
                  </a:lnTo>
                  <a:lnTo>
                    <a:pt x="8758" y="1920"/>
                  </a:lnTo>
                  <a:lnTo>
                    <a:pt x="8008" y="4264"/>
                  </a:lnTo>
                  <a:lnTo>
                    <a:pt x="10425" y="5488"/>
                  </a:lnTo>
                  <a:lnTo>
                    <a:pt x="14796" y="189"/>
                  </a:lnTo>
                  <a:lnTo>
                    <a:pt x="14815" y="168"/>
                  </a:lnTo>
                  <a:lnTo>
                    <a:pt x="14834" y="147"/>
                  </a:lnTo>
                  <a:lnTo>
                    <a:pt x="14854" y="128"/>
                  </a:lnTo>
                  <a:lnTo>
                    <a:pt x="14873" y="111"/>
                  </a:lnTo>
                  <a:lnTo>
                    <a:pt x="14893" y="94"/>
                  </a:lnTo>
                  <a:lnTo>
                    <a:pt x="14914" y="79"/>
                  </a:lnTo>
                  <a:lnTo>
                    <a:pt x="14934" y="65"/>
                  </a:lnTo>
                  <a:lnTo>
                    <a:pt x="14956" y="52"/>
                  </a:lnTo>
                  <a:lnTo>
                    <a:pt x="14977" y="41"/>
                  </a:lnTo>
                  <a:lnTo>
                    <a:pt x="14998" y="32"/>
                  </a:lnTo>
                  <a:lnTo>
                    <a:pt x="15020" y="23"/>
                  </a:lnTo>
                  <a:lnTo>
                    <a:pt x="15042" y="16"/>
                  </a:lnTo>
                  <a:lnTo>
                    <a:pt x="15065" y="11"/>
                  </a:lnTo>
                  <a:lnTo>
                    <a:pt x="15088" y="5"/>
                  </a:lnTo>
                  <a:lnTo>
                    <a:pt x="15111" y="2"/>
                  </a:lnTo>
                  <a:lnTo>
                    <a:pt x="15134" y="0"/>
                  </a:lnTo>
                  <a:lnTo>
                    <a:pt x="15159" y="0"/>
                  </a:lnTo>
                  <a:lnTo>
                    <a:pt x="15182" y="1"/>
                  </a:lnTo>
                  <a:lnTo>
                    <a:pt x="15206" y="3"/>
                  </a:lnTo>
                  <a:lnTo>
                    <a:pt x="15231" y="6"/>
                  </a:lnTo>
                  <a:lnTo>
                    <a:pt x="15256" y="12"/>
                  </a:lnTo>
                  <a:lnTo>
                    <a:pt x="15282" y="18"/>
                  </a:lnTo>
                  <a:lnTo>
                    <a:pt x="15307" y="25"/>
                  </a:lnTo>
                  <a:lnTo>
                    <a:pt x="15333" y="34"/>
                  </a:lnTo>
                  <a:lnTo>
                    <a:pt x="15359" y="44"/>
                  </a:lnTo>
                  <a:lnTo>
                    <a:pt x="15386" y="55"/>
                  </a:lnTo>
                  <a:lnTo>
                    <a:pt x="15412" y="69"/>
                  </a:lnTo>
                  <a:lnTo>
                    <a:pt x="15440" y="82"/>
                  </a:lnTo>
                  <a:lnTo>
                    <a:pt x="15468" y="98"/>
                  </a:lnTo>
                  <a:lnTo>
                    <a:pt x="15495" y="115"/>
                  </a:lnTo>
                  <a:lnTo>
                    <a:pt x="15524" y="133"/>
                  </a:lnTo>
                  <a:lnTo>
                    <a:pt x="15552" y="152"/>
                  </a:lnTo>
                  <a:lnTo>
                    <a:pt x="15580" y="172"/>
                  </a:lnTo>
                  <a:lnTo>
                    <a:pt x="15606" y="191"/>
                  </a:lnTo>
                  <a:lnTo>
                    <a:pt x="15633" y="211"/>
                  </a:lnTo>
                  <a:lnTo>
                    <a:pt x="15657" y="230"/>
                  </a:lnTo>
                  <a:lnTo>
                    <a:pt x="15681" y="249"/>
                  </a:lnTo>
                  <a:lnTo>
                    <a:pt x="15702" y="269"/>
                  </a:lnTo>
                  <a:lnTo>
                    <a:pt x="15724" y="287"/>
                  </a:lnTo>
                  <a:lnTo>
                    <a:pt x="15744" y="306"/>
                  </a:lnTo>
                  <a:lnTo>
                    <a:pt x="15762" y="324"/>
                  </a:lnTo>
                  <a:lnTo>
                    <a:pt x="15780" y="342"/>
                  </a:lnTo>
                  <a:lnTo>
                    <a:pt x="15797" y="361"/>
                  </a:lnTo>
                  <a:lnTo>
                    <a:pt x="15812" y="378"/>
                  </a:lnTo>
                  <a:lnTo>
                    <a:pt x="15827" y="396"/>
                  </a:lnTo>
                  <a:lnTo>
                    <a:pt x="15840" y="414"/>
                  </a:lnTo>
                  <a:lnTo>
                    <a:pt x="15851" y="431"/>
                  </a:lnTo>
                  <a:lnTo>
                    <a:pt x="15862" y="449"/>
                  </a:lnTo>
                  <a:lnTo>
                    <a:pt x="15873" y="466"/>
                  </a:lnTo>
                  <a:lnTo>
                    <a:pt x="15881" y="482"/>
                  </a:lnTo>
                  <a:lnTo>
                    <a:pt x="15888" y="499"/>
                  </a:lnTo>
                  <a:lnTo>
                    <a:pt x="15894" y="516"/>
                  </a:lnTo>
                  <a:lnTo>
                    <a:pt x="15899" y="532"/>
                  </a:lnTo>
                  <a:lnTo>
                    <a:pt x="15903" y="548"/>
                  </a:lnTo>
                  <a:lnTo>
                    <a:pt x="15906" y="564"/>
                  </a:lnTo>
                  <a:lnTo>
                    <a:pt x="15908" y="580"/>
                  </a:lnTo>
                  <a:lnTo>
                    <a:pt x="15909" y="596"/>
                  </a:lnTo>
                  <a:lnTo>
                    <a:pt x="15908" y="611"/>
                  </a:lnTo>
                  <a:lnTo>
                    <a:pt x="15906" y="626"/>
                  </a:lnTo>
                  <a:lnTo>
                    <a:pt x="15904" y="642"/>
                  </a:lnTo>
                  <a:lnTo>
                    <a:pt x="15900" y="657"/>
                  </a:lnTo>
                  <a:lnTo>
                    <a:pt x="15895" y="671"/>
                  </a:lnTo>
                  <a:lnTo>
                    <a:pt x="15889" y="685"/>
                  </a:lnTo>
                  <a:lnTo>
                    <a:pt x="15882" y="700"/>
                  </a:lnTo>
                  <a:lnTo>
                    <a:pt x="14050" y="3442"/>
                  </a:lnTo>
                  <a:lnTo>
                    <a:pt x="14324" y="3579"/>
                  </a:lnTo>
                  <a:lnTo>
                    <a:pt x="14355" y="3566"/>
                  </a:lnTo>
                  <a:lnTo>
                    <a:pt x="14385" y="3555"/>
                  </a:lnTo>
                  <a:lnTo>
                    <a:pt x="14416" y="3545"/>
                  </a:lnTo>
                  <a:lnTo>
                    <a:pt x="14446" y="3535"/>
                  </a:lnTo>
                  <a:lnTo>
                    <a:pt x="14476" y="3527"/>
                  </a:lnTo>
                  <a:lnTo>
                    <a:pt x="14505" y="3520"/>
                  </a:lnTo>
                  <a:lnTo>
                    <a:pt x="14534" y="3514"/>
                  </a:lnTo>
                  <a:lnTo>
                    <a:pt x="14563" y="3510"/>
                  </a:lnTo>
                  <a:lnTo>
                    <a:pt x="14591" y="3506"/>
                  </a:lnTo>
                  <a:lnTo>
                    <a:pt x="14620" y="3504"/>
                  </a:lnTo>
                  <a:lnTo>
                    <a:pt x="14649" y="3503"/>
                  </a:lnTo>
                  <a:lnTo>
                    <a:pt x="14676" y="3503"/>
                  </a:lnTo>
                  <a:lnTo>
                    <a:pt x="14704" y="3504"/>
                  </a:lnTo>
                  <a:lnTo>
                    <a:pt x="14730" y="3507"/>
                  </a:lnTo>
                  <a:lnTo>
                    <a:pt x="14757" y="3510"/>
                  </a:lnTo>
                  <a:lnTo>
                    <a:pt x="14783" y="3515"/>
                  </a:lnTo>
                  <a:lnTo>
                    <a:pt x="14810" y="3521"/>
                  </a:lnTo>
                  <a:lnTo>
                    <a:pt x="14835" y="3528"/>
                  </a:lnTo>
                  <a:lnTo>
                    <a:pt x="14861" y="3536"/>
                  </a:lnTo>
                  <a:lnTo>
                    <a:pt x="14886" y="3546"/>
                  </a:lnTo>
                  <a:lnTo>
                    <a:pt x="14911" y="3557"/>
                  </a:lnTo>
                  <a:lnTo>
                    <a:pt x="14936" y="3568"/>
                  </a:lnTo>
                  <a:lnTo>
                    <a:pt x="14961" y="3581"/>
                  </a:lnTo>
                  <a:lnTo>
                    <a:pt x="14984" y="3596"/>
                  </a:lnTo>
                  <a:lnTo>
                    <a:pt x="15008" y="3612"/>
                  </a:lnTo>
                  <a:lnTo>
                    <a:pt x="15031" y="3628"/>
                  </a:lnTo>
                  <a:lnTo>
                    <a:pt x="15054" y="3646"/>
                  </a:lnTo>
                  <a:lnTo>
                    <a:pt x="15078" y="3665"/>
                  </a:lnTo>
                  <a:lnTo>
                    <a:pt x="15100" y="3685"/>
                  </a:lnTo>
                  <a:lnTo>
                    <a:pt x="15123" y="3707"/>
                  </a:lnTo>
                  <a:lnTo>
                    <a:pt x="15144" y="3729"/>
                  </a:lnTo>
                  <a:lnTo>
                    <a:pt x="15167" y="3754"/>
                  </a:lnTo>
                  <a:lnTo>
                    <a:pt x="15187" y="3778"/>
                  </a:lnTo>
                  <a:lnTo>
                    <a:pt x="15206" y="3803"/>
                  </a:lnTo>
                  <a:lnTo>
                    <a:pt x="15225" y="3827"/>
                  </a:lnTo>
                  <a:lnTo>
                    <a:pt x="15241" y="3853"/>
                  </a:lnTo>
                  <a:lnTo>
                    <a:pt x="15256" y="3877"/>
                  </a:lnTo>
                  <a:lnTo>
                    <a:pt x="15272" y="3903"/>
                  </a:lnTo>
                  <a:lnTo>
                    <a:pt x="15284" y="3928"/>
                  </a:lnTo>
                  <a:lnTo>
                    <a:pt x="15296" y="3954"/>
                  </a:lnTo>
                  <a:lnTo>
                    <a:pt x="15306" y="3980"/>
                  </a:lnTo>
                  <a:lnTo>
                    <a:pt x="15317" y="4005"/>
                  </a:lnTo>
                  <a:lnTo>
                    <a:pt x="15325" y="4031"/>
                  </a:lnTo>
                  <a:lnTo>
                    <a:pt x="15331" y="4057"/>
                  </a:lnTo>
                  <a:lnTo>
                    <a:pt x="15337" y="4083"/>
                  </a:lnTo>
                  <a:lnTo>
                    <a:pt x="15341" y="4109"/>
                  </a:lnTo>
                  <a:lnTo>
                    <a:pt x="15344" y="4136"/>
                  </a:lnTo>
                  <a:lnTo>
                    <a:pt x="15346" y="4162"/>
                  </a:lnTo>
                  <a:lnTo>
                    <a:pt x="15347" y="4189"/>
                  </a:lnTo>
                  <a:lnTo>
                    <a:pt x="15346" y="4215"/>
                  </a:lnTo>
                  <a:lnTo>
                    <a:pt x="15344" y="4242"/>
                  </a:lnTo>
                  <a:lnTo>
                    <a:pt x="15341" y="4270"/>
                  </a:lnTo>
                  <a:lnTo>
                    <a:pt x="15337" y="4297"/>
                  </a:lnTo>
                  <a:lnTo>
                    <a:pt x="15331" y="4324"/>
                  </a:lnTo>
                  <a:lnTo>
                    <a:pt x="15325" y="4351"/>
                  </a:lnTo>
                  <a:lnTo>
                    <a:pt x="15317" y="4379"/>
                  </a:lnTo>
                  <a:lnTo>
                    <a:pt x="15306" y="4406"/>
                  </a:lnTo>
                  <a:lnTo>
                    <a:pt x="15296" y="4434"/>
                  </a:lnTo>
                  <a:lnTo>
                    <a:pt x="15284" y="4462"/>
                  </a:lnTo>
                  <a:lnTo>
                    <a:pt x="15272" y="4490"/>
                  </a:lnTo>
                  <a:lnTo>
                    <a:pt x="15257" y="4519"/>
                  </a:lnTo>
                  <a:lnTo>
                    <a:pt x="15241" y="4546"/>
                  </a:lnTo>
                  <a:lnTo>
                    <a:pt x="15225" y="4575"/>
                  </a:lnTo>
                  <a:lnTo>
                    <a:pt x="15206" y="4603"/>
                  </a:lnTo>
                  <a:lnTo>
                    <a:pt x="15187" y="4632"/>
                  </a:lnTo>
                  <a:lnTo>
                    <a:pt x="15167" y="4659"/>
                  </a:lnTo>
                  <a:lnTo>
                    <a:pt x="15146" y="4684"/>
                  </a:lnTo>
                  <a:lnTo>
                    <a:pt x="15125" y="4709"/>
                  </a:lnTo>
                  <a:lnTo>
                    <a:pt x="15103" y="4731"/>
                  </a:lnTo>
                  <a:lnTo>
                    <a:pt x="15082" y="4754"/>
                  </a:lnTo>
                  <a:lnTo>
                    <a:pt x="15060" y="4773"/>
                  </a:lnTo>
                  <a:lnTo>
                    <a:pt x="15036" y="4792"/>
                  </a:lnTo>
                  <a:lnTo>
                    <a:pt x="15013" y="4810"/>
                  </a:lnTo>
                  <a:lnTo>
                    <a:pt x="14989" y="4827"/>
                  </a:lnTo>
                  <a:lnTo>
                    <a:pt x="14965" y="4841"/>
                  </a:lnTo>
                  <a:lnTo>
                    <a:pt x="14940" y="4856"/>
                  </a:lnTo>
                  <a:lnTo>
                    <a:pt x="14916" y="4868"/>
                  </a:lnTo>
                  <a:lnTo>
                    <a:pt x="14890" y="4879"/>
                  </a:lnTo>
                  <a:lnTo>
                    <a:pt x="14864" y="4888"/>
                  </a:lnTo>
                  <a:lnTo>
                    <a:pt x="14838" y="4897"/>
                  </a:lnTo>
                  <a:lnTo>
                    <a:pt x="14811" y="4905"/>
                  </a:lnTo>
                  <a:lnTo>
                    <a:pt x="14784" y="4910"/>
                  </a:lnTo>
                  <a:lnTo>
                    <a:pt x="14756" y="4915"/>
                  </a:lnTo>
                  <a:lnTo>
                    <a:pt x="14728" y="4918"/>
                  </a:lnTo>
                  <a:lnTo>
                    <a:pt x="14700" y="4920"/>
                  </a:lnTo>
                  <a:lnTo>
                    <a:pt x="14670" y="4920"/>
                  </a:lnTo>
                  <a:lnTo>
                    <a:pt x="14640" y="4919"/>
                  </a:lnTo>
                  <a:lnTo>
                    <a:pt x="14611" y="4917"/>
                  </a:lnTo>
                  <a:lnTo>
                    <a:pt x="14580" y="4914"/>
                  </a:lnTo>
                  <a:lnTo>
                    <a:pt x="14550" y="4909"/>
                  </a:lnTo>
                  <a:lnTo>
                    <a:pt x="14518" y="4903"/>
                  </a:lnTo>
                  <a:lnTo>
                    <a:pt x="14486" y="4895"/>
                  </a:lnTo>
                  <a:lnTo>
                    <a:pt x="14454" y="4886"/>
                  </a:lnTo>
                  <a:lnTo>
                    <a:pt x="14421" y="4877"/>
                  </a:lnTo>
                  <a:lnTo>
                    <a:pt x="14388" y="4865"/>
                  </a:lnTo>
                  <a:lnTo>
                    <a:pt x="14355" y="4853"/>
                  </a:lnTo>
                  <a:lnTo>
                    <a:pt x="14321" y="4838"/>
                  </a:lnTo>
                  <a:lnTo>
                    <a:pt x="14289" y="4824"/>
                  </a:lnTo>
                  <a:lnTo>
                    <a:pt x="14259" y="4809"/>
                  </a:lnTo>
                  <a:lnTo>
                    <a:pt x="14230" y="4792"/>
                  </a:lnTo>
                  <a:lnTo>
                    <a:pt x="14202" y="4776"/>
                  </a:lnTo>
                  <a:lnTo>
                    <a:pt x="14175" y="4758"/>
                  </a:lnTo>
                  <a:lnTo>
                    <a:pt x="14150" y="4739"/>
                  </a:lnTo>
                  <a:lnTo>
                    <a:pt x="14126" y="4721"/>
                  </a:lnTo>
                  <a:lnTo>
                    <a:pt x="14104" y="4700"/>
                  </a:lnTo>
                  <a:lnTo>
                    <a:pt x="14082" y="4680"/>
                  </a:lnTo>
                  <a:lnTo>
                    <a:pt x="14062" y="4659"/>
                  </a:lnTo>
                  <a:lnTo>
                    <a:pt x="14044" y="4636"/>
                  </a:lnTo>
                  <a:lnTo>
                    <a:pt x="14026" y="4613"/>
                  </a:lnTo>
                  <a:lnTo>
                    <a:pt x="14010" y="4589"/>
                  </a:lnTo>
                  <a:lnTo>
                    <a:pt x="13996" y="4565"/>
                  </a:lnTo>
                  <a:lnTo>
                    <a:pt x="13982" y="4539"/>
                  </a:lnTo>
                  <a:lnTo>
                    <a:pt x="13970" y="4514"/>
                  </a:lnTo>
                  <a:lnTo>
                    <a:pt x="13960" y="4486"/>
                  </a:lnTo>
                  <a:lnTo>
                    <a:pt x="13950" y="4458"/>
                  </a:lnTo>
                  <a:lnTo>
                    <a:pt x="13943" y="4430"/>
                  </a:lnTo>
                  <a:lnTo>
                    <a:pt x="13936" y="4401"/>
                  </a:lnTo>
                  <a:lnTo>
                    <a:pt x="13930" y="4371"/>
                  </a:lnTo>
                  <a:lnTo>
                    <a:pt x="13926" y="4340"/>
                  </a:lnTo>
                  <a:lnTo>
                    <a:pt x="13923" y="4308"/>
                  </a:lnTo>
                  <a:lnTo>
                    <a:pt x="13922" y="4276"/>
                  </a:lnTo>
                  <a:lnTo>
                    <a:pt x="13922" y="4243"/>
                  </a:lnTo>
                  <a:lnTo>
                    <a:pt x="13923" y="4209"/>
                  </a:lnTo>
                  <a:lnTo>
                    <a:pt x="13926" y="4175"/>
                  </a:lnTo>
                  <a:lnTo>
                    <a:pt x="13930" y="4139"/>
                  </a:lnTo>
                  <a:lnTo>
                    <a:pt x="13936" y="4102"/>
                  </a:lnTo>
                  <a:lnTo>
                    <a:pt x="13943" y="4065"/>
                  </a:lnTo>
                  <a:lnTo>
                    <a:pt x="13951" y="4028"/>
                  </a:lnTo>
                  <a:lnTo>
                    <a:pt x="13649" y="3891"/>
                  </a:lnTo>
                  <a:lnTo>
                    <a:pt x="13531" y="4067"/>
                  </a:lnTo>
                  <a:lnTo>
                    <a:pt x="13416" y="4237"/>
                  </a:lnTo>
                  <a:lnTo>
                    <a:pt x="13306" y="4400"/>
                  </a:lnTo>
                  <a:lnTo>
                    <a:pt x="13198" y="4556"/>
                  </a:lnTo>
                  <a:lnTo>
                    <a:pt x="13093" y="4709"/>
                  </a:lnTo>
                  <a:lnTo>
                    <a:pt x="12988" y="4858"/>
                  </a:lnTo>
                  <a:lnTo>
                    <a:pt x="12884" y="5003"/>
                  </a:lnTo>
                  <a:lnTo>
                    <a:pt x="12780" y="5147"/>
                  </a:lnTo>
                  <a:lnTo>
                    <a:pt x="12675" y="5289"/>
                  </a:lnTo>
                  <a:lnTo>
                    <a:pt x="12568" y="5430"/>
                  </a:lnTo>
                  <a:lnTo>
                    <a:pt x="12459" y="5574"/>
                  </a:lnTo>
                  <a:lnTo>
                    <a:pt x="12345" y="5718"/>
                  </a:lnTo>
                  <a:lnTo>
                    <a:pt x="12229" y="5866"/>
                  </a:lnTo>
                  <a:lnTo>
                    <a:pt x="12107" y="6018"/>
                  </a:lnTo>
                  <a:lnTo>
                    <a:pt x="11979" y="6173"/>
                  </a:lnTo>
                  <a:lnTo>
                    <a:pt x="11846" y="6334"/>
                  </a:lnTo>
                  <a:close/>
                </a:path>
              </a:pathLst>
            </a:custGeom>
            <a:solidFill>
              <a:srgbClr val="505050"/>
            </a:solidFill>
            <a:ln w="1588">
              <a:no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878" name="Group 1877">
            <a:extLst>
              <a:ext uri="{FF2B5EF4-FFF2-40B4-BE49-F238E27FC236}">
                <a16:creationId xmlns:a16="http://schemas.microsoft.com/office/drawing/2014/main" id="{2EE281B7-6A00-4BC5-8EC8-5F4D63D588B1}"/>
              </a:ext>
            </a:extLst>
          </p:cNvPr>
          <p:cNvGrpSpPr/>
          <p:nvPr/>
        </p:nvGrpSpPr>
        <p:grpSpPr>
          <a:xfrm>
            <a:off x="7525436" y="3205728"/>
            <a:ext cx="612775" cy="612775"/>
            <a:chOff x="5693072" y="3806921"/>
            <a:chExt cx="612775" cy="612775"/>
          </a:xfrm>
        </p:grpSpPr>
        <p:sp>
          <p:nvSpPr>
            <p:cNvPr id="1879" name="Oval 1878">
              <a:extLst>
                <a:ext uri="{FF2B5EF4-FFF2-40B4-BE49-F238E27FC236}">
                  <a16:creationId xmlns:a16="http://schemas.microsoft.com/office/drawing/2014/main" id="{D194AEA1-2A25-496E-A0A6-5F574884C73F}"/>
                </a:ext>
              </a:extLst>
            </p:cNvPr>
            <p:cNvSpPr/>
            <p:nvPr/>
          </p:nvSpPr>
          <p:spPr bwMode="ltGray">
            <a:xfrm>
              <a:off x="569307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880" name="Group 296">
              <a:extLst>
                <a:ext uri="{FF2B5EF4-FFF2-40B4-BE49-F238E27FC236}">
                  <a16:creationId xmlns:a16="http://schemas.microsoft.com/office/drawing/2014/main" id="{CBD11AA4-9370-44A3-9800-EB0F0B87AE1A}"/>
                </a:ext>
              </a:extLst>
            </p:cNvPr>
            <p:cNvGrpSpPr>
              <a:grpSpLocks/>
            </p:cNvGrpSpPr>
            <p:nvPr/>
          </p:nvGrpSpPr>
          <p:grpSpPr bwMode="auto">
            <a:xfrm>
              <a:off x="5814870" y="3901512"/>
              <a:ext cx="438775" cy="438676"/>
              <a:chOff x="3026" y="2253"/>
              <a:chExt cx="510" cy="510"/>
            </a:xfrm>
          </p:grpSpPr>
          <p:sp>
            <p:nvSpPr>
              <p:cNvPr id="1881" name="AutoShape 297">
                <a:extLst>
                  <a:ext uri="{FF2B5EF4-FFF2-40B4-BE49-F238E27FC236}">
                    <a16:creationId xmlns:a16="http://schemas.microsoft.com/office/drawing/2014/main" id="{FEFE6316-81A2-48AC-B1FD-0B8BDC3EBB18}"/>
                  </a:ext>
                </a:extLst>
              </p:cNvPr>
              <p:cNvSpPr>
                <a:spLocks noChangeArrowheads="1"/>
              </p:cNvSpPr>
              <p:nvPr/>
            </p:nvSpPr>
            <p:spPr bwMode="auto">
              <a:xfrm>
                <a:off x="3178" y="2635"/>
                <a:ext cx="125" cy="128"/>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10 w 21600"/>
                  <a:gd name="T25" fmla="*/ 3206 h 21600"/>
                  <a:gd name="T26" fmla="*/ 18490 w 21600"/>
                  <a:gd name="T27" fmla="*/ 1839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400" y="10800"/>
                    </a:moveTo>
                    <a:cubicBezTo>
                      <a:pt x="5400" y="13782"/>
                      <a:pt x="7818" y="16200"/>
                      <a:pt x="10800" y="16200"/>
                    </a:cubicBezTo>
                    <a:cubicBezTo>
                      <a:pt x="13782" y="16200"/>
                      <a:pt x="16200" y="13782"/>
                      <a:pt x="16200" y="10800"/>
                    </a:cubicBezTo>
                    <a:cubicBezTo>
                      <a:pt x="16200" y="7818"/>
                      <a:pt x="13782" y="5400"/>
                      <a:pt x="10800" y="5400"/>
                    </a:cubicBezTo>
                    <a:cubicBezTo>
                      <a:pt x="7818" y="5400"/>
                      <a:pt x="5400" y="7818"/>
                      <a:pt x="5400" y="10800"/>
                    </a:cubicBezTo>
                    <a:close/>
                  </a:path>
                </a:pathLst>
              </a:custGeom>
              <a:solidFill>
                <a:srgbClr val="505050"/>
              </a:solidFill>
              <a:ln w="952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882" name="Rectangle 298">
                <a:extLst>
                  <a:ext uri="{FF2B5EF4-FFF2-40B4-BE49-F238E27FC236}">
                    <a16:creationId xmlns:a16="http://schemas.microsoft.com/office/drawing/2014/main" id="{11D715F3-A674-4D23-BE59-4CA46636D146}"/>
                  </a:ext>
                </a:extLst>
              </p:cNvPr>
              <p:cNvSpPr>
                <a:spLocks noChangeArrowheads="1"/>
              </p:cNvSpPr>
              <p:nvPr/>
            </p:nvSpPr>
            <p:spPr bwMode="auto">
              <a:xfrm rot="-2439787">
                <a:off x="3027" y="2512"/>
                <a:ext cx="509" cy="29"/>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nvGrpSpPr>
              <p:cNvPr id="1883" name="Group 299">
                <a:extLst>
                  <a:ext uri="{FF2B5EF4-FFF2-40B4-BE49-F238E27FC236}">
                    <a16:creationId xmlns:a16="http://schemas.microsoft.com/office/drawing/2014/main" id="{9E596B8F-DA96-45A8-89F9-DB2AF34C4258}"/>
                  </a:ext>
                </a:extLst>
              </p:cNvPr>
              <p:cNvGrpSpPr>
                <a:grpSpLocks/>
              </p:cNvGrpSpPr>
              <p:nvPr/>
            </p:nvGrpSpPr>
            <p:grpSpPr bwMode="auto">
              <a:xfrm rot="-130448">
                <a:off x="3026" y="2253"/>
                <a:ext cx="329" cy="315"/>
                <a:chOff x="1463" y="3479"/>
                <a:chExt cx="544" cy="501"/>
              </a:xfrm>
            </p:grpSpPr>
            <p:sp>
              <p:nvSpPr>
                <p:cNvPr id="1886" name="AutoShape 300">
                  <a:extLst>
                    <a:ext uri="{FF2B5EF4-FFF2-40B4-BE49-F238E27FC236}">
                      <a16:creationId xmlns:a16="http://schemas.microsoft.com/office/drawing/2014/main" id="{A154F631-468B-4077-80A4-5651A79EAD88}"/>
                    </a:ext>
                  </a:extLst>
                </p:cNvPr>
                <p:cNvSpPr>
                  <a:spLocks noChangeArrowheads="1"/>
                </p:cNvSpPr>
                <p:nvPr/>
              </p:nvSpPr>
              <p:spPr bwMode="auto">
                <a:xfrm rot="19239397">
                  <a:off x="1463" y="3577"/>
                  <a:ext cx="544" cy="306"/>
                </a:xfrm>
                <a:prstGeom prst="roundRect">
                  <a:avLst>
                    <a:gd name="adj" fmla="val 16667"/>
                  </a:avLst>
                </a:prstGeom>
                <a:solidFill>
                  <a:srgbClr val="505050"/>
                </a:solidFill>
                <a:ln w="952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87" name="AutoShape 301">
                  <a:extLst>
                    <a:ext uri="{FF2B5EF4-FFF2-40B4-BE49-F238E27FC236}">
                      <a16:creationId xmlns:a16="http://schemas.microsoft.com/office/drawing/2014/main" id="{B7ADC5C6-7443-415C-966E-805FC89FE4EC}"/>
                    </a:ext>
                  </a:extLst>
                </p:cNvPr>
                <p:cNvSpPr>
                  <a:spLocks noChangeArrowheads="1"/>
                </p:cNvSpPr>
                <p:nvPr/>
              </p:nvSpPr>
              <p:spPr bwMode="auto">
                <a:xfrm rot="-2360603">
                  <a:off x="1569" y="3541"/>
                  <a:ext cx="145" cy="141"/>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0 w 21600"/>
                    <a:gd name="T13" fmla="*/ 0 h 21600"/>
                    <a:gd name="T14" fmla="*/ 21600 w 21600"/>
                    <a:gd name="T15" fmla="*/ 11489 h 21600"/>
                  </a:gdLst>
                  <a:ahLst/>
                  <a:cxnLst>
                    <a:cxn ang="T8">
                      <a:pos x="T0" y="T1"/>
                    </a:cxn>
                    <a:cxn ang="T9">
                      <a:pos x="T2" y="T3"/>
                    </a:cxn>
                    <a:cxn ang="T10">
                      <a:pos x="T4" y="T5"/>
                    </a:cxn>
                    <a:cxn ang="T11">
                      <a:pos x="T6" y="T7"/>
                    </a:cxn>
                  </a:cxnLst>
                  <a:rect l="T12" t="T13" r="T14" b="T15"/>
                  <a:pathLst>
                    <a:path w="21600" h="21600">
                      <a:moveTo>
                        <a:pt x="4436" y="12939"/>
                      </a:moveTo>
                      <a:cubicBezTo>
                        <a:pt x="4204" y="12250"/>
                        <a:pt x="4086" y="11527"/>
                        <a:pt x="4086" y="10800"/>
                      </a:cubicBezTo>
                      <a:cubicBezTo>
                        <a:pt x="4086" y="7091"/>
                        <a:pt x="7091" y="4086"/>
                        <a:pt x="10800" y="4086"/>
                      </a:cubicBezTo>
                      <a:cubicBezTo>
                        <a:pt x="14508" y="4086"/>
                        <a:pt x="17514" y="7091"/>
                        <a:pt x="17514" y="10800"/>
                      </a:cubicBezTo>
                      <a:cubicBezTo>
                        <a:pt x="17514" y="11527"/>
                        <a:pt x="17395" y="12250"/>
                        <a:pt x="17163" y="12939"/>
                      </a:cubicBezTo>
                      <a:lnTo>
                        <a:pt x="21036" y="14242"/>
                      </a:lnTo>
                      <a:cubicBezTo>
                        <a:pt x="21409" y="13132"/>
                        <a:pt x="21600" y="11970"/>
                        <a:pt x="21600" y="10800"/>
                      </a:cubicBezTo>
                      <a:cubicBezTo>
                        <a:pt x="21600" y="4835"/>
                        <a:pt x="16764" y="0"/>
                        <a:pt x="10800" y="0"/>
                      </a:cubicBezTo>
                      <a:cubicBezTo>
                        <a:pt x="4835" y="0"/>
                        <a:pt x="0" y="4835"/>
                        <a:pt x="0" y="10800"/>
                      </a:cubicBezTo>
                      <a:cubicBezTo>
                        <a:pt x="-1" y="11970"/>
                        <a:pt x="190" y="13132"/>
                        <a:pt x="563" y="14242"/>
                      </a:cubicBezTo>
                      <a:close/>
                    </a:path>
                  </a:pathLst>
                </a:cu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888" name="Rectangle 302">
                  <a:extLst>
                    <a:ext uri="{FF2B5EF4-FFF2-40B4-BE49-F238E27FC236}">
                      <a16:creationId xmlns:a16="http://schemas.microsoft.com/office/drawing/2014/main" id="{DED18FDD-9741-4AD8-9CBD-30960D9121AA}"/>
                    </a:ext>
                  </a:extLst>
                </p:cNvPr>
                <p:cNvSpPr>
                  <a:spLocks noChangeArrowheads="1"/>
                </p:cNvSpPr>
                <p:nvPr/>
              </p:nvSpPr>
              <p:spPr bwMode="auto">
                <a:xfrm rot="-2360603">
                  <a:off x="1603" y="3674"/>
                  <a:ext cx="29" cy="306"/>
                </a:xfrm>
                <a:prstGeom prst="rect">
                  <a:avLst/>
                </a:prstGeom>
                <a:solidFill>
                  <a:sysClr val="window" lastClr="FFFFFF"/>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89" name="Rectangle 303">
                  <a:extLst>
                    <a:ext uri="{FF2B5EF4-FFF2-40B4-BE49-F238E27FC236}">
                      <a16:creationId xmlns:a16="http://schemas.microsoft.com/office/drawing/2014/main" id="{DAF30DBB-BFEE-4615-816E-648F8B79394E}"/>
                    </a:ext>
                  </a:extLst>
                </p:cNvPr>
                <p:cNvSpPr>
                  <a:spLocks noChangeArrowheads="1"/>
                </p:cNvSpPr>
                <p:nvPr/>
              </p:nvSpPr>
              <p:spPr bwMode="auto">
                <a:xfrm rot="-2360603">
                  <a:off x="1842" y="3479"/>
                  <a:ext cx="30" cy="305"/>
                </a:xfrm>
                <a:prstGeom prst="rect">
                  <a:avLst/>
                </a:prstGeom>
                <a:solidFill>
                  <a:sysClr val="window" lastClr="FFFFFF"/>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sp>
            <p:nvSpPr>
              <p:cNvPr id="1884" name="Rectangle 304">
                <a:extLst>
                  <a:ext uri="{FF2B5EF4-FFF2-40B4-BE49-F238E27FC236}">
                    <a16:creationId xmlns:a16="http://schemas.microsoft.com/office/drawing/2014/main" id="{8BE8B07E-A47C-4644-BBCB-8C666C535D99}"/>
                  </a:ext>
                </a:extLst>
              </p:cNvPr>
              <p:cNvSpPr>
                <a:spLocks noChangeArrowheads="1"/>
              </p:cNvSpPr>
              <p:nvPr/>
            </p:nvSpPr>
            <p:spPr bwMode="auto">
              <a:xfrm rot="2923278" flipH="1">
                <a:off x="3007" y="2654"/>
                <a:ext cx="127" cy="36"/>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1885" name="Rectangle 305">
                <a:extLst>
                  <a:ext uri="{FF2B5EF4-FFF2-40B4-BE49-F238E27FC236}">
                    <a16:creationId xmlns:a16="http://schemas.microsoft.com/office/drawing/2014/main" id="{8F9325ED-1EE5-4945-B240-DF281446F173}"/>
                  </a:ext>
                </a:extLst>
              </p:cNvPr>
              <p:cNvSpPr>
                <a:spLocks noChangeArrowheads="1"/>
              </p:cNvSpPr>
              <p:nvPr/>
            </p:nvSpPr>
            <p:spPr bwMode="auto">
              <a:xfrm rot="2923278" flipH="1">
                <a:off x="3456" y="2342"/>
                <a:ext cx="68" cy="36"/>
              </a:xfrm>
              <a:prstGeom prst="rect">
                <a:avLst/>
              </a:prstGeom>
              <a:solidFill>
                <a:srgbClr val="505050"/>
              </a:solid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grpSp>
      <p:grpSp>
        <p:nvGrpSpPr>
          <p:cNvPr id="1890" name="Group 1889">
            <a:extLst>
              <a:ext uri="{FF2B5EF4-FFF2-40B4-BE49-F238E27FC236}">
                <a16:creationId xmlns:a16="http://schemas.microsoft.com/office/drawing/2014/main" id="{F3AD751F-5527-4776-876C-F2BB751B764E}"/>
              </a:ext>
            </a:extLst>
          </p:cNvPr>
          <p:cNvGrpSpPr/>
          <p:nvPr/>
        </p:nvGrpSpPr>
        <p:grpSpPr>
          <a:xfrm>
            <a:off x="8254156" y="3205728"/>
            <a:ext cx="612775" cy="612775"/>
            <a:chOff x="6421792" y="3806921"/>
            <a:chExt cx="612775" cy="612775"/>
          </a:xfrm>
        </p:grpSpPr>
        <p:sp>
          <p:nvSpPr>
            <p:cNvPr id="1891" name="Oval 1890">
              <a:extLst>
                <a:ext uri="{FF2B5EF4-FFF2-40B4-BE49-F238E27FC236}">
                  <a16:creationId xmlns:a16="http://schemas.microsoft.com/office/drawing/2014/main" id="{71971D99-327D-4323-8377-941AA67DF7D0}"/>
                </a:ext>
              </a:extLst>
            </p:cNvPr>
            <p:cNvSpPr/>
            <p:nvPr/>
          </p:nvSpPr>
          <p:spPr bwMode="ltGray">
            <a:xfrm>
              <a:off x="642179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892" name="Freeform 298">
              <a:extLst>
                <a:ext uri="{FF2B5EF4-FFF2-40B4-BE49-F238E27FC236}">
                  <a16:creationId xmlns:a16="http://schemas.microsoft.com/office/drawing/2014/main" id="{4683F538-3B66-485D-9D1A-15F7431A5945}"/>
                </a:ext>
              </a:extLst>
            </p:cNvPr>
            <p:cNvSpPr>
              <a:spLocks noEditPoints="1"/>
            </p:cNvSpPr>
            <p:nvPr/>
          </p:nvSpPr>
          <p:spPr bwMode="auto">
            <a:xfrm>
              <a:off x="6637554" y="3900052"/>
              <a:ext cx="188340" cy="443892"/>
            </a:xfrm>
            <a:custGeom>
              <a:avLst/>
              <a:gdLst>
                <a:gd name="T0" fmla="*/ 23188322 w 6947"/>
                <a:gd name="T1" fmla="*/ 53899065 h 16464"/>
                <a:gd name="T2" fmla="*/ 22237565 w 6947"/>
                <a:gd name="T3" fmla="*/ 54859469 h 16464"/>
                <a:gd name="T4" fmla="*/ 21232499 w 6947"/>
                <a:gd name="T5" fmla="*/ 55235622 h 16464"/>
                <a:gd name="T6" fmla="*/ 1864163 w 6947"/>
                <a:gd name="T7" fmla="*/ 55081127 h 16464"/>
                <a:gd name="T8" fmla="*/ 641744 w 6947"/>
                <a:gd name="T9" fmla="*/ 54187829 h 16464"/>
                <a:gd name="T10" fmla="*/ 132451 w 6947"/>
                <a:gd name="T11" fmla="*/ 53271062 h 16464"/>
                <a:gd name="T12" fmla="*/ 16957 w 6947"/>
                <a:gd name="T13" fmla="*/ 2636201 h 16464"/>
                <a:gd name="T14" fmla="*/ 309014 w 6947"/>
                <a:gd name="T15" fmla="*/ 1615297 h 16464"/>
                <a:gd name="T16" fmla="*/ 1212222 w 6947"/>
                <a:gd name="T17" fmla="*/ 564201 h 16464"/>
                <a:gd name="T18" fmla="*/ 2522922 w 6947"/>
                <a:gd name="T19" fmla="*/ 33553 h 16464"/>
                <a:gd name="T20" fmla="*/ 22142466 w 6947"/>
                <a:gd name="T21" fmla="*/ 406345 h 16464"/>
                <a:gd name="T22" fmla="*/ 23463363 w 6947"/>
                <a:gd name="T23" fmla="*/ 2072000 h 16464"/>
                <a:gd name="T24" fmla="*/ 16339443 w 6947"/>
                <a:gd name="T25" fmla="*/ 15363749 h 16464"/>
                <a:gd name="T26" fmla="*/ 17405695 w 6947"/>
                <a:gd name="T27" fmla="*/ 14235402 h 16464"/>
                <a:gd name="T28" fmla="*/ 18390366 w 6947"/>
                <a:gd name="T29" fmla="*/ 12005547 h 16464"/>
                <a:gd name="T30" fmla="*/ 18342875 w 6947"/>
                <a:gd name="T31" fmla="*/ 8828675 h 16464"/>
                <a:gd name="T32" fmla="*/ 16896344 w 6947"/>
                <a:gd name="T33" fmla="*/ 6209278 h 16464"/>
                <a:gd name="T34" fmla="*/ 14213813 w 6947"/>
                <a:gd name="T35" fmla="*/ 4530179 h 16464"/>
                <a:gd name="T36" fmla="*/ 11317430 w 6947"/>
                <a:gd name="T37" fmla="*/ 4248137 h 16464"/>
                <a:gd name="T38" fmla="*/ 9137494 w 6947"/>
                <a:gd name="T39" fmla="*/ 4902971 h 16464"/>
                <a:gd name="T40" fmla="*/ 7252935 w 6947"/>
                <a:gd name="T41" fmla="*/ 6343606 h 16464"/>
                <a:gd name="T42" fmla="*/ 6033896 w 6947"/>
                <a:gd name="T43" fmla="*/ 8324974 h 16464"/>
                <a:gd name="T44" fmla="*/ 5663814 w 6947"/>
                <a:gd name="T45" fmla="*/ 10729432 h 16464"/>
                <a:gd name="T46" fmla="*/ 6145952 w 6947"/>
                <a:gd name="T47" fmla="*/ 13039896 h 16464"/>
                <a:gd name="T48" fmla="*/ 7480427 w 6947"/>
                <a:gd name="T49" fmla="*/ 14947317 h 16464"/>
                <a:gd name="T50" fmla="*/ 9422675 w 6947"/>
                <a:gd name="T51" fmla="*/ 16293961 h 16464"/>
                <a:gd name="T52" fmla="*/ 11670555 w 6947"/>
                <a:gd name="T53" fmla="*/ 16848078 h 16464"/>
                <a:gd name="T54" fmla="*/ 13785984 w 6947"/>
                <a:gd name="T55" fmla="*/ 16663392 h 16464"/>
                <a:gd name="T56" fmla="*/ 15765644 w 6947"/>
                <a:gd name="T57" fmla="*/ 32658447 h 16464"/>
                <a:gd name="T58" fmla="*/ 16926878 w 6947"/>
                <a:gd name="T59" fmla="*/ 31610713 h 16464"/>
                <a:gd name="T60" fmla="*/ 17921805 w 6947"/>
                <a:gd name="T61" fmla="*/ 29945051 h 16464"/>
                <a:gd name="T62" fmla="*/ 18346254 w 6947"/>
                <a:gd name="T63" fmla="*/ 26936059 h 16464"/>
                <a:gd name="T64" fmla="*/ 17358145 w 6947"/>
                <a:gd name="T65" fmla="*/ 24074897 h 16464"/>
                <a:gd name="T66" fmla="*/ 15718095 w 6947"/>
                <a:gd name="T67" fmla="*/ 22368968 h 16464"/>
                <a:gd name="T68" fmla="*/ 12862381 w 6947"/>
                <a:gd name="T69" fmla="*/ 21287622 h 16464"/>
                <a:gd name="T70" fmla="*/ 10339518 w 6947"/>
                <a:gd name="T71" fmla="*/ 21445420 h 16464"/>
                <a:gd name="T72" fmla="*/ 8312370 w 6947"/>
                <a:gd name="T73" fmla="*/ 22415965 h 16464"/>
                <a:gd name="T74" fmla="*/ 6651923 w 6947"/>
                <a:gd name="T75" fmla="*/ 24111870 h 16464"/>
                <a:gd name="T76" fmla="*/ 5782629 w 6947"/>
                <a:gd name="T77" fmla="*/ 26240950 h 16464"/>
                <a:gd name="T78" fmla="*/ 5752095 w 6947"/>
                <a:gd name="T79" fmla="*/ 28672297 h 16464"/>
                <a:gd name="T80" fmla="*/ 6567021 w 6947"/>
                <a:gd name="T81" fmla="*/ 30824912 h 16464"/>
                <a:gd name="T82" fmla="*/ 8190117 w 6947"/>
                <a:gd name="T83" fmla="*/ 32557730 h 16464"/>
                <a:gd name="T84" fmla="*/ 10220644 w 6947"/>
                <a:gd name="T85" fmla="*/ 33585299 h 16464"/>
                <a:gd name="T86" fmla="*/ 12723171 w 6947"/>
                <a:gd name="T87" fmla="*/ 33813679 h 16464"/>
                <a:gd name="T88" fmla="*/ 14634883 w 6947"/>
                <a:gd name="T89" fmla="*/ 33336809 h 16464"/>
                <a:gd name="T90" fmla="*/ 15874262 w 6947"/>
                <a:gd name="T91" fmla="*/ 49388996 h 16464"/>
                <a:gd name="T92" fmla="*/ 17011780 w 6947"/>
                <a:gd name="T93" fmla="*/ 48284123 h 16464"/>
                <a:gd name="T94" fmla="*/ 18050818 w 6947"/>
                <a:gd name="T95" fmla="*/ 46356535 h 16464"/>
                <a:gd name="T96" fmla="*/ 18298705 w 6947"/>
                <a:gd name="T97" fmla="*/ 43287159 h 16464"/>
                <a:gd name="T98" fmla="*/ 17113638 w 6947"/>
                <a:gd name="T99" fmla="*/ 40499826 h 16464"/>
                <a:gd name="T100" fmla="*/ 14549981 w 6947"/>
                <a:gd name="T101" fmla="*/ 38568876 h 16464"/>
                <a:gd name="T102" fmla="*/ 11911624 w 6947"/>
                <a:gd name="T103" fmla="*/ 37984567 h 16464"/>
                <a:gd name="T104" fmla="*/ 9643407 w 6947"/>
                <a:gd name="T105" fmla="*/ 38374106 h 16464"/>
                <a:gd name="T106" fmla="*/ 7660371 w 6947"/>
                <a:gd name="T107" fmla="*/ 39556169 h 16464"/>
                <a:gd name="T108" fmla="*/ 6169727 w 6947"/>
                <a:gd name="T109" fmla="*/ 41396485 h 16464"/>
                <a:gd name="T110" fmla="*/ 5521165 w 6947"/>
                <a:gd name="T111" fmla="*/ 43663254 h 16464"/>
                <a:gd name="T112" fmla="*/ 5718123 w 6947"/>
                <a:gd name="T113" fmla="*/ 46101323 h 16464"/>
                <a:gd name="T114" fmla="*/ 6763979 w 6947"/>
                <a:gd name="T115" fmla="*/ 48173323 h 16464"/>
                <a:gd name="T116" fmla="*/ 8550060 w 6947"/>
                <a:gd name="T117" fmla="*/ 49795341 h 16464"/>
                <a:gd name="T118" fmla="*/ 10665489 w 6947"/>
                <a:gd name="T119" fmla="*/ 50634862 h 16464"/>
                <a:gd name="T120" fmla="*/ 12634889 w 6947"/>
                <a:gd name="T121" fmla="*/ 50712109 h 16464"/>
                <a:gd name="T122" fmla="*/ 15137416 w 6947"/>
                <a:gd name="T123" fmla="*/ 49865866 h 164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947"/>
                <a:gd name="T187" fmla="*/ 0 h 16464"/>
                <a:gd name="T188" fmla="*/ 6947 w 6947"/>
                <a:gd name="T189" fmla="*/ 16464 h 164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947" h="16464">
                  <a:moveTo>
                    <a:pt x="6947" y="15607"/>
                  </a:moveTo>
                  <a:lnTo>
                    <a:pt x="6946" y="15651"/>
                  </a:lnTo>
                  <a:lnTo>
                    <a:pt x="6942" y="15696"/>
                  </a:lnTo>
                  <a:lnTo>
                    <a:pt x="6937" y="15739"/>
                  </a:lnTo>
                  <a:lnTo>
                    <a:pt x="6931" y="15780"/>
                  </a:lnTo>
                  <a:lnTo>
                    <a:pt x="6922" y="15821"/>
                  </a:lnTo>
                  <a:lnTo>
                    <a:pt x="6911" y="15863"/>
                  </a:lnTo>
                  <a:lnTo>
                    <a:pt x="6899" y="15902"/>
                  </a:lnTo>
                  <a:lnTo>
                    <a:pt x="6885" y="15940"/>
                  </a:lnTo>
                  <a:lnTo>
                    <a:pt x="6876" y="15960"/>
                  </a:lnTo>
                  <a:lnTo>
                    <a:pt x="6868" y="15978"/>
                  </a:lnTo>
                  <a:lnTo>
                    <a:pt x="6859" y="15997"/>
                  </a:lnTo>
                  <a:lnTo>
                    <a:pt x="6849" y="16014"/>
                  </a:lnTo>
                  <a:lnTo>
                    <a:pt x="6839" y="16033"/>
                  </a:lnTo>
                  <a:lnTo>
                    <a:pt x="6829" y="16050"/>
                  </a:lnTo>
                  <a:lnTo>
                    <a:pt x="6818" y="16068"/>
                  </a:lnTo>
                  <a:lnTo>
                    <a:pt x="6807" y="16085"/>
                  </a:lnTo>
                  <a:lnTo>
                    <a:pt x="6795" y="16103"/>
                  </a:lnTo>
                  <a:lnTo>
                    <a:pt x="6782" y="16119"/>
                  </a:lnTo>
                  <a:lnTo>
                    <a:pt x="6770" y="16136"/>
                  </a:lnTo>
                  <a:lnTo>
                    <a:pt x="6756" y="16152"/>
                  </a:lnTo>
                  <a:lnTo>
                    <a:pt x="6729" y="16185"/>
                  </a:lnTo>
                  <a:lnTo>
                    <a:pt x="6699" y="16216"/>
                  </a:lnTo>
                  <a:lnTo>
                    <a:pt x="6668" y="16246"/>
                  </a:lnTo>
                  <a:lnTo>
                    <a:pt x="6635" y="16274"/>
                  </a:lnTo>
                  <a:lnTo>
                    <a:pt x="6618" y="16287"/>
                  </a:lnTo>
                  <a:lnTo>
                    <a:pt x="6602" y="16301"/>
                  </a:lnTo>
                  <a:lnTo>
                    <a:pt x="6584" y="16312"/>
                  </a:lnTo>
                  <a:lnTo>
                    <a:pt x="6566" y="16324"/>
                  </a:lnTo>
                  <a:lnTo>
                    <a:pt x="6549" y="16336"/>
                  </a:lnTo>
                  <a:lnTo>
                    <a:pt x="6531" y="16346"/>
                  </a:lnTo>
                  <a:lnTo>
                    <a:pt x="6513" y="16357"/>
                  </a:lnTo>
                  <a:lnTo>
                    <a:pt x="6495" y="16367"/>
                  </a:lnTo>
                  <a:lnTo>
                    <a:pt x="6476" y="16376"/>
                  </a:lnTo>
                  <a:lnTo>
                    <a:pt x="6457" y="16385"/>
                  </a:lnTo>
                  <a:lnTo>
                    <a:pt x="6438" y="16393"/>
                  </a:lnTo>
                  <a:lnTo>
                    <a:pt x="6419" y="16402"/>
                  </a:lnTo>
                  <a:lnTo>
                    <a:pt x="6399" y="16409"/>
                  </a:lnTo>
                  <a:lnTo>
                    <a:pt x="6378" y="16416"/>
                  </a:lnTo>
                  <a:lnTo>
                    <a:pt x="6359" y="16422"/>
                  </a:lnTo>
                  <a:lnTo>
                    <a:pt x="6338" y="16429"/>
                  </a:lnTo>
                  <a:lnTo>
                    <a:pt x="6318" y="16434"/>
                  </a:lnTo>
                  <a:lnTo>
                    <a:pt x="6297" y="16439"/>
                  </a:lnTo>
                  <a:lnTo>
                    <a:pt x="6275" y="16444"/>
                  </a:lnTo>
                  <a:lnTo>
                    <a:pt x="6253" y="16448"/>
                  </a:lnTo>
                  <a:lnTo>
                    <a:pt x="6210" y="16454"/>
                  </a:lnTo>
                  <a:lnTo>
                    <a:pt x="6165" y="16459"/>
                  </a:lnTo>
                  <a:lnTo>
                    <a:pt x="6119" y="16463"/>
                  </a:lnTo>
                  <a:lnTo>
                    <a:pt x="6072" y="16464"/>
                  </a:lnTo>
                  <a:lnTo>
                    <a:pt x="875" y="16464"/>
                  </a:lnTo>
                  <a:lnTo>
                    <a:pt x="832" y="16463"/>
                  </a:lnTo>
                  <a:lnTo>
                    <a:pt x="790" y="16459"/>
                  </a:lnTo>
                  <a:lnTo>
                    <a:pt x="748" y="16454"/>
                  </a:lnTo>
                  <a:lnTo>
                    <a:pt x="707" y="16448"/>
                  </a:lnTo>
                  <a:lnTo>
                    <a:pt x="686" y="16444"/>
                  </a:lnTo>
                  <a:lnTo>
                    <a:pt x="667" y="16439"/>
                  </a:lnTo>
                  <a:lnTo>
                    <a:pt x="646" y="16434"/>
                  </a:lnTo>
                  <a:lnTo>
                    <a:pt x="626" y="16429"/>
                  </a:lnTo>
                  <a:lnTo>
                    <a:pt x="587" y="16416"/>
                  </a:lnTo>
                  <a:lnTo>
                    <a:pt x="549" y="16402"/>
                  </a:lnTo>
                  <a:lnTo>
                    <a:pt x="530" y="16393"/>
                  </a:lnTo>
                  <a:lnTo>
                    <a:pt x="511" y="16385"/>
                  </a:lnTo>
                  <a:lnTo>
                    <a:pt x="492" y="16376"/>
                  </a:lnTo>
                  <a:lnTo>
                    <a:pt x="474" y="16367"/>
                  </a:lnTo>
                  <a:lnTo>
                    <a:pt x="437" y="16346"/>
                  </a:lnTo>
                  <a:lnTo>
                    <a:pt x="401" y="16324"/>
                  </a:lnTo>
                  <a:lnTo>
                    <a:pt x="366" y="16301"/>
                  </a:lnTo>
                  <a:lnTo>
                    <a:pt x="332" y="16274"/>
                  </a:lnTo>
                  <a:lnTo>
                    <a:pt x="298" y="16246"/>
                  </a:lnTo>
                  <a:lnTo>
                    <a:pt x="265" y="16216"/>
                  </a:lnTo>
                  <a:lnTo>
                    <a:pt x="248" y="16201"/>
                  </a:lnTo>
                  <a:lnTo>
                    <a:pt x="233" y="16185"/>
                  </a:lnTo>
                  <a:lnTo>
                    <a:pt x="217" y="16169"/>
                  </a:lnTo>
                  <a:lnTo>
                    <a:pt x="203" y="16152"/>
                  </a:lnTo>
                  <a:lnTo>
                    <a:pt x="189" y="16136"/>
                  </a:lnTo>
                  <a:lnTo>
                    <a:pt x="175" y="16119"/>
                  </a:lnTo>
                  <a:lnTo>
                    <a:pt x="163" y="16103"/>
                  </a:lnTo>
                  <a:lnTo>
                    <a:pt x="150" y="16085"/>
                  </a:lnTo>
                  <a:lnTo>
                    <a:pt x="138" y="16068"/>
                  </a:lnTo>
                  <a:lnTo>
                    <a:pt x="126" y="16050"/>
                  </a:lnTo>
                  <a:lnTo>
                    <a:pt x="115" y="16033"/>
                  </a:lnTo>
                  <a:lnTo>
                    <a:pt x="105" y="16014"/>
                  </a:lnTo>
                  <a:lnTo>
                    <a:pt x="94" y="15997"/>
                  </a:lnTo>
                  <a:lnTo>
                    <a:pt x="85" y="15978"/>
                  </a:lnTo>
                  <a:lnTo>
                    <a:pt x="76" y="15960"/>
                  </a:lnTo>
                  <a:lnTo>
                    <a:pt x="68" y="15940"/>
                  </a:lnTo>
                  <a:lnTo>
                    <a:pt x="59" y="15921"/>
                  </a:lnTo>
                  <a:lnTo>
                    <a:pt x="52" y="15902"/>
                  </a:lnTo>
                  <a:lnTo>
                    <a:pt x="45" y="15882"/>
                  </a:lnTo>
                  <a:lnTo>
                    <a:pt x="39" y="15863"/>
                  </a:lnTo>
                  <a:lnTo>
                    <a:pt x="32" y="15842"/>
                  </a:lnTo>
                  <a:lnTo>
                    <a:pt x="26" y="15821"/>
                  </a:lnTo>
                  <a:lnTo>
                    <a:pt x="22" y="15802"/>
                  </a:lnTo>
                  <a:lnTo>
                    <a:pt x="17" y="15780"/>
                  </a:lnTo>
                  <a:lnTo>
                    <a:pt x="14" y="15760"/>
                  </a:lnTo>
                  <a:lnTo>
                    <a:pt x="10" y="15739"/>
                  </a:lnTo>
                  <a:lnTo>
                    <a:pt x="8" y="15717"/>
                  </a:lnTo>
                  <a:lnTo>
                    <a:pt x="5" y="15696"/>
                  </a:lnTo>
                  <a:lnTo>
                    <a:pt x="4" y="15674"/>
                  </a:lnTo>
                  <a:lnTo>
                    <a:pt x="1" y="15651"/>
                  </a:lnTo>
                  <a:lnTo>
                    <a:pt x="1" y="15630"/>
                  </a:lnTo>
                  <a:lnTo>
                    <a:pt x="0" y="15607"/>
                  </a:lnTo>
                  <a:lnTo>
                    <a:pt x="0" y="873"/>
                  </a:lnTo>
                  <a:lnTo>
                    <a:pt x="1" y="829"/>
                  </a:lnTo>
                  <a:lnTo>
                    <a:pt x="5" y="785"/>
                  </a:lnTo>
                  <a:lnTo>
                    <a:pt x="7" y="763"/>
                  </a:lnTo>
                  <a:lnTo>
                    <a:pt x="10" y="742"/>
                  </a:lnTo>
                  <a:lnTo>
                    <a:pt x="13" y="721"/>
                  </a:lnTo>
                  <a:lnTo>
                    <a:pt x="17" y="699"/>
                  </a:lnTo>
                  <a:lnTo>
                    <a:pt x="21" y="679"/>
                  </a:lnTo>
                  <a:lnTo>
                    <a:pt x="26" y="658"/>
                  </a:lnTo>
                  <a:lnTo>
                    <a:pt x="31" y="637"/>
                  </a:lnTo>
                  <a:lnTo>
                    <a:pt x="37" y="617"/>
                  </a:lnTo>
                  <a:lnTo>
                    <a:pt x="43" y="597"/>
                  </a:lnTo>
                  <a:lnTo>
                    <a:pt x="50" y="577"/>
                  </a:lnTo>
                  <a:lnTo>
                    <a:pt x="57" y="557"/>
                  </a:lnTo>
                  <a:lnTo>
                    <a:pt x="66" y="537"/>
                  </a:lnTo>
                  <a:lnTo>
                    <a:pt x="74" y="519"/>
                  </a:lnTo>
                  <a:lnTo>
                    <a:pt x="82" y="499"/>
                  </a:lnTo>
                  <a:lnTo>
                    <a:pt x="91" y="481"/>
                  </a:lnTo>
                  <a:lnTo>
                    <a:pt x="102" y="462"/>
                  </a:lnTo>
                  <a:lnTo>
                    <a:pt x="112" y="444"/>
                  </a:lnTo>
                  <a:lnTo>
                    <a:pt x="122" y="425"/>
                  </a:lnTo>
                  <a:lnTo>
                    <a:pt x="134" y="408"/>
                  </a:lnTo>
                  <a:lnTo>
                    <a:pt x="145" y="389"/>
                  </a:lnTo>
                  <a:lnTo>
                    <a:pt x="157" y="372"/>
                  </a:lnTo>
                  <a:lnTo>
                    <a:pt x="171" y="355"/>
                  </a:lnTo>
                  <a:lnTo>
                    <a:pt x="184" y="337"/>
                  </a:lnTo>
                  <a:lnTo>
                    <a:pt x="198" y="320"/>
                  </a:lnTo>
                  <a:lnTo>
                    <a:pt x="227" y="287"/>
                  </a:lnTo>
                  <a:lnTo>
                    <a:pt x="259" y="254"/>
                  </a:lnTo>
                  <a:lnTo>
                    <a:pt x="290" y="224"/>
                  </a:lnTo>
                  <a:lnTo>
                    <a:pt x="323" y="195"/>
                  </a:lnTo>
                  <a:lnTo>
                    <a:pt x="340" y="182"/>
                  </a:lnTo>
                  <a:lnTo>
                    <a:pt x="357" y="168"/>
                  </a:lnTo>
                  <a:lnTo>
                    <a:pt x="374" y="156"/>
                  </a:lnTo>
                  <a:lnTo>
                    <a:pt x="392" y="144"/>
                  </a:lnTo>
                  <a:lnTo>
                    <a:pt x="409" y="132"/>
                  </a:lnTo>
                  <a:lnTo>
                    <a:pt x="427" y="121"/>
                  </a:lnTo>
                  <a:lnTo>
                    <a:pt x="446" y="111"/>
                  </a:lnTo>
                  <a:lnTo>
                    <a:pt x="464" y="100"/>
                  </a:lnTo>
                  <a:lnTo>
                    <a:pt x="483" y="91"/>
                  </a:lnTo>
                  <a:lnTo>
                    <a:pt x="501" y="82"/>
                  </a:lnTo>
                  <a:lnTo>
                    <a:pt x="520" y="73"/>
                  </a:lnTo>
                  <a:lnTo>
                    <a:pt x="540" y="64"/>
                  </a:lnTo>
                  <a:lnTo>
                    <a:pt x="579" y="50"/>
                  </a:lnTo>
                  <a:lnTo>
                    <a:pt x="618" y="37"/>
                  </a:lnTo>
                  <a:lnTo>
                    <a:pt x="659" y="26"/>
                  </a:lnTo>
                  <a:lnTo>
                    <a:pt x="701" y="17"/>
                  </a:lnTo>
                  <a:lnTo>
                    <a:pt x="743" y="10"/>
                  </a:lnTo>
                  <a:lnTo>
                    <a:pt x="786" y="5"/>
                  </a:lnTo>
                  <a:lnTo>
                    <a:pt x="831" y="1"/>
                  </a:lnTo>
                  <a:lnTo>
                    <a:pt x="875" y="0"/>
                  </a:lnTo>
                  <a:lnTo>
                    <a:pt x="6072" y="0"/>
                  </a:lnTo>
                  <a:lnTo>
                    <a:pt x="6116" y="1"/>
                  </a:lnTo>
                  <a:lnTo>
                    <a:pt x="6161" y="5"/>
                  </a:lnTo>
                  <a:lnTo>
                    <a:pt x="6204" y="10"/>
                  </a:lnTo>
                  <a:lnTo>
                    <a:pt x="6246" y="17"/>
                  </a:lnTo>
                  <a:lnTo>
                    <a:pt x="6288" y="26"/>
                  </a:lnTo>
                  <a:lnTo>
                    <a:pt x="6329" y="37"/>
                  </a:lnTo>
                  <a:lnTo>
                    <a:pt x="6369" y="50"/>
                  </a:lnTo>
                  <a:lnTo>
                    <a:pt x="6408" y="64"/>
                  </a:lnTo>
                  <a:lnTo>
                    <a:pt x="6447" y="82"/>
                  </a:lnTo>
                  <a:lnTo>
                    <a:pt x="6484" y="100"/>
                  </a:lnTo>
                  <a:lnTo>
                    <a:pt x="6521" y="121"/>
                  </a:lnTo>
                  <a:lnTo>
                    <a:pt x="6557" y="144"/>
                  </a:lnTo>
                  <a:lnTo>
                    <a:pt x="6591" y="168"/>
                  </a:lnTo>
                  <a:lnTo>
                    <a:pt x="6626" y="195"/>
                  </a:lnTo>
                  <a:lnTo>
                    <a:pt x="6659" y="224"/>
                  </a:lnTo>
                  <a:lnTo>
                    <a:pt x="6692" y="254"/>
                  </a:lnTo>
                  <a:lnTo>
                    <a:pt x="6722" y="287"/>
                  </a:lnTo>
                  <a:lnTo>
                    <a:pt x="6751" y="320"/>
                  </a:lnTo>
                  <a:lnTo>
                    <a:pt x="6778" y="355"/>
                  </a:lnTo>
                  <a:lnTo>
                    <a:pt x="6803" y="389"/>
                  </a:lnTo>
                  <a:lnTo>
                    <a:pt x="6826" y="425"/>
                  </a:lnTo>
                  <a:lnTo>
                    <a:pt x="6846" y="462"/>
                  </a:lnTo>
                  <a:lnTo>
                    <a:pt x="6865" y="499"/>
                  </a:lnTo>
                  <a:lnTo>
                    <a:pt x="6883" y="537"/>
                  </a:lnTo>
                  <a:lnTo>
                    <a:pt x="6897" y="577"/>
                  </a:lnTo>
                  <a:lnTo>
                    <a:pt x="6910" y="617"/>
                  </a:lnTo>
                  <a:lnTo>
                    <a:pt x="6921" y="658"/>
                  </a:lnTo>
                  <a:lnTo>
                    <a:pt x="6930" y="699"/>
                  </a:lnTo>
                  <a:lnTo>
                    <a:pt x="6937" y="742"/>
                  </a:lnTo>
                  <a:lnTo>
                    <a:pt x="6942" y="785"/>
                  </a:lnTo>
                  <a:lnTo>
                    <a:pt x="6946" y="829"/>
                  </a:lnTo>
                  <a:lnTo>
                    <a:pt x="6947" y="873"/>
                  </a:lnTo>
                  <a:lnTo>
                    <a:pt x="6947" y="15607"/>
                  </a:lnTo>
                  <a:close/>
                  <a:moveTo>
                    <a:pt x="4521" y="4775"/>
                  </a:moveTo>
                  <a:lnTo>
                    <a:pt x="4578" y="4742"/>
                  </a:lnTo>
                  <a:lnTo>
                    <a:pt x="4633" y="4707"/>
                  </a:lnTo>
                  <a:lnTo>
                    <a:pt x="4686" y="4671"/>
                  </a:lnTo>
                  <a:lnTo>
                    <a:pt x="4737" y="4634"/>
                  </a:lnTo>
                  <a:lnTo>
                    <a:pt x="4763" y="4614"/>
                  </a:lnTo>
                  <a:lnTo>
                    <a:pt x="4788" y="4596"/>
                  </a:lnTo>
                  <a:lnTo>
                    <a:pt x="4812" y="4575"/>
                  </a:lnTo>
                  <a:lnTo>
                    <a:pt x="4835" y="4555"/>
                  </a:lnTo>
                  <a:lnTo>
                    <a:pt x="4859" y="4535"/>
                  </a:lnTo>
                  <a:lnTo>
                    <a:pt x="4882" y="4514"/>
                  </a:lnTo>
                  <a:lnTo>
                    <a:pt x="4905" y="4492"/>
                  </a:lnTo>
                  <a:lnTo>
                    <a:pt x="4927" y="4471"/>
                  </a:lnTo>
                  <a:lnTo>
                    <a:pt x="4949" y="4449"/>
                  </a:lnTo>
                  <a:lnTo>
                    <a:pt x="4970" y="4428"/>
                  </a:lnTo>
                  <a:lnTo>
                    <a:pt x="4991" y="4405"/>
                  </a:lnTo>
                  <a:lnTo>
                    <a:pt x="5011" y="4382"/>
                  </a:lnTo>
                  <a:lnTo>
                    <a:pt x="5032" y="4359"/>
                  </a:lnTo>
                  <a:lnTo>
                    <a:pt x="5051" y="4336"/>
                  </a:lnTo>
                  <a:lnTo>
                    <a:pt x="5070" y="4312"/>
                  </a:lnTo>
                  <a:lnTo>
                    <a:pt x="5089" y="4288"/>
                  </a:lnTo>
                  <a:lnTo>
                    <a:pt x="5107" y="4264"/>
                  </a:lnTo>
                  <a:lnTo>
                    <a:pt x="5126" y="4239"/>
                  </a:lnTo>
                  <a:lnTo>
                    <a:pt x="5143" y="4214"/>
                  </a:lnTo>
                  <a:lnTo>
                    <a:pt x="5160" y="4188"/>
                  </a:lnTo>
                  <a:lnTo>
                    <a:pt x="5176" y="4163"/>
                  </a:lnTo>
                  <a:lnTo>
                    <a:pt x="5193" y="4137"/>
                  </a:lnTo>
                  <a:lnTo>
                    <a:pt x="5208" y="4110"/>
                  </a:lnTo>
                  <a:lnTo>
                    <a:pt x="5224" y="4083"/>
                  </a:lnTo>
                  <a:lnTo>
                    <a:pt x="5253" y="4030"/>
                  </a:lnTo>
                  <a:lnTo>
                    <a:pt x="5279" y="3975"/>
                  </a:lnTo>
                  <a:lnTo>
                    <a:pt x="5304" y="3919"/>
                  </a:lnTo>
                  <a:lnTo>
                    <a:pt x="5328" y="3864"/>
                  </a:lnTo>
                  <a:lnTo>
                    <a:pt x="5349" y="3807"/>
                  </a:lnTo>
                  <a:lnTo>
                    <a:pt x="5368" y="3750"/>
                  </a:lnTo>
                  <a:lnTo>
                    <a:pt x="5386" y="3693"/>
                  </a:lnTo>
                  <a:lnTo>
                    <a:pt x="5402" y="3634"/>
                  </a:lnTo>
                  <a:lnTo>
                    <a:pt x="5416" y="3575"/>
                  </a:lnTo>
                  <a:lnTo>
                    <a:pt x="5428" y="3515"/>
                  </a:lnTo>
                  <a:lnTo>
                    <a:pt x="5439" y="3456"/>
                  </a:lnTo>
                  <a:lnTo>
                    <a:pt x="5447" y="3395"/>
                  </a:lnTo>
                  <a:lnTo>
                    <a:pt x="5453" y="3333"/>
                  </a:lnTo>
                  <a:lnTo>
                    <a:pt x="5458" y="3271"/>
                  </a:lnTo>
                  <a:lnTo>
                    <a:pt x="5460" y="3208"/>
                  </a:lnTo>
                  <a:lnTo>
                    <a:pt x="5461" y="3145"/>
                  </a:lnTo>
                  <a:lnTo>
                    <a:pt x="5460" y="3077"/>
                  </a:lnTo>
                  <a:lnTo>
                    <a:pt x="5458" y="3009"/>
                  </a:lnTo>
                  <a:lnTo>
                    <a:pt x="5453" y="2943"/>
                  </a:lnTo>
                  <a:lnTo>
                    <a:pt x="5447" y="2878"/>
                  </a:lnTo>
                  <a:lnTo>
                    <a:pt x="5439" y="2814"/>
                  </a:lnTo>
                  <a:lnTo>
                    <a:pt x="5428" y="2752"/>
                  </a:lnTo>
                  <a:lnTo>
                    <a:pt x="5417" y="2690"/>
                  </a:lnTo>
                  <a:lnTo>
                    <a:pt x="5402" y="2629"/>
                  </a:lnTo>
                  <a:lnTo>
                    <a:pt x="5387" y="2569"/>
                  </a:lnTo>
                  <a:lnTo>
                    <a:pt x="5369" y="2511"/>
                  </a:lnTo>
                  <a:lnTo>
                    <a:pt x="5350" y="2454"/>
                  </a:lnTo>
                  <a:lnTo>
                    <a:pt x="5329" y="2397"/>
                  </a:lnTo>
                  <a:lnTo>
                    <a:pt x="5306" y="2342"/>
                  </a:lnTo>
                  <a:lnTo>
                    <a:pt x="5282" y="2288"/>
                  </a:lnTo>
                  <a:lnTo>
                    <a:pt x="5255" y="2234"/>
                  </a:lnTo>
                  <a:lnTo>
                    <a:pt x="5227" y="2183"/>
                  </a:lnTo>
                  <a:lnTo>
                    <a:pt x="5196" y="2132"/>
                  </a:lnTo>
                  <a:lnTo>
                    <a:pt x="5164" y="2082"/>
                  </a:lnTo>
                  <a:lnTo>
                    <a:pt x="5130" y="2033"/>
                  </a:lnTo>
                  <a:lnTo>
                    <a:pt x="5094" y="1986"/>
                  </a:lnTo>
                  <a:lnTo>
                    <a:pt x="5056" y="1939"/>
                  </a:lnTo>
                  <a:lnTo>
                    <a:pt x="5017" y="1893"/>
                  </a:lnTo>
                  <a:lnTo>
                    <a:pt x="4976" y="1849"/>
                  </a:lnTo>
                  <a:lnTo>
                    <a:pt x="4932" y="1805"/>
                  </a:lnTo>
                  <a:lnTo>
                    <a:pt x="4887" y="1764"/>
                  </a:lnTo>
                  <a:lnTo>
                    <a:pt x="4841" y="1723"/>
                  </a:lnTo>
                  <a:lnTo>
                    <a:pt x="4792" y="1683"/>
                  </a:lnTo>
                  <a:lnTo>
                    <a:pt x="4741" y="1643"/>
                  </a:lnTo>
                  <a:lnTo>
                    <a:pt x="4689" y="1605"/>
                  </a:lnTo>
                  <a:lnTo>
                    <a:pt x="4635" y="1569"/>
                  </a:lnTo>
                  <a:lnTo>
                    <a:pt x="4579" y="1533"/>
                  </a:lnTo>
                  <a:lnTo>
                    <a:pt x="4521" y="1499"/>
                  </a:lnTo>
                  <a:lnTo>
                    <a:pt x="4467" y="1469"/>
                  </a:lnTo>
                  <a:lnTo>
                    <a:pt x="4412" y="1441"/>
                  </a:lnTo>
                  <a:lnTo>
                    <a:pt x="4356" y="1415"/>
                  </a:lnTo>
                  <a:lnTo>
                    <a:pt x="4300" y="1391"/>
                  </a:lnTo>
                  <a:lnTo>
                    <a:pt x="4242" y="1369"/>
                  </a:lnTo>
                  <a:lnTo>
                    <a:pt x="4186" y="1349"/>
                  </a:lnTo>
                  <a:lnTo>
                    <a:pt x="4127" y="1330"/>
                  </a:lnTo>
                  <a:lnTo>
                    <a:pt x="4067" y="1314"/>
                  </a:lnTo>
                  <a:lnTo>
                    <a:pt x="4007" y="1299"/>
                  </a:lnTo>
                  <a:lnTo>
                    <a:pt x="3946" y="1287"/>
                  </a:lnTo>
                  <a:lnTo>
                    <a:pt x="3885" y="1276"/>
                  </a:lnTo>
                  <a:lnTo>
                    <a:pt x="3822" y="1267"/>
                  </a:lnTo>
                  <a:lnTo>
                    <a:pt x="3759" y="1261"/>
                  </a:lnTo>
                  <a:lnTo>
                    <a:pt x="3695" y="1256"/>
                  </a:lnTo>
                  <a:lnTo>
                    <a:pt x="3630" y="1253"/>
                  </a:lnTo>
                  <a:lnTo>
                    <a:pt x="3564" y="1252"/>
                  </a:lnTo>
                  <a:lnTo>
                    <a:pt x="3517" y="1253"/>
                  </a:lnTo>
                  <a:lnTo>
                    <a:pt x="3470" y="1254"/>
                  </a:lnTo>
                  <a:lnTo>
                    <a:pt x="3423" y="1257"/>
                  </a:lnTo>
                  <a:lnTo>
                    <a:pt x="3378" y="1260"/>
                  </a:lnTo>
                  <a:lnTo>
                    <a:pt x="3333" y="1265"/>
                  </a:lnTo>
                  <a:lnTo>
                    <a:pt x="3287" y="1270"/>
                  </a:lnTo>
                  <a:lnTo>
                    <a:pt x="3242" y="1278"/>
                  </a:lnTo>
                  <a:lnTo>
                    <a:pt x="3197" y="1286"/>
                  </a:lnTo>
                  <a:lnTo>
                    <a:pt x="3153" y="1294"/>
                  </a:lnTo>
                  <a:lnTo>
                    <a:pt x="3109" y="1304"/>
                  </a:lnTo>
                  <a:lnTo>
                    <a:pt x="3066" y="1315"/>
                  </a:lnTo>
                  <a:lnTo>
                    <a:pt x="3023" y="1327"/>
                  </a:lnTo>
                  <a:lnTo>
                    <a:pt x="2980" y="1340"/>
                  </a:lnTo>
                  <a:lnTo>
                    <a:pt x="2938" y="1354"/>
                  </a:lnTo>
                  <a:lnTo>
                    <a:pt x="2896" y="1369"/>
                  </a:lnTo>
                  <a:lnTo>
                    <a:pt x="2854" y="1386"/>
                  </a:lnTo>
                  <a:lnTo>
                    <a:pt x="2813" y="1402"/>
                  </a:lnTo>
                  <a:lnTo>
                    <a:pt x="2772" y="1421"/>
                  </a:lnTo>
                  <a:lnTo>
                    <a:pt x="2731" y="1440"/>
                  </a:lnTo>
                  <a:lnTo>
                    <a:pt x="2691" y="1460"/>
                  </a:lnTo>
                  <a:lnTo>
                    <a:pt x="2651" y="1482"/>
                  </a:lnTo>
                  <a:lnTo>
                    <a:pt x="2612" y="1504"/>
                  </a:lnTo>
                  <a:lnTo>
                    <a:pt x="2572" y="1528"/>
                  </a:lnTo>
                  <a:lnTo>
                    <a:pt x="2534" y="1552"/>
                  </a:lnTo>
                  <a:lnTo>
                    <a:pt x="2496" y="1577"/>
                  </a:lnTo>
                  <a:lnTo>
                    <a:pt x="2458" y="1604"/>
                  </a:lnTo>
                  <a:lnTo>
                    <a:pt x="2420" y="1632"/>
                  </a:lnTo>
                  <a:lnTo>
                    <a:pt x="2383" y="1660"/>
                  </a:lnTo>
                  <a:lnTo>
                    <a:pt x="2346" y="1690"/>
                  </a:lnTo>
                  <a:lnTo>
                    <a:pt x="2310" y="1721"/>
                  </a:lnTo>
                  <a:lnTo>
                    <a:pt x="2274" y="1753"/>
                  </a:lnTo>
                  <a:lnTo>
                    <a:pt x="2238" y="1786"/>
                  </a:lnTo>
                  <a:lnTo>
                    <a:pt x="2203" y="1820"/>
                  </a:lnTo>
                  <a:lnTo>
                    <a:pt x="2168" y="1854"/>
                  </a:lnTo>
                  <a:lnTo>
                    <a:pt x="2136" y="1889"/>
                  </a:lnTo>
                  <a:lnTo>
                    <a:pt x="2104" y="1924"/>
                  </a:lnTo>
                  <a:lnTo>
                    <a:pt x="2073" y="1961"/>
                  </a:lnTo>
                  <a:lnTo>
                    <a:pt x="2045" y="1997"/>
                  </a:lnTo>
                  <a:lnTo>
                    <a:pt x="2016" y="2034"/>
                  </a:lnTo>
                  <a:lnTo>
                    <a:pt x="1989" y="2072"/>
                  </a:lnTo>
                  <a:lnTo>
                    <a:pt x="1962" y="2110"/>
                  </a:lnTo>
                  <a:lnTo>
                    <a:pt x="1937" y="2150"/>
                  </a:lnTo>
                  <a:lnTo>
                    <a:pt x="1913" y="2189"/>
                  </a:lnTo>
                  <a:lnTo>
                    <a:pt x="1891" y="2228"/>
                  </a:lnTo>
                  <a:lnTo>
                    <a:pt x="1869" y="2269"/>
                  </a:lnTo>
                  <a:lnTo>
                    <a:pt x="1848" y="2310"/>
                  </a:lnTo>
                  <a:lnTo>
                    <a:pt x="1829" y="2352"/>
                  </a:lnTo>
                  <a:lnTo>
                    <a:pt x="1810" y="2394"/>
                  </a:lnTo>
                  <a:lnTo>
                    <a:pt x="1792" y="2436"/>
                  </a:lnTo>
                  <a:lnTo>
                    <a:pt x="1777" y="2479"/>
                  </a:lnTo>
                  <a:lnTo>
                    <a:pt x="1762" y="2524"/>
                  </a:lnTo>
                  <a:lnTo>
                    <a:pt x="1748" y="2568"/>
                  </a:lnTo>
                  <a:lnTo>
                    <a:pt x="1735" y="2613"/>
                  </a:lnTo>
                  <a:lnTo>
                    <a:pt x="1723" y="2659"/>
                  </a:lnTo>
                  <a:lnTo>
                    <a:pt x="1712" y="2704"/>
                  </a:lnTo>
                  <a:lnTo>
                    <a:pt x="1703" y="2752"/>
                  </a:lnTo>
                  <a:lnTo>
                    <a:pt x="1694" y="2799"/>
                  </a:lnTo>
                  <a:lnTo>
                    <a:pt x="1687" y="2846"/>
                  </a:lnTo>
                  <a:lnTo>
                    <a:pt x="1681" y="2895"/>
                  </a:lnTo>
                  <a:lnTo>
                    <a:pt x="1676" y="2943"/>
                  </a:lnTo>
                  <a:lnTo>
                    <a:pt x="1672" y="2993"/>
                  </a:lnTo>
                  <a:lnTo>
                    <a:pt x="1670" y="3043"/>
                  </a:lnTo>
                  <a:lnTo>
                    <a:pt x="1668" y="3094"/>
                  </a:lnTo>
                  <a:lnTo>
                    <a:pt x="1668" y="3145"/>
                  </a:lnTo>
                  <a:lnTo>
                    <a:pt x="1668" y="3195"/>
                  </a:lnTo>
                  <a:lnTo>
                    <a:pt x="1670" y="3245"/>
                  </a:lnTo>
                  <a:lnTo>
                    <a:pt x="1672" y="3294"/>
                  </a:lnTo>
                  <a:lnTo>
                    <a:pt x="1676" y="3342"/>
                  </a:lnTo>
                  <a:lnTo>
                    <a:pt x="1681" y="3391"/>
                  </a:lnTo>
                  <a:lnTo>
                    <a:pt x="1687" y="3438"/>
                  </a:lnTo>
                  <a:lnTo>
                    <a:pt x="1694" y="3484"/>
                  </a:lnTo>
                  <a:lnTo>
                    <a:pt x="1703" y="3531"/>
                  </a:lnTo>
                  <a:lnTo>
                    <a:pt x="1712" y="3577"/>
                  </a:lnTo>
                  <a:lnTo>
                    <a:pt x="1723" y="3622"/>
                  </a:lnTo>
                  <a:lnTo>
                    <a:pt x="1735" y="3667"/>
                  </a:lnTo>
                  <a:lnTo>
                    <a:pt x="1748" y="3711"/>
                  </a:lnTo>
                  <a:lnTo>
                    <a:pt x="1762" y="3755"/>
                  </a:lnTo>
                  <a:lnTo>
                    <a:pt x="1777" y="3799"/>
                  </a:lnTo>
                  <a:lnTo>
                    <a:pt x="1792" y="3841"/>
                  </a:lnTo>
                  <a:lnTo>
                    <a:pt x="1810" y="3883"/>
                  </a:lnTo>
                  <a:lnTo>
                    <a:pt x="1829" y="3924"/>
                  </a:lnTo>
                  <a:lnTo>
                    <a:pt x="1848" y="3966"/>
                  </a:lnTo>
                  <a:lnTo>
                    <a:pt x="1869" y="4007"/>
                  </a:lnTo>
                  <a:lnTo>
                    <a:pt x="1891" y="4046"/>
                  </a:lnTo>
                  <a:lnTo>
                    <a:pt x="1913" y="4086"/>
                  </a:lnTo>
                  <a:lnTo>
                    <a:pt x="1937" y="4125"/>
                  </a:lnTo>
                  <a:lnTo>
                    <a:pt x="1962" y="4164"/>
                  </a:lnTo>
                  <a:lnTo>
                    <a:pt x="1989" y="4202"/>
                  </a:lnTo>
                  <a:lnTo>
                    <a:pt x="2016" y="4239"/>
                  </a:lnTo>
                  <a:lnTo>
                    <a:pt x="2045" y="4276"/>
                  </a:lnTo>
                  <a:lnTo>
                    <a:pt x="2073" y="4312"/>
                  </a:lnTo>
                  <a:lnTo>
                    <a:pt x="2104" y="4347"/>
                  </a:lnTo>
                  <a:lnTo>
                    <a:pt x="2136" y="4383"/>
                  </a:lnTo>
                  <a:lnTo>
                    <a:pt x="2168" y="4417"/>
                  </a:lnTo>
                  <a:lnTo>
                    <a:pt x="2203" y="4451"/>
                  </a:lnTo>
                  <a:lnTo>
                    <a:pt x="2238" y="4485"/>
                  </a:lnTo>
                  <a:lnTo>
                    <a:pt x="2274" y="4518"/>
                  </a:lnTo>
                  <a:lnTo>
                    <a:pt x="2310" y="4550"/>
                  </a:lnTo>
                  <a:lnTo>
                    <a:pt x="2346" y="4581"/>
                  </a:lnTo>
                  <a:lnTo>
                    <a:pt x="2383" y="4611"/>
                  </a:lnTo>
                  <a:lnTo>
                    <a:pt x="2420" y="4640"/>
                  </a:lnTo>
                  <a:lnTo>
                    <a:pt x="2459" y="4668"/>
                  </a:lnTo>
                  <a:lnTo>
                    <a:pt x="2496" y="4694"/>
                  </a:lnTo>
                  <a:lnTo>
                    <a:pt x="2535" y="4720"/>
                  </a:lnTo>
                  <a:lnTo>
                    <a:pt x="2573" y="4745"/>
                  </a:lnTo>
                  <a:lnTo>
                    <a:pt x="2613" y="4769"/>
                  </a:lnTo>
                  <a:lnTo>
                    <a:pt x="2653" y="4791"/>
                  </a:lnTo>
                  <a:lnTo>
                    <a:pt x="2693" y="4813"/>
                  </a:lnTo>
                  <a:lnTo>
                    <a:pt x="2733" y="4834"/>
                  </a:lnTo>
                  <a:lnTo>
                    <a:pt x="2775" y="4852"/>
                  </a:lnTo>
                  <a:lnTo>
                    <a:pt x="2815" y="4871"/>
                  </a:lnTo>
                  <a:lnTo>
                    <a:pt x="2857" y="4888"/>
                  </a:lnTo>
                  <a:lnTo>
                    <a:pt x="2900" y="4905"/>
                  </a:lnTo>
                  <a:lnTo>
                    <a:pt x="2942" y="4919"/>
                  </a:lnTo>
                  <a:lnTo>
                    <a:pt x="2984" y="4934"/>
                  </a:lnTo>
                  <a:lnTo>
                    <a:pt x="3028" y="4947"/>
                  </a:lnTo>
                  <a:lnTo>
                    <a:pt x="3072" y="4958"/>
                  </a:lnTo>
                  <a:lnTo>
                    <a:pt x="3117" y="4970"/>
                  </a:lnTo>
                  <a:lnTo>
                    <a:pt x="3161" y="4980"/>
                  </a:lnTo>
                  <a:lnTo>
                    <a:pt x="3205" y="4988"/>
                  </a:lnTo>
                  <a:lnTo>
                    <a:pt x="3251" y="4996"/>
                  </a:lnTo>
                  <a:lnTo>
                    <a:pt x="3297" y="5003"/>
                  </a:lnTo>
                  <a:lnTo>
                    <a:pt x="3343" y="5009"/>
                  </a:lnTo>
                  <a:lnTo>
                    <a:pt x="3389" y="5014"/>
                  </a:lnTo>
                  <a:lnTo>
                    <a:pt x="3437" y="5017"/>
                  </a:lnTo>
                  <a:lnTo>
                    <a:pt x="3484" y="5020"/>
                  </a:lnTo>
                  <a:lnTo>
                    <a:pt x="3532" y="5021"/>
                  </a:lnTo>
                  <a:lnTo>
                    <a:pt x="3580" y="5022"/>
                  </a:lnTo>
                  <a:lnTo>
                    <a:pt x="3645" y="5021"/>
                  </a:lnTo>
                  <a:lnTo>
                    <a:pt x="3710" y="5018"/>
                  </a:lnTo>
                  <a:lnTo>
                    <a:pt x="3771" y="5014"/>
                  </a:lnTo>
                  <a:lnTo>
                    <a:pt x="3832" y="5007"/>
                  </a:lnTo>
                  <a:lnTo>
                    <a:pt x="3862" y="5003"/>
                  </a:lnTo>
                  <a:lnTo>
                    <a:pt x="3891" y="4999"/>
                  </a:lnTo>
                  <a:lnTo>
                    <a:pt x="3920" y="4993"/>
                  </a:lnTo>
                  <a:lnTo>
                    <a:pt x="3949" y="4988"/>
                  </a:lnTo>
                  <a:lnTo>
                    <a:pt x="3977" y="4983"/>
                  </a:lnTo>
                  <a:lnTo>
                    <a:pt x="4005" y="4977"/>
                  </a:lnTo>
                  <a:lnTo>
                    <a:pt x="4032" y="4970"/>
                  </a:lnTo>
                  <a:lnTo>
                    <a:pt x="4060" y="4962"/>
                  </a:lnTo>
                  <a:lnTo>
                    <a:pt x="4085" y="4955"/>
                  </a:lnTo>
                  <a:lnTo>
                    <a:pt x="4113" y="4948"/>
                  </a:lnTo>
                  <a:lnTo>
                    <a:pt x="4140" y="4940"/>
                  </a:lnTo>
                  <a:lnTo>
                    <a:pt x="4168" y="4931"/>
                  </a:lnTo>
                  <a:lnTo>
                    <a:pt x="4224" y="4911"/>
                  </a:lnTo>
                  <a:lnTo>
                    <a:pt x="4282" y="4888"/>
                  </a:lnTo>
                  <a:lnTo>
                    <a:pt x="4340" y="4864"/>
                  </a:lnTo>
                  <a:lnTo>
                    <a:pt x="4399" y="4837"/>
                  </a:lnTo>
                  <a:lnTo>
                    <a:pt x="4459" y="4807"/>
                  </a:lnTo>
                  <a:lnTo>
                    <a:pt x="4521" y="4775"/>
                  </a:lnTo>
                  <a:close/>
                  <a:moveTo>
                    <a:pt x="4478" y="9829"/>
                  </a:moveTo>
                  <a:lnTo>
                    <a:pt x="4535" y="9796"/>
                  </a:lnTo>
                  <a:lnTo>
                    <a:pt x="4590" y="9761"/>
                  </a:lnTo>
                  <a:lnTo>
                    <a:pt x="4616" y="9743"/>
                  </a:lnTo>
                  <a:lnTo>
                    <a:pt x="4643" y="9725"/>
                  </a:lnTo>
                  <a:lnTo>
                    <a:pt x="4669" y="9706"/>
                  </a:lnTo>
                  <a:lnTo>
                    <a:pt x="4694" y="9687"/>
                  </a:lnTo>
                  <a:lnTo>
                    <a:pt x="4719" y="9669"/>
                  </a:lnTo>
                  <a:lnTo>
                    <a:pt x="4743" y="9649"/>
                  </a:lnTo>
                  <a:lnTo>
                    <a:pt x="4768" y="9629"/>
                  </a:lnTo>
                  <a:lnTo>
                    <a:pt x="4792" y="9609"/>
                  </a:lnTo>
                  <a:lnTo>
                    <a:pt x="4815" y="9588"/>
                  </a:lnTo>
                  <a:lnTo>
                    <a:pt x="4837" y="9568"/>
                  </a:lnTo>
                  <a:lnTo>
                    <a:pt x="4860" y="9546"/>
                  </a:lnTo>
                  <a:lnTo>
                    <a:pt x="4882" y="9526"/>
                  </a:lnTo>
                  <a:lnTo>
                    <a:pt x="4904" y="9503"/>
                  </a:lnTo>
                  <a:lnTo>
                    <a:pt x="4924" y="9481"/>
                  </a:lnTo>
                  <a:lnTo>
                    <a:pt x="4945" y="9459"/>
                  </a:lnTo>
                  <a:lnTo>
                    <a:pt x="4965" y="9436"/>
                  </a:lnTo>
                  <a:lnTo>
                    <a:pt x="4985" y="9413"/>
                  </a:lnTo>
                  <a:lnTo>
                    <a:pt x="5005" y="9390"/>
                  </a:lnTo>
                  <a:lnTo>
                    <a:pt x="5023" y="9366"/>
                  </a:lnTo>
                  <a:lnTo>
                    <a:pt x="5042" y="9342"/>
                  </a:lnTo>
                  <a:lnTo>
                    <a:pt x="5059" y="9317"/>
                  </a:lnTo>
                  <a:lnTo>
                    <a:pt x="5077" y="9293"/>
                  </a:lnTo>
                  <a:lnTo>
                    <a:pt x="5095" y="9268"/>
                  </a:lnTo>
                  <a:lnTo>
                    <a:pt x="5111" y="9242"/>
                  </a:lnTo>
                  <a:lnTo>
                    <a:pt x="5128" y="9216"/>
                  </a:lnTo>
                  <a:lnTo>
                    <a:pt x="5144" y="9191"/>
                  </a:lnTo>
                  <a:lnTo>
                    <a:pt x="5160" y="9164"/>
                  </a:lnTo>
                  <a:lnTo>
                    <a:pt x="5174" y="9137"/>
                  </a:lnTo>
                  <a:lnTo>
                    <a:pt x="5203" y="9083"/>
                  </a:lnTo>
                  <a:lnTo>
                    <a:pt x="5230" y="9029"/>
                  </a:lnTo>
                  <a:lnTo>
                    <a:pt x="5255" y="8973"/>
                  </a:lnTo>
                  <a:lnTo>
                    <a:pt x="5278" y="8917"/>
                  </a:lnTo>
                  <a:lnTo>
                    <a:pt x="5299" y="8861"/>
                  </a:lnTo>
                  <a:lnTo>
                    <a:pt x="5319" y="8804"/>
                  </a:lnTo>
                  <a:lnTo>
                    <a:pt x="5336" y="8746"/>
                  </a:lnTo>
                  <a:lnTo>
                    <a:pt x="5353" y="8688"/>
                  </a:lnTo>
                  <a:lnTo>
                    <a:pt x="5366" y="8629"/>
                  </a:lnTo>
                  <a:lnTo>
                    <a:pt x="5379" y="8569"/>
                  </a:lnTo>
                  <a:lnTo>
                    <a:pt x="5389" y="8509"/>
                  </a:lnTo>
                  <a:lnTo>
                    <a:pt x="5397" y="8448"/>
                  </a:lnTo>
                  <a:lnTo>
                    <a:pt x="5403" y="8387"/>
                  </a:lnTo>
                  <a:lnTo>
                    <a:pt x="5409" y="8325"/>
                  </a:lnTo>
                  <a:lnTo>
                    <a:pt x="5411" y="8262"/>
                  </a:lnTo>
                  <a:lnTo>
                    <a:pt x="5412" y="8199"/>
                  </a:lnTo>
                  <a:lnTo>
                    <a:pt x="5411" y="8139"/>
                  </a:lnTo>
                  <a:lnTo>
                    <a:pt x="5409" y="8080"/>
                  </a:lnTo>
                  <a:lnTo>
                    <a:pt x="5403" y="8021"/>
                  </a:lnTo>
                  <a:lnTo>
                    <a:pt x="5397" y="7962"/>
                  </a:lnTo>
                  <a:lnTo>
                    <a:pt x="5389" y="7903"/>
                  </a:lnTo>
                  <a:lnTo>
                    <a:pt x="5379" y="7845"/>
                  </a:lnTo>
                  <a:lnTo>
                    <a:pt x="5366" y="7788"/>
                  </a:lnTo>
                  <a:lnTo>
                    <a:pt x="5353" y="7730"/>
                  </a:lnTo>
                  <a:lnTo>
                    <a:pt x="5336" y="7672"/>
                  </a:lnTo>
                  <a:lnTo>
                    <a:pt x="5319" y="7615"/>
                  </a:lnTo>
                  <a:lnTo>
                    <a:pt x="5299" y="7558"/>
                  </a:lnTo>
                  <a:lnTo>
                    <a:pt x="5278" y="7501"/>
                  </a:lnTo>
                  <a:lnTo>
                    <a:pt x="5255" y="7445"/>
                  </a:lnTo>
                  <a:lnTo>
                    <a:pt x="5230" y="7389"/>
                  </a:lnTo>
                  <a:lnTo>
                    <a:pt x="5203" y="7333"/>
                  </a:lnTo>
                  <a:lnTo>
                    <a:pt x="5174" y="7278"/>
                  </a:lnTo>
                  <a:lnTo>
                    <a:pt x="5144" y="7223"/>
                  </a:lnTo>
                  <a:lnTo>
                    <a:pt x="5112" y="7169"/>
                  </a:lnTo>
                  <a:lnTo>
                    <a:pt x="5078" y="7117"/>
                  </a:lnTo>
                  <a:lnTo>
                    <a:pt x="5043" y="7066"/>
                  </a:lnTo>
                  <a:lnTo>
                    <a:pt x="5024" y="7043"/>
                  </a:lnTo>
                  <a:lnTo>
                    <a:pt x="5006" y="7018"/>
                  </a:lnTo>
                  <a:lnTo>
                    <a:pt x="4987" y="6994"/>
                  </a:lnTo>
                  <a:lnTo>
                    <a:pt x="4968" y="6970"/>
                  </a:lnTo>
                  <a:lnTo>
                    <a:pt x="4928" y="6924"/>
                  </a:lnTo>
                  <a:lnTo>
                    <a:pt x="4886" y="6880"/>
                  </a:lnTo>
                  <a:lnTo>
                    <a:pt x="4844" y="6836"/>
                  </a:lnTo>
                  <a:lnTo>
                    <a:pt x="4798" y="6795"/>
                  </a:lnTo>
                  <a:lnTo>
                    <a:pt x="4752" y="6755"/>
                  </a:lnTo>
                  <a:lnTo>
                    <a:pt x="4704" y="6716"/>
                  </a:lnTo>
                  <a:lnTo>
                    <a:pt x="4679" y="6697"/>
                  </a:lnTo>
                  <a:lnTo>
                    <a:pt x="4654" y="6679"/>
                  </a:lnTo>
                  <a:lnTo>
                    <a:pt x="4629" y="6661"/>
                  </a:lnTo>
                  <a:lnTo>
                    <a:pt x="4603" y="6643"/>
                  </a:lnTo>
                  <a:lnTo>
                    <a:pt x="4549" y="6609"/>
                  </a:lnTo>
                  <a:lnTo>
                    <a:pt x="4494" y="6576"/>
                  </a:lnTo>
                  <a:lnTo>
                    <a:pt x="4440" y="6546"/>
                  </a:lnTo>
                  <a:lnTo>
                    <a:pt x="4383" y="6517"/>
                  </a:lnTo>
                  <a:lnTo>
                    <a:pt x="4326" y="6490"/>
                  </a:lnTo>
                  <a:lnTo>
                    <a:pt x="4269" y="6465"/>
                  </a:lnTo>
                  <a:lnTo>
                    <a:pt x="4211" y="6443"/>
                  </a:lnTo>
                  <a:lnTo>
                    <a:pt x="4153" y="6422"/>
                  </a:lnTo>
                  <a:lnTo>
                    <a:pt x="4094" y="6403"/>
                  </a:lnTo>
                  <a:lnTo>
                    <a:pt x="4034" y="6386"/>
                  </a:lnTo>
                  <a:lnTo>
                    <a:pt x="3974" y="6371"/>
                  </a:lnTo>
                  <a:lnTo>
                    <a:pt x="3912" y="6358"/>
                  </a:lnTo>
                  <a:lnTo>
                    <a:pt x="3850" y="6348"/>
                  </a:lnTo>
                  <a:lnTo>
                    <a:pt x="3788" y="6339"/>
                  </a:lnTo>
                  <a:lnTo>
                    <a:pt x="3725" y="6331"/>
                  </a:lnTo>
                  <a:lnTo>
                    <a:pt x="3661" y="6326"/>
                  </a:lnTo>
                  <a:lnTo>
                    <a:pt x="3597" y="6323"/>
                  </a:lnTo>
                  <a:lnTo>
                    <a:pt x="3531" y="6322"/>
                  </a:lnTo>
                  <a:lnTo>
                    <a:pt x="3485" y="6323"/>
                  </a:lnTo>
                  <a:lnTo>
                    <a:pt x="3440" y="6324"/>
                  </a:lnTo>
                  <a:lnTo>
                    <a:pt x="3394" y="6327"/>
                  </a:lnTo>
                  <a:lnTo>
                    <a:pt x="3350" y="6330"/>
                  </a:lnTo>
                  <a:lnTo>
                    <a:pt x="3305" y="6335"/>
                  </a:lnTo>
                  <a:lnTo>
                    <a:pt x="3261" y="6342"/>
                  </a:lnTo>
                  <a:lnTo>
                    <a:pt x="3217" y="6348"/>
                  </a:lnTo>
                  <a:lnTo>
                    <a:pt x="3173" y="6356"/>
                  </a:lnTo>
                  <a:lnTo>
                    <a:pt x="3130" y="6364"/>
                  </a:lnTo>
                  <a:lnTo>
                    <a:pt x="3088" y="6375"/>
                  </a:lnTo>
                  <a:lnTo>
                    <a:pt x="3045" y="6386"/>
                  </a:lnTo>
                  <a:lnTo>
                    <a:pt x="3003" y="6397"/>
                  </a:lnTo>
                  <a:lnTo>
                    <a:pt x="2961" y="6411"/>
                  </a:lnTo>
                  <a:lnTo>
                    <a:pt x="2919" y="6424"/>
                  </a:lnTo>
                  <a:lnTo>
                    <a:pt x="2879" y="6440"/>
                  </a:lnTo>
                  <a:lnTo>
                    <a:pt x="2838" y="6456"/>
                  </a:lnTo>
                  <a:lnTo>
                    <a:pt x="2797" y="6473"/>
                  </a:lnTo>
                  <a:lnTo>
                    <a:pt x="2757" y="6491"/>
                  </a:lnTo>
                  <a:lnTo>
                    <a:pt x="2718" y="6511"/>
                  </a:lnTo>
                  <a:lnTo>
                    <a:pt x="2679" y="6531"/>
                  </a:lnTo>
                  <a:lnTo>
                    <a:pt x="2639" y="6552"/>
                  </a:lnTo>
                  <a:lnTo>
                    <a:pt x="2600" y="6575"/>
                  </a:lnTo>
                  <a:lnTo>
                    <a:pt x="2562" y="6598"/>
                  </a:lnTo>
                  <a:lnTo>
                    <a:pt x="2524" y="6622"/>
                  </a:lnTo>
                  <a:lnTo>
                    <a:pt x="2487" y="6648"/>
                  </a:lnTo>
                  <a:lnTo>
                    <a:pt x="2448" y="6675"/>
                  </a:lnTo>
                  <a:lnTo>
                    <a:pt x="2411" y="6702"/>
                  </a:lnTo>
                  <a:lnTo>
                    <a:pt x="2375" y="6731"/>
                  </a:lnTo>
                  <a:lnTo>
                    <a:pt x="2339" y="6760"/>
                  </a:lnTo>
                  <a:lnTo>
                    <a:pt x="2303" y="6791"/>
                  </a:lnTo>
                  <a:lnTo>
                    <a:pt x="2267" y="6823"/>
                  </a:lnTo>
                  <a:lnTo>
                    <a:pt x="2231" y="6856"/>
                  </a:lnTo>
                  <a:lnTo>
                    <a:pt x="2196" y="6890"/>
                  </a:lnTo>
                  <a:lnTo>
                    <a:pt x="2163" y="6924"/>
                  </a:lnTo>
                  <a:lnTo>
                    <a:pt x="2130" y="6959"/>
                  </a:lnTo>
                  <a:lnTo>
                    <a:pt x="2099" y="6994"/>
                  </a:lnTo>
                  <a:lnTo>
                    <a:pt x="2068" y="7030"/>
                  </a:lnTo>
                  <a:lnTo>
                    <a:pt x="2039" y="7067"/>
                  </a:lnTo>
                  <a:lnTo>
                    <a:pt x="2011" y="7104"/>
                  </a:lnTo>
                  <a:lnTo>
                    <a:pt x="1985" y="7141"/>
                  </a:lnTo>
                  <a:lnTo>
                    <a:pt x="1959" y="7180"/>
                  </a:lnTo>
                  <a:lnTo>
                    <a:pt x="1934" y="7219"/>
                  </a:lnTo>
                  <a:lnTo>
                    <a:pt x="1910" y="7257"/>
                  </a:lnTo>
                  <a:lnTo>
                    <a:pt x="1888" y="7297"/>
                  </a:lnTo>
                  <a:lnTo>
                    <a:pt x="1866" y="7337"/>
                  </a:lnTo>
                  <a:lnTo>
                    <a:pt x="1845" y="7378"/>
                  </a:lnTo>
                  <a:lnTo>
                    <a:pt x="1827" y="7419"/>
                  </a:lnTo>
                  <a:lnTo>
                    <a:pt x="1808" y="7461"/>
                  </a:lnTo>
                  <a:lnTo>
                    <a:pt x="1791" y="7503"/>
                  </a:lnTo>
                  <a:lnTo>
                    <a:pt x="1775" y="7546"/>
                  </a:lnTo>
                  <a:lnTo>
                    <a:pt x="1760" y="7589"/>
                  </a:lnTo>
                  <a:lnTo>
                    <a:pt x="1746" y="7633"/>
                  </a:lnTo>
                  <a:lnTo>
                    <a:pt x="1734" y="7677"/>
                  </a:lnTo>
                  <a:lnTo>
                    <a:pt x="1722" y="7722"/>
                  </a:lnTo>
                  <a:lnTo>
                    <a:pt x="1712" y="7767"/>
                  </a:lnTo>
                  <a:lnTo>
                    <a:pt x="1703" y="7814"/>
                  </a:lnTo>
                  <a:lnTo>
                    <a:pt x="1694" y="7860"/>
                  </a:lnTo>
                  <a:lnTo>
                    <a:pt x="1687" y="7906"/>
                  </a:lnTo>
                  <a:lnTo>
                    <a:pt x="1681" y="7954"/>
                  </a:lnTo>
                  <a:lnTo>
                    <a:pt x="1676" y="8002"/>
                  </a:lnTo>
                  <a:lnTo>
                    <a:pt x="1672" y="8051"/>
                  </a:lnTo>
                  <a:lnTo>
                    <a:pt x="1670" y="8100"/>
                  </a:lnTo>
                  <a:lnTo>
                    <a:pt x="1668" y="8150"/>
                  </a:lnTo>
                  <a:lnTo>
                    <a:pt x="1668" y="8199"/>
                  </a:lnTo>
                  <a:lnTo>
                    <a:pt x="1668" y="8250"/>
                  </a:lnTo>
                  <a:lnTo>
                    <a:pt x="1670" y="8299"/>
                  </a:lnTo>
                  <a:lnTo>
                    <a:pt x="1672" y="8347"/>
                  </a:lnTo>
                  <a:lnTo>
                    <a:pt x="1676" y="8396"/>
                  </a:lnTo>
                  <a:lnTo>
                    <a:pt x="1681" y="8444"/>
                  </a:lnTo>
                  <a:lnTo>
                    <a:pt x="1687" y="8492"/>
                  </a:lnTo>
                  <a:lnTo>
                    <a:pt x="1694" y="8538"/>
                  </a:lnTo>
                  <a:lnTo>
                    <a:pt x="1703" y="8585"/>
                  </a:lnTo>
                  <a:lnTo>
                    <a:pt x="1712" y="8631"/>
                  </a:lnTo>
                  <a:lnTo>
                    <a:pt x="1722" y="8676"/>
                  </a:lnTo>
                  <a:lnTo>
                    <a:pt x="1734" y="8721"/>
                  </a:lnTo>
                  <a:lnTo>
                    <a:pt x="1746" y="8765"/>
                  </a:lnTo>
                  <a:lnTo>
                    <a:pt x="1760" y="8809"/>
                  </a:lnTo>
                  <a:lnTo>
                    <a:pt x="1775" y="8853"/>
                  </a:lnTo>
                  <a:lnTo>
                    <a:pt x="1791" y="8895"/>
                  </a:lnTo>
                  <a:lnTo>
                    <a:pt x="1808" y="8937"/>
                  </a:lnTo>
                  <a:lnTo>
                    <a:pt x="1827" y="8978"/>
                  </a:lnTo>
                  <a:lnTo>
                    <a:pt x="1845" y="9019"/>
                  </a:lnTo>
                  <a:lnTo>
                    <a:pt x="1866" y="9061"/>
                  </a:lnTo>
                  <a:lnTo>
                    <a:pt x="1888" y="9101"/>
                  </a:lnTo>
                  <a:lnTo>
                    <a:pt x="1910" y="9140"/>
                  </a:lnTo>
                  <a:lnTo>
                    <a:pt x="1934" y="9179"/>
                  </a:lnTo>
                  <a:lnTo>
                    <a:pt x="1959" y="9217"/>
                  </a:lnTo>
                  <a:lnTo>
                    <a:pt x="1985" y="9256"/>
                  </a:lnTo>
                  <a:lnTo>
                    <a:pt x="2011" y="9293"/>
                  </a:lnTo>
                  <a:lnTo>
                    <a:pt x="2039" y="9330"/>
                  </a:lnTo>
                  <a:lnTo>
                    <a:pt x="2068" y="9366"/>
                  </a:lnTo>
                  <a:lnTo>
                    <a:pt x="2099" y="9402"/>
                  </a:lnTo>
                  <a:lnTo>
                    <a:pt x="2130" y="9437"/>
                  </a:lnTo>
                  <a:lnTo>
                    <a:pt x="2163" y="9471"/>
                  </a:lnTo>
                  <a:lnTo>
                    <a:pt x="2196" y="9506"/>
                  </a:lnTo>
                  <a:lnTo>
                    <a:pt x="2231" y="9539"/>
                  </a:lnTo>
                  <a:lnTo>
                    <a:pt x="2267" y="9572"/>
                  </a:lnTo>
                  <a:lnTo>
                    <a:pt x="2303" y="9604"/>
                  </a:lnTo>
                  <a:lnTo>
                    <a:pt x="2339" y="9635"/>
                  </a:lnTo>
                  <a:lnTo>
                    <a:pt x="2375" y="9665"/>
                  </a:lnTo>
                  <a:lnTo>
                    <a:pt x="2412" y="9695"/>
                  </a:lnTo>
                  <a:lnTo>
                    <a:pt x="2449" y="9722"/>
                  </a:lnTo>
                  <a:lnTo>
                    <a:pt x="2487" y="9749"/>
                  </a:lnTo>
                  <a:lnTo>
                    <a:pt x="2525" y="9774"/>
                  </a:lnTo>
                  <a:lnTo>
                    <a:pt x="2563" y="9799"/>
                  </a:lnTo>
                  <a:lnTo>
                    <a:pt x="2602" y="9822"/>
                  </a:lnTo>
                  <a:lnTo>
                    <a:pt x="2642" y="9845"/>
                  </a:lnTo>
                  <a:lnTo>
                    <a:pt x="2681" y="9867"/>
                  </a:lnTo>
                  <a:lnTo>
                    <a:pt x="2721" y="9887"/>
                  </a:lnTo>
                  <a:lnTo>
                    <a:pt x="2761" y="9907"/>
                  </a:lnTo>
                  <a:lnTo>
                    <a:pt x="2802" y="9924"/>
                  </a:lnTo>
                  <a:lnTo>
                    <a:pt x="2843" y="9942"/>
                  </a:lnTo>
                  <a:lnTo>
                    <a:pt x="2884" y="9959"/>
                  </a:lnTo>
                  <a:lnTo>
                    <a:pt x="2926" y="9974"/>
                  </a:lnTo>
                  <a:lnTo>
                    <a:pt x="2968" y="9987"/>
                  </a:lnTo>
                  <a:lnTo>
                    <a:pt x="3010" y="10001"/>
                  </a:lnTo>
                  <a:lnTo>
                    <a:pt x="3053" y="10013"/>
                  </a:lnTo>
                  <a:lnTo>
                    <a:pt x="3096" y="10023"/>
                  </a:lnTo>
                  <a:lnTo>
                    <a:pt x="3139" y="10034"/>
                  </a:lnTo>
                  <a:lnTo>
                    <a:pt x="3184" y="10042"/>
                  </a:lnTo>
                  <a:lnTo>
                    <a:pt x="3227" y="10050"/>
                  </a:lnTo>
                  <a:lnTo>
                    <a:pt x="3273" y="10057"/>
                  </a:lnTo>
                  <a:lnTo>
                    <a:pt x="3317" y="10063"/>
                  </a:lnTo>
                  <a:lnTo>
                    <a:pt x="3362" y="10068"/>
                  </a:lnTo>
                  <a:lnTo>
                    <a:pt x="3408" y="10071"/>
                  </a:lnTo>
                  <a:lnTo>
                    <a:pt x="3454" y="10074"/>
                  </a:lnTo>
                  <a:lnTo>
                    <a:pt x="3501" y="10075"/>
                  </a:lnTo>
                  <a:lnTo>
                    <a:pt x="3547" y="10076"/>
                  </a:lnTo>
                  <a:lnTo>
                    <a:pt x="3616" y="10075"/>
                  </a:lnTo>
                  <a:lnTo>
                    <a:pt x="3683" y="10073"/>
                  </a:lnTo>
                  <a:lnTo>
                    <a:pt x="3747" y="10069"/>
                  </a:lnTo>
                  <a:lnTo>
                    <a:pt x="3810" y="10064"/>
                  </a:lnTo>
                  <a:lnTo>
                    <a:pt x="3870" y="10056"/>
                  </a:lnTo>
                  <a:lnTo>
                    <a:pt x="3928" y="10048"/>
                  </a:lnTo>
                  <a:lnTo>
                    <a:pt x="3985" y="10038"/>
                  </a:lnTo>
                  <a:lnTo>
                    <a:pt x="4039" y="10027"/>
                  </a:lnTo>
                  <a:lnTo>
                    <a:pt x="4066" y="10020"/>
                  </a:lnTo>
                  <a:lnTo>
                    <a:pt x="4093" y="10012"/>
                  </a:lnTo>
                  <a:lnTo>
                    <a:pt x="4120" y="10005"/>
                  </a:lnTo>
                  <a:lnTo>
                    <a:pt x="4146" y="9996"/>
                  </a:lnTo>
                  <a:lnTo>
                    <a:pt x="4173" y="9986"/>
                  </a:lnTo>
                  <a:lnTo>
                    <a:pt x="4200" y="9976"/>
                  </a:lnTo>
                  <a:lnTo>
                    <a:pt x="4228" y="9965"/>
                  </a:lnTo>
                  <a:lnTo>
                    <a:pt x="4255" y="9952"/>
                  </a:lnTo>
                  <a:lnTo>
                    <a:pt x="4283" y="9940"/>
                  </a:lnTo>
                  <a:lnTo>
                    <a:pt x="4310" y="9927"/>
                  </a:lnTo>
                  <a:lnTo>
                    <a:pt x="4337" y="9912"/>
                  </a:lnTo>
                  <a:lnTo>
                    <a:pt x="4365" y="9897"/>
                  </a:lnTo>
                  <a:lnTo>
                    <a:pt x="4393" y="9881"/>
                  </a:lnTo>
                  <a:lnTo>
                    <a:pt x="4421" y="9865"/>
                  </a:lnTo>
                  <a:lnTo>
                    <a:pt x="4450" y="9847"/>
                  </a:lnTo>
                  <a:lnTo>
                    <a:pt x="4478" y="9829"/>
                  </a:lnTo>
                  <a:close/>
                  <a:moveTo>
                    <a:pt x="4458" y="14849"/>
                  </a:moveTo>
                  <a:lnTo>
                    <a:pt x="4487" y="14833"/>
                  </a:lnTo>
                  <a:lnTo>
                    <a:pt x="4515" y="14816"/>
                  </a:lnTo>
                  <a:lnTo>
                    <a:pt x="4543" y="14799"/>
                  </a:lnTo>
                  <a:lnTo>
                    <a:pt x="4570" y="14781"/>
                  </a:lnTo>
                  <a:lnTo>
                    <a:pt x="4597" y="14764"/>
                  </a:lnTo>
                  <a:lnTo>
                    <a:pt x="4624" y="14745"/>
                  </a:lnTo>
                  <a:lnTo>
                    <a:pt x="4649" y="14727"/>
                  </a:lnTo>
                  <a:lnTo>
                    <a:pt x="4675" y="14707"/>
                  </a:lnTo>
                  <a:lnTo>
                    <a:pt x="4701" y="14688"/>
                  </a:lnTo>
                  <a:lnTo>
                    <a:pt x="4726" y="14668"/>
                  </a:lnTo>
                  <a:lnTo>
                    <a:pt x="4750" y="14648"/>
                  </a:lnTo>
                  <a:lnTo>
                    <a:pt x="4774" y="14628"/>
                  </a:lnTo>
                  <a:lnTo>
                    <a:pt x="4797" y="14606"/>
                  </a:lnTo>
                  <a:lnTo>
                    <a:pt x="4821" y="14586"/>
                  </a:lnTo>
                  <a:lnTo>
                    <a:pt x="4844" y="14564"/>
                  </a:lnTo>
                  <a:lnTo>
                    <a:pt x="4866" y="14541"/>
                  </a:lnTo>
                  <a:lnTo>
                    <a:pt x="4888" y="14520"/>
                  </a:lnTo>
                  <a:lnTo>
                    <a:pt x="4909" y="14497"/>
                  </a:lnTo>
                  <a:lnTo>
                    <a:pt x="4930" y="14473"/>
                  </a:lnTo>
                  <a:lnTo>
                    <a:pt x="4951" y="14451"/>
                  </a:lnTo>
                  <a:lnTo>
                    <a:pt x="4971" y="14427"/>
                  </a:lnTo>
                  <a:lnTo>
                    <a:pt x="4991" y="14402"/>
                  </a:lnTo>
                  <a:lnTo>
                    <a:pt x="5010" y="14378"/>
                  </a:lnTo>
                  <a:lnTo>
                    <a:pt x="5030" y="14353"/>
                  </a:lnTo>
                  <a:lnTo>
                    <a:pt x="5047" y="14328"/>
                  </a:lnTo>
                  <a:lnTo>
                    <a:pt x="5066" y="14302"/>
                  </a:lnTo>
                  <a:lnTo>
                    <a:pt x="5083" y="14276"/>
                  </a:lnTo>
                  <a:lnTo>
                    <a:pt x="5100" y="14251"/>
                  </a:lnTo>
                  <a:lnTo>
                    <a:pt x="5117" y="14224"/>
                  </a:lnTo>
                  <a:lnTo>
                    <a:pt x="5133" y="14197"/>
                  </a:lnTo>
                  <a:lnTo>
                    <a:pt x="5149" y="14170"/>
                  </a:lnTo>
                  <a:lnTo>
                    <a:pt x="5165" y="14142"/>
                  </a:lnTo>
                  <a:lnTo>
                    <a:pt x="5195" y="14087"/>
                  </a:lnTo>
                  <a:lnTo>
                    <a:pt x="5223" y="14030"/>
                  </a:lnTo>
                  <a:lnTo>
                    <a:pt x="5248" y="13974"/>
                  </a:lnTo>
                  <a:lnTo>
                    <a:pt x="5272" y="13918"/>
                  </a:lnTo>
                  <a:lnTo>
                    <a:pt x="5295" y="13861"/>
                  </a:lnTo>
                  <a:lnTo>
                    <a:pt x="5316" y="13804"/>
                  </a:lnTo>
                  <a:lnTo>
                    <a:pt x="5333" y="13748"/>
                  </a:lnTo>
                  <a:lnTo>
                    <a:pt x="5350" y="13690"/>
                  </a:lnTo>
                  <a:lnTo>
                    <a:pt x="5364" y="13632"/>
                  </a:lnTo>
                  <a:lnTo>
                    <a:pt x="5377" y="13574"/>
                  </a:lnTo>
                  <a:lnTo>
                    <a:pt x="5388" y="13516"/>
                  </a:lnTo>
                  <a:lnTo>
                    <a:pt x="5396" y="13457"/>
                  </a:lnTo>
                  <a:lnTo>
                    <a:pt x="5403" y="13398"/>
                  </a:lnTo>
                  <a:lnTo>
                    <a:pt x="5408" y="13339"/>
                  </a:lnTo>
                  <a:lnTo>
                    <a:pt x="5411" y="13280"/>
                  </a:lnTo>
                  <a:lnTo>
                    <a:pt x="5412" y="13220"/>
                  </a:lnTo>
                  <a:lnTo>
                    <a:pt x="5411" y="13152"/>
                  </a:lnTo>
                  <a:lnTo>
                    <a:pt x="5409" y="13085"/>
                  </a:lnTo>
                  <a:lnTo>
                    <a:pt x="5403" y="13019"/>
                  </a:lnTo>
                  <a:lnTo>
                    <a:pt x="5397" y="12954"/>
                  </a:lnTo>
                  <a:lnTo>
                    <a:pt x="5389" y="12890"/>
                  </a:lnTo>
                  <a:lnTo>
                    <a:pt x="5379" y="12827"/>
                  </a:lnTo>
                  <a:lnTo>
                    <a:pt x="5366" y="12765"/>
                  </a:lnTo>
                  <a:lnTo>
                    <a:pt x="5353" y="12704"/>
                  </a:lnTo>
                  <a:lnTo>
                    <a:pt x="5336" y="12645"/>
                  </a:lnTo>
                  <a:lnTo>
                    <a:pt x="5319" y="12586"/>
                  </a:lnTo>
                  <a:lnTo>
                    <a:pt x="5299" y="12528"/>
                  </a:lnTo>
                  <a:lnTo>
                    <a:pt x="5278" y="12473"/>
                  </a:lnTo>
                  <a:lnTo>
                    <a:pt x="5255" y="12417"/>
                  </a:lnTo>
                  <a:lnTo>
                    <a:pt x="5230" y="12362"/>
                  </a:lnTo>
                  <a:lnTo>
                    <a:pt x="5203" y="12310"/>
                  </a:lnTo>
                  <a:lnTo>
                    <a:pt x="5174" y="12257"/>
                  </a:lnTo>
                  <a:lnTo>
                    <a:pt x="5143" y="12207"/>
                  </a:lnTo>
                  <a:lnTo>
                    <a:pt x="5111" y="12157"/>
                  </a:lnTo>
                  <a:lnTo>
                    <a:pt x="5076" y="12108"/>
                  </a:lnTo>
                  <a:lnTo>
                    <a:pt x="5040" y="12060"/>
                  </a:lnTo>
                  <a:lnTo>
                    <a:pt x="5002" y="12014"/>
                  </a:lnTo>
                  <a:lnTo>
                    <a:pt x="4961" y="11968"/>
                  </a:lnTo>
                  <a:lnTo>
                    <a:pt x="4920" y="11924"/>
                  </a:lnTo>
                  <a:lnTo>
                    <a:pt x="4876" y="11881"/>
                  </a:lnTo>
                  <a:lnTo>
                    <a:pt x="4830" y="11839"/>
                  </a:lnTo>
                  <a:lnTo>
                    <a:pt x="4783" y="11797"/>
                  </a:lnTo>
                  <a:lnTo>
                    <a:pt x="4733" y="11757"/>
                  </a:lnTo>
                  <a:lnTo>
                    <a:pt x="4682" y="11719"/>
                  </a:lnTo>
                  <a:lnTo>
                    <a:pt x="4629" y="11681"/>
                  </a:lnTo>
                  <a:lnTo>
                    <a:pt x="4574" y="11644"/>
                  </a:lnTo>
                  <a:lnTo>
                    <a:pt x="4517" y="11609"/>
                  </a:lnTo>
                  <a:lnTo>
                    <a:pt x="4458" y="11574"/>
                  </a:lnTo>
                  <a:lnTo>
                    <a:pt x="4401" y="11542"/>
                  </a:lnTo>
                  <a:lnTo>
                    <a:pt x="4343" y="11513"/>
                  </a:lnTo>
                  <a:lnTo>
                    <a:pt x="4285" y="11485"/>
                  </a:lnTo>
                  <a:lnTo>
                    <a:pt x="4226" y="11459"/>
                  </a:lnTo>
                  <a:lnTo>
                    <a:pt x="4168" y="11436"/>
                  </a:lnTo>
                  <a:lnTo>
                    <a:pt x="4109" y="11414"/>
                  </a:lnTo>
                  <a:lnTo>
                    <a:pt x="4050" y="11394"/>
                  </a:lnTo>
                  <a:lnTo>
                    <a:pt x="3990" y="11377"/>
                  </a:lnTo>
                  <a:lnTo>
                    <a:pt x="3932" y="11361"/>
                  </a:lnTo>
                  <a:lnTo>
                    <a:pt x="3872" y="11348"/>
                  </a:lnTo>
                  <a:lnTo>
                    <a:pt x="3812" y="11337"/>
                  </a:lnTo>
                  <a:lnTo>
                    <a:pt x="3751" y="11327"/>
                  </a:lnTo>
                  <a:lnTo>
                    <a:pt x="3691" y="11320"/>
                  </a:lnTo>
                  <a:lnTo>
                    <a:pt x="3630" y="11315"/>
                  </a:lnTo>
                  <a:lnTo>
                    <a:pt x="3600" y="11313"/>
                  </a:lnTo>
                  <a:lnTo>
                    <a:pt x="3569" y="11312"/>
                  </a:lnTo>
                  <a:lnTo>
                    <a:pt x="3539" y="11311"/>
                  </a:lnTo>
                  <a:lnTo>
                    <a:pt x="3508" y="11311"/>
                  </a:lnTo>
                  <a:lnTo>
                    <a:pt x="3461" y="11311"/>
                  </a:lnTo>
                  <a:lnTo>
                    <a:pt x="3414" y="11313"/>
                  </a:lnTo>
                  <a:lnTo>
                    <a:pt x="3368" y="11315"/>
                  </a:lnTo>
                  <a:lnTo>
                    <a:pt x="3322" y="11319"/>
                  </a:lnTo>
                  <a:lnTo>
                    <a:pt x="3276" y="11323"/>
                  </a:lnTo>
                  <a:lnTo>
                    <a:pt x="3231" y="11329"/>
                  </a:lnTo>
                  <a:lnTo>
                    <a:pt x="3186" y="11336"/>
                  </a:lnTo>
                  <a:lnTo>
                    <a:pt x="3141" y="11344"/>
                  </a:lnTo>
                  <a:lnTo>
                    <a:pt x="3097" y="11353"/>
                  </a:lnTo>
                  <a:lnTo>
                    <a:pt x="3054" y="11362"/>
                  </a:lnTo>
                  <a:lnTo>
                    <a:pt x="3010" y="11374"/>
                  </a:lnTo>
                  <a:lnTo>
                    <a:pt x="2967" y="11385"/>
                  </a:lnTo>
                  <a:lnTo>
                    <a:pt x="2925" y="11398"/>
                  </a:lnTo>
                  <a:lnTo>
                    <a:pt x="2882" y="11413"/>
                  </a:lnTo>
                  <a:lnTo>
                    <a:pt x="2840" y="11427"/>
                  </a:lnTo>
                  <a:lnTo>
                    <a:pt x="2799" y="11444"/>
                  </a:lnTo>
                  <a:lnTo>
                    <a:pt x="2757" y="11461"/>
                  </a:lnTo>
                  <a:lnTo>
                    <a:pt x="2716" y="11479"/>
                  </a:lnTo>
                  <a:lnTo>
                    <a:pt x="2676" y="11498"/>
                  </a:lnTo>
                  <a:lnTo>
                    <a:pt x="2635" y="11519"/>
                  </a:lnTo>
                  <a:lnTo>
                    <a:pt x="2596" y="11541"/>
                  </a:lnTo>
                  <a:lnTo>
                    <a:pt x="2557" y="11562"/>
                  </a:lnTo>
                  <a:lnTo>
                    <a:pt x="2518" y="11586"/>
                  </a:lnTo>
                  <a:lnTo>
                    <a:pt x="2479" y="11611"/>
                  </a:lnTo>
                  <a:lnTo>
                    <a:pt x="2441" y="11637"/>
                  </a:lnTo>
                  <a:lnTo>
                    <a:pt x="2404" y="11662"/>
                  </a:lnTo>
                  <a:lnTo>
                    <a:pt x="2366" y="11690"/>
                  </a:lnTo>
                  <a:lnTo>
                    <a:pt x="2330" y="11719"/>
                  </a:lnTo>
                  <a:lnTo>
                    <a:pt x="2292" y="11749"/>
                  </a:lnTo>
                  <a:lnTo>
                    <a:pt x="2256" y="11779"/>
                  </a:lnTo>
                  <a:lnTo>
                    <a:pt x="2220" y="11811"/>
                  </a:lnTo>
                  <a:lnTo>
                    <a:pt x="2185" y="11844"/>
                  </a:lnTo>
                  <a:lnTo>
                    <a:pt x="2150" y="11878"/>
                  </a:lnTo>
                  <a:lnTo>
                    <a:pt x="2116" y="11913"/>
                  </a:lnTo>
                  <a:lnTo>
                    <a:pt x="2084" y="11947"/>
                  </a:lnTo>
                  <a:lnTo>
                    <a:pt x="2052" y="11983"/>
                  </a:lnTo>
                  <a:lnTo>
                    <a:pt x="2021" y="12019"/>
                  </a:lnTo>
                  <a:lnTo>
                    <a:pt x="1992" y="12055"/>
                  </a:lnTo>
                  <a:lnTo>
                    <a:pt x="1963" y="12093"/>
                  </a:lnTo>
                  <a:lnTo>
                    <a:pt x="1936" y="12130"/>
                  </a:lnTo>
                  <a:lnTo>
                    <a:pt x="1910" y="12168"/>
                  </a:lnTo>
                  <a:lnTo>
                    <a:pt x="1885" y="12208"/>
                  </a:lnTo>
                  <a:lnTo>
                    <a:pt x="1862" y="12247"/>
                  </a:lnTo>
                  <a:lnTo>
                    <a:pt x="1839" y="12287"/>
                  </a:lnTo>
                  <a:lnTo>
                    <a:pt x="1817" y="12327"/>
                  </a:lnTo>
                  <a:lnTo>
                    <a:pt x="1797" y="12368"/>
                  </a:lnTo>
                  <a:lnTo>
                    <a:pt x="1777" y="12410"/>
                  </a:lnTo>
                  <a:lnTo>
                    <a:pt x="1759" y="12452"/>
                  </a:lnTo>
                  <a:lnTo>
                    <a:pt x="1742" y="12495"/>
                  </a:lnTo>
                  <a:lnTo>
                    <a:pt x="1725" y="12538"/>
                  </a:lnTo>
                  <a:lnTo>
                    <a:pt x="1711" y="12582"/>
                  </a:lnTo>
                  <a:lnTo>
                    <a:pt x="1697" y="12626"/>
                  </a:lnTo>
                  <a:lnTo>
                    <a:pt x="1684" y="12671"/>
                  </a:lnTo>
                  <a:lnTo>
                    <a:pt x="1673" y="12717"/>
                  </a:lnTo>
                  <a:lnTo>
                    <a:pt x="1662" y="12763"/>
                  </a:lnTo>
                  <a:lnTo>
                    <a:pt x="1653" y="12810"/>
                  </a:lnTo>
                  <a:lnTo>
                    <a:pt x="1645" y="12857"/>
                  </a:lnTo>
                  <a:lnTo>
                    <a:pt x="1638" y="12904"/>
                  </a:lnTo>
                  <a:lnTo>
                    <a:pt x="1631" y="12953"/>
                  </a:lnTo>
                  <a:lnTo>
                    <a:pt x="1626" y="13002"/>
                  </a:lnTo>
                  <a:lnTo>
                    <a:pt x="1622" y="13052"/>
                  </a:lnTo>
                  <a:lnTo>
                    <a:pt x="1620" y="13101"/>
                  </a:lnTo>
                  <a:lnTo>
                    <a:pt x="1618" y="13153"/>
                  </a:lnTo>
                  <a:lnTo>
                    <a:pt x="1618" y="13203"/>
                  </a:lnTo>
                  <a:lnTo>
                    <a:pt x="1618" y="13254"/>
                  </a:lnTo>
                  <a:lnTo>
                    <a:pt x="1620" y="13303"/>
                  </a:lnTo>
                  <a:lnTo>
                    <a:pt x="1622" y="13353"/>
                  </a:lnTo>
                  <a:lnTo>
                    <a:pt x="1626" y="13401"/>
                  </a:lnTo>
                  <a:lnTo>
                    <a:pt x="1631" y="13450"/>
                  </a:lnTo>
                  <a:lnTo>
                    <a:pt x="1638" y="13497"/>
                  </a:lnTo>
                  <a:lnTo>
                    <a:pt x="1645" y="13544"/>
                  </a:lnTo>
                  <a:lnTo>
                    <a:pt x="1653" y="13591"/>
                  </a:lnTo>
                  <a:lnTo>
                    <a:pt x="1662" y="13637"/>
                  </a:lnTo>
                  <a:lnTo>
                    <a:pt x="1673" y="13683"/>
                  </a:lnTo>
                  <a:lnTo>
                    <a:pt x="1684" y="13728"/>
                  </a:lnTo>
                  <a:lnTo>
                    <a:pt x="1697" y="13772"/>
                  </a:lnTo>
                  <a:lnTo>
                    <a:pt x="1711" y="13817"/>
                  </a:lnTo>
                  <a:lnTo>
                    <a:pt x="1725" y="13860"/>
                  </a:lnTo>
                  <a:lnTo>
                    <a:pt x="1742" y="13903"/>
                  </a:lnTo>
                  <a:lnTo>
                    <a:pt x="1759" y="13946"/>
                  </a:lnTo>
                  <a:lnTo>
                    <a:pt x="1777" y="13989"/>
                  </a:lnTo>
                  <a:lnTo>
                    <a:pt x="1797" y="14030"/>
                  </a:lnTo>
                  <a:lnTo>
                    <a:pt x="1817" y="14071"/>
                  </a:lnTo>
                  <a:lnTo>
                    <a:pt x="1839" y="14112"/>
                  </a:lnTo>
                  <a:lnTo>
                    <a:pt x="1862" y="14153"/>
                  </a:lnTo>
                  <a:lnTo>
                    <a:pt x="1885" y="14192"/>
                  </a:lnTo>
                  <a:lnTo>
                    <a:pt x="1910" y="14231"/>
                  </a:lnTo>
                  <a:lnTo>
                    <a:pt x="1936" y="14269"/>
                  </a:lnTo>
                  <a:lnTo>
                    <a:pt x="1963" y="14307"/>
                  </a:lnTo>
                  <a:lnTo>
                    <a:pt x="1992" y="14345"/>
                  </a:lnTo>
                  <a:lnTo>
                    <a:pt x="2021" y="14382"/>
                  </a:lnTo>
                  <a:lnTo>
                    <a:pt x="2052" y="14419"/>
                  </a:lnTo>
                  <a:lnTo>
                    <a:pt x="2084" y="14455"/>
                  </a:lnTo>
                  <a:lnTo>
                    <a:pt x="2116" y="14491"/>
                  </a:lnTo>
                  <a:lnTo>
                    <a:pt x="2150" y="14526"/>
                  </a:lnTo>
                  <a:lnTo>
                    <a:pt x="2185" y="14560"/>
                  </a:lnTo>
                  <a:lnTo>
                    <a:pt x="2220" y="14594"/>
                  </a:lnTo>
                  <a:lnTo>
                    <a:pt x="2256" y="14627"/>
                  </a:lnTo>
                  <a:lnTo>
                    <a:pt x="2292" y="14659"/>
                  </a:lnTo>
                  <a:lnTo>
                    <a:pt x="2330" y="14690"/>
                  </a:lnTo>
                  <a:lnTo>
                    <a:pt x="2366" y="14720"/>
                  </a:lnTo>
                  <a:lnTo>
                    <a:pt x="2404" y="14748"/>
                  </a:lnTo>
                  <a:lnTo>
                    <a:pt x="2441" y="14776"/>
                  </a:lnTo>
                  <a:lnTo>
                    <a:pt x="2479" y="14802"/>
                  </a:lnTo>
                  <a:lnTo>
                    <a:pt x="2518" y="14828"/>
                  </a:lnTo>
                  <a:lnTo>
                    <a:pt x="2557" y="14851"/>
                  </a:lnTo>
                  <a:lnTo>
                    <a:pt x="2596" y="14875"/>
                  </a:lnTo>
                  <a:lnTo>
                    <a:pt x="2635" y="14897"/>
                  </a:lnTo>
                  <a:lnTo>
                    <a:pt x="2676" y="14918"/>
                  </a:lnTo>
                  <a:lnTo>
                    <a:pt x="2716" y="14938"/>
                  </a:lnTo>
                  <a:lnTo>
                    <a:pt x="2757" y="14958"/>
                  </a:lnTo>
                  <a:lnTo>
                    <a:pt x="2799" y="14975"/>
                  </a:lnTo>
                  <a:lnTo>
                    <a:pt x="2840" y="14992"/>
                  </a:lnTo>
                  <a:lnTo>
                    <a:pt x="2882" y="15007"/>
                  </a:lnTo>
                  <a:lnTo>
                    <a:pt x="2925" y="15023"/>
                  </a:lnTo>
                  <a:lnTo>
                    <a:pt x="2967" y="15036"/>
                  </a:lnTo>
                  <a:lnTo>
                    <a:pt x="3010" y="15048"/>
                  </a:lnTo>
                  <a:lnTo>
                    <a:pt x="3054" y="15060"/>
                  </a:lnTo>
                  <a:lnTo>
                    <a:pt x="3097" y="15070"/>
                  </a:lnTo>
                  <a:lnTo>
                    <a:pt x="3141" y="15078"/>
                  </a:lnTo>
                  <a:lnTo>
                    <a:pt x="3186" y="15086"/>
                  </a:lnTo>
                  <a:lnTo>
                    <a:pt x="3231" y="15094"/>
                  </a:lnTo>
                  <a:lnTo>
                    <a:pt x="3276" y="15100"/>
                  </a:lnTo>
                  <a:lnTo>
                    <a:pt x="3322" y="15105"/>
                  </a:lnTo>
                  <a:lnTo>
                    <a:pt x="3368" y="15108"/>
                  </a:lnTo>
                  <a:lnTo>
                    <a:pt x="3414" y="15111"/>
                  </a:lnTo>
                  <a:lnTo>
                    <a:pt x="3461" y="15113"/>
                  </a:lnTo>
                  <a:lnTo>
                    <a:pt x="3508" y="15113"/>
                  </a:lnTo>
                  <a:lnTo>
                    <a:pt x="3539" y="15113"/>
                  </a:lnTo>
                  <a:lnTo>
                    <a:pt x="3569" y="15112"/>
                  </a:lnTo>
                  <a:lnTo>
                    <a:pt x="3600" y="15111"/>
                  </a:lnTo>
                  <a:lnTo>
                    <a:pt x="3630" y="15109"/>
                  </a:lnTo>
                  <a:lnTo>
                    <a:pt x="3661" y="15107"/>
                  </a:lnTo>
                  <a:lnTo>
                    <a:pt x="3691" y="15104"/>
                  </a:lnTo>
                  <a:lnTo>
                    <a:pt x="3721" y="15101"/>
                  </a:lnTo>
                  <a:lnTo>
                    <a:pt x="3751" y="15097"/>
                  </a:lnTo>
                  <a:lnTo>
                    <a:pt x="3782" y="15093"/>
                  </a:lnTo>
                  <a:lnTo>
                    <a:pt x="3812" y="15088"/>
                  </a:lnTo>
                  <a:lnTo>
                    <a:pt x="3842" y="15082"/>
                  </a:lnTo>
                  <a:lnTo>
                    <a:pt x="3872" y="15076"/>
                  </a:lnTo>
                  <a:lnTo>
                    <a:pt x="3932" y="15063"/>
                  </a:lnTo>
                  <a:lnTo>
                    <a:pt x="3990" y="15047"/>
                  </a:lnTo>
                  <a:lnTo>
                    <a:pt x="4050" y="15030"/>
                  </a:lnTo>
                  <a:lnTo>
                    <a:pt x="4109" y="15010"/>
                  </a:lnTo>
                  <a:lnTo>
                    <a:pt x="4168" y="14989"/>
                  </a:lnTo>
                  <a:lnTo>
                    <a:pt x="4226" y="14965"/>
                  </a:lnTo>
                  <a:lnTo>
                    <a:pt x="4285" y="14939"/>
                  </a:lnTo>
                  <a:lnTo>
                    <a:pt x="4343" y="14911"/>
                  </a:lnTo>
                  <a:lnTo>
                    <a:pt x="4401" y="14881"/>
                  </a:lnTo>
                  <a:lnTo>
                    <a:pt x="4458" y="14849"/>
                  </a:lnTo>
                  <a:close/>
                </a:path>
              </a:pathLst>
            </a:custGeom>
            <a:solidFill>
              <a:srgbClr val="505050"/>
            </a:solidFill>
            <a:ln w="9525">
              <a:noFill/>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893" name="Group 1892">
            <a:extLst>
              <a:ext uri="{FF2B5EF4-FFF2-40B4-BE49-F238E27FC236}">
                <a16:creationId xmlns:a16="http://schemas.microsoft.com/office/drawing/2014/main" id="{F3AE7951-9B65-4C51-8843-4ABCF4324B30}"/>
              </a:ext>
            </a:extLst>
          </p:cNvPr>
          <p:cNvGrpSpPr/>
          <p:nvPr/>
        </p:nvGrpSpPr>
        <p:grpSpPr>
          <a:xfrm>
            <a:off x="6067996" y="2430926"/>
            <a:ext cx="612775" cy="612775"/>
            <a:chOff x="4235632" y="3032119"/>
            <a:chExt cx="612775" cy="612775"/>
          </a:xfrm>
        </p:grpSpPr>
        <p:sp>
          <p:nvSpPr>
            <p:cNvPr id="1894" name="Oval 1893">
              <a:extLst>
                <a:ext uri="{FF2B5EF4-FFF2-40B4-BE49-F238E27FC236}">
                  <a16:creationId xmlns:a16="http://schemas.microsoft.com/office/drawing/2014/main" id="{7C7BAFC4-B8E9-41D4-9A33-BF116E23BE70}"/>
                </a:ext>
              </a:extLst>
            </p:cNvPr>
            <p:cNvSpPr/>
            <p:nvPr/>
          </p:nvSpPr>
          <p:spPr bwMode="ltGray">
            <a:xfrm>
              <a:off x="423563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895" name="Group 1894">
              <a:extLst>
                <a:ext uri="{FF2B5EF4-FFF2-40B4-BE49-F238E27FC236}">
                  <a16:creationId xmlns:a16="http://schemas.microsoft.com/office/drawing/2014/main" id="{95F72602-ECE2-4ECB-80A1-1E48E855B4CD}"/>
                </a:ext>
              </a:extLst>
            </p:cNvPr>
            <p:cNvGrpSpPr/>
            <p:nvPr/>
          </p:nvGrpSpPr>
          <p:grpSpPr>
            <a:xfrm>
              <a:off x="4329848" y="3093398"/>
              <a:ext cx="417604" cy="415563"/>
              <a:chOff x="3885613" y="-228617"/>
              <a:chExt cx="1624013" cy="1616075"/>
            </a:xfrm>
            <a:solidFill>
              <a:srgbClr val="3C3C3E"/>
            </a:solidFill>
          </p:grpSpPr>
          <p:sp>
            <p:nvSpPr>
              <p:cNvPr id="1896" name="Freeform 106">
                <a:extLst>
                  <a:ext uri="{FF2B5EF4-FFF2-40B4-BE49-F238E27FC236}">
                    <a16:creationId xmlns:a16="http://schemas.microsoft.com/office/drawing/2014/main" id="{95EDCBFE-BEE4-4BCB-BB2E-12C2D9C78496}"/>
                  </a:ext>
                </a:extLst>
              </p:cNvPr>
              <p:cNvSpPr>
                <a:spLocks/>
              </p:cNvSpPr>
              <p:nvPr/>
            </p:nvSpPr>
            <p:spPr bwMode="auto">
              <a:xfrm>
                <a:off x="3979276" y="655620"/>
                <a:ext cx="1411288" cy="565150"/>
              </a:xfrm>
              <a:custGeom>
                <a:avLst/>
                <a:gdLst>
                  <a:gd name="T0" fmla="*/ 0 w 1777"/>
                  <a:gd name="T1" fmla="*/ 711 h 711"/>
                  <a:gd name="T2" fmla="*/ 1777 w 1777"/>
                  <a:gd name="T3" fmla="*/ 711 h 711"/>
                  <a:gd name="T4" fmla="*/ 1777 w 1777"/>
                  <a:gd name="T5" fmla="*/ 0 h 711"/>
                  <a:gd name="T6" fmla="*/ 0 w 1777"/>
                  <a:gd name="T7" fmla="*/ 0 h 711"/>
                  <a:gd name="T8" fmla="*/ 0 w 1777"/>
                  <a:gd name="T9" fmla="*/ 711 h 711"/>
                  <a:gd name="T10" fmla="*/ 0 w 1777"/>
                  <a:gd name="T11" fmla="*/ 711 h 711"/>
                </a:gdLst>
                <a:ahLst/>
                <a:cxnLst>
                  <a:cxn ang="0">
                    <a:pos x="T0" y="T1"/>
                  </a:cxn>
                  <a:cxn ang="0">
                    <a:pos x="T2" y="T3"/>
                  </a:cxn>
                  <a:cxn ang="0">
                    <a:pos x="T4" y="T5"/>
                  </a:cxn>
                  <a:cxn ang="0">
                    <a:pos x="T6" y="T7"/>
                  </a:cxn>
                  <a:cxn ang="0">
                    <a:pos x="T8" y="T9"/>
                  </a:cxn>
                  <a:cxn ang="0">
                    <a:pos x="T10" y="T11"/>
                  </a:cxn>
                </a:cxnLst>
                <a:rect l="0" t="0" r="r" b="b"/>
                <a:pathLst>
                  <a:path w="1777" h="711">
                    <a:moveTo>
                      <a:pt x="0" y="711"/>
                    </a:moveTo>
                    <a:lnTo>
                      <a:pt x="1777" y="711"/>
                    </a:lnTo>
                    <a:lnTo>
                      <a:pt x="1777" y="0"/>
                    </a:lnTo>
                    <a:lnTo>
                      <a:pt x="0" y="0"/>
                    </a:lnTo>
                    <a:lnTo>
                      <a:pt x="0" y="711"/>
                    </a:lnTo>
                    <a:lnTo>
                      <a:pt x="0" y="71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897" name="Freeform 107">
                <a:extLst>
                  <a:ext uri="{FF2B5EF4-FFF2-40B4-BE49-F238E27FC236}">
                    <a16:creationId xmlns:a16="http://schemas.microsoft.com/office/drawing/2014/main" id="{141F0333-E958-4168-AFBD-900767DB6210}"/>
                  </a:ext>
                </a:extLst>
              </p:cNvPr>
              <p:cNvSpPr>
                <a:spLocks/>
              </p:cNvSpPr>
              <p:nvPr/>
            </p:nvSpPr>
            <p:spPr bwMode="auto">
              <a:xfrm>
                <a:off x="3906251" y="1142983"/>
                <a:ext cx="1547813" cy="77788"/>
              </a:xfrm>
              <a:custGeom>
                <a:avLst/>
                <a:gdLst>
                  <a:gd name="T0" fmla="*/ 0 w 1950"/>
                  <a:gd name="T1" fmla="*/ 97 h 97"/>
                  <a:gd name="T2" fmla="*/ 1950 w 1950"/>
                  <a:gd name="T3" fmla="*/ 97 h 97"/>
                  <a:gd name="T4" fmla="*/ 1950 w 1950"/>
                  <a:gd name="T5" fmla="*/ 0 h 97"/>
                  <a:gd name="T6" fmla="*/ 0 w 1950"/>
                  <a:gd name="T7" fmla="*/ 0 h 97"/>
                  <a:gd name="T8" fmla="*/ 0 w 1950"/>
                  <a:gd name="T9" fmla="*/ 97 h 97"/>
                  <a:gd name="T10" fmla="*/ 0 w 1950"/>
                  <a:gd name="T11" fmla="*/ 97 h 97"/>
                </a:gdLst>
                <a:ahLst/>
                <a:cxnLst>
                  <a:cxn ang="0">
                    <a:pos x="T0" y="T1"/>
                  </a:cxn>
                  <a:cxn ang="0">
                    <a:pos x="T2" y="T3"/>
                  </a:cxn>
                  <a:cxn ang="0">
                    <a:pos x="T4" y="T5"/>
                  </a:cxn>
                  <a:cxn ang="0">
                    <a:pos x="T6" y="T7"/>
                  </a:cxn>
                  <a:cxn ang="0">
                    <a:pos x="T8" y="T9"/>
                  </a:cxn>
                  <a:cxn ang="0">
                    <a:pos x="T10" y="T11"/>
                  </a:cxn>
                </a:cxnLst>
                <a:rect l="0" t="0" r="r" b="b"/>
                <a:pathLst>
                  <a:path w="1950" h="97">
                    <a:moveTo>
                      <a:pt x="0" y="97"/>
                    </a:moveTo>
                    <a:lnTo>
                      <a:pt x="1950" y="97"/>
                    </a:lnTo>
                    <a:lnTo>
                      <a:pt x="1950" y="0"/>
                    </a:lnTo>
                    <a:lnTo>
                      <a:pt x="0" y="0"/>
                    </a:lnTo>
                    <a:lnTo>
                      <a:pt x="0" y="97"/>
                    </a:lnTo>
                    <a:lnTo>
                      <a:pt x="0" y="9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898" name="Freeform 108">
                <a:extLst>
                  <a:ext uri="{FF2B5EF4-FFF2-40B4-BE49-F238E27FC236}">
                    <a16:creationId xmlns:a16="http://schemas.microsoft.com/office/drawing/2014/main" id="{ED1A312D-F52F-4650-AB7D-C2B8F94E14B9}"/>
                  </a:ext>
                </a:extLst>
              </p:cNvPr>
              <p:cNvSpPr>
                <a:spLocks/>
              </p:cNvSpPr>
              <p:nvPr/>
            </p:nvSpPr>
            <p:spPr bwMode="auto">
              <a:xfrm>
                <a:off x="5081001" y="527033"/>
                <a:ext cx="398463" cy="150813"/>
              </a:xfrm>
              <a:custGeom>
                <a:avLst/>
                <a:gdLst>
                  <a:gd name="T0" fmla="*/ 0 w 501"/>
                  <a:gd name="T1" fmla="*/ 190 h 190"/>
                  <a:gd name="T2" fmla="*/ 501 w 501"/>
                  <a:gd name="T3" fmla="*/ 190 h 190"/>
                  <a:gd name="T4" fmla="*/ 501 w 501"/>
                  <a:gd name="T5" fmla="*/ 0 h 190"/>
                  <a:gd name="T6" fmla="*/ 0 w 501"/>
                  <a:gd name="T7" fmla="*/ 0 h 190"/>
                  <a:gd name="T8" fmla="*/ 0 w 501"/>
                  <a:gd name="T9" fmla="*/ 190 h 190"/>
                  <a:gd name="T10" fmla="*/ 0 w 501"/>
                  <a:gd name="T11" fmla="*/ 190 h 190"/>
                </a:gdLst>
                <a:ahLst/>
                <a:cxnLst>
                  <a:cxn ang="0">
                    <a:pos x="T0" y="T1"/>
                  </a:cxn>
                  <a:cxn ang="0">
                    <a:pos x="T2" y="T3"/>
                  </a:cxn>
                  <a:cxn ang="0">
                    <a:pos x="T4" y="T5"/>
                  </a:cxn>
                  <a:cxn ang="0">
                    <a:pos x="T6" y="T7"/>
                  </a:cxn>
                  <a:cxn ang="0">
                    <a:pos x="T8" y="T9"/>
                  </a:cxn>
                  <a:cxn ang="0">
                    <a:pos x="T10" y="T11"/>
                  </a:cxn>
                </a:cxnLst>
                <a:rect l="0" t="0" r="r" b="b"/>
                <a:pathLst>
                  <a:path w="501" h="190">
                    <a:moveTo>
                      <a:pt x="0" y="190"/>
                    </a:moveTo>
                    <a:lnTo>
                      <a:pt x="501" y="190"/>
                    </a:lnTo>
                    <a:lnTo>
                      <a:pt x="501" y="0"/>
                    </a:lnTo>
                    <a:lnTo>
                      <a:pt x="0" y="0"/>
                    </a:lnTo>
                    <a:lnTo>
                      <a:pt x="0" y="190"/>
                    </a:lnTo>
                    <a:lnTo>
                      <a:pt x="0" y="19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899" name="Freeform 109">
                <a:extLst>
                  <a:ext uri="{FF2B5EF4-FFF2-40B4-BE49-F238E27FC236}">
                    <a16:creationId xmlns:a16="http://schemas.microsoft.com/office/drawing/2014/main" id="{F1F5DDED-EA79-4122-A3AB-FF7539F132ED}"/>
                  </a:ext>
                </a:extLst>
              </p:cNvPr>
              <p:cNvSpPr>
                <a:spLocks/>
              </p:cNvSpPr>
              <p:nvPr/>
            </p:nvSpPr>
            <p:spPr bwMode="auto">
              <a:xfrm>
                <a:off x="4855576" y="544495"/>
                <a:ext cx="123825" cy="190500"/>
              </a:xfrm>
              <a:custGeom>
                <a:avLst/>
                <a:gdLst>
                  <a:gd name="T0" fmla="*/ 52 w 156"/>
                  <a:gd name="T1" fmla="*/ 239 h 239"/>
                  <a:gd name="T2" fmla="*/ 105 w 156"/>
                  <a:gd name="T3" fmla="*/ 239 h 239"/>
                  <a:gd name="T4" fmla="*/ 114 w 156"/>
                  <a:gd name="T5" fmla="*/ 237 h 239"/>
                  <a:gd name="T6" fmla="*/ 126 w 156"/>
                  <a:gd name="T7" fmla="*/ 234 h 239"/>
                  <a:gd name="T8" fmla="*/ 133 w 156"/>
                  <a:gd name="T9" fmla="*/ 228 h 239"/>
                  <a:gd name="T10" fmla="*/ 143 w 156"/>
                  <a:gd name="T11" fmla="*/ 222 h 239"/>
                  <a:gd name="T12" fmla="*/ 151 w 156"/>
                  <a:gd name="T13" fmla="*/ 207 h 239"/>
                  <a:gd name="T14" fmla="*/ 156 w 156"/>
                  <a:gd name="T15" fmla="*/ 188 h 239"/>
                  <a:gd name="T16" fmla="*/ 156 w 156"/>
                  <a:gd name="T17" fmla="*/ 49 h 239"/>
                  <a:gd name="T18" fmla="*/ 154 w 156"/>
                  <a:gd name="T19" fmla="*/ 38 h 239"/>
                  <a:gd name="T20" fmla="*/ 151 w 156"/>
                  <a:gd name="T21" fmla="*/ 26 h 239"/>
                  <a:gd name="T22" fmla="*/ 147 w 156"/>
                  <a:gd name="T23" fmla="*/ 17 h 239"/>
                  <a:gd name="T24" fmla="*/ 143 w 156"/>
                  <a:gd name="T25" fmla="*/ 11 h 239"/>
                  <a:gd name="T26" fmla="*/ 133 w 156"/>
                  <a:gd name="T27" fmla="*/ 7 h 239"/>
                  <a:gd name="T28" fmla="*/ 126 w 156"/>
                  <a:gd name="T29" fmla="*/ 4 h 239"/>
                  <a:gd name="T30" fmla="*/ 114 w 156"/>
                  <a:gd name="T31" fmla="*/ 0 h 239"/>
                  <a:gd name="T32" fmla="*/ 105 w 156"/>
                  <a:gd name="T33" fmla="*/ 0 h 239"/>
                  <a:gd name="T34" fmla="*/ 52 w 156"/>
                  <a:gd name="T35" fmla="*/ 0 h 239"/>
                  <a:gd name="T36" fmla="*/ 40 w 156"/>
                  <a:gd name="T37" fmla="*/ 0 h 239"/>
                  <a:gd name="T38" fmla="*/ 29 w 156"/>
                  <a:gd name="T39" fmla="*/ 4 h 239"/>
                  <a:gd name="T40" fmla="*/ 21 w 156"/>
                  <a:gd name="T41" fmla="*/ 7 h 239"/>
                  <a:gd name="T42" fmla="*/ 16 w 156"/>
                  <a:gd name="T43" fmla="*/ 11 h 239"/>
                  <a:gd name="T44" fmla="*/ 8 w 156"/>
                  <a:gd name="T45" fmla="*/ 17 h 239"/>
                  <a:gd name="T46" fmla="*/ 4 w 156"/>
                  <a:gd name="T47" fmla="*/ 26 h 239"/>
                  <a:gd name="T48" fmla="*/ 0 w 156"/>
                  <a:gd name="T49" fmla="*/ 38 h 239"/>
                  <a:gd name="T50" fmla="*/ 0 w 156"/>
                  <a:gd name="T51" fmla="*/ 49 h 239"/>
                  <a:gd name="T52" fmla="*/ 0 w 156"/>
                  <a:gd name="T53" fmla="*/ 188 h 239"/>
                  <a:gd name="T54" fmla="*/ 4 w 156"/>
                  <a:gd name="T55" fmla="*/ 207 h 239"/>
                  <a:gd name="T56" fmla="*/ 16 w 156"/>
                  <a:gd name="T57" fmla="*/ 222 h 239"/>
                  <a:gd name="T58" fmla="*/ 21 w 156"/>
                  <a:gd name="T59" fmla="*/ 228 h 239"/>
                  <a:gd name="T60" fmla="*/ 29 w 156"/>
                  <a:gd name="T61" fmla="*/ 234 h 239"/>
                  <a:gd name="T62" fmla="*/ 40 w 156"/>
                  <a:gd name="T63" fmla="*/ 237 h 239"/>
                  <a:gd name="T64" fmla="*/ 52 w 156"/>
                  <a:gd name="T65" fmla="*/ 239 h 239"/>
                  <a:gd name="T66" fmla="*/ 52 w 156"/>
                  <a:gd name="T67" fmla="*/ 239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56" h="239">
                    <a:moveTo>
                      <a:pt x="52" y="239"/>
                    </a:moveTo>
                    <a:lnTo>
                      <a:pt x="105" y="239"/>
                    </a:lnTo>
                    <a:lnTo>
                      <a:pt x="114" y="237"/>
                    </a:lnTo>
                    <a:lnTo>
                      <a:pt x="126" y="234"/>
                    </a:lnTo>
                    <a:lnTo>
                      <a:pt x="133" y="228"/>
                    </a:lnTo>
                    <a:lnTo>
                      <a:pt x="143" y="222"/>
                    </a:lnTo>
                    <a:lnTo>
                      <a:pt x="151" y="207"/>
                    </a:lnTo>
                    <a:lnTo>
                      <a:pt x="156" y="188"/>
                    </a:lnTo>
                    <a:lnTo>
                      <a:pt x="156" y="49"/>
                    </a:lnTo>
                    <a:lnTo>
                      <a:pt x="154" y="38"/>
                    </a:lnTo>
                    <a:lnTo>
                      <a:pt x="151" y="26"/>
                    </a:lnTo>
                    <a:lnTo>
                      <a:pt x="147" y="17"/>
                    </a:lnTo>
                    <a:lnTo>
                      <a:pt x="143" y="11"/>
                    </a:lnTo>
                    <a:lnTo>
                      <a:pt x="133" y="7"/>
                    </a:lnTo>
                    <a:lnTo>
                      <a:pt x="126" y="4"/>
                    </a:lnTo>
                    <a:lnTo>
                      <a:pt x="114" y="0"/>
                    </a:lnTo>
                    <a:lnTo>
                      <a:pt x="105" y="0"/>
                    </a:lnTo>
                    <a:lnTo>
                      <a:pt x="52" y="0"/>
                    </a:lnTo>
                    <a:lnTo>
                      <a:pt x="40" y="0"/>
                    </a:lnTo>
                    <a:lnTo>
                      <a:pt x="29" y="4"/>
                    </a:lnTo>
                    <a:lnTo>
                      <a:pt x="21" y="7"/>
                    </a:lnTo>
                    <a:lnTo>
                      <a:pt x="16" y="11"/>
                    </a:lnTo>
                    <a:lnTo>
                      <a:pt x="8" y="17"/>
                    </a:lnTo>
                    <a:lnTo>
                      <a:pt x="4" y="26"/>
                    </a:lnTo>
                    <a:lnTo>
                      <a:pt x="0" y="38"/>
                    </a:lnTo>
                    <a:lnTo>
                      <a:pt x="0" y="49"/>
                    </a:lnTo>
                    <a:lnTo>
                      <a:pt x="0" y="188"/>
                    </a:lnTo>
                    <a:lnTo>
                      <a:pt x="4" y="207"/>
                    </a:lnTo>
                    <a:lnTo>
                      <a:pt x="16" y="222"/>
                    </a:lnTo>
                    <a:lnTo>
                      <a:pt x="21" y="228"/>
                    </a:lnTo>
                    <a:lnTo>
                      <a:pt x="29" y="234"/>
                    </a:lnTo>
                    <a:lnTo>
                      <a:pt x="40" y="237"/>
                    </a:lnTo>
                    <a:lnTo>
                      <a:pt x="52" y="239"/>
                    </a:lnTo>
                    <a:lnTo>
                      <a:pt x="52" y="23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00" name="Freeform 110">
                <a:extLst>
                  <a:ext uri="{FF2B5EF4-FFF2-40B4-BE49-F238E27FC236}">
                    <a16:creationId xmlns:a16="http://schemas.microsoft.com/office/drawing/2014/main" id="{FFE39B7B-0579-4F06-8C33-531FE02804F9}"/>
                  </a:ext>
                </a:extLst>
              </p:cNvPr>
              <p:cNvSpPr>
                <a:spLocks/>
              </p:cNvSpPr>
              <p:nvPr/>
            </p:nvSpPr>
            <p:spPr bwMode="auto">
              <a:xfrm>
                <a:off x="4717463" y="574658"/>
                <a:ext cx="60325" cy="152400"/>
              </a:xfrm>
              <a:custGeom>
                <a:avLst/>
                <a:gdLst>
                  <a:gd name="T0" fmla="*/ 0 w 76"/>
                  <a:gd name="T1" fmla="*/ 192 h 192"/>
                  <a:gd name="T2" fmla="*/ 76 w 76"/>
                  <a:gd name="T3" fmla="*/ 192 h 192"/>
                  <a:gd name="T4" fmla="*/ 76 w 76"/>
                  <a:gd name="T5" fmla="*/ 0 h 192"/>
                  <a:gd name="T6" fmla="*/ 0 w 76"/>
                  <a:gd name="T7" fmla="*/ 0 h 192"/>
                  <a:gd name="T8" fmla="*/ 0 w 76"/>
                  <a:gd name="T9" fmla="*/ 192 h 192"/>
                  <a:gd name="T10" fmla="*/ 0 w 76"/>
                  <a:gd name="T11" fmla="*/ 192 h 192"/>
                </a:gdLst>
                <a:ahLst/>
                <a:cxnLst>
                  <a:cxn ang="0">
                    <a:pos x="T0" y="T1"/>
                  </a:cxn>
                  <a:cxn ang="0">
                    <a:pos x="T2" y="T3"/>
                  </a:cxn>
                  <a:cxn ang="0">
                    <a:pos x="T4" y="T5"/>
                  </a:cxn>
                  <a:cxn ang="0">
                    <a:pos x="T6" y="T7"/>
                  </a:cxn>
                  <a:cxn ang="0">
                    <a:pos x="T8" y="T9"/>
                  </a:cxn>
                  <a:cxn ang="0">
                    <a:pos x="T10" y="T11"/>
                  </a:cxn>
                </a:cxnLst>
                <a:rect l="0" t="0" r="r" b="b"/>
                <a:pathLst>
                  <a:path w="76" h="192">
                    <a:moveTo>
                      <a:pt x="0" y="192"/>
                    </a:moveTo>
                    <a:lnTo>
                      <a:pt x="76" y="192"/>
                    </a:lnTo>
                    <a:lnTo>
                      <a:pt x="76" y="0"/>
                    </a:lnTo>
                    <a:lnTo>
                      <a:pt x="0" y="0"/>
                    </a:lnTo>
                    <a:lnTo>
                      <a:pt x="0" y="192"/>
                    </a:lnTo>
                    <a:lnTo>
                      <a:pt x="0" y="19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01" name="Freeform 111">
                <a:extLst>
                  <a:ext uri="{FF2B5EF4-FFF2-40B4-BE49-F238E27FC236}">
                    <a16:creationId xmlns:a16="http://schemas.microsoft.com/office/drawing/2014/main" id="{9ED4F86A-46F2-4630-A4D3-12B70CFAFA00}"/>
                  </a:ext>
                </a:extLst>
              </p:cNvPr>
              <p:cNvSpPr>
                <a:spLocks/>
              </p:cNvSpPr>
              <p:nvPr/>
            </p:nvSpPr>
            <p:spPr bwMode="auto">
              <a:xfrm>
                <a:off x="4145963" y="403208"/>
                <a:ext cx="139700" cy="300038"/>
              </a:xfrm>
              <a:custGeom>
                <a:avLst/>
                <a:gdLst>
                  <a:gd name="T0" fmla="*/ 0 w 177"/>
                  <a:gd name="T1" fmla="*/ 378 h 378"/>
                  <a:gd name="T2" fmla="*/ 177 w 177"/>
                  <a:gd name="T3" fmla="*/ 378 h 378"/>
                  <a:gd name="T4" fmla="*/ 177 w 177"/>
                  <a:gd name="T5" fmla="*/ 0 h 378"/>
                  <a:gd name="T6" fmla="*/ 0 w 177"/>
                  <a:gd name="T7" fmla="*/ 0 h 378"/>
                  <a:gd name="T8" fmla="*/ 0 w 177"/>
                  <a:gd name="T9" fmla="*/ 378 h 378"/>
                  <a:gd name="T10" fmla="*/ 0 w 177"/>
                  <a:gd name="T11" fmla="*/ 378 h 378"/>
                </a:gdLst>
                <a:ahLst/>
                <a:cxnLst>
                  <a:cxn ang="0">
                    <a:pos x="T0" y="T1"/>
                  </a:cxn>
                  <a:cxn ang="0">
                    <a:pos x="T2" y="T3"/>
                  </a:cxn>
                  <a:cxn ang="0">
                    <a:pos x="T4" y="T5"/>
                  </a:cxn>
                  <a:cxn ang="0">
                    <a:pos x="T6" y="T7"/>
                  </a:cxn>
                  <a:cxn ang="0">
                    <a:pos x="T8" y="T9"/>
                  </a:cxn>
                  <a:cxn ang="0">
                    <a:pos x="T10" y="T11"/>
                  </a:cxn>
                </a:cxnLst>
                <a:rect l="0" t="0" r="r" b="b"/>
                <a:pathLst>
                  <a:path w="177" h="378">
                    <a:moveTo>
                      <a:pt x="0" y="378"/>
                    </a:moveTo>
                    <a:lnTo>
                      <a:pt x="177" y="378"/>
                    </a:lnTo>
                    <a:lnTo>
                      <a:pt x="177" y="0"/>
                    </a:lnTo>
                    <a:lnTo>
                      <a:pt x="0" y="0"/>
                    </a:lnTo>
                    <a:lnTo>
                      <a:pt x="0" y="378"/>
                    </a:lnTo>
                    <a:lnTo>
                      <a:pt x="0" y="37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02" name="Freeform 112">
                <a:extLst>
                  <a:ext uri="{FF2B5EF4-FFF2-40B4-BE49-F238E27FC236}">
                    <a16:creationId xmlns:a16="http://schemas.microsoft.com/office/drawing/2014/main" id="{8BF9C7B3-282E-45A8-B7CD-41CCF8098549}"/>
                  </a:ext>
                </a:extLst>
              </p:cNvPr>
              <p:cNvSpPr>
                <a:spLocks/>
              </p:cNvSpPr>
              <p:nvPr/>
            </p:nvSpPr>
            <p:spPr bwMode="auto">
              <a:xfrm>
                <a:off x="4176126" y="-228617"/>
                <a:ext cx="825500" cy="587375"/>
              </a:xfrm>
              <a:custGeom>
                <a:avLst/>
                <a:gdLst>
                  <a:gd name="T0" fmla="*/ 21 w 1040"/>
                  <a:gd name="T1" fmla="*/ 665 h 739"/>
                  <a:gd name="T2" fmla="*/ 61 w 1040"/>
                  <a:gd name="T3" fmla="*/ 638 h 739"/>
                  <a:gd name="T4" fmla="*/ 91 w 1040"/>
                  <a:gd name="T5" fmla="*/ 604 h 739"/>
                  <a:gd name="T6" fmla="*/ 91 w 1040"/>
                  <a:gd name="T7" fmla="*/ 562 h 739"/>
                  <a:gd name="T8" fmla="*/ 91 w 1040"/>
                  <a:gd name="T9" fmla="*/ 515 h 739"/>
                  <a:gd name="T10" fmla="*/ 122 w 1040"/>
                  <a:gd name="T11" fmla="*/ 467 h 739"/>
                  <a:gd name="T12" fmla="*/ 175 w 1040"/>
                  <a:gd name="T13" fmla="*/ 442 h 739"/>
                  <a:gd name="T14" fmla="*/ 222 w 1040"/>
                  <a:gd name="T15" fmla="*/ 442 h 739"/>
                  <a:gd name="T16" fmla="*/ 219 w 1040"/>
                  <a:gd name="T17" fmla="*/ 429 h 739"/>
                  <a:gd name="T18" fmla="*/ 205 w 1040"/>
                  <a:gd name="T19" fmla="*/ 374 h 739"/>
                  <a:gd name="T20" fmla="*/ 201 w 1040"/>
                  <a:gd name="T21" fmla="*/ 326 h 739"/>
                  <a:gd name="T22" fmla="*/ 205 w 1040"/>
                  <a:gd name="T23" fmla="*/ 285 h 739"/>
                  <a:gd name="T24" fmla="*/ 219 w 1040"/>
                  <a:gd name="T25" fmla="*/ 243 h 739"/>
                  <a:gd name="T26" fmla="*/ 241 w 1040"/>
                  <a:gd name="T27" fmla="*/ 205 h 739"/>
                  <a:gd name="T28" fmla="*/ 276 w 1040"/>
                  <a:gd name="T29" fmla="*/ 169 h 739"/>
                  <a:gd name="T30" fmla="*/ 314 w 1040"/>
                  <a:gd name="T31" fmla="*/ 142 h 739"/>
                  <a:gd name="T32" fmla="*/ 352 w 1040"/>
                  <a:gd name="T33" fmla="*/ 127 h 739"/>
                  <a:gd name="T34" fmla="*/ 412 w 1040"/>
                  <a:gd name="T35" fmla="*/ 114 h 739"/>
                  <a:gd name="T36" fmla="*/ 466 w 1040"/>
                  <a:gd name="T37" fmla="*/ 114 h 739"/>
                  <a:gd name="T38" fmla="*/ 490 w 1040"/>
                  <a:gd name="T39" fmla="*/ 85 h 739"/>
                  <a:gd name="T40" fmla="*/ 528 w 1040"/>
                  <a:gd name="T41" fmla="*/ 45 h 739"/>
                  <a:gd name="T42" fmla="*/ 585 w 1040"/>
                  <a:gd name="T43" fmla="*/ 7 h 739"/>
                  <a:gd name="T44" fmla="*/ 629 w 1040"/>
                  <a:gd name="T45" fmla="*/ 0 h 739"/>
                  <a:gd name="T46" fmla="*/ 688 w 1040"/>
                  <a:gd name="T47" fmla="*/ 11 h 739"/>
                  <a:gd name="T48" fmla="*/ 732 w 1040"/>
                  <a:gd name="T49" fmla="*/ 49 h 739"/>
                  <a:gd name="T50" fmla="*/ 755 w 1040"/>
                  <a:gd name="T51" fmla="*/ 89 h 739"/>
                  <a:gd name="T52" fmla="*/ 766 w 1040"/>
                  <a:gd name="T53" fmla="*/ 114 h 739"/>
                  <a:gd name="T54" fmla="*/ 806 w 1040"/>
                  <a:gd name="T55" fmla="*/ 98 h 739"/>
                  <a:gd name="T56" fmla="*/ 848 w 1040"/>
                  <a:gd name="T57" fmla="*/ 96 h 739"/>
                  <a:gd name="T58" fmla="*/ 893 w 1040"/>
                  <a:gd name="T59" fmla="*/ 96 h 739"/>
                  <a:gd name="T60" fmla="*/ 939 w 1040"/>
                  <a:gd name="T61" fmla="*/ 112 h 739"/>
                  <a:gd name="T62" fmla="*/ 981 w 1040"/>
                  <a:gd name="T63" fmla="*/ 144 h 739"/>
                  <a:gd name="T64" fmla="*/ 1015 w 1040"/>
                  <a:gd name="T65" fmla="*/ 199 h 739"/>
                  <a:gd name="T66" fmla="*/ 1030 w 1040"/>
                  <a:gd name="T67" fmla="*/ 249 h 739"/>
                  <a:gd name="T68" fmla="*/ 1038 w 1040"/>
                  <a:gd name="T69" fmla="*/ 290 h 739"/>
                  <a:gd name="T70" fmla="*/ 1038 w 1040"/>
                  <a:gd name="T71" fmla="*/ 353 h 739"/>
                  <a:gd name="T72" fmla="*/ 1025 w 1040"/>
                  <a:gd name="T73" fmla="*/ 412 h 739"/>
                  <a:gd name="T74" fmla="*/ 998 w 1040"/>
                  <a:gd name="T75" fmla="*/ 454 h 739"/>
                  <a:gd name="T76" fmla="*/ 968 w 1040"/>
                  <a:gd name="T77" fmla="*/ 482 h 739"/>
                  <a:gd name="T78" fmla="*/ 922 w 1040"/>
                  <a:gd name="T79" fmla="*/ 505 h 739"/>
                  <a:gd name="T80" fmla="*/ 859 w 1040"/>
                  <a:gd name="T81" fmla="*/ 515 h 739"/>
                  <a:gd name="T82" fmla="*/ 817 w 1040"/>
                  <a:gd name="T83" fmla="*/ 503 h 739"/>
                  <a:gd name="T84" fmla="*/ 781 w 1040"/>
                  <a:gd name="T85" fmla="*/ 482 h 739"/>
                  <a:gd name="T86" fmla="*/ 739 w 1040"/>
                  <a:gd name="T87" fmla="*/ 454 h 739"/>
                  <a:gd name="T88" fmla="*/ 728 w 1040"/>
                  <a:gd name="T89" fmla="*/ 479 h 739"/>
                  <a:gd name="T90" fmla="*/ 709 w 1040"/>
                  <a:gd name="T91" fmla="*/ 528 h 739"/>
                  <a:gd name="T92" fmla="*/ 675 w 1040"/>
                  <a:gd name="T93" fmla="*/ 577 h 739"/>
                  <a:gd name="T94" fmla="*/ 625 w 1040"/>
                  <a:gd name="T95" fmla="*/ 608 h 739"/>
                  <a:gd name="T96" fmla="*/ 572 w 1040"/>
                  <a:gd name="T97" fmla="*/ 625 h 739"/>
                  <a:gd name="T98" fmla="*/ 523 w 1040"/>
                  <a:gd name="T99" fmla="*/ 638 h 739"/>
                  <a:gd name="T100" fmla="*/ 500 w 1040"/>
                  <a:gd name="T101" fmla="*/ 644 h 739"/>
                  <a:gd name="T102" fmla="*/ 470 w 1040"/>
                  <a:gd name="T103" fmla="*/ 691 h 739"/>
                  <a:gd name="T104" fmla="*/ 431 w 1040"/>
                  <a:gd name="T105" fmla="*/ 724 h 739"/>
                  <a:gd name="T106" fmla="*/ 367 w 1040"/>
                  <a:gd name="T107" fmla="*/ 739 h 739"/>
                  <a:gd name="T108" fmla="*/ 304 w 1040"/>
                  <a:gd name="T109" fmla="*/ 730 h 739"/>
                  <a:gd name="T110" fmla="*/ 262 w 1040"/>
                  <a:gd name="T111" fmla="*/ 709 h 739"/>
                  <a:gd name="T112" fmla="*/ 238 w 1040"/>
                  <a:gd name="T113" fmla="*/ 684 h 739"/>
                  <a:gd name="T114" fmla="*/ 215 w 1040"/>
                  <a:gd name="T115" fmla="*/ 697 h 739"/>
                  <a:gd name="T116" fmla="*/ 169 w 1040"/>
                  <a:gd name="T117" fmla="*/ 720 h 739"/>
                  <a:gd name="T118" fmla="*/ 120 w 1040"/>
                  <a:gd name="T119" fmla="*/ 730 h 739"/>
                  <a:gd name="T120" fmla="*/ 67 w 1040"/>
                  <a:gd name="T121" fmla="*/ 720 h 739"/>
                  <a:gd name="T122" fmla="*/ 30 w 1040"/>
                  <a:gd name="T123" fmla="*/ 709 h 739"/>
                  <a:gd name="T124" fmla="*/ 0 w 1040"/>
                  <a:gd name="T125" fmla="*/ 691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0" h="739">
                    <a:moveTo>
                      <a:pt x="0" y="691"/>
                    </a:moveTo>
                    <a:lnTo>
                      <a:pt x="4" y="682"/>
                    </a:lnTo>
                    <a:lnTo>
                      <a:pt x="15" y="672"/>
                    </a:lnTo>
                    <a:lnTo>
                      <a:pt x="21" y="665"/>
                    </a:lnTo>
                    <a:lnTo>
                      <a:pt x="32" y="659"/>
                    </a:lnTo>
                    <a:lnTo>
                      <a:pt x="42" y="652"/>
                    </a:lnTo>
                    <a:lnTo>
                      <a:pt x="51" y="648"/>
                    </a:lnTo>
                    <a:lnTo>
                      <a:pt x="61" y="638"/>
                    </a:lnTo>
                    <a:lnTo>
                      <a:pt x="70" y="629"/>
                    </a:lnTo>
                    <a:lnTo>
                      <a:pt x="78" y="619"/>
                    </a:lnTo>
                    <a:lnTo>
                      <a:pt x="87" y="612"/>
                    </a:lnTo>
                    <a:lnTo>
                      <a:pt x="91" y="604"/>
                    </a:lnTo>
                    <a:lnTo>
                      <a:pt x="95" y="595"/>
                    </a:lnTo>
                    <a:lnTo>
                      <a:pt x="95" y="583"/>
                    </a:lnTo>
                    <a:lnTo>
                      <a:pt x="95" y="574"/>
                    </a:lnTo>
                    <a:lnTo>
                      <a:pt x="91" y="562"/>
                    </a:lnTo>
                    <a:lnTo>
                      <a:pt x="89" y="551"/>
                    </a:lnTo>
                    <a:lnTo>
                      <a:pt x="89" y="541"/>
                    </a:lnTo>
                    <a:lnTo>
                      <a:pt x="89" y="532"/>
                    </a:lnTo>
                    <a:lnTo>
                      <a:pt x="91" y="515"/>
                    </a:lnTo>
                    <a:lnTo>
                      <a:pt x="95" y="501"/>
                    </a:lnTo>
                    <a:lnTo>
                      <a:pt x="101" y="486"/>
                    </a:lnTo>
                    <a:lnTo>
                      <a:pt x="110" y="477"/>
                    </a:lnTo>
                    <a:lnTo>
                      <a:pt x="122" y="467"/>
                    </a:lnTo>
                    <a:lnTo>
                      <a:pt x="135" y="460"/>
                    </a:lnTo>
                    <a:lnTo>
                      <a:pt x="144" y="452"/>
                    </a:lnTo>
                    <a:lnTo>
                      <a:pt x="162" y="446"/>
                    </a:lnTo>
                    <a:lnTo>
                      <a:pt x="175" y="442"/>
                    </a:lnTo>
                    <a:lnTo>
                      <a:pt x="192" y="442"/>
                    </a:lnTo>
                    <a:lnTo>
                      <a:pt x="203" y="442"/>
                    </a:lnTo>
                    <a:lnTo>
                      <a:pt x="217" y="442"/>
                    </a:lnTo>
                    <a:lnTo>
                      <a:pt x="222" y="442"/>
                    </a:lnTo>
                    <a:lnTo>
                      <a:pt x="226" y="444"/>
                    </a:lnTo>
                    <a:lnTo>
                      <a:pt x="224" y="441"/>
                    </a:lnTo>
                    <a:lnTo>
                      <a:pt x="222" y="437"/>
                    </a:lnTo>
                    <a:lnTo>
                      <a:pt x="219" y="429"/>
                    </a:lnTo>
                    <a:lnTo>
                      <a:pt x="219" y="420"/>
                    </a:lnTo>
                    <a:lnTo>
                      <a:pt x="213" y="406"/>
                    </a:lnTo>
                    <a:lnTo>
                      <a:pt x="209" y="393"/>
                    </a:lnTo>
                    <a:lnTo>
                      <a:pt x="205" y="374"/>
                    </a:lnTo>
                    <a:lnTo>
                      <a:pt x="205" y="357"/>
                    </a:lnTo>
                    <a:lnTo>
                      <a:pt x="203" y="347"/>
                    </a:lnTo>
                    <a:lnTo>
                      <a:pt x="201" y="338"/>
                    </a:lnTo>
                    <a:lnTo>
                      <a:pt x="201" y="326"/>
                    </a:lnTo>
                    <a:lnTo>
                      <a:pt x="201" y="317"/>
                    </a:lnTo>
                    <a:lnTo>
                      <a:pt x="201" y="307"/>
                    </a:lnTo>
                    <a:lnTo>
                      <a:pt x="203" y="296"/>
                    </a:lnTo>
                    <a:lnTo>
                      <a:pt x="205" y="285"/>
                    </a:lnTo>
                    <a:lnTo>
                      <a:pt x="209" y="275"/>
                    </a:lnTo>
                    <a:lnTo>
                      <a:pt x="211" y="264"/>
                    </a:lnTo>
                    <a:lnTo>
                      <a:pt x="215" y="254"/>
                    </a:lnTo>
                    <a:lnTo>
                      <a:pt x="219" y="243"/>
                    </a:lnTo>
                    <a:lnTo>
                      <a:pt x="222" y="233"/>
                    </a:lnTo>
                    <a:lnTo>
                      <a:pt x="228" y="222"/>
                    </a:lnTo>
                    <a:lnTo>
                      <a:pt x="234" y="214"/>
                    </a:lnTo>
                    <a:lnTo>
                      <a:pt x="241" y="205"/>
                    </a:lnTo>
                    <a:lnTo>
                      <a:pt x="253" y="195"/>
                    </a:lnTo>
                    <a:lnTo>
                      <a:pt x="259" y="184"/>
                    </a:lnTo>
                    <a:lnTo>
                      <a:pt x="268" y="178"/>
                    </a:lnTo>
                    <a:lnTo>
                      <a:pt x="276" y="169"/>
                    </a:lnTo>
                    <a:lnTo>
                      <a:pt x="287" y="161"/>
                    </a:lnTo>
                    <a:lnTo>
                      <a:pt x="297" y="153"/>
                    </a:lnTo>
                    <a:lnTo>
                      <a:pt x="304" y="148"/>
                    </a:lnTo>
                    <a:lnTo>
                      <a:pt x="314" y="142"/>
                    </a:lnTo>
                    <a:lnTo>
                      <a:pt x="325" y="138"/>
                    </a:lnTo>
                    <a:lnTo>
                      <a:pt x="335" y="134"/>
                    </a:lnTo>
                    <a:lnTo>
                      <a:pt x="342" y="131"/>
                    </a:lnTo>
                    <a:lnTo>
                      <a:pt x="352" y="127"/>
                    </a:lnTo>
                    <a:lnTo>
                      <a:pt x="361" y="125"/>
                    </a:lnTo>
                    <a:lnTo>
                      <a:pt x="380" y="119"/>
                    </a:lnTo>
                    <a:lnTo>
                      <a:pt x="397" y="117"/>
                    </a:lnTo>
                    <a:lnTo>
                      <a:pt x="412" y="114"/>
                    </a:lnTo>
                    <a:lnTo>
                      <a:pt x="426" y="112"/>
                    </a:lnTo>
                    <a:lnTo>
                      <a:pt x="439" y="112"/>
                    </a:lnTo>
                    <a:lnTo>
                      <a:pt x="452" y="114"/>
                    </a:lnTo>
                    <a:lnTo>
                      <a:pt x="466" y="114"/>
                    </a:lnTo>
                    <a:lnTo>
                      <a:pt x="473" y="115"/>
                    </a:lnTo>
                    <a:lnTo>
                      <a:pt x="475" y="108"/>
                    </a:lnTo>
                    <a:lnTo>
                      <a:pt x="485" y="96"/>
                    </a:lnTo>
                    <a:lnTo>
                      <a:pt x="490" y="85"/>
                    </a:lnTo>
                    <a:lnTo>
                      <a:pt x="498" y="76"/>
                    </a:lnTo>
                    <a:lnTo>
                      <a:pt x="506" y="64"/>
                    </a:lnTo>
                    <a:lnTo>
                      <a:pt x="517" y="55"/>
                    </a:lnTo>
                    <a:lnTo>
                      <a:pt x="528" y="45"/>
                    </a:lnTo>
                    <a:lnTo>
                      <a:pt x="542" y="34"/>
                    </a:lnTo>
                    <a:lnTo>
                      <a:pt x="553" y="22"/>
                    </a:lnTo>
                    <a:lnTo>
                      <a:pt x="570" y="15"/>
                    </a:lnTo>
                    <a:lnTo>
                      <a:pt x="585" y="7"/>
                    </a:lnTo>
                    <a:lnTo>
                      <a:pt x="603" y="3"/>
                    </a:lnTo>
                    <a:lnTo>
                      <a:pt x="610" y="1"/>
                    </a:lnTo>
                    <a:lnTo>
                      <a:pt x="620" y="0"/>
                    </a:lnTo>
                    <a:lnTo>
                      <a:pt x="629" y="0"/>
                    </a:lnTo>
                    <a:lnTo>
                      <a:pt x="641" y="1"/>
                    </a:lnTo>
                    <a:lnTo>
                      <a:pt x="658" y="1"/>
                    </a:lnTo>
                    <a:lnTo>
                      <a:pt x="673" y="5"/>
                    </a:lnTo>
                    <a:lnTo>
                      <a:pt x="688" y="11"/>
                    </a:lnTo>
                    <a:lnTo>
                      <a:pt x="703" y="19"/>
                    </a:lnTo>
                    <a:lnTo>
                      <a:pt x="713" y="26"/>
                    </a:lnTo>
                    <a:lnTo>
                      <a:pt x="724" y="38"/>
                    </a:lnTo>
                    <a:lnTo>
                      <a:pt x="732" y="49"/>
                    </a:lnTo>
                    <a:lnTo>
                      <a:pt x="741" y="58"/>
                    </a:lnTo>
                    <a:lnTo>
                      <a:pt x="747" y="68"/>
                    </a:lnTo>
                    <a:lnTo>
                      <a:pt x="753" y="79"/>
                    </a:lnTo>
                    <a:lnTo>
                      <a:pt x="755" y="89"/>
                    </a:lnTo>
                    <a:lnTo>
                      <a:pt x="758" y="96"/>
                    </a:lnTo>
                    <a:lnTo>
                      <a:pt x="762" y="110"/>
                    </a:lnTo>
                    <a:lnTo>
                      <a:pt x="764" y="115"/>
                    </a:lnTo>
                    <a:lnTo>
                      <a:pt x="766" y="114"/>
                    </a:lnTo>
                    <a:lnTo>
                      <a:pt x="774" y="110"/>
                    </a:lnTo>
                    <a:lnTo>
                      <a:pt x="783" y="106"/>
                    </a:lnTo>
                    <a:lnTo>
                      <a:pt x="798" y="102"/>
                    </a:lnTo>
                    <a:lnTo>
                      <a:pt x="806" y="98"/>
                    </a:lnTo>
                    <a:lnTo>
                      <a:pt x="815" y="98"/>
                    </a:lnTo>
                    <a:lnTo>
                      <a:pt x="827" y="96"/>
                    </a:lnTo>
                    <a:lnTo>
                      <a:pt x="836" y="96"/>
                    </a:lnTo>
                    <a:lnTo>
                      <a:pt x="848" y="96"/>
                    </a:lnTo>
                    <a:lnTo>
                      <a:pt x="859" y="96"/>
                    </a:lnTo>
                    <a:lnTo>
                      <a:pt x="871" y="96"/>
                    </a:lnTo>
                    <a:lnTo>
                      <a:pt x="882" y="96"/>
                    </a:lnTo>
                    <a:lnTo>
                      <a:pt x="893" y="96"/>
                    </a:lnTo>
                    <a:lnTo>
                      <a:pt x="905" y="100"/>
                    </a:lnTo>
                    <a:lnTo>
                      <a:pt x="916" y="102"/>
                    </a:lnTo>
                    <a:lnTo>
                      <a:pt x="928" y="108"/>
                    </a:lnTo>
                    <a:lnTo>
                      <a:pt x="939" y="112"/>
                    </a:lnTo>
                    <a:lnTo>
                      <a:pt x="950" y="119"/>
                    </a:lnTo>
                    <a:lnTo>
                      <a:pt x="960" y="125"/>
                    </a:lnTo>
                    <a:lnTo>
                      <a:pt x="971" y="136"/>
                    </a:lnTo>
                    <a:lnTo>
                      <a:pt x="981" y="144"/>
                    </a:lnTo>
                    <a:lnTo>
                      <a:pt x="990" y="157"/>
                    </a:lnTo>
                    <a:lnTo>
                      <a:pt x="998" y="169"/>
                    </a:lnTo>
                    <a:lnTo>
                      <a:pt x="1007" y="184"/>
                    </a:lnTo>
                    <a:lnTo>
                      <a:pt x="1015" y="199"/>
                    </a:lnTo>
                    <a:lnTo>
                      <a:pt x="1023" y="218"/>
                    </a:lnTo>
                    <a:lnTo>
                      <a:pt x="1025" y="226"/>
                    </a:lnTo>
                    <a:lnTo>
                      <a:pt x="1028" y="237"/>
                    </a:lnTo>
                    <a:lnTo>
                      <a:pt x="1030" y="249"/>
                    </a:lnTo>
                    <a:lnTo>
                      <a:pt x="1034" y="262"/>
                    </a:lnTo>
                    <a:lnTo>
                      <a:pt x="1034" y="269"/>
                    </a:lnTo>
                    <a:lnTo>
                      <a:pt x="1036" y="281"/>
                    </a:lnTo>
                    <a:lnTo>
                      <a:pt x="1038" y="290"/>
                    </a:lnTo>
                    <a:lnTo>
                      <a:pt x="1040" y="302"/>
                    </a:lnTo>
                    <a:lnTo>
                      <a:pt x="1040" y="319"/>
                    </a:lnTo>
                    <a:lnTo>
                      <a:pt x="1040" y="340"/>
                    </a:lnTo>
                    <a:lnTo>
                      <a:pt x="1038" y="353"/>
                    </a:lnTo>
                    <a:lnTo>
                      <a:pt x="1036" y="370"/>
                    </a:lnTo>
                    <a:lnTo>
                      <a:pt x="1032" y="385"/>
                    </a:lnTo>
                    <a:lnTo>
                      <a:pt x="1030" y="401"/>
                    </a:lnTo>
                    <a:lnTo>
                      <a:pt x="1025" y="412"/>
                    </a:lnTo>
                    <a:lnTo>
                      <a:pt x="1019" y="423"/>
                    </a:lnTo>
                    <a:lnTo>
                      <a:pt x="1011" y="433"/>
                    </a:lnTo>
                    <a:lnTo>
                      <a:pt x="1006" y="444"/>
                    </a:lnTo>
                    <a:lnTo>
                      <a:pt x="998" y="454"/>
                    </a:lnTo>
                    <a:lnTo>
                      <a:pt x="992" y="463"/>
                    </a:lnTo>
                    <a:lnTo>
                      <a:pt x="985" y="471"/>
                    </a:lnTo>
                    <a:lnTo>
                      <a:pt x="977" y="479"/>
                    </a:lnTo>
                    <a:lnTo>
                      <a:pt x="968" y="482"/>
                    </a:lnTo>
                    <a:lnTo>
                      <a:pt x="958" y="488"/>
                    </a:lnTo>
                    <a:lnTo>
                      <a:pt x="950" y="494"/>
                    </a:lnTo>
                    <a:lnTo>
                      <a:pt x="941" y="499"/>
                    </a:lnTo>
                    <a:lnTo>
                      <a:pt x="922" y="505"/>
                    </a:lnTo>
                    <a:lnTo>
                      <a:pt x="907" y="511"/>
                    </a:lnTo>
                    <a:lnTo>
                      <a:pt x="890" y="513"/>
                    </a:lnTo>
                    <a:lnTo>
                      <a:pt x="874" y="515"/>
                    </a:lnTo>
                    <a:lnTo>
                      <a:pt x="859" y="515"/>
                    </a:lnTo>
                    <a:lnTo>
                      <a:pt x="850" y="515"/>
                    </a:lnTo>
                    <a:lnTo>
                      <a:pt x="838" y="511"/>
                    </a:lnTo>
                    <a:lnTo>
                      <a:pt x="829" y="507"/>
                    </a:lnTo>
                    <a:lnTo>
                      <a:pt x="817" y="503"/>
                    </a:lnTo>
                    <a:lnTo>
                      <a:pt x="808" y="499"/>
                    </a:lnTo>
                    <a:lnTo>
                      <a:pt x="796" y="494"/>
                    </a:lnTo>
                    <a:lnTo>
                      <a:pt x="791" y="488"/>
                    </a:lnTo>
                    <a:lnTo>
                      <a:pt x="781" y="482"/>
                    </a:lnTo>
                    <a:lnTo>
                      <a:pt x="774" y="479"/>
                    </a:lnTo>
                    <a:lnTo>
                      <a:pt x="757" y="469"/>
                    </a:lnTo>
                    <a:lnTo>
                      <a:pt x="747" y="461"/>
                    </a:lnTo>
                    <a:lnTo>
                      <a:pt x="739" y="454"/>
                    </a:lnTo>
                    <a:lnTo>
                      <a:pt x="738" y="454"/>
                    </a:lnTo>
                    <a:lnTo>
                      <a:pt x="736" y="458"/>
                    </a:lnTo>
                    <a:lnTo>
                      <a:pt x="732" y="473"/>
                    </a:lnTo>
                    <a:lnTo>
                      <a:pt x="728" y="479"/>
                    </a:lnTo>
                    <a:lnTo>
                      <a:pt x="724" y="492"/>
                    </a:lnTo>
                    <a:lnTo>
                      <a:pt x="719" y="503"/>
                    </a:lnTo>
                    <a:lnTo>
                      <a:pt x="715" y="518"/>
                    </a:lnTo>
                    <a:lnTo>
                      <a:pt x="709" y="528"/>
                    </a:lnTo>
                    <a:lnTo>
                      <a:pt x="701" y="541"/>
                    </a:lnTo>
                    <a:lnTo>
                      <a:pt x="694" y="555"/>
                    </a:lnTo>
                    <a:lnTo>
                      <a:pt x="686" y="566"/>
                    </a:lnTo>
                    <a:lnTo>
                      <a:pt x="675" y="577"/>
                    </a:lnTo>
                    <a:lnTo>
                      <a:pt x="665" y="589"/>
                    </a:lnTo>
                    <a:lnTo>
                      <a:pt x="652" y="596"/>
                    </a:lnTo>
                    <a:lnTo>
                      <a:pt x="641" y="604"/>
                    </a:lnTo>
                    <a:lnTo>
                      <a:pt x="625" y="608"/>
                    </a:lnTo>
                    <a:lnTo>
                      <a:pt x="612" y="614"/>
                    </a:lnTo>
                    <a:lnTo>
                      <a:pt x="597" y="617"/>
                    </a:lnTo>
                    <a:lnTo>
                      <a:pt x="585" y="623"/>
                    </a:lnTo>
                    <a:lnTo>
                      <a:pt x="572" y="625"/>
                    </a:lnTo>
                    <a:lnTo>
                      <a:pt x="561" y="629"/>
                    </a:lnTo>
                    <a:lnTo>
                      <a:pt x="549" y="633"/>
                    </a:lnTo>
                    <a:lnTo>
                      <a:pt x="542" y="636"/>
                    </a:lnTo>
                    <a:lnTo>
                      <a:pt x="523" y="638"/>
                    </a:lnTo>
                    <a:lnTo>
                      <a:pt x="509" y="642"/>
                    </a:lnTo>
                    <a:lnTo>
                      <a:pt x="504" y="642"/>
                    </a:lnTo>
                    <a:lnTo>
                      <a:pt x="502" y="644"/>
                    </a:lnTo>
                    <a:lnTo>
                      <a:pt x="500" y="644"/>
                    </a:lnTo>
                    <a:lnTo>
                      <a:pt x="496" y="655"/>
                    </a:lnTo>
                    <a:lnTo>
                      <a:pt x="489" y="669"/>
                    </a:lnTo>
                    <a:lnTo>
                      <a:pt x="479" y="686"/>
                    </a:lnTo>
                    <a:lnTo>
                      <a:pt x="470" y="691"/>
                    </a:lnTo>
                    <a:lnTo>
                      <a:pt x="464" y="701"/>
                    </a:lnTo>
                    <a:lnTo>
                      <a:pt x="454" y="709"/>
                    </a:lnTo>
                    <a:lnTo>
                      <a:pt x="445" y="718"/>
                    </a:lnTo>
                    <a:lnTo>
                      <a:pt x="431" y="724"/>
                    </a:lnTo>
                    <a:lnTo>
                      <a:pt x="418" y="730"/>
                    </a:lnTo>
                    <a:lnTo>
                      <a:pt x="401" y="733"/>
                    </a:lnTo>
                    <a:lnTo>
                      <a:pt x="386" y="739"/>
                    </a:lnTo>
                    <a:lnTo>
                      <a:pt x="367" y="739"/>
                    </a:lnTo>
                    <a:lnTo>
                      <a:pt x="350" y="739"/>
                    </a:lnTo>
                    <a:lnTo>
                      <a:pt x="335" y="737"/>
                    </a:lnTo>
                    <a:lnTo>
                      <a:pt x="321" y="735"/>
                    </a:lnTo>
                    <a:lnTo>
                      <a:pt x="304" y="730"/>
                    </a:lnTo>
                    <a:lnTo>
                      <a:pt x="295" y="726"/>
                    </a:lnTo>
                    <a:lnTo>
                      <a:pt x="283" y="720"/>
                    </a:lnTo>
                    <a:lnTo>
                      <a:pt x="274" y="716"/>
                    </a:lnTo>
                    <a:lnTo>
                      <a:pt x="262" y="709"/>
                    </a:lnTo>
                    <a:lnTo>
                      <a:pt x="257" y="701"/>
                    </a:lnTo>
                    <a:lnTo>
                      <a:pt x="249" y="695"/>
                    </a:lnTo>
                    <a:lnTo>
                      <a:pt x="245" y="691"/>
                    </a:lnTo>
                    <a:lnTo>
                      <a:pt x="238" y="684"/>
                    </a:lnTo>
                    <a:lnTo>
                      <a:pt x="236" y="682"/>
                    </a:lnTo>
                    <a:lnTo>
                      <a:pt x="232" y="684"/>
                    </a:lnTo>
                    <a:lnTo>
                      <a:pt x="224" y="688"/>
                    </a:lnTo>
                    <a:lnTo>
                      <a:pt x="215" y="697"/>
                    </a:lnTo>
                    <a:lnTo>
                      <a:pt x="200" y="709"/>
                    </a:lnTo>
                    <a:lnTo>
                      <a:pt x="188" y="712"/>
                    </a:lnTo>
                    <a:lnTo>
                      <a:pt x="179" y="716"/>
                    </a:lnTo>
                    <a:lnTo>
                      <a:pt x="169" y="720"/>
                    </a:lnTo>
                    <a:lnTo>
                      <a:pt x="158" y="726"/>
                    </a:lnTo>
                    <a:lnTo>
                      <a:pt x="144" y="728"/>
                    </a:lnTo>
                    <a:lnTo>
                      <a:pt x="133" y="730"/>
                    </a:lnTo>
                    <a:lnTo>
                      <a:pt x="120" y="730"/>
                    </a:lnTo>
                    <a:lnTo>
                      <a:pt x="106" y="730"/>
                    </a:lnTo>
                    <a:lnTo>
                      <a:pt x="91" y="728"/>
                    </a:lnTo>
                    <a:lnTo>
                      <a:pt x="80" y="724"/>
                    </a:lnTo>
                    <a:lnTo>
                      <a:pt x="67" y="720"/>
                    </a:lnTo>
                    <a:lnTo>
                      <a:pt x="57" y="718"/>
                    </a:lnTo>
                    <a:lnTo>
                      <a:pt x="48" y="714"/>
                    </a:lnTo>
                    <a:lnTo>
                      <a:pt x="38" y="712"/>
                    </a:lnTo>
                    <a:lnTo>
                      <a:pt x="30" y="709"/>
                    </a:lnTo>
                    <a:lnTo>
                      <a:pt x="25" y="707"/>
                    </a:lnTo>
                    <a:lnTo>
                      <a:pt x="11" y="699"/>
                    </a:lnTo>
                    <a:lnTo>
                      <a:pt x="6" y="695"/>
                    </a:lnTo>
                    <a:lnTo>
                      <a:pt x="0" y="691"/>
                    </a:lnTo>
                    <a:lnTo>
                      <a:pt x="0" y="69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03" name="Freeform 113">
                <a:extLst>
                  <a:ext uri="{FF2B5EF4-FFF2-40B4-BE49-F238E27FC236}">
                    <a16:creationId xmlns:a16="http://schemas.microsoft.com/office/drawing/2014/main" id="{63663E64-B99D-4A67-9FC1-E340AF467B4F}"/>
                  </a:ext>
                </a:extLst>
              </p:cNvPr>
              <p:cNvSpPr>
                <a:spLocks/>
              </p:cNvSpPr>
              <p:nvPr/>
            </p:nvSpPr>
            <p:spPr bwMode="auto">
              <a:xfrm>
                <a:off x="4096751" y="1082658"/>
                <a:ext cx="274638" cy="274638"/>
              </a:xfrm>
              <a:custGeom>
                <a:avLst/>
                <a:gdLst>
                  <a:gd name="T0" fmla="*/ 190 w 346"/>
                  <a:gd name="T1" fmla="*/ 344 h 346"/>
                  <a:gd name="T2" fmla="*/ 223 w 346"/>
                  <a:gd name="T3" fmla="*/ 334 h 346"/>
                  <a:gd name="T4" fmla="*/ 253 w 346"/>
                  <a:gd name="T5" fmla="*/ 321 h 346"/>
                  <a:gd name="T6" fmla="*/ 280 w 346"/>
                  <a:gd name="T7" fmla="*/ 304 h 346"/>
                  <a:gd name="T8" fmla="*/ 304 w 346"/>
                  <a:gd name="T9" fmla="*/ 279 h 346"/>
                  <a:gd name="T10" fmla="*/ 321 w 346"/>
                  <a:gd name="T11" fmla="*/ 252 h 346"/>
                  <a:gd name="T12" fmla="*/ 335 w 346"/>
                  <a:gd name="T13" fmla="*/ 222 h 346"/>
                  <a:gd name="T14" fmla="*/ 344 w 346"/>
                  <a:gd name="T15" fmla="*/ 188 h 346"/>
                  <a:gd name="T16" fmla="*/ 344 w 346"/>
                  <a:gd name="T17" fmla="*/ 154 h 346"/>
                  <a:gd name="T18" fmla="*/ 335 w 346"/>
                  <a:gd name="T19" fmla="*/ 119 h 346"/>
                  <a:gd name="T20" fmla="*/ 321 w 346"/>
                  <a:gd name="T21" fmla="*/ 89 h 346"/>
                  <a:gd name="T22" fmla="*/ 304 w 346"/>
                  <a:gd name="T23" fmla="*/ 60 h 346"/>
                  <a:gd name="T24" fmla="*/ 280 w 346"/>
                  <a:gd name="T25" fmla="*/ 38 h 346"/>
                  <a:gd name="T26" fmla="*/ 253 w 346"/>
                  <a:gd name="T27" fmla="*/ 17 h 346"/>
                  <a:gd name="T28" fmla="*/ 223 w 346"/>
                  <a:gd name="T29" fmla="*/ 5 h 346"/>
                  <a:gd name="T30" fmla="*/ 190 w 346"/>
                  <a:gd name="T31" fmla="*/ 0 h 346"/>
                  <a:gd name="T32" fmla="*/ 152 w 346"/>
                  <a:gd name="T33" fmla="*/ 0 h 346"/>
                  <a:gd name="T34" fmla="*/ 118 w 346"/>
                  <a:gd name="T35" fmla="*/ 5 h 346"/>
                  <a:gd name="T36" fmla="*/ 88 w 346"/>
                  <a:gd name="T37" fmla="*/ 17 h 346"/>
                  <a:gd name="T38" fmla="*/ 61 w 346"/>
                  <a:gd name="T39" fmla="*/ 38 h 346"/>
                  <a:gd name="T40" fmla="*/ 36 w 346"/>
                  <a:gd name="T41" fmla="*/ 60 h 346"/>
                  <a:gd name="T42" fmla="*/ 19 w 346"/>
                  <a:gd name="T43" fmla="*/ 89 h 346"/>
                  <a:gd name="T44" fmla="*/ 6 w 346"/>
                  <a:gd name="T45" fmla="*/ 119 h 346"/>
                  <a:gd name="T46" fmla="*/ 0 w 346"/>
                  <a:gd name="T47" fmla="*/ 154 h 346"/>
                  <a:gd name="T48" fmla="*/ 0 w 346"/>
                  <a:gd name="T49" fmla="*/ 188 h 346"/>
                  <a:gd name="T50" fmla="*/ 6 w 346"/>
                  <a:gd name="T51" fmla="*/ 222 h 346"/>
                  <a:gd name="T52" fmla="*/ 19 w 346"/>
                  <a:gd name="T53" fmla="*/ 252 h 346"/>
                  <a:gd name="T54" fmla="*/ 36 w 346"/>
                  <a:gd name="T55" fmla="*/ 279 h 346"/>
                  <a:gd name="T56" fmla="*/ 61 w 346"/>
                  <a:gd name="T57" fmla="*/ 304 h 346"/>
                  <a:gd name="T58" fmla="*/ 88 w 346"/>
                  <a:gd name="T59" fmla="*/ 321 h 346"/>
                  <a:gd name="T60" fmla="*/ 118 w 346"/>
                  <a:gd name="T61" fmla="*/ 334 h 346"/>
                  <a:gd name="T62" fmla="*/ 152 w 346"/>
                  <a:gd name="T63" fmla="*/ 344 h 346"/>
                  <a:gd name="T64" fmla="*/ 173 w 346"/>
                  <a:gd name="T6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6" h="346">
                    <a:moveTo>
                      <a:pt x="173" y="346"/>
                    </a:moveTo>
                    <a:lnTo>
                      <a:pt x="190" y="344"/>
                    </a:lnTo>
                    <a:lnTo>
                      <a:pt x="206" y="340"/>
                    </a:lnTo>
                    <a:lnTo>
                      <a:pt x="223" y="334"/>
                    </a:lnTo>
                    <a:lnTo>
                      <a:pt x="238" y="330"/>
                    </a:lnTo>
                    <a:lnTo>
                      <a:pt x="253" y="321"/>
                    </a:lnTo>
                    <a:lnTo>
                      <a:pt x="268" y="313"/>
                    </a:lnTo>
                    <a:lnTo>
                      <a:pt x="280" y="304"/>
                    </a:lnTo>
                    <a:lnTo>
                      <a:pt x="295" y="294"/>
                    </a:lnTo>
                    <a:lnTo>
                      <a:pt x="304" y="279"/>
                    </a:lnTo>
                    <a:lnTo>
                      <a:pt x="316" y="268"/>
                    </a:lnTo>
                    <a:lnTo>
                      <a:pt x="321" y="252"/>
                    </a:lnTo>
                    <a:lnTo>
                      <a:pt x="331" y="237"/>
                    </a:lnTo>
                    <a:lnTo>
                      <a:pt x="335" y="222"/>
                    </a:lnTo>
                    <a:lnTo>
                      <a:pt x="341" y="205"/>
                    </a:lnTo>
                    <a:lnTo>
                      <a:pt x="344" y="188"/>
                    </a:lnTo>
                    <a:lnTo>
                      <a:pt x="346" y="173"/>
                    </a:lnTo>
                    <a:lnTo>
                      <a:pt x="344" y="154"/>
                    </a:lnTo>
                    <a:lnTo>
                      <a:pt x="341" y="136"/>
                    </a:lnTo>
                    <a:lnTo>
                      <a:pt x="335" y="119"/>
                    </a:lnTo>
                    <a:lnTo>
                      <a:pt x="331" y="104"/>
                    </a:lnTo>
                    <a:lnTo>
                      <a:pt x="321" y="89"/>
                    </a:lnTo>
                    <a:lnTo>
                      <a:pt x="316" y="74"/>
                    </a:lnTo>
                    <a:lnTo>
                      <a:pt x="304" y="60"/>
                    </a:lnTo>
                    <a:lnTo>
                      <a:pt x="295" y="51"/>
                    </a:lnTo>
                    <a:lnTo>
                      <a:pt x="280" y="38"/>
                    </a:lnTo>
                    <a:lnTo>
                      <a:pt x="268" y="28"/>
                    </a:lnTo>
                    <a:lnTo>
                      <a:pt x="253" y="17"/>
                    </a:lnTo>
                    <a:lnTo>
                      <a:pt x="238" y="13"/>
                    </a:lnTo>
                    <a:lnTo>
                      <a:pt x="223" y="5"/>
                    </a:lnTo>
                    <a:lnTo>
                      <a:pt x="206" y="1"/>
                    </a:lnTo>
                    <a:lnTo>
                      <a:pt x="190" y="0"/>
                    </a:lnTo>
                    <a:lnTo>
                      <a:pt x="173" y="0"/>
                    </a:lnTo>
                    <a:lnTo>
                      <a:pt x="152" y="0"/>
                    </a:lnTo>
                    <a:lnTo>
                      <a:pt x="135" y="1"/>
                    </a:lnTo>
                    <a:lnTo>
                      <a:pt x="118" y="5"/>
                    </a:lnTo>
                    <a:lnTo>
                      <a:pt x="105" y="13"/>
                    </a:lnTo>
                    <a:lnTo>
                      <a:pt x="88" y="17"/>
                    </a:lnTo>
                    <a:lnTo>
                      <a:pt x="72" y="28"/>
                    </a:lnTo>
                    <a:lnTo>
                      <a:pt x="61" y="38"/>
                    </a:lnTo>
                    <a:lnTo>
                      <a:pt x="50" y="51"/>
                    </a:lnTo>
                    <a:lnTo>
                      <a:pt x="36" y="60"/>
                    </a:lnTo>
                    <a:lnTo>
                      <a:pt x="29" y="74"/>
                    </a:lnTo>
                    <a:lnTo>
                      <a:pt x="19" y="89"/>
                    </a:lnTo>
                    <a:lnTo>
                      <a:pt x="14" y="104"/>
                    </a:lnTo>
                    <a:lnTo>
                      <a:pt x="6" y="119"/>
                    </a:lnTo>
                    <a:lnTo>
                      <a:pt x="2" y="136"/>
                    </a:lnTo>
                    <a:lnTo>
                      <a:pt x="0" y="154"/>
                    </a:lnTo>
                    <a:lnTo>
                      <a:pt x="0" y="173"/>
                    </a:lnTo>
                    <a:lnTo>
                      <a:pt x="0" y="188"/>
                    </a:lnTo>
                    <a:lnTo>
                      <a:pt x="2" y="205"/>
                    </a:lnTo>
                    <a:lnTo>
                      <a:pt x="6" y="222"/>
                    </a:lnTo>
                    <a:lnTo>
                      <a:pt x="14" y="237"/>
                    </a:lnTo>
                    <a:lnTo>
                      <a:pt x="19" y="252"/>
                    </a:lnTo>
                    <a:lnTo>
                      <a:pt x="29" y="268"/>
                    </a:lnTo>
                    <a:lnTo>
                      <a:pt x="36" y="279"/>
                    </a:lnTo>
                    <a:lnTo>
                      <a:pt x="50" y="294"/>
                    </a:lnTo>
                    <a:lnTo>
                      <a:pt x="61" y="304"/>
                    </a:lnTo>
                    <a:lnTo>
                      <a:pt x="72" y="313"/>
                    </a:lnTo>
                    <a:lnTo>
                      <a:pt x="88" y="321"/>
                    </a:lnTo>
                    <a:lnTo>
                      <a:pt x="105" y="330"/>
                    </a:lnTo>
                    <a:lnTo>
                      <a:pt x="118" y="334"/>
                    </a:lnTo>
                    <a:lnTo>
                      <a:pt x="135" y="340"/>
                    </a:lnTo>
                    <a:lnTo>
                      <a:pt x="152" y="344"/>
                    </a:lnTo>
                    <a:lnTo>
                      <a:pt x="173" y="346"/>
                    </a:lnTo>
                    <a:lnTo>
                      <a:pt x="173" y="34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04" name="Freeform 114">
                <a:extLst>
                  <a:ext uri="{FF2B5EF4-FFF2-40B4-BE49-F238E27FC236}">
                    <a16:creationId xmlns:a16="http://schemas.microsoft.com/office/drawing/2014/main" id="{65FE4F73-B15F-41DB-ACDC-BA61257E216C}"/>
                  </a:ext>
                </a:extLst>
              </p:cNvPr>
              <p:cNvSpPr>
                <a:spLocks/>
              </p:cNvSpPr>
              <p:nvPr/>
            </p:nvSpPr>
            <p:spPr bwMode="auto">
              <a:xfrm>
                <a:off x="4415838" y="1081070"/>
                <a:ext cx="274638" cy="274638"/>
              </a:xfrm>
              <a:custGeom>
                <a:avLst/>
                <a:gdLst>
                  <a:gd name="T0" fmla="*/ 190 w 346"/>
                  <a:gd name="T1" fmla="*/ 344 h 346"/>
                  <a:gd name="T2" fmla="*/ 223 w 346"/>
                  <a:gd name="T3" fmla="*/ 334 h 346"/>
                  <a:gd name="T4" fmla="*/ 253 w 346"/>
                  <a:gd name="T5" fmla="*/ 321 h 346"/>
                  <a:gd name="T6" fmla="*/ 282 w 346"/>
                  <a:gd name="T7" fmla="*/ 304 h 346"/>
                  <a:gd name="T8" fmla="*/ 304 w 346"/>
                  <a:gd name="T9" fmla="*/ 279 h 346"/>
                  <a:gd name="T10" fmla="*/ 323 w 346"/>
                  <a:gd name="T11" fmla="*/ 252 h 346"/>
                  <a:gd name="T12" fmla="*/ 335 w 346"/>
                  <a:gd name="T13" fmla="*/ 222 h 346"/>
                  <a:gd name="T14" fmla="*/ 344 w 346"/>
                  <a:gd name="T15" fmla="*/ 188 h 346"/>
                  <a:gd name="T16" fmla="*/ 344 w 346"/>
                  <a:gd name="T17" fmla="*/ 154 h 346"/>
                  <a:gd name="T18" fmla="*/ 335 w 346"/>
                  <a:gd name="T19" fmla="*/ 119 h 346"/>
                  <a:gd name="T20" fmla="*/ 323 w 346"/>
                  <a:gd name="T21" fmla="*/ 89 h 346"/>
                  <a:gd name="T22" fmla="*/ 304 w 346"/>
                  <a:gd name="T23" fmla="*/ 60 h 346"/>
                  <a:gd name="T24" fmla="*/ 282 w 346"/>
                  <a:gd name="T25" fmla="*/ 38 h 346"/>
                  <a:gd name="T26" fmla="*/ 253 w 346"/>
                  <a:gd name="T27" fmla="*/ 17 h 346"/>
                  <a:gd name="T28" fmla="*/ 223 w 346"/>
                  <a:gd name="T29" fmla="*/ 5 h 346"/>
                  <a:gd name="T30" fmla="*/ 190 w 346"/>
                  <a:gd name="T31" fmla="*/ 0 h 346"/>
                  <a:gd name="T32" fmla="*/ 154 w 346"/>
                  <a:gd name="T33" fmla="*/ 0 h 346"/>
                  <a:gd name="T34" fmla="*/ 120 w 346"/>
                  <a:gd name="T35" fmla="*/ 5 h 346"/>
                  <a:gd name="T36" fmla="*/ 88 w 346"/>
                  <a:gd name="T37" fmla="*/ 17 h 346"/>
                  <a:gd name="T38" fmla="*/ 61 w 346"/>
                  <a:gd name="T39" fmla="*/ 38 h 346"/>
                  <a:gd name="T40" fmla="*/ 38 w 346"/>
                  <a:gd name="T41" fmla="*/ 60 h 346"/>
                  <a:gd name="T42" fmla="*/ 19 w 346"/>
                  <a:gd name="T43" fmla="*/ 89 h 346"/>
                  <a:gd name="T44" fmla="*/ 6 w 346"/>
                  <a:gd name="T45" fmla="*/ 119 h 346"/>
                  <a:gd name="T46" fmla="*/ 0 w 346"/>
                  <a:gd name="T47" fmla="*/ 154 h 346"/>
                  <a:gd name="T48" fmla="*/ 0 w 346"/>
                  <a:gd name="T49" fmla="*/ 188 h 346"/>
                  <a:gd name="T50" fmla="*/ 6 w 346"/>
                  <a:gd name="T51" fmla="*/ 222 h 346"/>
                  <a:gd name="T52" fmla="*/ 19 w 346"/>
                  <a:gd name="T53" fmla="*/ 252 h 346"/>
                  <a:gd name="T54" fmla="*/ 38 w 346"/>
                  <a:gd name="T55" fmla="*/ 279 h 346"/>
                  <a:gd name="T56" fmla="*/ 61 w 346"/>
                  <a:gd name="T57" fmla="*/ 304 h 346"/>
                  <a:gd name="T58" fmla="*/ 88 w 346"/>
                  <a:gd name="T59" fmla="*/ 321 h 346"/>
                  <a:gd name="T60" fmla="*/ 120 w 346"/>
                  <a:gd name="T61" fmla="*/ 334 h 346"/>
                  <a:gd name="T62" fmla="*/ 154 w 346"/>
                  <a:gd name="T63" fmla="*/ 344 h 346"/>
                  <a:gd name="T64" fmla="*/ 173 w 346"/>
                  <a:gd name="T6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6" h="346">
                    <a:moveTo>
                      <a:pt x="173" y="346"/>
                    </a:moveTo>
                    <a:lnTo>
                      <a:pt x="190" y="344"/>
                    </a:lnTo>
                    <a:lnTo>
                      <a:pt x="206" y="340"/>
                    </a:lnTo>
                    <a:lnTo>
                      <a:pt x="223" y="334"/>
                    </a:lnTo>
                    <a:lnTo>
                      <a:pt x="240" y="330"/>
                    </a:lnTo>
                    <a:lnTo>
                      <a:pt x="253" y="321"/>
                    </a:lnTo>
                    <a:lnTo>
                      <a:pt x="268" y="313"/>
                    </a:lnTo>
                    <a:lnTo>
                      <a:pt x="282" y="304"/>
                    </a:lnTo>
                    <a:lnTo>
                      <a:pt x="295" y="294"/>
                    </a:lnTo>
                    <a:lnTo>
                      <a:pt x="304" y="279"/>
                    </a:lnTo>
                    <a:lnTo>
                      <a:pt x="316" y="266"/>
                    </a:lnTo>
                    <a:lnTo>
                      <a:pt x="323" y="252"/>
                    </a:lnTo>
                    <a:lnTo>
                      <a:pt x="331" y="237"/>
                    </a:lnTo>
                    <a:lnTo>
                      <a:pt x="335" y="222"/>
                    </a:lnTo>
                    <a:lnTo>
                      <a:pt x="340" y="205"/>
                    </a:lnTo>
                    <a:lnTo>
                      <a:pt x="344" y="188"/>
                    </a:lnTo>
                    <a:lnTo>
                      <a:pt x="346" y="173"/>
                    </a:lnTo>
                    <a:lnTo>
                      <a:pt x="344" y="154"/>
                    </a:lnTo>
                    <a:lnTo>
                      <a:pt x="340" y="136"/>
                    </a:lnTo>
                    <a:lnTo>
                      <a:pt x="335" y="119"/>
                    </a:lnTo>
                    <a:lnTo>
                      <a:pt x="331" y="104"/>
                    </a:lnTo>
                    <a:lnTo>
                      <a:pt x="323" y="89"/>
                    </a:lnTo>
                    <a:lnTo>
                      <a:pt x="316" y="74"/>
                    </a:lnTo>
                    <a:lnTo>
                      <a:pt x="304" y="60"/>
                    </a:lnTo>
                    <a:lnTo>
                      <a:pt x="295" y="51"/>
                    </a:lnTo>
                    <a:lnTo>
                      <a:pt x="282" y="38"/>
                    </a:lnTo>
                    <a:lnTo>
                      <a:pt x="268" y="28"/>
                    </a:lnTo>
                    <a:lnTo>
                      <a:pt x="253" y="17"/>
                    </a:lnTo>
                    <a:lnTo>
                      <a:pt x="240" y="11"/>
                    </a:lnTo>
                    <a:lnTo>
                      <a:pt x="223" y="5"/>
                    </a:lnTo>
                    <a:lnTo>
                      <a:pt x="206" y="2"/>
                    </a:lnTo>
                    <a:lnTo>
                      <a:pt x="190" y="0"/>
                    </a:lnTo>
                    <a:lnTo>
                      <a:pt x="173" y="0"/>
                    </a:lnTo>
                    <a:lnTo>
                      <a:pt x="154" y="0"/>
                    </a:lnTo>
                    <a:lnTo>
                      <a:pt x="135" y="2"/>
                    </a:lnTo>
                    <a:lnTo>
                      <a:pt x="120" y="5"/>
                    </a:lnTo>
                    <a:lnTo>
                      <a:pt x="105" y="11"/>
                    </a:lnTo>
                    <a:lnTo>
                      <a:pt x="88" y="17"/>
                    </a:lnTo>
                    <a:lnTo>
                      <a:pt x="74" y="28"/>
                    </a:lnTo>
                    <a:lnTo>
                      <a:pt x="61" y="38"/>
                    </a:lnTo>
                    <a:lnTo>
                      <a:pt x="50" y="51"/>
                    </a:lnTo>
                    <a:lnTo>
                      <a:pt x="38" y="60"/>
                    </a:lnTo>
                    <a:lnTo>
                      <a:pt x="29" y="74"/>
                    </a:lnTo>
                    <a:lnTo>
                      <a:pt x="19" y="89"/>
                    </a:lnTo>
                    <a:lnTo>
                      <a:pt x="14" y="104"/>
                    </a:lnTo>
                    <a:lnTo>
                      <a:pt x="6" y="119"/>
                    </a:lnTo>
                    <a:lnTo>
                      <a:pt x="2" y="136"/>
                    </a:lnTo>
                    <a:lnTo>
                      <a:pt x="0" y="154"/>
                    </a:lnTo>
                    <a:lnTo>
                      <a:pt x="0" y="173"/>
                    </a:lnTo>
                    <a:lnTo>
                      <a:pt x="0" y="188"/>
                    </a:lnTo>
                    <a:lnTo>
                      <a:pt x="2" y="205"/>
                    </a:lnTo>
                    <a:lnTo>
                      <a:pt x="6" y="222"/>
                    </a:lnTo>
                    <a:lnTo>
                      <a:pt x="14" y="237"/>
                    </a:lnTo>
                    <a:lnTo>
                      <a:pt x="19" y="252"/>
                    </a:lnTo>
                    <a:lnTo>
                      <a:pt x="29" y="266"/>
                    </a:lnTo>
                    <a:lnTo>
                      <a:pt x="38" y="279"/>
                    </a:lnTo>
                    <a:lnTo>
                      <a:pt x="50" y="294"/>
                    </a:lnTo>
                    <a:lnTo>
                      <a:pt x="61" y="304"/>
                    </a:lnTo>
                    <a:lnTo>
                      <a:pt x="74" y="313"/>
                    </a:lnTo>
                    <a:lnTo>
                      <a:pt x="88" y="321"/>
                    </a:lnTo>
                    <a:lnTo>
                      <a:pt x="105" y="330"/>
                    </a:lnTo>
                    <a:lnTo>
                      <a:pt x="120" y="334"/>
                    </a:lnTo>
                    <a:lnTo>
                      <a:pt x="135" y="340"/>
                    </a:lnTo>
                    <a:lnTo>
                      <a:pt x="154" y="344"/>
                    </a:lnTo>
                    <a:lnTo>
                      <a:pt x="173" y="346"/>
                    </a:lnTo>
                    <a:lnTo>
                      <a:pt x="173" y="34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05" name="Freeform 115">
                <a:extLst>
                  <a:ext uri="{FF2B5EF4-FFF2-40B4-BE49-F238E27FC236}">
                    <a16:creationId xmlns:a16="http://schemas.microsoft.com/office/drawing/2014/main" id="{EBFFDF39-7EC7-44F1-B8BC-F2180CCC5765}"/>
                  </a:ext>
                </a:extLst>
              </p:cNvPr>
              <p:cNvSpPr>
                <a:spLocks/>
              </p:cNvSpPr>
              <p:nvPr/>
            </p:nvSpPr>
            <p:spPr bwMode="auto">
              <a:xfrm>
                <a:off x="4738101" y="1081070"/>
                <a:ext cx="271463" cy="274638"/>
              </a:xfrm>
              <a:custGeom>
                <a:avLst/>
                <a:gdLst>
                  <a:gd name="T0" fmla="*/ 186 w 342"/>
                  <a:gd name="T1" fmla="*/ 344 h 346"/>
                  <a:gd name="T2" fmla="*/ 219 w 342"/>
                  <a:gd name="T3" fmla="*/ 334 h 346"/>
                  <a:gd name="T4" fmla="*/ 251 w 342"/>
                  <a:gd name="T5" fmla="*/ 321 h 346"/>
                  <a:gd name="T6" fmla="*/ 278 w 342"/>
                  <a:gd name="T7" fmla="*/ 304 h 346"/>
                  <a:gd name="T8" fmla="*/ 300 w 342"/>
                  <a:gd name="T9" fmla="*/ 279 h 346"/>
                  <a:gd name="T10" fmla="*/ 319 w 342"/>
                  <a:gd name="T11" fmla="*/ 252 h 346"/>
                  <a:gd name="T12" fmla="*/ 333 w 342"/>
                  <a:gd name="T13" fmla="*/ 222 h 346"/>
                  <a:gd name="T14" fmla="*/ 340 w 342"/>
                  <a:gd name="T15" fmla="*/ 188 h 346"/>
                  <a:gd name="T16" fmla="*/ 340 w 342"/>
                  <a:gd name="T17" fmla="*/ 152 h 346"/>
                  <a:gd name="T18" fmla="*/ 333 w 342"/>
                  <a:gd name="T19" fmla="*/ 117 h 346"/>
                  <a:gd name="T20" fmla="*/ 319 w 342"/>
                  <a:gd name="T21" fmla="*/ 87 h 346"/>
                  <a:gd name="T22" fmla="*/ 300 w 342"/>
                  <a:gd name="T23" fmla="*/ 59 h 346"/>
                  <a:gd name="T24" fmla="*/ 278 w 342"/>
                  <a:gd name="T25" fmla="*/ 36 h 346"/>
                  <a:gd name="T26" fmla="*/ 251 w 342"/>
                  <a:gd name="T27" fmla="*/ 17 h 346"/>
                  <a:gd name="T28" fmla="*/ 219 w 342"/>
                  <a:gd name="T29" fmla="*/ 5 h 346"/>
                  <a:gd name="T30" fmla="*/ 186 w 342"/>
                  <a:gd name="T31" fmla="*/ 0 h 346"/>
                  <a:gd name="T32" fmla="*/ 152 w 342"/>
                  <a:gd name="T33" fmla="*/ 0 h 346"/>
                  <a:gd name="T34" fmla="*/ 118 w 342"/>
                  <a:gd name="T35" fmla="*/ 5 h 346"/>
                  <a:gd name="T36" fmla="*/ 88 w 342"/>
                  <a:gd name="T37" fmla="*/ 17 h 346"/>
                  <a:gd name="T38" fmla="*/ 59 w 342"/>
                  <a:gd name="T39" fmla="*/ 36 h 346"/>
                  <a:gd name="T40" fmla="*/ 36 w 342"/>
                  <a:gd name="T41" fmla="*/ 59 h 346"/>
                  <a:gd name="T42" fmla="*/ 17 w 342"/>
                  <a:gd name="T43" fmla="*/ 87 h 346"/>
                  <a:gd name="T44" fmla="*/ 6 w 342"/>
                  <a:gd name="T45" fmla="*/ 117 h 346"/>
                  <a:gd name="T46" fmla="*/ 0 w 342"/>
                  <a:gd name="T47" fmla="*/ 152 h 346"/>
                  <a:gd name="T48" fmla="*/ 0 w 342"/>
                  <a:gd name="T49" fmla="*/ 188 h 346"/>
                  <a:gd name="T50" fmla="*/ 6 w 342"/>
                  <a:gd name="T51" fmla="*/ 222 h 346"/>
                  <a:gd name="T52" fmla="*/ 17 w 342"/>
                  <a:gd name="T53" fmla="*/ 252 h 346"/>
                  <a:gd name="T54" fmla="*/ 36 w 342"/>
                  <a:gd name="T55" fmla="*/ 279 h 346"/>
                  <a:gd name="T56" fmla="*/ 59 w 342"/>
                  <a:gd name="T57" fmla="*/ 304 h 346"/>
                  <a:gd name="T58" fmla="*/ 88 w 342"/>
                  <a:gd name="T59" fmla="*/ 321 h 346"/>
                  <a:gd name="T60" fmla="*/ 118 w 342"/>
                  <a:gd name="T61" fmla="*/ 334 h 346"/>
                  <a:gd name="T62" fmla="*/ 152 w 342"/>
                  <a:gd name="T63" fmla="*/ 344 h 346"/>
                  <a:gd name="T64" fmla="*/ 169 w 342"/>
                  <a:gd name="T6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2" h="346">
                    <a:moveTo>
                      <a:pt x="169" y="346"/>
                    </a:moveTo>
                    <a:lnTo>
                      <a:pt x="186" y="344"/>
                    </a:lnTo>
                    <a:lnTo>
                      <a:pt x="204" y="340"/>
                    </a:lnTo>
                    <a:lnTo>
                      <a:pt x="219" y="334"/>
                    </a:lnTo>
                    <a:lnTo>
                      <a:pt x="236" y="330"/>
                    </a:lnTo>
                    <a:lnTo>
                      <a:pt x="251" y="321"/>
                    </a:lnTo>
                    <a:lnTo>
                      <a:pt x="264" y="313"/>
                    </a:lnTo>
                    <a:lnTo>
                      <a:pt x="278" y="304"/>
                    </a:lnTo>
                    <a:lnTo>
                      <a:pt x="291" y="294"/>
                    </a:lnTo>
                    <a:lnTo>
                      <a:pt x="300" y="279"/>
                    </a:lnTo>
                    <a:lnTo>
                      <a:pt x="312" y="266"/>
                    </a:lnTo>
                    <a:lnTo>
                      <a:pt x="319" y="252"/>
                    </a:lnTo>
                    <a:lnTo>
                      <a:pt x="329" y="237"/>
                    </a:lnTo>
                    <a:lnTo>
                      <a:pt x="333" y="222"/>
                    </a:lnTo>
                    <a:lnTo>
                      <a:pt x="337" y="205"/>
                    </a:lnTo>
                    <a:lnTo>
                      <a:pt x="340" y="188"/>
                    </a:lnTo>
                    <a:lnTo>
                      <a:pt x="342" y="173"/>
                    </a:lnTo>
                    <a:lnTo>
                      <a:pt x="340" y="152"/>
                    </a:lnTo>
                    <a:lnTo>
                      <a:pt x="337" y="135"/>
                    </a:lnTo>
                    <a:lnTo>
                      <a:pt x="333" y="117"/>
                    </a:lnTo>
                    <a:lnTo>
                      <a:pt x="329" y="102"/>
                    </a:lnTo>
                    <a:lnTo>
                      <a:pt x="319" y="87"/>
                    </a:lnTo>
                    <a:lnTo>
                      <a:pt x="312" y="72"/>
                    </a:lnTo>
                    <a:lnTo>
                      <a:pt x="300" y="59"/>
                    </a:lnTo>
                    <a:lnTo>
                      <a:pt x="291" y="49"/>
                    </a:lnTo>
                    <a:lnTo>
                      <a:pt x="278" y="36"/>
                    </a:lnTo>
                    <a:lnTo>
                      <a:pt x="264" y="26"/>
                    </a:lnTo>
                    <a:lnTo>
                      <a:pt x="251" y="17"/>
                    </a:lnTo>
                    <a:lnTo>
                      <a:pt x="236" y="11"/>
                    </a:lnTo>
                    <a:lnTo>
                      <a:pt x="219" y="5"/>
                    </a:lnTo>
                    <a:lnTo>
                      <a:pt x="204" y="2"/>
                    </a:lnTo>
                    <a:lnTo>
                      <a:pt x="186" y="0"/>
                    </a:lnTo>
                    <a:lnTo>
                      <a:pt x="169" y="0"/>
                    </a:lnTo>
                    <a:lnTo>
                      <a:pt x="152" y="0"/>
                    </a:lnTo>
                    <a:lnTo>
                      <a:pt x="133" y="2"/>
                    </a:lnTo>
                    <a:lnTo>
                      <a:pt x="118" y="5"/>
                    </a:lnTo>
                    <a:lnTo>
                      <a:pt x="103" y="11"/>
                    </a:lnTo>
                    <a:lnTo>
                      <a:pt x="88" y="17"/>
                    </a:lnTo>
                    <a:lnTo>
                      <a:pt x="72" y="26"/>
                    </a:lnTo>
                    <a:lnTo>
                      <a:pt x="59" y="36"/>
                    </a:lnTo>
                    <a:lnTo>
                      <a:pt x="48" y="49"/>
                    </a:lnTo>
                    <a:lnTo>
                      <a:pt x="36" y="59"/>
                    </a:lnTo>
                    <a:lnTo>
                      <a:pt x="27" y="72"/>
                    </a:lnTo>
                    <a:lnTo>
                      <a:pt x="17" y="87"/>
                    </a:lnTo>
                    <a:lnTo>
                      <a:pt x="12" y="102"/>
                    </a:lnTo>
                    <a:lnTo>
                      <a:pt x="6" y="117"/>
                    </a:lnTo>
                    <a:lnTo>
                      <a:pt x="2" y="135"/>
                    </a:lnTo>
                    <a:lnTo>
                      <a:pt x="0" y="152"/>
                    </a:lnTo>
                    <a:lnTo>
                      <a:pt x="0" y="173"/>
                    </a:lnTo>
                    <a:lnTo>
                      <a:pt x="0" y="188"/>
                    </a:lnTo>
                    <a:lnTo>
                      <a:pt x="2" y="205"/>
                    </a:lnTo>
                    <a:lnTo>
                      <a:pt x="6" y="222"/>
                    </a:lnTo>
                    <a:lnTo>
                      <a:pt x="12" y="237"/>
                    </a:lnTo>
                    <a:lnTo>
                      <a:pt x="17" y="252"/>
                    </a:lnTo>
                    <a:lnTo>
                      <a:pt x="27" y="266"/>
                    </a:lnTo>
                    <a:lnTo>
                      <a:pt x="36" y="279"/>
                    </a:lnTo>
                    <a:lnTo>
                      <a:pt x="48" y="294"/>
                    </a:lnTo>
                    <a:lnTo>
                      <a:pt x="59" y="304"/>
                    </a:lnTo>
                    <a:lnTo>
                      <a:pt x="72" y="313"/>
                    </a:lnTo>
                    <a:lnTo>
                      <a:pt x="88" y="321"/>
                    </a:lnTo>
                    <a:lnTo>
                      <a:pt x="103" y="330"/>
                    </a:lnTo>
                    <a:lnTo>
                      <a:pt x="118" y="334"/>
                    </a:lnTo>
                    <a:lnTo>
                      <a:pt x="133" y="340"/>
                    </a:lnTo>
                    <a:lnTo>
                      <a:pt x="152" y="344"/>
                    </a:lnTo>
                    <a:lnTo>
                      <a:pt x="169" y="346"/>
                    </a:lnTo>
                    <a:lnTo>
                      <a:pt x="169" y="34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06" name="Freeform 116">
                <a:extLst>
                  <a:ext uri="{FF2B5EF4-FFF2-40B4-BE49-F238E27FC236}">
                    <a16:creationId xmlns:a16="http://schemas.microsoft.com/office/drawing/2014/main" id="{CD2C473A-C668-4CCD-9DC9-78B78711ABBB}"/>
                  </a:ext>
                </a:extLst>
              </p:cNvPr>
              <p:cNvSpPr>
                <a:spLocks/>
              </p:cNvSpPr>
              <p:nvPr/>
            </p:nvSpPr>
            <p:spPr bwMode="auto">
              <a:xfrm>
                <a:off x="5055601" y="1079483"/>
                <a:ext cx="273050" cy="274638"/>
              </a:xfrm>
              <a:custGeom>
                <a:avLst/>
                <a:gdLst>
                  <a:gd name="T0" fmla="*/ 188 w 344"/>
                  <a:gd name="T1" fmla="*/ 344 h 346"/>
                  <a:gd name="T2" fmla="*/ 223 w 344"/>
                  <a:gd name="T3" fmla="*/ 334 h 346"/>
                  <a:gd name="T4" fmla="*/ 253 w 344"/>
                  <a:gd name="T5" fmla="*/ 321 h 346"/>
                  <a:gd name="T6" fmla="*/ 280 w 344"/>
                  <a:gd name="T7" fmla="*/ 304 h 346"/>
                  <a:gd name="T8" fmla="*/ 304 w 344"/>
                  <a:gd name="T9" fmla="*/ 279 h 346"/>
                  <a:gd name="T10" fmla="*/ 321 w 344"/>
                  <a:gd name="T11" fmla="*/ 253 h 346"/>
                  <a:gd name="T12" fmla="*/ 335 w 344"/>
                  <a:gd name="T13" fmla="*/ 222 h 346"/>
                  <a:gd name="T14" fmla="*/ 344 w 344"/>
                  <a:gd name="T15" fmla="*/ 188 h 346"/>
                  <a:gd name="T16" fmla="*/ 344 w 344"/>
                  <a:gd name="T17" fmla="*/ 154 h 346"/>
                  <a:gd name="T18" fmla="*/ 335 w 344"/>
                  <a:gd name="T19" fmla="*/ 119 h 346"/>
                  <a:gd name="T20" fmla="*/ 321 w 344"/>
                  <a:gd name="T21" fmla="*/ 89 h 346"/>
                  <a:gd name="T22" fmla="*/ 304 w 344"/>
                  <a:gd name="T23" fmla="*/ 61 h 346"/>
                  <a:gd name="T24" fmla="*/ 280 w 344"/>
                  <a:gd name="T25" fmla="*/ 38 h 346"/>
                  <a:gd name="T26" fmla="*/ 253 w 344"/>
                  <a:gd name="T27" fmla="*/ 17 h 346"/>
                  <a:gd name="T28" fmla="*/ 223 w 344"/>
                  <a:gd name="T29" fmla="*/ 5 h 346"/>
                  <a:gd name="T30" fmla="*/ 188 w 344"/>
                  <a:gd name="T31" fmla="*/ 0 h 346"/>
                  <a:gd name="T32" fmla="*/ 154 w 344"/>
                  <a:gd name="T33" fmla="*/ 0 h 346"/>
                  <a:gd name="T34" fmla="*/ 120 w 344"/>
                  <a:gd name="T35" fmla="*/ 5 h 346"/>
                  <a:gd name="T36" fmla="*/ 90 w 344"/>
                  <a:gd name="T37" fmla="*/ 17 h 346"/>
                  <a:gd name="T38" fmla="*/ 61 w 344"/>
                  <a:gd name="T39" fmla="*/ 38 h 346"/>
                  <a:gd name="T40" fmla="*/ 38 w 344"/>
                  <a:gd name="T41" fmla="*/ 61 h 346"/>
                  <a:gd name="T42" fmla="*/ 17 w 344"/>
                  <a:gd name="T43" fmla="*/ 89 h 346"/>
                  <a:gd name="T44" fmla="*/ 6 w 344"/>
                  <a:gd name="T45" fmla="*/ 119 h 346"/>
                  <a:gd name="T46" fmla="*/ 0 w 344"/>
                  <a:gd name="T47" fmla="*/ 154 h 346"/>
                  <a:gd name="T48" fmla="*/ 0 w 344"/>
                  <a:gd name="T49" fmla="*/ 188 h 346"/>
                  <a:gd name="T50" fmla="*/ 6 w 344"/>
                  <a:gd name="T51" fmla="*/ 222 h 346"/>
                  <a:gd name="T52" fmla="*/ 17 w 344"/>
                  <a:gd name="T53" fmla="*/ 253 h 346"/>
                  <a:gd name="T54" fmla="*/ 38 w 344"/>
                  <a:gd name="T55" fmla="*/ 279 h 346"/>
                  <a:gd name="T56" fmla="*/ 61 w 344"/>
                  <a:gd name="T57" fmla="*/ 304 h 346"/>
                  <a:gd name="T58" fmla="*/ 90 w 344"/>
                  <a:gd name="T59" fmla="*/ 321 h 346"/>
                  <a:gd name="T60" fmla="*/ 120 w 344"/>
                  <a:gd name="T61" fmla="*/ 334 h 346"/>
                  <a:gd name="T62" fmla="*/ 154 w 344"/>
                  <a:gd name="T63" fmla="*/ 344 h 346"/>
                  <a:gd name="T64" fmla="*/ 173 w 344"/>
                  <a:gd name="T65" fmla="*/ 34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4" h="346">
                    <a:moveTo>
                      <a:pt x="173" y="346"/>
                    </a:moveTo>
                    <a:lnTo>
                      <a:pt x="188" y="344"/>
                    </a:lnTo>
                    <a:lnTo>
                      <a:pt x="205" y="340"/>
                    </a:lnTo>
                    <a:lnTo>
                      <a:pt x="223" y="334"/>
                    </a:lnTo>
                    <a:lnTo>
                      <a:pt x="238" y="331"/>
                    </a:lnTo>
                    <a:lnTo>
                      <a:pt x="253" y="321"/>
                    </a:lnTo>
                    <a:lnTo>
                      <a:pt x="266" y="313"/>
                    </a:lnTo>
                    <a:lnTo>
                      <a:pt x="280" y="304"/>
                    </a:lnTo>
                    <a:lnTo>
                      <a:pt x="295" y="294"/>
                    </a:lnTo>
                    <a:lnTo>
                      <a:pt x="304" y="279"/>
                    </a:lnTo>
                    <a:lnTo>
                      <a:pt x="314" y="268"/>
                    </a:lnTo>
                    <a:lnTo>
                      <a:pt x="321" y="253"/>
                    </a:lnTo>
                    <a:lnTo>
                      <a:pt x="331" y="237"/>
                    </a:lnTo>
                    <a:lnTo>
                      <a:pt x="335" y="222"/>
                    </a:lnTo>
                    <a:lnTo>
                      <a:pt x="340" y="205"/>
                    </a:lnTo>
                    <a:lnTo>
                      <a:pt x="344" y="188"/>
                    </a:lnTo>
                    <a:lnTo>
                      <a:pt x="344" y="173"/>
                    </a:lnTo>
                    <a:lnTo>
                      <a:pt x="344" y="154"/>
                    </a:lnTo>
                    <a:lnTo>
                      <a:pt x="340" y="137"/>
                    </a:lnTo>
                    <a:lnTo>
                      <a:pt x="335" y="119"/>
                    </a:lnTo>
                    <a:lnTo>
                      <a:pt x="331" y="104"/>
                    </a:lnTo>
                    <a:lnTo>
                      <a:pt x="321" y="89"/>
                    </a:lnTo>
                    <a:lnTo>
                      <a:pt x="314" y="74"/>
                    </a:lnTo>
                    <a:lnTo>
                      <a:pt x="304" y="61"/>
                    </a:lnTo>
                    <a:lnTo>
                      <a:pt x="295" y="51"/>
                    </a:lnTo>
                    <a:lnTo>
                      <a:pt x="280" y="38"/>
                    </a:lnTo>
                    <a:lnTo>
                      <a:pt x="266" y="28"/>
                    </a:lnTo>
                    <a:lnTo>
                      <a:pt x="253" y="17"/>
                    </a:lnTo>
                    <a:lnTo>
                      <a:pt x="238" y="13"/>
                    </a:lnTo>
                    <a:lnTo>
                      <a:pt x="223" y="5"/>
                    </a:lnTo>
                    <a:lnTo>
                      <a:pt x="205" y="2"/>
                    </a:lnTo>
                    <a:lnTo>
                      <a:pt x="188" y="0"/>
                    </a:lnTo>
                    <a:lnTo>
                      <a:pt x="173" y="0"/>
                    </a:lnTo>
                    <a:lnTo>
                      <a:pt x="154" y="0"/>
                    </a:lnTo>
                    <a:lnTo>
                      <a:pt x="137" y="2"/>
                    </a:lnTo>
                    <a:lnTo>
                      <a:pt x="120" y="5"/>
                    </a:lnTo>
                    <a:lnTo>
                      <a:pt x="105" y="13"/>
                    </a:lnTo>
                    <a:lnTo>
                      <a:pt x="90" y="17"/>
                    </a:lnTo>
                    <a:lnTo>
                      <a:pt x="74" y="28"/>
                    </a:lnTo>
                    <a:lnTo>
                      <a:pt x="61" y="38"/>
                    </a:lnTo>
                    <a:lnTo>
                      <a:pt x="52" y="51"/>
                    </a:lnTo>
                    <a:lnTo>
                      <a:pt x="38" y="61"/>
                    </a:lnTo>
                    <a:lnTo>
                      <a:pt x="29" y="74"/>
                    </a:lnTo>
                    <a:lnTo>
                      <a:pt x="17" y="89"/>
                    </a:lnTo>
                    <a:lnTo>
                      <a:pt x="13" y="104"/>
                    </a:lnTo>
                    <a:lnTo>
                      <a:pt x="6" y="119"/>
                    </a:lnTo>
                    <a:lnTo>
                      <a:pt x="2" y="137"/>
                    </a:lnTo>
                    <a:lnTo>
                      <a:pt x="0" y="154"/>
                    </a:lnTo>
                    <a:lnTo>
                      <a:pt x="0" y="173"/>
                    </a:lnTo>
                    <a:lnTo>
                      <a:pt x="0" y="188"/>
                    </a:lnTo>
                    <a:lnTo>
                      <a:pt x="2" y="205"/>
                    </a:lnTo>
                    <a:lnTo>
                      <a:pt x="6" y="222"/>
                    </a:lnTo>
                    <a:lnTo>
                      <a:pt x="13" y="237"/>
                    </a:lnTo>
                    <a:lnTo>
                      <a:pt x="17" y="253"/>
                    </a:lnTo>
                    <a:lnTo>
                      <a:pt x="29" y="268"/>
                    </a:lnTo>
                    <a:lnTo>
                      <a:pt x="38" y="279"/>
                    </a:lnTo>
                    <a:lnTo>
                      <a:pt x="52" y="294"/>
                    </a:lnTo>
                    <a:lnTo>
                      <a:pt x="61" y="304"/>
                    </a:lnTo>
                    <a:lnTo>
                      <a:pt x="74" y="313"/>
                    </a:lnTo>
                    <a:lnTo>
                      <a:pt x="90" y="321"/>
                    </a:lnTo>
                    <a:lnTo>
                      <a:pt x="105" y="331"/>
                    </a:lnTo>
                    <a:lnTo>
                      <a:pt x="120" y="334"/>
                    </a:lnTo>
                    <a:lnTo>
                      <a:pt x="137" y="340"/>
                    </a:lnTo>
                    <a:lnTo>
                      <a:pt x="154" y="344"/>
                    </a:lnTo>
                    <a:lnTo>
                      <a:pt x="173" y="346"/>
                    </a:lnTo>
                    <a:lnTo>
                      <a:pt x="173" y="34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07" name="Freeform 117">
                <a:extLst>
                  <a:ext uri="{FF2B5EF4-FFF2-40B4-BE49-F238E27FC236}">
                    <a16:creationId xmlns:a16="http://schemas.microsoft.com/office/drawing/2014/main" id="{5C776331-FC6D-4838-9DA0-D9781EE30624}"/>
                  </a:ext>
                </a:extLst>
              </p:cNvPr>
              <p:cNvSpPr>
                <a:spLocks/>
              </p:cNvSpPr>
              <p:nvPr/>
            </p:nvSpPr>
            <p:spPr bwMode="auto">
              <a:xfrm>
                <a:off x="3885613" y="1350945"/>
                <a:ext cx="1624013" cy="36513"/>
              </a:xfrm>
              <a:custGeom>
                <a:avLst/>
                <a:gdLst>
                  <a:gd name="T0" fmla="*/ 0 w 2047"/>
                  <a:gd name="T1" fmla="*/ 46 h 46"/>
                  <a:gd name="T2" fmla="*/ 2047 w 2047"/>
                  <a:gd name="T3" fmla="*/ 46 h 46"/>
                  <a:gd name="T4" fmla="*/ 2047 w 2047"/>
                  <a:gd name="T5" fmla="*/ 0 h 46"/>
                  <a:gd name="T6" fmla="*/ 0 w 2047"/>
                  <a:gd name="T7" fmla="*/ 0 h 46"/>
                  <a:gd name="T8" fmla="*/ 0 w 2047"/>
                  <a:gd name="T9" fmla="*/ 46 h 46"/>
                  <a:gd name="T10" fmla="*/ 0 w 2047"/>
                  <a:gd name="T11" fmla="*/ 46 h 46"/>
                </a:gdLst>
                <a:ahLst/>
                <a:cxnLst>
                  <a:cxn ang="0">
                    <a:pos x="T0" y="T1"/>
                  </a:cxn>
                  <a:cxn ang="0">
                    <a:pos x="T2" y="T3"/>
                  </a:cxn>
                  <a:cxn ang="0">
                    <a:pos x="T4" y="T5"/>
                  </a:cxn>
                  <a:cxn ang="0">
                    <a:pos x="T6" y="T7"/>
                  </a:cxn>
                  <a:cxn ang="0">
                    <a:pos x="T8" y="T9"/>
                  </a:cxn>
                  <a:cxn ang="0">
                    <a:pos x="T10" y="T11"/>
                  </a:cxn>
                </a:cxnLst>
                <a:rect l="0" t="0" r="r" b="b"/>
                <a:pathLst>
                  <a:path w="2047" h="46">
                    <a:moveTo>
                      <a:pt x="0" y="46"/>
                    </a:moveTo>
                    <a:lnTo>
                      <a:pt x="2047" y="46"/>
                    </a:lnTo>
                    <a:lnTo>
                      <a:pt x="2047" y="0"/>
                    </a:lnTo>
                    <a:lnTo>
                      <a:pt x="0" y="0"/>
                    </a:lnTo>
                    <a:lnTo>
                      <a:pt x="0" y="46"/>
                    </a:lnTo>
                    <a:lnTo>
                      <a:pt x="0" y="4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908" name="Group 1907">
            <a:extLst>
              <a:ext uri="{FF2B5EF4-FFF2-40B4-BE49-F238E27FC236}">
                <a16:creationId xmlns:a16="http://schemas.microsoft.com/office/drawing/2014/main" id="{157AAD8E-B23A-45D2-87EE-EDAA3FCD3F09}"/>
              </a:ext>
            </a:extLst>
          </p:cNvPr>
          <p:cNvGrpSpPr/>
          <p:nvPr/>
        </p:nvGrpSpPr>
        <p:grpSpPr>
          <a:xfrm>
            <a:off x="4611136" y="1656899"/>
            <a:ext cx="612775" cy="612775"/>
            <a:chOff x="2778772" y="2258092"/>
            <a:chExt cx="612775" cy="612775"/>
          </a:xfrm>
        </p:grpSpPr>
        <p:sp>
          <p:nvSpPr>
            <p:cNvPr id="1909" name="Oval 1908">
              <a:extLst>
                <a:ext uri="{FF2B5EF4-FFF2-40B4-BE49-F238E27FC236}">
                  <a16:creationId xmlns:a16="http://schemas.microsoft.com/office/drawing/2014/main" id="{217B0DB9-886D-468B-93F6-902300620350}"/>
                </a:ext>
              </a:extLst>
            </p:cNvPr>
            <p:cNvSpPr/>
            <p:nvPr/>
          </p:nvSpPr>
          <p:spPr bwMode="ltGray">
            <a:xfrm>
              <a:off x="2778772"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910" name="Freeform 7">
              <a:extLst>
                <a:ext uri="{FF2B5EF4-FFF2-40B4-BE49-F238E27FC236}">
                  <a16:creationId xmlns:a16="http://schemas.microsoft.com/office/drawing/2014/main" id="{4AFEB05D-B855-4307-BE02-521C1AB62017}"/>
                </a:ext>
              </a:extLst>
            </p:cNvPr>
            <p:cNvSpPr>
              <a:spLocks/>
            </p:cNvSpPr>
            <p:nvPr/>
          </p:nvSpPr>
          <p:spPr bwMode="auto">
            <a:xfrm rot="3433171">
              <a:off x="2834753" y="2428874"/>
              <a:ext cx="470362" cy="355117"/>
            </a:xfrm>
            <a:custGeom>
              <a:avLst/>
              <a:gdLst>
                <a:gd name="T0" fmla="*/ 2005 w 2230"/>
                <a:gd name="T1" fmla="*/ 700 h 1689"/>
                <a:gd name="T2" fmla="*/ 1949 w 2230"/>
                <a:gd name="T3" fmla="*/ 713 h 1689"/>
                <a:gd name="T4" fmla="*/ 1889 w 2230"/>
                <a:gd name="T5" fmla="*/ 726 h 1689"/>
                <a:gd name="T6" fmla="*/ 1825 w 2230"/>
                <a:gd name="T7" fmla="*/ 738 h 1689"/>
                <a:gd name="T8" fmla="*/ 1760 w 2230"/>
                <a:gd name="T9" fmla="*/ 749 h 1689"/>
                <a:gd name="T10" fmla="*/ 1695 w 2230"/>
                <a:gd name="T11" fmla="*/ 757 h 1689"/>
                <a:gd name="T12" fmla="*/ 1594 w 2230"/>
                <a:gd name="T13" fmla="*/ 765 h 1689"/>
                <a:gd name="T14" fmla="*/ 1473 w 2230"/>
                <a:gd name="T15" fmla="*/ 768 h 1689"/>
                <a:gd name="T16" fmla="*/ 1362 w 2230"/>
                <a:gd name="T17" fmla="*/ 767 h 1689"/>
                <a:gd name="T18" fmla="*/ 1275 w 2230"/>
                <a:gd name="T19" fmla="*/ 764 h 1689"/>
                <a:gd name="T20" fmla="*/ 1220 w 2230"/>
                <a:gd name="T21" fmla="*/ 760 h 1689"/>
                <a:gd name="T22" fmla="*/ 1149 w 2230"/>
                <a:gd name="T23" fmla="*/ 1287 h 1689"/>
                <a:gd name="T24" fmla="*/ 1472 w 2230"/>
                <a:gd name="T25" fmla="*/ 1369 h 1689"/>
                <a:gd name="T26" fmla="*/ 1459 w 2230"/>
                <a:gd name="T27" fmla="*/ 1529 h 1689"/>
                <a:gd name="T28" fmla="*/ 1137 w 2230"/>
                <a:gd name="T29" fmla="*/ 1467 h 1689"/>
                <a:gd name="T30" fmla="*/ 1129 w 2230"/>
                <a:gd name="T31" fmla="*/ 1572 h 1689"/>
                <a:gd name="T32" fmla="*/ 1110 w 2230"/>
                <a:gd name="T33" fmla="*/ 1680 h 1689"/>
                <a:gd name="T34" fmla="*/ 1074 w 2230"/>
                <a:gd name="T35" fmla="*/ 1572 h 1689"/>
                <a:gd name="T36" fmla="*/ 1026 w 2230"/>
                <a:gd name="T37" fmla="*/ 1546 h 1689"/>
                <a:gd name="T38" fmla="*/ 728 w 2230"/>
                <a:gd name="T39" fmla="*/ 1385 h 1689"/>
                <a:gd name="T40" fmla="*/ 751 w 2230"/>
                <a:gd name="T41" fmla="*/ 1351 h 1689"/>
                <a:gd name="T42" fmla="*/ 531 w 2230"/>
                <a:gd name="T43" fmla="*/ 759 h 1689"/>
                <a:gd name="T44" fmla="*/ 105 w 2230"/>
                <a:gd name="T45" fmla="*/ 681 h 1689"/>
                <a:gd name="T46" fmla="*/ 76 w 2230"/>
                <a:gd name="T47" fmla="*/ 673 h 1689"/>
                <a:gd name="T48" fmla="*/ 58 w 2230"/>
                <a:gd name="T49" fmla="*/ 668 h 1689"/>
                <a:gd name="T50" fmla="*/ 17 w 2230"/>
                <a:gd name="T51" fmla="*/ 644 h 1689"/>
                <a:gd name="T52" fmla="*/ 5 w 2230"/>
                <a:gd name="T53" fmla="*/ 621 h 1689"/>
                <a:gd name="T54" fmla="*/ 0 w 2230"/>
                <a:gd name="T55" fmla="*/ 397 h 1689"/>
                <a:gd name="T56" fmla="*/ 996 w 2230"/>
                <a:gd name="T57" fmla="*/ 218 h 1689"/>
                <a:gd name="T58" fmla="*/ 1012 w 2230"/>
                <a:gd name="T59" fmla="*/ 124 h 1689"/>
                <a:gd name="T60" fmla="*/ 1033 w 2230"/>
                <a:gd name="T61" fmla="*/ 114 h 1689"/>
                <a:gd name="T62" fmla="*/ 1057 w 2230"/>
                <a:gd name="T63" fmla="*/ 108 h 1689"/>
                <a:gd name="T64" fmla="*/ 1068 w 2230"/>
                <a:gd name="T65" fmla="*/ 89 h 1689"/>
                <a:gd name="T66" fmla="*/ 845 w 2230"/>
                <a:gd name="T67" fmla="*/ 73 h 1689"/>
                <a:gd name="T68" fmla="*/ 1083 w 2230"/>
                <a:gd name="T69" fmla="*/ 25 h 1689"/>
                <a:gd name="T70" fmla="*/ 1103 w 2230"/>
                <a:gd name="T71" fmla="*/ 0 h 1689"/>
                <a:gd name="T72" fmla="*/ 1122 w 2230"/>
                <a:gd name="T73" fmla="*/ 25 h 1689"/>
                <a:gd name="T74" fmla="*/ 1368 w 2230"/>
                <a:gd name="T75" fmla="*/ 73 h 1689"/>
                <a:gd name="T76" fmla="*/ 1137 w 2230"/>
                <a:gd name="T77" fmla="*/ 89 h 1689"/>
                <a:gd name="T78" fmla="*/ 1149 w 2230"/>
                <a:gd name="T79" fmla="*/ 108 h 1689"/>
                <a:gd name="T80" fmla="*/ 1173 w 2230"/>
                <a:gd name="T81" fmla="*/ 114 h 1689"/>
                <a:gd name="T82" fmla="*/ 1196 w 2230"/>
                <a:gd name="T83" fmla="*/ 124 h 1689"/>
                <a:gd name="T84" fmla="*/ 1212 w 2230"/>
                <a:gd name="T85" fmla="*/ 219 h 1689"/>
                <a:gd name="T86" fmla="*/ 2214 w 2230"/>
                <a:gd name="T87" fmla="*/ 408 h 1689"/>
                <a:gd name="T88" fmla="*/ 2218 w 2230"/>
                <a:gd name="T89" fmla="*/ 612 h 1689"/>
                <a:gd name="T90" fmla="*/ 2185 w 2230"/>
                <a:gd name="T91" fmla="*/ 643 h 1689"/>
                <a:gd name="T92" fmla="*/ 2165 w 2230"/>
                <a:gd name="T93" fmla="*/ 653 h 1689"/>
                <a:gd name="connsiteX0" fmla="*/ 9709 w 10000"/>
                <a:gd name="connsiteY0" fmla="*/ 3866 h 10000"/>
                <a:gd name="connsiteX1" fmla="*/ 8996 w 10000"/>
                <a:gd name="connsiteY1" fmla="*/ 4192 h 10000"/>
                <a:gd name="connsiteX2" fmla="*/ 8910 w 10000"/>
                <a:gd name="connsiteY2" fmla="*/ 4174 h 10000"/>
                <a:gd name="connsiteX3" fmla="*/ 8825 w 10000"/>
                <a:gd name="connsiteY3" fmla="*/ 4192 h 10000"/>
                <a:gd name="connsiteX4" fmla="*/ 8740 w 10000"/>
                <a:gd name="connsiteY4" fmla="*/ 4221 h 10000"/>
                <a:gd name="connsiteX5" fmla="*/ 8650 w 10000"/>
                <a:gd name="connsiteY5" fmla="*/ 4251 h 10000"/>
                <a:gd name="connsiteX6" fmla="*/ 8565 w 10000"/>
                <a:gd name="connsiteY6" fmla="*/ 4269 h 10000"/>
                <a:gd name="connsiteX7" fmla="*/ 8471 w 10000"/>
                <a:gd name="connsiteY7" fmla="*/ 4298 h 10000"/>
                <a:gd name="connsiteX8" fmla="*/ 8377 w 10000"/>
                <a:gd name="connsiteY8" fmla="*/ 4322 h 10000"/>
                <a:gd name="connsiteX9" fmla="*/ 8278 w 10000"/>
                <a:gd name="connsiteY9" fmla="*/ 4346 h 10000"/>
                <a:gd name="connsiteX10" fmla="*/ 8184 w 10000"/>
                <a:gd name="connsiteY10" fmla="*/ 4369 h 10000"/>
                <a:gd name="connsiteX11" fmla="*/ 8090 w 10000"/>
                <a:gd name="connsiteY11" fmla="*/ 4393 h 10000"/>
                <a:gd name="connsiteX12" fmla="*/ 7991 w 10000"/>
                <a:gd name="connsiteY12" fmla="*/ 4411 h 10000"/>
                <a:gd name="connsiteX13" fmla="*/ 7892 w 10000"/>
                <a:gd name="connsiteY13" fmla="*/ 4435 h 10000"/>
                <a:gd name="connsiteX14" fmla="*/ 7794 w 10000"/>
                <a:gd name="connsiteY14" fmla="*/ 4452 h 10000"/>
                <a:gd name="connsiteX15" fmla="*/ 7700 w 10000"/>
                <a:gd name="connsiteY15" fmla="*/ 4470 h 10000"/>
                <a:gd name="connsiteX16" fmla="*/ 7601 w 10000"/>
                <a:gd name="connsiteY16" fmla="*/ 4482 h 10000"/>
                <a:gd name="connsiteX17" fmla="*/ 7511 w 10000"/>
                <a:gd name="connsiteY17" fmla="*/ 4494 h 10000"/>
                <a:gd name="connsiteX18" fmla="*/ 7327 w 10000"/>
                <a:gd name="connsiteY18" fmla="*/ 4517 h 10000"/>
                <a:gd name="connsiteX19" fmla="*/ 7148 w 10000"/>
                <a:gd name="connsiteY19" fmla="*/ 4529 h 10000"/>
                <a:gd name="connsiteX20" fmla="*/ 6960 w 10000"/>
                <a:gd name="connsiteY20" fmla="*/ 4541 h 10000"/>
                <a:gd name="connsiteX21" fmla="*/ 6780 w 10000"/>
                <a:gd name="connsiteY21" fmla="*/ 4547 h 10000"/>
                <a:gd name="connsiteX22" fmla="*/ 6605 w 10000"/>
                <a:gd name="connsiteY22" fmla="*/ 4547 h 10000"/>
                <a:gd name="connsiteX23" fmla="*/ 6430 w 10000"/>
                <a:gd name="connsiteY23" fmla="*/ 4547 h 10000"/>
                <a:gd name="connsiteX24" fmla="*/ 6265 w 10000"/>
                <a:gd name="connsiteY24" fmla="*/ 4547 h 10000"/>
                <a:gd name="connsiteX25" fmla="*/ 6108 w 10000"/>
                <a:gd name="connsiteY25" fmla="*/ 4541 h 10000"/>
                <a:gd name="connsiteX26" fmla="*/ 5964 w 10000"/>
                <a:gd name="connsiteY26" fmla="*/ 4535 h 10000"/>
                <a:gd name="connsiteX27" fmla="*/ 5830 w 10000"/>
                <a:gd name="connsiteY27" fmla="*/ 4529 h 10000"/>
                <a:gd name="connsiteX28" fmla="*/ 5717 w 10000"/>
                <a:gd name="connsiteY28" fmla="*/ 4523 h 10000"/>
                <a:gd name="connsiteX29" fmla="*/ 5614 w 10000"/>
                <a:gd name="connsiteY29" fmla="*/ 4517 h 10000"/>
                <a:gd name="connsiteX30" fmla="*/ 5534 w 10000"/>
                <a:gd name="connsiteY30" fmla="*/ 4506 h 10000"/>
                <a:gd name="connsiteX31" fmla="*/ 5471 w 10000"/>
                <a:gd name="connsiteY31" fmla="*/ 4500 h 10000"/>
                <a:gd name="connsiteX32" fmla="*/ 5435 w 10000"/>
                <a:gd name="connsiteY32" fmla="*/ 4494 h 10000"/>
                <a:gd name="connsiteX33" fmla="*/ 5422 w 10000"/>
                <a:gd name="connsiteY33" fmla="*/ 4494 h 10000"/>
                <a:gd name="connsiteX34" fmla="*/ 5152 w 10000"/>
                <a:gd name="connsiteY34" fmla="*/ 7620 h 10000"/>
                <a:gd name="connsiteX35" fmla="*/ 6516 w 10000"/>
                <a:gd name="connsiteY35" fmla="*/ 7999 h 10000"/>
                <a:gd name="connsiteX36" fmla="*/ 6565 w 10000"/>
                <a:gd name="connsiteY36" fmla="*/ 8034 h 10000"/>
                <a:gd name="connsiteX37" fmla="*/ 6601 w 10000"/>
                <a:gd name="connsiteY37" fmla="*/ 8105 h 10000"/>
                <a:gd name="connsiteX38" fmla="*/ 6623 w 10000"/>
                <a:gd name="connsiteY38" fmla="*/ 8200 h 10000"/>
                <a:gd name="connsiteX39" fmla="*/ 6632 w 10000"/>
                <a:gd name="connsiteY39" fmla="*/ 8307 h 10000"/>
                <a:gd name="connsiteX40" fmla="*/ 6543 w 10000"/>
                <a:gd name="connsiteY40" fmla="*/ 9053 h 10000"/>
                <a:gd name="connsiteX41" fmla="*/ 5291 w 10000"/>
                <a:gd name="connsiteY41" fmla="*/ 9153 h 10000"/>
                <a:gd name="connsiteX42" fmla="*/ 5099 w 10000"/>
                <a:gd name="connsiteY42" fmla="*/ 8620 h 10000"/>
                <a:gd name="connsiteX43" fmla="*/ 5099 w 10000"/>
                <a:gd name="connsiteY43" fmla="*/ 8686 h 10000"/>
                <a:gd name="connsiteX44" fmla="*/ 5090 w 10000"/>
                <a:gd name="connsiteY44" fmla="*/ 8840 h 10000"/>
                <a:gd name="connsiteX45" fmla="*/ 5081 w 10000"/>
                <a:gd name="connsiteY45" fmla="*/ 9059 h 10000"/>
                <a:gd name="connsiteX46" fmla="*/ 5063 w 10000"/>
                <a:gd name="connsiteY46" fmla="*/ 9307 h 10000"/>
                <a:gd name="connsiteX47" fmla="*/ 5040 w 10000"/>
                <a:gd name="connsiteY47" fmla="*/ 9568 h 10000"/>
                <a:gd name="connsiteX48" fmla="*/ 5013 w 10000"/>
                <a:gd name="connsiteY48" fmla="*/ 9787 h 10000"/>
                <a:gd name="connsiteX49" fmla="*/ 4978 w 10000"/>
                <a:gd name="connsiteY49" fmla="*/ 9947 h 10000"/>
                <a:gd name="connsiteX50" fmla="*/ 4928 w 10000"/>
                <a:gd name="connsiteY50" fmla="*/ 10000 h 10000"/>
                <a:gd name="connsiteX51" fmla="*/ 4852 w 10000"/>
                <a:gd name="connsiteY51" fmla="*/ 9781 h 10000"/>
                <a:gd name="connsiteX52" fmla="*/ 4816 w 10000"/>
                <a:gd name="connsiteY52" fmla="*/ 9307 h 10000"/>
                <a:gd name="connsiteX53" fmla="*/ 4803 w 10000"/>
                <a:gd name="connsiteY53" fmla="*/ 8834 h 10000"/>
                <a:gd name="connsiteX54" fmla="*/ 4794 w 10000"/>
                <a:gd name="connsiteY54" fmla="*/ 8620 h 10000"/>
                <a:gd name="connsiteX55" fmla="*/ 4601 w 10000"/>
                <a:gd name="connsiteY55" fmla="*/ 9153 h 10000"/>
                <a:gd name="connsiteX56" fmla="*/ 3368 w 10000"/>
                <a:gd name="connsiteY56" fmla="*/ 9053 h 10000"/>
                <a:gd name="connsiteX57" fmla="*/ 3260 w 10000"/>
                <a:gd name="connsiteY57" fmla="*/ 8307 h 10000"/>
                <a:gd name="connsiteX58" fmla="*/ 3265 w 10000"/>
                <a:gd name="connsiteY58" fmla="*/ 8200 h 10000"/>
                <a:gd name="connsiteX59" fmla="*/ 3291 w 10000"/>
                <a:gd name="connsiteY59" fmla="*/ 8105 h 10000"/>
                <a:gd name="connsiteX60" fmla="*/ 3323 w 10000"/>
                <a:gd name="connsiteY60" fmla="*/ 8034 h 10000"/>
                <a:gd name="connsiteX61" fmla="*/ 3368 w 10000"/>
                <a:gd name="connsiteY61" fmla="*/ 7999 h 10000"/>
                <a:gd name="connsiteX62" fmla="*/ 4740 w 10000"/>
                <a:gd name="connsiteY62" fmla="*/ 7620 h 10000"/>
                <a:gd name="connsiteX63" fmla="*/ 4475 w 10000"/>
                <a:gd name="connsiteY63" fmla="*/ 4494 h 10000"/>
                <a:gd name="connsiteX64" fmla="*/ 2381 w 10000"/>
                <a:gd name="connsiteY64" fmla="*/ 4494 h 10000"/>
                <a:gd name="connsiteX65" fmla="*/ 511 w 10000"/>
                <a:gd name="connsiteY65" fmla="*/ 4044 h 10000"/>
                <a:gd name="connsiteX66" fmla="*/ 502 w 10000"/>
                <a:gd name="connsiteY66" fmla="*/ 4044 h 10000"/>
                <a:gd name="connsiteX67" fmla="*/ 471 w 10000"/>
                <a:gd name="connsiteY67" fmla="*/ 4032 h 10000"/>
                <a:gd name="connsiteX68" fmla="*/ 430 w 10000"/>
                <a:gd name="connsiteY68" fmla="*/ 4020 h 10000"/>
                <a:gd name="connsiteX69" fmla="*/ 386 w 10000"/>
                <a:gd name="connsiteY69" fmla="*/ 3996 h 10000"/>
                <a:gd name="connsiteX70" fmla="*/ 341 w 10000"/>
                <a:gd name="connsiteY70" fmla="*/ 3985 h 10000"/>
                <a:gd name="connsiteX71" fmla="*/ 300 w 10000"/>
                <a:gd name="connsiteY71" fmla="*/ 3967 h 10000"/>
                <a:gd name="connsiteX72" fmla="*/ 269 w 10000"/>
                <a:gd name="connsiteY72" fmla="*/ 3955 h 10000"/>
                <a:gd name="connsiteX73" fmla="*/ 260 w 10000"/>
                <a:gd name="connsiteY73" fmla="*/ 3955 h 10000"/>
                <a:gd name="connsiteX74" fmla="*/ 179 w 10000"/>
                <a:gd name="connsiteY74" fmla="*/ 3914 h 10000"/>
                <a:gd name="connsiteX75" fmla="*/ 126 w 10000"/>
                <a:gd name="connsiteY75" fmla="*/ 3860 h 10000"/>
                <a:gd name="connsiteX76" fmla="*/ 76 w 10000"/>
                <a:gd name="connsiteY76" fmla="*/ 3813 h 10000"/>
                <a:gd name="connsiteX77" fmla="*/ 54 w 10000"/>
                <a:gd name="connsiteY77" fmla="*/ 3760 h 10000"/>
                <a:gd name="connsiteX78" fmla="*/ 31 w 10000"/>
                <a:gd name="connsiteY78" fmla="*/ 3718 h 10000"/>
                <a:gd name="connsiteX79" fmla="*/ 22 w 10000"/>
                <a:gd name="connsiteY79" fmla="*/ 3677 h 10000"/>
                <a:gd name="connsiteX80" fmla="*/ 13 w 10000"/>
                <a:gd name="connsiteY80" fmla="*/ 3647 h 10000"/>
                <a:gd name="connsiteX81" fmla="*/ 13 w 10000"/>
                <a:gd name="connsiteY81" fmla="*/ 3641 h 10000"/>
                <a:gd name="connsiteX82" fmla="*/ 0 w 10000"/>
                <a:gd name="connsiteY82" fmla="*/ 2351 h 10000"/>
                <a:gd name="connsiteX83" fmla="*/ 4408 w 10000"/>
                <a:gd name="connsiteY83" fmla="*/ 2345 h 10000"/>
                <a:gd name="connsiteX84" fmla="*/ 4439 w 10000"/>
                <a:gd name="connsiteY84" fmla="*/ 1764 h 10000"/>
                <a:gd name="connsiteX85" fmla="*/ 4466 w 10000"/>
                <a:gd name="connsiteY85" fmla="*/ 1291 h 10000"/>
                <a:gd name="connsiteX86" fmla="*/ 4484 w 10000"/>
                <a:gd name="connsiteY86" fmla="*/ 941 h 10000"/>
                <a:gd name="connsiteX87" fmla="*/ 4516 w 10000"/>
                <a:gd name="connsiteY87" fmla="*/ 770 h 10000"/>
                <a:gd name="connsiteX88" fmla="*/ 4538 w 10000"/>
                <a:gd name="connsiteY88" fmla="*/ 734 h 10000"/>
                <a:gd name="connsiteX89" fmla="*/ 4565 w 10000"/>
                <a:gd name="connsiteY89" fmla="*/ 716 h 10000"/>
                <a:gd name="connsiteX90" fmla="*/ 4596 w 10000"/>
                <a:gd name="connsiteY90" fmla="*/ 687 h 10000"/>
                <a:gd name="connsiteX91" fmla="*/ 4632 w 10000"/>
                <a:gd name="connsiteY91" fmla="*/ 675 h 10000"/>
                <a:gd name="connsiteX92" fmla="*/ 4668 w 10000"/>
                <a:gd name="connsiteY92" fmla="*/ 663 h 10000"/>
                <a:gd name="connsiteX93" fmla="*/ 4704 w 10000"/>
                <a:gd name="connsiteY93" fmla="*/ 645 h 10000"/>
                <a:gd name="connsiteX94" fmla="*/ 4740 w 10000"/>
                <a:gd name="connsiteY94" fmla="*/ 639 h 10000"/>
                <a:gd name="connsiteX95" fmla="*/ 4767 w 10000"/>
                <a:gd name="connsiteY95" fmla="*/ 639 h 10000"/>
                <a:gd name="connsiteX96" fmla="*/ 4780 w 10000"/>
                <a:gd name="connsiteY96" fmla="*/ 586 h 10000"/>
                <a:gd name="connsiteX97" fmla="*/ 4789 w 10000"/>
                <a:gd name="connsiteY97" fmla="*/ 527 h 10000"/>
                <a:gd name="connsiteX98" fmla="*/ 4807 w 10000"/>
                <a:gd name="connsiteY98" fmla="*/ 480 h 10000"/>
                <a:gd name="connsiteX99" fmla="*/ 4816 w 10000"/>
                <a:gd name="connsiteY99" fmla="*/ 432 h 10000"/>
                <a:gd name="connsiteX100" fmla="*/ 3789 w 10000"/>
                <a:gd name="connsiteY100" fmla="*/ 432 h 10000"/>
                <a:gd name="connsiteX101" fmla="*/ 3789 w 10000"/>
                <a:gd name="connsiteY101" fmla="*/ 219 h 10000"/>
                <a:gd name="connsiteX102" fmla="*/ 4834 w 10000"/>
                <a:gd name="connsiteY102" fmla="*/ 219 h 10000"/>
                <a:gd name="connsiteX103" fmla="*/ 4857 w 10000"/>
                <a:gd name="connsiteY103" fmla="*/ 148 h 10000"/>
                <a:gd name="connsiteX104" fmla="*/ 4883 w 10000"/>
                <a:gd name="connsiteY104" fmla="*/ 77 h 10000"/>
                <a:gd name="connsiteX105" fmla="*/ 4910 w 10000"/>
                <a:gd name="connsiteY105" fmla="*/ 18 h 10000"/>
                <a:gd name="connsiteX106" fmla="*/ 4946 w 10000"/>
                <a:gd name="connsiteY106" fmla="*/ 0 h 10000"/>
                <a:gd name="connsiteX107" fmla="*/ 4982 w 10000"/>
                <a:gd name="connsiteY107" fmla="*/ 18 h 10000"/>
                <a:gd name="connsiteX108" fmla="*/ 5009 w 10000"/>
                <a:gd name="connsiteY108" fmla="*/ 77 h 10000"/>
                <a:gd name="connsiteX109" fmla="*/ 5031 w 10000"/>
                <a:gd name="connsiteY109" fmla="*/ 148 h 10000"/>
                <a:gd name="connsiteX110" fmla="*/ 5054 w 10000"/>
                <a:gd name="connsiteY110" fmla="*/ 219 h 10000"/>
                <a:gd name="connsiteX111" fmla="*/ 6135 w 10000"/>
                <a:gd name="connsiteY111" fmla="*/ 219 h 10000"/>
                <a:gd name="connsiteX112" fmla="*/ 6135 w 10000"/>
                <a:gd name="connsiteY112" fmla="*/ 432 h 10000"/>
                <a:gd name="connsiteX113" fmla="*/ 5076 w 10000"/>
                <a:gd name="connsiteY113" fmla="*/ 432 h 10000"/>
                <a:gd name="connsiteX114" fmla="*/ 5085 w 10000"/>
                <a:gd name="connsiteY114" fmla="*/ 480 h 10000"/>
                <a:gd name="connsiteX115" fmla="*/ 5099 w 10000"/>
                <a:gd name="connsiteY115" fmla="*/ 527 h 10000"/>
                <a:gd name="connsiteX116" fmla="*/ 5112 w 10000"/>
                <a:gd name="connsiteY116" fmla="*/ 586 h 10000"/>
                <a:gd name="connsiteX117" fmla="*/ 5126 w 10000"/>
                <a:gd name="connsiteY117" fmla="*/ 639 h 10000"/>
                <a:gd name="connsiteX118" fmla="*/ 5152 w 10000"/>
                <a:gd name="connsiteY118" fmla="*/ 639 h 10000"/>
                <a:gd name="connsiteX119" fmla="*/ 5188 w 10000"/>
                <a:gd name="connsiteY119" fmla="*/ 645 h 10000"/>
                <a:gd name="connsiteX120" fmla="*/ 5224 w 10000"/>
                <a:gd name="connsiteY120" fmla="*/ 663 h 10000"/>
                <a:gd name="connsiteX121" fmla="*/ 5260 w 10000"/>
                <a:gd name="connsiteY121" fmla="*/ 675 h 10000"/>
                <a:gd name="connsiteX122" fmla="*/ 5296 w 10000"/>
                <a:gd name="connsiteY122" fmla="*/ 687 h 10000"/>
                <a:gd name="connsiteX123" fmla="*/ 5332 w 10000"/>
                <a:gd name="connsiteY123" fmla="*/ 716 h 10000"/>
                <a:gd name="connsiteX124" fmla="*/ 5363 w 10000"/>
                <a:gd name="connsiteY124" fmla="*/ 734 h 10000"/>
                <a:gd name="connsiteX125" fmla="*/ 5390 w 10000"/>
                <a:gd name="connsiteY125" fmla="*/ 770 h 10000"/>
                <a:gd name="connsiteX126" fmla="*/ 5413 w 10000"/>
                <a:gd name="connsiteY126" fmla="*/ 941 h 10000"/>
                <a:gd name="connsiteX127" fmla="*/ 5435 w 10000"/>
                <a:gd name="connsiteY127" fmla="*/ 1297 h 10000"/>
                <a:gd name="connsiteX128" fmla="*/ 5462 w 10000"/>
                <a:gd name="connsiteY128" fmla="*/ 1794 h 10000"/>
                <a:gd name="connsiteX129" fmla="*/ 5489 w 10000"/>
                <a:gd name="connsiteY129" fmla="*/ 2404 h 10000"/>
                <a:gd name="connsiteX130" fmla="*/ 9928 w 10000"/>
                <a:gd name="connsiteY130" fmla="*/ 2416 h 10000"/>
                <a:gd name="connsiteX131" fmla="*/ 10000 w 10000"/>
                <a:gd name="connsiteY131" fmla="*/ 3410 h 10000"/>
                <a:gd name="connsiteX132" fmla="*/ 9978 w 10000"/>
                <a:gd name="connsiteY132" fmla="*/ 3529 h 10000"/>
                <a:gd name="connsiteX133" fmla="*/ 9946 w 10000"/>
                <a:gd name="connsiteY133" fmla="*/ 3623 h 10000"/>
                <a:gd name="connsiteX134" fmla="*/ 9901 w 10000"/>
                <a:gd name="connsiteY134" fmla="*/ 3694 h 10000"/>
                <a:gd name="connsiteX135" fmla="*/ 9852 w 10000"/>
                <a:gd name="connsiteY135" fmla="*/ 3760 h 10000"/>
                <a:gd name="connsiteX136" fmla="*/ 9798 w 10000"/>
                <a:gd name="connsiteY136" fmla="*/ 3807 h 10000"/>
                <a:gd name="connsiteX137" fmla="*/ 9753 w 10000"/>
                <a:gd name="connsiteY137" fmla="*/ 3843 h 10000"/>
                <a:gd name="connsiteX138" fmla="*/ 9722 w 10000"/>
                <a:gd name="connsiteY138" fmla="*/ 3860 h 10000"/>
                <a:gd name="connsiteX139" fmla="*/ 9709 w 10000"/>
                <a:gd name="connsiteY139"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7327 w 10000"/>
                <a:gd name="connsiteY17" fmla="*/ 4517 h 10000"/>
                <a:gd name="connsiteX18" fmla="*/ 7148 w 10000"/>
                <a:gd name="connsiteY18" fmla="*/ 4529 h 10000"/>
                <a:gd name="connsiteX19" fmla="*/ 6960 w 10000"/>
                <a:gd name="connsiteY19" fmla="*/ 4541 h 10000"/>
                <a:gd name="connsiteX20" fmla="*/ 6780 w 10000"/>
                <a:gd name="connsiteY20" fmla="*/ 4547 h 10000"/>
                <a:gd name="connsiteX21" fmla="*/ 6605 w 10000"/>
                <a:gd name="connsiteY21" fmla="*/ 4547 h 10000"/>
                <a:gd name="connsiteX22" fmla="*/ 6430 w 10000"/>
                <a:gd name="connsiteY22" fmla="*/ 4547 h 10000"/>
                <a:gd name="connsiteX23" fmla="*/ 6265 w 10000"/>
                <a:gd name="connsiteY23" fmla="*/ 4547 h 10000"/>
                <a:gd name="connsiteX24" fmla="*/ 6108 w 10000"/>
                <a:gd name="connsiteY24" fmla="*/ 4541 h 10000"/>
                <a:gd name="connsiteX25" fmla="*/ 5964 w 10000"/>
                <a:gd name="connsiteY25" fmla="*/ 4535 h 10000"/>
                <a:gd name="connsiteX26" fmla="*/ 5830 w 10000"/>
                <a:gd name="connsiteY26" fmla="*/ 4529 h 10000"/>
                <a:gd name="connsiteX27" fmla="*/ 5717 w 10000"/>
                <a:gd name="connsiteY27" fmla="*/ 4523 h 10000"/>
                <a:gd name="connsiteX28" fmla="*/ 5614 w 10000"/>
                <a:gd name="connsiteY28" fmla="*/ 4517 h 10000"/>
                <a:gd name="connsiteX29" fmla="*/ 5534 w 10000"/>
                <a:gd name="connsiteY29" fmla="*/ 4506 h 10000"/>
                <a:gd name="connsiteX30" fmla="*/ 5471 w 10000"/>
                <a:gd name="connsiteY30" fmla="*/ 4500 h 10000"/>
                <a:gd name="connsiteX31" fmla="*/ 5435 w 10000"/>
                <a:gd name="connsiteY31" fmla="*/ 4494 h 10000"/>
                <a:gd name="connsiteX32" fmla="*/ 5422 w 10000"/>
                <a:gd name="connsiteY32" fmla="*/ 4494 h 10000"/>
                <a:gd name="connsiteX33" fmla="*/ 5152 w 10000"/>
                <a:gd name="connsiteY33" fmla="*/ 7620 h 10000"/>
                <a:gd name="connsiteX34" fmla="*/ 6516 w 10000"/>
                <a:gd name="connsiteY34" fmla="*/ 7999 h 10000"/>
                <a:gd name="connsiteX35" fmla="*/ 6565 w 10000"/>
                <a:gd name="connsiteY35" fmla="*/ 8034 h 10000"/>
                <a:gd name="connsiteX36" fmla="*/ 6601 w 10000"/>
                <a:gd name="connsiteY36" fmla="*/ 8105 h 10000"/>
                <a:gd name="connsiteX37" fmla="*/ 6623 w 10000"/>
                <a:gd name="connsiteY37" fmla="*/ 8200 h 10000"/>
                <a:gd name="connsiteX38" fmla="*/ 6632 w 10000"/>
                <a:gd name="connsiteY38" fmla="*/ 8307 h 10000"/>
                <a:gd name="connsiteX39" fmla="*/ 6543 w 10000"/>
                <a:gd name="connsiteY39" fmla="*/ 9053 h 10000"/>
                <a:gd name="connsiteX40" fmla="*/ 5291 w 10000"/>
                <a:gd name="connsiteY40" fmla="*/ 9153 h 10000"/>
                <a:gd name="connsiteX41" fmla="*/ 5099 w 10000"/>
                <a:gd name="connsiteY41" fmla="*/ 8620 h 10000"/>
                <a:gd name="connsiteX42" fmla="*/ 5099 w 10000"/>
                <a:gd name="connsiteY42" fmla="*/ 8686 h 10000"/>
                <a:gd name="connsiteX43" fmla="*/ 5090 w 10000"/>
                <a:gd name="connsiteY43" fmla="*/ 8840 h 10000"/>
                <a:gd name="connsiteX44" fmla="*/ 5081 w 10000"/>
                <a:gd name="connsiteY44" fmla="*/ 9059 h 10000"/>
                <a:gd name="connsiteX45" fmla="*/ 5063 w 10000"/>
                <a:gd name="connsiteY45" fmla="*/ 9307 h 10000"/>
                <a:gd name="connsiteX46" fmla="*/ 5040 w 10000"/>
                <a:gd name="connsiteY46" fmla="*/ 9568 h 10000"/>
                <a:gd name="connsiteX47" fmla="*/ 5013 w 10000"/>
                <a:gd name="connsiteY47" fmla="*/ 9787 h 10000"/>
                <a:gd name="connsiteX48" fmla="*/ 4978 w 10000"/>
                <a:gd name="connsiteY48" fmla="*/ 9947 h 10000"/>
                <a:gd name="connsiteX49" fmla="*/ 4928 w 10000"/>
                <a:gd name="connsiteY49" fmla="*/ 10000 h 10000"/>
                <a:gd name="connsiteX50" fmla="*/ 4852 w 10000"/>
                <a:gd name="connsiteY50" fmla="*/ 9781 h 10000"/>
                <a:gd name="connsiteX51" fmla="*/ 4816 w 10000"/>
                <a:gd name="connsiteY51" fmla="*/ 9307 h 10000"/>
                <a:gd name="connsiteX52" fmla="*/ 4803 w 10000"/>
                <a:gd name="connsiteY52" fmla="*/ 8834 h 10000"/>
                <a:gd name="connsiteX53" fmla="*/ 4794 w 10000"/>
                <a:gd name="connsiteY53" fmla="*/ 8620 h 10000"/>
                <a:gd name="connsiteX54" fmla="*/ 4601 w 10000"/>
                <a:gd name="connsiteY54" fmla="*/ 9153 h 10000"/>
                <a:gd name="connsiteX55" fmla="*/ 3368 w 10000"/>
                <a:gd name="connsiteY55" fmla="*/ 9053 h 10000"/>
                <a:gd name="connsiteX56" fmla="*/ 3260 w 10000"/>
                <a:gd name="connsiteY56" fmla="*/ 8307 h 10000"/>
                <a:gd name="connsiteX57" fmla="*/ 3265 w 10000"/>
                <a:gd name="connsiteY57" fmla="*/ 8200 h 10000"/>
                <a:gd name="connsiteX58" fmla="*/ 3291 w 10000"/>
                <a:gd name="connsiteY58" fmla="*/ 8105 h 10000"/>
                <a:gd name="connsiteX59" fmla="*/ 3323 w 10000"/>
                <a:gd name="connsiteY59" fmla="*/ 8034 h 10000"/>
                <a:gd name="connsiteX60" fmla="*/ 3368 w 10000"/>
                <a:gd name="connsiteY60" fmla="*/ 7999 h 10000"/>
                <a:gd name="connsiteX61" fmla="*/ 4740 w 10000"/>
                <a:gd name="connsiteY61" fmla="*/ 7620 h 10000"/>
                <a:gd name="connsiteX62" fmla="*/ 4475 w 10000"/>
                <a:gd name="connsiteY62" fmla="*/ 4494 h 10000"/>
                <a:gd name="connsiteX63" fmla="*/ 2381 w 10000"/>
                <a:gd name="connsiteY63" fmla="*/ 4494 h 10000"/>
                <a:gd name="connsiteX64" fmla="*/ 511 w 10000"/>
                <a:gd name="connsiteY64" fmla="*/ 4044 h 10000"/>
                <a:gd name="connsiteX65" fmla="*/ 502 w 10000"/>
                <a:gd name="connsiteY65" fmla="*/ 4044 h 10000"/>
                <a:gd name="connsiteX66" fmla="*/ 471 w 10000"/>
                <a:gd name="connsiteY66" fmla="*/ 4032 h 10000"/>
                <a:gd name="connsiteX67" fmla="*/ 430 w 10000"/>
                <a:gd name="connsiteY67" fmla="*/ 4020 h 10000"/>
                <a:gd name="connsiteX68" fmla="*/ 386 w 10000"/>
                <a:gd name="connsiteY68" fmla="*/ 3996 h 10000"/>
                <a:gd name="connsiteX69" fmla="*/ 341 w 10000"/>
                <a:gd name="connsiteY69" fmla="*/ 3985 h 10000"/>
                <a:gd name="connsiteX70" fmla="*/ 300 w 10000"/>
                <a:gd name="connsiteY70" fmla="*/ 3967 h 10000"/>
                <a:gd name="connsiteX71" fmla="*/ 269 w 10000"/>
                <a:gd name="connsiteY71" fmla="*/ 3955 h 10000"/>
                <a:gd name="connsiteX72" fmla="*/ 260 w 10000"/>
                <a:gd name="connsiteY72" fmla="*/ 3955 h 10000"/>
                <a:gd name="connsiteX73" fmla="*/ 179 w 10000"/>
                <a:gd name="connsiteY73" fmla="*/ 3914 h 10000"/>
                <a:gd name="connsiteX74" fmla="*/ 126 w 10000"/>
                <a:gd name="connsiteY74" fmla="*/ 3860 h 10000"/>
                <a:gd name="connsiteX75" fmla="*/ 76 w 10000"/>
                <a:gd name="connsiteY75" fmla="*/ 3813 h 10000"/>
                <a:gd name="connsiteX76" fmla="*/ 54 w 10000"/>
                <a:gd name="connsiteY76" fmla="*/ 3760 h 10000"/>
                <a:gd name="connsiteX77" fmla="*/ 31 w 10000"/>
                <a:gd name="connsiteY77" fmla="*/ 3718 h 10000"/>
                <a:gd name="connsiteX78" fmla="*/ 22 w 10000"/>
                <a:gd name="connsiteY78" fmla="*/ 3677 h 10000"/>
                <a:gd name="connsiteX79" fmla="*/ 13 w 10000"/>
                <a:gd name="connsiteY79" fmla="*/ 3647 h 10000"/>
                <a:gd name="connsiteX80" fmla="*/ 13 w 10000"/>
                <a:gd name="connsiteY80" fmla="*/ 3641 h 10000"/>
                <a:gd name="connsiteX81" fmla="*/ 0 w 10000"/>
                <a:gd name="connsiteY81" fmla="*/ 2351 h 10000"/>
                <a:gd name="connsiteX82" fmla="*/ 4408 w 10000"/>
                <a:gd name="connsiteY82" fmla="*/ 2345 h 10000"/>
                <a:gd name="connsiteX83" fmla="*/ 4439 w 10000"/>
                <a:gd name="connsiteY83" fmla="*/ 1764 h 10000"/>
                <a:gd name="connsiteX84" fmla="*/ 4466 w 10000"/>
                <a:gd name="connsiteY84" fmla="*/ 1291 h 10000"/>
                <a:gd name="connsiteX85" fmla="*/ 4484 w 10000"/>
                <a:gd name="connsiteY85" fmla="*/ 941 h 10000"/>
                <a:gd name="connsiteX86" fmla="*/ 4516 w 10000"/>
                <a:gd name="connsiteY86" fmla="*/ 770 h 10000"/>
                <a:gd name="connsiteX87" fmla="*/ 4538 w 10000"/>
                <a:gd name="connsiteY87" fmla="*/ 734 h 10000"/>
                <a:gd name="connsiteX88" fmla="*/ 4565 w 10000"/>
                <a:gd name="connsiteY88" fmla="*/ 716 h 10000"/>
                <a:gd name="connsiteX89" fmla="*/ 4596 w 10000"/>
                <a:gd name="connsiteY89" fmla="*/ 687 h 10000"/>
                <a:gd name="connsiteX90" fmla="*/ 4632 w 10000"/>
                <a:gd name="connsiteY90" fmla="*/ 675 h 10000"/>
                <a:gd name="connsiteX91" fmla="*/ 4668 w 10000"/>
                <a:gd name="connsiteY91" fmla="*/ 663 h 10000"/>
                <a:gd name="connsiteX92" fmla="*/ 4704 w 10000"/>
                <a:gd name="connsiteY92" fmla="*/ 645 h 10000"/>
                <a:gd name="connsiteX93" fmla="*/ 4740 w 10000"/>
                <a:gd name="connsiteY93" fmla="*/ 639 h 10000"/>
                <a:gd name="connsiteX94" fmla="*/ 4767 w 10000"/>
                <a:gd name="connsiteY94" fmla="*/ 639 h 10000"/>
                <a:gd name="connsiteX95" fmla="*/ 4780 w 10000"/>
                <a:gd name="connsiteY95" fmla="*/ 586 h 10000"/>
                <a:gd name="connsiteX96" fmla="*/ 4789 w 10000"/>
                <a:gd name="connsiteY96" fmla="*/ 527 h 10000"/>
                <a:gd name="connsiteX97" fmla="*/ 4807 w 10000"/>
                <a:gd name="connsiteY97" fmla="*/ 480 h 10000"/>
                <a:gd name="connsiteX98" fmla="*/ 4816 w 10000"/>
                <a:gd name="connsiteY98" fmla="*/ 432 h 10000"/>
                <a:gd name="connsiteX99" fmla="*/ 3789 w 10000"/>
                <a:gd name="connsiteY99" fmla="*/ 432 h 10000"/>
                <a:gd name="connsiteX100" fmla="*/ 3789 w 10000"/>
                <a:gd name="connsiteY100" fmla="*/ 219 h 10000"/>
                <a:gd name="connsiteX101" fmla="*/ 4834 w 10000"/>
                <a:gd name="connsiteY101" fmla="*/ 219 h 10000"/>
                <a:gd name="connsiteX102" fmla="*/ 4857 w 10000"/>
                <a:gd name="connsiteY102" fmla="*/ 148 h 10000"/>
                <a:gd name="connsiteX103" fmla="*/ 4883 w 10000"/>
                <a:gd name="connsiteY103" fmla="*/ 77 h 10000"/>
                <a:gd name="connsiteX104" fmla="*/ 4910 w 10000"/>
                <a:gd name="connsiteY104" fmla="*/ 18 h 10000"/>
                <a:gd name="connsiteX105" fmla="*/ 4946 w 10000"/>
                <a:gd name="connsiteY105" fmla="*/ 0 h 10000"/>
                <a:gd name="connsiteX106" fmla="*/ 4982 w 10000"/>
                <a:gd name="connsiteY106" fmla="*/ 18 h 10000"/>
                <a:gd name="connsiteX107" fmla="*/ 5009 w 10000"/>
                <a:gd name="connsiteY107" fmla="*/ 77 h 10000"/>
                <a:gd name="connsiteX108" fmla="*/ 5031 w 10000"/>
                <a:gd name="connsiteY108" fmla="*/ 148 h 10000"/>
                <a:gd name="connsiteX109" fmla="*/ 5054 w 10000"/>
                <a:gd name="connsiteY109" fmla="*/ 219 h 10000"/>
                <a:gd name="connsiteX110" fmla="*/ 6135 w 10000"/>
                <a:gd name="connsiteY110" fmla="*/ 219 h 10000"/>
                <a:gd name="connsiteX111" fmla="*/ 6135 w 10000"/>
                <a:gd name="connsiteY111" fmla="*/ 432 h 10000"/>
                <a:gd name="connsiteX112" fmla="*/ 5076 w 10000"/>
                <a:gd name="connsiteY112" fmla="*/ 432 h 10000"/>
                <a:gd name="connsiteX113" fmla="*/ 5085 w 10000"/>
                <a:gd name="connsiteY113" fmla="*/ 480 h 10000"/>
                <a:gd name="connsiteX114" fmla="*/ 5099 w 10000"/>
                <a:gd name="connsiteY114" fmla="*/ 527 h 10000"/>
                <a:gd name="connsiteX115" fmla="*/ 5112 w 10000"/>
                <a:gd name="connsiteY115" fmla="*/ 586 h 10000"/>
                <a:gd name="connsiteX116" fmla="*/ 5126 w 10000"/>
                <a:gd name="connsiteY116" fmla="*/ 639 h 10000"/>
                <a:gd name="connsiteX117" fmla="*/ 5152 w 10000"/>
                <a:gd name="connsiteY117" fmla="*/ 639 h 10000"/>
                <a:gd name="connsiteX118" fmla="*/ 5188 w 10000"/>
                <a:gd name="connsiteY118" fmla="*/ 645 h 10000"/>
                <a:gd name="connsiteX119" fmla="*/ 5224 w 10000"/>
                <a:gd name="connsiteY119" fmla="*/ 663 h 10000"/>
                <a:gd name="connsiteX120" fmla="*/ 5260 w 10000"/>
                <a:gd name="connsiteY120" fmla="*/ 675 h 10000"/>
                <a:gd name="connsiteX121" fmla="*/ 5296 w 10000"/>
                <a:gd name="connsiteY121" fmla="*/ 687 h 10000"/>
                <a:gd name="connsiteX122" fmla="*/ 5332 w 10000"/>
                <a:gd name="connsiteY122" fmla="*/ 716 h 10000"/>
                <a:gd name="connsiteX123" fmla="*/ 5363 w 10000"/>
                <a:gd name="connsiteY123" fmla="*/ 734 h 10000"/>
                <a:gd name="connsiteX124" fmla="*/ 5390 w 10000"/>
                <a:gd name="connsiteY124" fmla="*/ 770 h 10000"/>
                <a:gd name="connsiteX125" fmla="*/ 5413 w 10000"/>
                <a:gd name="connsiteY125" fmla="*/ 941 h 10000"/>
                <a:gd name="connsiteX126" fmla="*/ 5435 w 10000"/>
                <a:gd name="connsiteY126" fmla="*/ 1297 h 10000"/>
                <a:gd name="connsiteX127" fmla="*/ 5462 w 10000"/>
                <a:gd name="connsiteY127" fmla="*/ 1794 h 10000"/>
                <a:gd name="connsiteX128" fmla="*/ 5489 w 10000"/>
                <a:gd name="connsiteY128" fmla="*/ 2404 h 10000"/>
                <a:gd name="connsiteX129" fmla="*/ 9928 w 10000"/>
                <a:gd name="connsiteY129" fmla="*/ 2416 h 10000"/>
                <a:gd name="connsiteX130" fmla="*/ 10000 w 10000"/>
                <a:gd name="connsiteY130" fmla="*/ 3410 h 10000"/>
                <a:gd name="connsiteX131" fmla="*/ 9978 w 10000"/>
                <a:gd name="connsiteY131" fmla="*/ 3529 h 10000"/>
                <a:gd name="connsiteX132" fmla="*/ 9946 w 10000"/>
                <a:gd name="connsiteY132" fmla="*/ 3623 h 10000"/>
                <a:gd name="connsiteX133" fmla="*/ 9901 w 10000"/>
                <a:gd name="connsiteY133" fmla="*/ 3694 h 10000"/>
                <a:gd name="connsiteX134" fmla="*/ 9852 w 10000"/>
                <a:gd name="connsiteY134" fmla="*/ 3760 h 10000"/>
                <a:gd name="connsiteX135" fmla="*/ 9798 w 10000"/>
                <a:gd name="connsiteY135" fmla="*/ 3807 h 10000"/>
                <a:gd name="connsiteX136" fmla="*/ 9753 w 10000"/>
                <a:gd name="connsiteY136" fmla="*/ 3843 h 10000"/>
                <a:gd name="connsiteX137" fmla="*/ 9722 w 10000"/>
                <a:gd name="connsiteY137" fmla="*/ 3860 h 10000"/>
                <a:gd name="connsiteX138" fmla="*/ 9709 w 10000"/>
                <a:gd name="connsiteY138"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7327 w 10000"/>
                <a:gd name="connsiteY17" fmla="*/ 4517 h 10000"/>
                <a:gd name="connsiteX18" fmla="*/ 7148 w 10000"/>
                <a:gd name="connsiteY18" fmla="*/ 4529 h 10000"/>
                <a:gd name="connsiteX19" fmla="*/ 6960 w 10000"/>
                <a:gd name="connsiteY19" fmla="*/ 4541 h 10000"/>
                <a:gd name="connsiteX20" fmla="*/ 6780 w 10000"/>
                <a:gd name="connsiteY20" fmla="*/ 4547 h 10000"/>
                <a:gd name="connsiteX21" fmla="*/ 6605 w 10000"/>
                <a:gd name="connsiteY21" fmla="*/ 4547 h 10000"/>
                <a:gd name="connsiteX22" fmla="*/ 6430 w 10000"/>
                <a:gd name="connsiteY22" fmla="*/ 4547 h 10000"/>
                <a:gd name="connsiteX23" fmla="*/ 6265 w 10000"/>
                <a:gd name="connsiteY23" fmla="*/ 4547 h 10000"/>
                <a:gd name="connsiteX24" fmla="*/ 6108 w 10000"/>
                <a:gd name="connsiteY24" fmla="*/ 4541 h 10000"/>
                <a:gd name="connsiteX25" fmla="*/ 5964 w 10000"/>
                <a:gd name="connsiteY25" fmla="*/ 4535 h 10000"/>
                <a:gd name="connsiteX26" fmla="*/ 5830 w 10000"/>
                <a:gd name="connsiteY26" fmla="*/ 4529 h 10000"/>
                <a:gd name="connsiteX27" fmla="*/ 5717 w 10000"/>
                <a:gd name="connsiteY27" fmla="*/ 4523 h 10000"/>
                <a:gd name="connsiteX28" fmla="*/ 5614 w 10000"/>
                <a:gd name="connsiteY28" fmla="*/ 4517 h 10000"/>
                <a:gd name="connsiteX29" fmla="*/ 5534 w 10000"/>
                <a:gd name="connsiteY29" fmla="*/ 4506 h 10000"/>
                <a:gd name="connsiteX30" fmla="*/ 5471 w 10000"/>
                <a:gd name="connsiteY30" fmla="*/ 4500 h 10000"/>
                <a:gd name="connsiteX31" fmla="*/ 5435 w 10000"/>
                <a:gd name="connsiteY31" fmla="*/ 4494 h 10000"/>
                <a:gd name="connsiteX32" fmla="*/ 5422 w 10000"/>
                <a:gd name="connsiteY32" fmla="*/ 4494 h 10000"/>
                <a:gd name="connsiteX33" fmla="*/ 5152 w 10000"/>
                <a:gd name="connsiteY33" fmla="*/ 7620 h 10000"/>
                <a:gd name="connsiteX34" fmla="*/ 6516 w 10000"/>
                <a:gd name="connsiteY34" fmla="*/ 7999 h 10000"/>
                <a:gd name="connsiteX35" fmla="*/ 6565 w 10000"/>
                <a:gd name="connsiteY35" fmla="*/ 8034 h 10000"/>
                <a:gd name="connsiteX36" fmla="*/ 6601 w 10000"/>
                <a:gd name="connsiteY36" fmla="*/ 8105 h 10000"/>
                <a:gd name="connsiteX37" fmla="*/ 6623 w 10000"/>
                <a:gd name="connsiteY37" fmla="*/ 8200 h 10000"/>
                <a:gd name="connsiteX38" fmla="*/ 6632 w 10000"/>
                <a:gd name="connsiteY38" fmla="*/ 8307 h 10000"/>
                <a:gd name="connsiteX39" fmla="*/ 6543 w 10000"/>
                <a:gd name="connsiteY39" fmla="*/ 9053 h 10000"/>
                <a:gd name="connsiteX40" fmla="*/ 5291 w 10000"/>
                <a:gd name="connsiteY40" fmla="*/ 9153 h 10000"/>
                <a:gd name="connsiteX41" fmla="*/ 5099 w 10000"/>
                <a:gd name="connsiteY41" fmla="*/ 8620 h 10000"/>
                <a:gd name="connsiteX42" fmla="*/ 5099 w 10000"/>
                <a:gd name="connsiteY42" fmla="*/ 8686 h 10000"/>
                <a:gd name="connsiteX43" fmla="*/ 5090 w 10000"/>
                <a:gd name="connsiteY43" fmla="*/ 8840 h 10000"/>
                <a:gd name="connsiteX44" fmla="*/ 5081 w 10000"/>
                <a:gd name="connsiteY44" fmla="*/ 9059 h 10000"/>
                <a:gd name="connsiteX45" fmla="*/ 5063 w 10000"/>
                <a:gd name="connsiteY45" fmla="*/ 9307 h 10000"/>
                <a:gd name="connsiteX46" fmla="*/ 5040 w 10000"/>
                <a:gd name="connsiteY46" fmla="*/ 9568 h 10000"/>
                <a:gd name="connsiteX47" fmla="*/ 5013 w 10000"/>
                <a:gd name="connsiteY47" fmla="*/ 9787 h 10000"/>
                <a:gd name="connsiteX48" fmla="*/ 4978 w 10000"/>
                <a:gd name="connsiteY48" fmla="*/ 9947 h 10000"/>
                <a:gd name="connsiteX49" fmla="*/ 4928 w 10000"/>
                <a:gd name="connsiteY49" fmla="*/ 10000 h 10000"/>
                <a:gd name="connsiteX50" fmla="*/ 4852 w 10000"/>
                <a:gd name="connsiteY50" fmla="*/ 9781 h 10000"/>
                <a:gd name="connsiteX51" fmla="*/ 4816 w 10000"/>
                <a:gd name="connsiteY51" fmla="*/ 9307 h 10000"/>
                <a:gd name="connsiteX52" fmla="*/ 4803 w 10000"/>
                <a:gd name="connsiteY52" fmla="*/ 8834 h 10000"/>
                <a:gd name="connsiteX53" fmla="*/ 4794 w 10000"/>
                <a:gd name="connsiteY53" fmla="*/ 8620 h 10000"/>
                <a:gd name="connsiteX54" fmla="*/ 4601 w 10000"/>
                <a:gd name="connsiteY54" fmla="*/ 9153 h 10000"/>
                <a:gd name="connsiteX55" fmla="*/ 3368 w 10000"/>
                <a:gd name="connsiteY55" fmla="*/ 9053 h 10000"/>
                <a:gd name="connsiteX56" fmla="*/ 3260 w 10000"/>
                <a:gd name="connsiteY56" fmla="*/ 8307 h 10000"/>
                <a:gd name="connsiteX57" fmla="*/ 3265 w 10000"/>
                <a:gd name="connsiteY57" fmla="*/ 8200 h 10000"/>
                <a:gd name="connsiteX58" fmla="*/ 3291 w 10000"/>
                <a:gd name="connsiteY58" fmla="*/ 8105 h 10000"/>
                <a:gd name="connsiteX59" fmla="*/ 3323 w 10000"/>
                <a:gd name="connsiteY59" fmla="*/ 8034 h 10000"/>
                <a:gd name="connsiteX60" fmla="*/ 3368 w 10000"/>
                <a:gd name="connsiteY60" fmla="*/ 7999 h 10000"/>
                <a:gd name="connsiteX61" fmla="*/ 4740 w 10000"/>
                <a:gd name="connsiteY61" fmla="*/ 7620 h 10000"/>
                <a:gd name="connsiteX62" fmla="*/ 4475 w 10000"/>
                <a:gd name="connsiteY62" fmla="*/ 4494 h 10000"/>
                <a:gd name="connsiteX63" fmla="*/ 511 w 10000"/>
                <a:gd name="connsiteY63" fmla="*/ 4044 h 10000"/>
                <a:gd name="connsiteX64" fmla="*/ 502 w 10000"/>
                <a:gd name="connsiteY64" fmla="*/ 4044 h 10000"/>
                <a:gd name="connsiteX65" fmla="*/ 471 w 10000"/>
                <a:gd name="connsiteY65" fmla="*/ 4032 h 10000"/>
                <a:gd name="connsiteX66" fmla="*/ 430 w 10000"/>
                <a:gd name="connsiteY66" fmla="*/ 4020 h 10000"/>
                <a:gd name="connsiteX67" fmla="*/ 386 w 10000"/>
                <a:gd name="connsiteY67" fmla="*/ 3996 h 10000"/>
                <a:gd name="connsiteX68" fmla="*/ 341 w 10000"/>
                <a:gd name="connsiteY68" fmla="*/ 3985 h 10000"/>
                <a:gd name="connsiteX69" fmla="*/ 300 w 10000"/>
                <a:gd name="connsiteY69" fmla="*/ 3967 h 10000"/>
                <a:gd name="connsiteX70" fmla="*/ 269 w 10000"/>
                <a:gd name="connsiteY70" fmla="*/ 3955 h 10000"/>
                <a:gd name="connsiteX71" fmla="*/ 260 w 10000"/>
                <a:gd name="connsiteY71" fmla="*/ 3955 h 10000"/>
                <a:gd name="connsiteX72" fmla="*/ 179 w 10000"/>
                <a:gd name="connsiteY72" fmla="*/ 3914 h 10000"/>
                <a:gd name="connsiteX73" fmla="*/ 126 w 10000"/>
                <a:gd name="connsiteY73" fmla="*/ 3860 h 10000"/>
                <a:gd name="connsiteX74" fmla="*/ 76 w 10000"/>
                <a:gd name="connsiteY74" fmla="*/ 3813 h 10000"/>
                <a:gd name="connsiteX75" fmla="*/ 54 w 10000"/>
                <a:gd name="connsiteY75" fmla="*/ 3760 h 10000"/>
                <a:gd name="connsiteX76" fmla="*/ 31 w 10000"/>
                <a:gd name="connsiteY76" fmla="*/ 3718 h 10000"/>
                <a:gd name="connsiteX77" fmla="*/ 22 w 10000"/>
                <a:gd name="connsiteY77" fmla="*/ 3677 h 10000"/>
                <a:gd name="connsiteX78" fmla="*/ 13 w 10000"/>
                <a:gd name="connsiteY78" fmla="*/ 3647 h 10000"/>
                <a:gd name="connsiteX79" fmla="*/ 13 w 10000"/>
                <a:gd name="connsiteY79" fmla="*/ 3641 h 10000"/>
                <a:gd name="connsiteX80" fmla="*/ 0 w 10000"/>
                <a:gd name="connsiteY80" fmla="*/ 2351 h 10000"/>
                <a:gd name="connsiteX81" fmla="*/ 4408 w 10000"/>
                <a:gd name="connsiteY81" fmla="*/ 2345 h 10000"/>
                <a:gd name="connsiteX82" fmla="*/ 4439 w 10000"/>
                <a:gd name="connsiteY82" fmla="*/ 1764 h 10000"/>
                <a:gd name="connsiteX83" fmla="*/ 4466 w 10000"/>
                <a:gd name="connsiteY83" fmla="*/ 1291 h 10000"/>
                <a:gd name="connsiteX84" fmla="*/ 4484 w 10000"/>
                <a:gd name="connsiteY84" fmla="*/ 941 h 10000"/>
                <a:gd name="connsiteX85" fmla="*/ 4516 w 10000"/>
                <a:gd name="connsiteY85" fmla="*/ 770 h 10000"/>
                <a:gd name="connsiteX86" fmla="*/ 4538 w 10000"/>
                <a:gd name="connsiteY86" fmla="*/ 734 h 10000"/>
                <a:gd name="connsiteX87" fmla="*/ 4565 w 10000"/>
                <a:gd name="connsiteY87" fmla="*/ 716 h 10000"/>
                <a:gd name="connsiteX88" fmla="*/ 4596 w 10000"/>
                <a:gd name="connsiteY88" fmla="*/ 687 h 10000"/>
                <a:gd name="connsiteX89" fmla="*/ 4632 w 10000"/>
                <a:gd name="connsiteY89" fmla="*/ 675 h 10000"/>
                <a:gd name="connsiteX90" fmla="*/ 4668 w 10000"/>
                <a:gd name="connsiteY90" fmla="*/ 663 h 10000"/>
                <a:gd name="connsiteX91" fmla="*/ 4704 w 10000"/>
                <a:gd name="connsiteY91" fmla="*/ 645 h 10000"/>
                <a:gd name="connsiteX92" fmla="*/ 4740 w 10000"/>
                <a:gd name="connsiteY92" fmla="*/ 639 h 10000"/>
                <a:gd name="connsiteX93" fmla="*/ 4767 w 10000"/>
                <a:gd name="connsiteY93" fmla="*/ 639 h 10000"/>
                <a:gd name="connsiteX94" fmla="*/ 4780 w 10000"/>
                <a:gd name="connsiteY94" fmla="*/ 586 h 10000"/>
                <a:gd name="connsiteX95" fmla="*/ 4789 w 10000"/>
                <a:gd name="connsiteY95" fmla="*/ 527 h 10000"/>
                <a:gd name="connsiteX96" fmla="*/ 4807 w 10000"/>
                <a:gd name="connsiteY96" fmla="*/ 480 h 10000"/>
                <a:gd name="connsiteX97" fmla="*/ 4816 w 10000"/>
                <a:gd name="connsiteY97" fmla="*/ 432 h 10000"/>
                <a:gd name="connsiteX98" fmla="*/ 3789 w 10000"/>
                <a:gd name="connsiteY98" fmla="*/ 432 h 10000"/>
                <a:gd name="connsiteX99" fmla="*/ 3789 w 10000"/>
                <a:gd name="connsiteY99" fmla="*/ 219 h 10000"/>
                <a:gd name="connsiteX100" fmla="*/ 4834 w 10000"/>
                <a:gd name="connsiteY100" fmla="*/ 219 h 10000"/>
                <a:gd name="connsiteX101" fmla="*/ 4857 w 10000"/>
                <a:gd name="connsiteY101" fmla="*/ 148 h 10000"/>
                <a:gd name="connsiteX102" fmla="*/ 4883 w 10000"/>
                <a:gd name="connsiteY102" fmla="*/ 77 h 10000"/>
                <a:gd name="connsiteX103" fmla="*/ 4910 w 10000"/>
                <a:gd name="connsiteY103" fmla="*/ 18 h 10000"/>
                <a:gd name="connsiteX104" fmla="*/ 4946 w 10000"/>
                <a:gd name="connsiteY104" fmla="*/ 0 h 10000"/>
                <a:gd name="connsiteX105" fmla="*/ 4982 w 10000"/>
                <a:gd name="connsiteY105" fmla="*/ 18 h 10000"/>
                <a:gd name="connsiteX106" fmla="*/ 5009 w 10000"/>
                <a:gd name="connsiteY106" fmla="*/ 77 h 10000"/>
                <a:gd name="connsiteX107" fmla="*/ 5031 w 10000"/>
                <a:gd name="connsiteY107" fmla="*/ 148 h 10000"/>
                <a:gd name="connsiteX108" fmla="*/ 5054 w 10000"/>
                <a:gd name="connsiteY108" fmla="*/ 219 h 10000"/>
                <a:gd name="connsiteX109" fmla="*/ 6135 w 10000"/>
                <a:gd name="connsiteY109" fmla="*/ 219 h 10000"/>
                <a:gd name="connsiteX110" fmla="*/ 6135 w 10000"/>
                <a:gd name="connsiteY110" fmla="*/ 432 h 10000"/>
                <a:gd name="connsiteX111" fmla="*/ 5076 w 10000"/>
                <a:gd name="connsiteY111" fmla="*/ 432 h 10000"/>
                <a:gd name="connsiteX112" fmla="*/ 5085 w 10000"/>
                <a:gd name="connsiteY112" fmla="*/ 480 h 10000"/>
                <a:gd name="connsiteX113" fmla="*/ 5099 w 10000"/>
                <a:gd name="connsiteY113" fmla="*/ 527 h 10000"/>
                <a:gd name="connsiteX114" fmla="*/ 5112 w 10000"/>
                <a:gd name="connsiteY114" fmla="*/ 586 h 10000"/>
                <a:gd name="connsiteX115" fmla="*/ 5126 w 10000"/>
                <a:gd name="connsiteY115" fmla="*/ 639 h 10000"/>
                <a:gd name="connsiteX116" fmla="*/ 5152 w 10000"/>
                <a:gd name="connsiteY116" fmla="*/ 639 h 10000"/>
                <a:gd name="connsiteX117" fmla="*/ 5188 w 10000"/>
                <a:gd name="connsiteY117" fmla="*/ 645 h 10000"/>
                <a:gd name="connsiteX118" fmla="*/ 5224 w 10000"/>
                <a:gd name="connsiteY118" fmla="*/ 663 h 10000"/>
                <a:gd name="connsiteX119" fmla="*/ 5260 w 10000"/>
                <a:gd name="connsiteY119" fmla="*/ 675 h 10000"/>
                <a:gd name="connsiteX120" fmla="*/ 5296 w 10000"/>
                <a:gd name="connsiteY120" fmla="*/ 687 h 10000"/>
                <a:gd name="connsiteX121" fmla="*/ 5332 w 10000"/>
                <a:gd name="connsiteY121" fmla="*/ 716 h 10000"/>
                <a:gd name="connsiteX122" fmla="*/ 5363 w 10000"/>
                <a:gd name="connsiteY122" fmla="*/ 734 h 10000"/>
                <a:gd name="connsiteX123" fmla="*/ 5390 w 10000"/>
                <a:gd name="connsiteY123" fmla="*/ 770 h 10000"/>
                <a:gd name="connsiteX124" fmla="*/ 5413 w 10000"/>
                <a:gd name="connsiteY124" fmla="*/ 941 h 10000"/>
                <a:gd name="connsiteX125" fmla="*/ 5435 w 10000"/>
                <a:gd name="connsiteY125" fmla="*/ 1297 h 10000"/>
                <a:gd name="connsiteX126" fmla="*/ 5462 w 10000"/>
                <a:gd name="connsiteY126" fmla="*/ 1794 h 10000"/>
                <a:gd name="connsiteX127" fmla="*/ 5489 w 10000"/>
                <a:gd name="connsiteY127" fmla="*/ 2404 h 10000"/>
                <a:gd name="connsiteX128" fmla="*/ 9928 w 10000"/>
                <a:gd name="connsiteY128" fmla="*/ 2416 h 10000"/>
                <a:gd name="connsiteX129" fmla="*/ 10000 w 10000"/>
                <a:gd name="connsiteY129" fmla="*/ 3410 h 10000"/>
                <a:gd name="connsiteX130" fmla="*/ 9978 w 10000"/>
                <a:gd name="connsiteY130" fmla="*/ 3529 h 10000"/>
                <a:gd name="connsiteX131" fmla="*/ 9946 w 10000"/>
                <a:gd name="connsiteY131" fmla="*/ 3623 h 10000"/>
                <a:gd name="connsiteX132" fmla="*/ 9901 w 10000"/>
                <a:gd name="connsiteY132" fmla="*/ 3694 h 10000"/>
                <a:gd name="connsiteX133" fmla="*/ 9852 w 10000"/>
                <a:gd name="connsiteY133" fmla="*/ 3760 h 10000"/>
                <a:gd name="connsiteX134" fmla="*/ 9798 w 10000"/>
                <a:gd name="connsiteY134" fmla="*/ 3807 h 10000"/>
                <a:gd name="connsiteX135" fmla="*/ 9753 w 10000"/>
                <a:gd name="connsiteY135" fmla="*/ 3843 h 10000"/>
                <a:gd name="connsiteX136" fmla="*/ 9722 w 10000"/>
                <a:gd name="connsiteY136" fmla="*/ 3860 h 10000"/>
                <a:gd name="connsiteX137" fmla="*/ 9709 w 10000"/>
                <a:gd name="connsiteY137"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7327 w 10000"/>
                <a:gd name="connsiteY17" fmla="*/ 4517 h 10000"/>
                <a:gd name="connsiteX18" fmla="*/ 6960 w 10000"/>
                <a:gd name="connsiteY18" fmla="*/ 4541 h 10000"/>
                <a:gd name="connsiteX19" fmla="*/ 6780 w 10000"/>
                <a:gd name="connsiteY19" fmla="*/ 4547 h 10000"/>
                <a:gd name="connsiteX20" fmla="*/ 6605 w 10000"/>
                <a:gd name="connsiteY20" fmla="*/ 4547 h 10000"/>
                <a:gd name="connsiteX21" fmla="*/ 6430 w 10000"/>
                <a:gd name="connsiteY21" fmla="*/ 4547 h 10000"/>
                <a:gd name="connsiteX22" fmla="*/ 6265 w 10000"/>
                <a:gd name="connsiteY22" fmla="*/ 4547 h 10000"/>
                <a:gd name="connsiteX23" fmla="*/ 6108 w 10000"/>
                <a:gd name="connsiteY23" fmla="*/ 4541 h 10000"/>
                <a:gd name="connsiteX24" fmla="*/ 5964 w 10000"/>
                <a:gd name="connsiteY24" fmla="*/ 4535 h 10000"/>
                <a:gd name="connsiteX25" fmla="*/ 5830 w 10000"/>
                <a:gd name="connsiteY25" fmla="*/ 4529 h 10000"/>
                <a:gd name="connsiteX26" fmla="*/ 5717 w 10000"/>
                <a:gd name="connsiteY26" fmla="*/ 4523 h 10000"/>
                <a:gd name="connsiteX27" fmla="*/ 5614 w 10000"/>
                <a:gd name="connsiteY27" fmla="*/ 4517 h 10000"/>
                <a:gd name="connsiteX28" fmla="*/ 5534 w 10000"/>
                <a:gd name="connsiteY28" fmla="*/ 4506 h 10000"/>
                <a:gd name="connsiteX29" fmla="*/ 5471 w 10000"/>
                <a:gd name="connsiteY29" fmla="*/ 4500 h 10000"/>
                <a:gd name="connsiteX30" fmla="*/ 5435 w 10000"/>
                <a:gd name="connsiteY30" fmla="*/ 4494 h 10000"/>
                <a:gd name="connsiteX31" fmla="*/ 5422 w 10000"/>
                <a:gd name="connsiteY31" fmla="*/ 4494 h 10000"/>
                <a:gd name="connsiteX32" fmla="*/ 5152 w 10000"/>
                <a:gd name="connsiteY32" fmla="*/ 7620 h 10000"/>
                <a:gd name="connsiteX33" fmla="*/ 6516 w 10000"/>
                <a:gd name="connsiteY33" fmla="*/ 7999 h 10000"/>
                <a:gd name="connsiteX34" fmla="*/ 6565 w 10000"/>
                <a:gd name="connsiteY34" fmla="*/ 8034 h 10000"/>
                <a:gd name="connsiteX35" fmla="*/ 6601 w 10000"/>
                <a:gd name="connsiteY35" fmla="*/ 8105 h 10000"/>
                <a:gd name="connsiteX36" fmla="*/ 6623 w 10000"/>
                <a:gd name="connsiteY36" fmla="*/ 8200 h 10000"/>
                <a:gd name="connsiteX37" fmla="*/ 6632 w 10000"/>
                <a:gd name="connsiteY37" fmla="*/ 8307 h 10000"/>
                <a:gd name="connsiteX38" fmla="*/ 6543 w 10000"/>
                <a:gd name="connsiteY38" fmla="*/ 9053 h 10000"/>
                <a:gd name="connsiteX39" fmla="*/ 5291 w 10000"/>
                <a:gd name="connsiteY39" fmla="*/ 9153 h 10000"/>
                <a:gd name="connsiteX40" fmla="*/ 5099 w 10000"/>
                <a:gd name="connsiteY40" fmla="*/ 8620 h 10000"/>
                <a:gd name="connsiteX41" fmla="*/ 5099 w 10000"/>
                <a:gd name="connsiteY41" fmla="*/ 8686 h 10000"/>
                <a:gd name="connsiteX42" fmla="*/ 5090 w 10000"/>
                <a:gd name="connsiteY42" fmla="*/ 8840 h 10000"/>
                <a:gd name="connsiteX43" fmla="*/ 5081 w 10000"/>
                <a:gd name="connsiteY43" fmla="*/ 9059 h 10000"/>
                <a:gd name="connsiteX44" fmla="*/ 5063 w 10000"/>
                <a:gd name="connsiteY44" fmla="*/ 9307 h 10000"/>
                <a:gd name="connsiteX45" fmla="*/ 5040 w 10000"/>
                <a:gd name="connsiteY45" fmla="*/ 9568 h 10000"/>
                <a:gd name="connsiteX46" fmla="*/ 5013 w 10000"/>
                <a:gd name="connsiteY46" fmla="*/ 9787 h 10000"/>
                <a:gd name="connsiteX47" fmla="*/ 4978 w 10000"/>
                <a:gd name="connsiteY47" fmla="*/ 9947 h 10000"/>
                <a:gd name="connsiteX48" fmla="*/ 4928 w 10000"/>
                <a:gd name="connsiteY48" fmla="*/ 10000 h 10000"/>
                <a:gd name="connsiteX49" fmla="*/ 4852 w 10000"/>
                <a:gd name="connsiteY49" fmla="*/ 9781 h 10000"/>
                <a:gd name="connsiteX50" fmla="*/ 4816 w 10000"/>
                <a:gd name="connsiteY50" fmla="*/ 9307 h 10000"/>
                <a:gd name="connsiteX51" fmla="*/ 4803 w 10000"/>
                <a:gd name="connsiteY51" fmla="*/ 8834 h 10000"/>
                <a:gd name="connsiteX52" fmla="*/ 4794 w 10000"/>
                <a:gd name="connsiteY52" fmla="*/ 8620 h 10000"/>
                <a:gd name="connsiteX53" fmla="*/ 4601 w 10000"/>
                <a:gd name="connsiteY53" fmla="*/ 9153 h 10000"/>
                <a:gd name="connsiteX54" fmla="*/ 3368 w 10000"/>
                <a:gd name="connsiteY54" fmla="*/ 9053 h 10000"/>
                <a:gd name="connsiteX55" fmla="*/ 3260 w 10000"/>
                <a:gd name="connsiteY55" fmla="*/ 8307 h 10000"/>
                <a:gd name="connsiteX56" fmla="*/ 3265 w 10000"/>
                <a:gd name="connsiteY56" fmla="*/ 8200 h 10000"/>
                <a:gd name="connsiteX57" fmla="*/ 3291 w 10000"/>
                <a:gd name="connsiteY57" fmla="*/ 8105 h 10000"/>
                <a:gd name="connsiteX58" fmla="*/ 3323 w 10000"/>
                <a:gd name="connsiteY58" fmla="*/ 8034 h 10000"/>
                <a:gd name="connsiteX59" fmla="*/ 3368 w 10000"/>
                <a:gd name="connsiteY59" fmla="*/ 7999 h 10000"/>
                <a:gd name="connsiteX60" fmla="*/ 4740 w 10000"/>
                <a:gd name="connsiteY60" fmla="*/ 7620 h 10000"/>
                <a:gd name="connsiteX61" fmla="*/ 4475 w 10000"/>
                <a:gd name="connsiteY61" fmla="*/ 4494 h 10000"/>
                <a:gd name="connsiteX62" fmla="*/ 511 w 10000"/>
                <a:gd name="connsiteY62" fmla="*/ 4044 h 10000"/>
                <a:gd name="connsiteX63" fmla="*/ 502 w 10000"/>
                <a:gd name="connsiteY63" fmla="*/ 4044 h 10000"/>
                <a:gd name="connsiteX64" fmla="*/ 471 w 10000"/>
                <a:gd name="connsiteY64" fmla="*/ 4032 h 10000"/>
                <a:gd name="connsiteX65" fmla="*/ 430 w 10000"/>
                <a:gd name="connsiteY65" fmla="*/ 4020 h 10000"/>
                <a:gd name="connsiteX66" fmla="*/ 386 w 10000"/>
                <a:gd name="connsiteY66" fmla="*/ 3996 h 10000"/>
                <a:gd name="connsiteX67" fmla="*/ 341 w 10000"/>
                <a:gd name="connsiteY67" fmla="*/ 3985 h 10000"/>
                <a:gd name="connsiteX68" fmla="*/ 300 w 10000"/>
                <a:gd name="connsiteY68" fmla="*/ 3967 h 10000"/>
                <a:gd name="connsiteX69" fmla="*/ 269 w 10000"/>
                <a:gd name="connsiteY69" fmla="*/ 3955 h 10000"/>
                <a:gd name="connsiteX70" fmla="*/ 260 w 10000"/>
                <a:gd name="connsiteY70" fmla="*/ 3955 h 10000"/>
                <a:gd name="connsiteX71" fmla="*/ 179 w 10000"/>
                <a:gd name="connsiteY71" fmla="*/ 3914 h 10000"/>
                <a:gd name="connsiteX72" fmla="*/ 126 w 10000"/>
                <a:gd name="connsiteY72" fmla="*/ 3860 h 10000"/>
                <a:gd name="connsiteX73" fmla="*/ 76 w 10000"/>
                <a:gd name="connsiteY73" fmla="*/ 3813 h 10000"/>
                <a:gd name="connsiteX74" fmla="*/ 54 w 10000"/>
                <a:gd name="connsiteY74" fmla="*/ 3760 h 10000"/>
                <a:gd name="connsiteX75" fmla="*/ 31 w 10000"/>
                <a:gd name="connsiteY75" fmla="*/ 3718 h 10000"/>
                <a:gd name="connsiteX76" fmla="*/ 22 w 10000"/>
                <a:gd name="connsiteY76" fmla="*/ 3677 h 10000"/>
                <a:gd name="connsiteX77" fmla="*/ 13 w 10000"/>
                <a:gd name="connsiteY77" fmla="*/ 3647 h 10000"/>
                <a:gd name="connsiteX78" fmla="*/ 13 w 10000"/>
                <a:gd name="connsiteY78" fmla="*/ 3641 h 10000"/>
                <a:gd name="connsiteX79" fmla="*/ 0 w 10000"/>
                <a:gd name="connsiteY79" fmla="*/ 2351 h 10000"/>
                <a:gd name="connsiteX80" fmla="*/ 4408 w 10000"/>
                <a:gd name="connsiteY80" fmla="*/ 2345 h 10000"/>
                <a:gd name="connsiteX81" fmla="*/ 4439 w 10000"/>
                <a:gd name="connsiteY81" fmla="*/ 1764 h 10000"/>
                <a:gd name="connsiteX82" fmla="*/ 4466 w 10000"/>
                <a:gd name="connsiteY82" fmla="*/ 1291 h 10000"/>
                <a:gd name="connsiteX83" fmla="*/ 4484 w 10000"/>
                <a:gd name="connsiteY83" fmla="*/ 941 h 10000"/>
                <a:gd name="connsiteX84" fmla="*/ 4516 w 10000"/>
                <a:gd name="connsiteY84" fmla="*/ 770 h 10000"/>
                <a:gd name="connsiteX85" fmla="*/ 4538 w 10000"/>
                <a:gd name="connsiteY85" fmla="*/ 734 h 10000"/>
                <a:gd name="connsiteX86" fmla="*/ 4565 w 10000"/>
                <a:gd name="connsiteY86" fmla="*/ 716 h 10000"/>
                <a:gd name="connsiteX87" fmla="*/ 4596 w 10000"/>
                <a:gd name="connsiteY87" fmla="*/ 687 h 10000"/>
                <a:gd name="connsiteX88" fmla="*/ 4632 w 10000"/>
                <a:gd name="connsiteY88" fmla="*/ 675 h 10000"/>
                <a:gd name="connsiteX89" fmla="*/ 4668 w 10000"/>
                <a:gd name="connsiteY89" fmla="*/ 663 h 10000"/>
                <a:gd name="connsiteX90" fmla="*/ 4704 w 10000"/>
                <a:gd name="connsiteY90" fmla="*/ 645 h 10000"/>
                <a:gd name="connsiteX91" fmla="*/ 4740 w 10000"/>
                <a:gd name="connsiteY91" fmla="*/ 639 h 10000"/>
                <a:gd name="connsiteX92" fmla="*/ 4767 w 10000"/>
                <a:gd name="connsiteY92" fmla="*/ 639 h 10000"/>
                <a:gd name="connsiteX93" fmla="*/ 4780 w 10000"/>
                <a:gd name="connsiteY93" fmla="*/ 586 h 10000"/>
                <a:gd name="connsiteX94" fmla="*/ 4789 w 10000"/>
                <a:gd name="connsiteY94" fmla="*/ 527 h 10000"/>
                <a:gd name="connsiteX95" fmla="*/ 4807 w 10000"/>
                <a:gd name="connsiteY95" fmla="*/ 480 h 10000"/>
                <a:gd name="connsiteX96" fmla="*/ 4816 w 10000"/>
                <a:gd name="connsiteY96" fmla="*/ 432 h 10000"/>
                <a:gd name="connsiteX97" fmla="*/ 3789 w 10000"/>
                <a:gd name="connsiteY97" fmla="*/ 432 h 10000"/>
                <a:gd name="connsiteX98" fmla="*/ 3789 w 10000"/>
                <a:gd name="connsiteY98" fmla="*/ 219 h 10000"/>
                <a:gd name="connsiteX99" fmla="*/ 4834 w 10000"/>
                <a:gd name="connsiteY99" fmla="*/ 219 h 10000"/>
                <a:gd name="connsiteX100" fmla="*/ 4857 w 10000"/>
                <a:gd name="connsiteY100" fmla="*/ 148 h 10000"/>
                <a:gd name="connsiteX101" fmla="*/ 4883 w 10000"/>
                <a:gd name="connsiteY101" fmla="*/ 77 h 10000"/>
                <a:gd name="connsiteX102" fmla="*/ 4910 w 10000"/>
                <a:gd name="connsiteY102" fmla="*/ 18 h 10000"/>
                <a:gd name="connsiteX103" fmla="*/ 4946 w 10000"/>
                <a:gd name="connsiteY103" fmla="*/ 0 h 10000"/>
                <a:gd name="connsiteX104" fmla="*/ 4982 w 10000"/>
                <a:gd name="connsiteY104" fmla="*/ 18 h 10000"/>
                <a:gd name="connsiteX105" fmla="*/ 5009 w 10000"/>
                <a:gd name="connsiteY105" fmla="*/ 77 h 10000"/>
                <a:gd name="connsiteX106" fmla="*/ 5031 w 10000"/>
                <a:gd name="connsiteY106" fmla="*/ 148 h 10000"/>
                <a:gd name="connsiteX107" fmla="*/ 5054 w 10000"/>
                <a:gd name="connsiteY107" fmla="*/ 219 h 10000"/>
                <a:gd name="connsiteX108" fmla="*/ 6135 w 10000"/>
                <a:gd name="connsiteY108" fmla="*/ 219 h 10000"/>
                <a:gd name="connsiteX109" fmla="*/ 6135 w 10000"/>
                <a:gd name="connsiteY109" fmla="*/ 432 h 10000"/>
                <a:gd name="connsiteX110" fmla="*/ 5076 w 10000"/>
                <a:gd name="connsiteY110" fmla="*/ 432 h 10000"/>
                <a:gd name="connsiteX111" fmla="*/ 5085 w 10000"/>
                <a:gd name="connsiteY111" fmla="*/ 480 h 10000"/>
                <a:gd name="connsiteX112" fmla="*/ 5099 w 10000"/>
                <a:gd name="connsiteY112" fmla="*/ 527 h 10000"/>
                <a:gd name="connsiteX113" fmla="*/ 5112 w 10000"/>
                <a:gd name="connsiteY113" fmla="*/ 586 h 10000"/>
                <a:gd name="connsiteX114" fmla="*/ 5126 w 10000"/>
                <a:gd name="connsiteY114" fmla="*/ 639 h 10000"/>
                <a:gd name="connsiteX115" fmla="*/ 5152 w 10000"/>
                <a:gd name="connsiteY115" fmla="*/ 639 h 10000"/>
                <a:gd name="connsiteX116" fmla="*/ 5188 w 10000"/>
                <a:gd name="connsiteY116" fmla="*/ 645 h 10000"/>
                <a:gd name="connsiteX117" fmla="*/ 5224 w 10000"/>
                <a:gd name="connsiteY117" fmla="*/ 663 h 10000"/>
                <a:gd name="connsiteX118" fmla="*/ 5260 w 10000"/>
                <a:gd name="connsiteY118" fmla="*/ 675 h 10000"/>
                <a:gd name="connsiteX119" fmla="*/ 5296 w 10000"/>
                <a:gd name="connsiteY119" fmla="*/ 687 h 10000"/>
                <a:gd name="connsiteX120" fmla="*/ 5332 w 10000"/>
                <a:gd name="connsiteY120" fmla="*/ 716 h 10000"/>
                <a:gd name="connsiteX121" fmla="*/ 5363 w 10000"/>
                <a:gd name="connsiteY121" fmla="*/ 734 h 10000"/>
                <a:gd name="connsiteX122" fmla="*/ 5390 w 10000"/>
                <a:gd name="connsiteY122" fmla="*/ 770 h 10000"/>
                <a:gd name="connsiteX123" fmla="*/ 5413 w 10000"/>
                <a:gd name="connsiteY123" fmla="*/ 941 h 10000"/>
                <a:gd name="connsiteX124" fmla="*/ 5435 w 10000"/>
                <a:gd name="connsiteY124" fmla="*/ 1297 h 10000"/>
                <a:gd name="connsiteX125" fmla="*/ 5462 w 10000"/>
                <a:gd name="connsiteY125" fmla="*/ 1794 h 10000"/>
                <a:gd name="connsiteX126" fmla="*/ 5489 w 10000"/>
                <a:gd name="connsiteY126" fmla="*/ 2404 h 10000"/>
                <a:gd name="connsiteX127" fmla="*/ 9928 w 10000"/>
                <a:gd name="connsiteY127" fmla="*/ 2416 h 10000"/>
                <a:gd name="connsiteX128" fmla="*/ 10000 w 10000"/>
                <a:gd name="connsiteY128" fmla="*/ 3410 h 10000"/>
                <a:gd name="connsiteX129" fmla="*/ 9978 w 10000"/>
                <a:gd name="connsiteY129" fmla="*/ 3529 h 10000"/>
                <a:gd name="connsiteX130" fmla="*/ 9946 w 10000"/>
                <a:gd name="connsiteY130" fmla="*/ 3623 h 10000"/>
                <a:gd name="connsiteX131" fmla="*/ 9901 w 10000"/>
                <a:gd name="connsiteY131" fmla="*/ 3694 h 10000"/>
                <a:gd name="connsiteX132" fmla="*/ 9852 w 10000"/>
                <a:gd name="connsiteY132" fmla="*/ 3760 h 10000"/>
                <a:gd name="connsiteX133" fmla="*/ 9798 w 10000"/>
                <a:gd name="connsiteY133" fmla="*/ 3807 h 10000"/>
                <a:gd name="connsiteX134" fmla="*/ 9753 w 10000"/>
                <a:gd name="connsiteY134" fmla="*/ 3843 h 10000"/>
                <a:gd name="connsiteX135" fmla="*/ 9722 w 10000"/>
                <a:gd name="connsiteY135" fmla="*/ 3860 h 10000"/>
                <a:gd name="connsiteX136" fmla="*/ 9709 w 10000"/>
                <a:gd name="connsiteY136"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6960 w 10000"/>
                <a:gd name="connsiteY17" fmla="*/ 4541 h 10000"/>
                <a:gd name="connsiteX18" fmla="*/ 6780 w 10000"/>
                <a:gd name="connsiteY18" fmla="*/ 4547 h 10000"/>
                <a:gd name="connsiteX19" fmla="*/ 6605 w 10000"/>
                <a:gd name="connsiteY19" fmla="*/ 4547 h 10000"/>
                <a:gd name="connsiteX20" fmla="*/ 6430 w 10000"/>
                <a:gd name="connsiteY20" fmla="*/ 4547 h 10000"/>
                <a:gd name="connsiteX21" fmla="*/ 6265 w 10000"/>
                <a:gd name="connsiteY21" fmla="*/ 4547 h 10000"/>
                <a:gd name="connsiteX22" fmla="*/ 6108 w 10000"/>
                <a:gd name="connsiteY22" fmla="*/ 4541 h 10000"/>
                <a:gd name="connsiteX23" fmla="*/ 5964 w 10000"/>
                <a:gd name="connsiteY23" fmla="*/ 4535 h 10000"/>
                <a:gd name="connsiteX24" fmla="*/ 5830 w 10000"/>
                <a:gd name="connsiteY24" fmla="*/ 4529 h 10000"/>
                <a:gd name="connsiteX25" fmla="*/ 5717 w 10000"/>
                <a:gd name="connsiteY25" fmla="*/ 4523 h 10000"/>
                <a:gd name="connsiteX26" fmla="*/ 5614 w 10000"/>
                <a:gd name="connsiteY26" fmla="*/ 4517 h 10000"/>
                <a:gd name="connsiteX27" fmla="*/ 5534 w 10000"/>
                <a:gd name="connsiteY27" fmla="*/ 4506 h 10000"/>
                <a:gd name="connsiteX28" fmla="*/ 5471 w 10000"/>
                <a:gd name="connsiteY28" fmla="*/ 4500 h 10000"/>
                <a:gd name="connsiteX29" fmla="*/ 5435 w 10000"/>
                <a:gd name="connsiteY29" fmla="*/ 4494 h 10000"/>
                <a:gd name="connsiteX30" fmla="*/ 5422 w 10000"/>
                <a:gd name="connsiteY30" fmla="*/ 4494 h 10000"/>
                <a:gd name="connsiteX31" fmla="*/ 5152 w 10000"/>
                <a:gd name="connsiteY31" fmla="*/ 7620 h 10000"/>
                <a:gd name="connsiteX32" fmla="*/ 6516 w 10000"/>
                <a:gd name="connsiteY32" fmla="*/ 7999 h 10000"/>
                <a:gd name="connsiteX33" fmla="*/ 6565 w 10000"/>
                <a:gd name="connsiteY33" fmla="*/ 8034 h 10000"/>
                <a:gd name="connsiteX34" fmla="*/ 6601 w 10000"/>
                <a:gd name="connsiteY34" fmla="*/ 8105 h 10000"/>
                <a:gd name="connsiteX35" fmla="*/ 6623 w 10000"/>
                <a:gd name="connsiteY35" fmla="*/ 8200 h 10000"/>
                <a:gd name="connsiteX36" fmla="*/ 6632 w 10000"/>
                <a:gd name="connsiteY36" fmla="*/ 8307 h 10000"/>
                <a:gd name="connsiteX37" fmla="*/ 6543 w 10000"/>
                <a:gd name="connsiteY37" fmla="*/ 9053 h 10000"/>
                <a:gd name="connsiteX38" fmla="*/ 5291 w 10000"/>
                <a:gd name="connsiteY38" fmla="*/ 9153 h 10000"/>
                <a:gd name="connsiteX39" fmla="*/ 5099 w 10000"/>
                <a:gd name="connsiteY39" fmla="*/ 8620 h 10000"/>
                <a:gd name="connsiteX40" fmla="*/ 5099 w 10000"/>
                <a:gd name="connsiteY40" fmla="*/ 8686 h 10000"/>
                <a:gd name="connsiteX41" fmla="*/ 5090 w 10000"/>
                <a:gd name="connsiteY41" fmla="*/ 8840 h 10000"/>
                <a:gd name="connsiteX42" fmla="*/ 5081 w 10000"/>
                <a:gd name="connsiteY42" fmla="*/ 9059 h 10000"/>
                <a:gd name="connsiteX43" fmla="*/ 5063 w 10000"/>
                <a:gd name="connsiteY43" fmla="*/ 9307 h 10000"/>
                <a:gd name="connsiteX44" fmla="*/ 5040 w 10000"/>
                <a:gd name="connsiteY44" fmla="*/ 9568 h 10000"/>
                <a:gd name="connsiteX45" fmla="*/ 5013 w 10000"/>
                <a:gd name="connsiteY45" fmla="*/ 9787 h 10000"/>
                <a:gd name="connsiteX46" fmla="*/ 4978 w 10000"/>
                <a:gd name="connsiteY46" fmla="*/ 9947 h 10000"/>
                <a:gd name="connsiteX47" fmla="*/ 4928 w 10000"/>
                <a:gd name="connsiteY47" fmla="*/ 10000 h 10000"/>
                <a:gd name="connsiteX48" fmla="*/ 4852 w 10000"/>
                <a:gd name="connsiteY48" fmla="*/ 9781 h 10000"/>
                <a:gd name="connsiteX49" fmla="*/ 4816 w 10000"/>
                <a:gd name="connsiteY49" fmla="*/ 9307 h 10000"/>
                <a:gd name="connsiteX50" fmla="*/ 4803 w 10000"/>
                <a:gd name="connsiteY50" fmla="*/ 8834 h 10000"/>
                <a:gd name="connsiteX51" fmla="*/ 4794 w 10000"/>
                <a:gd name="connsiteY51" fmla="*/ 8620 h 10000"/>
                <a:gd name="connsiteX52" fmla="*/ 4601 w 10000"/>
                <a:gd name="connsiteY52" fmla="*/ 9153 h 10000"/>
                <a:gd name="connsiteX53" fmla="*/ 3368 w 10000"/>
                <a:gd name="connsiteY53" fmla="*/ 9053 h 10000"/>
                <a:gd name="connsiteX54" fmla="*/ 3260 w 10000"/>
                <a:gd name="connsiteY54" fmla="*/ 8307 h 10000"/>
                <a:gd name="connsiteX55" fmla="*/ 3265 w 10000"/>
                <a:gd name="connsiteY55" fmla="*/ 8200 h 10000"/>
                <a:gd name="connsiteX56" fmla="*/ 3291 w 10000"/>
                <a:gd name="connsiteY56" fmla="*/ 8105 h 10000"/>
                <a:gd name="connsiteX57" fmla="*/ 3323 w 10000"/>
                <a:gd name="connsiteY57" fmla="*/ 8034 h 10000"/>
                <a:gd name="connsiteX58" fmla="*/ 3368 w 10000"/>
                <a:gd name="connsiteY58" fmla="*/ 7999 h 10000"/>
                <a:gd name="connsiteX59" fmla="*/ 4740 w 10000"/>
                <a:gd name="connsiteY59" fmla="*/ 7620 h 10000"/>
                <a:gd name="connsiteX60" fmla="*/ 4475 w 10000"/>
                <a:gd name="connsiteY60" fmla="*/ 4494 h 10000"/>
                <a:gd name="connsiteX61" fmla="*/ 511 w 10000"/>
                <a:gd name="connsiteY61" fmla="*/ 4044 h 10000"/>
                <a:gd name="connsiteX62" fmla="*/ 502 w 10000"/>
                <a:gd name="connsiteY62" fmla="*/ 4044 h 10000"/>
                <a:gd name="connsiteX63" fmla="*/ 471 w 10000"/>
                <a:gd name="connsiteY63" fmla="*/ 4032 h 10000"/>
                <a:gd name="connsiteX64" fmla="*/ 430 w 10000"/>
                <a:gd name="connsiteY64" fmla="*/ 4020 h 10000"/>
                <a:gd name="connsiteX65" fmla="*/ 386 w 10000"/>
                <a:gd name="connsiteY65" fmla="*/ 3996 h 10000"/>
                <a:gd name="connsiteX66" fmla="*/ 341 w 10000"/>
                <a:gd name="connsiteY66" fmla="*/ 3985 h 10000"/>
                <a:gd name="connsiteX67" fmla="*/ 300 w 10000"/>
                <a:gd name="connsiteY67" fmla="*/ 3967 h 10000"/>
                <a:gd name="connsiteX68" fmla="*/ 269 w 10000"/>
                <a:gd name="connsiteY68" fmla="*/ 3955 h 10000"/>
                <a:gd name="connsiteX69" fmla="*/ 260 w 10000"/>
                <a:gd name="connsiteY69" fmla="*/ 3955 h 10000"/>
                <a:gd name="connsiteX70" fmla="*/ 179 w 10000"/>
                <a:gd name="connsiteY70" fmla="*/ 3914 h 10000"/>
                <a:gd name="connsiteX71" fmla="*/ 126 w 10000"/>
                <a:gd name="connsiteY71" fmla="*/ 3860 h 10000"/>
                <a:gd name="connsiteX72" fmla="*/ 76 w 10000"/>
                <a:gd name="connsiteY72" fmla="*/ 3813 h 10000"/>
                <a:gd name="connsiteX73" fmla="*/ 54 w 10000"/>
                <a:gd name="connsiteY73" fmla="*/ 3760 h 10000"/>
                <a:gd name="connsiteX74" fmla="*/ 31 w 10000"/>
                <a:gd name="connsiteY74" fmla="*/ 3718 h 10000"/>
                <a:gd name="connsiteX75" fmla="*/ 22 w 10000"/>
                <a:gd name="connsiteY75" fmla="*/ 3677 h 10000"/>
                <a:gd name="connsiteX76" fmla="*/ 13 w 10000"/>
                <a:gd name="connsiteY76" fmla="*/ 3647 h 10000"/>
                <a:gd name="connsiteX77" fmla="*/ 13 w 10000"/>
                <a:gd name="connsiteY77" fmla="*/ 3641 h 10000"/>
                <a:gd name="connsiteX78" fmla="*/ 0 w 10000"/>
                <a:gd name="connsiteY78" fmla="*/ 2351 h 10000"/>
                <a:gd name="connsiteX79" fmla="*/ 4408 w 10000"/>
                <a:gd name="connsiteY79" fmla="*/ 2345 h 10000"/>
                <a:gd name="connsiteX80" fmla="*/ 4439 w 10000"/>
                <a:gd name="connsiteY80" fmla="*/ 1764 h 10000"/>
                <a:gd name="connsiteX81" fmla="*/ 4466 w 10000"/>
                <a:gd name="connsiteY81" fmla="*/ 1291 h 10000"/>
                <a:gd name="connsiteX82" fmla="*/ 4484 w 10000"/>
                <a:gd name="connsiteY82" fmla="*/ 941 h 10000"/>
                <a:gd name="connsiteX83" fmla="*/ 4516 w 10000"/>
                <a:gd name="connsiteY83" fmla="*/ 770 h 10000"/>
                <a:gd name="connsiteX84" fmla="*/ 4538 w 10000"/>
                <a:gd name="connsiteY84" fmla="*/ 734 h 10000"/>
                <a:gd name="connsiteX85" fmla="*/ 4565 w 10000"/>
                <a:gd name="connsiteY85" fmla="*/ 716 h 10000"/>
                <a:gd name="connsiteX86" fmla="*/ 4596 w 10000"/>
                <a:gd name="connsiteY86" fmla="*/ 687 h 10000"/>
                <a:gd name="connsiteX87" fmla="*/ 4632 w 10000"/>
                <a:gd name="connsiteY87" fmla="*/ 675 h 10000"/>
                <a:gd name="connsiteX88" fmla="*/ 4668 w 10000"/>
                <a:gd name="connsiteY88" fmla="*/ 663 h 10000"/>
                <a:gd name="connsiteX89" fmla="*/ 4704 w 10000"/>
                <a:gd name="connsiteY89" fmla="*/ 645 h 10000"/>
                <a:gd name="connsiteX90" fmla="*/ 4740 w 10000"/>
                <a:gd name="connsiteY90" fmla="*/ 639 h 10000"/>
                <a:gd name="connsiteX91" fmla="*/ 4767 w 10000"/>
                <a:gd name="connsiteY91" fmla="*/ 639 h 10000"/>
                <a:gd name="connsiteX92" fmla="*/ 4780 w 10000"/>
                <a:gd name="connsiteY92" fmla="*/ 586 h 10000"/>
                <a:gd name="connsiteX93" fmla="*/ 4789 w 10000"/>
                <a:gd name="connsiteY93" fmla="*/ 527 h 10000"/>
                <a:gd name="connsiteX94" fmla="*/ 4807 w 10000"/>
                <a:gd name="connsiteY94" fmla="*/ 480 h 10000"/>
                <a:gd name="connsiteX95" fmla="*/ 4816 w 10000"/>
                <a:gd name="connsiteY95" fmla="*/ 432 h 10000"/>
                <a:gd name="connsiteX96" fmla="*/ 3789 w 10000"/>
                <a:gd name="connsiteY96" fmla="*/ 432 h 10000"/>
                <a:gd name="connsiteX97" fmla="*/ 3789 w 10000"/>
                <a:gd name="connsiteY97" fmla="*/ 219 h 10000"/>
                <a:gd name="connsiteX98" fmla="*/ 4834 w 10000"/>
                <a:gd name="connsiteY98" fmla="*/ 219 h 10000"/>
                <a:gd name="connsiteX99" fmla="*/ 4857 w 10000"/>
                <a:gd name="connsiteY99" fmla="*/ 148 h 10000"/>
                <a:gd name="connsiteX100" fmla="*/ 4883 w 10000"/>
                <a:gd name="connsiteY100" fmla="*/ 77 h 10000"/>
                <a:gd name="connsiteX101" fmla="*/ 4910 w 10000"/>
                <a:gd name="connsiteY101" fmla="*/ 18 h 10000"/>
                <a:gd name="connsiteX102" fmla="*/ 4946 w 10000"/>
                <a:gd name="connsiteY102" fmla="*/ 0 h 10000"/>
                <a:gd name="connsiteX103" fmla="*/ 4982 w 10000"/>
                <a:gd name="connsiteY103" fmla="*/ 18 h 10000"/>
                <a:gd name="connsiteX104" fmla="*/ 5009 w 10000"/>
                <a:gd name="connsiteY104" fmla="*/ 77 h 10000"/>
                <a:gd name="connsiteX105" fmla="*/ 5031 w 10000"/>
                <a:gd name="connsiteY105" fmla="*/ 148 h 10000"/>
                <a:gd name="connsiteX106" fmla="*/ 5054 w 10000"/>
                <a:gd name="connsiteY106" fmla="*/ 219 h 10000"/>
                <a:gd name="connsiteX107" fmla="*/ 6135 w 10000"/>
                <a:gd name="connsiteY107" fmla="*/ 219 h 10000"/>
                <a:gd name="connsiteX108" fmla="*/ 6135 w 10000"/>
                <a:gd name="connsiteY108" fmla="*/ 432 h 10000"/>
                <a:gd name="connsiteX109" fmla="*/ 5076 w 10000"/>
                <a:gd name="connsiteY109" fmla="*/ 432 h 10000"/>
                <a:gd name="connsiteX110" fmla="*/ 5085 w 10000"/>
                <a:gd name="connsiteY110" fmla="*/ 480 h 10000"/>
                <a:gd name="connsiteX111" fmla="*/ 5099 w 10000"/>
                <a:gd name="connsiteY111" fmla="*/ 527 h 10000"/>
                <a:gd name="connsiteX112" fmla="*/ 5112 w 10000"/>
                <a:gd name="connsiteY112" fmla="*/ 586 h 10000"/>
                <a:gd name="connsiteX113" fmla="*/ 5126 w 10000"/>
                <a:gd name="connsiteY113" fmla="*/ 639 h 10000"/>
                <a:gd name="connsiteX114" fmla="*/ 5152 w 10000"/>
                <a:gd name="connsiteY114" fmla="*/ 639 h 10000"/>
                <a:gd name="connsiteX115" fmla="*/ 5188 w 10000"/>
                <a:gd name="connsiteY115" fmla="*/ 645 h 10000"/>
                <a:gd name="connsiteX116" fmla="*/ 5224 w 10000"/>
                <a:gd name="connsiteY116" fmla="*/ 663 h 10000"/>
                <a:gd name="connsiteX117" fmla="*/ 5260 w 10000"/>
                <a:gd name="connsiteY117" fmla="*/ 675 h 10000"/>
                <a:gd name="connsiteX118" fmla="*/ 5296 w 10000"/>
                <a:gd name="connsiteY118" fmla="*/ 687 h 10000"/>
                <a:gd name="connsiteX119" fmla="*/ 5332 w 10000"/>
                <a:gd name="connsiteY119" fmla="*/ 716 h 10000"/>
                <a:gd name="connsiteX120" fmla="*/ 5363 w 10000"/>
                <a:gd name="connsiteY120" fmla="*/ 734 h 10000"/>
                <a:gd name="connsiteX121" fmla="*/ 5390 w 10000"/>
                <a:gd name="connsiteY121" fmla="*/ 770 h 10000"/>
                <a:gd name="connsiteX122" fmla="*/ 5413 w 10000"/>
                <a:gd name="connsiteY122" fmla="*/ 941 h 10000"/>
                <a:gd name="connsiteX123" fmla="*/ 5435 w 10000"/>
                <a:gd name="connsiteY123" fmla="*/ 1297 h 10000"/>
                <a:gd name="connsiteX124" fmla="*/ 5462 w 10000"/>
                <a:gd name="connsiteY124" fmla="*/ 1794 h 10000"/>
                <a:gd name="connsiteX125" fmla="*/ 5489 w 10000"/>
                <a:gd name="connsiteY125" fmla="*/ 2404 h 10000"/>
                <a:gd name="connsiteX126" fmla="*/ 9928 w 10000"/>
                <a:gd name="connsiteY126" fmla="*/ 2416 h 10000"/>
                <a:gd name="connsiteX127" fmla="*/ 10000 w 10000"/>
                <a:gd name="connsiteY127" fmla="*/ 3410 h 10000"/>
                <a:gd name="connsiteX128" fmla="*/ 9978 w 10000"/>
                <a:gd name="connsiteY128" fmla="*/ 3529 h 10000"/>
                <a:gd name="connsiteX129" fmla="*/ 9946 w 10000"/>
                <a:gd name="connsiteY129" fmla="*/ 3623 h 10000"/>
                <a:gd name="connsiteX130" fmla="*/ 9901 w 10000"/>
                <a:gd name="connsiteY130" fmla="*/ 3694 h 10000"/>
                <a:gd name="connsiteX131" fmla="*/ 9852 w 10000"/>
                <a:gd name="connsiteY131" fmla="*/ 3760 h 10000"/>
                <a:gd name="connsiteX132" fmla="*/ 9798 w 10000"/>
                <a:gd name="connsiteY132" fmla="*/ 3807 h 10000"/>
                <a:gd name="connsiteX133" fmla="*/ 9753 w 10000"/>
                <a:gd name="connsiteY133" fmla="*/ 3843 h 10000"/>
                <a:gd name="connsiteX134" fmla="*/ 9722 w 10000"/>
                <a:gd name="connsiteY134" fmla="*/ 3860 h 10000"/>
                <a:gd name="connsiteX135" fmla="*/ 9709 w 10000"/>
                <a:gd name="connsiteY135"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6960 w 10000"/>
                <a:gd name="connsiteY17" fmla="*/ 4541 h 10000"/>
                <a:gd name="connsiteX18" fmla="*/ 6605 w 10000"/>
                <a:gd name="connsiteY18" fmla="*/ 4547 h 10000"/>
                <a:gd name="connsiteX19" fmla="*/ 6430 w 10000"/>
                <a:gd name="connsiteY19" fmla="*/ 4547 h 10000"/>
                <a:gd name="connsiteX20" fmla="*/ 6265 w 10000"/>
                <a:gd name="connsiteY20" fmla="*/ 4547 h 10000"/>
                <a:gd name="connsiteX21" fmla="*/ 6108 w 10000"/>
                <a:gd name="connsiteY21" fmla="*/ 4541 h 10000"/>
                <a:gd name="connsiteX22" fmla="*/ 5964 w 10000"/>
                <a:gd name="connsiteY22" fmla="*/ 4535 h 10000"/>
                <a:gd name="connsiteX23" fmla="*/ 5830 w 10000"/>
                <a:gd name="connsiteY23" fmla="*/ 4529 h 10000"/>
                <a:gd name="connsiteX24" fmla="*/ 5717 w 10000"/>
                <a:gd name="connsiteY24" fmla="*/ 4523 h 10000"/>
                <a:gd name="connsiteX25" fmla="*/ 5614 w 10000"/>
                <a:gd name="connsiteY25" fmla="*/ 4517 h 10000"/>
                <a:gd name="connsiteX26" fmla="*/ 5534 w 10000"/>
                <a:gd name="connsiteY26" fmla="*/ 4506 h 10000"/>
                <a:gd name="connsiteX27" fmla="*/ 5471 w 10000"/>
                <a:gd name="connsiteY27" fmla="*/ 4500 h 10000"/>
                <a:gd name="connsiteX28" fmla="*/ 5435 w 10000"/>
                <a:gd name="connsiteY28" fmla="*/ 4494 h 10000"/>
                <a:gd name="connsiteX29" fmla="*/ 5422 w 10000"/>
                <a:gd name="connsiteY29" fmla="*/ 4494 h 10000"/>
                <a:gd name="connsiteX30" fmla="*/ 5152 w 10000"/>
                <a:gd name="connsiteY30" fmla="*/ 7620 h 10000"/>
                <a:gd name="connsiteX31" fmla="*/ 6516 w 10000"/>
                <a:gd name="connsiteY31" fmla="*/ 7999 h 10000"/>
                <a:gd name="connsiteX32" fmla="*/ 6565 w 10000"/>
                <a:gd name="connsiteY32" fmla="*/ 8034 h 10000"/>
                <a:gd name="connsiteX33" fmla="*/ 6601 w 10000"/>
                <a:gd name="connsiteY33" fmla="*/ 8105 h 10000"/>
                <a:gd name="connsiteX34" fmla="*/ 6623 w 10000"/>
                <a:gd name="connsiteY34" fmla="*/ 8200 h 10000"/>
                <a:gd name="connsiteX35" fmla="*/ 6632 w 10000"/>
                <a:gd name="connsiteY35" fmla="*/ 8307 h 10000"/>
                <a:gd name="connsiteX36" fmla="*/ 6543 w 10000"/>
                <a:gd name="connsiteY36" fmla="*/ 9053 h 10000"/>
                <a:gd name="connsiteX37" fmla="*/ 5291 w 10000"/>
                <a:gd name="connsiteY37" fmla="*/ 9153 h 10000"/>
                <a:gd name="connsiteX38" fmla="*/ 5099 w 10000"/>
                <a:gd name="connsiteY38" fmla="*/ 8620 h 10000"/>
                <a:gd name="connsiteX39" fmla="*/ 5099 w 10000"/>
                <a:gd name="connsiteY39" fmla="*/ 8686 h 10000"/>
                <a:gd name="connsiteX40" fmla="*/ 5090 w 10000"/>
                <a:gd name="connsiteY40" fmla="*/ 8840 h 10000"/>
                <a:gd name="connsiteX41" fmla="*/ 5081 w 10000"/>
                <a:gd name="connsiteY41" fmla="*/ 9059 h 10000"/>
                <a:gd name="connsiteX42" fmla="*/ 5063 w 10000"/>
                <a:gd name="connsiteY42" fmla="*/ 9307 h 10000"/>
                <a:gd name="connsiteX43" fmla="*/ 5040 w 10000"/>
                <a:gd name="connsiteY43" fmla="*/ 9568 h 10000"/>
                <a:gd name="connsiteX44" fmla="*/ 5013 w 10000"/>
                <a:gd name="connsiteY44" fmla="*/ 9787 h 10000"/>
                <a:gd name="connsiteX45" fmla="*/ 4978 w 10000"/>
                <a:gd name="connsiteY45" fmla="*/ 9947 h 10000"/>
                <a:gd name="connsiteX46" fmla="*/ 4928 w 10000"/>
                <a:gd name="connsiteY46" fmla="*/ 10000 h 10000"/>
                <a:gd name="connsiteX47" fmla="*/ 4852 w 10000"/>
                <a:gd name="connsiteY47" fmla="*/ 9781 h 10000"/>
                <a:gd name="connsiteX48" fmla="*/ 4816 w 10000"/>
                <a:gd name="connsiteY48" fmla="*/ 9307 h 10000"/>
                <a:gd name="connsiteX49" fmla="*/ 4803 w 10000"/>
                <a:gd name="connsiteY49" fmla="*/ 8834 h 10000"/>
                <a:gd name="connsiteX50" fmla="*/ 4794 w 10000"/>
                <a:gd name="connsiteY50" fmla="*/ 8620 h 10000"/>
                <a:gd name="connsiteX51" fmla="*/ 4601 w 10000"/>
                <a:gd name="connsiteY51" fmla="*/ 9153 h 10000"/>
                <a:gd name="connsiteX52" fmla="*/ 3368 w 10000"/>
                <a:gd name="connsiteY52" fmla="*/ 9053 h 10000"/>
                <a:gd name="connsiteX53" fmla="*/ 3260 w 10000"/>
                <a:gd name="connsiteY53" fmla="*/ 8307 h 10000"/>
                <a:gd name="connsiteX54" fmla="*/ 3265 w 10000"/>
                <a:gd name="connsiteY54" fmla="*/ 8200 h 10000"/>
                <a:gd name="connsiteX55" fmla="*/ 3291 w 10000"/>
                <a:gd name="connsiteY55" fmla="*/ 8105 h 10000"/>
                <a:gd name="connsiteX56" fmla="*/ 3323 w 10000"/>
                <a:gd name="connsiteY56" fmla="*/ 8034 h 10000"/>
                <a:gd name="connsiteX57" fmla="*/ 3368 w 10000"/>
                <a:gd name="connsiteY57" fmla="*/ 7999 h 10000"/>
                <a:gd name="connsiteX58" fmla="*/ 4740 w 10000"/>
                <a:gd name="connsiteY58" fmla="*/ 7620 h 10000"/>
                <a:gd name="connsiteX59" fmla="*/ 4475 w 10000"/>
                <a:gd name="connsiteY59" fmla="*/ 4494 h 10000"/>
                <a:gd name="connsiteX60" fmla="*/ 511 w 10000"/>
                <a:gd name="connsiteY60" fmla="*/ 4044 h 10000"/>
                <a:gd name="connsiteX61" fmla="*/ 502 w 10000"/>
                <a:gd name="connsiteY61" fmla="*/ 4044 h 10000"/>
                <a:gd name="connsiteX62" fmla="*/ 471 w 10000"/>
                <a:gd name="connsiteY62" fmla="*/ 4032 h 10000"/>
                <a:gd name="connsiteX63" fmla="*/ 430 w 10000"/>
                <a:gd name="connsiteY63" fmla="*/ 4020 h 10000"/>
                <a:gd name="connsiteX64" fmla="*/ 386 w 10000"/>
                <a:gd name="connsiteY64" fmla="*/ 3996 h 10000"/>
                <a:gd name="connsiteX65" fmla="*/ 341 w 10000"/>
                <a:gd name="connsiteY65" fmla="*/ 3985 h 10000"/>
                <a:gd name="connsiteX66" fmla="*/ 300 w 10000"/>
                <a:gd name="connsiteY66" fmla="*/ 3967 h 10000"/>
                <a:gd name="connsiteX67" fmla="*/ 269 w 10000"/>
                <a:gd name="connsiteY67" fmla="*/ 3955 h 10000"/>
                <a:gd name="connsiteX68" fmla="*/ 260 w 10000"/>
                <a:gd name="connsiteY68" fmla="*/ 3955 h 10000"/>
                <a:gd name="connsiteX69" fmla="*/ 179 w 10000"/>
                <a:gd name="connsiteY69" fmla="*/ 3914 h 10000"/>
                <a:gd name="connsiteX70" fmla="*/ 126 w 10000"/>
                <a:gd name="connsiteY70" fmla="*/ 3860 h 10000"/>
                <a:gd name="connsiteX71" fmla="*/ 76 w 10000"/>
                <a:gd name="connsiteY71" fmla="*/ 3813 h 10000"/>
                <a:gd name="connsiteX72" fmla="*/ 54 w 10000"/>
                <a:gd name="connsiteY72" fmla="*/ 3760 h 10000"/>
                <a:gd name="connsiteX73" fmla="*/ 31 w 10000"/>
                <a:gd name="connsiteY73" fmla="*/ 3718 h 10000"/>
                <a:gd name="connsiteX74" fmla="*/ 22 w 10000"/>
                <a:gd name="connsiteY74" fmla="*/ 3677 h 10000"/>
                <a:gd name="connsiteX75" fmla="*/ 13 w 10000"/>
                <a:gd name="connsiteY75" fmla="*/ 3647 h 10000"/>
                <a:gd name="connsiteX76" fmla="*/ 13 w 10000"/>
                <a:gd name="connsiteY76" fmla="*/ 3641 h 10000"/>
                <a:gd name="connsiteX77" fmla="*/ 0 w 10000"/>
                <a:gd name="connsiteY77" fmla="*/ 2351 h 10000"/>
                <a:gd name="connsiteX78" fmla="*/ 4408 w 10000"/>
                <a:gd name="connsiteY78" fmla="*/ 2345 h 10000"/>
                <a:gd name="connsiteX79" fmla="*/ 4439 w 10000"/>
                <a:gd name="connsiteY79" fmla="*/ 1764 h 10000"/>
                <a:gd name="connsiteX80" fmla="*/ 4466 w 10000"/>
                <a:gd name="connsiteY80" fmla="*/ 1291 h 10000"/>
                <a:gd name="connsiteX81" fmla="*/ 4484 w 10000"/>
                <a:gd name="connsiteY81" fmla="*/ 941 h 10000"/>
                <a:gd name="connsiteX82" fmla="*/ 4516 w 10000"/>
                <a:gd name="connsiteY82" fmla="*/ 770 h 10000"/>
                <a:gd name="connsiteX83" fmla="*/ 4538 w 10000"/>
                <a:gd name="connsiteY83" fmla="*/ 734 h 10000"/>
                <a:gd name="connsiteX84" fmla="*/ 4565 w 10000"/>
                <a:gd name="connsiteY84" fmla="*/ 716 h 10000"/>
                <a:gd name="connsiteX85" fmla="*/ 4596 w 10000"/>
                <a:gd name="connsiteY85" fmla="*/ 687 h 10000"/>
                <a:gd name="connsiteX86" fmla="*/ 4632 w 10000"/>
                <a:gd name="connsiteY86" fmla="*/ 675 h 10000"/>
                <a:gd name="connsiteX87" fmla="*/ 4668 w 10000"/>
                <a:gd name="connsiteY87" fmla="*/ 663 h 10000"/>
                <a:gd name="connsiteX88" fmla="*/ 4704 w 10000"/>
                <a:gd name="connsiteY88" fmla="*/ 645 h 10000"/>
                <a:gd name="connsiteX89" fmla="*/ 4740 w 10000"/>
                <a:gd name="connsiteY89" fmla="*/ 639 h 10000"/>
                <a:gd name="connsiteX90" fmla="*/ 4767 w 10000"/>
                <a:gd name="connsiteY90" fmla="*/ 639 h 10000"/>
                <a:gd name="connsiteX91" fmla="*/ 4780 w 10000"/>
                <a:gd name="connsiteY91" fmla="*/ 586 h 10000"/>
                <a:gd name="connsiteX92" fmla="*/ 4789 w 10000"/>
                <a:gd name="connsiteY92" fmla="*/ 527 h 10000"/>
                <a:gd name="connsiteX93" fmla="*/ 4807 w 10000"/>
                <a:gd name="connsiteY93" fmla="*/ 480 h 10000"/>
                <a:gd name="connsiteX94" fmla="*/ 4816 w 10000"/>
                <a:gd name="connsiteY94" fmla="*/ 432 h 10000"/>
                <a:gd name="connsiteX95" fmla="*/ 3789 w 10000"/>
                <a:gd name="connsiteY95" fmla="*/ 432 h 10000"/>
                <a:gd name="connsiteX96" fmla="*/ 3789 w 10000"/>
                <a:gd name="connsiteY96" fmla="*/ 219 h 10000"/>
                <a:gd name="connsiteX97" fmla="*/ 4834 w 10000"/>
                <a:gd name="connsiteY97" fmla="*/ 219 h 10000"/>
                <a:gd name="connsiteX98" fmla="*/ 4857 w 10000"/>
                <a:gd name="connsiteY98" fmla="*/ 148 h 10000"/>
                <a:gd name="connsiteX99" fmla="*/ 4883 w 10000"/>
                <a:gd name="connsiteY99" fmla="*/ 77 h 10000"/>
                <a:gd name="connsiteX100" fmla="*/ 4910 w 10000"/>
                <a:gd name="connsiteY100" fmla="*/ 18 h 10000"/>
                <a:gd name="connsiteX101" fmla="*/ 4946 w 10000"/>
                <a:gd name="connsiteY101" fmla="*/ 0 h 10000"/>
                <a:gd name="connsiteX102" fmla="*/ 4982 w 10000"/>
                <a:gd name="connsiteY102" fmla="*/ 18 h 10000"/>
                <a:gd name="connsiteX103" fmla="*/ 5009 w 10000"/>
                <a:gd name="connsiteY103" fmla="*/ 77 h 10000"/>
                <a:gd name="connsiteX104" fmla="*/ 5031 w 10000"/>
                <a:gd name="connsiteY104" fmla="*/ 148 h 10000"/>
                <a:gd name="connsiteX105" fmla="*/ 5054 w 10000"/>
                <a:gd name="connsiteY105" fmla="*/ 219 h 10000"/>
                <a:gd name="connsiteX106" fmla="*/ 6135 w 10000"/>
                <a:gd name="connsiteY106" fmla="*/ 219 h 10000"/>
                <a:gd name="connsiteX107" fmla="*/ 6135 w 10000"/>
                <a:gd name="connsiteY107" fmla="*/ 432 h 10000"/>
                <a:gd name="connsiteX108" fmla="*/ 5076 w 10000"/>
                <a:gd name="connsiteY108" fmla="*/ 432 h 10000"/>
                <a:gd name="connsiteX109" fmla="*/ 5085 w 10000"/>
                <a:gd name="connsiteY109" fmla="*/ 480 h 10000"/>
                <a:gd name="connsiteX110" fmla="*/ 5099 w 10000"/>
                <a:gd name="connsiteY110" fmla="*/ 527 h 10000"/>
                <a:gd name="connsiteX111" fmla="*/ 5112 w 10000"/>
                <a:gd name="connsiteY111" fmla="*/ 586 h 10000"/>
                <a:gd name="connsiteX112" fmla="*/ 5126 w 10000"/>
                <a:gd name="connsiteY112" fmla="*/ 639 h 10000"/>
                <a:gd name="connsiteX113" fmla="*/ 5152 w 10000"/>
                <a:gd name="connsiteY113" fmla="*/ 639 h 10000"/>
                <a:gd name="connsiteX114" fmla="*/ 5188 w 10000"/>
                <a:gd name="connsiteY114" fmla="*/ 645 h 10000"/>
                <a:gd name="connsiteX115" fmla="*/ 5224 w 10000"/>
                <a:gd name="connsiteY115" fmla="*/ 663 h 10000"/>
                <a:gd name="connsiteX116" fmla="*/ 5260 w 10000"/>
                <a:gd name="connsiteY116" fmla="*/ 675 h 10000"/>
                <a:gd name="connsiteX117" fmla="*/ 5296 w 10000"/>
                <a:gd name="connsiteY117" fmla="*/ 687 h 10000"/>
                <a:gd name="connsiteX118" fmla="*/ 5332 w 10000"/>
                <a:gd name="connsiteY118" fmla="*/ 716 h 10000"/>
                <a:gd name="connsiteX119" fmla="*/ 5363 w 10000"/>
                <a:gd name="connsiteY119" fmla="*/ 734 h 10000"/>
                <a:gd name="connsiteX120" fmla="*/ 5390 w 10000"/>
                <a:gd name="connsiteY120" fmla="*/ 770 h 10000"/>
                <a:gd name="connsiteX121" fmla="*/ 5413 w 10000"/>
                <a:gd name="connsiteY121" fmla="*/ 941 h 10000"/>
                <a:gd name="connsiteX122" fmla="*/ 5435 w 10000"/>
                <a:gd name="connsiteY122" fmla="*/ 1297 h 10000"/>
                <a:gd name="connsiteX123" fmla="*/ 5462 w 10000"/>
                <a:gd name="connsiteY123" fmla="*/ 1794 h 10000"/>
                <a:gd name="connsiteX124" fmla="*/ 5489 w 10000"/>
                <a:gd name="connsiteY124" fmla="*/ 2404 h 10000"/>
                <a:gd name="connsiteX125" fmla="*/ 9928 w 10000"/>
                <a:gd name="connsiteY125" fmla="*/ 2416 h 10000"/>
                <a:gd name="connsiteX126" fmla="*/ 10000 w 10000"/>
                <a:gd name="connsiteY126" fmla="*/ 3410 h 10000"/>
                <a:gd name="connsiteX127" fmla="*/ 9978 w 10000"/>
                <a:gd name="connsiteY127" fmla="*/ 3529 h 10000"/>
                <a:gd name="connsiteX128" fmla="*/ 9946 w 10000"/>
                <a:gd name="connsiteY128" fmla="*/ 3623 h 10000"/>
                <a:gd name="connsiteX129" fmla="*/ 9901 w 10000"/>
                <a:gd name="connsiteY129" fmla="*/ 3694 h 10000"/>
                <a:gd name="connsiteX130" fmla="*/ 9852 w 10000"/>
                <a:gd name="connsiteY130" fmla="*/ 3760 h 10000"/>
                <a:gd name="connsiteX131" fmla="*/ 9798 w 10000"/>
                <a:gd name="connsiteY131" fmla="*/ 3807 h 10000"/>
                <a:gd name="connsiteX132" fmla="*/ 9753 w 10000"/>
                <a:gd name="connsiteY132" fmla="*/ 3843 h 10000"/>
                <a:gd name="connsiteX133" fmla="*/ 9722 w 10000"/>
                <a:gd name="connsiteY133" fmla="*/ 3860 h 10000"/>
                <a:gd name="connsiteX134" fmla="*/ 9709 w 10000"/>
                <a:gd name="connsiteY134"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6960 w 10000"/>
                <a:gd name="connsiteY17" fmla="*/ 4541 h 10000"/>
                <a:gd name="connsiteX18" fmla="*/ 6605 w 10000"/>
                <a:gd name="connsiteY18" fmla="*/ 4547 h 10000"/>
                <a:gd name="connsiteX19" fmla="*/ 6265 w 10000"/>
                <a:gd name="connsiteY19" fmla="*/ 4547 h 10000"/>
                <a:gd name="connsiteX20" fmla="*/ 6108 w 10000"/>
                <a:gd name="connsiteY20" fmla="*/ 4541 h 10000"/>
                <a:gd name="connsiteX21" fmla="*/ 5964 w 10000"/>
                <a:gd name="connsiteY21" fmla="*/ 4535 h 10000"/>
                <a:gd name="connsiteX22" fmla="*/ 5830 w 10000"/>
                <a:gd name="connsiteY22" fmla="*/ 4529 h 10000"/>
                <a:gd name="connsiteX23" fmla="*/ 5717 w 10000"/>
                <a:gd name="connsiteY23" fmla="*/ 4523 h 10000"/>
                <a:gd name="connsiteX24" fmla="*/ 5614 w 10000"/>
                <a:gd name="connsiteY24" fmla="*/ 4517 h 10000"/>
                <a:gd name="connsiteX25" fmla="*/ 5534 w 10000"/>
                <a:gd name="connsiteY25" fmla="*/ 4506 h 10000"/>
                <a:gd name="connsiteX26" fmla="*/ 5471 w 10000"/>
                <a:gd name="connsiteY26" fmla="*/ 4500 h 10000"/>
                <a:gd name="connsiteX27" fmla="*/ 5435 w 10000"/>
                <a:gd name="connsiteY27" fmla="*/ 4494 h 10000"/>
                <a:gd name="connsiteX28" fmla="*/ 5422 w 10000"/>
                <a:gd name="connsiteY28" fmla="*/ 4494 h 10000"/>
                <a:gd name="connsiteX29" fmla="*/ 5152 w 10000"/>
                <a:gd name="connsiteY29" fmla="*/ 7620 h 10000"/>
                <a:gd name="connsiteX30" fmla="*/ 6516 w 10000"/>
                <a:gd name="connsiteY30" fmla="*/ 7999 h 10000"/>
                <a:gd name="connsiteX31" fmla="*/ 6565 w 10000"/>
                <a:gd name="connsiteY31" fmla="*/ 8034 h 10000"/>
                <a:gd name="connsiteX32" fmla="*/ 6601 w 10000"/>
                <a:gd name="connsiteY32" fmla="*/ 8105 h 10000"/>
                <a:gd name="connsiteX33" fmla="*/ 6623 w 10000"/>
                <a:gd name="connsiteY33" fmla="*/ 8200 h 10000"/>
                <a:gd name="connsiteX34" fmla="*/ 6632 w 10000"/>
                <a:gd name="connsiteY34" fmla="*/ 8307 h 10000"/>
                <a:gd name="connsiteX35" fmla="*/ 6543 w 10000"/>
                <a:gd name="connsiteY35" fmla="*/ 9053 h 10000"/>
                <a:gd name="connsiteX36" fmla="*/ 5291 w 10000"/>
                <a:gd name="connsiteY36" fmla="*/ 9153 h 10000"/>
                <a:gd name="connsiteX37" fmla="*/ 5099 w 10000"/>
                <a:gd name="connsiteY37" fmla="*/ 8620 h 10000"/>
                <a:gd name="connsiteX38" fmla="*/ 5099 w 10000"/>
                <a:gd name="connsiteY38" fmla="*/ 8686 h 10000"/>
                <a:gd name="connsiteX39" fmla="*/ 5090 w 10000"/>
                <a:gd name="connsiteY39" fmla="*/ 8840 h 10000"/>
                <a:gd name="connsiteX40" fmla="*/ 5081 w 10000"/>
                <a:gd name="connsiteY40" fmla="*/ 9059 h 10000"/>
                <a:gd name="connsiteX41" fmla="*/ 5063 w 10000"/>
                <a:gd name="connsiteY41" fmla="*/ 9307 h 10000"/>
                <a:gd name="connsiteX42" fmla="*/ 5040 w 10000"/>
                <a:gd name="connsiteY42" fmla="*/ 9568 h 10000"/>
                <a:gd name="connsiteX43" fmla="*/ 5013 w 10000"/>
                <a:gd name="connsiteY43" fmla="*/ 9787 h 10000"/>
                <a:gd name="connsiteX44" fmla="*/ 4978 w 10000"/>
                <a:gd name="connsiteY44" fmla="*/ 9947 h 10000"/>
                <a:gd name="connsiteX45" fmla="*/ 4928 w 10000"/>
                <a:gd name="connsiteY45" fmla="*/ 10000 h 10000"/>
                <a:gd name="connsiteX46" fmla="*/ 4852 w 10000"/>
                <a:gd name="connsiteY46" fmla="*/ 9781 h 10000"/>
                <a:gd name="connsiteX47" fmla="*/ 4816 w 10000"/>
                <a:gd name="connsiteY47" fmla="*/ 9307 h 10000"/>
                <a:gd name="connsiteX48" fmla="*/ 4803 w 10000"/>
                <a:gd name="connsiteY48" fmla="*/ 8834 h 10000"/>
                <a:gd name="connsiteX49" fmla="*/ 4794 w 10000"/>
                <a:gd name="connsiteY49" fmla="*/ 8620 h 10000"/>
                <a:gd name="connsiteX50" fmla="*/ 4601 w 10000"/>
                <a:gd name="connsiteY50" fmla="*/ 9153 h 10000"/>
                <a:gd name="connsiteX51" fmla="*/ 3368 w 10000"/>
                <a:gd name="connsiteY51" fmla="*/ 9053 h 10000"/>
                <a:gd name="connsiteX52" fmla="*/ 3260 w 10000"/>
                <a:gd name="connsiteY52" fmla="*/ 8307 h 10000"/>
                <a:gd name="connsiteX53" fmla="*/ 3265 w 10000"/>
                <a:gd name="connsiteY53" fmla="*/ 8200 h 10000"/>
                <a:gd name="connsiteX54" fmla="*/ 3291 w 10000"/>
                <a:gd name="connsiteY54" fmla="*/ 8105 h 10000"/>
                <a:gd name="connsiteX55" fmla="*/ 3323 w 10000"/>
                <a:gd name="connsiteY55" fmla="*/ 8034 h 10000"/>
                <a:gd name="connsiteX56" fmla="*/ 3368 w 10000"/>
                <a:gd name="connsiteY56" fmla="*/ 7999 h 10000"/>
                <a:gd name="connsiteX57" fmla="*/ 4740 w 10000"/>
                <a:gd name="connsiteY57" fmla="*/ 7620 h 10000"/>
                <a:gd name="connsiteX58" fmla="*/ 4475 w 10000"/>
                <a:gd name="connsiteY58" fmla="*/ 4494 h 10000"/>
                <a:gd name="connsiteX59" fmla="*/ 511 w 10000"/>
                <a:gd name="connsiteY59" fmla="*/ 4044 h 10000"/>
                <a:gd name="connsiteX60" fmla="*/ 502 w 10000"/>
                <a:gd name="connsiteY60" fmla="*/ 4044 h 10000"/>
                <a:gd name="connsiteX61" fmla="*/ 471 w 10000"/>
                <a:gd name="connsiteY61" fmla="*/ 4032 h 10000"/>
                <a:gd name="connsiteX62" fmla="*/ 430 w 10000"/>
                <a:gd name="connsiteY62" fmla="*/ 4020 h 10000"/>
                <a:gd name="connsiteX63" fmla="*/ 386 w 10000"/>
                <a:gd name="connsiteY63" fmla="*/ 3996 h 10000"/>
                <a:gd name="connsiteX64" fmla="*/ 341 w 10000"/>
                <a:gd name="connsiteY64" fmla="*/ 3985 h 10000"/>
                <a:gd name="connsiteX65" fmla="*/ 300 w 10000"/>
                <a:gd name="connsiteY65" fmla="*/ 3967 h 10000"/>
                <a:gd name="connsiteX66" fmla="*/ 269 w 10000"/>
                <a:gd name="connsiteY66" fmla="*/ 3955 h 10000"/>
                <a:gd name="connsiteX67" fmla="*/ 260 w 10000"/>
                <a:gd name="connsiteY67" fmla="*/ 3955 h 10000"/>
                <a:gd name="connsiteX68" fmla="*/ 179 w 10000"/>
                <a:gd name="connsiteY68" fmla="*/ 3914 h 10000"/>
                <a:gd name="connsiteX69" fmla="*/ 126 w 10000"/>
                <a:gd name="connsiteY69" fmla="*/ 3860 h 10000"/>
                <a:gd name="connsiteX70" fmla="*/ 76 w 10000"/>
                <a:gd name="connsiteY70" fmla="*/ 3813 h 10000"/>
                <a:gd name="connsiteX71" fmla="*/ 54 w 10000"/>
                <a:gd name="connsiteY71" fmla="*/ 3760 h 10000"/>
                <a:gd name="connsiteX72" fmla="*/ 31 w 10000"/>
                <a:gd name="connsiteY72" fmla="*/ 3718 h 10000"/>
                <a:gd name="connsiteX73" fmla="*/ 22 w 10000"/>
                <a:gd name="connsiteY73" fmla="*/ 3677 h 10000"/>
                <a:gd name="connsiteX74" fmla="*/ 13 w 10000"/>
                <a:gd name="connsiteY74" fmla="*/ 3647 h 10000"/>
                <a:gd name="connsiteX75" fmla="*/ 13 w 10000"/>
                <a:gd name="connsiteY75" fmla="*/ 3641 h 10000"/>
                <a:gd name="connsiteX76" fmla="*/ 0 w 10000"/>
                <a:gd name="connsiteY76" fmla="*/ 2351 h 10000"/>
                <a:gd name="connsiteX77" fmla="*/ 4408 w 10000"/>
                <a:gd name="connsiteY77" fmla="*/ 2345 h 10000"/>
                <a:gd name="connsiteX78" fmla="*/ 4439 w 10000"/>
                <a:gd name="connsiteY78" fmla="*/ 1764 h 10000"/>
                <a:gd name="connsiteX79" fmla="*/ 4466 w 10000"/>
                <a:gd name="connsiteY79" fmla="*/ 1291 h 10000"/>
                <a:gd name="connsiteX80" fmla="*/ 4484 w 10000"/>
                <a:gd name="connsiteY80" fmla="*/ 941 h 10000"/>
                <a:gd name="connsiteX81" fmla="*/ 4516 w 10000"/>
                <a:gd name="connsiteY81" fmla="*/ 770 h 10000"/>
                <a:gd name="connsiteX82" fmla="*/ 4538 w 10000"/>
                <a:gd name="connsiteY82" fmla="*/ 734 h 10000"/>
                <a:gd name="connsiteX83" fmla="*/ 4565 w 10000"/>
                <a:gd name="connsiteY83" fmla="*/ 716 h 10000"/>
                <a:gd name="connsiteX84" fmla="*/ 4596 w 10000"/>
                <a:gd name="connsiteY84" fmla="*/ 687 h 10000"/>
                <a:gd name="connsiteX85" fmla="*/ 4632 w 10000"/>
                <a:gd name="connsiteY85" fmla="*/ 675 h 10000"/>
                <a:gd name="connsiteX86" fmla="*/ 4668 w 10000"/>
                <a:gd name="connsiteY86" fmla="*/ 663 h 10000"/>
                <a:gd name="connsiteX87" fmla="*/ 4704 w 10000"/>
                <a:gd name="connsiteY87" fmla="*/ 645 h 10000"/>
                <a:gd name="connsiteX88" fmla="*/ 4740 w 10000"/>
                <a:gd name="connsiteY88" fmla="*/ 639 h 10000"/>
                <a:gd name="connsiteX89" fmla="*/ 4767 w 10000"/>
                <a:gd name="connsiteY89" fmla="*/ 639 h 10000"/>
                <a:gd name="connsiteX90" fmla="*/ 4780 w 10000"/>
                <a:gd name="connsiteY90" fmla="*/ 586 h 10000"/>
                <a:gd name="connsiteX91" fmla="*/ 4789 w 10000"/>
                <a:gd name="connsiteY91" fmla="*/ 527 h 10000"/>
                <a:gd name="connsiteX92" fmla="*/ 4807 w 10000"/>
                <a:gd name="connsiteY92" fmla="*/ 480 h 10000"/>
                <a:gd name="connsiteX93" fmla="*/ 4816 w 10000"/>
                <a:gd name="connsiteY93" fmla="*/ 432 h 10000"/>
                <a:gd name="connsiteX94" fmla="*/ 3789 w 10000"/>
                <a:gd name="connsiteY94" fmla="*/ 432 h 10000"/>
                <a:gd name="connsiteX95" fmla="*/ 3789 w 10000"/>
                <a:gd name="connsiteY95" fmla="*/ 219 h 10000"/>
                <a:gd name="connsiteX96" fmla="*/ 4834 w 10000"/>
                <a:gd name="connsiteY96" fmla="*/ 219 h 10000"/>
                <a:gd name="connsiteX97" fmla="*/ 4857 w 10000"/>
                <a:gd name="connsiteY97" fmla="*/ 148 h 10000"/>
                <a:gd name="connsiteX98" fmla="*/ 4883 w 10000"/>
                <a:gd name="connsiteY98" fmla="*/ 77 h 10000"/>
                <a:gd name="connsiteX99" fmla="*/ 4910 w 10000"/>
                <a:gd name="connsiteY99" fmla="*/ 18 h 10000"/>
                <a:gd name="connsiteX100" fmla="*/ 4946 w 10000"/>
                <a:gd name="connsiteY100" fmla="*/ 0 h 10000"/>
                <a:gd name="connsiteX101" fmla="*/ 4982 w 10000"/>
                <a:gd name="connsiteY101" fmla="*/ 18 h 10000"/>
                <a:gd name="connsiteX102" fmla="*/ 5009 w 10000"/>
                <a:gd name="connsiteY102" fmla="*/ 77 h 10000"/>
                <a:gd name="connsiteX103" fmla="*/ 5031 w 10000"/>
                <a:gd name="connsiteY103" fmla="*/ 148 h 10000"/>
                <a:gd name="connsiteX104" fmla="*/ 5054 w 10000"/>
                <a:gd name="connsiteY104" fmla="*/ 219 h 10000"/>
                <a:gd name="connsiteX105" fmla="*/ 6135 w 10000"/>
                <a:gd name="connsiteY105" fmla="*/ 219 h 10000"/>
                <a:gd name="connsiteX106" fmla="*/ 6135 w 10000"/>
                <a:gd name="connsiteY106" fmla="*/ 432 h 10000"/>
                <a:gd name="connsiteX107" fmla="*/ 5076 w 10000"/>
                <a:gd name="connsiteY107" fmla="*/ 432 h 10000"/>
                <a:gd name="connsiteX108" fmla="*/ 5085 w 10000"/>
                <a:gd name="connsiteY108" fmla="*/ 480 h 10000"/>
                <a:gd name="connsiteX109" fmla="*/ 5099 w 10000"/>
                <a:gd name="connsiteY109" fmla="*/ 527 h 10000"/>
                <a:gd name="connsiteX110" fmla="*/ 5112 w 10000"/>
                <a:gd name="connsiteY110" fmla="*/ 586 h 10000"/>
                <a:gd name="connsiteX111" fmla="*/ 5126 w 10000"/>
                <a:gd name="connsiteY111" fmla="*/ 639 h 10000"/>
                <a:gd name="connsiteX112" fmla="*/ 5152 w 10000"/>
                <a:gd name="connsiteY112" fmla="*/ 639 h 10000"/>
                <a:gd name="connsiteX113" fmla="*/ 5188 w 10000"/>
                <a:gd name="connsiteY113" fmla="*/ 645 h 10000"/>
                <a:gd name="connsiteX114" fmla="*/ 5224 w 10000"/>
                <a:gd name="connsiteY114" fmla="*/ 663 h 10000"/>
                <a:gd name="connsiteX115" fmla="*/ 5260 w 10000"/>
                <a:gd name="connsiteY115" fmla="*/ 675 h 10000"/>
                <a:gd name="connsiteX116" fmla="*/ 5296 w 10000"/>
                <a:gd name="connsiteY116" fmla="*/ 687 h 10000"/>
                <a:gd name="connsiteX117" fmla="*/ 5332 w 10000"/>
                <a:gd name="connsiteY117" fmla="*/ 716 h 10000"/>
                <a:gd name="connsiteX118" fmla="*/ 5363 w 10000"/>
                <a:gd name="connsiteY118" fmla="*/ 734 h 10000"/>
                <a:gd name="connsiteX119" fmla="*/ 5390 w 10000"/>
                <a:gd name="connsiteY119" fmla="*/ 770 h 10000"/>
                <a:gd name="connsiteX120" fmla="*/ 5413 w 10000"/>
                <a:gd name="connsiteY120" fmla="*/ 941 h 10000"/>
                <a:gd name="connsiteX121" fmla="*/ 5435 w 10000"/>
                <a:gd name="connsiteY121" fmla="*/ 1297 h 10000"/>
                <a:gd name="connsiteX122" fmla="*/ 5462 w 10000"/>
                <a:gd name="connsiteY122" fmla="*/ 1794 h 10000"/>
                <a:gd name="connsiteX123" fmla="*/ 5489 w 10000"/>
                <a:gd name="connsiteY123" fmla="*/ 2404 h 10000"/>
                <a:gd name="connsiteX124" fmla="*/ 9928 w 10000"/>
                <a:gd name="connsiteY124" fmla="*/ 2416 h 10000"/>
                <a:gd name="connsiteX125" fmla="*/ 10000 w 10000"/>
                <a:gd name="connsiteY125" fmla="*/ 3410 h 10000"/>
                <a:gd name="connsiteX126" fmla="*/ 9978 w 10000"/>
                <a:gd name="connsiteY126" fmla="*/ 3529 h 10000"/>
                <a:gd name="connsiteX127" fmla="*/ 9946 w 10000"/>
                <a:gd name="connsiteY127" fmla="*/ 3623 h 10000"/>
                <a:gd name="connsiteX128" fmla="*/ 9901 w 10000"/>
                <a:gd name="connsiteY128" fmla="*/ 3694 h 10000"/>
                <a:gd name="connsiteX129" fmla="*/ 9852 w 10000"/>
                <a:gd name="connsiteY129" fmla="*/ 3760 h 10000"/>
                <a:gd name="connsiteX130" fmla="*/ 9798 w 10000"/>
                <a:gd name="connsiteY130" fmla="*/ 3807 h 10000"/>
                <a:gd name="connsiteX131" fmla="*/ 9753 w 10000"/>
                <a:gd name="connsiteY131" fmla="*/ 3843 h 10000"/>
                <a:gd name="connsiteX132" fmla="*/ 9722 w 10000"/>
                <a:gd name="connsiteY132" fmla="*/ 3860 h 10000"/>
                <a:gd name="connsiteX133" fmla="*/ 9709 w 10000"/>
                <a:gd name="connsiteY133"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6960 w 10000"/>
                <a:gd name="connsiteY17" fmla="*/ 4541 h 10000"/>
                <a:gd name="connsiteX18" fmla="*/ 6605 w 10000"/>
                <a:gd name="connsiteY18" fmla="*/ 4547 h 10000"/>
                <a:gd name="connsiteX19" fmla="*/ 6265 w 10000"/>
                <a:gd name="connsiteY19" fmla="*/ 4547 h 10000"/>
                <a:gd name="connsiteX20" fmla="*/ 5964 w 10000"/>
                <a:gd name="connsiteY20" fmla="*/ 4535 h 10000"/>
                <a:gd name="connsiteX21" fmla="*/ 5830 w 10000"/>
                <a:gd name="connsiteY21" fmla="*/ 4529 h 10000"/>
                <a:gd name="connsiteX22" fmla="*/ 5717 w 10000"/>
                <a:gd name="connsiteY22" fmla="*/ 4523 h 10000"/>
                <a:gd name="connsiteX23" fmla="*/ 5614 w 10000"/>
                <a:gd name="connsiteY23" fmla="*/ 4517 h 10000"/>
                <a:gd name="connsiteX24" fmla="*/ 5534 w 10000"/>
                <a:gd name="connsiteY24" fmla="*/ 4506 h 10000"/>
                <a:gd name="connsiteX25" fmla="*/ 5471 w 10000"/>
                <a:gd name="connsiteY25" fmla="*/ 4500 h 10000"/>
                <a:gd name="connsiteX26" fmla="*/ 5435 w 10000"/>
                <a:gd name="connsiteY26" fmla="*/ 4494 h 10000"/>
                <a:gd name="connsiteX27" fmla="*/ 5422 w 10000"/>
                <a:gd name="connsiteY27" fmla="*/ 4494 h 10000"/>
                <a:gd name="connsiteX28" fmla="*/ 5152 w 10000"/>
                <a:gd name="connsiteY28" fmla="*/ 7620 h 10000"/>
                <a:gd name="connsiteX29" fmla="*/ 6516 w 10000"/>
                <a:gd name="connsiteY29" fmla="*/ 7999 h 10000"/>
                <a:gd name="connsiteX30" fmla="*/ 6565 w 10000"/>
                <a:gd name="connsiteY30" fmla="*/ 8034 h 10000"/>
                <a:gd name="connsiteX31" fmla="*/ 6601 w 10000"/>
                <a:gd name="connsiteY31" fmla="*/ 8105 h 10000"/>
                <a:gd name="connsiteX32" fmla="*/ 6623 w 10000"/>
                <a:gd name="connsiteY32" fmla="*/ 8200 h 10000"/>
                <a:gd name="connsiteX33" fmla="*/ 6632 w 10000"/>
                <a:gd name="connsiteY33" fmla="*/ 8307 h 10000"/>
                <a:gd name="connsiteX34" fmla="*/ 6543 w 10000"/>
                <a:gd name="connsiteY34" fmla="*/ 9053 h 10000"/>
                <a:gd name="connsiteX35" fmla="*/ 5291 w 10000"/>
                <a:gd name="connsiteY35" fmla="*/ 9153 h 10000"/>
                <a:gd name="connsiteX36" fmla="*/ 5099 w 10000"/>
                <a:gd name="connsiteY36" fmla="*/ 8620 h 10000"/>
                <a:gd name="connsiteX37" fmla="*/ 5099 w 10000"/>
                <a:gd name="connsiteY37" fmla="*/ 8686 h 10000"/>
                <a:gd name="connsiteX38" fmla="*/ 5090 w 10000"/>
                <a:gd name="connsiteY38" fmla="*/ 8840 h 10000"/>
                <a:gd name="connsiteX39" fmla="*/ 5081 w 10000"/>
                <a:gd name="connsiteY39" fmla="*/ 9059 h 10000"/>
                <a:gd name="connsiteX40" fmla="*/ 5063 w 10000"/>
                <a:gd name="connsiteY40" fmla="*/ 9307 h 10000"/>
                <a:gd name="connsiteX41" fmla="*/ 5040 w 10000"/>
                <a:gd name="connsiteY41" fmla="*/ 9568 h 10000"/>
                <a:gd name="connsiteX42" fmla="*/ 5013 w 10000"/>
                <a:gd name="connsiteY42" fmla="*/ 9787 h 10000"/>
                <a:gd name="connsiteX43" fmla="*/ 4978 w 10000"/>
                <a:gd name="connsiteY43" fmla="*/ 9947 h 10000"/>
                <a:gd name="connsiteX44" fmla="*/ 4928 w 10000"/>
                <a:gd name="connsiteY44" fmla="*/ 10000 h 10000"/>
                <a:gd name="connsiteX45" fmla="*/ 4852 w 10000"/>
                <a:gd name="connsiteY45" fmla="*/ 9781 h 10000"/>
                <a:gd name="connsiteX46" fmla="*/ 4816 w 10000"/>
                <a:gd name="connsiteY46" fmla="*/ 9307 h 10000"/>
                <a:gd name="connsiteX47" fmla="*/ 4803 w 10000"/>
                <a:gd name="connsiteY47" fmla="*/ 8834 h 10000"/>
                <a:gd name="connsiteX48" fmla="*/ 4794 w 10000"/>
                <a:gd name="connsiteY48" fmla="*/ 8620 h 10000"/>
                <a:gd name="connsiteX49" fmla="*/ 4601 w 10000"/>
                <a:gd name="connsiteY49" fmla="*/ 9153 h 10000"/>
                <a:gd name="connsiteX50" fmla="*/ 3368 w 10000"/>
                <a:gd name="connsiteY50" fmla="*/ 9053 h 10000"/>
                <a:gd name="connsiteX51" fmla="*/ 3260 w 10000"/>
                <a:gd name="connsiteY51" fmla="*/ 8307 h 10000"/>
                <a:gd name="connsiteX52" fmla="*/ 3265 w 10000"/>
                <a:gd name="connsiteY52" fmla="*/ 8200 h 10000"/>
                <a:gd name="connsiteX53" fmla="*/ 3291 w 10000"/>
                <a:gd name="connsiteY53" fmla="*/ 8105 h 10000"/>
                <a:gd name="connsiteX54" fmla="*/ 3323 w 10000"/>
                <a:gd name="connsiteY54" fmla="*/ 8034 h 10000"/>
                <a:gd name="connsiteX55" fmla="*/ 3368 w 10000"/>
                <a:gd name="connsiteY55" fmla="*/ 7999 h 10000"/>
                <a:gd name="connsiteX56" fmla="*/ 4740 w 10000"/>
                <a:gd name="connsiteY56" fmla="*/ 7620 h 10000"/>
                <a:gd name="connsiteX57" fmla="*/ 4475 w 10000"/>
                <a:gd name="connsiteY57" fmla="*/ 4494 h 10000"/>
                <a:gd name="connsiteX58" fmla="*/ 511 w 10000"/>
                <a:gd name="connsiteY58" fmla="*/ 4044 h 10000"/>
                <a:gd name="connsiteX59" fmla="*/ 502 w 10000"/>
                <a:gd name="connsiteY59" fmla="*/ 4044 h 10000"/>
                <a:gd name="connsiteX60" fmla="*/ 471 w 10000"/>
                <a:gd name="connsiteY60" fmla="*/ 4032 h 10000"/>
                <a:gd name="connsiteX61" fmla="*/ 430 w 10000"/>
                <a:gd name="connsiteY61" fmla="*/ 4020 h 10000"/>
                <a:gd name="connsiteX62" fmla="*/ 386 w 10000"/>
                <a:gd name="connsiteY62" fmla="*/ 3996 h 10000"/>
                <a:gd name="connsiteX63" fmla="*/ 341 w 10000"/>
                <a:gd name="connsiteY63" fmla="*/ 3985 h 10000"/>
                <a:gd name="connsiteX64" fmla="*/ 300 w 10000"/>
                <a:gd name="connsiteY64" fmla="*/ 3967 h 10000"/>
                <a:gd name="connsiteX65" fmla="*/ 269 w 10000"/>
                <a:gd name="connsiteY65" fmla="*/ 3955 h 10000"/>
                <a:gd name="connsiteX66" fmla="*/ 260 w 10000"/>
                <a:gd name="connsiteY66" fmla="*/ 3955 h 10000"/>
                <a:gd name="connsiteX67" fmla="*/ 179 w 10000"/>
                <a:gd name="connsiteY67" fmla="*/ 3914 h 10000"/>
                <a:gd name="connsiteX68" fmla="*/ 126 w 10000"/>
                <a:gd name="connsiteY68" fmla="*/ 3860 h 10000"/>
                <a:gd name="connsiteX69" fmla="*/ 76 w 10000"/>
                <a:gd name="connsiteY69" fmla="*/ 3813 h 10000"/>
                <a:gd name="connsiteX70" fmla="*/ 54 w 10000"/>
                <a:gd name="connsiteY70" fmla="*/ 3760 h 10000"/>
                <a:gd name="connsiteX71" fmla="*/ 31 w 10000"/>
                <a:gd name="connsiteY71" fmla="*/ 3718 h 10000"/>
                <a:gd name="connsiteX72" fmla="*/ 22 w 10000"/>
                <a:gd name="connsiteY72" fmla="*/ 3677 h 10000"/>
                <a:gd name="connsiteX73" fmla="*/ 13 w 10000"/>
                <a:gd name="connsiteY73" fmla="*/ 3647 h 10000"/>
                <a:gd name="connsiteX74" fmla="*/ 13 w 10000"/>
                <a:gd name="connsiteY74" fmla="*/ 3641 h 10000"/>
                <a:gd name="connsiteX75" fmla="*/ 0 w 10000"/>
                <a:gd name="connsiteY75" fmla="*/ 2351 h 10000"/>
                <a:gd name="connsiteX76" fmla="*/ 4408 w 10000"/>
                <a:gd name="connsiteY76" fmla="*/ 2345 h 10000"/>
                <a:gd name="connsiteX77" fmla="*/ 4439 w 10000"/>
                <a:gd name="connsiteY77" fmla="*/ 1764 h 10000"/>
                <a:gd name="connsiteX78" fmla="*/ 4466 w 10000"/>
                <a:gd name="connsiteY78" fmla="*/ 1291 h 10000"/>
                <a:gd name="connsiteX79" fmla="*/ 4484 w 10000"/>
                <a:gd name="connsiteY79" fmla="*/ 941 h 10000"/>
                <a:gd name="connsiteX80" fmla="*/ 4516 w 10000"/>
                <a:gd name="connsiteY80" fmla="*/ 770 h 10000"/>
                <a:gd name="connsiteX81" fmla="*/ 4538 w 10000"/>
                <a:gd name="connsiteY81" fmla="*/ 734 h 10000"/>
                <a:gd name="connsiteX82" fmla="*/ 4565 w 10000"/>
                <a:gd name="connsiteY82" fmla="*/ 716 h 10000"/>
                <a:gd name="connsiteX83" fmla="*/ 4596 w 10000"/>
                <a:gd name="connsiteY83" fmla="*/ 687 h 10000"/>
                <a:gd name="connsiteX84" fmla="*/ 4632 w 10000"/>
                <a:gd name="connsiteY84" fmla="*/ 675 h 10000"/>
                <a:gd name="connsiteX85" fmla="*/ 4668 w 10000"/>
                <a:gd name="connsiteY85" fmla="*/ 663 h 10000"/>
                <a:gd name="connsiteX86" fmla="*/ 4704 w 10000"/>
                <a:gd name="connsiteY86" fmla="*/ 645 h 10000"/>
                <a:gd name="connsiteX87" fmla="*/ 4740 w 10000"/>
                <a:gd name="connsiteY87" fmla="*/ 639 h 10000"/>
                <a:gd name="connsiteX88" fmla="*/ 4767 w 10000"/>
                <a:gd name="connsiteY88" fmla="*/ 639 h 10000"/>
                <a:gd name="connsiteX89" fmla="*/ 4780 w 10000"/>
                <a:gd name="connsiteY89" fmla="*/ 586 h 10000"/>
                <a:gd name="connsiteX90" fmla="*/ 4789 w 10000"/>
                <a:gd name="connsiteY90" fmla="*/ 527 h 10000"/>
                <a:gd name="connsiteX91" fmla="*/ 4807 w 10000"/>
                <a:gd name="connsiteY91" fmla="*/ 480 h 10000"/>
                <a:gd name="connsiteX92" fmla="*/ 4816 w 10000"/>
                <a:gd name="connsiteY92" fmla="*/ 432 h 10000"/>
                <a:gd name="connsiteX93" fmla="*/ 3789 w 10000"/>
                <a:gd name="connsiteY93" fmla="*/ 432 h 10000"/>
                <a:gd name="connsiteX94" fmla="*/ 3789 w 10000"/>
                <a:gd name="connsiteY94" fmla="*/ 219 h 10000"/>
                <a:gd name="connsiteX95" fmla="*/ 4834 w 10000"/>
                <a:gd name="connsiteY95" fmla="*/ 219 h 10000"/>
                <a:gd name="connsiteX96" fmla="*/ 4857 w 10000"/>
                <a:gd name="connsiteY96" fmla="*/ 148 h 10000"/>
                <a:gd name="connsiteX97" fmla="*/ 4883 w 10000"/>
                <a:gd name="connsiteY97" fmla="*/ 77 h 10000"/>
                <a:gd name="connsiteX98" fmla="*/ 4910 w 10000"/>
                <a:gd name="connsiteY98" fmla="*/ 18 h 10000"/>
                <a:gd name="connsiteX99" fmla="*/ 4946 w 10000"/>
                <a:gd name="connsiteY99" fmla="*/ 0 h 10000"/>
                <a:gd name="connsiteX100" fmla="*/ 4982 w 10000"/>
                <a:gd name="connsiteY100" fmla="*/ 18 h 10000"/>
                <a:gd name="connsiteX101" fmla="*/ 5009 w 10000"/>
                <a:gd name="connsiteY101" fmla="*/ 77 h 10000"/>
                <a:gd name="connsiteX102" fmla="*/ 5031 w 10000"/>
                <a:gd name="connsiteY102" fmla="*/ 148 h 10000"/>
                <a:gd name="connsiteX103" fmla="*/ 5054 w 10000"/>
                <a:gd name="connsiteY103" fmla="*/ 219 h 10000"/>
                <a:gd name="connsiteX104" fmla="*/ 6135 w 10000"/>
                <a:gd name="connsiteY104" fmla="*/ 219 h 10000"/>
                <a:gd name="connsiteX105" fmla="*/ 6135 w 10000"/>
                <a:gd name="connsiteY105" fmla="*/ 432 h 10000"/>
                <a:gd name="connsiteX106" fmla="*/ 5076 w 10000"/>
                <a:gd name="connsiteY106" fmla="*/ 432 h 10000"/>
                <a:gd name="connsiteX107" fmla="*/ 5085 w 10000"/>
                <a:gd name="connsiteY107" fmla="*/ 480 h 10000"/>
                <a:gd name="connsiteX108" fmla="*/ 5099 w 10000"/>
                <a:gd name="connsiteY108" fmla="*/ 527 h 10000"/>
                <a:gd name="connsiteX109" fmla="*/ 5112 w 10000"/>
                <a:gd name="connsiteY109" fmla="*/ 586 h 10000"/>
                <a:gd name="connsiteX110" fmla="*/ 5126 w 10000"/>
                <a:gd name="connsiteY110" fmla="*/ 639 h 10000"/>
                <a:gd name="connsiteX111" fmla="*/ 5152 w 10000"/>
                <a:gd name="connsiteY111" fmla="*/ 639 h 10000"/>
                <a:gd name="connsiteX112" fmla="*/ 5188 w 10000"/>
                <a:gd name="connsiteY112" fmla="*/ 645 h 10000"/>
                <a:gd name="connsiteX113" fmla="*/ 5224 w 10000"/>
                <a:gd name="connsiteY113" fmla="*/ 663 h 10000"/>
                <a:gd name="connsiteX114" fmla="*/ 5260 w 10000"/>
                <a:gd name="connsiteY114" fmla="*/ 675 h 10000"/>
                <a:gd name="connsiteX115" fmla="*/ 5296 w 10000"/>
                <a:gd name="connsiteY115" fmla="*/ 687 h 10000"/>
                <a:gd name="connsiteX116" fmla="*/ 5332 w 10000"/>
                <a:gd name="connsiteY116" fmla="*/ 716 h 10000"/>
                <a:gd name="connsiteX117" fmla="*/ 5363 w 10000"/>
                <a:gd name="connsiteY117" fmla="*/ 734 h 10000"/>
                <a:gd name="connsiteX118" fmla="*/ 5390 w 10000"/>
                <a:gd name="connsiteY118" fmla="*/ 770 h 10000"/>
                <a:gd name="connsiteX119" fmla="*/ 5413 w 10000"/>
                <a:gd name="connsiteY119" fmla="*/ 941 h 10000"/>
                <a:gd name="connsiteX120" fmla="*/ 5435 w 10000"/>
                <a:gd name="connsiteY120" fmla="*/ 1297 h 10000"/>
                <a:gd name="connsiteX121" fmla="*/ 5462 w 10000"/>
                <a:gd name="connsiteY121" fmla="*/ 1794 h 10000"/>
                <a:gd name="connsiteX122" fmla="*/ 5489 w 10000"/>
                <a:gd name="connsiteY122" fmla="*/ 2404 h 10000"/>
                <a:gd name="connsiteX123" fmla="*/ 9928 w 10000"/>
                <a:gd name="connsiteY123" fmla="*/ 2416 h 10000"/>
                <a:gd name="connsiteX124" fmla="*/ 10000 w 10000"/>
                <a:gd name="connsiteY124" fmla="*/ 3410 h 10000"/>
                <a:gd name="connsiteX125" fmla="*/ 9978 w 10000"/>
                <a:gd name="connsiteY125" fmla="*/ 3529 h 10000"/>
                <a:gd name="connsiteX126" fmla="*/ 9946 w 10000"/>
                <a:gd name="connsiteY126" fmla="*/ 3623 h 10000"/>
                <a:gd name="connsiteX127" fmla="*/ 9901 w 10000"/>
                <a:gd name="connsiteY127" fmla="*/ 3694 h 10000"/>
                <a:gd name="connsiteX128" fmla="*/ 9852 w 10000"/>
                <a:gd name="connsiteY128" fmla="*/ 3760 h 10000"/>
                <a:gd name="connsiteX129" fmla="*/ 9798 w 10000"/>
                <a:gd name="connsiteY129" fmla="*/ 3807 h 10000"/>
                <a:gd name="connsiteX130" fmla="*/ 9753 w 10000"/>
                <a:gd name="connsiteY130" fmla="*/ 3843 h 10000"/>
                <a:gd name="connsiteX131" fmla="*/ 9722 w 10000"/>
                <a:gd name="connsiteY131" fmla="*/ 3860 h 10000"/>
                <a:gd name="connsiteX132" fmla="*/ 9709 w 10000"/>
                <a:gd name="connsiteY132"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6960 w 10000"/>
                <a:gd name="connsiteY17" fmla="*/ 4541 h 10000"/>
                <a:gd name="connsiteX18" fmla="*/ 6605 w 10000"/>
                <a:gd name="connsiteY18" fmla="*/ 4547 h 10000"/>
                <a:gd name="connsiteX19" fmla="*/ 6265 w 10000"/>
                <a:gd name="connsiteY19" fmla="*/ 4547 h 10000"/>
                <a:gd name="connsiteX20" fmla="*/ 5830 w 10000"/>
                <a:gd name="connsiteY20" fmla="*/ 4529 h 10000"/>
                <a:gd name="connsiteX21" fmla="*/ 5717 w 10000"/>
                <a:gd name="connsiteY21" fmla="*/ 4523 h 10000"/>
                <a:gd name="connsiteX22" fmla="*/ 5614 w 10000"/>
                <a:gd name="connsiteY22" fmla="*/ 4517 h 10000"/>
                <a:gd name="connsiteX23" fmla="*/ 5534 w 10000"/>
                <a:gd name="connsiteY23" fmla="*/ 4506 h 10000"/>
                <a:gd name="connsiteX24" fmla="*/ 5471 w 10000"/>
                <a:gd name="connsiteY24" fmla="*/ 4500 h 10000"/>
                <a:gd name="connsiteX25" fmla="*/ 5435 w 10000"/>
                <a:gd name="connsiteY25" fmla="*/ 4494 h 10000"/>
                <a:gd name="connsiteX26" fmla="*/ 5422 w 10000"/>
                <a:gd name="connsiteY26" fmla="*/ 4494 h 10000"/>
                <a:gd name="connsiteX27" fmla="*/ 5152 w 10000"/>
                <a:gd name="connsiteY27" fmla="*/ 7620 h 10000"/>
                <a:gd name="connsiteX28" fmla="*/ 6516 w 10000"/>
                <a:gd name="connsiteY28" fmla="*/ 7999 h 10000"/>
                <a:gd name="connsiteX29" fmla="*/ 6565 w 10000"/>
                <a:gd name="connsiteY29" fmla="*/ 8034 h 10000"/>
                <a:gd name="connsiteX30" fmla="*/ 6601 w 10000"/>
                <a:gd name="connsiteY30" fmla="*/ 8105 h 10000"/>
                <a:gd name="connsiteX31" fmla="*/ 6623 w 10000"/>
                <a:gd name="connsiteY31" fmla="*/ 8200 h 10000"/>
                <a:gd name="connsiteX32" fmla="*/ 6632 w 10000"/>
                <a:gd name="connsiteY32" fmla="*/ 8307 h 10000"/>
                <a:gd name="connsiteX33" fmla="*/ 6543 w 10000"/>
                <a:gd name="connsiteY33" fmla="*/ 9053 h 10000"/>
                <a:gd name="connsiteX34" fmla="*/ 5291 w 10000"/>
                <a:gd name="connsiteY34" fmla="*/ 9153 h 10000"/>
                <a:gd name="connsiteX35" fmla="*/ 5099 w 10000"/>
                <a:gd name="connsiteY35" fmla="*/ 8620 h 10000"/>
                <a:gd name="connsiteX36" fmla="*/ 5099 w 10000"/>
                <a:gd name="connsiteY36" fmla="*/ 8686 h 10000"/>
                <a:gd name="connsiteX37" fmla="*/ 5090 w 10000"/>
                <a:gd name="connsiteY37" fmla="*/ 8840 h 10000"/>
                <a:gd name="connsiteX38" fmla="*/ 5081 w 10000"/>
                <a:gd name="connsiteY38" fmla="*/ 9059 h 10000"/>
                <a:gd name="connsiteX39" fmla="*/ 5063 w 10000"/>
                <a:gd name="connsiteY39" fmla="*/ 9307 h 10000"/>
                <a:gd name="connsiteX40" fmla="*/ 5040 w 10000"/>
                <a:gd name="connsiteY40" fmla="*/ 9568 h 10000"/>
                <a:gd name="connsiteX41" fmla="*/ 5013 w 10000"/>
                <a:gd name="connsiteY41" fmla="*/ 9787 h 10000"/>
                <a:gd name="connsiteX42" fmla="*/ 4978 w 10000"/>
                <a:gd name="connsiteY42" fmla="*/ 9947 h 10000"/>
                <a:gd name="connsiteX43" fmla="*/ 4928 w 10000"/>
                <a:gd name="connsiteY43" fmla="*/ 10000 h 10000"/>
                <a:gd name="connsiteX44" fmla="*/ 4852 w 10000"/>
                <a:gd name="connsiteY44" fmla="*/ 9781 h 10000"/>
                <a:gd name="connsiteX45" fmla="*/ 4816 w 10000"/>
                <a:gd name="connsiteY45" fmla="*/ 9307 h 10000"/>
                <a:gd name="connsiteX46" fmla="*/ 4803 w 10000"/>
                <a:gd name="connsiteY46" fmla="*/ 8834 h 10000"/>
                <a:gd name="connsiteX47" fmla="*/ 4794 w 10000"/>
                <a:gd name="connsiteY47" fmla="*/ 8620 h 10000"/>
                <a:gd name="connsiteX48" fmla="*/ 4601 w 10000"/>
                <a:gd name="connsiteY48" fmla="*/ 9153 h 10000"/>
                <a:gd name="connsiteX49" fmla="*/ 3368 w 10000"/>
                <a:gd name="connsiteY49" fmla="*/ 9053 h 10000"/>
                <a:gd name="connsiteX50" fmla="*/ 3260 w 10000"/>
                <a:gd name="connsiteY50" fmla="*/ 8307 h 10000"/>
                <a:gd name="connsiteX51" fmla="*/ 3265 w 10000"/>
                <a:gd name="connsiteY51" fmla="*/ 8200 h 10000"/>
                <a:gd name="connsiteX52" fmla="*/ 3291 w 10000"/>
                <a:gd name="connsiteY52" fmla="*/ 8105 h 10000"/>
                <a:gd name="connsiteX53" fmla="*/ 3323 w 10000"/>
                <a:gd name="connsiteY53" fmla="*/ 8034 h 10000"/>
                <a:gd name="connsiteX54" fmla="*/ 3368 w 10000"/>
                <a:gd name="connsiteY54" fmla="*/ 7999 h 10000"/>
                <a:gd name="connsiteX55" fmla="*/ 4740 w 10000"/>
                <a:gd name="connsiteY55" fmla="*/ 7620 h 10000"/>
                <a:gd name="connsiteX56" fmla="*/ 4475 w 10000"/>
                <a:gd name="connsiteY56" fmla="*/ 4494 h 10000"/>
                <a:gd name="connsiteX57" fmla="*/ 511 w 10000"/>
                <a:gd name="connsiteY57" fmla="*/ 4044 h 10000"/>
                <a:gd name="connsiteX58" fmla="*/ 502 w 10000"/>
                <a:gd name="connsiteY58" fmla="*/ 4044 h 10000"/>
                <a:gd name="connsiteX59" fmla="*/ 471 w 10000"/>
                <a:gd name="connsiteY59" fmla="*/ 4032 h 10000"/>
                <a:gd name="connsiteX60" fmla="*/ 430 w 10000"/>
                <a:gd name="connsiteY60" fmla="*/ 4020 h 10000"/>
                <a:gd name="connsiteX61" fmla="*/ 386 w 10000"/>
                <a:gd name="connsiteY61" fmla="*/ 3996 h 10000"/>
                <a:gd name="connsiteX62" fmla="*/ 341 w 10000"/>
                <a:gd name="connsiteY62" fmla="*/ 3985 h 10000"/>
                <a:gd name="connsiteX63" fmla="*/ 300 w 10000"/>
                <a:gd name="connsiteY63" fmla="*/ 3967 h 10000"/>
                <a:gd name="connsiteX64" fmla="*/ 269 w 10000"/>
                <a:gd name="connsiteY64" fmla="*/ 3955 h 10000"/>
                <a:gd name="connsiteX65" fmla="*/ 260 w 10000"/>
                <a:gd name="connsiteY65" fmla="*/ 3955 h 10000"/>
                <a:gd name="connsiteX66" fmla="*/ 179 w 10000"/>
                <a:gd name="connsiteY66" fmla="*/ 3914 h 10000"/>
                <a:gd name="connsiteX67" fmla="*/ 126 w 10000"/>
                <a:gd name="connsiteY67" fmla="*/ 3860 h 10000"/>
                <a:gd name="connsiteX68" fmla="*/ 76 w 10000"/>
                <a:gd name="connsiteY68" fmla="*/ 3813 h 10000"/>
                <a:gd name="connsiteX69" fmla="*/ 54 w 10000"/>
                <a:gd name="connsiteY69" fmla="*/ 3760 h 10000"/>
                <a:gd name="connsiteX70" fmla="*/ 31 w 10000"/>
                <a:gd name="connsiteY70" fmla="*/ 3718 h 10000"/>
                <a:gd name="connsiteX71" fmla="*/ 22 w 10000"/>
                <a:gd name="connsiteY71" fmla="*/ 3677 h 10000"/>
                <a:gd name="connsiteX72" fmla="*/ 13 w 10000"/>
                <a:gd name="connsiteY72" fmla="*/ 3647 h 10000"/>
                <a:gd name="connsiteX73" fmla="*/ 13 w 10000"/>
                <a:gd name="connsiteY73" fmla="*/ 3641 h 10000"/>
                <a:gd name="connsiteX74" fmla="*/ 0 w 10000"/>
                <a:gd name="connsiteY74" fmla="*/ 2351 h 10000"/>
                <a:gd name="connsiteX75" fmla="*/ 4408 w 10000"/>
                <a:gd name="connsiteY75" fmla="*/ 2345 h 10000"/>
                <a:gd name="connsiteX76" fmla="*/ 4439 w 10000"/>
                <a:gd name="connsiteY76" fmla="*/ 1764 h 10000"/>
                <a:gd name="connsiteX77" fmla="*/ 4466 w 10000"/>
                <a:gd name="connsiteY77" fmla="*/ 1291 h 10000"/>
                <a:gd name="connsiteX78" fmla="*/ 4484 w 10000"/>
                <a:gd name="connsiteY78" fmla="*/ 941 h 10000"/>
                <a:gd name="connsiteX79" fmla="*/ 4516 w 10000"/>
                <a:gd name="connsiteY79" fmla="*/ 770 h 10000"/>
                <a:gd name="connsiteX80" fmla="*/ 4538 w 10000"/>
                <a:gd name="connsiteY80" fmla="*/ 734 h 10000"/>
                <a:gd name="connsiteX81" fmla="*/ 4565 w 10000"/>
                <a:gd name="connsiteY81" fmla="*/ 716 h 10000"/>
                <a:gd name="connsiteX82" fmla="*/ 4596 w 10000"/>
                <a:gd name="connsiteY82" fmla="*/ 687 h 10000"/>
                <a:gd name="connsiteX83" fmla="*/ 4632 w 10000"/>
                <a:gd name="connsiteY83" fmla="*/ 675 h 10000"/>
                <a:gd name="connsiteX84" fmla="*/ 4668 w 10000"/>
                <a:gd name="connsiteY84" fmla="*/ 663 h 10000"/>
                <a:gd name="connsiteX85" fmla="*/ 4704 w 10000"/>
                <a:gd name="connsiteY85" fmla="*/ 645 h 10000"/>
                <a:gd name="connsiteX86" fmla="*/ 4740 w 10000"/>
                <a:gd name="connsiteY86" fmla="*/ 639 h 10000"/>
                <a:gd name="connsiteX87" fmla="*/ 4767 w 10000"/>
                <a:gd name="connsiteY87" fmla="*/ 639 h 10000"/>
                <a:gd name="connsiteX88" fmla="*/ 4780 w 10000"/>
                <a:gd name="connsiteY88" fmla="*/ 586 h 10000"/>
                <a:gd name="connsiteX89" fmla="*/ 4789 w 10000"/>
                <a:gd name="connsiteY89" fmla="*/ 527 h 10000"/>
                <a:gd name="connsiteX90" fmla="*/ 4807 w 10000"/>
                <a:gd name="connsiteY90" fmla="*/ 480 h 10000"/>
                <a:gd name="connsiteX91" fmla="*/ 4816 w 10000"/>
                <a:gd name="connsiteY91" fmla="*/ 432 h 10000"/>
                <a:gd name="connsiteX92" fmla="*/ 3789 w 10000"/>
                <a:gd name="connsiteY92" fmla="*/ 432 h 10000"/>
                <a:gd name="connsiteX93" fmla="*/ 3789 w 10000"/>
                <a:gd name="connsiteY93" fmla="*/ 219 h 10000"/>
                <a:gd name="connsiteX94" fmla="*/ 4834 w 10000"/>
                <a:gd name="connsiteY94" fmla="*/ 219 h 10000"/>
                <a:gd name="connsiteX95" fmla="*/ 4857 w 10000"/>
                <a:gd name="connsiteY95" fmla="*/ 148 h 10000"/>
                <a:gd name="connsiteX96" fmla="*/ 4883 w 10000"/>
                <a:gd name="connsiteY96" fmla="*/ 77 h 10000"/>
                <a:gd name="connsiteX97" fmla="*/ 4910 w 10000"/>
                <a:gd name="connsiteY97" fmla="*/ 18 h 10000"/>
                <a:gd name="connsiteX98" fmla="*/ 4946 w 10000"/>
                <a:gd name="connsiteY98" fmla="*/ 0 h 10000"/>
                <a:gd name="connsiteX99" fmla="*/ 4982 w 10000"/>
                <a:gd name="connsiteY99" fmla="*/ 18 h 10000"/>
                <a:gd name="connsiteX100" fmla="*/ 5009 w 10000"/>
                <a:gd name="connsiteY100" fmla="*/ 77 h 10000"/>
                <a:gd name="connsiteX101" fmla="*/ 5031 w 10000"/>
                <a:gd name="connsiteY101" fmla="*/ 148 h 10000"/>
                <a:gd name="connsiteX102" fmla="*/ 5054 w 10000"/>
                <a:gd name="connsiteY102" fmla="*/ 219 h 10000"/>
                <a:gd name="connsiteX103" fmla="*/ 6135 w 10000"/>
                <a:gd name="connsiteY103" fmla="*/ 219 h 10000"/>
                <a:gd name="connsiteX104" fmla="*/ 6135 w 10000"/>
                <a:gd name="connsiteY104" fmla="*/ 432 h 10000"/>
                <a:gd name="connsiteX105" fmla="*/ 5076 w 10000"/>
                <a:gd name="connsiteY105" fmla="*/ 432 h 10000"/>
                <a:gd name="connsiteX106" fmla="*/ 5085 w 10000"/>
                <a:gd name="connsiteY106" fmla="*/ 480 h 10000"/>
                <a:gd name="connsiteX107" fmla="*/ 5099 w 10000"/>
                <a:gd name="connsiteY107" fmla="*/ 527 h 10000"/>
                <a:gd name="connsiteX108" fmla="*/ 5112 w 10000"/>
                <a:gd name="connsiteY108" fmla="*/ 586 h 10000"/>
                <a:gd name="connsiteX109" fmla="*/ 5126 w 10000"/>
                <a:gd name="connsiteY109" fmla="*/ 639 h 10000"/>
                <a:gd name="connsiteX110" fmla="*/ 5152 w 10000"/>
                <a:gd name="connsiteY110" fmla="*/ 639 h 10000"/>
                <a:gd name="connsiteX111" fmla="*/ 5188 w 10000"/>
                <a:gd name="connsiteY111" fmla="*/ 645 h 10000"/>
                <a:gd name="connsiteX112" fmla="*/ 5224 w 10000"/>
                <a:gd name="connsiteY112" fmla="*/ 663 h 10000"/>
                <a:gd name="connsiteX113" fmla="*/ 5260 w 10000"/>
                <a:gd name="connsiteY113" fmla="*/ 675 h 10000"/>
                <a:gd name="connsiteX114" fmla="*/ 5296 w 10000"/>
                <a:gd name="connsiteY114" fmla="*/ 687 h 10000"/>
                <a:gd name="connsiteX115" fmla="*/ 5332 w 10000"/>
                <a:gd name="connsiteY115" fmla="*/ 716 h 10000"/>
                <a:gd name="connsiteX116" fmla="*/ 5363 w 10000"/>
                <a:gd name="connsiteY116" fmla="*/ 734 h 10000"/>
                <a:gd name="connsiteX117" fmla="*/ 5390 w 10000"/>
                <a:gd name="connsiteY117" fmla="*/ 770 h 10000"/>
                <a:gd name="connsiteX118" fmla="*/ 5413 w 10000"/>
                <a:gd name="connsiteY118" fmla="*/ 941 h 10000"/>
                <a:gd name="connsiteX119" fmla="*/ 5435 w 10000"/>
                <a:gd name="connsiteY119" fmla="*/ 1297 h 10000"/>
                <a:gd name="connsiteX120" fmla="*/ 5462 w 10000"/>
                <a:gd name="connsiteY120" fmla="*/ 1794 h 10000"/>
                <a:gd name="connsiteX121" fmla="*/ 5489 w 10000"/>
                <a:gd name="connsiteY121" fmla="*/ 2404 h 10000"/>
                <a:gd name="connsiteX122" fmla="*/ 9928 w 10000"/>
                <a:gd name="connsiteY122" fmla="*/ 2416 h 10000"/>
                <a:gd name="connsiteX123" fmla="*/ 10000 w 10000"/>
                <a:gd name="connsiteY123" fmla="*/ 3410 h 10000"/>
                <a:gd name="connsiteX124" fmla="*/ 9978 w 10000"/>
                <a:gd name="connsiteY124" fmla="*/ 3529 h 10000"/>
                <a:gd name="connsiteX125" fmla="*/ 9946 w 10000"/>
                <a:gd name="connsiteY125" fmla="*/ 3623 h 10000"/>
                <a:gd name="connsiteX126" fmla="*/ 9901 w 10000"/>
                <a:gd name="connsiteY126" fmla="*/ 3694 h 10000"/>
                <a:gd name="connsiteX127" fmla="*/ 9852 w 10000"/>
                <a:gd name="connsiteY127" fmla="*/ 3760 h 10000"/>
                <a:gd name="connsiteX128" fmla="*/ 9798 w 10000"/>
                <a:gd name="connsiteY128" fmla="*/ 3807 h 10000"/>
                <a:gd name="connsiteX129" fmla="*/ 9753 w 10000"/>
                <a:gd name="connsiteY129" fmla="*/ 3843 h 10000"/>
                <a:gd name="connsiteX130" fmla="*/ 9722 w 10000"/>
                <a:gd name="connsiteY130" fmla="*/ 3860 h 10000"/>
                <a:gd name="connsiteX131" fmla="*/ 9709 w 10000"/>
                <a:gd name="connsiteY131"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6960 w 10000"/>
                <a:gd name="connsiteY17" fmla="*/ 4541 h 10000"/>
                <a:gd name="connsiteX18" fmla="*/ 6605 w 10000"/>
                <a:gd name="connsiteY18" fmla="*/ 4547 h 10000"/>
                <a:gd name="connsiteX19" fmla="*/ 5830 w 10000"/>
                <a:gd name="connsiteY19" fmla="*/ 4529 h 10000"/>
                <a:gd name="connsiteX20" fmla="*/ 5717 w 10000"/>
                <a:gd name="connsiteY20" fmla="*/ 4523 h 10000"/>
                <a:gd name="connsiteX21" fmla="*/ 5614 w 10000"/>
                <a:gd name="connsiteY21" fmla="*/ 4517 h 10000"/>
                <a:gd name="connsiteX22" fmla="*/ 5534 w 10000"/>
                <a:gd name="connsiteY22" fmla="*/ 4506 h 10000"/>
                <a:gd name="connsiteX23" fmla="*/ 5471 w 10000"/>
                <a:gd name="connsiteY23" fmla="*/ 4500 h 10000"/>
                <a:gd name="connsiteX24" fmla="*/ 5435 w 10000"/>
                <a:gd name="connsiteY24" fmla="*/ 4494 h 10000"/>
                <a:gd name="connsiteX25" fmla="*/ 5422 w 10000"/>
                <a:gd name="connsiteY25" fmla="*/ 4494 h 10000"/>
                <a:gd name="connsiteX26" fmla="*/ 5152 w 10000"/>
                <a:gd name="connsiteY26" fmla="*/ 7620 h 10000"/>
                <a:gd name="connsiteX27" fmla="*/ 6516 w 10000"/>
                <a:gd name="connsiteY27" fmla="*/ 7999 h 10000"/>
                <a:gd name="connsiteX28" fmla="*/ 6565 w 10000"/>
                <a:gd name="connsiteY28" fmla="*/ 8034 h 10000"/>
                <a:gd name="connsiteX29" fmla="*/ 6601 w 10000"/>
                <a:gd name="connsiteY29" fmla="*/ 8105 h 10000"/>
                <a:gd name="connsiteX30" fmla="*/ 6623 w 10000"/>
                <a:gd name="connsiteY30" fmla="*/ 8200 h 10000"/>
                <a:gd name="connsiteX31" fmla="*/ 6632 w 10000"/>
                <a:gd name="connsiteY31" fmla="*/ 8307 h 10000"/>
                <a:gd name="connsiteX32" fmla="*/ 6543 w 10000"/>
                <a:gd name="connsiteY32" fmla="*/ 9053 h 10000"/>
                <a:gd name="connsiteX33" fmla="*/ 5291 w 10000"/>
                <a:gd name="connsiteY33" fmla="*/ 9153 h 10000"/>
                <a:gd name="connsiteX34" fmla="*/ 5099 w 10000"/>
                <a:gd name="connsiteY34" fmla="*/ 8620 h 10000"/>
                <a:gd name="connsiteX35" fmla="*/ 5099 w 10000"/>
                <a:gd name="connsiteY35" fmla="*/ 8686 h 10000"/>
                <a:gd name="connsiteX36" fmla="*/ 5090 w 10000"/>
                <a:gd name="connsiteY36" fmla="*/ 8840 h 10000"/>
                <a:gd name="connsiteX37" fmla="*/ 5081 w 10000"/>
                <a:gd name="connsiteY37" fmla="*/ 9059 h 10000"/>
                <a:gd name="connsiteX38" fmla="*/ 5063 w 10000"/>
                <a:gd name="connsiteY38" fmla="*/ 9307 h 10000"/>
                <a:gd name="connsiteX39" fmla="*/ 5040 w 10000"/>
                <a:gd name="connsiteY39" fmla="*/ 9568 h 10000"/>
                <a:gd name="connsiteX40" fmla="*/ 5013 w 10000"/>
                <a:gd name="connsiteY40" fmla="*/ 9787 h 10000"/>
                <a:gd name="connsiteX41" fmla="*/ 4978 w 10000"/>
                <a:gd name="connsiteY41" fmla="*/ 9947 h 10000"/>
                <a:gd name="connsiteX42" fmla="*/ 4928 w 10000"/>
                <a:gd name="connsiteY42" fmla="*/ 10000 h 10000"/>
                <a:gd name="connsiteX43" fmla="*/ 4852 w 10000"/>
                <a:gd name="connsiteY43" fmla="*/ 9781 h 10000"/>
                <a:gd name="connsiteX44" fmla="*/ 4816 w 10000"/>
                <a:gd name="connsiteY44" fmla="*/ 9307 h 10000"/>
                <a:gd name="connsiteX45" fmla="*/ 4803 w 10000"/>
                <a:gd name="connsiteY45" fmla="*/ 8834 h 10000"/>
                <a:gd name="connsiteX46" fmla="*/ 4794 w 10000"/>
                <a:gd name="connsiteY46" fmla="*/ 8620 h 10000"/>
                <a:gd name="connsiteX47" fmla="*/ 4601 w 10000"/>
                <a:gd name="connsiteY47" fmla="*/ 9153 h 10000"/>
                <a:gd name="connsiteX48" fmla="*/ 3368 w 10000"/>
                <a:gd name="connsiteY48" fmla="*/ 9053 h 10000"/>
                <a:gd name="connsiteX49" fmla="*/ 3260 w 10000"/>
                <a:gd name="connsiteY49" fmla="*/ 8307 h 10000"/>
                <a:gd name="connsiteX50" fmla="*/ 3265 w 10000"/>
                <a:gd name="connsiteY50" fmla="*/ 8200 h 10000"/>
                <a:gd name="connsiteX51" fmla="*/ 3291 w 10000"/>
                <a:gd name="connsiteY51" fmla="*/ 8105 h 10000"/>
                <a:gd name="connsiteX52" fmla="*/ 3323 w 10000"/>
                <a:gd name="connsiteY52" fmla="*/ 8034 h 10000"/>
                <a:gd name="connsiteX53" fmla="*/ 3368 w 10000"/>
                <a:gd name="connsiteY53" fmla="*/ 7999 h 10000"/>
                <a:gd name="connsiteX54" fmla="*/ 4740 w 10000"/>
                <a:gd name="connsiteY54" fmla="*/ 7620 h 10000"/>
                <a:gd name="connsiteX55" fmla="*/ 4475 w 10000"/>
                <a:gd name="connsiteY55" fmla="*/ 4494 h 10000"/>
                <a:gd name="connsiteX56" fmla="*/ 511 w 10000"/>
                <a:gd name="connsiteY56" fmla="*/ 4044 h 10000"/>
                <a:gd name="connsiteX57" fmla="*/ 502 w 10000"/>
                <a:gd name="connsiteY57" fmla="*/ 4044 h 10000"/>
                <a:gd name="connsiteX58" fmla="*/ 471 w 10000"/>
                <a:gd name="connsiteY58" fmla="*/ 4032 h 10000"/>
                <a:gd name="connsiteX59" fmla="*/ 430 w 10000"/>
                <a:gd name="connsiteY59" fmla="*/ 4020 h 10000"/>
                <a:gd name="connsiteX60" fmla="*/ 386 w 10000"/>
                <a:gd name="connsiteY60" fmla="*/ 3996 h 10000"/>
                <a:gd name="connsiteX61" fmla="*/ 341 w 10000"/>
                <a:gd name="connsiteY61" fmla="*/ 3985 h 10000"/>
                <a:gd name="connsiteX62" fmla="*/ 300 w 10000"/>
                <a:gd name="connsiteY62" fmla="*/ 3967 h 10000"/>
                <a:gd name="connsiteX63" fmla="*/ 269 w 10000"/>
                <a:gd name="connsiteY63" fmla="*/ 3955 h 10000"/>
                <a:gd name="connsiteX64" fmla="*/ 260 w 10000"/>
                <a:gd name="connsiteY64" fmla="*/ 3955 h 10000"/>
                <a:gd name="connsiteX65" fmla="*/ 179 w 10000"/>
                <a:gd name="connsiteY65" fmla="*/ 3914 h 10000"/>
                <a:gd name="connsiteX66" fmla="*/ 126 w 10000"/>
                <a:gd name="connsiteY66" fmla="*/ 3860 h 10000"/>
                <a:gd name="connsiteX67" fmla="*/ 76 w 10000"/>
                <a:gd name="connsiteY67" fmla="*/ 3813 h 10000"/>
                <a:gd name="connsiteX68" fmla="*/ 54 w 10000"/>
                <a:gd name="connsiteY68" fmla="*/ 3760 h 10000"/>
                <a:gd name="connsiteX69" fmla="*/ 31 w 10000"/>
                <a:gd name="connsiteY69" fmla="*/ 3718 h 10000"/>
                <a:gd name="connsiteX70" fmla="*/ 22 w 10000"/>
                <a:gd name="connsiteY70" fmla="*/ 3677 h 10000"/>
                <a:gd name="connsiteX71" fmla="*/ 13 w 10000"/>
                <a:gd name="connsiteY71" fmla="*/ 3647 h 10000"/>
                <a:gd name="connsiteX72" fmla="*/ 13 w 10000"/>
                <a:gd name="connsiteY72" fmla="*/ 3641 h 10000"/>
                <a:gd name="connsiteX73" fmla="*/ 0 w 10000"/>
                <a:gd name="connsiteY73" fmla="*/ 2351 h 10000"/>
                <a:gd name="connsiteX74" fmla="*/ 4408 w 10000"/>
                <a:gd name="connsiteY74" fmla="*/ 2345 h 10000"/>
                <a:gd name="connsiteX75" fmla="*/ 4439 w 10000"/>
                <a:gd name="connsiteY75" fmla="*/ 1764 h 10000"/>
                <a:gd name="connsiteX76" fmla="*/ 4466 w 10000"/>
                <a:gd name="connsiteY76" fmla="*/ 1291 h 10000"/>
                <a:gd name="connsiteX77" fmla="*/ 4484 w 10000"/>
                <a:gd name="connsiteY77" fmla="*/ 941 h 10000"/>
                <a:gd name="connsiteX78" fmla="*/ 4516 w 10000"/>
                <a:gd name="connsiteY78" fmla="*/ 770 h 10000"/>
                <a:gd name="connsiteX79" fmla="*/ 4538 w 10000"/>
                <a:gd name="connsiteY79" fmla="*/ 734 h 10000"/>
                <a:gd name="connsiteX80" fmla="*/ 4565 w 10000"/>
                <a:gd name="connsiteY80" fmla="*/ 716 h 10000"/>
                <a:gd name="connsiteX81" fmla="*/ 4596 w 10000"/>
                <a:gd name="connsiteY81" fmla="*/ 687 h 10000"/>
                <a:gd name="connsiteX82" fmla="*/ 4632 w 10000"/>
                <a:gd name="connsiteY82" fmla="*/ 675 h 10000"/>
                <a:gd name="connsiteX83" fmla="*/ 4668 w 10000"/>
                <a:gd name="connsiteY83" fmla="*/ 663 h 10000"/>
                <a:gd name="connsiteX84" fmla="*/ 4704 w 10000"/>
                <a:gd name="connsiteY84" fmla="*/ 645 h 10000"/>
                <a:gd name="connsiteX85" fmla="*/ 4740 w 10000"/>
                <a:gd name="connsiteY85" fmla="*/ 639 h 10000"/>
                <a:gd name="connsiteX86" fmla="*/ 4767 w 10000"/>
                <a:gd name="connsiteY86" fmla="*/ 639 h 10000"/>
                <a:gd name="connsiteX87" fmla="*/ 4780 w 10000"/>
                <a:gd name="connsiteY87" fmla="*/ 586 h 10000"/>
                <a:gd name="connsiteX88" fmla="*/ 4789 w 10000"/>
                <a:gd name="connsiteY88" fmla="*/ 527 h 10000"/>
                <a:gd name="connsiteX89" fmla="*/ 4807 w 10000"/>
                <a:gd name="connsiteY89" fmla="*/ 480 h 10000"/>
                <a:gd name="connsiteX90" fmla="*/ 4816 w 10000"/>
                <a:gd name="connsiteY90" fmla="*/ 432 h 10000"/>
                <a:gd name="connsiteX91" fmla="*/ 3789 w 10000"/>
                <a:gd name="connsiteY91" fmla="*/ 432 h 10000"/>
                <a:gd name="connsiteX92" fmla="*/ 3789 w 10000"/>
                <a:gd name="connsiteY92" fmla="*/ 219 h 10000"/>
                <a:gd name="connsiteX93" fmla="*/ 4834 w 10000"/>
                <a:gd name="connsiteY93" fmla="*/ 219 h 10000"/>
                <a:gd name="connsiteX94" fmla="*/ 4857 w 10000"/>
                <a:gd name="connsiteY94" fmla="*/ 148 h 10000"/>
                <a:gd name="connsiteX95" fmla="*/ 4883 w 10000"/>
                <a:gd name="connsiteY95" fmla="*/ 77 h 10000"/>
                <a:gd name="connsiteX96" fmla="*/ 4910 w 10000"/>
                <a:gd name="connsiteY96" fmla="*/ 18 h 10000"/>
                <a:gd name="connsiteX97" fmla="*/ 4946 w 10000"/>
                <a:gd name="connsiteY97" fmla="*/ 0 h 10000"/>
                <a:gd name="connsiteX98" fmla="*/ 4982 w 10000"/>
                <a:gd name="connsiteY98" fmla="*/ 18 h 10000"/>
                <a:gd name="connsiteX99" fmla="*/ 5009 w 10000"/>
                <a:gd name="connsiteY99" fmla="*/ 77 h 10000"/>
                <a:gd name="connsiteX100" fmla="*/ 5031 w 10000"/>
                <a:gd name="connsiteY100" fmla="*/ 148 h 10000"/>
                <a:gd name="connsiteX101" fmla="*/ 5054 w 10000"/>
                <a:gd name="connsiteY101" fmla="*/ 219 h 10000"/>
                <a:gd name="connsiteX102" fmla="*/ 6135 w 10000"/>
                <a:gd name="connsiteY102" fmla="*/ 219 h 10000"/>
                <a:gd name="connsiteX103" fmla="*/ 6135 w 10000"/>
                <a:gd name="connsiteY103" fmla="*/ 432 h 10000"/>
                <a:gd name="connsiteX104" fmla="*/ 5076 w 10000"/>
                <a:gd name="connsiteY104" fmla="*/ 432 h 10000"/>
                <a:gd name="connsiteX105" fmla="*/ 5085 w 10000"/>
                <a:gd name="connsiteY105" fmla="*/ 480 h 10000"/>
                <a:gd name="connsiteX106" fmla="*/ 5099 w 10000"/>
                <a:gd name="connsiteY106" fmla="*/ 527 h 10000"/>
                <a:gd name="connsiteX107" fmla="*/ 5112 w 10000"/>
                <a:gd name="connsiteY107" fmla="*/ 586 h 10000"/>
                <a:gd name="connsiteX108" fmla="*/ 5126 w 10000"/>
                <a:gd name="connsiteY108" fmla="*/ 639 h 10000"/>
                <a:gd name="connsiteX109" fmla="*/ 5152 w 10000"/>
                <a:gd name="connsiteY109" fmla="*/ 639 h 10000"/>
                <a:gd name="connsiteX110" fmla="*/ 5188 w 10000"/>
                <a:gd name="connsiteY110" fmla="*/ 645 h 10000"/>
                <a:gd name="connsiteX111" fmla="*/ 5224 w 10000"/>
                <a:gd name="connsiteY111" fmla="*/ 663 h 10000"/>
                <a:gd name="connsiteX112" fmla="*/ 5260 w 10000"/>
                <a:gd name="connsiteY112" fmla="*/ 675 h 10000"/>
                <a:gd name="connsiteX113" fmla="*/ 5296 w 10000"/>
                <a:gd name="connsiteY113" fmla="*/ 687 h 10000"/>
                <a:gd name="connsiteX114" fmla="*/ 5332 w 10000"/>
                <a:gd name="connsiteY114" fmla="*/ 716 h 10000"/>
                <a:gd name="connsiteX115" fmla="*/ 5363 w 10000"/>
                <a:gd name="connsiteY115" fmla="*/ 734 h 10000"/>
                <a:gd name="connsiteX116" fmla="*/ 5390 w 10000"/>
                <a:gd name="connsiteY116" fmla="*/ 770 h 10000"/>
                <a:gd name="connsiteX117" fmla="*/ 5413 w 10000"/>
                <a:gd name="connsiteY117" fmla="*/ 941 h 10000"/>
                <a:gd name="connsiteX118" fmla="*/ 5435 w 10000"/>
                <a:gd name="connsiteY118" fmla="*/ 1297 h 10000"/>
                <a:gd name="connsiteX119" fmla="*/ 5462 w 10000"/>
                <a:gd name="connsiteY119" fmla="*/ 1794 h 10000"/>
                <a:gd name="connsiteX120" fmla="*/ 5489 w 10000"/>
                <a:gd name="connsiteY120" fmla="*/ 2404 h 10000"/>
                <a:gd name="connsiteX121" fmla="*/ 9928 w 10000"/>
                <a:gd name="connsiteY121" fmla="*/ 2416 h 10000"/>
                <a:gd name="connsiteX122" fmla="*/ 10000 w 10000"/>
                <a:gd name="connsiteY122" fmla="*/ 3410 h 10000"/>
                <a:gd name="connsiteX123" fmla="*/ 9978 w 10000"/>
                <a:gd name="connsiteY123" fmla="*/ 3529 h 10000"/>
                <a:gd name="connsiteX124" fmla="*/ 9946 w 10000"/>
                <a:gd name="connsiteY124" fmla="*/ 3623 h 10000"/>
                <a:gd name="connsiteX125" fmla="*/ 9901 w 10000"/>
                <a:gd name="connsiteY125" fmla="*/ 3694 h 10000"/>
                <a:gd name="connsiteX126" fmla="*/ 9852 w 10000"/>
                <a:gd name="connsiteY126" fmla="*/ 3760 h 10000"/>
                <a:gd name="connsiteX127" fmla="*/ 9798 w 10000"/>
                <a:gd name="connsiteY127" fmla="*/ 3807 h 10000"/>
                <a:gd name="connsiteX128" fmla="*/ 9753 w 10000"/>
                <a:gd name="connsiteY128" fmla="*/ 3843 h 10000"/>
                <a:gd name="connsiteX129" fmla="*/ 9722 w 10000"/>
                <a:gd name="connsiteY129" fmla="*/ 3860 h 10000"/>
                <a:gd name="connsiteX130" fmla="*/ 9709 w 10000"/>
                <a:gd name="connsiteY130"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6960 w 10000"/>
                <a:gd name="connsiteY17" fmla="*/ 4541 h 10000"/>
                <a:gd name="connsiteX18" fmla="*/ 5830 w 10000"/>
                <a:gd name="connsiteY18" fmla="*/ 4529 h 10000"/>
                <a:gd name="connsiteX19" fmla="*/ 5717 w 10000"/>
                <a:gd name="connsiteY19" fmla="*/ 4523 h 10000"/>
                <a:gd name="connsiteX20" fmla="*/ 5614 w 10000"/>
                <a:gd name="connsiteY20" fmla="*/ 4517 h 10000"/>
                <a:gd name="connsiteX21" fmla="*/ 5534 w 10000"/>
                <a:gd name="connsiteY21" fmla="*/ 4506 h 10000"/>
                <a:gd name="connsiteX22" fmla="*/ 5471 w 10000"/>
                <a:gd name="connsiteY22" fmla="*/ 4500 h 10000"/>
                <a:gd name="connsiteX23" fmla="*/ 5435 w 10000"/>
                <a:gd name="connsiteY23" fmla="*/ 4494 h 10000"/>
                <a:gd name="connsiteX24" fmla="*/ 5422 w 10000"/>
                <a:gd name="connsiteY24" fmla="*/ 4494 h 10000"/>
                <a:gd name="connsiteX25" fmla="*/ 5152 w 10000"/>
                <a:gd name="connsiteY25" fmla="*/ 7620 h 10000"/>
                <a:gd name="connsiteX26" fmla="*/ 6516 w 10000"/>
                <a:gd name="connsiteY26" fmla="*/ 7999 h 10000"/>
                <a:gd name="connsiteX27" fmla="*/ 6565 w 10000"/>
                <a:gd name="connsiteY27" fmla="*/ 8034 h 10000"/>
                <a:gd name="connsiteX28" fmla="*/ 6601 w 10000"/>
                <a:gd name="connsiteY28" fmla="*/ 8105 h 10000"/>
                <a:gd name="connsiteX29" fmla="*/ 6623 w 10000"/>
                <a:gd name="connsiteY29" fmla="*/ 8200 h 10000"/>
                <a:gd name="connsiteX30" fmla="*/ 6632 w 10000"/>
                <a:gd name="connsiteY30" fmla="*/ 8307 h 10000"/>
                <a:gd name="connsiteX31" fmla="*/ 6543 w 10000"/>
                <a:gd name="connsiteY31" fmla="*/ 9053 h 10000"/>
                <a:gd name="connsiteX32" fmla="*/ 5291 w 10000"/>
                <a:gd name="connsiteY32" fmla="*/ 9153 h 10000"/>
                <a:gd name="connsiteX33" fmla="*/ 5099 w 10000"/>
                <a:gd name="connsiteY33" fmla="*/ 8620 h 10000"/>
                <a:gd name="connsiteX34" fmla="*/ 5099 w 10000"/>
                <a:gd name="connsiteY34" fmla="*/ 8686 h 10000"/>
                <a:gd name="connsiteX35" fmla="*/ 5090 w 10000"/>
                <a:gd name="connsiteY35" fmla="*/ 8840 h 10000"/>
                <a:gd name="connsiteX36" fmla="*/ 5081 w 10000"/>
                <a:gd name="connsiteY36" fmla="*/ 9059 h 10000"/>
                <a:gd name="connsiteX37" fmla="*/ 5063 w 10000"/>
                <a:gd name="connsiteY37" fmla="*/ 9307 h 10000"/>
                <a:gd name="connsiteX38" fmla="*/ 5040 w 10000"/>
                <a:gd name="connsiteY38" fmla="*/ 9568 h 10000"/>
                <a:gd name="connsiteX39" fmla="*/ 5013 w 10000"/>
                <a:gd name="connsiteY39" fmla="*/ 9787 h 10000"/>
                <a:gd name="connsiteX40" fmla="*/ 4978 w 10000"/>
                <a:gd name="connsiteY40" fmla="*/ 9947 h 10000"/>
                <a:gd name="connsiteX41" fmla="*/ 4928 w 10000"/>
                <a:gd name="connsiteY41" fmla="*/ 10000 h 10000"/>
                <a:gd name="connsiteX42" fmla="*/ 4852 w 10000"/>
                <a:gd name="connsiteY42" fmla="*/ 9781 h 10000"/>
                <a:gd name="connsiteX43" fmla="*/ 4816 w 10000"/>
                <a:gd name="connsiteY43" fmla="*/ 9307 h 10000"/>
                <a:gd name="connsiteX44" fmla="*/ 4803 w 10000"/>
                <a:gd name="connsiteY44" fmla="*/ 8834 h 10000"/>
                <a:gd name="connsiteX45" fmla="*/ 4794 w 10000"/>
                <a:gd name="connsiteY45" fmla="*/ 8620 h 10000"/>
                <a:gd name="connsiteX46" fmla="*/ 4601 w 10000"/>
                <a:gd name="connsiteY46" fmla="*/ 9153 h 10000"/>
                <a:gd name="connsiteX47" fmla="*/ 3368 w 10000"/>
                <a:gd name="connsiteY47" fmla="*/ 9053 h 10000"/>
                <a:gd name="connsiteX48" fmla="*/ 3260 w 10000"/>
                <a:gd name="connsiteY48" fmla="*/ 8307 h 10000"/>
                <a:gd name="connsiteX49" fmla="*/ 3265 w 10000"/>
                <a:gd name="connsiteY49" fmla="*/ 8200 h 10000"/>
                <a:gd name="connsiteX50" fmla="*/ 3291 w 10000"/>
                <a:gd name="connsiteY50" fmla="*/ 8105 h 10000"/>
                <a:gd name="connsiteX51" fmla="*/ 3323 w 10000"/>
                <a:gd name="connsiteY51" fmla="*/ 8034 h 10000"/>
                <a:gd name="connsiteX52" fmla="*/ 3368 w 10000"/>
                <a:gd name="connsiteY52" fmla="*/ 7999 h 10000"/>
                <a:gd name="connsiteX53" fmla="*/ 4740 w 10000"/>
                <a:gd name="connsiteY53" fmla="*/ 7620 h 10000"/>
                <a:gd name="connsiteX54" fmla="*/ 4475 w 10000"/>
                <a:gd name="connsiteY54" fmla="*/ 4494 h 10000"/>
                <a:gd name="connsiteX55" fmla="*/ 511 w 10000"/>
                <a:gd name="connsiteY55" fmla="*/ 4044 h 10000"/>
                <a:gd name="connsiteX56" fmla="*/ 502 w 10000"/>
                <a:gd name="connsiteY56" fmla="*/ 4044 h 10000"/>
                <a:gd name="connsiteX57" fmla="*/ 471 w 10000"/>
                <a:gd name="connsiteY57" fmla="*/ 4032 h 10000"/>
                <a:gd name="connsiteX58" fmla="*/ 430 w 10000"/>
                <a:gd name="connsiteY58" fmla="*/ 4020 h 10000"/>
                <a:gd name="connsiteX59" fmla="*/ 386 w 10000"/>
                <a:gd name="connsiteY59" fmla="*/ 3996 h 10000"/>
                <a:gd name="connsiteX60" fmla="*/ 341 w 10000"/>
                <a:gd name="connsiteY60" fmla="*/ 3985 h 10000"/>
                <a:gd name="connsiteX61" fmla="*/ 300 w 10000"/>
                <a:gd name="connsiteY61" fmla="*/ 3967 h 10000"/>
                <a:gd name="connsiteX62" fmla="*/ 269 w 10000"/>
                <a:gd name="connsiteY62" fmla="*/ 3955 h 10000"/>
                <a:gd name="connsiteX63" fmla="*/ 260 w 10000"/>
                <a:gd name="connsiteY63" fmla="*/ 3955 h 10000"/>
                <a:gd name="connsiteX64" fmla="*/ 179 w 10000"/>
                <a:gd name="connsiteY64" fmla="*/ 3914 h 10000"/>
                <a:gd name="connsiteX65" fmla="*/ 126 w 10000"/>
                <a:gd name="connsiteY65" fmla="*/ 3860 h 10000"/>
                <a:gd name="connsiteX66" fmla="*/ 76 w 10000"/>
                <a:gd name="connsiteY66" fmla="*/ 3813 h 10000"/>
                <a:gd name="connsiteX67" fmla="*/ 54 w 10000"/>
                <a:gd name="connsiteY67" fmla="*/ 3760 h 10000"/>
                <a:gd name="connsiteX68" fmla="*/ 31 w 10000"/>
                <a:gd name="connsiteY68" fmla="*/ 3718 h 10000"/>
                <a:gd name="connsiteX69" fmla="*/ 22 w 10000"/>
                <a:gd name="connsiteY69" fmla="*/ 3677 h 10000"/>
                <a:gd name="connsiteX70" fmla="*/ 13 w 10000"/>
                <a:gd name="connsiteY70" fmla="*/ 3647 h 10000"/>
                <a:gd name="connsiteX71" fmla="*/ 13 w 10000"/>
                <a:gd name="connsiteY71" fmla="*/ 3641 h 10000"/>
                <a:gd name="connsiteX72" fmla="*/ 0 w 10000"/>
                <a:gd name="connsiteY72" fmla="*/ 2351 h 10000"/>
                <a:gd name="connsiteX73" fmla="*/ 4408 w 10000"/>
                <a:gd name="connsiteY73" fmla="*/ 2345 h 10000"/>
                <a:gd name="connsiteX74" fmla="*/ 4439 w 10000"/>
                <a:gd name="connsiteY74" fmla="*/ 1764 h 10000"/>
                <a:gd name="connsiteX75" fmla="*/ 4466 w 10000"/>
                <a:gd name="connsiteY75" fmla="*/ 1291 h 10000"/>
                <a:gd name="connsiteX76" fmla="*/ 4484 w 10000"/>
                <a:gd name="connsiteY76" fmla="*/ 941 h 10000"/>
                <a:gd name="connsiteX77" fmla="*/ 4516 w 10000"/>
                <a:gd name="connsiteY77" fmla="*/ 770 h 10000"/>
                <a:gd name="connsiteX78" fmla="*/ 4538 w 10000"/>
                <a:gd name="connsiteY78" fmla="*/ 734 h 10000"/>
                <a:gd name="connsiteX79" fmla="*/ 4565 w 10000"/>
                <a:gd name="connsiteY79" fmla="*/ 716 h 10000"/>
                <a:gd name="connsiteX80" fmla="*/ 4596 w 10000"/>
                <a:gd name="connsiteY80" fmla="*/ 687 h 10000"/>
                <a:gd name="connsiteX81" fmla="*/ 4632 w 10000"/>
                <a:gd name="connsiteY81" fmla="*/ 675 h 10000"/>
                <a:gd name="connsiteX82" fmla="*/ 4668 w 10000"/>
                <a:gd name="connsiteY82" fmla="*/ 663 h 10000"/>
                <a:gd name="connsiteX83" fmla="*/ 4704 w 10000"/>
                <a:gd name="connsiteY83" fmla="*/ 645 h 10000"/>
                <a:gd name="connsiteX84" fmla="*/ 4740 w 10000"/>
                <a:gd name="connsiteY84" fmla="*/ 639 h 10000"/>
                <a:gd name="connsiteX85" fmla="*/ 4767 w 10000"/>
                <a:gd name="connsiteY85" fmla="*/ 639 h 10000"/>
                <a:gd name="connsiteX86" fmla="*/ 4780 w 10000"/>
                <a:gd name="connsiteY86" fmla="*/ 586 h 10000"/>
                <a:gd name="connsiteX87" fmla="*/ 4789 w 10000"/>
                <a:gd name="connsiteY87" fmla="*/ 527 h 10000"/>
                <a:gd name="connsiteX88" fmla="*/ 4807 w 10000"/>
                <a:gd name="connsiteY88" fmla="*/ 480 h 10000"/>
                <a:gd name="connsiteX89" fmla="*/ 4816 w 10000"/>
                <a:gd name="connsiteY89" fmla="*/ 432 h 10000"/>
                <a:gd name="connsiteX90" fmla="*/ 3789 w 10000"/>
                <a:gd name="connsiteY90" fmla="*/ 432 h 10000"/>
                <a:gd name="connsiteX91" fmla="*/ 3789 w 10000"/>
                <a:gd name="connsiteY91" fmla="*/ 219 h 10000"/>
                <a:gd name="connsiteX92" fmla="*/ 4834 w 10000"/>
                <a:gd name="connsiteY92" fmla="*/ 219 h 10000"/>
                <a:gd name="connsiteX93" fmla="*/ 4857 w 10000"/>
                <a:gd name="connsiteY93" fmla="*/ 148 h 10000"/>
                <a:gd name="connsiteX94" fmla="*/ 4883 w 10000"/>
                <a:gd name="connsiteY94" fmla="*/ 77 h 10000"/>
                <a:gd name="connsiteX95" fmla="*/ 4910 w 10000"/>
                <a:gd name="connsiteY95" fmla="*/ 18 h 10000"/>
                <a:gd name="connsiteX96" fmla="*/ 4946 w 10000"/>
                <a:gd name="connsiteY96" fmla="*/ 0 h 10000"/>
                <a:gd name="connsiteX97" fmla="*/ 4982 w 10000"/>
                <a:gd name="connsiteY97" fmla="*/ 18 h 10000"/>
                <a:gd name="connsiteX98" fmla="*/ 5009 w 10000"/>
                <a:gd name="connsiteY98" fmla="*/ 77 h 10000"/>
                <a:gd name="connsiteX99" fmla="*/ 5031 w 10000"/>
                <a:gd name="connsiteY99" fmla="*/ 148 h 10000"/>
                <a:gd name="connsiteX100" fmla="*/ 5054 w 10000"/>
                <a:gd name="connsiteY100" fmla="*/ 219 h 10000"/>
                <a:gd name="connsiteX101" fmla="*/ 6135 w 10000"/>
                <a:gd name="connsiteY101" fmla="*/ 219 h 10000"/>
                <a:gd name="connsiteX102" fmla="*/ 6135 w 10000"/>
                <a:gd name="connsiteY102" fmla="*/ 432 h 10000"/>
                <a:gd name="connsiteX103" fmla="*/ 5076 w 10000"/>
                <a:gd name="connsiteY103" fmla="*/ 432 h 10000"/>
                <a:gd name="connsiteX104" fmla="*/ 5085 w 10000"/>
                <a:gd name="connsiteY104" fmla="*/ 480 h 10000"/>
                <a:gd name="connsiteX105" fmla="*/ 5099 w 10000"/>
                <a:gd name="connsiteY105" fmla="*/ 527 h 10000"/>
                <a:gd name="connsiteX106" fmla="*/ 5112 w 10000"/>
                <a:gd name="connsiteY106" fmla="*/ 586 h 10000"/>
                <a:gd name="connsiteX107" fmla="*/ 5126 w 10000"/>
                <a:gd name="connsiteY107" fmla="*/ 639 h 10000"/>
                <a:gd name="connsiteX108" fmla="*/ 5152 w 10000"/>
                <a:gd name="connsiteY108" fmla="*/ 639 h 10000"/>
                <a:gd name="connsiteX109" fmla="*/ 5188 w 10000"/>
                <a:gd name="connsiteY109" fmla="*/ 645 h 10000"/>
                <a:gd name="connsiteX110" fmla="*/ 5224 w 10000"/>
                <a:gd name="connsiteY110" fmla="*/ 663 h 10000"/>
                <a:gd name="connsiteX111" fmla="*/ 5260 w 10000"/>
                <a:gd name="connsiteY111" fmla="*/ 675 h 10000"/>
                <a:gd name="connsiteX112" fmla="*/ 5296 w 10000"/>
                <a:gd name="connsiteY112" fmla="*/ 687 h 10000"/>
                <a:gd name="connsiteX113" fmla="*/ 5332 w 10000"/>
                <a:gd name="connsiteY113" fmla="*/ 716 h 10000"/>
                <a:gd name="connsiteX114" fmla="*/ 5363 w 10000"/>
                <a:gd name="connsiteY114" fmla="*/ 734 h 10000"/>
                <a:gd name="connsiteX115" fmla="*/ 5390 w 10000"/>
                <a:gd name="connsiteY115" fmla="*/ 770 h 10000"/>
                <a:gd name="connsiteX116" fmla="*/ 5413 w 10000"/>
                <a:gd name="connsiteY116" fmla="*/ 941 h 10000"/>
                <a:gd name="connsiteX117" fmla="*/ 5435 w 10000"/>
                <a:gd name="connsiteY117" fmla="*/ 1297 h 10000"/>
                <a:gd name="connsiteX118" fmla="*/ 5462 w 10000"/>
                <a:gd name="connsiteY118" fmla="*/ 1794 h 10000"/>
                <a:gd name="connsiteX119" fmla="*/ 5489 w 10000"/>
                <a:gd name="connsiteY119" fmla="*/ 2404 h 10000"/>
                <a:gd name="connsiteX120" fmla="*/ 9928 w 10000"/>
                <a:gd name="connsiteY120" fmla="*/ 2416 h 10000"/>
                <a:gd name="connsiteX121" fmla="*/ 10000 w 10000"/>
                <a:gd name="connsiteY121" fmla="*/ 3410 h 10000"/>
                <a:gd name="connsiteX122" fmla="*/ 9978 w 10000"/>
                <a:gd name="connsiteY122" fmla="*/ 3529 h 10000"/>
                <a:gd name="connsiteX123" fmla="*/ 9946 w 10000"/>
                <a:gd name="connsiteY123" fmla="*/ 3623 h 10000"/>
                <a:gd name="connsiteX124" fmla="*/ 9901 w 10000"/>
                <a:gd name="connsiteY124" fmla="*/ 3694 h 10000"/>
                <a:gd name="connsiteX125" fmla="*/ 9852 w 10000"/>
                <a:gd name="connsiteY125" fmla="*/ 3760 h 10000"/>
                <a:gd name="connsiteX126" fmla="*/ 9798 w 10000"/>
                <a:gd name="connsiteY126" fmla="*/ 3807 h 10000"/>
                <a:gd name="connsiteX127" fmla="*/ 9753 w 10000"/>
                <a:gd name="connsiteY127" fmla="*/ 3843 h 10000"/>
                <a:gd name="connsiteX128" fmla="*/ 9722 w 10000"/>
                <a:gd name="connsiteY128" fmla="*/ 3860 h 10000"/>
                <a:gd name="connsiteX129" fmla="*/ 9709 w 10000"/>
                <a:gd name="connsiteY129"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5830 w 10000"/>
                <a:gd name="connsiteY17" fmla="*/ 4529 h 10000"/>
                <a:gd name="connsiteX18" fmla="*/ 5717 w 10000"/>
                <a:gd name="connsiteY18" fmla="*/ 4523 h 10000"/>
                <a:gd name="connsiteX19" fmla="*/ 5614 w 10000"/>
                <a:gd name="connsiteY19" fmla="*/ 4517 h 10000"/>
                <a:gd name="connsiteX20" fmla="*/ 5534 w 10000"/>
                <a:gd name="connsiteY20" fmla="*/ 4506 h 10000"/>
                <a:gd name="connsiteX21" fmla="*/ 5471 w 10000"/>
                <a:gd name="connsiteY21" fmla="*/ 4500 h 10000"/>
                <a:gd name="connsiteX22" fmla="*/ 5435 w 10000"/>
                <a:gd name="connsiteY22" fmla="*/ 4494 h 10000"/>
                <a:gd name="connsiteX23" fmla="*/ 5422 w 10000"/>
                <a:gd name="connsiteY23" fmla="*/ 4494 h 10000"/>
                <a:gd name="connsiteX24" fmla="*/ 5152 w 10000"/>
                <a:gd name="connsiteY24" fmla="*/ 7620 h 10000"/>
                <a:gd name="connsiteX25" fmla="*/ 6516 w 10000"/>
                <a:gd name="connsiteY25" fmla="*/ 7999 h 10000"/>
                <a:gd name="connsiteX26" fmla="*/ 6565 w 10000"/>
                <a:gd name="connsiteY26" fmla="*/ 8034 h 10000"/>
                <a:gd name="connsiteX27" fmla="*/ 6601 w 10000"/>
                <a:gd name="connsiteY27" fmla="*/ 8105 h 10000"/>
                <a:gd name="connsiteX28" fmla="*/ 6623 w 10000"/>
                <a:gd name="connsiteY28" fmla="*/ 8200 h 10000"/>
                <a:gd name="connsiteX29" fmla="*/ 6632 w 10000"/>
                <a:gd name="connsiteY29" fmla="*/ 8307 h 10000"/>
                <a:gd name="connsiteX30" fmla="*/ 6543 w 10000"/>
                <a:gd name="connsiteY30" fmla="*/ 9053 h 10000"/>
                <a:gd name="connsiteX31" fmla="*/ 5291 w 10000"/>
                <a:gd name="connsiteY31" fmla="*/ 9153 h 10000"/>
                <a:gd name="connsiteX32" fmla="*/ 5099 w 10000"/>
                <a:gd name="connsiteY32" fmla="*/ 8620 h 10000"/>
                <a:gd name="connsiteX33" fmla="*/ 5099 w 10000"/>
                <a:gd name="connsiteY33" fmla="*/ 8686 h 10000"/>
                <a:gd name="connsiteX34" fmla="*/ 5090 w 10000"/>
                <a:gd name="connsiteY34" fmla="*/ 8840 h 10000"/>
                <a:gd name="connsiteX35" fmla="*/ 5081 w 10000"/>
                <a:gd name="connsiteY35" fmla="*/ 9059 h 10000"/>
                <a:gd name="connsiteX36" fmla="*/ 5063 w 10000"/>
                <a:gd name="connsiteY36" fmla="*/ 9307 h 10000"/>
                <a:gd name="connsiteX37" fmla="*/ 5040 w 10000"/>
                <a:gd name="connsiteY37" fmla="*/ 9568 h 10000"/>
                <a:gd name="connsiteX38" fmla="*/ 5013 w 10000"/>
                <a:gd name="connsiteY38" fmla="*/ 9787 h 10000"/>
                <a:gd name="connsiteX39" fmla="*/ 4978 w 10000"/>
                <a:gd name="connsiteY39" fmla="*/ 9947 h 10000"/>
                <a:gd name="connsiteX40" fmla="*/ 4928 w 10000"/>
                <a:gd name="connsiteY40" fmla="*/ 10000 h 10000"/>
                <a:gd name="connsiteX41" fmla="*/ 4852 w 10000"/>
                <a:gd name="connsiteY41" fmla="*/ 9781 h 10000"/>
                <a:gd name="connsiteX42" fmla="*/ 4816 w 10000"/>
                <a:gd name="connsiteY42" fmla="*/ 9307 h 10000"/>
                <a:gd name="connsiteX43" fmla="*/ 4803 w 10000"/>
                <a:gd name="connsiteY43" fmla="*/ 8834 h 10000"/>
                <a:gd name="connsiteX44" fmla="*/ 4794 w 10000"/>
                <a:gd name="connsiteY44" fmla="*/ 8620 h 10000"/>
                <a:gd name="connsiteX45" fmla="*/ 4601 w 10000"/>
                <a:gd name="connsiteY45" fmla="*/ 9153 h 10000"/>
                <a:gd name="connsiteX46" fmla="*/ 3368 w 10000"/>
                <a:gd name="connsiteY46" fmla="*/ 9053 h 10000"/>
                <a:gd name="connsiteX47" fmla="*/ 3260 w 10000"/>
                <a:gd name="connsiteY47" fmla="*/ 8307 h 10000"/>
                <a:gd name="connsiteX48" fmla="*/ 3265 w 10000"/>
                <a:gd name="connsiteY48" fmla="*/ 8200 h 10000"/>
                <a:gd name="connsiteX49" fmla="*/ 3291 w 10000"/>
                <a:gd name="connsiteY49" fmla="*/ 8105 h 10000"/>
                <a:gd name="connsiteX50" fmla="*/ 3323 w 10000"/>
                <a:gd name="connsiteY50" fmla="*/ 8034 h 10000"/>
                <a:gd name="connsiteX51" fmla="*/ 3368 w 10000"/>
                <a:gd name="connsiteY51" fmla="*/ 7999 h 10000"/>
                <a:gd name="connsiteX52" fmla="*/ 4740 w 10000"/>
                <a:gd name="connsiteY52" fmla="*/ 7620 h 10000"/>
                <a:gd name="connsiteX53" fmla="*/ 4475 w 10000"/>
                <a:gd name="connsiteY53" fmla="*/ 4494 h 10000"/>
                <a:gd name="connsiteX54" fmla="*/ 511 w 10000"/>
                <a:gd name="connsiteY54" fmla="*/ 4044 h 10000"/>
                <a:gd name="connsiteX55" fmla="*/ 502 w 10000"/>
                <a:gd name="connsiteY55" fmla="*/ 4044 h 10000"/>
                <a:gd name="connsiteX56" fmla="*/ 471 w 10000"/>
                <a:gd name="connsiteY56" fmla="*/ 4032 h 10000"/>
                <a:gd name="connsiteX57" fmla="*/ 430 w 10000"/>
                <a:gd name="connsiteY57" fmla="*/ 4020 h 10000"/>
                <a:gd name="connsiteX58" fmla="*/ 386 w 10000"/>
                <a:gd name="connsiteY58" fmla="*/ 3996 h 10000"/>
                <a:gd name="connsiteX59" fmla="*/ 341 w 10000"/>
                <a:gd name="connsiteY59" fmla="*/ 3985 h 10000"/>
                <a:gd name="connsiteX60" fmla="*/ 300 w 10000"/>
                <a:gd name="connsiteY60" fmla="*/ 3967 h 10000"/>
                <a:gd name="connsiteX61" fmla="*/ 269 w 10000"/>
                <a:gd name="connsiteY61" fmla="*/ 3955 h 10000"/>
                <a:gd name="connsiteX62" fmla="*/ 260 w 10000"/>
                <a:gd name="connsiteY62" fmla="*/ 3955 h 10000"/>
                <a:gd name="connsiteX63" fmla="*/ 179 w 10000"/>
                <a:gd name="connsiteY63" fmla="*/ 3914 h 10000"/>
                <a:gd name="connsiteX64" fmla="*/ 126 w 10000"/>
                <a:gd name="connsiteY64" fmla="*/ 3860 h 10000"/>
                <a:gd name="connsiteX65" fmla="*/ 76 w 10000"/>
                <a:gd name="connsiteY65" fmla="*/ 3813 h 10000"/>
                <a:gd name="connsiteX66" fmla="*/ 54 w 10000"/>
                <a:gd name="connsiteY66" fmla="*/ 3760 h 10000"/>
                <a:gd name="connsiteX67" fmla="*/ 31 w 10000"/>
                <a:gd name="connsiteY67" fmla="*/ 3718 h 10000"/>
                <a:gd name="connsiteX68" fmla="*/ 22 w 10000"/>
                <a:gd name="connsiteY68" fmla="*/ 3677 h 10000"/>
                <a:gd name="connsiteX69" fmla="*/ 13 w 10000"/>
                <a:gd name="connsiteY69" fmla="*/ 3647 h 10000"/>
                <a:gd name="connsiteX70" fmla="*/ 13 w 10000"/>
                <a:gd name="connsiteY70" fmla="*/ 3641 h 10000"/>
                <a:gd name="connsiteX71" fmla="*/ 0 w 10000"/>
                <a:gd name="connsiteY71" fmla="*/ 2351 h 10000"/>
                <a:gd name="connsiteX72" fmla="*/ 4408 w 10000"/>
                <a:gd name="connsiteY72" fmla="*/ 2345 h 10000"/>
                <a:gd name="connsiteX73" fmla="*/ 4439 w 10000"/>
                <a:gd name="connsiteY73" fmla="*/ 1764 h 10000"/>
                <a:gd name="connsiteX74" fmla="*/ 4466 w 10000"/>
                <a:gd name="connsiteY74" fmla="*/ 1291 h 10000"/>
                <a:gd name="connsiteX75" fmla="*/ 4484 w 10000"/>
                <a:gd name="connsiteY75" fmla="*/ 941 h 10000"/>
                <a:gd name="connsiteX76" fmla="*/ 4516 w 10000"/>
                <a:gd name="connsiteY76" fmla="*/ 770 h 10000"/>
                <a:gd name="connsiteX77" fmla="*/ 4538 w 10000"/>
                <a:gd name="connsiteY77" fmla="*/ 734 h 10000"/>
                <a:gd name="connsiteX78" fmla="*/ 4565 w 10000"/>
                <a:gd name="connsiteY78" fmla="*/ 716 h 10000"/>
                <a:gd name="connsiteX79" fmla="*/ 4596 w 10000"/>
                <a:gd name="connsiteY79" fmla="*/ 687 h 10000"/>
                <a:gd name="connsiteX80" fmla="*/ 4632 w 10000"/>
                <a:gd name="connsiteY80" fmla="*/ 675 h 10000"/>
                <a:gd name="connsiteX81" fmla="*/ 4668 w 10000"/>
                <a:gd name="connsiteY81" fmla="*/ 663 h 10000"/>
                <a:gd name="connsiteX82" fmla="*/ 4704 w 10000"/>
                <a:gd name="connsiteY82" fmla="*/ 645 h 10000"/>
                <a:gd name="connsiteX83" fmla="*/ 4740 w 10000"/>
                <a:gd name="connsiteY83" fmla="*/ 639 h 10000"/>
                <a:gd name="connsiteX84" fmla="*/ 4767 w 10000"/>
                <a:gd name="connsiteY84" fmla="*/ 639 h 10000"/>
                <a:gd name="connsiteX85" fmla="*/ 4780 w 10000"/>
                <a:gd name="connsiteY85" fmla="*/ 586 h 10000"/>
                <a:gd name="connsiteX86" fmla="*/ 4789 w 10000"/>
                <a:gd name="connsiteY86" fmla="*/ 527 h 10000"/>
                <a:gd name="connsiteX87" fmla="*/ 4807 w 10000"/>
                <a:gd name="connsiteY87" fmla="*/ 480 h 10000"/>
                <a:gd name="connsiteX88" fmla="*/ 4816 w 10000"/>
                <a:gd name="connsiteY88" fmla="*/ 432 h 10000"/>
                <a:gd name="connsiteX89" fmla="*/ 3789 w 10000"/>
                <a:gd name="connsiteY89" fmla="*/ 432 h 10000"/>
                <a:gd name="connsiteX90" fmla="*/ 3789 w 10000"/>
                <a:gd name="connsiteY90" fmla="*/ 219 h 10000"/>
                <a:gd name="connsiteX91" fmla="*/ 4834 w 10000"/>
                <a:gd name="connsiteY91" fmla="*/ 219 h 10000"/>
                <a:gd name="connsiteX92" fmla="*/ 4857 w 10000"/>
                <a:gd name="connsiteY92" fmla="*/ 148 h 10000"/>
                <a:gd name="connsiteX93" fmla="*/ 4883 w 10000"/>
                <a:gd name="connsiteY93" fmla="*/ 77 h 10000"/>
                <a:gd name="connsiteX94" fmla="*/ 4910 w 10000"/>
                <a:gd name="connsiteY94" fmla="*/ 18 h 10000"/>
                <a:gd name="connsiteX95" fmla="*/ 4946 w 10000"/>
                <a:gd name="connsiteY95" fmla="*/ 0 h 10000"/>
                <a:gd name="connsiteX96" fmla="*/ 4982 w 10000"/>
                <a:gd name="connsiteY96" fmla="*/ 18 h 10000"/>
                <a:gd name="connsiteX97" fmla="*/ 5009 w 10000"/>
                <a:gd name="connsiteY97" fmla="*/ 77 h 10000"/>
                <a:gd name="connsiteX98" fmla="*/ 5031 w 10000"/>
                <a:gd name="connsiteY98" fmla="*/ 148 h 10000"/>
                <a:gd name="connsiteX99" fmla="*/ 5054 w 10000"/>
                <a:gd name="connsiteY99" fmla="*/ 219 h 10000"/>
                <a:gd name="connsiteX100" fmla="*/ 6135 w 10000"/>
                <a:gd name="connsiteY100" fmla="*/ 219 h 10000"/>
                <a:gd name="connsiteX101" fmla="*/ 6135 w 10000"/>
                <a:gd name="connsiteY101" fmla="*/ 432 h 10000"/>
                <a:gd name="connsiteX102" fmla="*/ 5076 w 10000"/>
                <a:gd name="connsiteY102" fmla="*/ 432 h 10000"/>
                <a:gd name="connsiteX103" fmla="*/ 5085 w 10000"/>
                <a:gd name="connsiteY103" fmla="*/ 480 h 10000"/>
                <a:gd name="connsiteX104" fmla="*/ 5099 w 10000"/>
                <a:gd name="connsiteY104" fmla="*/ 527 h 10000"/>
                <a:gd name="connsiteX105" fmla="*/ 5112 w 10000"/>
                <a:gd name="connsiteY105" fmla="*/ 586 h 10000"/>
                <a:gd name="connsiteX106" fmla="*/ 5126 w 10000"/>
                <a:gd name="connsiteY106" fmla="*/ 639 h 10000"/>
                <a:gd name="connsiteX107" fmla="*/ 5152 w 10000"/>
                <a:gd name="connsiteY107" fmla="*/ 639 h 10000"/>
                <a:gd name="connsiteX108" fmla="*/ 5188 w 10000"/>
                <a:gd name="connsiteY108" fmla="*/ 645 h 10000"/>
                <a:gd name="connsiteX109" fmla="*/ 5224 w 10000"/>
                <a:gd name="connsiteY109" fmla="*/ 663 h 10000"/>
                <a:gd name="connsiteX110" fmla="*/ 5260 w 10000"/>
                <a:gd name="connsiteY110" fmla="*/ 675 h 10000"/>
                <a:gd name="connsiteX111" fmla="*/ 5296 w 10000"/>
                <a:gd name="connsiteY111" fmla="*/ 687 h 10000"/>
                <a:gd name="connsiteX112" fmla="*/ 5332 w 10000"/>
                <a:gd name="connsiteY112" fmla="*/ 716 h 10000"/>
                <a:gd name="connsiteX113" fmla="*/ 5363 w 10000"/>
                <a:gd name="connsiteY113" fmla="*/ 734 h 10000"/>
                <a:gd name="connsiteX114" fmla="*/ 5390 w 10000"/>
                <a:gd name="connsiteY114" fmla="*/ 770 h 10000"/>
                <a:gd name="connsiteX115" fmla="*/ 5413 w 10000"/>
                <a:gd name="connsiteY115" fmla="*/ 941 h 10000"/>
                <a:gd name="connsiteX116" fmla="*/ 5435 w 10000"/>
                <a:gd name="connsiteY116" fmla="*/ 1297 h 10000"/>
                <a:gd name="connsiteX117" fmla="*/ 5462 w 10000"/>
                <a:gd name="connsiteY117" fmla="*/ 1794 h 10000"/>
                <a:gd name="connsiteX118" fmla="*/ 5489 w 10000"/>
                <a:gd name="connsiteY118" fmla="*/ 2404 h 10000"/>
                <a:gd name="connsiteX119" fmla="*/ 9928 w 10000"/>
                <a:gd name="connsiteY119" fmla="*/ 2416 h 10000"/>
                <a:gd name="connsiteX120" fmla="*/ 10000 w 10000"/>
                <a:gd name="connsiteY120" fmla="*/ 3410 h 10000"/>
                <a:gd name="connsiteX121" fmla="*/ 9978 w 10000"/>
                <a:gd name="connsiteY121" fmla="*/ 3529 h 10000"/>
                <a:gd name="connsiteX122" fmla="*/ 9946 w 10000"/>
                <a:gd name="connsiteY122" fmla="*/ 3623 h 10000"/>
                <a:gd name="connsiteX123" fmla="*/ 9901 w 10000"/>
                <a:gd name="connsiteY123" fmla="*/ 3694 h 10000"/>
                <a:gd name="connsiteX124" fmla="*/ 9852 w 10000"/>
                <a:gd name="connsiteY124" fmla="*/ 3760 h 10000"/>
                <a:gd name="connsiteX125" fmla="*/ 9798 w 10000"/>
                <a:gd name="connsiteY125" fmla="*/ 3807 h 10000"/>
                <a:gd name="connsiteX126" fmla="*/ 9753 w 10000"/>
                <a:gd name="connsiteY126" fmla="*/ 3843 h 10000"/>
                <a:gd name="connsiteX127" fmla="*/ 9722 w 10000"/>
                <a:gd name="connsiteY127" fmla="*/ 3860 h 10000"/>
                <a:gd name="connsiteX128" fmla="*/ 9709 w 10000"/>
                <a:gd name="connsiteY128"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5717 w 10000"/>
                <a:gd name="connsiteY17" fmla="*/ 4523 h 10000"/>
                <a:gd name="connsiteX18" fmla="*/ 5614 w 10000"/>
                <a:gd name="connsiteY18" fmla="*/ 4517 h 10000"/>
                <a:gd name="connsiteX19" fmla="*/ 5534 w 10000"/>
                <a:gd name="connsiteY19" fmla="*/ 4506 h 10000"/>
                <a:gd name="connsiteX20" fmla="*/ 5471 w 10000"/>
                <a:gd name="connsiteY20" fmla="*/ 4500 h 10000"/>
                <a:gd name="connsiteX21" fmla="*/ 5435 w 10000"/>
                <a:gd name="connsiteY21" fmla="*/ 4494 h 10000"/>
                <a:gd name="connsiteX22" fmla="*/ 5422 w 10000"/>
                <a:gd name="connsiteY22" fmla="*/ 4494 h 10000"/>
                <a:gd name="connsiteX23" fmla="*/ 5152 w 10000"/>
                <a:gd name="connsiteY23" fmla="*/ 7620 h 10000"/>
                <a:gd name="connsiteX24" fmla="*/ 6516 w 10000"/>
                <a:gd name="connsiteY24" fmla="*/ 7999 h 10000"/>
                <a:gd name="connsiteX25" fmla="*/ 6565 w 10000"/>
                <a:gd name="connsiteY25" fmla="*/ 8034 h 10000"/>
                <a:gd name="connsiteX26" fmla="*/ 6601 w 10000"/>
                <a:gd name="connsiteY26" fmla="*/ 8105 h 10000"/>
                <a:gd name="connsiteX27" fmla="*/ 6623 w 10000"/>
                <a:gd name="connsiteY27" fmla="*/ 8200 h 10000"/>
                <a:gd name="connsiteX28" fmla="*/ 6632 w 10000"/>
                <a:gd name="connsiteY28" fmla="*/ 8307 h 10000"/>
                <a:gd name="connsiteX29" fmla="*/ 6543 w 10000"/>
                <a:gd name="connsiteY29" fmla="*/ 9053 h 10000"/>
                <a:gd name="connsiteX30" fmla="*/ 5291 w 10000"/>
                <a:gd name="connsiteY30" fmla="*/ 9153 h 10000"/>
                <a:gd name="connsiteX31" fmla="*/ 5099 w 10000"/>
                <a:gd name="connsiteY31" fmla="*/ 8620 h 10000"/>
                <a:gd name="connsiteX32" fmla="*/ 5099 w 10000"/>
                <a:gd name="connsiteY32" fmla="*/ 8686 h 10000"/>
                <a:gd name="connsiteX33" fmla="*/ 5090 w 10000"/>
                <a:gd name="connsiteY33" fmla="*/ 8840 h 10000"/>
                <a:gd name="connsiteX34" fmla="*/ 5081 w 10000"/>
                <a:gd name="connsiteY34" fmla="*/ 9059 h 10000"/>
                <a:gd name="connsiteX35" fmla="*/ 5063 w 10000"/>
                <a:gd name="connsiteY35" fmla="*/ 9307 h 10000"/>
                <a:gd name="connsiteX36" fmla="*/ 5040 w 10000"/>
                <a:gd name="connsiteY36" fmla="*/ 9568 h 10000"/>
                <a:gd name="connsiteX37" fmla="*/ 5013 w 10000"/>
                <a:gd name="connsiteY37" fmla="*/ 9787 h 10000"/>
                <a:gd name="connsiteX38" fmla="*/ 4978 w 10000"/>
                <a:gd name="connsiteY38" fmla="*/ 9947 h 10000"/>
                <a:gd name="connsiteX39" fmla="*/ 4928 w 10000"/>
                <a:gd name="connsiteY39" fmla="*/ 10000 h 10000"/>
                <a:gd name="connsiteX40" fmla="*/ 4852 w 10000"/>
                <a:gd name="connsiteY40" fmla="*/ 9781 h 10000"/>
                <a:gd name="connsiteX41" fmla="*/ 4816 w 10000"/>
                <a:gd name="connsiteY41" fmla="*/ 9307 h 10000"/>
                <a:gd name="connsiteX42" fmla="*/ 4803 w 10000"/>
                <a:gd name="connsiteY42" fmla="*/ 8834 h 10000"/>
                <a:gd name="connsiteX43" fmla="*/ 4794 w 10000"/>
                <a:gd name="connsiteY43" fmla="*/ 8620 h 10000"/>
                <a:gd name="connsiteX44" fmla="*/ 4601 w 10000"/>
                <a:gd name="connsiteY44" fmla="*/ 9153 h 10000"/>
                <a:gd name="connsiteX45" fmla="*/ 3368 w 10000"/>
                <a:gd name="connsiteY45" fmla="*/ 9053 h 10000"/>
                <a:gd name="connsiteX46" fmla="*/ 3260 w 10000"/>
                <a:gd name="connsiteY46" fmla="*/ 8307 h 10000"/>
                <a:gd name="connsiteX47" fmla="*/ 3265 w 10000"/>
                <a:gd name="connsiteY47" fmla="*/ 8200 h 10000"/>
                <a:gd name="connsiteX48" fmla="*/ 3291 w 10000"/>
                <a:gd name="connsiteY48" fmla="*/ 8105 h 10000"/>
                <a:gd name="connsiteX49" fmla="*/ 3323 w 10000"/>
                <a:gd name="connsiteY49" fmla="*/ 8034 h 10000"/>
                <a:gd name="connsiteX50" fmla="*/ 3368 w 10000"/>
                <a:gd name="connsiteY50" fmla="*/ 7999 h 10000"/>
                <a:gd name="connsiteX51" fmla="*/ 4740 w 10000"/>
                <a:gd name="connsiteY51" fmla="*/ 7620 h 10000"/>
                <a:gd name="connsiteX52" fmla="*/ 4475 w 10000"/>
                <a:gd name="connsiteY52" fmla="*/ 4494 h 10000"/>
                <a:gd name="connsiteX53" fmla="*/ 511 w 10000"/>
                <a:gd name="connsiteY53" fmla="*/ 4044 h 10000"/>
                <a:gd name="connsiteX54" fmla="*/ 502 w 10000"/>
                <a:gd name="connsiteY54" fmla="*/ 4044 h 10000"/>
                <a:gd name="connsiteX55" fmla="*/ 471 w 10000"/>
                <a:gd name="connsiteY55" fmla="*/ 4032 h 10000"/>
                <a:gd name="connsiteX56" fmla="*/ 430 w 10000"/>
                <a:gd name="connsiteY56" fmla="*/ 4020 h 10000"/>
                <a:gd name="connsiteX57" fmla="*/ 386 w 10000"/>
                <a:gd name="connsiteY57" fmla="*/ 3996 h 10000"/>
                <a:gd name="connsiteX58" fmla="*/ 341 w 10000"/>
                <a:gd name="connsiteY58" fmla="*/ 3985 h 10000"/>
                <a:gd name="connsiteX59" fmla="*/ 300 w 10000"/>
                <a:gd name="connsiteY59" fmla="*/ 3967 h 10000"/>
                <a:gd name="connsiteX60" fmla="*/ 269 w 10000"/>
                <a:gd name="connsiteY60" fmla="*/ 3955 h 10000"/>
                <a:gd name="connsiteX61" fmla="*/ 260 w 10000"/>
                <a:gd name="connsiteY61" fmla="*/ 3955 h 10000"/>
                <a:gd name="connsiteX62" fmla="*/ 179 w 10000"/>
                <a:gd name="connsiteY62" fmla="*/ 3914 h 10000"/>
                <a:gd name="connsiteX63" fmla="*/ 126 w 10000"/>
                <a:gd name="connsiteY63" fmla="*/ 3860 h 10000"/>
                <a:gd name="connsiteX64" fmla="*/ 76 w 10000"/>
                <a:gd name="connsiteY64" fmla="*/ 3813 h 10000"/>
                <a:gd name="connsiteX65" fmla="*/ 54 w 10000"/>
                <a:gd name="connsiteY65" fmla="*/ 3760 h 10000"/>
                <a:gd name="connsiteX66" fmla="*/ 31 w 10000"/>
                <a:gd name="connsiteY66" fmla="*/ 3718 h 10000"/>
                <a:gd name="connsiteX67" fmla="*/ 22 w 10000"/>
                <a:gd name="connsiteY67" fmla="*/ 3677 h 10000"/>
                <a:gd name="connsiteX68" fmla="*/ 13 w 10000"/>
                <a:gd name="connsiteY68" fmla="*/ 3647 h 10000"/>
                <a:gd name="connsiteX69" fmla="*/ 13 w 10000"/>
                <a:gd name="connsiteY69" fmla="*/ 3641 h 10000"/>
                <a:gd name="connsiteX70" fmla="*/ 0 w 10000"/>
                <a:gd name="connsiteY70" fmla="*/ 2351 h 10000"/>
                <a:gd name="connsiteX71" fmla="*/ 4408 w 10000"/>
                <a:gd name="connsiteY71" fmla="*/ 2345 h 10000"/>
                <a:gd name="connsiteX72" fmla="*/ 4439 w 10000"/>
                <a:gd name="connsiteY72" fmla="*/ 1764 h 10000"/>
                <a:gd name="connsiteX73" fmla="*/ 4466 w 10000"/>
                <a:gd name="connsiteY73" fmla="*/ 1291 h 10000"/>
                <a:gd name="connsiteX74" fmla="*/ 4484 w 10000"/>
                <a:gd name="connsiteY74" fmla="*/ 941 h 10000"/>
                <a:gd name="connsiteX75" fmla="*/ 4516 w 10000"/>
                <a:gd name="connsiteY75" fmla="*/ 770 h 10000"/>
                <a:gd name="connsiteX76" fmla="*/ 4538 w 10000"/>
                <a:gd name="connsiteY76" fmla="*/ 734 h 10000"/>
                <a:gd name="connsiteX77" fmla="*/ 4565 w 10000"/>
                <a:gd name="connsiteY77" fmla="*/ 716 h 10000"/>
                <a:gd name="connsiteX78" fmla="*/ 4596 w 10000"/>
                <a:gd name="connsiteY78" fmla="*/ 687 h 10000"/>
                <a:gd name="connsiteX79" fmla="*/ 4632 w 10000"/>
                <a:gd name="connsiteY79" fmla="*/ 675 h 10000"/>
                <a:gd name="connsiteX80" fmla="*/ 4668 w 10000"/>
                <a:gd name="connsiteY80" fmla="*/ 663 h 10000"/>
                <a:gd name="connsiteX81" fmla="*/ 4704 w 10000"/>
                <a:gd name="connsiteY81" fmla="*/ 645 h 10000"/>
                <a:gd name="connsiteX82" fmla="*/ 4740 w 10000"/>
                <a:gd name="connsiteY82" fmla="*/ 639 h 10000"/>
                <a:gd name="connsiteX83" fmla="*/ 4767 w 10000"/>
                <a:gd name="connsiteY83" fmla="*/ 639 h 10000"/>
                <a:gd name="connsiteX84" fmla="*/ 4780 w 10000"/>
                <a:gd name="connsiteY84" fmla="*/ 586 h 10000"/>
                <a:gd name="connsiteX85" fmla="*/ 4789 w 10000"/>
                <a:gd name="connsiteY85" fmla="*/ 527 h 10000"/>
                <a:gd name="connsiteX86" fmla="*/ 4807 w 10000"/>
                <a:gd name="connsiteY86" fmla="*/ 480 h 10000"/>
                <a:gd name="connsiteX87" fmla="*/ 4816 w 10000"/>
                <a:gd name="connsiteY87" fmla="*/ 432 h 10000"/>
                <a:gd name="connsiteX88" fmla="*/ 3789 w 10000"/>
                <a:gd name="connsiteY88" fmla="*/ 432 h 10000"/>
                <a:gd name="connsiteX89" fmla="*/ 3789 w 10000"/>
                <a:gd name="connsiteY89" fmla="*/ 219 h 10000"/>
                <a:gd name="connsiteX90" fmla="*/ 4834 w 10000"/>
                <a:gd name="connsiteY90" fmla="*/ 219 h 10000"/>
                <a:gd name="connsiteX91" fmla="*/ 4857 w 10000"/>
                <a:gd name="connsiteY91" fmla="*/ 148 h 10000"/>
                <a:gd name="connsiteX92" fmla="*/ 4883 w 10000"/>
                <a:gd name="connsiteY92" fmla="*/ 77 h 10000"/>
                <a:gd name="connsiteX93" fmla="*/ 4910 w 10000"/>
                <a:gd name="connsiteY93" fmla="*/ 18 h 10000"/>
                <a:gd name="connsiteX94" fmla="*/ 4946 w 10000"/>
                <a:gd name="connsiteY94" fmla="*/ 0 h 10000"/>
                <a:gd name="connsiteX95" fmla="*/ 4982 w 10000"/>
                <a:gd name="connsiteY95" fmla="*/ 18 h 10000"/>
                <a:gd name="connsiteX96" fmla="*/ 5009 w 10000"/>
                <a:gd name="connsiteY96" fmla="*/ 77 h 10000"/>
                <a:gd name="connsiteX97" fmla="*/ 5031 w 10000"/>
                <a:gd name="connsiteY97" fmla="*/ 148 h 10000"/>
                <a:gd name="connsiteX98" fmla="*/ 5054 w 10000"/>
                <a:gd name="connsiteY98" fmla="*/ 219 h 10000"/>
                <a:gd name="connsiteX99" fmla="*/ 6135 w 10000"/>
                <a:gd name="connsiteY99" fmla="*/ 219 h 10000"/>
                <a:gd name="connsiteX100" fmla="*/ 6135 w 10000"/>
                <a:gd name="connsiteY100" fmla="*/ 432 h 10000"/>
                <a:gd name="connsiteX101" fmla="*/ 5076 w 10000"/>
                <a:gd name="connsiteY101" fmla="*/ 432 h 10000"/>
                <a:gd name="connsiteX102" fmla="*/ 5085 w 10000"/>
                <a:gd name="connsiteY102" fmla="*/ 480 h 10000"/>
                <a:gd name="connsiteX103" fmla="*/ 5099 w 10000"/>
                <a:gd name="connsiteY103" fmla="*/ 527 h 10000"/>
                <a:gd name="connsiteX104" fmla="*/ 5112 w 10000"/>
                <a:gd name="connsiteY104" fmla="*/ 586 h 10000"/>
                <a:gd name="connsiteX105" fmla="*/ 5126 w 10000"/>
                <a:gd name="connsiteY105" fmla="*/ 639 h 10000"/>
                <a:gd name="connsiteX106" fmla="*/ 5152 w 10000"/>
                <a:gd name="connsiteY106" fmla="*/ 639 h 10000"/>
                <a:gd name="connsiteX107" fmla="*/ 5188 w 10000"/>
                <a:gd name="connsiteY107" fmla="*/ 645 h 10000"/>
                <a:gd name="connsiteX108" fmla="*/ 5224 w 10000"/>
                <a:gd name="connsiteY108" fmla="*/ 663 h 10000"/>
                <a:gd name="connsiteX109" fmla="*/ 5260 w 10000"/>
                <a:gd name="connsiteY109" fmla="*/ 675 h 10000"/>
                <a:gd name="connsiteX110" fmla="*/ 5296 w 10000"/>
                <a:gd name="connsiteY110" fmla="*/ 687 h 10000"/>
                <a:gd name="connsiteX111" fmla="*/ 5332 w 10000"/>
                <a:gd name="connsiteY111" fmla="*/ 716 h 10000"/>
                <a:gd name="connsiteX112" fmla="*/ 5363 w 10000"/>
                <a:gd name="connsiteY112" fmla="*/ 734 h 10000"/>
                <a:gd name="connsiteX113" fmla="*/ 5390 w 10000"/>
                <a:gd name="connsiteY113" fmla="*/ 770 h 10000"/>
                <a:gd name="connsiteX114" fmla="*/ 5413 w 10000"/>
                <a:gd name="connsiteY114" fmla="*/ 941 h 10000"/>
                <a:gd name="connsiteX115" fmla="*/ 5435 w 10000"/>
                <a:gd name="connsiteY115" fmla="*/ 1297 h 10000"/>
                <a:gd name="connsiteX116" fmla="*/ 5462 w 10000"/>
                <a:gd name="connsiteY116" fmla="*/ 1794 h 10000"/>
                <a:gd name="connsiteX117" fmla="*/ 5489 w 10000"/>
                <a:gd name="connsiteY117" fmla="*/ 2404 h 10000"/>
                <a:gd name="connsiteX118" fmla="*/ 9928 w 10000"/>
                <a:gd name="connsiteY118" fmla="*/ 2416 h 10000"/>
                <a:gd name="connsiteX119" fmla="*/ 10000 w 10000"/>
                <a:gd name="connsiteY119" fmla="*/ 3410 h 10000"/>
                <a:gd name="connsiteX120" fmla="*/ 9978 w 10000"/>
                <a:gd name="connsiteY120" fmla="*/ 3529 h 10000"/>
                <a:gd name="connsiteX121" fmla="*/ 9946 w 10000"/>
                <a:gd name="connsiteY121" fmla="*/ 3623 h 10000"/>
                <a:gd name="connsiteX122" fmla="*/ 9901 w 10000"/>
                <a:gd name="connsiteY122" fmla="*/ 3694 h 10000"/>
                <a:gd name="connsiteX123" fmla="*/ 9852 w 10000"/>
                <a:gd name="connsiteY123" fmla="*/ 3760 h 10000"/>
                <a:gd name="connsiteX124" fmla="*/ 9798 w 10000"/>
                <a:gd name="connsiteY124" fmla="*/ 3807 h 10000"/>
                <a:gd name="connsiteX125" fmla="*/ 9753 w 10000"/>
                <a:gd name="connsiteY125" fmla="*/ 3843 h 10000"/>
                <a:gd name="connsiteX126" fmla="*/ 9722 w 10000"/>
                <a:gd name="connsiteY126" fmla="*/ 3860 h 10000"/>
                <a:gd name="connsiteX127" fmla="*/ 9709 w 10000"/>
                <a:gd name="connsiteY127"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5614 w 10000"/>
                <a:gd name="connsiteY17" fmla="*/ 4517 h 10000"/>
                <a:gd name="connsiteX18" fmla="*/ 5534 w 10000"/>
                <a:gd name="connsiteY18" fmla="*/ 4506 h 10000"/>
                <a:gd name="connsiteX19" fmla="*/ 5471 w 10000"/>
                <a:gd name="connsiteY19" fmla="*/ 4500 h 10000"/>
                <a:gd name="connsiteX20" fmla="*/ 5435 w 10000"/>
                <a:gd name="connsiteY20" fmla="*/ 4494 h 10000"/>
                <a:gd name="connsiteX21" fmla="*/ 5422 w 10000"/>
                <a:gd name="connsiteY21" fmla="*/ 4494 h 10000"/>
                <a:gd name="connsiteX22" fmla="*/ 5152 w 10000"/>
                <a:gd name="connsiteY22" fmla="*/ 7620 h 10000"/>
                <a:gd name="connsiteX23" fmla="*/ 6516 w 10000"/>
                <a:gd name="connsiteY23" fmla="*/ 7999 h 10000"/>
                <a:gd name="connsiteX24" fmla="*/ 6565 w 10000"/>
                <a:gd name="connsiteY24" fmla="*/ 8034 h 10000"/>
                <a:gd name="connsiteX25" fmla="*/ 6601 w 10000"/>
                <a:gd name="connsiteY25" fmla="*/ 8105 h 10000"/>
                <a:gd name="connsiteX26" fmla="*/ 6623 w 10000"/>
                <a:gd name="connsiteY26" fmla="*/ 8200 h 10000"/>
                <a:gd name="connsiteX27" fmla="*/ 6632 w 10000"/>
                <a:gd name="connsiteY27" fmla="*/ 8307 h 10000"/>
                <a:gd name="connsiteX28" fmla="*/ 6543 w 10000"/>
                <a:gd name="connsiteY28" fmla="*/ 9053 h 10000"/>
                <a:gd name="connsiteX29" fmla="*/ 5291 w 10000"/>
                <a:gd name="connsiteY29" fmla="*/ 9153 h 10000"/>
                <a:gd name="connsiteX30" fmla="*/ 5099 w 10000"/>
                <a:gd name="connsiteY30" fmla="*/ 8620 h 10000"/>
                <a:gd name="connsiteX31" fmla="*/ 5099 w 10000"/>
                <a:gd name="connsiteY31" fmla="*/ 8686 h 10000"/>
                <a:gd name="connsiteX32" fmla="*/ 5090 w 10000"/>
                <a:gd name="connsiteY32" fmla="*/ 8840 h 10000"/>
                <a:gd name="connsiteX33" fmla="*/ 5081 w 10000"/>
                <a:gd name="connsiteY33" fmla="*/ 9059 h 10000"/>
                <a:gd name="connsiteX34" fmla="*/ 5063 w 10000"/>
                <a:gd name="connsiteY34" fmla="*/ 9307 h 10000"/>
                <a:gd name="connsiteX35" fmla="*/ 5040 w 10000"/>
                <a:gd name="connsiteY35" fmla="*/ 9568 h 10000"/>
                <a:gd name="connsiteX36" fmla="*/ 5013 w 10000"/>
                <a:gd name="connsiteY36" fmla="*/ 9787 h 10000"/>
                <a:gd name="connsiteX37" fmla="*/ 4978 w 10000"/>
                <a:gd name="connsiteY37" fmla="*/ 9947 h 10000"/>
                <a:gd name="connsiteX38" fmla="*/ 4928 w 10000"/>
                <a:gd name="connsiteY38" fmla="*/ 10000 h 10000"/>
                <a:gd name="connsiteX39" fmla="*/ 4852 w 10000"/>
                <a:gd name="connsiteY39" fmla="*/ 9781 h 10000"/>
                <a:gd name="connsiteX40" fmla="*/ 4816 w 10000"/>
                <a:gd name="connsiteY40" fmla="*/ 9307 h 10000"/>
                <a:gd name="connsiteX41" fmla="*/ 4803 w 10000"/>
                <a:gd name="connsiteY41" fmla="*/ 8834 h 10000"/>
                <a:gd name="connsiteX42" fmla="*/ 4794 w 10000"/>
                <a:gd name="connsiteY42" fmla="*/ 8620 h 10000"/>
                <a:gd name="connsiteX43" fmla="*/ 4601 w 10000"/>
                <a:gd name="connsiteY43" fmla="*/ 9153 h 10000"/>
                <a:gd name="connsiteX44" fmla="*/ 3368 w 10000"/>
                <a:gd name="connsiteY44" fmla="*/ 9053 h 10000"/>
                <a:gd name="connsiteX45" fmla="*/ 3260 w 10000"/>
                <a:gd name="connsiteY45" fmla="*/ 8307 h 10000"/>
                <a:gd name="connsiteX46" fmla="*/ 3265 w 10000"/>
                <a:gd name="connsiteY46" fmla="*/ 8200 h 10000"/>
                <a:gd name="connsiteX47" fmla="*/ 3291 w 10000"/>
                <a:gd name="connsiteY47" fmla="*/ 8105 h 10000"/>
                <a:gd name="connsiteX48" fmla="*/ 3323 w 10000"/>
                <a:gd name="connsiteY48" fmla="*/ 8034 h 10000"/>
                <a:gd name="connsiteX49" fmla="*/ 3368 w 10000"/>
                <a:gd name="connsiteY49" fmla="*/ 7999 h 10000"/>
                <a:gd name="connsiteX50" fmla="*/ 4740 w 10000"/>
                <a:gd name="connsiteY50" fmla="*/ 7620 h 10000"/>
                <a:gd name="connsiteX51" fmla="*/ 4475 w 10000"/>
                <a:gd name="connsiteY51" fmla="*/ 4494 h 10000"/>
                <a:gd name="connsiteX52" fmla="*/ 511 w 10000"/>
                <a:gd name="connsiteY52" fmla="*/ 4044 h 10000"/>
                <a:gd name="connsiteX53" fmla="*/ 502 w 10000"/>
                <a:gd name="connsiteY53" fmla="*/ 4044 h 10000"/>
                <a:gd name="connsiteX54" fmla="*/ 471 w 10000"/>
                <a:gd name="connsiteY54" fmla="*/ 4032 h 10000"/>
                <a:gd name="connsiteX55" fmla="*/ 430 w 10000"/>
                <a:gd name="connsiteY55" fmla="*/ 4020 h 10000"/>
                <a:gd name="connsiteX56" fmla="*/ 386 w 10000"/>
                <a:gd name="connsiteY56" fmla="*/ 3996 h 10000"/>
                <a:gd name="connsiteX57" fmla="*/ 341 w 10000"/>
                <a:gd name="connsiteY57" fmla="*/ 3985 h 10000"/>
                <a:gd name="connsiteX58" fmla="*/ 300 w 10000"/>
                <a:gd name="connsiteY58" fmla="*/ 3967 h 10000"/>
                <a:gd name="connsiteX59" fmla="*/ 269 w 10000"/>
                <a:gd name="connsiteY59" fmla="*/ 3955 h 10000"/>
                <a:gd name="connsiteX60" fmla="*/ 260 w 10000"/>
                <a:gd name="connsiteY60" fmla="*/ 3955 h 10000"/>
                <a:gd name="connsiteX61" fmla="*/ 179 w 10000"/>
                <a:gd name="connsiteY61" fmla="*/ 3914 h 10000"/>
                <a:gd name="connsiteX62" fmla="*/ 126 w 10000"/>
                <a:gd name="connsiteY62" fmla="*/ 3860 h 10000"/>
                <a:gd name="connsiteX63" fmla="*/ 76 w 10000"/>
                <a:gd name="connsiteY63" fmla="*/ 3813 h 10000"/>
                <a:gd name="connsiteX64" fmla="*/ 54 w 10000"/>
                <a:gd name="connsiteY64" fmla="*/ 3760 h 10000"/>
                <a:gd name="connsiteX65" fmla="*/ 31 w 10000"/>
                <a:gd name="connsiteY65" fmla="*/ 3718 h 10000"/>
                <a:gd name="connsiteX66" fmla="*/ 22 w 10000"/>
                <a:gd name="connsiteY66" fmla="*/ 3677 h 10000"/>
                <a:gd name="connsiteX67" fmla="*/ 13 w 10000"/>
                <a:gd name="connsiteY67" fmla="*/ 3647 h 10000"/>
                <a:gd name="connsiteX68" fmla="*/ 13 w 10000"/>
                <a:gd name="connsiteY68" fmla="*/ 3641 h 10000"/>
                <a:gd name="connsiteX69" fmla="*/ 0 w 10000"/>
                <a:gd name="connsiteY69" fmla="*/ 2351 h 10000"/>
                <a:gd name="connsiteX70" fmla="*/ 4408 w 10000"/>
                <a:gd name="connsiteY70" fmla="*/ 2345 h 10000"/>
                <a:gd name="connsiteX71" fmla="*/ 4439 w 10000"/>
                <a:gd name="connsiteY71" fmla="*/ 1764 h 10000"/>
                <a:gd name="connsiteX72" fmla="*/ 4466 w 10000"/>
                <a:gd name="connsiteY72" fmla="*/ 1291 h 10000"/>
                <a:gd name="connsiteX73" fmla="*/ 4484 w 10000"/>
                <a:gd name="connsiteY73" fmla="*/ 941 h 10000"/>
                <a:gd name="connsiteX74" fmla="*/ 4516 w 10000"/>
                <a:gd name="connsiteY74" fmla="*/ 770 h 10000"/>
                <a:gd name="connsiteX75" fmla="*/ 4538 w 10000"/>
                <a:gd name="connsiteY75" fmla="*/ 734 h 10000"/>
                <a:gd name="connsiteX76" fmla="*/ 4565 w 10000"/>
                <a:gd name="connsiteY76" fmla="*/ 716 h 10000"/>
                <a:gd name="connsiteX77" fmla="*/ 4596 w 10000"/>
                <a:gd name="connsiteY77" fmla="*/ 687 h 10000"/>
                <a:gd name="connsiteX78" fmla="*/ 4632 w 10000"/>
                <a:gd name="connsiteY78" fmla="*/ 675 h 10000"/>
                <a:gd name="connsiteX79" fmla="*/ 4668 w 10000"/>
                <a:gd name="connsiteY79" fmla="*/ 663 h 10000"/>
                <a:gd name="connsiteX80" fmla="*/ 4704 w 10000"/>
                <a:gd name="connsiteY80" fmla="*/ 645 h 10000"/>
                <a:gd name="connsiteX81" fmla="*/ 4740 w 10000"/>
                <a:gd name="connsiteY81" fmla="*/ 639 h 10000"/>
                <a:gd name="connsiteX82" fmla="*/ 4767 w 10000"/>
                <a:gd name="connsiteY82" fmla="*/ 639 h 10000"/>
                <a:gd name="connsiteX83" fmla="*/ 4780 w 10000"/>
                <a:gd name="connsiteY83" fmla="*/ 586 h 10000"/>
                <a:gd name="connsiteX84" fmla="*/ 4789 w 10000"/>
                <a:gd name="connsiteY84" fmla="*/ 527 h 10000"/>
                <a:gd name="connsiteX85" fmla="*/ 4807 w 10000"/>
                <a:gd name="connsiteY85" fmla="*/ 480 h 10000"/>
                <a:gd name="connsiteX86" fmla="*/ 4816 w 10000"/>
                <a:gd name="connsiteY86" fmla="*/ 432 h 10000"/>
                <a:gd name="connsiteX87" fmla="*/ 3789 w 10000"/>
                <a:gd name="connsiteY87" fmla="*/ 432 h 10000"/>
                <a:gd name="connsiteX88" fmla="*/ 3789 w 10000"/>
                <a:gd name="connsiteY88" fmla="*/ 219 h 10000"/>
                <a:gd name="connsiteX89" fmla="*/ 4834 w 10000"/>
                <a:gd name="connsiteY89" fmla="*/ 219 h 10000"/>
                <a:gd name="connsiteX90" fmla="*/ 4857 w 10000"/>
                <a:gd name="connsiteY90" fmla="*/ 148 h 10000"/>
                <a:gd name="connsiteX91" fmla="*/ 4883 w 10000"/>
                <a:gd name="connsiteY91" fmla="*/ 77 h 10000"/>
                <a:gd name="connsiteX92" fmla="*/ 4910 w 10000"/>
                <a:gd name="connsiteY92" fmla="*/ 18 h 10000"/>
                <a:gd name="connsiteX93" fmla="*/ 4946 w 10000"/>
                <a:gd name="connsiteY93" fmla="*/ 0 h 10000"/>
                <a:gd name="connsiteX94" fmla="*/ 4982 w 10000"/>
                <a:gd name="connsiteY94" fmla="*/ 18 h 10000"/>
                <a:gd name="connsiteX95" fmla="*/ 5009 w 10000"/>
                <a:gd name="connsiteY95" fmla="*/ 77 h 10000"/>
                <a:gd name="connsiteX96" fmla="*/ 5031 w 10000"/>
                <a:gd name="connsiteY96" fmla="*/ 148 h 10000"/>
                <a:gd name="connsiteX97" fmla="*/ 5054 w 10000"/>
                <a:gd name="connsiteY97" fmla="*/ 219 h 10000"/>
                <a:gd name="connsiteX98" fmla="*/ 6135 w 10000"/>
                <a:gd name="connsiteY98" fmla="*/ 219 h 10000"/>
                <a:gd name="connsiteX99" fmla="*/ 6135 w 10000"/>
                <a:gd name="connsiteY99" fmla="*/ 432 h 10000"/>
                <a:gd name="connsiteX100" fmla="*/ 5076 w 10000"/>
                <a:gd name="connsiteY100" fmla="*/ 432 h 10000"/>
                <a:gd name="connsiteX101" fmla="*/ 5085 w 10000"/>
                <a:gd name="connsiteY101" fmla="*/ 480 h 10000"/>
                <a:gd name="connsiteX102" fmla="*/ 5099 w 10000"/>
                <a:gd name="connsiteY102" fmla="*/ 527 h 10000"/>
                <a:gd name="connsiteX103" fmla="*/ 5112 w 10000"/>
                <a:gd name="connsiteY103" fmla="*/ 586 h 10000"/>
                <a:gd name="connsiteX104" fmla="*/ 5126 w 10000"/>
                <a:gd name="connsiteY104" fmla="*/ 639 h 10000"/>
                <a:gd name="connsiteX105" fmla="*/ 5152 w 10000"/>
                <a:gd name="connsiteY105" fmla="*/ 639 h 10000"/>
                <a:gd name="connsiteX106" fmla="*/ 5188 w 10000"/>
                <a:gd name="connsiteY106" fmla="*/ 645 h 10000"/>
                <a:gd name="connsiteX107" fmla="*/ 5224 w 10000"/>
                <a:gd name="connsiteY107" fmla="*/ 663 h 10000"/>
                <a:gd name="connsiteX108" fmla="*/ 5260 w 10000"/>
                <a:gd name="connsiteY108" fmla="*/ 675 h 10000"/>
                <a:gd name="connsiteX109" fmla="*/ 5296 w 10000"/>
                <a:gd name="connsiteY109" fmla="*/ 687 h 10000"/>
                <a:gd name="connsiteX110" fmla="*/ 5332 w 10000"/>
                <a:gd name="connsiteY110" fmla="*/ 716 h 10000"/>
                <a:gd name="connsiteX111" fmla="*/ 5363 w 10000"/>
                <a:gd name="connsiteY111" fmla="*/ 734 h 10000"/>
                <a:gd name="connsiteX112" fmla="*/ 5390 w 10000"/>
                <a:gd name="connsiteY112" fmla="*/ 770 h 10000"/>
                <a:gd name="connsiteX113" fmla="*/ 5413 w 10000"/>
                <a:gd name="connsiteY113" fmla="*/ 941 h 10000"/>
                <a:gd name="connsiteX114" fmla="*/ 5435 w 10000"/>
                <a:gd name="connsiteY114" fmla="*/ 1297 h 10000"/>
                <a:gd name="connsiteX115" fmla="*/ 5462 w 10000"/>
                <a:gd name="connsiteY115" fmla="*/ 1794 h 10000"/>
                <a:gd name="connsiteX116" fmla="*/ 5489 w 10000"/>
                <a:gd name="connsiteY116" fmla="*/ 2404 h 10000"/>
                <a:gd name="connsiteX117" fmla="*/ 9928 w 10000"/>
                <a:gd name="connsiteY117" fmla="*/ 2416 h 10000"/>
                <a:gd name="connsiteX118" fmla="*/ 10000 w 10000"/>
                <a:gd name="connsiteY118" fmla="*/ 3410 h 10000"/>
                <a:gd name="connsiteX119" fmla="*/ 9978 w 10000"/>
                <a:gd name="connsiteY119" fmla="*/ 3529 h 10000"/>
                <a:gd name="connsiteX120" fmla="*/ 9946 w 10000"/>
                <a:gd name="connsiteY120" fmla="*/ 3623 h 10000"/>
                <a:gd name="connsiteX121" fmla="*/ 9901 w 10000"/>
                <a:gd name="connsiteY121" fmla="*/ 3694 h 10000"/>
                <a:gd name="connsiteX122" fmla="*/ 9852 w 10000"/>
                <a:gd name="connsiteY122" fmla="*/ 3760 h 10000"/>
                <a:gd name="connsiteX123" fmla="*/ 9798 w 10000"/>
                <a:gd name="connsiteY123" fmla="*/ 3807 h 10000"/>
                <a:gd name="connsiteX124" fmla="*/ 9753 w 10000"/>
                <a:gd name="connsiteY124" fmla="*/ 3843 h 10000"/>
                <a:gd name="connsiteX125" fmla="*/ 9722 w 10000"/>
                <a:gd name="connsiteY125" fmla="*/ 3860 h 10000"/>
                <a:gd name="connsiteX126" fmla="*/ 9709 w 10000"/>
                <a:gd name="connsiteY126"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5534 w 10000"/>
                <a:gd name="connsiteY17" fmla="*/ 4506 h 10000"/>
                <a:gd name="connsiteX18" fmla="*/ 5471 w 10000"/>
                <a:gd name="connsiteY18" fmla="*/ 4500 h 10000"/>
                <a:gd name="connsiteX19" fmla="*/ 5435 w 10000"/>
                <a:gd name="connsiteY19" fmla="*/ 4494 h 10000"/>
                <a:gd name="connsiteX20" fmla="*/ 5422 w 10000"/>
                <a:gd name="connsiteY20" fmla="*/ 4494 h 10000"/>
                <a:gd name="connsiteX21" fmla="*/ 5152 w 10000"/>
                <a:gd name="connsiteY21" fmla="*/ 7620 h 10000"/>
                <a:gd name="connsiteX22" fmla="*/ 6516 w 10000"/>
                <a:gd name="connsiteY22" fmla="*/ 7999 h 10000"/>
                <a:gd name="connsiteX23" fmla="*/ 6565 w 10000"/>
                <a:gd name="connsiteY23" fmla="*/ 8034 h 10000"/>
                <a:gd name="connsiteX24" fmla="*/ 6601 w 10000"/>
                <a:gd name="connsiteY24" fmla="*/ 8105 h 10000"/>
                <a:gd name="connsiteX25" fmla="*/ 6623 w 10000"/>
                <a:gd name="connsiteY25" fmla="*/ 8200 h 10000"/>
                <a:gd name="connsiteX26" fmla="*/ 6632 w 10000"/>
                <a:gd name="connsiteY26" fmla="*/ 8307 h 10000"/>
                <a:gd name="connsiteX27" fmla="*/ 6543 w 10000"/>
                <a:gd name="connsiteY27" fmla="*/ 9053 h 10000"/>
                <a:gd name="connsiteX28" fmla="*/ 5291 w 10000"/>
                <a:gd name="connsiteY28" fmla="*/ 9153 h 10000"/>
                <a:gd name="connsiteX29" fmla="*/ 5099 w 10000"/>
                <a:gd name="connsiteY29" fmla="*/ 8620 h 10000"/>
                <a:gd name="connsiteX30" fmla="*/ 5099 w 10000"/>
                <a:gd name="connsiteY30" fmla="*/ 8686 h 10000"/>
                <a:gd name="connsiteX31" fmla="*/ 5090 w 10000"/>
                <a:gd name="connsiteY31" fmla="*/ 8840 h 10000"/>
                <a:gd name="connsiteX32" fmla="*/ 5081 w 10000"/>
                <a:gd name="connsiteY32" fmla="*/ 9059 h 10000"/>
                <a:gd name="connsiteX33" fmla="*/ 5063 w 10000"/>
                <a:gd name="connsiteY33" fmla="*/ 9307 h 10000"/>
                <a:gd name="connsiteX34" fmla="*/ 5040 w 10000"/>
                <a:gd name="connsiteY34" fmla="*/ 9568 h 10000"/>
                <a:gd name="connsiteX35" fmla="*/ 5013 w 10000"/>
                <a:gd name="connsiteY35" fmla="*/ 9787 h 10000"/>
                <a:gd name="connsiteX36" fmla="*/ 4978 w 10000"/>
                <a:gd name="connsiteY36" fmla="*/ 9947 h 10000"/>
                <a:gd name="connsiteX37" fmla="*/ 4928 w 10000"/>
                <a:gd name="connsiteY37" fmla="*/ 10000 h 10000"/>
                <a:gd name="connsiteX38" fmla="*/ 4852 w 10000"/>
                <a:gd name="connsiteY38" fmla="*/ 9781 h 10000"/>
                <a:gd name="connsiteX39" fmla="*/ 4816 w 10000"/>
                <a:gd name="connsiteY39" fmla="*/ 9307 h 10000"/>
                <a:gd name="connsiteX40" fmla="*/ 4803 w 10000"/>
                <a:gd name="connsiteY40" fmla="*/ 8834 h 10000"/>
                <a:gd name="connsiteX41" fmla="*/ 4794 w 10000"/>
                <a:gd name="connsiteY41" fmla="*/ 8620 h 10000"/>
                <a:gd name="connsiteX42" fmla="*/ 4601 w 10000"/>
                <a:gd name="connsiteY42" fmla="*/ 9153 h 10000"/>
                <a:gd name="connsiteX43" fmla="*/ 3368 w 10000"/>
                <a:gd name="connsiteY43" fmla="*/ 9053 h 10000"/>
                <a:gd name="connsiteX44" fmla="*/ 3260 w 10000"/>
                <a:gd name="connsiteY44" fmla="*/ 8307 h 10000"/>
                <a:gd name="connsiteX45" fmla="*/ 3265 w 10000"/>
                <a:gd name="connsiteY45" fmla="*/ 8200 h 10000"/>
                <a:gd name="connsiteX46" fmla="*/ 3291 w 10000"/>
                <a:gd name="connsiteY46" fmla="*/ 8105 h 10000"/>
                <a:gd name="connsiteX47" fmla="*/ 3323 w 10000"/>
                <a:gd name="connsiteY47" fmla="*/ 8034 h 10000"/>
                <a:gd name="connsiteX48" fmla="*/ 3368 w 10000"/>
                <a:gd name="connsiteY48" fmla="*/ 7999 h 10000"/>
                <a:gd name="connsiteX49" fmla="*/ 4740 w 10000"/>
                <a:gd name="connsiteY49" fmla="*/ 7620 h 10000"/>
                <a:gd name="connsiteX50" fmla="*/ 4475 w 10000"/>
                <a:gd name="connsiteY50" fmla="*/ 4494 h 10000"/>
                <a:gd name="connsiteX51" fmla="*/ 511 w 10000"/>
                <a:gd name="connsiteY51" fmla="*/ 4044 h 10000"/>
                <a:gd name="connsiteX52" fmla="*/ 502 w 10000"/>
                <a:gd name="connsiteY52" fmla="*/ 4044 h 10000"/>
                <a:gd name="connsiteX53" fmla="*/ 471 w 10000"/>
                <a:gd name="connsiteY53" fmla="*/ 4032 h 10000"/>
                <a:gd name="connsiteX54" fmla="*/ 430 w 10000"/>
                <a:gd name="connsiteY54" fmla="*/ 4020 h 10000"/>
                <a:gd name="connsiteX55" fmla="*/ 386 w 10000"/>
                <a:gd name="connsiteY55" fmla="*/ 3996 h 10000"/>
                <a:gd name="connsiteX56" fmla="*/ 341 w 10000"/>
                <a:gd name="connsiteY56" fmla="*/ 3985 h 10000"/>
                <a:gd name="connsiteX57" fmla="*/ 300 w 10000"/>
                <a:gd name="connsiteY57" fmla="*/ 3967 h 10000"/>
                <a:gd name="connsiteX58" fmla="*/ 269 w 10000"/>
                <a:gd name="connsiteY58" fmla="*/ 3955 h 10000"/>
                <a:gd name="connsiteX59" fmla="*/ 260 w 10000"/>
                <a:gd name="connsiteY59" fmla="*/ 3955 h 10000"/>
                <a:gd name="connsiteX60" fmla="*/ 179 w 10000"/>
                <a:gd name="connsiteY60" fmla="*/ 3914 h 10000"/>
                <a:gd name="connsiteX61" fmla="*/ 126 w 10000"/>
                <a:gd name="connsiteY61" fmla="*/ 3860 h 10000"/>
                <a:gd name="connsiteX62" fmla="*/ 76 w 10000"/>
                <a:gd name="connsiteY62" fmla="*/ 3813 h 10000"/>
                <a:gd name="connsiteX63" fmla="*/ 54 w 10000"/>
                <a:gd name="connsiteY63" fmla="*/ 3760 h 10000"/>
                <a:gd name="connsiteX64" fmla="*/ 31 w 10000"/>
                <a:gd name="connsiteY64" fmla="*/ 3718 h 10000"/>
                <a:gd name="connsiteX65" fmla="*/ 22 w 10000"/>
                <a:gd name="connsiteY65" fmla="*/ 3677 h 10000"/>
                <a:gd name="connsiteX66" fmla="*/ 13 w 10000"/>
                <a:gd name="connsiteY66" fmla="*/ 3647 h 10000"/>
                <a:gd name="connsiteX67" fmla="*/ 13 w 10000"/>
                <a:gd name="connsiteY67" fmla="*/ 3641 h 10000"/>
                <a:gd name="connsiteX68" fmla="*/ 0 w 10000"/>
                <a:gd name="connsiteY68" fmla="*/ 2351 h 10000"/>
                <a:gd name="connsiteX69" fmla="*/ 4408 w 10000"/>
                <a:gd name="connsiteY69" fmla="*/ 2345 h 10000"/>
                <a:gd name="connsiteX70" fmla="*/ 4439 w 10000"/>
                <a:gd name="connsiteY70" fmla="*/ 1764 h 10000"/>
                <a:gd name="connsiteX71" fmla="*/ 4466 w 10000"/>
                <a:gd name="connsiteY71" fmla="*/ 1291 h 10000"/>
                <a:gd name="connsiteX72" fmla="*/ 4484 w 10000"/>
                <a:gd name="connsiteY72" fmla="*/ 941 h 10000"/>
                <a:gd name="connsiteX73" fmla="*/ 4516 w 10000"/>
                <a:gd name="connsiteY73" fmla="*/ 770 h 10000"/>
                <a:gd name="connsiteX74" fmla="*/ 4538 w 10000"/>
                <a:gd name="connsiteY74" fmla="*/ 734 h 10000"/>
                <a:gd name="connsiteX75" fmla="*/ 4565 w 10000"/>
                <a:gd name="connsiteY75" fmla="*/ 716 h 10000"/>
                <a:gd name="connsiteX76" fmla="*/ 4596 w 10000"/>
                <a:gd name="connsiteY76" fmla="*/ 687 h 10000"/>
                <a:gd name="connsiteX77" fmla="*/ 4632 w 10000"/>
                <a:gd name="connsiteY77" fmla="*/ 675 h 10000"/>
                <a:gd name="connsiteX78" fmla="*/ 4668 w 10000"/>
                <a:gd name="connsiteY78" fmla="*/ 663 h 10000"/>
                <a:gd name="connsiteX79" fmla="*/ 4704 w 10000"/>
                <a:gd name="connsiteY79" fmla="*/ 645 h 10000"/>
                <a:gd name="connsiteX80" fmla="*/ 4740 w 10000"/>
                <a:gd name="connsiteY80" fmla="*/ 639 h 10000"/>
                <a:gd name="connsiteX81" fmla="*/ 4767 w 10000"/>
                <a:gd name="connsiteY81" fmla="*/ 639 h 10000"/>
                <a:gd name="connsiteX82" fmla="*/ 4780 w 10000"/>
                <a:gd name="connsiteY82" fmla="*/ 586 h 10000"/>
                <a:gd name="connsiteX83" fmla="*/ 4789 w 10000"/>
                <a:gd name="connsiteY83" fmla="*/ 527 h 10000"/>
                <a:gd name="connsiteX84" fmla="*/ 4807 w 10000"/>
                <a:gd name="connsiteY84" fmla="*/ 480 h 10000"/>
                <a:gd name="connsiteX85" fmla="*/ 4816 w 10000"/>
                <a:gd name="connsiteY85" fmla="*/ 432 h 10000"/>
                <a:gd name="connsiteX86" fmla="*/ 3789 w 10000"/>
                <a:gd name="connsiteY86" fmla="*/ 432 h 10000"/>
                <a:gd name="connsiteX87" fmla="*/ 3789 w 10000"/>
                <a:gd name="connsiteY87" fmla="*/ 219 h 10000"/>
                <a:gd name="connsiteX88" fmla="*/ 4834 w 10000"/>
                <a:gd name="connsiteY88" fmla="*/ 219 h 10000"/>
                <a:gd name="connsiteX89" fmla="*/ 4857 w 10000"/>
                <a:gd name="connsiteY89" fmla="*/ 148 h 10000"/>
                <a:gd name="connsiteX90" fmla="*/ 4883 w 10000"/>
                <a:gd name="connsiteY90" fmla="*/ 77 h 10000"/>
                <a:gd name="connsiteX91" fmla="*/ 4910 w 10000"/>
                <a:gd name="connsiteY91" fmla="*/ 18 h 10000"/>
                <a:gd name="connsiteX92" fmla="*/ 4946 w 10000"/>
                <a:gd name="connsiteY92" fmla="*/ 0 h 10000"/>
                <a:gd name="connsiteX93" fmla="*/ 4982 w 10000"/>
                <a:gd name="connsiteY93" fmla="*/ 18 h 10000"/>
                <a:gd name="connsiteX94" fmla="*/ 5009 w 10000"/>
                <a:gd name="connsiteY94" fmla="*/ 77 h 10000"/>
                <a:gd name="connsiteX95" fmla="*/ 5031 w 10000"/>
                <a:gd name="connsiteY95" fmla="*/ 148 h 10000"/>
                <a:gd name="connsiteX96" fmla="*/ 5054 w 10000"/>
                <a:gd name="connsiteY96" fmla="*/ 219 h 10000"/>
                <a:gd name="connsiteX97" fmla="*/ 6135 w 10000"/>
                <a:gd name="connsiteY97" fmla="*/ 219 h 10000"/>
                <a:gd name="connsiteX98" fmla="*/ 6135 w 10000"/>
                <a:gd name="connsiteY98" fmla="*/ 432 h 10000"/>
                <a:gd name="connsiteX99" fmla="*/ 5076 w 10000"/>
                <a:gd name="connsiteY99" fmla="*/ 432 h 10000"/>
                <a:gd name="connsiteX100" fmla="*/ 5085 w 10000"/>
                <a:gd name="connsiteY100" fmla="*/ 480 h 10000"/>
                <a:gd name="connsiteX101" fmla="*/ 5099 w 10000"/>
                <a:gd name="connsiteY101" fmla="*/ 527 h 10000"/>
                <a:gd name="connsiteX102" fmla="*/ 5112 w 10000"/>
                <a:gd name="connsiteY102" fmla="*/ 586 h 10000"/>
                <a:gd name="connsiteX103" fmla="*/ 5126 w 10000"/>
                <a:gd name="connsiteY103" fmla="*/ 639 h 10000"/>
                <a:gd name="connsiteX104" fmla="*/ 5152 w 10000"/>
                <a:gd name="connsiteY104" fmla="*/ 639 h 10000"/>
                <a:gd name="connsiteX105" fmla="*/ 5188 w 10000"/>
                <a:gd name="connsiteY105" fmla="*/ 645 h 10000"/>
                <a:gd name="connsiteX106" fmla="*/ 5224 w 10000"/>
                <a:gd name="connsiteY106" fmla="*/ 663 h 10000"/>
                <a:gd name="connsiteX107" fmla="*/ 5260 w 10000"/>
                <a:gd name="connsiteY107" fmla="*/ 675 h 10000"/>
                <a:gd name="connsiteX108" fmla="*/ 5296 w 10000"/>
                <a:gd name="connsiteY108" fmla="*/ 687 h 10000"/>
                <a:gd name="connsiteX109" fmla="*/ 5332 w 10000"/>
                <a:gd name="connsiteY109" fmla="*/ 716 h 10000"/>
                <a:gd name="connsiteX110" fmla="*/ 5363 w 10000"/>
                <a:gd name="connsiteY110" fmla="*/ 734 h 10000"/>
                <a:gd name="connsiteX111" fmla="*/ 5390 w 10000"/>
                <a:gd name="connsiteY111" fmla="*/ 770 h 10000"/>
                <a:gd name="connsiteX112" fmla="*/ 5413 w 10000"/>
                <a:gd name="connsiteY112" fmla="*/ 941 h 10000"/>
                <a:gd name="connsiteX113" fmla="*/ 5435 w 10000"/>
                <a:gd name="connsiteY113" fmla="*/ 1297 h 10000"/>
                <a:gd name="connsiteX114" fmla="*/ 5462 w 10000"/>
                <a:gd name="connsiteY114" fmla="*/ 1794 h 10000"/>
                <a:gd name="connsiteX115" fmla="*/ 5489 w 10000"/>
                <a:gd name="connsiteY115" fmla="*/ 2404 h 10000"/>
                <a:gd name="connsiteX116" fmla="*/ 9928 w 10000"/>
                <a:gd name="connsiteY116" fmla="*/ 2416 h 10000"/>
                <a:gd name="connsiteX117" fmla="*/ 10000 w 10000"/>
                <a:gd name="connsiteY117" fmla="*/ 3410 h 10000"/>
                <a:gd name="connsiteX118" fmla="*/ 9978 w 10000"/>
                <a:gd name="connsiteY118" fmla="*/ 3529 h 10000"/>
                <a:gd name="connsiteX119" fmla="*/ 9946 w 10000"/>
                <a:gd name="connsiteY119" fmla="*/ 3623 h 10000"/>
                <a:gd name="connsiteX120" fmla="*/ 9901 w 10000"/>
                <a:gd name="connsiteY120" fmla="*/ 3694 h 10000"/>
                <a:gd name="connsiteX121" fmla="*/ 9852 w 10000"/>
                <a:gd name="connsiteY121" fmla="*/ 3760 h 10000"/>
                <a:gd name="connsiteX122" fmla="*/ 9798 w 10000"/>
                <a:gd name="connsiteY122" fmla="*/ 3807 h 10000"/>
                <a:gd name="connsiteX123" fmla="*/ 9753 w 10000"/>
                <a:gd name="connsiteY123" fmla="*/ 3843 h 10000"/>
                <a:gd name="connsiteX124" fmla="*/ 9722 w 10000"/>
                <a:gd name="connsiteY124" fmla="*/ 3860 h 10000"/>
                <a:gd name="connsiteX125" fmla="*/ 9709 w 10000"/>
                <a:gd name="connsiteY125"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5471 w 10000"/>
                <a:gd name="connsiteY17" fmla="*/ 4500 h 10000"/>
                <a:gd name="connsiteX18" fmla="*/ 5435 w 10000"/>
                <a:gd name="connsiteY18" fmla="*/ 4494 h 10000"/>
                <a:gd name="connsiteX19" fmla="*/ 5422 w 10000"/>
                <a:gd name="connsiteY19" fmla="*/ 4494 h 10000"/>
                <a:gd name="connsiteX20" fmla="*/ 5152 w 10000"/>
                <a:gd name="connsiteY20" fmla="*/ 7620 h 10000"/>
                <a:gd name="connsiteX21" fmla="*/ 6516 w 10000"/>
                <a:gd name="connsiteY21" fmla="*/ 7999 h 10000"/>
                <a:gd name="connsiteX22" fmla="*/ 6565 w 10000"/>
                <a:gd name="connsiteY22" fmla="*/ 8034 h 10000"/>
                <a:gd name="connsiteX23" fmla="*/ 6601 w 10000"/>
                <a:gd name="connsiteY23" fmla="*/ 8105 h 10000"/>
                <a:gd name="connsiteX24" fmla="*/ 6623 w 10000"/>
                <a:gd name="connsiteY24" fmla="*/ 8200 h 10000"/>
                <a:gd name="connsiteX25" fmla="*/ 6632 w 10000"/>
                <a:gd name="connsiteY25" fmla="*/ 8307 h 10000"/>
                <a:gd name="connsiteX26" fmla="*/ 6543 w 10000"/>
                <a:gd name="connsiteY26" fmla="*/ 9053 h 10000"/>
                <a:gd name="connsiteX27" fmla="*/ 5291 w 10000"/>
                <a:gd name="connsiteY27" fmla="*/ 9153 h 10000"/>
                <a:gd name="connsiteX28" fmla="*/ 5099 w 10000"/>
                <a:gd name="connsiteY28" fmla="*/ 8620 h 10000"/>
                <a:gd name="connsiteX29" fmla="*/ 5099 w 10000"/>
                <a:gd name="connsiteY29" fmla="*/ 8686 h 10000"/>
                <a:gd name="connsiteX30" fmla="*/ 5090 w 10000"/>
                <a:gd name="connsiteY30" fmla="*/ 8840 h 10000"/>
                <a:gd name="connsiteX31" fmla="*/ 5081 w 10000"/>
                <a:gd name="connsiteY31" fmla="*/ 9059 h 10000"/>
                <a:gd name="connsiteX32" fmla="*/ 5063 w 10000"/>
                <a:gd name="connsiteY32" fmla="*/ 9307 h 10000"/>
                <a:gd name="connsiteX33" fmla="*/ 5040 w 10000"/>
                <a:gd name="connsiteY33" fmla="*/ 9568 h 10000"/>
                <a:gd name="connsiteX34" fmla="*/ 5013 w 10000"/>
                <a:gd name="connsiteY34" fmla="*/ 9787 h 10000"/>
                <a:gd name="connsiteX35" fmla="*/ 4978 w 10000"/>
                <a:gd name="connsiteY35" fmla="*/ 9947 h 10000"/>
                <a:gd name="connsiteX36" fmla="*/ 4928 w 10000"/>
                <a:gd name="connsiteY36" fmla="*/ 10000 h 10000"/>
                <a:gd name="connsiteX37" fmla="*/ 4852 w 10000"/>
                <a:gd name="connsiteY37" fmla="*/ 9781 h 10000"/>
                <a:gd name="connsiteX38" fmla="*/ 4816 w 10000"/>
                <a:gd name="connsiteY38" fmla="*/ 9307 h 10000"/>
                <a:gd name="connsiteX39" fmla="*/ 4803 w 10000"/>
                <a:gd name="connsiteY39" fmla="*/ 8834 h 10000"/>
                <a:gd name="connsiteX40" fmla="*/ 4794 w 10000"/>
                <a:gd name="connsiteY40" fmla="*/ 8620 h 10000"/>
                <a:gd name="connsiteX41" fmla="*/ 4601 w 10000"/>
                <a:gd name="connsiteY41" fmla="*/ 9153 h 10000"/>
                <a:gd name="connsiteX42" fmla="*/ 3368 w 10000"/>
                <a:gd name="connsiteY42" fmla="*/ 9053 h 10000"/>
                <a:gd name="connsiteX43" fmla="*/ 3260 w 10000"/>
                <a:gd name="connsiteY43" fmla="*/ 8307 h 10000"/>
                <a:gd name="connsiteX44" fmla="*/ 3265 w 10000"/>
                <a:gd name="connsiteY44" fmla="*/ 8200 h 10000"/>
                <a:gd name="connsiteX45" fmla="*/ 3291 w 10000"/>
                <a:gd name="connsiteY45" fmla="*/ 8105 h 10000"/>
                <a:gd name="connsiteX46" fmla="*/ 3323 w 10000"/>
                <a:gd name="connsiteY46" fmla="*/ 8034 h 10000"/>
                <a:gd name="connsiteX47" fmla="*/ 3368 w 10000"/>
                <a:gd name="connsiteY47" fmla="*/ 7999 h 10000"/>
                <a:gd name="connsiteX48" fmla="*/ 4740 w 10000"/>
                <a:gd name="connsiteY48" fmla="*/ 7620 h 10000"/>
                <a:gd name="connsiteX49" fmla="*/ 4475 w 10000"/>
                <a:gd name="connsiteY49" fmla="*/ 4494 h 10000"/>
                <a:gd name="connsiteX50" fmla="*/ 511 w 10000"/>
                <a:gd name="connsiteY50" fmla="*/ 4044 h 10000"/>
                <a:gd name="connsiteX51" fmla="*/ 502 w 10000"/>
                <a:gd name="connsiteY51" fmla="*/ 4044 h 10000"/>
                <a:gd name="connsiteX52" fmla="*/ 471 w 10000"/>
                <a:gd name="connsiteY52" fmla="*/ 4032 h 10000"/>
                <a:gd name="connsiteX53" fmla="*/ 430 w 10000"/>
                <a:gd name="connsiteY53" fmla="*/ 4020 h 10000"/>
                <a:gd name="connsiteX54" fmla="*/ 386 w 10000"/>
                <a:gd name="connsiteY54" fmla="*/ 3996 h 10000"/>
                <a:gd name="connsiteX55" fmla="*/ 341 w 10000"/>
                <a:gd name="connsiteY55" fmla="*/ 3985 h 10000"/>
                <a:gd name="connsiteX56" fmla="*/ 300 w 10000"/>
                <a:gd name="connsiteY56" fmla="*/ 3967 h 10000"/>
                <a:gd name="connsiteX57" fmla="*/ 269 w 10000"/>
                <a:gd name="connsiteY57" fmla="*/ 3955 h 10000"/>
                <a:gd name="connsiteX58" fmla="*/ 260 w 10000"/>
                <a:gd name="connsiteY58" fmla="*/ 3955 h 10000"/>
                <a:gd name="connsiteX59" fmla="*/ 179 w 10000"/>
                <a:gd name="connsiteY59" fmla="*/ 3914 h 10000"/>
                <a:gd name="connsiteX60" fmla="*/ 126 w 10000"/>
                <a:gd name="connsiteY60" fmla="*/ 3860 h 10000"/>
                <a:gd name="connsiteX61" fmla="*/ 76 w 10000"/>
                <a:gd name="connsiteY61" fmla="*/ 3813 h 10000"/>
                <a:gd name="connsiteX62" fmla="*/ 54 w 10000"/>
                <a:gd name="connsiteY62" fmla="*/ 3760 h 10000"/>
                <a:gd name="connsiteX63" fmla="*/ 31 w 10000"/>
                <a:gd name="connsiteY63" fmla="*/ 3718 h 10000"/>
                <a:gd name="connsiteX64" fmla="*/ 22 w 10000"/>
                <a:gd name="connsiteY64" fmla="*/ 3677 h 10000"/>
                <a:gd name="connsiteX65" fmla="*/ 13 w 10000"/>
                <a:gd name="connsiteY65" fmla="*/ 3647 h 10000"/>
                <a:gd name="connsiteX66" fmla="*/ 13 w 10000"/>
                <a:gd name="connsiteY66" fmla="*/ 3641 h 10000"/>
                <a:gd name="connsiteX67" fmla="*/ 0 w 10000"/>
                <a:gd name="connsiteY67" fmla="*/ 2351 h 10000"/>
                <a:gd name="connsiteX68" fmla="*/ 4408 w 10000"/>
                <a:gd name="connsiteY68" fmla="*/ 2345 h 10000"/>
                <a:gd name="connsiteX69" fmla="*/ 4439 w 10000"/>
                <a:gd name="connsiteY69" fmla="*/ 1764 h 10000"/>
                <a:gd name="connsiteX70" fmla="*/ 4466 w 10000"/>
                <a:gd name="connsiteY70" fmla="*/ 1291 h 10000"/>
                <a:gd name="connsiteX71" fmla="*/ 4484 w 10000"/>
                <a:gd name="connsiteY71" fmla="*/ 941 h 10000"/>
                <a:gd name="connsiteX72" fmla="*/ 4516 w 10000"/>
                <a:gd name="connsiteY72" fmla="*/ 770 h 10000"/>
                <a:gd name="connsiteX73" fmla="*/ 4538 w 10000"/>
                <a:gd name="connsiteY73" fmla="*/ 734 h 10000"/>
                <a:gd name="connsiteX74" fmla="*/ 4565 w 10000"/>
                <a:gd name="connsiteY74" fmla="*/ 716 h 10000"/>
                <a:gd name="connsiteX75" fmla="*/ 4596 w 10000"/>
                <a:gd name="connsiteY75" fmla="*/ 687 h 10000"/>
                <a:gd name="connsiteX76" fmla="*/ 4632 w 10000"/>
                <a:gd name="connsiteY76" fmla="*/ 675 h 10000"/>
                <a:gd name="connsiteX77" fmla="*/ 4668 w 10000"/>
                <a:gd name="connsiteY77" fmla="*/ 663 h 10000"/>
                <a:gd name="connsiteX78" fmla="*/ 4704 w 10000"/>
                <a:gd name="connsiteY78" fmla="*/ 645 h 10000"/>
                <a:gd name="connsiteX79" fmla="*/ 4740 w 10000"/>
                <a:gd name="connsiteY79" fmla="*/ 639 h 10000"/>
                <a:gd name="connsiteX80" fmla="*/ 4767 w 10000"/>
                <a:gd name="connsiteY80" fmla="*/ 639 h 10000"/>
                <a:gd name="connsiteX81" fmla="*/ 4780 w 10000"/>
                <a:gd name="connsiteY81" fmla="*/ 586 h 10000"/>
                <a:gd name="connsiteX82" fmla="*/ 4789 w 10000"/>
                <a:gd name="connsiteY82" fmla="*/ 527 h 10000"/>
                <a:gd name="connsiteX83" fmla="*/ 4807 w 10000"/>
                <a:gd name="connsiteY83" fmla="*/ 480 h 10000"/>
                <a:gd name="connsiteX84" fmla="*/ 4816 w 10000"/>
                <a:gd name="connsiteY84" fmla="*/ 432 h 10000"/>
                <a:gd name="connsiteX85" fmla="*/ 3789 w 10000"/>
                <a:gd name="connsiteY85" fmla="*/ 432 h 10000"/>
                <a:gd name="connsiteX86" fmla="*/ 3789 w 10000"/>
                <a:gd name="connsiteY86" fmla="*/ 219 h 10000"/>
                <a:gd name="connsiteX87" fmla="*/ 4834 w 10000"/>
                <a:gd name="connsiteY87" fmla="*/ 219 h 10000"/>
                <a:gd name="connsiteX88" fmla="*/ 4857 w 10000"/>
                <a:gd name="connsiteY88" fmla="*/ 148 h 10000"/>
                <a:gd name="connsiteX89" fmla="*/ 4883 w 10000"/>
                <a:gd name="connsiteY89" fmla="*/ 77 h 10000"/>
                <a:gd name="connsiteX90" fmla="*/ 4910 w 10000"/>
                <a:gd name="connsiteY90" fmla="*/ 18 h 10000"/>
                <a:gd name="connsiteX91" fmla="*/ 4946 w 10000"/>
                <a:gd name="connsiteY91" fmla="*/ 0 h 10000"/>
                <a:gd name="connsiteX92" fmla="*/ 4982 w 10000"/>
                <a:gd name="connsiteY92" fmla="*/ 18 h 10000"/>
                <a:gd name="connsiteX93" fmla="*/ 5009 w 10000"/>
                <a:gd name="connsiteY93" fmla="*/ 77 h 10000"/>
                <a:gd name="connsiteX94" fmla="*/ 5031 w 10000"/>
                <a:gd name="connsiteY94" fmla="*/ 148 h 10000"/>
                <a:gd name="connsiteX95" fmla="*/ 5054 w 10000"/>
                <a:gd name="connsiteY95" fmla="*/ 219 h 10000"/>
                <a:gd name="connsiteX96" fmla="*/ 6135 w 10000"/>
                <a:gd name="connsiteY96" fmla="*/ 219 h 10000"/>
                <a:gd name="connsiteX97" fmla="*/ 6135 w 10000"/>
                <a:gd name="connsiteY97" fmla="*/ 432 h 10000"/>
                <a:gd name="connsiteX98" fmla="*/ 5076 w 10000"/>
                <a:gd name="connsiteY98" fmla="*/ 432 h 10000"/>
                <a:gd name="connsiteX99" fmla="*/ 5085 w 10000"/>
                <a:gd name="connsiteY99" fmla="*/ 480 h 10000"/>
                <a:gd name="connsiteX100" fmla="*/ 5099 w 10000"/>
                <a:gd name="connsiteY100" fmla="*/ 527 h 10000"/>
                <a:gd name="connsiteX101" fmla="*/ 5112 w 10000"/>
                <a:gd name="connsiteY101" fmla="*/ 586 h 10000"/>
                <a:gd name="connsiteX102" fmla="*/ 5126 w 10000"/>
                <a:gd name="connsiteY102" fmla="*/ 639 h 10000"/>
                <a:gd name="connsiteX103" fmla="*/ 5152 w 10000"/>
                <a:gd name="connsiteY103" fmla="*/ 639 h 10000"/>
                <a:gd name="connsiteX104" fmla="*/ 5188 w 10000"/>
                <a:gd name="connsiteY104" fmla="*/ 645 h 10000"/>
                <a:gd name="connsiteX105" fmla="*/ 5224 w 10000"/>
                <a:gd name="connsiteY105" fmla="*/ 663 h 10000"/>
                <a:gd name="connsiteX106" fmla="*/ 5260 w 10000"/>
                <a:gd name="connsiteY106" fmla="*/ 675 h 10000"/>
                <a:gd name="connsiteX107" fmla="*/ 5296 w 10000"/>
                <a:gd name="connsiteY107" fmla="*/ 687 h 10000"/>
                <a:gd name="connsiteX108" fmla="*/ 5332 w 10000"/>
                <a:gd name="connsiteY108" fmla="*/ 716 h 10000"/>
                <a:gd name="connsiteX109" fmla="*/ 5363 w 10000"/>
                <a:gd name="connsiteY109" fmla="*/ 734 h 10000"/>
                <a:gd name="connsiteX110" fmla="*/ 5390 w 10000"/>
                <a:gd name="connsiteY110" fmla="*/ 770 h 10000"/>
                <a:gd name="connsiteX111" fmla="*/ 5413 w 10000"/>
                <a:gd name="connsiteY111" fmla="*/ 941 h 10000"/>
                <a:gd name="connsiteX112" fmla="*/ 5435 w 10000"/>
                <a:gd name="connsiteY112" fmla="*/ 1297 h 10000"/>
                <a:gd name="connsiteX113" fmla="*/ 5462 w 10000"/>
                <a:gd name="connsiteY113" fmla="*/ 1794 h 10000"/>
                <a:gd name="connsiteX114" fmla="*/ 5489 w 10000"/>
                <a:gd name="connsiteY114" fmla="*/ 2404 h 10000"/>
                <a:gd name="connsiteX115" fmla="*/ 9928 w 10000"/>
                <a:gd name="connsiteY115" fmla="*/ 2416 h 10000"/>
                <a:gd name="connsiteX116" fmla="*/ 10000 w 10000"/>
                <a:gd name="connsiteY116" fmla="*/ 3410 h 10000"/>
                <a:gd name="connsiteX117" fmla="*/ 9978 w 10000"/>
                <a:gd name="connsiteY117" fmla="*/ 3529 h 10000"/>
                <a:gd name="connsiteX118" fmla="*/ 9946 w 10000"/>
                <a:gd name="connsiteY118" fmla="*/ 3623 h 10000"/>
                <a:gd name="connsiteX119" fmla="*/ 9901 w 10000"/>
                <a:gd name="connsiteY119" fmla="*/ 3694 h 10000"/>
                <a:gd name="connsiteX120" fmla="*/ 9852 w 10000"/>
                <a:gd name="connsiteY120" fmla="*/ 3760 h 10000"/>
                <a:gd name="connsiteX121" fmla="*/ 9798 w 10000"/>
                <a:gd name="connsiteY121" fmla="*/ 3807 h 10000"/>
                <a:gd name="connsiteX122" fmla="*/ 9753 w 10000"/>
                <a:gd name="connsiteY122" fmla="*/ 3843 h 10000"/>
                <a:gd name="connsiteX123" fmla="*/ 9722 w 10000"/>
                <a:gd name="connsiteY123" fmla="*/ 3860 h 10000"/>
                <a:gd name="connsiteX124" fmla="*/ 9709 w 10000"/>
                <a:gd name="connsiteY124"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7511 w 10000"/>
                <a:gd name="connsiteY16" fmla="*/ 4494 h 10000"/>
                <a:gd name="connsiteX17" fmla="*/ 5435 w 10000"/>
                <a:gd name="connsiteY17" fmla="*/ 4494 h 10000"/>
                <a:gd name="connsiteX18" fmla="*/ 5422 w 10000"/>
                <a:gd name="connsiteY18" fmla="*/ 4494 h 10000"/>
                <a:gd name="connsiteX19" fmla="*/ 5152 w 10000"/>
                <a:gd name="connsiteY19" fmla="*/ 7620 h 10000"/>
                <a:gd name="connsiteX20" fmla="*/ 6516 w 10000"/>
                <a:gd name="connsiteY20" fmla="*/ 7999 h 10000"/>
                <a:gd name="connsiteX21" fmla="*/ 6565 w 10000"/>
                <a:gd name="connsiteY21" fmla="*/ 8034 h 10000"/>
                <a:gd name="connsiteX22" fmla="*/ 6601 w 10000"/>
                <a:gd name="connsiteY22" fmla="*/ 8105 h 10000"/>
                <a:gd name="connsiteX23" fmla="*/ 6623 w 10000"/>
                <a:gd name="connsiteY23" fmla="*/ 8200 h 10000"/>
                <a:gd name="connsiteX24" fmla="*/ 6632 w 10000"/>
                <a:gd name="connsiteY24" fmla="*/ 8307 h 10000"/>
                <a:gd name="connsiteX25" fmla="*/ 6543 w 10000"/>
                <a:gd name="connsiteY25" fmla="*/ 9053 h 10000"/>
                <a:gd name="connsiteX26" fmla="*/ 5291 w 10000"/>
                <a:gd name="connsiteY26" fmla="*/ 9153 h 10000"/>
                <a:gd name="connsiteX27" fmla="*/ 5099 w 10000"/>
                <a:gd name="connsiteY27" fmla="*/ 8620 h 10000"/>
                <a:gd name="connsiteX28" fmla="*/ 5099 w 10000"/>
                <a:gd name="connsiteY28" fmla="*/ 8686 h 10000"/>
                <a:gd name="connsiteX29" fmla="*/ 5090 w 10000"/>
                <a:gd name="connsiteY29" fmla="*/ 8840 h 10000"/>
                <a:gd name="connsiteX30" fmla="*/ 5081 w 10000"/>
                <a:gd name="connsiteY30" fmla="*/ 9059 h 10000"/>
                <a:gd name="connsiteX31" fmla="*/ 5063 w 10000"/>
                <a:gd name="connsiteY31" fmla="*/ 9307 h 10000"/>
                <a:gd name="connsiteX32" fmla="*/ 5040 w 10000"/>
                <a:gd name="connsiteY32" fmla="*/ 9568 h 10000"/>
                <a:gd name="connsiteX33" fmla="*/ 5013 w 10000"/>
                <a:gd name="connsiteY33" fmla="*/ 9787 h 10000"/>
                <a:gd name="connsiteX34" fmla="*/ 4978 w 10000"/>
                <a:gd name="connsiteY34" fmla="*/ 9947 h 10000"/>
                <a:gd name="connsiteX35" fmla="*/ 4928 w 10000"/>
                <a:gd name="connsiteY35" fmla="*/ 10000 h 10000"/>
                <a:gd name="connsiteX36" fmla="*/ 4852 w 10000"/>
                <a:gd name="connsiteY36" fmla="*/ 9781 h 10000"/>
                <a:gd name="connsiteX37" fmla="*/ 4816 w 10000"/>
                <a:gd name="connsiteY37" fmla="*/ 9307 h 10000"/>
                <a:gd name="connsiteX38" fmla="*/ 4803 w 10000"/>
                <a:gd name="connsiteY38" fmla="*/ 8834 h 10000"/>
                <a:gd name="connsiteX39" fmla="*/ 4794 w 10000"/>
                <a:gd name="connsiteY39" fmla="*/ 8620 h 10000"/>
                <a:gd name="connsiteX40" fmla="*/ 4601 w 10000"/>
                <a:gd name="connsiteY40" fmla="*/ 9153 h 10000"/>
                <a:gd name="connsiteX41" fmla="*/ 3368 w 10000"/>
                <a:gd name="connsiteY41" fmla="*/ 9053 h 10000"/>
                <a:gd name="connsiteX42" fmla="*/ 3260 w 10000"/>
                <a:gd name="connsiteY42" fmla="*/ 8307 h 10000"/>
                <a:gd name="connsiteX43" fmla="*/ 3265 w 10000"/>
                <a:gd name="connsiteY43" fmla="*/ 8200 h 10000"/>
                <a:gd name="connsiteX44" fmla="*/ 3291 w 10000"/>
                <a:gd name="connsiteY44" fmla="*/ 8105 h 10000"/>
                <a:gd name="connsiteX45" fmla="*/ 3323 w 10000"/>
                <a:gd name="connsiteY45" fmla="*/ 8034 h 10000"/>
                <a:gd name="connsiteX46" fmla="*/ 3368 w 10000"/>
                <a:gd name="connsiteY46" fmla="*/ 7999 h 10000"/>
                <a:gd name="connsiteX47" fmla="*/ 4740 w 10000"/>
                <a:gd name="connsiteY47" fmla="*/ 7620 h 10000"/>
                <a:gd name="connsiteX48" fmla="*/ 4475 w 10000"/>
                <a:gd name="connsiteY48" fmla="*/ 4494 h 10000"/>
                <a:gd name="connsiteX49" fmla="*/ 511 w 10000"/>
                <a:gd name="connsiteY49" fmla="*/ 4044 h 10000"/>
                <a:gd name="connsiteX50" fmla="*/ 502 w 10000"/>
                <a:gd name="connsiteY50" fmla="*/ 4044 h 10000"/>
                <a:gd name="connsiteX51" fmla="*/ 471 w 10000"/>
                <a:gd name="connsiteY51" fmla="*/ 4032 h 10000"/>
                <a:gd name="connsiteX52" fmla="*/ 430 w 10000"/>
                <a:gd name="connsiteY52" fmla="*/ 4020 h 10000"/>
                <a:gd name="connsiteX53" fmla="*/ 386 w 10000"/>
                <a:gd name="connsiteY53" fmla="*/ 3996 h 10000"/>
                <a:gd name="connsiteX54" fmla="*/ 341 w 10000"/>
                <a:gd name="connsiteY54" fmla="*/ 3985 h 10000"/>
                <a:gd name="connsiteX55" fmla="*/ 300 w 10000"/>
                <a:gd name="connsiteY55" fmla="*/ 3967 h 10000"/>
                <a:gd name="connsiteX56" fmla="*/ 269 w 10000"/>
                <a:gd name="connsiteY56" fmla="*/ 3955 h 10000"/>
                <a:gd name="connsiteX57" fmla="*/ 260 w 10000"/>
                <a:gd name="connsiteY57" fmla="*/ 3955 h 10000"/>
                <a:gd name="connsiteX58" fmla="*/ 179 w 10000"/>
                <a:gd name="connsiteY58" fmla="*/ 3914 h 10000"/>
                <a:gd name="connsiteX59" fmla="*/ 126 w 10000"/>
                <a:gd name="connsiteY59" fmla="*/ 3860 h 10000"/>
                <a:gd name="connsiteX60" fmla="*/ 76 w 10000"/>
                <a:gd name="connsiteY60" fmla="*/ 3813 h 10000"/>
                <a:gd name="connsiteX61" fmla="*/ 54 w 10000"/>
                <a:gd name="connsiteY61" fmla="*/ 3760 h 10000"/>
                <a:gd name="connsiteX62" fmla="*/ 31 w 10000"/>
                <a:gd name="connsiteY62" fmla="*/ 3718 h 10000"/>
                <a:gd name="connsiteX63" fmla="*/ 22 w 10000"/>
                <a:gd name="connsiteY63" fmla="*/ 3677 h 10000"/>
                <a:gd name="connsiteX64" fmla="*/ 13 w 10000"/>
                <a:gd name="connsiteY64" fmla="*/ 3647 h 10000"/>
                <a:gd name="connsiteX65" fmla="*/ 13 w 10000"/>
                <a:gd name="connsiteY65" fmla="*/ 3641 h 10000"/>
                <a:gd name="connsiteX66" fmla="*/ 0 w 10000"/>
                <a:gd name="connsiteY66" fmla="*/ 2351 h 10000"/>
                <a:gd name="connsiteX67" fmla="*/ 4408 w 10000"/>
                <a:gd name="connsiteY67" fmla="*/ 2345 h 10000"/>
                <a:gd name="connsiteX68" fmla="*/ 4439 w 10000"/>
                <a:gd name="connsiteY68" fmla="*/ 1764 h 10000"/>
                <a:gd name="connsiteX69" fmla="*/ 4466 w 10000"/>
                <a:gd name="connsiteY69" fmla="*/ 1291 h 10000"/>
                <a:gd name="connsiteX70" fmla="*/ 4484 w 10000"/>
                <a:gd name="connsiteY70" fmla="*/ 941 h 10000"/>
                <a:gd name="connsiteX71" fmla="*/ 4516 w 10000"/>
                <a:gd name="connsiteY71" fmla="*/ 770 h 10000"/>
                <a:gd name="connsiteX72" fmla="*/ 4538 w 10000"/>
                <a:gd name="connsiteY72" fmla="*/ 734 h 10000"/>
                <a:gd name="connsiteX73" fmla="*/ 4565 w 10000"/>
                <a:gd name="connsiteY73" fmla="*/ 716 h 10000"/>
                <a:gd name="connsiteX74" fmla="*/ 4596 w 10000"/>
                <a:gd name="connsiteY74" fmla="*/ 687 h 10000"/>
                <a:gd name="connsiteX75" fmla="*/ 4632 w 10000"/>
                <a:gd name="connsiteY75" fmla="*/ 675 h 10000"/>
                <a:gd name="connsiteX76" fmla="*/ 4668 w 10000"/>
                <a:gd name="connsiteY76" fmla="*/ 663 h 10000"/>
                <a:gd name="connsiteX77" fmla="*/ 4704 w 10000"/>
                <a:gd name="connsiteY77" fmla="*/ 645 h 10000"/>
                <a:gd name="connsiteX78" fmla="*/ 4740 w 10000"/>
                <a:gd name="connsiteY78" fmla="*/ 639 h 10000"/>
                <a:gd name="connsiteX79" fmla="*/ 4767 w 10000"/>
                <a:gd name="connsiteY79" fmla="*/ 639 h 10000"/>
                <a:gd name="connsiteX80" fmla="*/ 4780 w 10000"/>
                <a:gd name="connsiteY80" fmla="*/ 586 h 10000"/>
                <a:gd name="connsiteX81" fmla="*/ 4789 w 10000"/>
                <a:gd name="connsiteY81" fmla="*/ 527 h 10000"/>
                <a:gd name="connsiteX82" fmla="*/ 4807 w 10000"/>
                <a:gd name="connsiteY82" fmla="*/ 480 h 10000"/>
                <a:gd name="connsiteX83" fmla="*/ 4816 w 10000"/>
                <a:gd name="connsiteY83" fmla="*/ 432 h 10000"/>
                <a:gd name="connsiteX84" fmla="*/ 3789 w 10000"/>
                <a:gd name="connsiteY84" fmla="*/ 432 h 10000"/>
                <a:gd name="connsiteX85" fmla="*/ 3789 w 10000"/>
                <a:gd name="connsiteY85" fmla="*/ 219 h 10000"/>
                <a:gd name="connsiteX86" fmla="*/ 4834 w 10000"/>
                <a:gd name="connsiteY86" fmla="*/ 219 h 10000"/>
                <a:gd name="connsiteX87" fmla="*/ 4857 w 10000"/>
                <a:gd name="connsiteY87" fmla="*/ 148 h 10000"/>
                <a:gd name="connsiteX88" fmla="*/ 4883 w 10000"/>
                <a:gd name="connsiteY88" fmla="*/ 77 h 10000"/>
                <a:gd name="connsiteX89" fmla="*/ 4910 w 10000"/>
                <a:gd name="connsiteY89" fmla="*/ 18 h 10000"/>
                <a:gd name="connsiteX90" fmla="*/ 4946 w 10000"/>
                <a:gd name="connsiteY90" fmla="*/ 0 h 10000"/>
                <a:gd name="connsiteX91" fmla="*/ 4982 w 10000"/>
                <a:gd name="connsiteY91" fmla="*/ 18 h 10000"/>
                <a:gd name="connsiteX92" fmla="*/ 5009 w 10000"/>
                <a:gd name="connsiteY92" fmla="*/ 77 h 10000"/>
                <a:gd name="connsiteX93" fmla="*/ 5031 w 10000"/>
                <a:gd name="connsiteY93" fmla="*/ 148 h 10000"/>
                <a:gd name="connsiteX94" fmla="*/ 5054 w 10000"/>
                <a:gd name="connsiteY94" fmla="*/ 219 h 10000"/>
                <a:gd name="connsiteX95" fmla="*/ 6135 w 10000"/>
                <a:gd name="connsiteY95" fmla="*/ 219 h 10000"/>
                <a:gd name="connsiteX96" fmla="*/ 6135 w 10000"/>
                <a:gd name="connsiteY96" fmla="*/ 432 h 10000"/>
                <a:gd name="connsiteX97" fmla="*/ 5076 w 10000"/>
                <a:gd name="connsiteY97" fmla="*/ 432 h 10000"/>
                <a:gd name="connsiteX98" fmla="*/ 5085 w 10000"/>
                <a:gd name="connsiteY98" fmla="*/ 480 h 10000"/>
                <a:gd name="connsiteX99" fmla="*/ 5099 w 10000"/>
                <a:gd name="connsiteY99" fmla="*/ 527 h 10000"/>
                <a:gd name="connsiteX100" fmla="*/ 5112 w 10000"/>
                <a:gd name="connsiteY100" fmla="*/ 586 h 10000"/>
                <a:gd name="connsiteX101" fmla="*/ 5126 w 10000"/>
                <a:gd name="connsiteY101" fmla="*/ 639 h 10000"/>
                <a:gd name="connsiteX102" fmla="*/ 5152 w 10000"/>
                <a:gd name="connsiteY102" fmla="*/ 639 h 10000"/>
                <a:gd name="connsiteX103" fmla="*/ 5188 w 10000"/>
                <a:gd name="connsiteY103" fmla="*/ 645 h 10000"/>
                <a:gd name="connsiteX104" fmla="*/ 5224 w 10000"/>
                <a:gd name="connsiteY104" fmla="*/ 663 h 10000"/>
                <a:gd name="connsiteX105" fmla="*/ 5260 w 10000"/>
                <a:gd name="connsiteY105" fmla="*/ 675 h 10000"/>
                <a:gd name="connsiteX106" fmla="*/ 5296 w 10000"/>
                <a:gd name="connsiteY106" fmla="*/ 687 h 10000"/>
                <a:gd name="connsiteX107" fmla="*/ 5332 w 10000"/>
                <a:gd name="connsiteY107" fmla="*/ 716 h 10000"/>
                <a:gd name="connsiteX108" fmla="*/ 5363 w 10000"/>
                <a:gd name="connsiteY108" fmla="*/ 734 h 10000"/>
                <a:gd name="connsiteX109" fmla="*/ 5390 w 10000"/>
                <a:gd name="connsiteY109" fmla="*/ 770 h 10000"/>
                <a:gd name="connsiteX110" fmla="*/ 5413 w 10000"/>
                <a:gd name="connsiteY110" fmla="*/ 941 h 10000"/>
                <a:gd name="connsiteX111" fmla="*/ 5435 w 10000"/>
                <a:gd name="connsiteY111" fmla="*/ 1297 h 10000"/>
                <a:gd name="connsiteX112" fmla="*/ 5462 w 10000"/>
                <a:gd name="connsiteY112" fmla="*/ 1794 h 10000"/>
                <a:gd name="connsiteX113" fmla="*/ 5489 w 10000"/>
                <a:gd name="connsiteY113" fmla="*/ 2404 h 10000"/>
                <a:gd name="connsiteX114" fmla="*/ 9928 w 10000"/>
                <a:gd name="connsiteY114" fmla="*/ 2416 h 10000"/>
                <a:gd name="connsiteX115" fmla="*/ 10000 w 10000"/>
                <a:gd name="connsiteY115" fmla="*/ 3410 h 10000"/>
                <a:gd name="connsiteX116" fmla="*/ 9978 w 10000"/>
                <a:gd name="connsiteY116" fmla="*/ 3529 h 10000"/>
                <a:gd name="connsiteX117" fmla="*/ 9946 w 10000"/>
                <a:gd name="connsiteY117" fmla="*/ 3623 h 10000"/>
                <a:gd name="connsiteX118" fmla="*/ 9901 w 10000"/>
                <a:gd name="connsiteY118" fmla="*/ 3694 h 10000"/>
                <a:gd name="connsiteX119" fmla="*/ 9852 w 10000"/>
                <a:gd name="connsiteY119" fmla="*/ 3760 h 10000"/>
                <a:gd name="connsiteX120" fmla="*/ 9798 w 10000"/>
                <a:gd name="connsiteY120" fmla="*/ 3807 h 10000"/>
                <a:gd name="connsiteX121" fmla="*/ 9753 w 10000"/>
                <a:gd name="connsiteY121" fmla="*/ 3843 h 10000"/>
                <a:gd name="connsiteX122" fmla="*/ 9722 w 10000"/>
                <a:gd name="connsiteY122" fmla="*/ 3860 h 10000"/>
                <a:gd name="connsiteX123" fmla="*/ 9709 w 10000"/>
                <a:gd name="connsiteY123"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7601 w 10000"/>
                <a:gd name="connsiteY15" fmla="*/ 4482 h 10000"/>
                <a:gd name="connsiteX16" fmla="*/ 5435 w 10000"/>
                <a:gd name="connsiteY16" fmla="*/ 4494 h 10000"/>
                <a:gd name="connsiteX17" fmla="*/ 5422 w 10000"/>
                <a:gd name="connsiteY17" fmla="*/ 4494 h 10000"/>
                <a:gd name="connsiteX18" fmla="*/ 5152 w 10000"/>
                <a:gd name="connsiteY18" fmla="*/ 7620 h 10000"/>
                <a:gd name="connsiteX19" fmla="*/ 6516 w 10000"/>
                <a:gd name="connsiteY19" fmla="*/ 7999 h 10000"/>
                <a:gd name="connsiteX20" fmla="*/ 6565 w 10000"/>
                <a:gd name="connsiteY20" fmla="*/ 8034 h 10000"/>
                <a:gd name="connsiteX21" fmla="*/ 6601 w 10000"/>
                <a:gd name="connsiteY21" fmla="*/ 8105 h 10000"/>
                <a:gd name="connsiteX22" fmla="*/ 6623 w 10000"/>
                <a:gd name="connsiteY22" fmla="*/ 8200 h 10000"/>
                <a:gd name="connsiteX23" fmla="*/ 6632 w 10000"/>
                <a:gd name="connsiteY23" fmla="*/ 8307 h 10000"/>
                <a:gd name="connsiteX24" fmla="*/ 6543 w 10000"/>
                <a:gd name="connsiteY24" fmla="*/ 9053 h 10000"/>
                <a:gd name="connsiteX25" fmla="*/ 5291 w 10000"/>
                <a:gd name="connsiteY25" fmla="*/ 9153 h 10000"/>
                <a:gd name="connsiteX26" fmla="*/ 5099 w 10000"/>
                <a:gd name="connsiteY26" fmla="*/ 8620 h 10000"/>
                <a:gd name="connsiteX27" fmla="*/ 5099 w 10000"/>
                <a:gd name="connsiteY27" fmla="*/ 8686 h 10000"/>
                <a:gd name="connsiteX28" fmla="*/ 5090 w 10000"/>
                <a:gd name="connsiteY28" fmla="*/ 8840 h 10000"/>
                <a:gd name="connsiteX29" fmla="*/ 5081 w 10000"/>
                <a:gd name="connsiteY29" fmla="*/ 9059 h 10000"/>
                <a:gd name="connsiteX30" fmla="*/ 5063 w 10000"/>
                <a:gd name="connsiteY30" fmla="*/ 9307 h 10000"/>
                <a:gd name="connsiteX31" fmla="*/ 5040 w 10000"/>
                <a:gd name="connsiteY31" fmla="*/ 9568 h 10000"/>
                <a:gd name="connsiteX32" fmla="*/ 5013 w 10000"/>
                <a:gd name="connsiteY32" fmla="*/ 9787 h 10000"/>
                <a:gd name="connsiteX33" fmla="*/ 4978 w 10000"/>
                <a:gd name="connsiteY33" fmla="*/ 9947 h 10000"/>
                <a:gd name="connsiteX34" fmla="*/ 4928 w 10000"/>
                <a:gd name="connsiteY34" fmla="*/ 10000 h 10000"/>
                <a:gd name="connsiteX35" fmla="*/ 4852 w 10000"/>
                <a:gd name="connsiteY35" fmla="*/ 9781 h 10000"/>
                <a:gd name="connsiteX36" fmla="*/ 4816 w 10000"/>
                <a:gd name="connsiteY36" fmla="*/ 9307 h 10000"/>
                <a:gd name="connsiteX37" fmla="*/ 4803 w 10000"/>
                <a:gd name="connsiteY37" fmla="*/ 8834 h 10000"/>
                <a:gd name="connsiteX38" fmla="*/ 4794 w 10000"/>
                <a:gd name="connsiteY38" fmla="*/ 8620 h 10000"/>
                <a:gd name="connsiteX39" fmla="*/ 4601 w 10000"/>
                <a:gd name="connsiteY39" fmla="*/ 9153 h 10000"/>
                <a:gd name="connsiteX40" fmla="*/ 3368 w 10000"/>
                <a:gd name="connsiteY40" fmla="*/ 9053 h 10000"/>
                <a:gd name="connsiteX41" fmla="*/ 3260 w 10000"/>
                <a:gd name="connsiteY41" fmla="*/ 8307 h 10000"/>
                <a:gd name="connsiteX42" fmla="*/ 3265 w 10000"/>
                <a:gd name="connsiteY42" fmla="*/ 8200 h 10000"/>
                <a:gd name="connsiteX43" fmla="*/ 3291 w 10000"/>
                <a:gd name="connsiteY43" fmla="*/ 8105 h 10000"/>
                <a:gd name="connsiteX44" fmla="*/ 3323 w 10000"/>
                <a:gd name="connsiteY44" fmla="*/ 8034 h 10000"/>
                <a:gd name="connsiteX45" fmla="*/ 3368 w 10000"/>
                <a:gd name="connsiteY45" fmla="*/ 7999 h 10000"/>
                <a:gd name="connsiteX46" fmla="*/ 4740 w 10000"/>
                <a:gd name="connsiteY46" fmla="*/ 7620 h 10000"/>
                <a:gd name="connsiteX47" fmla="*/ 4475 w 10000"/>
                <a:gd name="connsiteY47" fmla="*/ 4494 h 10000"/>
                <a:gd name="connsiteX48" fmla="*/ 511 w 10000"/>
                <a:gd name="connsiteY48" fmla="*/ 4044 h 10000"/>
                <a:gd name="connsiteX49" fmla="*/ 502 w 10000"/>
                <a:gd name="connsiteY49" fmla="*/ 4044 h 10000"/>
                <a:gd name="connsiteX50" fmla="*/ 471 w 10000"/>
                <a:gd name="connsiteY50" fmla="*/ 4032 h 10000"/>
                <a:gd name="connsiteX51" fmla="*/ 430 w 10000"/>
                <a:gd name="connsiteY51" fmla="*/ 4020 h 10000"/>
                <a:gd name="connsiteX52" fmla="*/ 386 w 10000"/>
                <a:gd name="connsiteY52" fmla="*/ 3996 h 10000"/>
                <a:gd name="connsiteX53" fmla="*/ 341 w 10000"/>
                <a:gd name="connsiteY53" fmla="*/ 3985 h 10000"/>
                <a:gd name="connsiteX54" fmla="*/ 300 w 10000"/>
                <a:gd name="connsiteY54" fmla="*/ 3967 h 10000"/>
                <a:gd name="connsiteX55" fmla="*/ 269 w 10000"/>
                <a:gd name="connsiteY55" fmla="*/ 3955 h 10000"/>
                <a:gd name="connsiteX56" fmla="*/ 260 w 10000"/>
                <a:gd name="connsiteY56" fmla="*/ 3955 h 10000"/>
                <a:gd name="connsiteX57" fmla="*/ 179 w 10000"/>
                <a:gd name="connsiteY57" fmla="*/ 3914 h 10000"/>
                <a:gd name="connsiteX58" fmla="*/ 126 w 10000"/>
                <a:gd name="connsiteY58" fmla="*/ 3860 h 10000"/>
                <a:gd name="connsiteX59" fmla="*/ 76 w 10000"/>
                <a:gd name="connsiteY59" fmla="*/ 3813 h 10000"/>
                <a:gd name="connsiteX60" fmla="*/ 54 w 10000"/>
                <a:gd name="connsiteY60" fmla="*/ 3760 h 10000"/>
                <a:gd name="connsiteX61" fmla="*/ 31 w 10000"/>
                <a:gd name="connsiteY61" fmla="*/ 3718 h 10000"/>
                <a:gd name="connsiteX62" fmla="*/ 22 w 10000"/>
                <a:gd name="connsiteY62" fmla="*/ 3677 h 10000"/>
                <a:gd name="connsiteX63" fmla="*/ 13 w 10000"/>
                <a:gd name="connsiteY63" fmla="*/ 3647 h 10000"/>
                <a:gd name="connsiteX64" fmla="*/ 13 w 10000"/>
                <a:gd name="connsiteY64" fmla="*/ 3641 h 10000"/>
                <a:gd name="connsiteX65" fmla="*/ 0 w 10000"/>
                <a:gd name="connsiteY65" fmla="*/ 2351 h 10000"/>
                <a:gd name="connsiteX66" fmla="*/ 4408 w 10000"/>
                <a:gd name="connsiteY66" fmla="*/ 2345 h 10000"/>
                <a:gd name="connsiteX67" fmla="*/ 4439 w 10000"/>
                <a:gd name="connsiteY67" fmla="*/ 1764 h 10000"/>
                <a:gd name="connsiteX68" fmla="*/ 4466 w 10000"/>
                <a:gd name="connsiteY68" fmla="*/ 1291 h 10000"/>
                <a:gd name="connsiteX69" fmla="*/ 4484 w 10000"/>
                <a:gd name="connsiteY69" fmla="*/ 941 h 10000"/>
                <a:gd name="connsiteX70" fmla="*/ 4516 w 10000"/>
                <a:gd name="connsiteY70" fmla="*/ 770 h 10000"/>
                <a:gd name="connsiteX71" fmla="*/ 4538 w 10000"/>
                <a:gd name="connsiteY71" fmla="*/ 734 h 10000"/>
                <a:gd name="connsiteX72" fmla="*/ 4565 w 10000"/>
                <a:gd name="connsiteY72" fmla="*/ 716 h 10000"/>
                <a:gd name="connsiteX73" fmla="*/ 4596 w 10000"/>
                <a:gd name="connsiteY73" fmla="*/ 687 h 10000"/>
                <a:gd name="connsiteX74" fmla="*/ 4632 w 10000"/>
                <a:gd name="connsiteY74" fmla="*/ 675 h 10000"/>
                <a:gd name="connsiteX75" fmla="*/ 4668 w 10000"/>
                <a:gd name="connsiteY75" fmla="*/ 663 h 10000"/>
                <a:gd name="connsiteX76" fmla="*/ 4704 w 10000"/>
                <a:gd name="connsiteY76" fmla="*/ 645 h 10000"/>
                <a:gd name="connsiteX77" fmla="*/ 4740 w 10000"/>
                <a:gd name="connsiteY77" fmla="*/ 639 h 10000"/>
                <a:gd name="connsiteX78" fmla="*/ 4767 w 10000"/>
                <a:gd name="connsiteY78" fmla="*/ 639 h 10000"/>
                <a:gd name="connsiteX79" fmla="*/ 4780 w 10000"/>
                <a:gd name="connsiteY79" fmla="*/ 586 h 10000"/>
                <a:gd name="connsiteX80" fmla="*/ 4789 w 10000"/>
                <a:gd name="connsiteY80" fmla="*/ 527 h 10000"/>
                <a:gd name="connsiteX81" fmla="*/ 4807 w 10000"/>
                <a:gd name="connsiteY81" fmla="*/ 480 h 10000"/>
                <a:gd name="connsiteX82" fmla="*/ 4816 w 10000"/>
                <a:gd name="connsiteY82" fmla="*/ 432 h 10000"/>
                <a:gd name="connsiteX83" fmla="*/ 3789 w 10000"/>
                <a:gd name="connsiteY83" fmla="*/ 432 h 10000"/>
                <a:gd name="connsiteX84" fmla="*/ 3789 w 10000"/>
                <a:gd name="connsiteY84" fmla="*/ 219 h 10000"/>
                <a:gd name="connsiteX85" fmla="*/ 4834 w 10000"/>
                <a:gd name="connsiteY85" fmla="*/ 219 h 10000"/>
                <a:gd name="connsiteX86" fmla="*/ 4857 w 10000"/>
                <a:gd name="connsiteY86" fmla="*/ 148 h 10000"/>
                <a:gd name="connsiteX87" fmla="*/ 4883 w 10000"/>
                <a:gd name="connsiteY87" fmla="*/ 77 h 10000"/>
                <a:gd name="connsiteX88" fmla="*/ 4910 w 10000"/>
                <a:gd name="connsiteY88" fmla="*/ 18 h 10000"/>
                <a:gd name="connsiteX89" fmla="*/ 4946 w 10000"/>
                <a:gd name="connsiteY89" fmla="*/ 0 h 10000"/>
                <a:gd name="connsiteX90" fmla="*/ 4982 w 10000"/>
                <a:gd name="connsiteY90" fmla="*/ 18 h 10000"/>
                <a:gd name="connsiteX91" fmla="*/ 5009 w 10000"/>
                <a:gd name="connsiteY91" fmla="*/ 77 h 10000"/>
                <a:gd name="connsiteX92" fmla="*/ 5031 w 10000"/>
                <a:gd name="connsiteY92" fmla="*/ 148 h 10000"/>
                <a:gd name="connsiteX93" fmla="*/ 5054 w 10000"/>
                <a:gd name="connsiteY93" fmla="*/ 219 h 10000"/>
                <a:gd name="connsiteX94" fmla="*/ 6135 w 10000"/>
                <a:gd name="connsiteY94" fmla="*/ 219 h 10000"/>
                <a:gd name="connsiteX95" fmla="*/ 6135 w 10000"/>
                <a:gd name="connsiteY95" fmla="*/ 432 h 10000"/>
                <a:gd name="connsiteX96" fmla="*/ 5076 w 10000"/>
                <a:gd name="connsiteY96" fmla="*/ 432 h 10000"/>
                <a:gd name="connsiteX97" fmla="*/ 5085 w 10000"/>
                <a:gd name="connsiteY97" fmla="*/ 480 h 10000"/>
                <a:gd name="connsiteX98" fmla="*/ 5099 w 10000"/>
                <a:gd name="connsiteY98" fmla="*/ 527 h 10000"/>
                <a:gd name="connsiteX99" fmla="*/ 5112 w 10000"/>
                <a:gd name="connsiteY99" fmla="*/ 586 h 10000"/>
                <a:gd name="connsiteX100" fmla="*/ 5126 w 10000"/>
                <a:gd name="connsiteY100" fmla="*/ 639 h 10000"/>
                <a:gd name="connsiteX101" fmla="*/ 5152 w 10000"/>
                <a:gd name="connsiteY101" fmla="*/ 639 h 10000"/>
                <a:gd name="connsiteX102" fmla="*/ 5188 w 10000"/>
                <a:gd name="connsiteY102" fmla="*/ 645 h 10000"/>
                <a:gd name="connsiteX103" fmla="*/ 5224 w 10000"/>
                <a:gd name="connsiteY103" fmla="*/ 663 h 10000"/>
                <a:gd name="connsiteX104" fmla="*/ 5260 w 10000"/>
                <a:gd name="connsiteY104" fmla="*/ 675 h 10000"/>
                <a:gd name="connsiteX105" fmla="*/ 5296 w 10000"/>
                <a:gd name="connsiteY105" fmla="*/ 687 h 10000"/>
                <a:gd name="connsiteX106" fmla="*/ 5332 w 10000"/>
                <a:gd name="connsiteY106" fmla="*/ 716 h 10000"/>
                <a:gd name="connsiteX107" fmla="*/ 5363 w 10000"/>
                <a:gd name="connsiteY107" fmla="*/ 734 h 10000"/>
                <a:gd name="connsiteX108" fmla="*/ 5390 w 10000"/>
                <a:gd name="connsiteY108" fmla="*/ 770 h 10000"/>
                <a:gd name="connsiteX109" fmla="*/ 5413 w 10000"/>
                <a:gd name="connsiteY109" fmla="*/ 941 h 10000"/>
                <a:gd name="connsiteX110" fmla="*/ 5435 w 10000"/>
                <a:gd name="connsiteY110" fmla="*/ 1297 h 10000"/>
                <a:gd name="connsiteX111" fmla="*/ 5462 w 10000"/>
                <a:gd name="connsiteY111" fmla="*/ 1794 h 10000"/>
                <a:gd name="connsiteX112" fmla="*/ 5489 w 10000"/>
                <a:gd name="connsiteY112" fmla="*/ 2404 h 10000"/>
                <a:gd name="connsiteX113" fmla="*/ 9928 w 10000"/>
                <a:gd name="connsiteY113" fmla="*/ 2416 h 10000"/>
                <a:gd name="connsiteX114" fmla="*/ 10000 w 10000"/>
                <a:gd name="connsiteY114" fmla="*/ 3410 h 10000"/>
                <a:gd name="connsiteX115" fmla="*/ 9978 w 10000"/>
                <a:gd name="connsiteY115" fmla="*/ 3529 h 10000"/>
                <a:gd name="connsiteX116" fmla="*/ 9946 w 10000"/>
                <a:gd name="connsiteY116" fmla="*/ 3623 h 10000"/>
                <a:gd name="connsiteX117" fmla="*/ 9901 w 10000"/>
                <a:gd name="connsiteY117" fmla="*/ 3694 h 10000"/>
                <a:gd name="connsiteX118" fmla="*/ 9852 w 10000"/>
                <a:gd name="connsiteY118" fmla="*/ 3760 h 10000"/>
                <a:gd name="connsiteX119" fmla="*/ 9798 w 10000"/>
                <a:gd name="connsiteY119" fmla="*/ 3807 h 10000"/>
                <a:gd name="connsiteX120" fmla="*/ 9753 w 10000"/>
                <a:gd name="connsiteY120" fmla="*/ 3843 h 10000"/>
                <a:gd name="connsiteX121" fmla="*/ 9722 w 10000"/>
                <a:gd name="connsiteY121" fmla="*/ 3860 h 10000"/>
                <a:gd name="connsiteX122" fmla="*/ 9709 w 10000"/>
                <a:gd name="connsiteY122"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7700 w 10000"/>
                <a:gd name="connsiteY14" fmla="*/ 4470 h 10000"/>
                <a:gd name="connsiteX15" fmla="*/ 5435 w 10000"/>
                <a:gd name="connsiteY15" fmla="*/ 4494 h 10000"/>
                <a:gd name="connsiteX16" fmla="*/ 5422 w 10000"/>
                <a:gd name="connsiteY16" fmla="*/ 4494 h 10000"/>
                <a:gd name="connsiteX17" fmla="*/ 5152 w 10000"/>
                <a:gd name="connsiteY17" fmla="*/ 7620 h 10000"/>
                <a:gd name="connsiteX18" fmla="*/ 6516 w 10000"/>
                <a:gd name="connsiteY18" fmla="*/ 7999 h 10000"/>
                <a:gd name="connsiteX19" fmla="*/ 6565 w 10000"/>
                <a:gd name="connsiteY19" fmla="*/ 8034 h 10000"/>
                <a:gd name="connsiteX20" fmla="*/ 6601 w 10000"/>
                <a:gd name="connsiteY20" fmla="*/ 8105 h 10000"/>
                <a:gd name="connsiteX21" fmla="*/ 6623 w 10000"/>
                <a:gd name="connsiteY21" fmla="*/ 8200 h 10000"/>
                <a:gd name="connsiteX22" fmla="*/ 6632 w 10000"/>
                <a:gd name="connsiteY22" fmla="*/ 8307 h 10000"/>
                <a:gd name="connsiteX23" fmla="*/ 6543 w 10000"/>
                <a:gd name="connsiteY23" fmla="*/ 9053 h 10000"/>
                <a:gd name="connsiteX24" fmla="*/ 5291 w 10000"/>
                <a:gd name="connsiteY24" fmla="*/ 9153 h 10000"/>
                <a:gd name="connsiteX25" fmla="*/ 5099 w 10000"/>
                <a:gd name="connsiteY25" fmla="*/ 8620 h 10000"/>
                <a:gd name="connsiteX26" fmla="*/ 5099 w 10000"/>
                <a:gd name="connsiteY26" fmla="*/ 8686 h 10000"/>
                <a:gd name="connsiteX27" fmla="*/ 5090 w 10000"/>
                <a:gd name="connsiteY27" fmla="*/ 8840 h 10000"/>
                <a:gd name="connsiteX28" fmla="*/ 5081 w 10000"/>
                <a:gd name="connsiteY28" fmla="*/ 9059 h 10000"/>
                <a:gd name="connsiteX29" fmla="*/ 5063 w 10000"/>
                <a:gd name="connsiteY29" fmla="*/ 9307 h 10000"/>
                <a:gd name="connsiteX30" fmla="*/ 5040 w 10000"/>
                <a:gd name="connsiteY30" fmla="*/ 9568 h 10000"/>
                <a:gd name="connsiteX31" fmla="*/ 5013 w 10000"/>
                <a:gd name="connsiteY31" fmla="*/ 9787 h 10000"/>
                <a:gd name="connsiteX32" fmla="*/ 4978 w 10000"/>
                <a:gd name="connsiteY32" fmla="*/ 9947 h 10000"/>
                <a:gd name="connsiteX33" fmla="*/ 4928 w 10000"/>
                <a:gd name="connsiteY33" fmla="*/ 10000 h 10000"/>
                <a:gd name="connsiteX34" fmla="*/ 4852 w 10000"/>
                <a:gd name="connsiteY34" fmla="*/ 9781 h 10000"/>
                <a:gd name="connsiteX35" fmla="*/ 4816 w 10000"/>
                <a:gd name="connsiteY35" fmla="*/ 9307 h 10000"/>
                <a:gd name="connsiteX36" fmla="*/ 4803 w 10000"/>
                <a:gd name="connsiteY36" fmla="*/ 8834 h 10000"/>
                <a:gd name="connsiteX37" fmla="*/ 4794 w 10000"/>
                <a:gd name="connsiteY37" fmla="*/ 8620 h 10000"/>
                <a:gd name="connsiteX38" fmla="*/ 4601 w 10000"/>
                <a:gd name="connsiteY38" fmla="*/ 9153 h 10000"/>
                <a:gd name="connsiteX39" fmla="*/ 3368 w 10000"/>
                <a:gd name="connsiteY39" fmla="*/ 9053 h 10000"/>
                <a:gd name="connsiteX40" fmla="*/ 3260 w 10000"/>
                <a:gd name="connsiteY40" fmla="*/ 8307 h 10000"/>
                <a:gd name="connsiteX41" fmla="*/ 3265 w 10000"/>
                <a:gd name="connsiteY41" fmla="*/ 8200 h 10000"/>
                <a:gd name="connsiteX42" fmla="*/ 3291 w 10000"/>
                <a:gd name="connsiteY42" fmla="*/ 8105 h 10000"/>
                <a:gd name="connsiteX43" fmla="*/ 3323 w 10000"/>
                <a:gd name="connsiteY43" fmla="*/ 8034 h 10000"/>
                <a:gd name="connsiteX44" fmla="*/ 3368 w 10000"/>
                <a:gd name="connsiteY44" fmla="*/ 7999 h 10000"/>
                <a:gd name="connsiteX45" fmla="*/ 4740 w 10000"/>
                <a:gd name="connsiteY45" fmla="*/ 7620 h 10000"/>
                <a:gd name="connsiteX46" fmla="*/ 4475 w 10000"/>
                <a:gd name="connsiteY46" fmla="*/ 4494 h 10000"/>
                <a:gd name="connsiteX47" fmla="*/ 511 w 10000"/>
                <a:gd name="connsiteY47" fmla="*/ 4044 h 10000"/>
                <a:gd name="connsiteX48" fmla="*/ 502 w 10000"/>
                <a:gd name="connsiteY48" fmla="*/ 4044 h 10000"/>
                <a:gd name="connsiteX49" fmla="*/ 471 w 10000"/>
                <a:gd name="connsiteY49" fmla="*/ 4032 h 10000"/>
                <a:gd name="connsiteX50" fmla="*/ 430 w 10000"/>
                <a:gd name="connsiteY50" fmla="*/ 4020 h 10000"/>
                <a:gd name="connsiteX51" fmla="*/ 386 w 10000"/>
                <a:gd name="connsiteY51" fmla="*/ 3996 h 10000"/>
                <a:gd name="connsiteX52" fmla="*/ 341 w 10000"/>
                <a:gd name="connsiteY52" fmla="*/ 3985 h 10000"/>
                <a:gd name="connsiteX53" fmla="*/ 300 w 10000"/>
                <a:gd name="connsiteY53" fmla="*/ 3967 h 10000"/>
                <a:gd name="connsiteX54" fmla="*/ 269 w 10000"/>
                <a:gd name="connsiteY54" fmla="*/ 3955 h 10000"/>
                <a:gd name="connsiteX55" fmla="*/ 260 w 10000"/>
                <a:gd name="connsiteY55" fmla="*/ 3955 h 10000"/>
                <a:gd name="connsiteX56" fmla="*/ 179 w 10000"/>
                <a:gd name="connsiteY56" fmla="*/ 3914 h 10000"/>
                <a:gd name="connsiteX57" fmla="*/ 126 w 10000"/>
                <a:gd name="connsiteY57" fmla="*/ 3860 h 10000"/>
                <a:gd name="connsiteX58" fmla="*/ 76 w 10000"/>
                <a:gd name="connsiteY58" fmla="*/ 3813 h 10000"/>
                <a:gd name="connsiteX59" fmla="*/ 54 w 10000"/>
                <a:gd name="connsiteY59" fmla="*/ 3760 h 10000"/>
                <a:gd name="connsiteX60" fmla="*/ 31 w 10000"/>
                <a:gd name="connsiteY60" fmla="*/ 3718 h 10000"/>
                <a:gd name="connsiteX61" fmla="*/ 22 w 10000"/>
                <a:gd name="connsiteY61" fmla="*/ 3677 h 10000"/>
                <a:gd name="connsiteX62" fmla="*/ 13 w 10000"/>
                <a:gd name="connsiteY62" fmla="*/ 3647 h 10000"/>
                <a:gd name="connsiteX63" fmla="*/ 13 w 10000"/>
                <a:gd name="connsiteY63" fmla="*/ 3641 h 10000"/>
                <a:gd name="connsiteX64" fmla="*/ 0 w 10000"/>
                <a:gd name="connsiteY64" fmla="*/ 2351 h 10000"/>
                <a:gd name="connsiteX65" fmla="*/ 4408 w 10000"/>
                <a:gd name="connsiteY65" fmla="*/ 2345 h 10000"/>
                <a:gd name="connsiteX66" fmla="*/ 4439 w 10000"/>
                <a:gd name="connsiteY66" fmla="*/ 1764 h 10000"/>
                <a:gd name="connsiteX67" fmla="*/ 4466 w 10000"/>
                <a:gd name="connsiteY67" fmla="*/ 1291 h 10000"/>
                <a:gd name="connsiteX68" fmla="*/ 4484 w 10000"/>
                <a:gd name="connsiteY68" fmla="*/ 941 h 10000"/>
                <a:gd name="connsiteX69" fmla="*/ 4516 w 10000"/>
                <a:gd name="connsiteY69" fmla="*/ 770 h 10000"/>
                <a:gd name="connsiteX70" fmla="*/ 4538 w 10000"/>
                <a:gd name="connsiteY70" fmla="*/ 734 h 10000"/>
                <a:gd name="connsiteX71" fmla="*/ 4565 w 10000"/>
                <a:gd name="connsiteY71" fmla="*/ 716 h 10000"/>
                <a:gd name="connsiteX72" fmla="*/ 4596 w 10000"/>
                <a:gd name="connsiteY72" fmla="*/ 687 h 10000"/>
                <a:gd name="connsiteX73" fmla="*/ 4632 w 10000"/>
                <a:gd name="connsiteY73" fmla="*/ 675 h 10000"/>
                <a:gd name="connsiteX74" fmla="*/ 4668 w 10000"/>
                <a:gd name="connsiteY74" fmla="*/ 663 h 10000"/>
                <a:gd name="connsiteX75" fmla="*/ 4704 w 10000"/>
                <a:gd name="connsiteY75" fmla="*/ 645 h 10000"/>
                <a:gd name="connsiteX76" fmla="*/ 4740 w 10000"/>
                <a:gd name="connsiteY76" fmla="*/ 639 h 10000"/>
                <a:gd name="connsiteX77" fmla="*/ 4767 w 10000"/>
                <a:gd name="connsiteY77" fmla="*/ 639 h 10000"/>
                <a:gd name="connsiteX78" fmla="*/ 4780 w 10000"/>
                <a:gd name="connsiteY78" fmla="*/ 586 h 10000"/>
                <a:gd name="connsiteX79" fmla="*/ 4789 w 10000"/>
                <a:gd name="connsiteY79" fmla="*/ 527 h 10000"/>
                <a:gd name="connsiteX80" fmla="*/ 4807 w 10000"/>
                <a:gd name="connsiteY80" fmla="*/ 480 h 10000"/>
                <a:gd name="connsiteX81" fmla="*/ 4816 w 10000"/>
                <a:gd name="connsiteY81" fmla="*/ 432 h 10000"/>
                <a:gd name="connsiteX82" fmla="*/ 3789 w 10000"/>
                <a:gd name="connsiteY82" fmla="*/ 432 h 10000"/>
                <a:gd name="connsiteX83" fmla="*/ 3789 w 10000"/>
                <a:gd name="connsiteY83" fmla="*/ 219 h 10000"/>
                <a:gd name="connsiteX84" fmla="*/ 4834 w 10000"/>
                <a:gd name="connsiteY84" fmla="*/ 219 h 10000"/>
                <a:gd name="connsiteX85" fmla="*/ 4857 w 10000"/>
                <a:gd name="connsiteY85" fmla="*/ 148 h 10000"/>
                <a:gd name="connsiteX86" fmla="*/ 4883 w 10000"/>
                <a:gd name="connsiteY86" fmla="*/ 77 h 10000"/>
                <a:gd name="connsiteX87" fmla="*/ 4910 w 10000"/>
                <a:gd name="connsiteY87" fmla="*/ 18 h 10000"/>
                <a:gd name="connsiteX88" fmla="*/ 4946 w 10000"/>
                <a:gd name="connsiteY88" fmla="*/ 0 h 10000"/>
                <a:gd name="connsiteX89" fmla="*/ 4982 w 10000"/>
                <a:gd name="connsiteY89" fmla="*/ 18 h 10000"/>
                <a:gd name="connsiteX90" fmla="*/ 5009 w 10000"/>
                <a:gd name="connsiteY90" fmla="*/ 77 h 10000"/>
                <a:gd name="connsiteX91" fmla="*/ 5031 w 10000"/>
                <a:gd name="connsiteY91" fmla="*/ 148 h 10000"/>
                <a:gd name="connsiteX92" fmla="*/ 5054 w 10000"/>
                <a:gd name="connsiteY92" fmla="*/ 219 h 10000"/>
                <a:gd name="connsiteX93" fmla="*/ 6135 w 10000"/>
                <a:gd name="connsiteY93" fmla="*/ 219 h 10000"/>
                <a:gd name="connsiteX94" fmla="*/ 6135 w 10000"/>
                <a:gd name="connsiteY94" fmla="*/ 432 h 10000"/>
                <a:gd name="connsiteX95" fmla="*/ 5076 w 10000"/>
                <a:gd name="connsiteY95" fmla="*/ 432 h 10000"/>
                <a:gd name="connsiteX96" fmla="*/ 5085 w 10000"/>
                <a:gd name="connsiteY96" fmla="*/ 480 h 10000"/>
                <a:gd name="connsiteX97" fmla="*/ 5099 w 10000"/>
                <a:gd name="connsiteY97" fmla="*/ 527 h 10000"/>
                <a:gd name="connsiteX98" fmla="*/ 5112 w 10000"/>
                <a:gd name="connsiteY98" fmla="*/ 586 h 10000"/>
                <a:gd name="connsiteX99" fmla="*/ 5126 w 10000"/>
                <a:gd name="connsiteY99" fmla="*/ 639 h 10000"/>
                <a:gd name="connsiteX100" fmla="*/ 5152 w 10000"/>
                <a:gd name="connsiteY100" fmla="*/ 639 h 10000"/>
                <a:gd name="connsiteX101" fmla="*/ 5188 w 10000"/>
                <a:gd name="connsiteY101" fmla="*/ 645 h 10000"/>
                <a:gd name="connsiteX102" fmla="*/ 5224 w 10000"/>
                <a:gd name="connsiteY102" fmla="*/ 663 h 10000"/>
                <a:gd name="connsiteX103" fmla="*/ 5260 w 10000"/>
                <a:gd name="connsiteY103" fmla="*/ 675 h 10000"/>
                <a:gd name="connsiteX104" fmla="*/ 5296 w 10000"/>
                <a:gd name="connsiteY104" fmla="*/ 687 h 10000"/>
                <a:gd name="connsiteX105" fmla="*/ 5332 w 10000"/>
                <a:gd name="connsiteY105" fmla="*/ 716 h 10000"/>
                <a:gd name="connsiteX106" fmla="*/ 5363 w 10000"/>
                <a:gd name="connsiteY106" fmla="*/ 734 h 10000"/>
                <a:gd name="connsiteX107" fmla="*/ 5390 w 10000"/>
                <a:gd name="connsiteY107" fmla="*/ 770 h 10000"/>
                <a:gd name="connsiteX108" fmla="*/ 5413 w 10000"/>
                <a:gd name="connsiteY108" fmla="*/ 941 h 10000"/>
                <a:gd name="connsiteX109" fmla="*/ 5435 w 10000"/>
                <a:gd name="connsiteY109" fmla="*/ 1297 h 10000"/>
                <a:gd name="connsiteX110" fmla="*/ 5462 w 10000"/>
                <a:gd name="connsiteY110" fmla="*/ 1794 h 10000"/>
                <a:gd name="connsiteX111" fmla="*/ 5489 w 10000"/>
                <a:gd name="connsiteY111" fmla="*/ 2404 h 10000"/>
                <a:gd name="connsiteX112" fmla="*/ 9928 w 10000"/>
                <a:gd name="connsiteY112" fmla="*/ 2416 h 10000"/>
                <a:gd name="connsiteX113" fmla="*/ 10000 w 10000"/>
                <a:gd name="connsiteY113" fmla="*/ 3410 h 10000"/>
                <a:gd name="connsiteX114" fmla="*/ 9978 w 10000"/>
                <a:gd name="connsiteY114" fmla="*/ 3529 h 10000"/>
                <a:gd name="connsiteX115" fmla="*/ 9946 w 10000"/>
                <a:gd name="connsiteY115" fmla="*/ 3623 h 10000"/>
                <a:gd name="connsiteX116" fmla="*/ 9901 w 10000"/>
                <a:gd name="connsiteY116" fmla="*/ 3694 h 10000"/>
                <a:gd name="connsiteX117" fmla="*/ 9852 w 10000"/>
                <a:gd name="connsiteY117" fmla="*/ 3760 h 10000"/>
                <a:gd name="connsiteX118" fmla="*/ 9798 w 10000"/>
                <a:gd name="connsiteY118" fmla="*/ 3807 h 10000"/>
                <a:gd name="connsiteX119" fmla="*/ 9753 w 10000"/>
                <a:gd name="connsiteY119" fmla="*/ 3843 h 10000"/>
                <a:gd name="connsiteX120" fmla="*/ 9722 w 10000"/>
                <a:gd name="connsiteY120" fmla="*/ 3860 h 10000"/>
                <a:gd name="connsiteX121" fmla="*/ 9709 w 10000"/>
                <a:gd name="connsiteY121"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7794 w 10000"/>
                <a:gd name="connsiteY13" fmla="*/ 4452 h 10000"/>
                <a:gd name="connsiteX14" fmla="*/ 5435 w 10000"/>
                <a:gd name="connsiteY14" fmla="*/ 4494 h 10000"/>
                <a:gd name="connsiteX15" fmla="*/ 5422 w 10000"/>
                <a:gd name="connsiteY15" fmla="*/ 4494 h 10000"/>
                <a:gd name="connsiteX16" fmla="*/ 5152 w 10000"/>
                <a:gd name="connsiteY16" fmla="*/ 7620 h 10000"/>
                <a:gd name="connsiteX17" fmla="*/ 6516 w 10000"/>
                <a:gd name="connsiteY17" fmla="*/ 7999 h 10000"/>
                <a:gd name="connsiteX18" fmla="*/ 6565 w 10000"/>
                <a:gd name="connsiteY18" fmla="*/ 8034 h 10000"/>
                <a:gd name="connsiteX19" fmla="*/ 6601 w 10000"/>
                <a:gd name="connsiteY19" fmla="*/ 8105 h 10000"/>
                <a:gd name="connsiteX20" fmla="*/ 6623 w 10000"/>
                <a:gd name="connsiteY20" fmla="*/ 8200 h 10000"/>
                <a:gd name="connsiteX21" fmla="*/ 6632 w 10000"/>
                <a:gd name="connsiteY21" fmla="*/ 8307 h 10000"/>
                <a:gd name="connsiteX22" fmla="*/ 6543 w 10000"/>
                <a:gd name="connsiteY22" fmla="*/ 9053 h 10000"/>
                <a:gd name="connsiteX23" fmla="*/ 5291 w 10000"/>
                <a:gd name="connsiteY23" fmla="*/ 9153 h 10000"/>
                <a:gd name="connsiteX24" fmla="*/ 5099 w 10000"/>
                <a:gd name="connsiteY24" fmla="*/ 8620 h 10000"/>
                <a:gd name="connsiteX25" fmla="*/ 5099 w 10000"/>
                <a:gd name="connsiteY25" fmla="*/ 8686 h 10000"/>
                <a:gd name="connsiteX26" fmla="*/ 5090 w 10000"/>
                <a:gd name="connsiteY26" fmla="*/ 8840 h 10000"/>
                <a:gd name="connsiteX27" fmla="*/ 5081 w 10000"/>
                <a:gd name="connsiteY27" fmla="*/ 9059 h 10000"/>
                <a:gd name="connsiteX28" fmla="*/ 5063 w 10000"/>
                <a:gd name="connsiteY28" fmla="*/ 9307 h 10000"/>
                <a:gd name="connsiteX29" fmla="*/ 5040 w 10000"/>
                <a:gd name="connsiteY29" fmla="*/ 9568 h 10000"/>
                <a:gd name="connsiteX30" fmla="*/ 5013 w 10000"/>
                <a:gd name="connsiteY30" fmla="*/ 9787 h 10000"/>
                <a:gd name="connsiteX31" fmla="*/ 4978 w 10000"/>
                <a:gd name="connsiteY31" fmla="*/ 9947 h 10000"/>
                <a:gd name="connsiteX32" fmla="*/ 4928 w 10000"/>
                <a:gd name="connsiteY32" fmla="*/ 10000 h 10000"/>
                <a:gd name="connsiteX33" fmla="*/ 4852 w 10000"/>
                <a:gd name="connsiteY33" fmla="*/ 9781 h 10000"/>
                <a:gd name="connsiteX34" fmla="*/ 4816 w 10000"/>
                <a:gd name="connsiteY34" fmla="*/ 9307 h 10000"/>
                <a:gd name="connsiteX35" fmla="*/ 4803 w 10000"/>
                <a:gd name="connsiteY35" fmla="*/ 8834 h 10000"/>
                <a:gd name="connsiteX36" fmla="*/ 4794 w 10000"/>
                <a:gd name="connsiteY36" fmla="*/ 8620 h 10000"/>
                <a:gd name="connsiteX37" fmla="*/ 4601 w 10000"/>
                <a:gd name="connsiteY37" fmla="*/ 9153 h 10000"/>
                <a:gd name="connsiteX38" fmla="*/ 3368 w 10000"/>
                <a:gd name="connsiteY38" fmla="*/ 9053 h 10000"/>
                <a:gd name="connsiteX39" fmla="*/ 3260 w 10000"/>
                <a:gd name="connsiteY39" fmla="*/ 8307 h 10000"/>
                <a:gd name="connsiteX40" fmla="*/ 3265 w 10000"/>
                <a:gd name="connsiteY40" fmla="*/ 8200 h 10000"/>
                <a:gd name="connsiteX41" fmla="*/ 3291 w 10000"/>
                <a:gd name="connsiteY41" fmla="*/ 8105 h 10000"/>
                <a:gd name="connsiteX42" fmla="*/ 3323 w 10000"/>
                <a:gd name="connsiteY42" fmla="*/ 8034 h 10000"/>
                <a:gd name="connsiteX43" fmla="*/ 3368 w 10000"/>
                <a:gd name="connsiteY43" fmla="*/ 7999 h 10000"/>
                <a:gd name="connsiteX44" fmla="*/ 4740 w 10000"/>
                <a:gd name="connsiteY44" fmla="*/ 7620 h 10000"/>
                <a:gd name="connsiteX45" fmla="*/ 4475 w 10000"/>
                <a:gd name="connsiteY45" fmla="*/ 4494 h 10000"/>
                <a:gd name="connsiteX46" fmla="*/ 511 w 10000"/>
                <a:gd name="connsiteY46" fmla="*/ 4044 h 10000"/>
                <a:gd name="connsiteX47" fmla="*/ 502 w 10000"/>
                <a:gd name="connsiteY47" fmla="*/ 4044 h 10000"/>
                <a:gd name="connsiteX48" fmla="*/ 471 w 10000"/>
                <a:gd name="connsiteY48" fmla="*/ 4032 h 10000"/>
                <a:gd name="connsiteX49" fmla="*/ 430 w 10000"/>
                <a:gd name="connsiteY49" fmla="*/ 4020 h 10000"/>
                <a:gd name="connsiteX50" fmla="*/ 386 w 10000"/>
                <a:gd name="connsiteY50" fmla="*/ 3996 h 10000"/>
                <a:gd name="connsiteX51" fmla="*/ 341 w 10000"/>
                <a:gd name="connsiteY51" fmla="*/ 3985 h 10000"/>
                <a:gd name="connsiteX52" fmla="*/ 300 w 10000"/>
                <a:gd name="connsiteY52" fmla="*/ 3967 h 10000"/>
                <a:gd name="connsiteX53" fmla="*/ 269 w 10000"/>
                <a:gd name="connsiteY53" fmla="*/ 3955 h 10000"/>
                <a:gd name="connsiteX54" fmla="*/ 260 w 10000"/>
                <a:gd name="connsiteY54" fmla="*/ 3955 h 10000"/>
                <a:gd name="connsiteX55" fmla="*/ 179 w 10000"/>
                <a:gd name="connsiteY55" fmla="*/ 3914 h 10000"/>
                <a:gd name="connsiteX56" fmla="*/ 126 w 10000"/>
                <a:gd name="connsiteY56" fmla="*/ 3860 h 10000"/>
                <a:gd name="connsiteX57" fmla="*/ 76 w 10000"/>
                <a:gd name="connsiteY57" fmla="*/ 3813 h 10000"/>
                <a:gd name="connsiteX58" fmla="*/ 54 w 10000"/>
                <a:gd name="connsiteY58" fmla="*/ 3760 h 10000"/>
                <a:gd name="connsiteX59" fmla="*/ 31 w 10000"/>
                <a:gd name="connsiteY59" fmla="*/ 3718 h 10000"/>
                <a:gd name="connsiteX60" fmla="*/ 22 w 10000"/>
                <a:gd name="connsiteY60" fmla="*/ 3677 h 10000"/>
                <a:gd name="connsiteX61" fmla="*/ 13 w 10000"/>
                <a:gd name="connsiteY61" fmla="*/ 3647 h 10000"/>
                <a:gd name="connsiteX62" fmla="*/ 13 w 10000"/>
                <a:gd name="connsiteY62" fmla="*/ 3641 h 10000"/>
                <a:gd name="connsiteX63" fmla="*/ 0 w 10000"/>
                <a:gd name="connsiteY63" fmla="*/ 2351 h 10000"/>
                <a:gd name="connsiteX64" fmla="*/ 4408 w 10000"/>
                <a:gd name="connsiteY64" fmla="*/ 2345 h 10000"/>
                <a:gd name="connsiteX65" fmla="*/ 4439 w 10000"/>
                <a:gd name="connsiteY65" fmla="*/ 1764 h 10000"/>
                <a:gd name="connsiteX66" fmla="*/ 4466 w 10000"/>
                <a:gd name="connsiteY66" fmla="*/ 1291 h 10000"/>
                <a:gd name="connsiteX67" fmla="*/ 4484 w 10000"/>
                <a:gd name="connsiteY67" fmla="*/ 941 h 10000"/>
                <a:gd name="connsiteX68" fmla="*/ 4516 w 10000"/>
                <a:gd name="connsiteY68" fmla="*/ 770 h 10000"/>
                <a:gd name="connsiteX69" fmla="*/ 4538 w 10000"/>
                <a:gd name="connsiteY69" fmla="*/ 734 h 10000"/>
                <a:gd name="connsiteX70" fmla="*/ 4565 w 10000"/>
                <a:gd name="connsiteY70" fmla="*/ 716 h 10000"/>
                <a:gd name="connsiteX71" fmla="*/ 4596 w 10000"/>
                <a:gd name="connsiteY71" fmla="*/ 687 h 10000"/>
                <a:gd name="connsiteX72" fmla="*/ 4632 w 10000"/>
                <a:gd name="connsiteY72" fmla="*/ 675 h 10000"/>
                <a:gd name="connsiteX73" fmla="*/ 4668 w 10000"/>
                <a:gd name="connsiteY73" fmla="*/ 663 h 10000"/>
                <a:gd name="connsiteX74" fmla="*/ 4704 w 10000"/>
                <a:gd name="connsiteY74" fmla="*/ 645 h 10000"/>
                <a:gd name="connsiteX75" fmla="*/ 4740 w 10000"/>
                <a:gd name="connsiteY75" fmla="*/ 639 h 10000"/>
                <a:gd name="connsiteX76" fmla="*/ 4767 w 10000"/>
                <a:gd name="connsiteY76" fmla="*/ 639 h 10000"/>
                <a:gd name="connsiteX77" fmla="*/ 4780 w 10000"/>
                <a:gd name="connsiteY77" fmla="*/ 586 h 10000"/>
                <a:gd name="connsiteX78" fmla="*/ 4789 w 10000"/>
                <a:gd name="connsiteY78" fmla="*/ 527 h 10000"/>
                <a:gd name="connsiteX79" fmla="*/ 4807 w 10000"/>
                <a:gd name="connsiteY79" fmla="*/ 480 h 10000"/>
                <a:gd name="connsiteX80" fmla="*/ 4816 w 10000"/>
                <a:gd name="connsiteY80" fmla="*/ 432 h 10000"/>
                <a:gd name="connsiteX81" fmla="*/ 3789 w 10000"/>
                <a:gd name="connsiteY81" fmla="*/ 432 h 10000"/>
                <a:gd name="connsiteX82" fmla="*/ 3789 w 10000"/>
                <a:gd name="connsiteY82" fmla="*/ 219 h 10000"/>
                <a:gd name="connsiteX83" fmla="*/ 4834 w 10000"/>
                <a:gd name="connsiteY83" fmla="*/ 219 h 10000"/>
                <a:gd name="connsiteX84" fmla="*/ 4857 w 10000"/>
                <a:gd name="connsiteY84" fmla="*/ 148 h 10000"/>
                <a:gd name="connsiteX85" fmla="*/ 4883 w 10000"/>
                <a:gd name="connsiteY85" fmla="*/ 77 h 10000"/>
                <a:gd name="connsiteX86" fmla="*/ 4910 w 10000"/>
                <a:gd name="connsiteY86" fmla="*/ 18 h 10000"/>
                <a:gd name="connsiteX87" fmla="*/ 4946 w 10000"/>
                <a:gd name="connsiteY87" fmla="*/ 0 h 10000"/>
                <a:gd name="connsiteX88" fmla="*/ 4982 w 10000"/>
                <a:gd name="connsiteY88" fmla="*/ 18 h 10000"/>
                <a:gd name="connsiteX89" fmla="*/ 5009 w 10000"/>
                <a:gd name="connsiteY89" fmla="*/ 77 h 10000"/>
                <a:gd name="connsiteX90" fmla="*/ 5031 w 10000"/>
                <a:gd name="connsiteY90" fmla="*/ 148 h 10000"/>
                <a:gd name="connsiteX91" fmla="*/ 5054 w 10000"/>
                <a:gd name="connsiteY91" fmla="*/ 219 h 10000"/>
                <a:gd name="connsiteX92" fmla="*/ 6135 w 10000"/>
                <a:gd name="connsiteY92" fmla="*/ 219 h 10000"/>
                <a:gd name="connsiteX93" fmla="*/ 6135 w 10000"/>
                <a:gd name="connsiteY93" fmla="*/ 432 h 10000"/>
                <a:gd name="connsiteX94" fmla="*/ 5076 w 10000"/>
                <a:gd name="connsiteY94" fmla="*/ 432 h 10000"/>
                <a:gd name="connsiteX95" fmla="*/ 5085 w 10000"/>
                <a:gd name="connsiteY95" fmla="*/ 480 h 10000"/>
                <a:gd name="connsiteX96" fmla="*/ 5099 w 10000"/>
                <a:gd name="connsiteY96" fmla="*/ 527 h 10000"/>
                <a:gd name="connsiteX97" fmla="*/ 5112 w 10000"/>
                <a:gd name="connsiteY97" fmla="*/ 586 h 10000"/>
                <a:gd name="connsiteX98" fmla="*/ 5126 w 10000"/>
                <a:gd name="connsiteY98" fmla="*/ 639 h 10000"/>
                <a:gd name="connsiteX99" fmla="*/ 5152 w 10000"/>
                <a:gd name="connsiteY99" fmla="*/ 639 h 10000"/>
                <a:gd name="connsiteX100" fmla="*/ 5188 w 10000"/>
                <a:gd name="connsiteY100" fmla="*/ 645 h 10000"/>
                <a:gd name="connsiteX101" fmla="*/ 5224 w 10000"/>
                <a:gd name="connsiteY101" fmla="*/ 663 h 10000"/>
                <a:gd name="connsiteX102" fmla="*/ 5260 w 10000"/>
                <a:gd name="connsiteY102" fmla="*/ 675 h 10000"/>
                <a:gd name="connsiteX103" fmla="*/ 5296 w 10000"/>
                <a:gd name="connsiteY103" fmla="*/ 687 h 10000"/>
                <a:gd name="connsiteX104" fmla="*/ 5332 w 10000"/>
                <a:gd name="connsiteY104" fmla="*/ 716 h 10000"/>
                <a:gd name="connsiteX105" fmla="*/ 5363 w 10000"/>
                <a:gd name="connsiteY105" fmla="*/ 734 h 10000"/>
                <a:gd name="connsiteX106" fmla="*/ 5390 w 10000"/>
                <a:gd name="connsiteY106" fmla="*/ 770 h 10000"/>
                <a:gd name="connsiteX107" fmla="*/ 5413 w 10000"/>
                <a:gd name="connsiteY107" fmla="*/ 941 h 10000"/>
                <a:gd name="connsiteX108" fmla="*/ 5435 w 10000"/>
                <a:gd name="connsiteY108" fmla="*/ 1297 h 10000"/>
                <a:gd name="connsiteX109" fmla="*/ 5462 w 10000"/>
                <a:gd name="connsiteY109" fmla="*/ 1794 h 10000"/>
                <a:gd name="connsiteX110" fmla="*/ 5489 w 10000"/>
                <a:gd name="connsiteY110" fmla="*/ 2404 h 10000"/>
                <a:gd name="connsiteX111" fmla="*/ 9928 w 10000"/>
                <a:gd name="connsiteY111" fmla="*/ 2416 h 10000"/>
                <a:gd name="connsiteX112" fmla="*/ 10000 w 10000"/>
                <a:gd name="connsiteY112" fmla="*/ 3410 h 10000"/>
                <a:gd name="connsiteX113" fmla="*/ 9978 w 10000"/>
                <a:gd name="connsiteY113" fmla="*/ 3529 h 10000"/>
                <a:gd name="connsiteX114" fmla="*/ 9946 w 10000"/>
                <a:gd name="connsiteY114" fmla="*/ 3623 h 10000"/>
                <a:gd name="connsiteX115" fmla="*/ 9901 w 10000"/>
                <a:gd name="connsiteY115" fmla="*/ 3694 h 10000"/>
                <a:gd name="connsiteX116" fmla="*/ 9852 w 10000"/>
                <a:gd name="connsiteY116" fmla="*/ 3760 h 10000"/>
                <a:gd name="connsiteX117" fmla="*/ 9798 w 10000"/>
                <a:gd name="connsiteY117" fmla="*/ 3807 h 10000"/>
                <a:gd name="connsiteX118" fmla="*/ 9753 w 10000"/>
                <a:gd name="connsiteY118" fmla="*/ 3843 h 10000"/>
                <a:gd name="connsiteX119" fmla="*/ 9722 w 10000"/>
                <a:gd name="connsiteY119" fmla="*/ 3860 h 10000"/>
                <a:gd name="connsiteX120" fmla="*/ 9709 w 10000"/>
                <a:gd name="connsiteY120"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7892 w 10000"/>
                <a:gd name="connsiteY12" fmla="*/ 4435 h 10000"/>
                <a:gd name="connsiteX13" fmla="*/ 5435 w 10000"/>
                <a:gd name="connsiteY13" fmla="*/ 4494 h 10000"/>
                <a:gd name="connsiteX14" fmla="*/ 5422 w 10000"/>
                <a:gd name="connsiteY14" fmla="*/ 4494 h 10000"/>
                <a:gd name="connsiteX15" fmla="*/ 5152 w 10000"/>
                <a:gd name="connsiteY15" fmla="*/ 7620 h 10000"/>
                <a:gd name="connsiteX16" fmla="*/ 6516 w 10000"/>
                <a:gd name="connsiteY16" fmla="*/ 7999 h 10000"/>
                <a:gd name="connsiteX17" fmla="*/ 6565 w 10000"/>
                <a:gd name="connsiteY17" fmla="*/ 8034 h 10000"/>
                <a:gd name="connsiteX18" fmla="*/ 6601 w 10000"/>
                <a:gd name="connsiteY18" fmla="*/ 8105 h 10000"/>
                <a:gd name="connsiteX19" fmla="*/ 6623 w 10000"/>
                <a:gd name="connsiteY19" fmla="*/ 8200 h 10000"/>
                <a:gd name="connsiteX20" fmla="*/ 6632 w 10000"/>
                <a:gd name="connsiteY20" fmla="*/ 8307 h 10000"/>
                <a:gd name="connsiteX21" fmla="*/ 6543 w 10000"/>
                <a:gd name="connsiteY21" fmla="*/ 9053 h 10000"/>
                <a:gd name="connsiteX22" fmla="*/ 5291 w 10000"/>
                <a:gd name="connsiteY22" fmla="*/ 9153 h 10000"/>
                <a:gd name="connsiteX23" fmla="*/ 5099 w 10000"/>
                <a:gd name="connsiteY23" fmla="*/ 8620 h 10000"/>
                <a:gd name="connsiteX24" fmla="*/ 5099 w 10000"/>
                <a:gd name="connsiteY24" fmla="*/ 8686 h 10000"/>
                <a:gd name="connsiteX25" fmla="*/ 5090 w 10000"/>
                <a:gd name="connsiteY25" fmla="*/ 8840 h 10000"/>
                <a:gd name="connsiteX26" fmla="*/ 5081 w 10000"/>
                <a:gd name="connsiteY26" fmla="*/ 9059 h 10000"/>
                <a:gd name="connsiteX27" fmla="*/ 5063 w 10000"/>
                <a:gd name="connsiteY27" fmla="*/ 9307 h 10000"/>
                <a:gd name="connsiteX28" fmla="*/ 5040 w 10000"/>
                <a:gd name="connsiteY28" fmla="*/ 9568 h 10000"/>
                <a:gd name="connsiteX29" fmla="*/ 5013 w 10000"/>
                <a:gd name="connsiteY29" fmla="*/ 9787 h 10000"/>
                <a:gd name="connsiteX30" fmla="*/ 4978 w 10000"/>
                <a:gd name="connsiteY30" fmla="*/ 9947 h 10000"/>
                <a:gd name="connsiteX31" fmla="*/ 4928 w 10000"/>
                <a:gd name="connsiteY31" fmla="*/ 10000 h 10000"/>
                <a:gd name="connsiteX32" fmla="*/ 4852 w 10000"/>
                <a:gd name="connsiteY32" fmla="*/ 9781 h 10000"/>
                <a:gd name="connsiteX33" fmla="*/ 4816 w 10000"/>
                <a:gd name="connsiteY33" fmla="*/ 9307 h 10000"/>
                <a:gd name="connsiteX34" fmla="*/ 4803 w 10000"/>
                <a:gd name="connsiteY34" fmla="*/ 8834 h 10000"/>
                <a:gd name="connsiteX35" fmla="*/ 4794 w 10000"/>
                <a:gd name="connsiteY35" fmla="*/ 8620 h 10000"/>
                <a:gd name="connsiteX36" fmla="*/ 4601 w 10000"/>
                <a:gd name="connsiteY36" fmla="*/ 9153 h 10000"/>
                <a:gd name="connsiteX37" fmla="*/ 3368 w 10000"/>
                <a:gd name="connsiteY37" fmla="*/ 9053 h 10000"/>
                <a:gd name="connsiteX38" fmla="*/ 3260 w 10000"/>
                <a:gd name="connsiteY38" fmla="*/ 8307 h 10000"/>
                <a:gd name="connsiteX39" fmla="*/ 3265 w 10000"/>
                <a:gd name="connsiteY39" fmla="*/ 8200 h 10000"/>
                <a:gd name="connsiteX40" fmla="*/ 3291 w 10000"/>
                <a:gd name="connsiteY40" fmla="*/ 8105 h 10000"/>
                <a:gd name="connsiteX41" fmla="*/ 3323 w 10000"/>
                <a:gd name="connsiteY41" fmla="*/ 8034 h 10000"/>
                <a:gd name="connsiteX42" fmla="*/ 3368 w 10000"/>
                <a:gd name="connsiteY42" fmla="*/ 7999 h 10000"/>
                <a:gd name="connsiteX43" fmla="*/ 4740 w 10000"/>
                <a:gd name="connsiteY43" fmla="*/ 7620 h 10000"/>
                <a:gd name="connsiteX44" fmla="*/ 4475 w 10000"/>
                <a:gd name="connsiteY44" fmla="*/ 4494 h 10000"/>
                <a:gd name="connsiteX45" fmla="*/ 511 w 10000"/>
                <a:gd name="connsiteY45" fmla="*/ 4044 h 10000"/>
                <a:gd name="connsiteX46" fmla="*/ 502 w 10000"/>
                <a:gd name="connsiteY46" fmla="*/ 4044 h 10000"/>
                <a:gd name="connsiteX47" fmla="*/ 471 w 10000"/>
                <a:gd name="connsiteY47" fmla="*/ 4032 h 10000"/>
                <a:gd name="connsiteX48" fmla="*/ 430 w 10000"/>
                <a:gd name="connsiteY48" fmla="*/ 4020 h 10000"/>
                <a:gd name="connsiteX49" fmla="*/ 386 w 10000"/>
                <a:gd name="connsiteY49" fmla="*/ 3996 h 10000"/>
                <a:gd name="connsiteX50" fmla="*/ 341 w 10000"/>
                <a:gd name="connsiteY50" fmla="*/ 3985 h 10000"/>
                <a:gd name="connsiteX51" fmla="*/ 300 w 10000"/>
                <a:gd name="connsiteY51" fmla="*/ 3967 h 10000"/>
                <a:gd name="connsiteX52" fmla="*/ 269 w 10000"/>
                <a:gd name="connsiteY52" fmla="*/ 3955 h 10000"/>
                <a:gd name="connsiteX53" fmla="*/ 260 w 10000"/>
                <a:gd name="connsiteY53" fmla="*/ 3955 h 10000"/>
                <a:gd name="connsiteX54" fmla="*/ 179 w 10000"/>
                <a:gd name="connsiteY54" fmla="*/ 3914 h 10000"/>
                <a:gd name="connsiteX55" fmla="*/ 126 w 10000"/>
                <a:gd name="connsiteY55" fmla="*/ 3860 h 10000"/>
                <a:gd name="connsiteX56" fmla="*/ 76 w 10000"/>
                <a:gd name="connsiteY56" fmla="*/ 3813 h 10000"/>
                <a:gd name="connsiteX57" fmla="*/ 54 w 10000"/>
                <a:gd name="connsiteY57" fmla="*/ 3760 h 10000"/>
                <a:gd name="connsiteX58" fmla="*/ 31 w 10000"/>
                <a:gd name="connsiteY58" fmla="*/ 3718 h 10000"/>
                <a:gd name="connsiteX59" fmla="*/ 22 w 10000"/>
                <a:gd name="connsiteY59" fmla="*/ 3677 h 10000"/>
                <a:gd name="connsiteX60" fmla="*/ 13 w 10000"/>
                <a:gd name="connsiteY60" fmla="*/ 3647 h 10000"/>
                <a:gd name="connsiteX61" fmla="*/ 13 w 10000"/>
                <a:gd name="connsiteY61" fmla="*/ 3641 h 10000"/>
                <a:gd name="connsiteX62" fmla="*/ 0 w 10000"/>
                <a:gd name="connsiteY62" fmla="*/ 2351 h 10000"/>
                <a:gd name="connsiteX63" fmla="*/ 4408 w 10000"/>
                <a:gd name="connsiteY63" fmla="*/ 2345 h 10000"/>
                <a:gd name="connsiteX64" fmla="*/ 4439 w 10000"/>
                <a:gd name="connsiteY64" fmla="*/ 1764 h 10000"/>
                <a:gd name="connsiteX65" fmla="*/ 4466 w 10000"/>
                <a:gd name="connsiteY65" fmla="*/ 1291 h 10000"/>
                <a:gd name="connsiteX66" fmla="*/ 4484 w 10000"/>
                <a:gd name="connsiteY66" fmla="*/ 941 h 10000"/>
                <a:gd name="connsiteX67" fmla="*/ 4516 w 10000"/>
                <a:gd name="connsiteY67" fmla="*/ 770 h 10000"/>
                <a:gd name="connsiteX68" fmla="*/ 4538 w 10000"/>
                <a:gd name="connsiteY68" fmla="*/ 734 h 10000"/>
                <a:gd name="connsiteX69" fmla="*/ 4565 w 10000"/>
                <a:gd name="connsiteY69" fmla="*/ 716 h 10000"/>
                <a:gd name="connsiteX70" fmla="*/ 4596 w 10000"/>
                <a:gd name="connsiteY70" fmla="*/ 687 h 10000"/>
                <a:gd name="connsiteX71" fmla="*/ 4632 w 10000"/>
                <a:gd name="connsiteY71" fmla="*/ 675 h 10000"/>
                <a:gd name="connsiteX72" fmla="*/ 4668 w 10000"/>
                <a:gd name="connsiteY72" fmla="*/ 663 h 10000"/>
                <a:gd name="connsiteX73" fmla="*/ 4704 w 10000"/>
                <a:gd name="connsiteY73" fmla="*/ 645 h 10000"/>
                <a:gd name="connsiteX74" fmla="*/ 4740 w 10000"/>
                <a:gd name="connsiteY74" fmla="*/ 639 h 10000"/>
                <a:gd name="connsiteX75" fmla="*/ 4767 w 10000"/>
                <a:gd name="connsiteY75" fmla="*/ 639 h 10000"/>
                <a:gd name="connsiteX76" fmla="*/ 4780 w 10000"/>
                <a:gd name="connsiteY76" fmla="*/ 586 h 10000"/>
                <a:gd name="connsiteX77" fmla="*/ 4789 w 10000"/>
                <a:gd name="connsiteY77" fmla="*/ 527 h 10000"/>
                <a:gd name="connsiteX78" fmla="*/ 4807 w 10000"/>
                <a:gd name="connsiteY78" fmla="*/ 480 h 10000"/>
                <a:gd name="connsiteX79" fmla="*/ 4816 w 10000"/>
                <a:gd name="connsiteY79" fmla="*/ 432 h 10000"/>
                <a:gd name="connsiteX80" fmla="*/ 3789 w 10000"/>
                <a:gd name="connsiteY80" fmla="*/ 432 h 10000"/>
                <a:gd name="connsiteX81" fmla="*/ 3789 w 10000"/>
                <a:gd name="connsiteY81" fmla="*/ 219 h 10000"/>
                <a:gd name="connsiteX82" fmla="*/ 4834 w 10000"/>
                <a:gd name="connsiteY82" fmla="*/ 219 h 10000"/>
                <a:gd name="connsiteX83" fmla="*/ 4857 w 10000"/>
                <a:gd name="connsiteY83" fmla="*/ 148 h 10000"/>
                <a:gd name="connsiteX84" fmla="*/ 4883 w 10000"/>
                <a:gd name="connsiteY84" fmla="*/ 77 h 10000"/>
                <a:gd name="connsiteX85" fmla="*/ 4910 w 10000"/>
                <a:gd name="connsiteY85" fmla="*/ 18 h 10000"/>
                <a:gd name="connsiteX86" fmla="*/ 4946 w 10000"/>
                <a:gd name="connsiteY86" fmla="*/ 0 h 10000"/>
                <a:gd name="connsiteX87" fmla="*/ 4982 w 10000"/>
                <a:gd name="connsiteY87" fmla="*/ 18 h 10000"/>
                <a:gd name="connsiteX88" fmla="*/ 5009 w 10000"/>
                <a:gd name="connsiteY88" fmla="*/ 77 h 10000"/>
                <a:gd name="connsiteX89" fmla="*/ 5031 w 10000"/>
                <a:gd name="connsiteY89" fmla="*/ 148 h 10000"/>
                <a:gd name="connsiteX90" fmla="*/ 5054 w 10000"/>
                <a:gd name="connsiteY90" fmla="*/ 219 h 10000"/>
                <a:gd name="connsiteX91" fmla="*/ 6135 w 10000"/>
                <a:gd name="connsiteY91" fmla="*/ 219 h 10000"/>
                <a:gd name="connsiteX92" fmla="*/ 6135 w 10000"/>
                <a:gd name="connsiteY92" fmla="*/ 432 h 10000"/>
                <a:gd name="connsiteX93" fmla="*/ 5076 w 10000"/>
                <a:gd name="connsiteY93" fmla="*/ 432 h 10000"/>
                <a:gd name="connsiteX94" fmla="*/ 5085 w 10000"/>
                <a:gd name="connsiteY94" fmla="*/ 480 h 10000"/>
                <a:gd name="connsiteX95" fmla="*/ 5099 w 10000"/>
                <a:gd name="connsiteY95" fmla="*/ 527 h 10000"/>
                <a:gd name="connsiteX96" fmla="*/ 5112 w 10000"/>
                <a:gd name="connsiteY96" fmla="*/ 586 h 10000"/>
                <a:gd name="connsiteX97" fmla="*/ 5126 w 10000"/>
                <a:gd name="connsiteY97" fmla="*/ 639 h 10000"/>
                <a:gd name="connsiteX98" fmla="*/ 5152 w 10000"/>
                <a:gd name="connsiteY98" fmla="*/ 639 h 10000"/>
                <a:gd name="connsiteX99" fmla="*/ 5188 w 10000"/>
                <a:gd name="connsiteY99" fmla="*/ 645 h 10000"/>
                <a:gd name="connsiteX100" fmla="*/ 5224 w 10000"/>
                <a:gd name="connsiteY100" fmla="*/ 663 h 10000"/>
                <a:gd name="connsiteX101" fmla="*/ 5260 w 10000"/>
                <a:gd name="connsiteY101" fmla="*/ 675 h 10000"/>
                <a:gd name="connsiteX102" fmla="*/ 5296 w 10000"/>
                <a:gd name="connsiteY102" fmla="*/ 687 h 10000"/>
                <a:gd name="connsiteX103" fmla="*/ 5332 w 10000"/>
                <a:gd name="connsiteY103" fmla="*/ 716 h 10000"/>
                <a:gd name="connsiteX104" fmla="*/ 5363 w 10000"/>
                <a:gd name="connsiteY104" fmla="*/ 734 h 10000"/>
                <a:gd name="connsiteX105" fmla="*/ 5390 w 10000"/>
                <a:gd name="connsiteY105" fmla="*/ 770 h 10000"/>
                <a:gd name="connsiteX106" fmla="*/ 5413 w 10000"/>
                <a:gd name="connsiteY106" fmla="*/ 941 h 10000"/>
                <a:gd name="connsiteX107" fmla="*/ 5435 w 10000"/>
                <a:gd name="connsiteY107" fmla="*/ 1297 h 10000"/>
                <a:gd name="connsiteX108" fmla="*/ 5462 w 10000"/>
                <a:gd name="connsiteY108" fmla="*/ 1794 h 10000"/>
                <a:gd name="connsiteX109" fmla="*/ 5489 w 10000"/>
                <a:gd name="connsiteY109" fmla="*/ 2404 h 10000"/>
                <a:gd name="connsiteX110" fmla="*/ 9928 w 10000"/>
                <a:gd name="connsiteY110" fmla="*/ 2416 h 10000"/>
                <a:gd name="connsiteX111" fmla="*/ 10000 w 10000"/>
                <a:gd name="connsiteY111" fmla="*/ 3410 h 10000"/>
                <a:gd name="connsiteX112" fmla="*/ 9978 w 10000"/>
                <a:gd name="connsiteY112" fmla="*/ 3529 h 10000"/>
                <a:gd name="connsiteX113" fmla="*/ 9946 w 10000"/>
                <a:gd name="connsiteY113" fmla="*/ 3623 h 10000"/>
                <a:gd name="connsiteX114" fmla="*/ 9901 w 10000"/>
                <a:gd name="connsiteY114" fmla="*/ 3694 h 10000"/>
                <a:gd name="connsiteX115" fmla="*/ 9852 w 10000"/>
                <a:gd name="connsiteY115" fmla="*/ 3760 h 10000"/>
                <a:gd name="connsiteX116" fmla="*/ 9798 w 10000"/>
                <a:gd name="connsiteY116" fmla="*/ 3807 h 10000"/>
                <a:gd name="connsiteX117" fmla="*/ 9753 w 10000"/>
                <a:gd name="connsiteY117" fmla="*/ 3843 h 10000"/>
                <a:gd name="connsiteX118" fmla="*/ 9722 w 10000"/>
                <a:gd name="connsiteY118" fmla="*/ 3860 h 10000"/>
                <a:gd name="connsiteX119" fmla="*/ 9709 w 10000"/>
                <a:gd name="connsiteY119"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7991 w 10000"/>
                <a:gd name="connsiteY11" fmla="*/ 4411 h 10000"/>
                <a:gd name="connsiteX12" fmla="*/ 5435 w 10000"/>
                <a:gd name="connsiteY12" fmla="*/ 4494 h 10000"/>
                <a:gd name="connsiteX13" fmla="*/ 5422 w 10000"/>
                <a:gd name="connsiteY13" fmla="*/ 4494 h 10000"/>
                <a:gd name="connsiteX14" fmla="*/ 5152 w 10000"/>
                <a:gd name="connsiteY14" fmla="*/ 7620 h 10000"/>
                <a:gd name="connsiteX15" fmla="*/ 6516 w 10000"/>
                <a:gd name="connsiteY15" fmla="*/ 7999 h 10000"/>
                <a:gd name="connsiteX16" fmla="*/ 6565 w 10000"/>
                <a:gd name="connsiteY16" fmla="*/ 8034 h 10000"/>
                <a:gd name="connsiteX17" fmla="*/ 6601 w 10000"/>
                <a:gd name="connsiteY17" fmla="*/ 8105 h 10000"/>
                <a:gd name="connsiteX18" fmla="*/ 6623 w 10000"/>
                <a:gd name="connsiteY18" fmla="*/ 8200 h 10000"/>
                <a:gd name="connsiteX19" fmla="*/ 6632 w 10000"/>
                <a:gd name="connsiteY19" fmla="*/ 8307 h 10000"/>
                <a:gd name="connsiteX20" fmla="*/ 6543 w 10000"/>
                <a:gd name="connsiteY20" fmla="*/ 9053 h 10000"/>
                <a:gd name="connsiteX21" fmla="*/ 5291 w 10000"/>
                <a:gd name="connsiteY21" fmla="*/ 9153 h 10000"/>
                <a:gd name="connsiteX22" fmla="*/ 5099 w 10000"/>
                <a:gd name="connsiteY22" fmla="*/ 8620 h 10000"/>
                <a:gd name="connsiteX23" fmla="*/ 5099 w 10000"/>
                <a:gd name="connsiteY23" fmla="*/ 8686 h 10000"/>
                <a:gd name="connsiteX24" fmla="*/ 5090 w 10000"/>
                <a:gd name="connsiteY24" fmla="*/ 8840 h 10000"/>
                <a:gd name="connsiteX25" fmla="*/ 5081 w 10000"/>
                <a:gd name="connsiteY25" fmla="*/ 9059 h 10000"/>
                <a:gd name="connsiteX26" fmla="*/ 5063 w 10000"/>
                <a:gd name="connsiteY26" fmla="*/ 9307 h 10000"/>
                <a:gd name="connsiteX27" fmla="*/ 5040 w 10000"/>
                <a:gd name="connsiteY27" fmla="*/ 9568 h 10000"/>
                <a:gd name="connsiteX28" fmla="*/ 5013 w 10000"/>
                <a:gd name="connsiteY28" fmla="*/ 9787 h 10000"/>
                <a:gd name="connsiteX29" fmla="*/ 4978 w 10000"/>
                <a:gd name="connsiteY29" fmla="*/ 9947 h 10000"/>
                <a:gd name="connsiteX30" fmla="*/ 4928 w 10000"/>
                <a:gd name="connsiteY30" fmla="*/ 10000 h 10000"/>
                <a:gd name="connsiteX31" fmla="*/ 4852 w 10000"/>
                <a:gd name="connsiteY31" fmla="*/ 9781 h 10000"/>
                <a:gd name="connsiteX32" fmla="*/ 4816 w 10000"/>
                <a:gd name="connsiteY32" fmla="*/ 9307 h 10000"/>
                <a:gd name="connsiteX33" fmla="*/ 4803 w 10000"/>
                <a:gd name="connsiteY33" fmla="*/ 8834 h 10000"/>
                <a:gd name="connsiteX34" fmla="*/ 4794 w 10000"/>
                <a:gd name="connsiteY34" fmla="*/ 8620 h 10000"/>
                <a:gd name="connsiteX35" fmla="*/ 4601 w 10000"/>
                <a:gd name="connsiteY35" fmla="*/ 9153 h 10000"/>
                <a:gd name="connsiteX36" fmla="*/ 3368 w 10000"/>
                <a:gd name="connsiteY36" fmla="*/ 9053 h 10000"/>
                <a:gd name="connsiteX37" fmla="*/ 3260 w 10000"/>
                <a:gd name="connsiteY37" fmla="*/ 8307 h 10000"/>
                <a:gd name="connsiteX38" fmla="*/ 3265 w 10000"/>
                <a:gd name="connsiteY38" fmla="*/ 8200 h 10000"/>
                <a:gd name="connsiteX39" fmla="*/ 3291 w 10000"/>
                <a:gd name="connsiteY39" fmla="*/ 8105 h 10000"/>
                <a:gd name="connsiteX40" fmla="*/ 3323 w 10000"/>
                <a:gd name="connsiteY40" fmla="*/ 8034 h 10000"/>
                <a:gd name="connsiteX41" fmla="*/ 3368 w 10000"/>
                <a:gd name="connsiteY41" fmla="*/ 7999 h 10000"/>
                <a:gd name="connsiteX42" fmla="*/ 4740 w 10000"/>
                <a:gd name="connsiteY42" fmla="*/ 7620 h 10000"/>
                <a:gd name="connsiteX43" fmla="*/ 4475 w 10000"/>
                <a:gd name="connsiteY43" fmla="*/ 4494 h 10000"/>
                <a:gd name="connsiteX44" fmla="*/ 511 w 10000"/>
                <a:gd name="connsiteY44" fmla="*/ 4044 h 10000"/>
                <a:gd name="connsiteX45" fmla="*/ 502 w 10000"/>
                <a:gd name="connsiteY45" fmla="*/ 4044 h 10000"/>
                <a:gd name="connsiteX46" fmla="*/ 471 w 10000"/>
                <a:gd name="connsiteY46" fmla="*/ 4032 h 10000"/>
                <a:gd name="connsiteX47" fmla="*/ 430 w 10000"/>
                <a:gd name="connsiteY47" fmla="*/ 4020 h 10000"/>
                <a:gd name="connsiteX48" fmla="*/ 386 w 10000"/>
                <a:gd name="connsiteY48" fmla="*/ 3996 h 10000"/>
                <a:gd name="connsiteX49" fmla="*/ 341 w 10000"/>
                <a:gd name="connsiteY49" fmla="*/ 3985 h 10000"/>
                <a:gd name="connsiteX50" fmla="*/ 300 w 10000"/>
                <a:gd name="connsiteY50" fmla="*/ 3967 h 10000"/>
                <a:gd name="connsiteX51" fmla="*/ 269 w 10000"/>
                <a:gd name="connsiteY51" fmla="*/ 3955 h 10000"/>
                <a:gd name="connsiteX52" fmla="*/ 260 w 10000"/>
                <a:gd name="connsiteY52" fmla="*/ 3955 h 10000"/>
                <a:gd name="connsiteX53" fmla="*/ 179 w 10000"/>
                <a:gd name="connsiteY53" fmla="*/ 3914 h 10000"/>
                <a:gd name="connsiteX54" fmla="*/ 126 w 10000"/>
                <a:gd name="connsiteY54" fmla="*/ 3860 h 10000"/>
                <a:gd name="connsiteX55" fmla="*/ 76 w 10000"/>
                <a:gd name="connsiteY55" fmla="*/ 3813 h 10000"/>
                <a:gd name="connsiteX56" fmla="*/ 54 w 10000"/>
                <a:gd name="connsiteY56" fmla="*/ 3760 h 10000"/>
                <a:gd name="connsiteX57" fmla="*/ 31 w 10000"/>
                <a:gd name="connsiteY57" fmla="*/ 3718 h 10000"/>
                <a:gd name="connsiteX58" fmla="*/ 22 w 10000"/>
                <a:gd name="connsiteY58" fmla="*/ 3677 h 10000"/>
                <a:gd name="connsiteX59" fmla="*/ 13 w 10000"/>
                <a:gd name="connsiteY59" fmla="*/ 3647 h 10000"/>
                <a:gd name="connsiteX60" fmla="*/ 13 w 10000"/>
                <a:gd name="connsiteY60" fmla="*/ 3641 h 10000"/>
                <a:gd name="connsiteX61" fmla="*/ 0 w 10000"/>
                <a:gd name="connsiteY61" fmla="*/ 2351 h 10000"/>
                <a:gd name="connsiteX62" fmla="*/ 4408 w 10000"/>
                <a:gd name="connsiteY62" fmla="*/ 2345 h 10000"/>
                <a:gd name="connsiteX63" fmla="*/ 4439 w 10000"/>
                <a:gd name="connsiteY63" fmla="*/ 1764 h 10000"/>
                <a:gd name="connsiteX64" fmla="*/ 4466 w 10000"/>
                <a:gd name="connsiteY64" fmla="*/ 1291 h 10000"/>
                <a:gd name="connsiteX65" fmla="*/ 4484 w 10000"/>
                <a:gd name="connsiteY65" fmla="*/ 941 h 10000"/>
                <a:gd name="connsiteX66" fmla="*/ 4516 w 10000"/>
                <a:gd name="connsiteY66" fmla="*/ 770 h 10000"/>
                <a:gd name="connsiteX67" fmla="*/ 4538 w 10000"/>
                <a:gd name="connsiteY67" fmla="*/ 734 h 10000"/>
                <a:gd name="connsiteX68" fmla="*/ 4565 w 10000"/>
                <a:gd name="connsiteY68" fmla="*/ 716 h 10000"/>
                <a:gd name="connsiteX69" fmla="*/ 4596 w 10000"/>
                <a:gd name="connsiteY69" fmla="*/ 687 h 10000"/>
                <a:gd name="connsiteX70" fmla="*/ 4632 w 10000"/>
                <a:gd name="connsiteY70" fmla="*/ 675 h 10000"/>
                <a:gd name="connsiteX71" fmla="*/ 4668 w 10000"/>
                <a:gd name="connsiteY71" fmla="*/ 663 h 10000"/>
                <a:gd name="connsiteX72" fmla="*/ 4704 w 10000"/>
                <a:gd name="connsiteY72" fmla="*/ 645 h 10000"/>
                <a:gd name="connsiteX73" fmla="*/ 4740 w 10000"/>
                <a:gd name="connsiteY73" fmla="*/ 639 h 10000"/>
                <a:gd name="connsiteX74" fmla="*/ 4767 w 10000"/>
                <a:gd name="connsiteY74" fmla="*/ 639 h 10000"/>
                <a:gd name="connsiteX75" fmla="*/ 4780 w 10000"/>
                <a:gd name="connsiteY75" fmla="*/ 586 h 10000"/>
                <a:gd name="connsiteX76" fmla="*/ 4789 w 10000"/>
                <a:gd name="connsiteY76" fmla="*/ 527 h 10000"/>
                <a:gd name="connsiteX77" fmla="*/ 4807 w 10000"/>
                <a:gd name="connsiteY77" fmla="*/ 480 h 10000"/>
                <a:gd name="connsiteX78" fmla="*/ 4816 w 10000"/>
                <a:gd name="connsiteY78" fmla="*/ 432 h 10000"/>
                <a:gd name="connsiteX79" fmla="*/ 3789 w 10000"/>
                <a:gd name="connsiteY79" fmla="*/ 432 h 10000"/>
                <a:gd name="connsiteX80" fmla="*/ 3789 w 10000"/>
                <a:gd name="connsiteY80" fmla="*/ 219 h 10000"/>
                <a:gd name="connsiteX81" fmla="*/ 4834 w 10000"/>
                <a:gd name="connsiteY81" fmla="*/ 219 h 10000"/>
                <a:gd name="connsiteX82" fmla="*/ 4857 w 10000"/>
                <a:gd name="connsiteY82" fmla="*/ 148 h 10000"/>
                <a:gd name="connsiteX83" fmla="*/ 4883 w 10000"/>
                <a:gd name="connsiteY83" fmla="*/ 77 h 10000"/>
                <a:gd name="connsiteX84" fmla="*/ 4910 w 10000"/>
                <a:gd name="connsiteY84" fmla="*/ 18 h 10000"/>
                <a:gd name="connsiteX85" fmla="*/ 4946 w 10000"/>
                <a:gd name="connsiteY85" fmla="*/ 0 h 10000"/>
                <a:gd name="connsiteX86" fmla="*/ 4982 w 10000"/>
                <a:gd name="connsiteY86" fmla="*/ 18 h 10000"/>
                <a:gd name="connsiteX87" fmla="*/ 5009 w 10000"/>
                <a:gd name="connsiteY87" fmla="*/ 77 h 10000"/>
                <a:gd name="connsiteX88" fmla="*/ 5031 w 10000"/>
                <a:gd name="connsiteY88" fmla="*/ 148 h 10000"/>
                <a:gd name="connsiteX89" fmla="*/ 5054 w 10000"/>
                <a:gd name="connsiteY89" fmla="*/ 219 h 10000"/>
                <a:gd name="connsiteX90" fmla="*/ 6135 w 10000"/>
                <a:gd name="connsiteY90" fmla="*/ 219 h 10000"/>
                <a:gd name="connsiteX91" fmla="*/ 6135 w 10000"/>
                <a:gd name="connsiteY91" fmla="*/ 432 h 10000"/>
                <a:gd name="connsiteX92" fmla="*/ 5076 w 10000"/>
                <a:gd name="connsiteY92" fmla="*/ 432 h 10000"/>
                <a:gd name="connsiteX93" fmla="*/ 5085 w 10000"/>
                <a:gd name="connsiteY93" fmla="*/ 480 h 10000"/>
                <a:gd name="connsiteX94" fmla="*/ 5099 w 10000"/>
                <a:gd name="connsiteY94" fmla="*/ 527 h 10000"/>
                <a:gd name="connsiteX95" fmla="*/ 5112 w 10000"/>
                <a:gd name="connsiteY95" fmla="*/ 586 h 10000"/>
                <a:gd name="connsiteX96" fmla="*/ 5126 w 10000"/>
                <a:gd name="connsiteY96" fmla="*/ 639 h 10000"/>
                <a:gd name="connsiteX97" fmla="*/ 5152 w 10000"/>
                <a:gd name="connsiteY97" fmla="*/ 639 h 10000"/>
                <a:gd name="connsiteX98" fmla="*/ 5188 w 10000"/>
                <a:gd name="connsiteY98" fmla="*/ 645 h 10000"/>
                <a:gd name="connsiteX99" fmla="*/ 5224 w 10000"/>
                <a:gd name="connsiteY99" fmla="*/ 663 h 10000"/>
                <a:gd name="connsiteX100" fmla="*/ 5260 w 10000"/>
                <a:gd name="connsiteY100" fmla="*/ 675 h 10000"/>
                <a:gd name="connsiteX101" fmla="*/ 5296 w 10000"/>
                <a:gd name="connsiteY101" fmla="*/ 687 h 10000"/>
                <a:gd name="connsiteX102" fmla="*/ 5332 w 10000"/>
                <a:gd name="connsiteY102" fmla="*/ 716 h 10000"/>
                <a:gd name="connsiteX103" fmla="*/ 5363 w 10000"/>
                <a:gd name="connsiteY103" fmla="*/ 734 h 10000"/>
                <a:gd name="connsiteX104" fmla="*/ 5390 w 10000"/>
                <a:gd name="connsiteY104" fmla="*/ 770 h 10000"/>
                <a:gd name="connsiteX105" fmla="*/ 5413 w 10000"/>
                <a:gd name="connsiteY105" fmla="*/ 941 h 10000"/>
                <a:gd name="connsiteX106" fmla="*/ 5435 w 10000"/>
                <a:gd name="connsiteY106" fmla="*/ 1297 h 10000"/>
                <a:gd name="connsiteX107" fmla="*/ 5462 w 10000"/>
                <a:gd name="connsiteY107" fmla="*/ 1794 h 10000"/>
                <a:gd name="connsiteX108" fmla="*/ 5489 w 10000"/>
                <a:gd name="connsiteY108" fmla="*/ 2404 h 10000"/>
                <a:gd name="connsiteX109" fmla="*/ 9928 w 10000"/>
                <a:gd name="connsiteY109" fmla="*/ 2416 h 10000"/>
                <a:gd name="connsiteX110" fmla="*/ 10000 w 10000"/>
                <a:gd name="connsiteY110" fmla="*/ 3410 h 10000"/>
                <a:gd name="connsiteX111" fmla="*/ 9978 w 10000"/>
                <a:gd name="connsiteY111" fmla="*/ 3529 h 10000"/>
                <a:gd name="connsiteX112" fmla="*/ 9946 w 10000"/>
                <a:gd name="connsiteY112" fmla="*/ 3623 h 10000"/>
                <a:gd name="connsiteX113" fmla="*/ 9901 w 10000"/>
                <a:gd name="connsiteY113" fmla="*/ 3694 h 10000"/>
                <a:gd name="connsiteX114" fmla="*/ 9852 w 10000"/>
                <a:gd name="connsiteY114" fmla="*/ 3760 h 10000"/>
                <a:gd name="connsiteX115" fmla="*/ 9798 w 10000"/>
                <a:gd name="connsiteY115" fmla="*/ 3807 h 10000"/>
                <a:gd name="connsiteX116" fmla="*/ 9753 w 10000"/>
                <a:gd name="connsiteY116" fmla="*/ 3843 h 10000"/>
                <a:gd name="connsiteX117" fmla="*/ 9722 w 10000"/>
                <a:gd name="connsiteY117" fmla="*/ 3860 h 10000"/>
                <a:gd name="connsiteX118" fmla="*/ 9709 w 10000"/>
                <a:gd name="connsiteY118"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8090 w 10000"/>
                <a:gd name="connsiteY10" fmla="*/ 4393 h 10000"/>
                <a:gd name="connsiteX11" fmla="*/ 5435 w 10000"/>
                <a:gd name="connsiteY11" fmla="*/ 4494 h 10000"/>
                <a:gd name="connsiteX12" fmla="*/ 5422 w 10000"/>
                <a:gd name="connsiteY12" fmla="*/ 4494 h 10000"/>
                <a:gd name="connsiteX13" fmla="*/ 5152 w 10000"/>
                <a:gd name="connsiteY13" fmla="*/ 7620 h 10000"/>
                <a:gd name="connsiteX14" fmla="*/ 6516 w 10000"/>
                <a:gd name="connsiteY14" fmla="*/ 7999 h 10000"/>
                <a:gd name="connsiteX15" fmla="*/ 6565 w 10000"/>
                <a:gd name="connsiteY15" fmla="*/ 8034 h 10000"/>
                <a:gd name="connsiteX16" fmla="*/ 6601 w 10000"/>
                <a:gd name="connsiteY16" fmla="*/ 8105 h 10000"/>
                <a:gd name="connsiteX17" fmla="*/ 6623 w 10000"/>
                <a:gd name="connsiteY17" fmla="*/ 8200 h 10000"/>
                <a:gd name="connsiteX18" fmla="*/ 6632 w 10000"/>
                <a:gd name="connsiteY18" fmla="*/ 8307 h 10000"/>
                <a:gd name="connsiteX19" fmla="*/ 6543 w 10000"/>
                <a:gd name="connsiteY19" fmla="*/ 9053 h 10000"/>
                <a:gd name="connsiteX20" fmla="*/ 5291 w 10000"/>
                <a:gd name="connsiteY20" fmla="*/ 9153 h 10000"/>
                <a:gd name="connsiteX21" fmla="*/ 5099 w 10000"/>
                <a:gd name="connsiteY21" fmla="*/ 8620 h 10000"/>
                <a:gd name="connsiteX22" fmla="*/ 5099 w 10000"/>
                <a:gd name="connsiteY22" fmla="*/ 8686 h 10000"/>
                <a:gd name="connsiteX23" fmla="*/ 5090 w 10000"/>
                <a:gd name="connsiteY23" fmla="*/ 8840 h 10000"/>
                <a:gd name="connsiteX24" fmla="*/ 5081 w 10000"/>
                <a:gd name="connsiteY24" fmla="*/ 9059 h 10000"/>
                <a:gd name="connsiteX25" fmla="*/ 5063 w 10000"/>
                <a:gd name="connsiteY25" fmla="*/ 9307 h 10000"/>
                <a:gd name="connsiteX26" fmla="*/ 5040 w 10000"/>
                <a:gd name="connsiteY26" fmla="*/ 9568 h 10000"/>
                <a:gd name="connsiteX27" fmla="*/ 5013 w 10000"/>
                <a:gd name="connsiteY27" fmla="*/ 9787 h 10000"/>
                <a:gd name="connsiteX28" fmla="*/ 4978 w 10000"/>
                <a:gd name="connsiteY28" fmla="*/ 9947 h 10000"/>
                <a:gd name="connsiteX29" fmla="*/ 4928 w 10000"/>
                <a:gd name="connsiteY29" fmla="*/ 10000 h 10000"/>
                <a:gd name="connsiteX30" fmla="*/ 4852 w 10000"/>
                <a:gd name="connsiteY30" fmla="*/ 9781 h 10000"/>
                <a:gd name="connsiteX31" fmla="*/ 4816 w 10000"/>
                <a:gd name="connsiteY31" fmla="*/ 9307 h 10000"/>
                <a:gd name="connsiteX32" fmla="*/ 4803 w 10000"/>
                <a:gd name="connsiteY32" fmla="*/ 8834 h 10000"/>
                <a:gd name="connsiteX33" fmla="*/ 4794 w 10000"/>
                <a:gd name="connsiteY33" fmla="*/ 8620 h 10000"/>
                <a:gd name="connsiteX34" fmla="*/ 4601 w 10000"/>
                <a:gd name="connsiteY34" fmla="*/ 9153 h 10000"/>
                <a:gd name="connsiteX35" fmla="*/ 3368 w 10000"/>
                <a:gd name="connsiteY35" fmla="*/ 9053 h 10000"/>
                <a:gd name="connsiteX36" fmla="*/ 3260 w 10000"/>
                <a:gd name="connsiteY36" fmla="*/ 8307 h 10000"/>
                <a:gd name="connsiteX37" fmla="*/ 3265 w 10000"/>
                <a:gd name="connsiteY37" fmla="*/ 8200 h 10000"/>
                <a:gd name="connsiteX38" fmla="*/ 3291 w 10000"/>
                <a:gd name="connsiteY38" fmla="*/ 8105 h 10000"/>
                <a:gd name="connsiteX39" fmla="*/ 3323 w 10000"/>
                <a:gd name="connsiteY39" fmla="*/ 8034 h 10000"/>
                <a:gd name="connsiteX40" fmla="*/ 3368 w 10000"/>
                <a:gd name="connsiteY40" fmla="*/ 7999 h 10000"/>
                <a:gd name="connsiteX41" fmla="*/ 4740 w 10000"/>
                <a:gd name="connsiteY41" fmla="*/ 7620 h 10000"/>
                <a:gd name="connsiteX42" fmla="*/ 4475 w 10000"/>
                <a:gd name="connsiteY42" fmla="*/ 4494 h 10000"/>
                <a:gd name="connsiteX43" fmla="*/ 511 w 10000"/>
                <a:gd name="connsiteY43" fmla="*/ 4044 h 10000"/>
                <a:gd name="connsiteX44" fmla="*/ 502 w 10000"/>
                <a:gd name="connsiteY44" fmla="*/ 4044 h 10000"/>
                <a:gd name="connsiteX45" fmla="*/ 471 w 10000"/>
                <a:gd name="connsiteY45" fmla="*/ 4032 h 10000"/>
                <a:gd name="connsiteX46" fmla="*/ 430 w 10000"/>
                <a:gd name="connsiteY46" fmla="*/ 4020 h 10000"/>
                <a:gd name="connsiteX47" fmla="*/ 386 w 10000"/>
                <a:gd name="connsiteY47" fmla="*/ 3996 h 10000"/>
                <a:gd name="connsiteX48" fmla="*/ 341 w 10000"/>
                <a:gd name="connsiteY48" fmla="*/ 3985 h 10000"/>
                <a:gd name="connsiteX49" fmla="*/ 300 w 10000"/>
                <a:gd name="connsiteY49" fmla="*/ 3967 h 10000"/>
                <a:gd name="connsiteX50" fmla="*/ 269 w 10000"/>
                <a:gd name="connsiteY50" fmla="*/ 3955 h 10000"/>
                <a:gd name="connsiteX51" fmla="*/ 260 w 10000"/>
                <a:gd name="connsiteY51" fmla="*/ 3955 h 10000"/>
                <a:gd name="connsiteX52" fmla="*/ 179 w 10000"/>
                <a:gd name="connsiteY52" fmla="*/ 3914 h 10000"/>
                <a:gd name="connsiteX53" fmla="*/ 126 w 10000"/>
                <a:gd name="connsiteY53" fmla="*/ 3860 h 10000"/>
                <a:gd name="connsiteX54" fmla="*/ 76 w 10000"/>
                <a:gd name="connsiteY54" fmla="*/ 3813 h 10000"/>
                <a:gd name="connsiteX55" fmla="*/ 54 w 10000"/>
                <a:gd name="connsiteY55" fmla="*/ 3760 h 10000"/>
                <a:gd name="connsiteX56" fmla="*/ 31 w 10000"/>
                <a:gd name="connsiteY56" fmla="*/ 3718 h 10000"/>
                <a:gd name="connsiteX57" fmla="*/ 22 w 10000"/>
                <a:gd name="connsiteY57" fmla="*/ 3677 h 10000"/>
                <a:gd name="connsiteX58" fmla="*/ 13 w 10000"/>
                <a:gd name="connsiteY58" fmla="*/ 3647 h 10000"/>
                <a:gd name="connsiteX59" fmla="*/ 13 w 10000"/>
                <a:gd name="connsiteY59" fmla="*/ 3641 h 10000"/>
                <a:gd name="connsiteX60" fmla="*/ 0 w 10000"/>
                <a:gd name="connsiteY60" fmla="*/ 2351 h 10000"/>
                <a:gd name="connsiteX61" fmla="*/ 4408 w 10000"/>
                <a:gd name="connsiteY61" fmla="*/ 2345 h 10000"/>
                <a:gd name="connsiteX62" fmla="*/ 4439 w 10000"/>
                <a:gd name="connsiteY62" fmla="*/ 1764 h 10000"/>
                <a:gd name="connsiteX63" fmla="*/ 4466 w 10000"/>
                <a:gd name="connsiteY63" fmla="*/ 1291 h 10000"/>
                <a:gd name="connsiteX64" fmla="*/ 4484 w 10000"/>
                <a:gd name="connsiteY64" fmla="*/ 941 h 10000"/>
                <a:gd name="connsiteX65" fmla="*/ 4516 w 10000"/>
                <a:gd name="connsiteY65" fmla="*/ 770 h 10000"/>
                <a:gd name="connsiteX66" fmla="*/ 4538 w 10000"/>
                <a:gd name="connsiteY66" fmla="*/ 734 h 10000"/>
                <a:gd name="connsiteX67" fmla="*/ 4565 w 10000"/>
                <a:gd name="connsiteY67" fmla="*/ 716 h 10000"/>
                <a:gd name="connsiteX68" fmla="*/ 4596 w 10000"/>
                <a:gd name="connsiteY68" fmla="*/ 687 h 10000"/>
                <a:gd name="connsiteX69" fmla="*/ 4632 w 10000"/>
                <a:gd name="connsiteY69" fmla="*/ 675 h 10000"/>
                <a:gd name="connsiteX70" fmla="*/ 4668 w 10000"/>
                <a:gd name="connsiteY70" fmla="*/ 663 h 10000"/>
                <a:gd name="connsiteX71" fmla="*/ 4704 w 10000"/>
                <a:gd name="connsiteY71" fmla="*/ 645 h 10000"/>
                <a:gd name="connsiteX72" fmla="*/ 4740 w 10000"/>
                <a:gd name="connsiteY72" fmla="*/ 639 h 10000"/>
                <a:gd name="connsiteX73" fmla="*/ 4767 w 10000"/>
                <a:gd name="connsiteY73" fmla="*/ 639 h 10000"/>
                <a:gd name="connsiteX74" fmla="*/ 4780 w 10000"/>
                <a:gd name="connsiteY74" fmla="*/ 586 h 10000"/>
                <a:gd name="connsiteX75" fmla="*/ 4789 w 10000"/>
                <a:gd name="connsiteY75" fmla="*/ 527 h 10000"/>
                <a:gd name="connsiteX76" fmla="*/ 4807 w 10000"/>
                <a:gd name="connsiteY76" fmla="*/ 480 h 10000"/>
                <a:gd name="connsiteX77" fmla="*/ 4816 w 10000"/>
                <a:gd name="connsiteY77" fmla="*/ 432 h 10000"/>
                <a:gd name="connsiteX78" fmla="*/ 3789 w 10000"/>
                <a:gd name="connsiteY78" fmla="*/ 432 h 10000"/>
                <a:gd name="connsiteX79" fmla="*/ 3789 w 10000"/>
                <a:gd name="connsiteY79" fmla="*/ 219 h 10000"/>
                <a:gd name="connsiteX80" fmla="*/ 4834 w 10000"/>
                <a:gd name="connsiteY80" fmla="*/ 219 h 10000"/>
                <a:gd name="connsiteX81" fmla="*/ 4857 w 10000"/>
                <a:gd name="connsiteY81" fmla="*/ 148 h 10000"/>
                <a:gd name="connsiteX82" fmla="*/ 4883 w 10000"/>
                <a:gd name="connsiteY82" fmla="*/ 77 h 10000"/>
                <a:gd name="connsiteX83" fmla="*/ 4910 w 10000"/>
                <a:gd name="connsiteY83" fmla="*/ 18 h 10000"/>
                <a:gd name="connsiteX84" fmla="*/ 4946 w 10000"/>
                <a:gd name="connsiteY84" fmla="*/ 0 h 10000"/>
                <a:gd name="connsiteX85" fmla="*/ 4982 w 10000"/>
                <a:gd name="connsiteY85" fmla="*/ 18 h 10000"/>
                <a:gd name="connsiteX86" fmla="*/ 5009 w 10000"/>
                <a:gd name="connsiteY86" fmla="*/ 77 h 10000"/>
                <a:gd name="connsiteX87" fmla="*/ 5031 w 10000"/>
                <a:gd name="connsiteY87" fmla="*/ 148 h 10000"/>
                <a:gd name="connsiteX88" fmla="*/ 5054 w 10000"/>
                <a:gd name="connsiteY88" fmla="*/ 219 h 10000"/>
                <a:gd name="connsiteX89" fmla="*/ 6135 w 10000"/>
                <a:gd name="connsiteY89" fmla="*/ 219 h 10000"/>
                <a:gd name="connsiteX90" fmla="*/ 6135 w 10000"/>
                <a:gd name="connsiteY90" fmla="*/ 432 h 10000"/>
                <a:gd name="connsiteX91" fmla="*/ 5076 w 10000"/>
                <a:gd name="connsiteY91" fmla="*/ 432 h 10000"/>
                <a:gd name="connsiteX92" fmla="*/ 5085 w 10000"/>
                <a:gd name="connsiteY92" fmla="*/ 480 h 10000"/>
                <a:gd name="connsiteX93" fmla="*/ 5099 w 10000"/>
                <a:gd name="connsiteY93" fmla="*/ 527 h 10000"/>
                <a:gd name="connsiteX94" fmla="*/ 5112 w 10000"/>
                <a:gd name="connsiteY94" fmla="*/ 586 h 10000"/>
                <a:gd name="connsiteX95" fmla="*/ 5126 w 10000"/>
                <a:gd name="connsiteY95" fmla="*/ 639 h 10000"/>
                <a:gd name="connsiteX96" fmla="*/ 5152 w 10000"/>
                <a:gd name="connsiteY96" fmla="*/ 639 h 10000"/>
                <a:gd name="connsiteX97" fmla="*/ 5188 w 10000"/>
                <a:gd name="connsiteY97" fmla="*/ 645 h 10000"/>
                <a:gd name="connsiteX98" fmla="*/ 5224 w 10000"/>
                <a:gd name="connsiteY98" fmla="*/ 663 h 10000"/>
                <a:gd name="connsiteX99" fmla="*/ 5260 w 10000"/>
                <a:gd name="connsiteY99" fmla="*/ 675 h 10000"/>
                <a:gd name="connsiteX100" fmla="*/ 5296 w 10000"/>
                <a:gd name="connsiteY100" fmla="*/ 687 h 10000"/>
                <a:gd name="connsiteX101" fmla="*/ 5332 w 10000"/>
                <a:gd name="connsiteY101" fmla="*/ 716 h 10000"/>
                <a:gd name="connsiteX102" fmla="*/ 5363 w 10000"/>
                <a:gd name="connsiteY102" fmla="*/ 734 h 10000"/>
                <a:gd name="connsiteX103" fmla="*/ 5390 w 10000"/>
                <a:gd name="connsiteY103" fmla="*/ 770 h 10000"/>
                <a:gd name="connsiteX104" fmla="*/ 5413 w 10000"/>
                <a:gd name="connsiteY104" fmla="*/ 941 h 10000"/>
                <a:gd name="connsiteX105" fmla="*/ 5435 w 10000"/>
                <a:gd name="connsiteY105" fmla="*/ 1297 h 10000"/>
                <a:gd name="connsiteX106" fmla="*/ 5462 w 10000"/>
                <a:gd name="connsiteY106" fmla="*/ 1794 h 10000"/>
                <a:gd name="connsiteX107" fmla="*/ 5489 w 10000"/>
                <a:gd name="connsiteY107" fmla="*/ 2404 h 10000"/>
                <a:gd name="connsiteX108" fmla="*/ 9928 w 10000"/>
                <a:gd name="connsiteY108" fmla="*/ 2416 h 10000"/>
                <a:gd name="connsiteX109" fmla="*/ 10000 w 10000"/>
                <a:gd name="connsiteY109" fmla="*/ 3410 h 10000"/>
                <a:gd name="connsiteX110" fmla="*/ 9978 w 10000"/>
                <a:gd name="connsiteY110" fmla="*/ 3529 h 10000"/>
                <a:gd name="connsiteX111" fmla="*/ 9946 w 10000"/>
                <a:gd name="connsiteY111" fmla="*/ 3623 h 10000"/>
                <a:gd name="connsiteX112" fmla="*/ 9901 w 10000"/>
                <a:gd name="connsiteY112" fmla="*/ 3694 h 10000"/>
                <a:gd name="connsiteX113" fmla="*/ 9852 w 10000"/>
                <a:gd name="connsiteY113" fmla="*/ 3760 h 10000"/>
                <a:gd name="connsiteX114" fmla="*/ 9798 w 10000"/>
                <a:gd name="connsiteY114" fmla="*/ 3807 h 10000"/>
                <a:gd name="connsiteX115" fmla="*/ 9753 w 10000"/>
                <a:gd name="connsiteY115" fmla="*/ 3843 h 10000"/>
                <a:gd name="connsiteX116" fmla="*/ 9722 w 10000"/>
                <a:gd name="connsiteY116" fmla="*/ 3860 h 10000"/>
                <a:gd name="connsiteX117" fmla="*/ 9709 w 10000"/>
                <a:gd name="connsiteY117"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8184 w 10000"/>
                <a:gd name="connsiteY9" fmla="*/ 4369 h 10000"/>
                <a:gd name="connsiteX10" fmla="*/ 5435 w 10000"/>
                <a:gd name="connsiteY10" fmla="*/ 4494 h 10000"/>
                <a:gd name="connsiteX11" fmla="*/ 5422 w 10000"/>
                <a:gd name="connsiteY11" fmla="*/ 4494 h 10000"/>
                <a:gd name="connsiteX12" fmla="*/ 5152 w 10000"/>
                <a:gd name="connsiteY12" fmla="*/ 7620 h 10000"/>
                <a:gd name="connsiteX13" fmla="*/ 6516 w 10000"/>
                <a:gd name="connsiteY13" fmla="*/ 7999 h 10000"/>
                <a:gd name="connsiteX14" fmla="*/ 6565 w 10000"/>
                <a:gd name="connsiteY14" fmla="*/ 8034 h 10000"/>
                <a:gd name="connsiteX15" fmla="*/ 6601 w 10000"/>
                <a:gd name="connsiteY15" fmla="*/ 8105 h 10000"/>
                <a:gd name="connsiteX16" fmla="*/ 6623 w 10000"/>
                <a:gd name="connsiteY16" fmla="*/ 8200 h 10000"/>
                <a:gd name="connsiteX17" fmla="*/ 6632 w 10000"/>
                <a:gd name="connsiteY17" fmla="*/ 8307 h 10000"/>
                <a:gd name="connsiteX18" fmla="*/ 6543 w 10000"/>
                <a:gd name="connsiteY18" fmla="*/ 9053 h 10000"/>
                <a:gd name="connsiteX19" fmla="*/ 5291 w 10000"/>
                <a:gd name="connsiteY19" fmla="*/ 9153 h 10000"/>
                <a:gd name="connsiteX20" fmla="*/ 5099 w 10000"/>
                <a:gd name="connsiteY20" fmla="*/ 8620 h 10000"/>
                <a:gd name="connsiteX21" fmla="*/ 5099 w 10000"/>
                <a:gd name="connsiteY21" fmla="*/ 8686 h 10000"/>
                <a:gd name="connsiteX22" fmla="*/ 5090 w 10000"/>
                <a:gd name="connsiteY22" fmla="*/ 8840 h 10000"/>
                <a:gd name="connsiteX23" fmla="*/ 5081 w 10000"/>
                <a:gd name="connsiteY23" fmla="*/ 9059 h 10000"/>
                <a:gd name="connsiteX24" fmla="*/ 5063 w 10000"/>
                <a:gd name="connsiteY24" fmla="*/ 9307 h 10000"/>
                <a:gd name="connsiteX25" fmla="*/ 5040 w 10000"/>
                <a:gd name="connsiteY25" fmla="*/ 9568 h 10000"/>
                <a:gd name="connsiteX26" fmla="*/ 5013 w 10000"/>
                <a:gd name="connsiteY26" fmla="*/ 9787 h 10000"/>
                <a:gd name="connsiteX27" fmla="*/ 4978 w 10000"/>
                <a:gd name="connsiteY27" fmla="*/ 9947 h 10000"/>
                <a:gd name="connsiteX28" fmla="*/ 4928 w 10000"/>
                <a:gd name="connsiteY28" fmla="*/ 10000 h 10000"/>
                <a:gd name="connsiteX29" fmla="*/ 4852 w 10000"/>
                <a:gd name="connsiteY29" fmla="*/ 9781 h 10000"/>
                <a:gd name="connsiteX30" fmla="*/ 4816 w 10000"/>
                <a:gd name="connsiteY30" fmla="*/ 9307 h 10000"/>
                <a:gd name="connsiteX31" fmla="*/ 4803 w 10000"/>
                <a:gd name="connsiteY31" fmla="*/ 8834 h 10000"/>
                <a:gd name="connsiteX32" fmla="*/ 4794 w 10000"/>
                <a:gd name="connsiteY32" fmla="*/ 8620 h 10000"/>
                <a:gd name="connsiteX33" fmla="*/ 4601 w 10000"/>
                <a:gd name="connsiteY33" fmla="*/ 9153 h 10000"/>
                <a:gd name="connsiteX34" fmla="*/ 3368 w 10000"/>
                <a:gd name="connsiteY34" fmla="*/ 9053 h 10000"/>
                <a:gd name="connsiteX35" fmla="*/ 3260 w 10000"/>
                <a:gd name="connsiteY35" fmla="*/ 8307 h 10000"/>
                <a:gd name="connsiteX36" fmla="*/ 3265 w 10000"/>
                <a:gd name="connsiteY36" fmla="*/ 8200 h 10000"/>
                <a:gd name="connsiteX37" fmla="*/ 3291 w 10000"/>
                <a:gd name="connsiteY37" fmla="*/ 8105 h 10000"/>
                <a:gd name="connsiteX38" fmla="*/ 3323 w 10000"/>
                <a:gd name="connsiteY38" fmla="*/ 8034 h 10000"/>
                <a:gd name="connsiteX39" fmla="*/ 3368 w 10000"/>
                <a:gd name="connsiteY39" fmla="*/ 7999 h 10000"/>
                <a:gd name="connsiteX40" fmla="*/ 4740 w 10000"/>
                <a:gd name="connsiteY40" fmla="*/ 7620 h 10000"/>
                <a:gd name="connsiteX41" fmla="*/ 4475 w 10000"/>
                <a:gd name="connsiteY41" fmla="*/ 4494 h 10000"/>
                <a:gd name="connsiteX42" fmla="*/ 511 w 10000"/>
                <a:gd name="connsiteY42" fmla="*/ 4044 h 10000"/>
                <a:gd name="connsiteX43" fmla="*/ 502 w 10000"/>
                <a:gd name="connsiteY43" fmla="*/ 4044 h 10000"/>
                <a:gd name="connsiteX44" fmla="*/ 471 w 10000"/>
                <a:gd name="connsiteY44" fmla="*/ 4032 h 10000"/>
                <a:gd name="connsiteX45" fmla="*/ 430 w 10000"/>
                <a:gd name="connsiteY45" fmla="*/ 4020 h 10000"/>
                <a:gd name="connsiteX46" fmla="*/ 386 w 10000"/>
                <a:gd name="connsiteY46" fmla="*/ 3996 h 10000"/>
                <a:gd name="connsiteX47" fmla="*/ 341 w 10000"/>
                <a:gd name="connsiteY47" fmla="*/ 3985 h 10000"/>
                <a:gd name="connsiteX48" fmla="*/ 300 w 10000"/>
                <a:gd name="connsiteY48" fmla="*/ 3967 h 10000"/>
                <a:gd name="connsiteX49" fmla="*/ 269 w 10000"/>
                <a:gd name="connsiteY49" fmla="*/ 3955 h 10000"/>
                <a:gd name="connsiteX50" fmla="*/ 260 w 10000"/>
                <a:gd name="connsiteY50" fmla="*/ 3955 h 10000"/>
                <a:gd name="connsiteX51" fmla="*/ 179 w 10000"/>
                <a:gd name="connsiteY51" fmla="*/ 3914 h 10000"/>
                <a:gd name="connsiteX52" fmla="*/ 126 w 10000"/>
                <a:gd name="connsiteY52" fmla="*/ 3860 h 10000"/>
                <a:gd name="connsiteX53" fmla="*/ 76 w 10000"/>
                <a:gd name="connsiteY53" fmla="*/ 3813 h 10000"/>
                <a:gd name="connsiteX54" fmla="*/ 54 w 10000"/>
                <a:gd name="connsiteY54" fmla="*/ 3760 h 10000"/>
                <a:gd name="connsiteX55" fmla="*/ 31 w 10000"/>
                <a:gd name="connsiteY55" fmla="*/ 3718 h 10000"/>
                <a:gd name="connsiteX56" fmla="*/ 22 w 10000"/>
                <a:gd name="connsiteY56" fmla="*/ 3677 h 10000"/>
                <a:gd name="connsiteX57" fmla="*/ 13 w 10000"/>
                <a:gd name="connsiteY57" fmla="*/ 3647 h 10000"/>
                <a:gd name="connsiteX58" fmla="*/ 13 w 10000"/>
                <a:gd name="connsiteY58" fmla="*/ 3641 h 10000"/>
                <a:gd name="connsiteX59" fmla="*/ 0 w 10000"/>
                <a:gd name="connsiteY59" fmla="*/ 2351 h 10000"/>
                <a:gd name="connsiteX60" fmla="*/ 4408 w 10000"/>
                <a:gd name="connsiteY60" fmla="*/ 2345 h 10000"/>
                <a:gd name="connsiteX61" fmla="*/ 4439 w 10000"/>
                <a:gd name="connsiteY61" fmla="*/ 1764 h 10000"/>
                <a:gd name="connsiteX62" fmla="*/ 4466 w 10000"/>
                <a:gd name="connsiteY62" fmla="*/ 1291 h 10000"/>
                <a:gd name="connsiteX63" fmla="*/ 4484 w 10000"/>
                <a:gd name="connsiteY63" fmla="*/ 941 h 10000"/>
                <a:gd name="connsiteX64" fmla="*/ 4516 w 10000"/>
                <a:gd name="connsiteY64" fmla="*/ 770 h 10000"/>
                <a:gd name="connsiteX65" fmla="*/ 4538 w 10000"/>
                <a:gd name="connsiteY65" fmla="*/ 734 h 10000"/>
                <a:gd name="connsiteX66" fmla="*/ 4565 w 10000"/>
                <a:gd name="connsiteY66" fmla="*/ 716 h 10000"/>
                <a:gd name="connsiteX67" fmla="*/ 4596 w 10000"/>
                <a:gd name="connsiteY67" fmla="*/ 687 h 10000"/>
                <a:gd name="connsiteX68" fmla="*/ 4632 w 10000"/>
                <a:gd name="connsiteY68" fmla="*/ 675 h 10000"/>
                <a:gd name="connsiteX69" fmla="*/ 4668 w 10000"/>
                <a:gd name="connsiteY69" fmla="*/ 663 h 10000"/>
                <a:gd name="connsiteX70" fmla="*/ 4704 w 10000"/>
                <a:gd name="connsiteY70" fmla="*/ 645 h 10000"/>
                <a:gd name="connsiteX71" fmla="*/ 4740 w 10000"/>
                <a:gd name="connsiteY71" fmla="*/ 639 h 10000"/>
                <a:gd name="connsiteX72" fmla="*/ 4767 w 10000"/>
                <a:gd name="connsiteY72" fmla="*/ 639 h 10000"/>
                <a:gd name="connsiteX73" fmla="*/ 4780 w 10000"/>
                <a:gd name="connsiteY73" fmla="*/ 586 h 10000"/>
                <a:gd name="connsiteX74" fmla="*/ 4789 w 10000"/>
                <a:gd name="connsiteY74" fmla="*/ 527 h 10000"/>
                <a:gd name="connsiteX75" fmla="*/ 4807 w 10000"/>
                <a:gd name="connsiteY75" fmla="*/ 480 h 10000"/>
                <a:gd name="connsiteX76" fmla="*/ 4816 w 10000"/>
                <a:gd name="connsiteY76" fmla="*/ 432 h 10000"/>
                <a:gd name="connsiteX77" fmla="*/ 3789 w 10000"/>
                <a:gd name="connsiteY77" fmla="*/ 432 h 10000"/>
                <a:gd name="connsiteX78" fmla="*/ 3789 w 10000"/>
                <a:gd name="connsiteY78" fmla="*/ 219 h 10000"/>
                <a:gd name="connsiteX79" fmla="*/ 4834 w 10000"/>
                <a:gd name="connsiteY79" fmla="*/ 219 h 10000"/>
                <a:gd name="connsiteX80" fmla="*/ 4857 w 10000"/>
                <a:gd name="connsiteY80" fmla="*/ 148 h 10000"/>
                <a:gd name="connsiteX81" fmla="*/ 4883 w 10000"/>
                <a:gd name="connsiteY81" fmla="*/ 77 h 10000"/>
                <a:gd name="connsiteX82" fmla="*/ 4910 w 10000"/>
                <a:gd name="connsiteY82" fmla="*/ 18 h 10000"/>
                <a:gd name="connsiteX83" fmla="*/ 4946 w 10000"/>
                <a:gd name="connsiteY83" fmla="*/ 0 h 10000"/>
                <a:gd name="connsiteX84" fmla="*/ 4982 w 10000"/>
                <a:gd name="connsiteY84" fmla="*/ 18 h 10000"/>
                <a:gd name="connsiteX85" fmla="*/ 5009 w 10000"/>
                <a:gd name="connsiteY85" fmla="*/ 77 h 10000"/>
                <a:gd name="connsiteX86" fmla="*/ 5031 w 10000"/>
                <a:gd name="connsiteY86" fmla="*/ 148 h 10000"/>
                <a:gd name="connsiteX87" fmla="*/ 5054 w 10000"/>
                <a:gd name="connsiteY87" fmla="*/ 219 h 10000"/>
                <a:gd name="connsiteX88" fmla="*/ 6135 w 10000"/>
                <a:gd name="connsiteY88" fmla="*/ 219 h 10000"/>
                <a:gd name="connsiteX89" fmla="*/ 6135 w 10000"/>
                <a:gd name="connsiteY89" fmla="*/ 432 h 10000"/>
                <a:gd name="connsiteX90" fmla="*/ 5076 w 10000"/>
                <a:gd name="connsiteY90" fmla="*/ 432 h 10000"/>
                <a:gd name="connsiteX91" fmla="*/ 5085 w 10000"/>
                <a:gd name="connsiteY91" fmla="*/ 480 h 10000"/>
                <a:gd name="connsiteX92" fmla="*/ 5099 w 10000"/>
                <a:gd name="connsiteY92" fmla="*/ 527 h 10000"/>
                <a:gd name="connsiteX93" fmla="*/ 5112 w 10000"/>
                <a:gd name="connsiteY93" fmla="*/ 586 h 10000"/>
                <a:gd name="connsiteX94" fmla="*/ 5126 w 10000"/>
                <a:gd name="connsiteY94" fmla="*/ 639 h 10000"/>
                <a:gd name="connsiteX95" fmla="*/ 5152 w 10000"/>
                <a:gd name="connsiteY95" fmla="*/ 639 h 10000"/>
                <a:gd name="connsiteX96" fmla="*/ 5188 w 10000"/>
                <a:gd name="connsiteY96" fmla="*/ 645 h 10000"/>
                <a:gd name="connsiteX97" fmla="*/ 5224 w 10000"/>
                <a:gd name="connsiteY97" fmla="*/ 663 h 10000"/>
                <a:gd name="connsiteX98" fmla="*/ 5260 w 10000"/>
                <a:gd name="connsiteY98" fmla="*/ 675 h 10000"/>
                <a:gd name="connsiteX99" fmla="*/ 5296 w 10000"/>
                <a:gd name="connsiteY99" fmla="*/ 687 h 10000"/>
                <a:gd name="connsiteX100" fmla="*/ 5332 w 10000"/>
                <a:gd name="connsiteY100" fmla="*/ 716 h 10000"/>
                <a:gd name="connsiteX101" fmla="*/ 5363 w 10000"/>
                <a:gd name="connsiteY101" fmla="*/ 734 h 10000"/>
                <a:gd name="connsiteX102" fmla="*/ 5390 w 10000"/>
                <a:gd name="connsiteY102" fmla="*/ 770 h 10000"/>
                <a:gd name="connsiteX103" fmla="*/ 5413 w 10000"/>
                <a:gd name="connsiteY103" fmla="*/ 941 h 10000"/>
                <a:gd name="connsiteX104" fmla="*/ 5435 w 10000"/>
                <a:gd name="connsiteY104" fmla="*/ 1297 h 10000"/>
                <a:gd name="connsiteX105" fmla="*/ 5462 w 10000"/>
                <a:gd name="connsiteY105" fmla="*/ 1794 h 10000"/>
                <a:gd name="connsiteX106" fmla="*/ 5489 w 10000"/>
                <a:gd name="connsiteY106" fmla="*/ 2404 h 10000"/>
                <a:gd name="connsiteX107" fmla="*/ 9928 w 10000"/>
                <a:gd name="connsiteY107" fmla="*/ 2416 h 10000"/>
                <a:gd name="connsiteX108" fmla="*/ 10000 w 10000"/>
                <a:gd name="connsiteY108" fmla="*/ 3410 h 10000"/>
                <a:gd name="connsiteX109" fmla="*/ 9978 w 10000"/>
                <a:gd name="connsiteY109" fmla="*/ 3529 h 10000"/>
                <a:gd name="connsiteX110" fmla="*/ 9946 w 10000"/>
                <a:gd name="connsiteY110" fmla="*/ 3623 h 10000"/>
                <a:gd name="connsiteX111" fmla="*/ 9901 w 10000"/>
                <a:gd name="connsiteY111" fmla="*/ 3694 h 10000"/>
                <a:gd name="connsiteX112" fmla="*/ 9852 w 10000"/>
                <a:gd name="connsiteY112" fmla="*/ 3760 h 10000"/>
                <a:gd name="connsiteX113" fmla="*/ 9798 w 10000"/>
                <a:gd name="connsiteY113" fmla="*/ 3807 h 10000"/>
                <a:gd name="connsiteX114" fmla="*/ 9753 w 10000"/>
                <a:gd name="connsiteY114" fmla="*/ 3843 h 10000"/>
                <a:gd name="connsiteX115" fmla="*/ 9722 w 10000"/>
                <a:gd name="connsiteY115" fmla="*/ 3860 h 10000"/>
                <a:gd name="connsiteX116" fmla="*/ 9709 w 10000"/>
                <a:gd name="connsiteY116"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8278 w 10000"/>
                <a:gd name="connsiteY8" fmla="*/ 4346 h 10000"/>
                <a:gd name="connsiteX9" fmla="*/ 5435 w 10000"/>
                <a:gd name="connsiteY9" fmla="*/ 4494 h 10000"/>
                <a:gd name="connsiteX10" fmla="*/ 5422 w 10000"/>
                <a:gd name="connsiteY10" fmla="*/ 4494 h 10000"/>
                <a:gd name="connsiteX11" fmla="*/ 5152 w 10000"/>
                <a:gd name="connsiteY11" fmla="*/ 7620 h 10000"/>
                <a:gd name="connsiteX12" fmla="*/ 6516 w 10000"/>
                <a:gd name="connsiteY12" fmla="*/ 7999 h 10000"/>
                <a:gd name="connsiteX13" fmla="*/ 6565 w 10000"/>
                <a:gd name="connsiteY13" fmla="*/ 8034 h 10000"/>
                <a:gd name="connsiteX14" fmla="*/ 6601 w 10000"/>
                <a:gd name="connsiteY14" fmla="*/ 8105 h 10000"/>
                <a:gd name="connsiteX15" fmla="*/ 6623 w 10000"/>
                <a:gd name="connsiteY15" fmla="*/ 8200 h 10000"/>
                <a:gd name="connsiteX16" fmla="*/ 6632 w 10000"/>
                <a:gd name="connsiteY16" fmla="*/ 8307 h 10000"/>
                <a:gd name="connsiteX17" fmla="*/ 6543 w 10000"/>
                <a:gd name="connsiteY17" fmla="*/ 9053 h 10000"/>
                <a:gd name="connsiteX18" fmla="*/ 5291 w 10000"/>
                <a:gd name="connsiteY18" fmla="*/ 9153 h 10000"/>
                <a:gd name="connsiteX19" fmla="*/ 5099 w 10000"/>
                <a:gd name="connsiteY19" fmla="*/ 8620 h 10000"/>
                <a:gd name="connsiteX20" fmla="*/ 5099 w 10000"/>
                <a:gd name="connsiteY20" fmla="*/ 8686 h 10000"/>
                <a:gd name="connsiteX21" fmla="*/ 5090 w 10000"/>
                <a:gd name="connsiteY21" fmla="*/ 8840 h 10000"/>
                <a:gd name="connsiteX22" fmla="*/ 5081 w 10000"/>
                <a:gd name="connsiteY22" fmla="*/ 9059 h 10000"/>
                <a:gd name="connsiteX23" fmla="*/ 5063 w 10000"/>
                <a:gd name="connsiteY23" fmla="*/ 9307 h 10000"/>
                <a:gd name="connsiteX24" fmla="*/ 5040 w 10000"/>
                <a:gd name="connsiteY24" fmla="*/ 9568 h 10000"/>
                <a:gd name="connsiteX25" fmla="*/ 5013 w 10000"/>
                <a:gd name="connsiteY25" fmla="*/ 9787 h 10000"/>
                <a:gd name="connsiteX26" fmla="*/ 4978 w 10000"/>
                <a:gd name="connsiteY26" fmla="*/ 9947 h 10000"/>
                <a:gd name="connsiteX27" fmla="*/ 4928 w 10000"/>
                <a:gd name="connsiteY27" fmla="*/ 10000 h 10000"/>
                <a:gd name="connsiteX28" fmla="*/ 4852 w 10000"/>
                <a:gd name="connsiteY28" fmla="*/ 9781 h 10000"/>
                <a:gd name="connsiteX29" fmla="*/ 4816 w 10000"/>
                <a:gd name="connsiteY29" fmla="*/ 9307 h 10000"/>
                <a:gd name="connsiteX30" fmla="*/ 4803 w 10000"/>
                <a:gd name="connsiteY30" fmla="*/ 8834 h 10000"/>
                <a:gd name="connsiteX31" fmla="*/ 4794 w 10000"/>
                <a:gd name="connsiteY31" fmla="*/ 8620 h 10000"/>
                <a:gd name="connsiteX32" fmla="*/ 4601 w 10000"/>
                <a:gd name="connsiteY32" fmla="*/ 9153 h 10000"/>
                <a:gd name="connsiteX33" fmla="*/ 3368 w 10000"/>
                <a:gd name="connsiteY33" fmla="*/ 9053 h 10000"/>
                <a:gd name="connsiteX34" fmla="*/ 3260 w 10000"/>
                <a:gd name="connsiteY34" fmla="*/ 8307 h 10000"/>
                <a:gd name="connsiteX35" fmla="*/ 3265 w 10000"/>
                <a:gd name="connsiteY35" fmla="*/ 8200 h 10000"/>
                <a:gd name="connsiteX36" fmla="*/ 3291 w 10000"/>
                <a:gd name="connsiteY36" fmla="*/ 8105 h 10000"/>
                <a:gd name="connsiteX37" fmla="*/ 3323 w 10000"/>
                <a:gd name="connsiteY37" fmla="*/ 8034 h 10000"/>
                <a:gd name="connsiteX38" fmla="*/ 3368 w 10000"/>
                <a:gd name="connsiteY38" fmla="*/ 7999 h 10000"/>
                <a:gd name="connsiteX39" fmla="*/ 4740 w 10000"/>
                <a:gd name="connsiteY39" fmla="*/ 7620 h 10000"/>
                <a:gd name="connsiteX40" fmla="*/ 4475 w 10000"/>
                <a:gd name="connsiteY40" fmla="*/ 4494 h 10000"/>
                <a:gd name="connsiteX41" fmla="*/ 511 w 10000"/>
                <a:gd name="connsiteY41" fmla="*/ 4044 h 10000"/>
                <a:gd name="connsiteX42" fmla="*/ 502 w 10000"/>
                <a:gd name="connsiteY42" fmla="*/ 4044 h 10000"/>
                <a:gd name="connsiteX43" fmla="*/ 471 w 10000"/>
                <a:gd name="connsiteY43" fmla="*/ 4032 h 10000"/>
                <a:gd name="connsiteX44" fmla="*/ 430 w 10000"/>
                <a:gd name="connsiteY44" fmla="*/ 4020 h 10000"/>
                <a:gd name="connsiteX45" fmla="*/ 386 w 10000"/>
                <a:gd name="connsiteY45" fmla="*/ 3996 h 10000"/>
                <a:gd name="connsiteX46" fmla="*/ 341 w 10000"/>
                <a:gd name="connsiteY46" fmla="*/ 3985 h 10000"/>
                <a:gd name="connsiteX47" fmla="*/ 300 w 10000"/>
                <a:gd name="connsiteY47" fmla="*/ 3967 h 10000"/>
                <a:gd name="connsiteX48" fmla="*/ 269 w 10000"/>
                <a:gd name="connsiteY48" fmla="*/ 3955 h 10000"/>
                <a:gd name="connsiteX49" fmla="*/ 260 w 10000"/>
                <a:gd name="connsiteY49" fmla="*/ 3955 h 10000"/>
                <a:gd name="connsiteX50" fmla="*/ 179 w 10000"/>
                <a:gd name="connsiteY50" fmla="*/ 3914 h 10000"/>
                <a:gd name="connsiteX51" fmla="*/ 126 w 10000"/>
                <a:gd name="connsiteY51" fmla="*/ 3860 h 10000"/>
                <a:gd name="connsiteX52" fmla="*/ 76 w 10000"/>
                <a:gd name="connsiteY52" fmla="*/ 3813 h 10000"/>
                <a:gd name="connsiteX53" fmla="*/ 54 w 10000"/>
                <a:gd name="connsiteY53" fmla="*/ 3760 h 10000"/>
                <a:gd name="connsiteX54" fmla="*/ 31 w 10000"/>
                <a:gd name="connsiteY54" fmla="*/ 3718 h 10000"/>
                <a:gd name="connsiteX55" fmla="*/ 22 w 10000"/>
                <a:gd name="connsiteY55" fmla="*/ 3677 h 10000"/>
                <a:gd name="connsiteX56" fmla="*/ 13 w 10000"/>
                <a:gd name="connsiteY56" fmla="*/ 3647 h 10000"/>
                <a:gd name="connsiteX57" fmla="*/ 13 w 10000"/>
                <a:gd name="connsiteY57" fmla="*/ 3641 h 10000"/>
                <a:gd name="connsiteX58" fmla="*/ 0 w 10000"/>
                <a:gd name="connsiteY58" fmla="*/ 2351 h 10000"/>
                <a:gd name="connsiteX59" fmla="*/ 4408 w 10000"/>
                <a:gd name="connsiteY59" fmla="*/ 2345 h 10000"/>
                <a:gd name="connsiteX60" fmla="*/ 4439 w 10000"/>
                <a:gd name="connsiteY60" fmla="*/ 1764 h 10000"/>
                <a:gd name="connsiteX61" fmla="*/ 4466 w 10000"/>
                <a:gd name="connsiteY61" fmla="*/ 1291 h 10000"/>
                <a:gd name="connsiteX62" fmla="*/ 4484 w 10000"/>
                <a:gd name="connsiteY62" fmla="*/ 941 h 10000"/>
                <a:gd name="connsiteX63" fmla="*/ 4516 w 10000"/>
                <a:gd name="connsiteY63" fmla="*/ 770 h 10000"/>
                <a:gd name="connsiteX64" fmla="*/ 4538 w 10000"/>
                <a:gd name="connsiteY64" fmla="*/ 734 h 10000"/>
                <a:gd name="connsiteX65" fmla="*/ 4565 w 10000"/>
                <a:gd name="connsiteY65" fmla="*/ 716 h 10000"/>
                <a:gd name="connsiteX66" fmla="*/ 4596 w 10000"/>
                <a:gd name="connsiteY66" fmla="*/ 687 h 10000"/>
                <a:gd name="connsiteX67" fmla="*/ 4632 w 10000"/>
                <a:gd name="connsiteY67" fmla="*/ 675 h 10000"/>
                <a:gd name="connsiteX68" fmla="*/ 4668 w 10000"/>
                <a:gd name="connsiteY68" fmla="*/ 663 h 10000"/>
                <a:gd name="connsiteX69" fmla="*/ 4704 w 10000"/>
                <a:gd name="connsiteY69" fmla="*/ 645 h 10000"/>
                <a:gd name="connsiteX70" fmla="*/ 4740 w 10000"/>
                <a:gd name="connsiteY70" fmla="*/ 639 h 10000"/>
                <a:gd name="connsiteX71" fmla="*/ 4767 w 10000"/>
                <a:gd name="connsiteY71" fmla="*/ 639 h 10000"/>
                <a:gd name="connsiteX72" fmla="*/ 4780 w 10000"/>
                <a:gd name="connsiteY72" fmla="*/ 586 h 10000"/>
                <a:gd name="connsiteX73" fmla="*/ 4789 w 10000"/>
                <a:gd name="connsiteY73" fmla="*/ 527 h 10000"/>
                <a:gd name="connsiteX74" fmla="*/ 4807 w 10000"/>
                <a:gd name="connsiteY74" fmla="*/ 480 h 10000"/>
                <a:gd name="connsiteX75" fmla="*/ 4816 w 10000"/>
                <a:gd name="connsiteY75" fmla="*/ 432 h 10000"/>
                <a:gd name="connsiteX76" fmla="*/ 3789 w 10000"/>
                <a:gd name="connsiteY76" fmla="*/ 432 h 10000"/>
                <a:gd name="connsiteX77" fmla="*/ 3789 w 10000"/>
                <a:gd name="connsiteY77" fmla="*/ 219 h 10000"/>
                <a:gd name="connsiteX78" fmla="*/ 4834 w 10000"/>
                <a:gd name="connsiteY78" fmla="*/ 219 h 10000"/>
                <a:gd name="connsiteX79" fmla="*/ 4857 w 10000"/>
                <a:gd name="connsiteY79" fmla="*/ 148 h 10000"/>
                <a:gd name="connsiteX80" fmla="*/ 4883 w 10000"/>
                <a:gd name="connsiteY80" fmla="*/ 77 h 10000"/>
                <a:gd name="connsiteX81" fmla="*/ 4910 w 10000"/>
                <a:gd name="connsiteY81" fmla="*/ 18 h 10000"/>
                <a:gd name="connsiteX82" fmla="*/ 4946 w 10000"/>
                <a:gd name="connsiteY82" fmla="*/ 0 h 10000"/>
                <a:gd name="connsiteX83" fmla="*/ 4982 w 10000"/>
                <a:gd name="connsiteY83" fmla="*/ 18 h 10000"/>
                <a:gd name="connsiteX84" fmla="*/ 5009 w 10000"/>
                <a:gd name="connsiteY84" fmla="*/ 77 h 10000"/>
                <a:gd name="connsiteX85" fmla="*/ 5031 w 10000"/>
                <a:gd name="connsiteY85" fmla="*/ 148 h 10000"/>
                <a:gd name="connsiteX86" fmla="*/ 5054 w 10000"/>
                <a:gd name="connsiteY86" fmla="*/ 219 h 10000"/>
                <a:gd name="connsiteX87" fmla="*/ 6135 w 10000"/>
                <a:gd name="connsiteY87" fmla="*/ 219 h 10000"/>
                <a:gd name="connsiteX88" fmla="*/ 6135 w 10000"/>
                <a:gd name="connsiteY88" fmla="*/ 432 h 10000"/>
                <a:gd name="connsiteX89" fmla="*/ 5076 w 10000"/>
                <a:gd name="connsiteY89" fmla="*/ 432 h 10000"/>
                <a:gd name="connsiteX90" fmla="*/ 5085 w 10000"/>
                <a:gd name="connsiteY90" fmla="*/ 480 h 10000"/>
                <a:gd name="connsiteX91" fmla="*/ 5099 w 10000"/>
                <a:gd name="connsiteY91" fmla="*/ 527 h 10000"/>
                <a:gd name="connsiteX92" fmla="*/ 5112 w 10000"/>
                <a:gd name="connsiteY92" fmla="*/ 586 h 10000"/>
                <a:gd name="connsiteX93" fmla="*/ 5126 w 10000"/>
                <a:gd name="connsiteY93" fmla="*/ 639 h 10000"/>
                <a:gd name="connsiteX94" fmla="*/ 5152 w 10000"/>
                <a:gd name="connsiteY94" fmla="*/ 639 h 10000"/>
                <a:gd name="connsiteX95" fmla="*/ 5188 w 10000"/>
                <a:gd name="connsiteY95" fmla="*/ 645 h 10000"/>
                <a:gd name="connsiteX96" fmla="*/ 5224 w 10000"/>
                <a:gd name="connsiteY96" fmla="*/ 663 h 10000"/>
                <a:gd name="connsiteX97" fmla="*/ 5260 w 10000"/>
                <a:gd name="connsiteY97" fmla="*/ 675 h 10000"/>
                <a:gd name="connsiteX98" fmla="*/ 5296 w 10000"/>
                <a:gd name="connsiteY98" fmla="*/ 687 h 10000"/>
                <a:gd name="connsiteX99" fmla="*/ 5332 w 10000"/>
                <a:gd name="connsiteY99" fmla="*/ 716 h 10000"/>
                <a:gd name="connsiteX100" fmla="*/ 5363 w 10000"/>
                <a:gd name="connsiteY100" fmla="*/ 734 h 10000"/>
                <a:gd name="connsiteX101" fmla="*/ 5390 w 10000"/>
                <a:gd name="connsiteY101" fmla="*/ 770 h 10000"/>
                <a:gd name="connsiteX102" fmla="*/ 5413 w 10000"/>
                <a:gd name="connsiteY102" fmla="*/ 941 h 10000"/>
                <a:gd name="connsiteX103" fmla="*/ 5435 w 10000"/>
                <a:gd name="connsiteY103" fmla="*/ 1297 h 10000"/>
                <a:gd name="connsiteX104" fmla="*/ 5462 w 10000"/>
                <a:gd name="connsiteY104" fmla="*/ 1794 h 10000"/>
                <a:gd name="connsiteX105" fmla="*/ 5489 w 10000"/>
                <a:gd name="connsiteY105" fmla="*/ 2404 h 10000"/>
                <a:gd name="connsiteX106" fmla="*/ 9928 w 10000"/>
                <a:gd name="connsiteY106" fmla="*/ 2416 h 10000"/>
                <a:gd name="connsiteX107" fmla="*/ 10000 w 10000"/>
                <a:gd name="connsiteY107" fmla="*/ 3410 h 10000"/>
                <a:gd name="connsiteX108" fmla="*/ 9978 w 10000"/>
                <a:gd name="connsiteY108" fmla="*/ 3529 h 10000"/>
                <a:gd name="connsiteX109" fmla="*/ 9946 w 10000"/>
                <a:gd name="connsiteY109" fmla="*/ 3623 h 10000"/>
                <a:gd name="connsiteX110" fmla="*/ 9901 w 10000"/>
                <a:gd name="connsiteY110" fmla="*/ 3694 h 10000"/>
                <a:gd name="connsiteX111" fmla="*/ 9852 w 10000"/>
                <a:gd name="connsiteY111" fmla="*/ 3760 h 10000"/>
                <a:gd name="connsiteX112" fmla="*/ 9798 w 10000"/>
                <a:gd name="connsiteY112" fmla="*/ 3807 h 10000"/>
                <a:gd name="connsiteX113" fmla="*/ 9753 w 10000"/>
                <a:gd name="connsiteY113" fmla="*/ 3843 h 10000"/>
                <a:gd name="connsiteX114" fmla="*/ 9722 w 10000"/>
                <a:gd name="connsiteY114" fmla="*/ 3860 h 10000"/>
                <a:gd name="connsiteX115" fmla="*/ 9709 w 10000"/>
                <a:gd name="connsiteY115"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8377 w 10000"/>
                <a:gd name="connsiteY7" fmla="*/ 4322 h 10000"/>
                <a:gd name="connsiteX8" fmla="*/ 5435 w 10000"/>
                <a:gd name="connsiteY8" fmla="*/ 4494 h 10000"/>
                <a:gd name="connsiteX9" fmla="*/ 5422 w 10000"/>
                <a:gd name="connsiteY9" fmla="*/ 4494 h 10000"/>
                <a:gd name="connsiteX10" fmla="*/ 5152 w 10000"/>
                <a:gd name="connsiteY10" fmla="*/ 7620 h 10000"/>
                <a:gd name="connsiteX11" fmla="*/ 6516 w 10000"/>
                <a:gd name="connsiteY11" fmla="*/ 7999 h 10000"/>
                <a:gd name="connsiteX12" fmla="*/ 6565 w 10000"/>
                <a:gd name="connsiteY12" fmla="*/ 8034 h 10000"/>
                <a:gd name="connsiteX13" fmla="*/ 6601 w 10000"/>
                <a:gd name="connsiteY13" fmla="*/ 8105 h 10000"/>
                <a:gd name="connsiteX14" fmla="*/ 6623 w 10000"/>
                <a:gd name="connsiteY14" fmla="*/ 8200 h 10000"/>
                <a:gd name="connsiteX15" fmla="*/ 6632 w 10000"/>
                <a:gd name="connsiteY15" fmla="*/ 8307 h 10000"/>
                <a:gd name="connsiteX16" fmla="*/ 6543 w 10000"/>
                <a:gd name="connsiteY16" fmla="*/ 9053 h 10000"/>
                <a:gd name="connsiteX17" fmla="*/ 5291 w 10000"/>
                <a:gd name="connsiteY17" fmla="*/ 9153 h 10000"/>
                <a:gd name="connsiteX18" fmla="*/ 5099 w 10000"/>
                <a:gd name="connsiteY18" fmla="*/ 8620 h 10000"/>
                <a:gd name="connsiteX19" fmla="*/ 5099 w 10000"/>
                <a:gd name="connsiteY19" fmla="*/ 8686 h 10000"/>
                <a:gd name="connsiteX20" fmla="*/ 5090 w 10000"/>
                <a:gd name="connsiteY20" fmla="*/ 8840 h 10000"/>
                <a:gd name="connsiteX21" fmla="*/ 5081 w 10000"/>
                <a:gd name="connsiteY21" fmla="*/ 9059 h 10000"/>
                <a:gd name="connsiteX22" fmla="*/ 5063 w 10000"/>
                <a:gd name="connsiteY22" fmla="*/ 9307 h 10000"/>
                <a:gd name="connsiteX23" fmla="*/ 5040 w 10000"/>
                <a:gd name="connsiteY23" fmla="*/ 9568 h 10000"/>
                <a:gd name="connsiteX24" fmla="*/ 5013 w 10000"/>
                <a:gd name="connsiteY24" fmla="*/ 9787 h 10000"/>
                <a:gd name="connsiteX25" fmla="*/ 4978 w 10000"/>
                <a:gd name="connsiteY25" fmla="*/ 9947 h 10000"/>
                <a:gd name="connsiteX26" fmla="*/ 4928 w 10000"/>
                <a:gd name="connsiteY26" fmla="*/ 10000 h 10000"/>
                <a:gd name="connsiteX27" fmla="*/ 4852 w 10000"/>
                <a:gd name="connsiteY27" fmla="*/ 9781 h 10000"/>
                <a:gd name="connsiteX28" fmla="*/ 4816 w 10000"/>
                <a:gd name="connsiteY28" fmla="*/ 9307 h 10000"/>
                <a:gd name="connsiteX29" fmla="*/ 4803 w 10000"/>
                <a:gd name="connsiteY29" fmla="*/ 8834 h 10000"/>
                <a:gd name="connsiteX30" fmla="*/ 4794 w 10000"/>
                <a:gd name="connsiteY30" fmla="*/ 8620 h 10000"/>
                <a:gd name="connsiteX31" fmla="*/ 4601 w 10000"/>
                <a:gd name="connsiteY31" fmla="*/ 9153 h 10000"/>
                <a:gd name="connsiteX32" fmla="*/ 3368 w 10000"/>
                <a:gd name="connsiteY32" fmla="*/ 9053 h 10000"/>
                <a:gd name="connsiteX33" fmla="*/ 3260 w 10000"/>
                <a:gd name="connsiteY33" fmla="*/ 8307 h 10000"/>
                <a:gd name="connsiteX34" fmla="*/ 3265 w 10000"/>
                <a:gd name="connsiteY34" fmla="*/ 8200 h 10000"/>
                <a:gd name="connsiteX35" fmla="*/ 3291 w 10000"/>
                <a:gd name="connsiteY35" fmla="*/ 8105 h 10000"/>
                <a:gd name="connsiteX36" fmla="*/ 3323 w 10000"/>
                <a:gd name="connsiteY36" fmla="*/ 8034 h 10000"/>
                <a:gd name="connsiteX37" fmla="*/ 3368 w 10000"/>
                <a:gd name="connsiteY37" fmla="*/ 7999 h 10000"/>
                <a:gd name="connsiteX38" fmla="*/ 4740 w 10000"/>
                <a:gd name="connsiteY38" fmla="*/ 7620 h 10000"/>
                <a:gd name="connsiteX39" fmla="*/ 4475 w 10000"/>
                <a:gd name="connsiteY39" fmla="*/ 4494 h 10000"/>
                <a:gd name="connsiteX40" fmla="*/ 511 w 10000"/>
                <a:gd name="connsiteY40" fmla="*/ 4044 h 10000"/>
                <a:gd name="connsiteX41" fmla="*/ 502 w 10000"/>
                <a:gd name="connsiteY41" fmla="*/ 4044 h 10000"/>
                <a:gd name="connsiteX42" fmla="*/ 471 w 10000"/>
                <a:gd name="connsiteY42" fmla="*/ 4032 h 10000"/>
                <a:gd name="connsiteX43" fmla="*/ 430 w 10000"/>
                <a:gd name="connsiteY43" fmla="*/ 4020 h 10000"/>
                <a:gd name="connsiteX44" fmla="*/ 386 w 10000"/>
                <a:gd name="connsiteY44" fmla="*/ 3996 h 10000"/>
                <a:gd name="connsiteX45" fmla="*/ 341 w 10000"/>
                <a:gd name="connsiteY45" fmla="*/ 3985 h 10000"/>
                <a:gd name="connsiteX46" fmla="*/ 300 w 10000"/>
                <a:gd name="connsiteY46" fmla="*/ 3967 h 10000"/>
                <a:gd name="connsiteX47" fmla="*/ 269 w 10000"/>
                <a:gd name="connsiteY47" fmla="*/ 3955 h 10000"/>
                <a:gd name="connsiteX48" fmla="*/ 260 w 10000"/>
                <a:gd name="connsiteY48" fmla="*/ 3955 h 10000"/>
                <a:gd name="connsiteX49" fmla="*/ 179 w 10000"/>
                <a:gd name="connsiteY49" fmla="*/ 3914 h 10000"/>
                <a:gd name="connsiteX50" fmla="*/ 126 w 10000"/>
                <a:gd name="connsiteY50" fmla="*/ 3860 h 10000"/>
                <a:gd name="connsiteX51" fmla="*/ 76 w 10000"/>
                <a:gd name="connsiteY51" fmla="*/ 3813 h 10000"/>
                <a:gd name="connsiteX52" fmla="*/ 54 w 10000"/>
                <a:gd name="connsiteY52" fmla="*/ 3760 h 10000"/>
                <a:gd name="connsiteX53" fmla="*/ 31 w 10000"/>
                <a:gd name="connsiteY53" fmla="*/ 3718 h 10000"/>
                <a:gd name="connsiteX54" fmla="*/ 22 w 10000"/>
                <a:gd name="connsiteY54" fmla="*/ 3677 h 10000"/>
                <a:gd name="connsiteX55" fmla="*/ 13 w 10000"/>
                <a:gd name="connsiteY55" fmla="*/ 3647 h 10000"/>
                <a:gd name="connsiteX56" fmla="*/ 13 w 10000"/>
                <a:gd name="connsiteY56" fmla="*/ 3641 h 10000"/>
                <a:gd name="connsiteX57" fmla="*/ 0 w 10000"/>
                <a:gd name="connsiteY57" fmla="*/ 2351 h 10000"/>
                <a:gd name="connsiteX58" fmla="*/ 4408 w 10000"/>
                <a:gd name="connsiteY58" fmla="*/ 2345 h 10000"/>
                <a:gd name="connsiteX59" fmla="*/ 4439 w 10000"/>
                <a:gd name="connsiteY59" fmla="*/ 1764 h 10000"/>
                <a:gd name="connsiteX60" fmla="*/ 4466 w 10000"/>
                <a:gd name="connsiteY60" fmla="*/ 1291 h 10000"/>
                <a:gd name="connsiteX61" fmla="*/ 4484 w 10000"/>
                <a:gd name="connsiteY61" fmla="*/ 941 h 10000"/>
                <a:gd name="connsiteX62" fmla="*/ 4516 w 10000"/>
                <a:gd name="connsiteY62" fmla="*/ 770 h 10000"/>
                <a:gd name="connsiteX63" fmla="*/ 4538 w 10000"/>
                <a:gd name="connsiteY63" fmla="*/ 734 h 10000"/>
                <a:gd name="connsiteX64" fmla="*/ 4565 w 10000"/>
                <a:gd name="connsiteY64" fmla="*/ 716 h 10000"/>
                <a:gd name="connsiteX65" fmla="*/ 4596 w 10000"/>
                <a:gd name="connsiteY65" fmla="*/ 687 h 10000"/>
                <a:gd name="connsiteX66" fmla="*/ 4632 w 10000"/>
                <a:gd name="connsiteY66" fmla="*/ 675 h 10000"/>
                <a:gd name="connsiteX67" fmla="*/ 4668 w 10000"/>
                <a:gd name="connsiteY67" fmla="*/ 663 h 10000"/>
                <a:gd name="connsiteX68" fmla="*/ 4704 w 10000"/>
                <a:gd name="connsiteY68" fmla="*/ 645 h 10000"/>
                <a:gd name="connsiteX69" fmla="*/ 4740 w 10000"/>
                <a:gd name="connsiteY69" fmla="*/ 639 h 10000"/>
                <a:gd name="connsiteX70" fmla="*/ 4767 w 10000"/>
                <a:gd name="connsiteY70" fmla="*/ 639 h 10000"/>
                <a:gd name="connsiteX71" fmla="*/ 4780 w 10000"/>
                <a:gd name="connsiteY71" fmla="*/ 586 h 10000"/>
                <a:gd name="connsiteX72" fmla="*/ 4789 w 10000"/>
                <a:gd name="connsiteY72" fmla="*/ 527 h 10000"/>
                <a:gd name="connsiteX73" fmla="*/ 4807 w 10000"/>
                <a:gd name="connsiteY73" fmla="*/ 480 h 10000"/>
                <a:gd name="connsiteX74" fmla="*/ 4816 w 10000"/>
                <a:gd name="connsiteY74" fmla="*/ 432 h 10000"/>
                <a:gd name="connsiteX75" fmla="*/ 3789 w 10000"/>
                <a:gd name="connsiteY75" fmla="*/ 432 h 10000"/>
                <a:gd name="connsiteX76" fmla="*/ 3789 w 10000"/>
                <a:gd name="connsiteY76" fmla="*/ 219 h 10000"/>
                <a:gd name="connsiteX77" fmla="*/ 4834 w 10000"/>
                <a:gd name="connsiteY77" fmla="*/ 219 h 10000"/>
                <a:gd name="connsiteX78" fmla="*/ 4857 w 10000"/>
                <a:gd name="connsiteY78" fmla="*/ 148 h 10000"/>
                <a:gd name="connsiteX79" fmla="*/ 4883 w 10000"/>
                <a:gd name="connsiteY79" fmla="*/ 77 h 10000"/>
                <a:gd name="connsiteX80" fmla="*/ 4910 w 10000"/>
                <a:gd name="connsiteY80" fmla="*/ 18 h 10000"/>
                <a:gd name="connsiteX81" fmla="*/ 4946 w 10000"/>
                <a:gd name="connsiteY81" fmla="*/ 0 h 10000"/>
                <a:gd name="connsiteX82" fmla="*/ 4982 w 10000"/>
                <a:gd name="connsiteY82" fmla="*/ 18 h 10000"/>
                <a:gd name="connsiteX83" fmla="*/ 5009 w 10000"/>
                <a:gd name="connsiteY83" fmla="*/ 77 h 10000"/>
                <a:gd name="connsiteX84" fmla="*/ 5031 w 10000"/>
                <a:gd name="connsiteY84" fmla="*/ 148 h 10000"/>
                <a:gd name="connsiteX85" fmla="*/ 5054 w 10000"/>
                <a:gd name="connsiteY85" fmla="*/ 219 h 10000"/>
                <a:gd name="connsiteX86" fmla="*/ 6135 w 10000"/>
                <a:gd name="connsiteY86" fmla="*/ 219 h 10000"/>
                <a:gd name="connsiteX87" fmla="*/ 6135 w 10000"/>
                <a:gd name="connsiteY87" fmla="*/ 432 h 10000"/>
                <a:gd name="connsiteX88" fmla="*/ 5076 w 10000"/>
                <a:gd name="connsiteY88" fmla="*/ 432 h 10000"/>
                <a:gd name="connsiteX89" fmla="*/ 5085 w 10000"/>
                <a:gd name="connsiteY89" fmla="*/ 480 h 10000"/>
                <a:gd name="connsiteX90" fmla="*/ 5099 w 10000"/>
                <a:gd name="connsiteY90" fmla="*/ 527 h 10000"/>
                <a:gd name="connsiteX91" fmla="*/ 5112 w 10000"/>
                <a:gd name="connsiteY91" fmla="*/ 586 h 10000"/>
                <a:gd name="connsiteX92" fmla="*/ 5126 w 10000"/>
                <a:gd name="connsiteY92" fmla="*/ 639 h 10000"/>
                <a:gd name="connsiteX93" fmla="*/ 5152 w 10000"/>
                <a:gd name="connsiteY93" fmla="*/ 639 h 10000"/>
                <a:gd name="connsiteX94" fmla="*/ 5188 w 10000"/>
                <a:gd name="connsiteY94" fmla="*/ 645 h 10000"/>
                <a:gd name="connsiteX95" fmla="*/ 5224 w 10000"/>
                <a:gd name="connsiteY95" fmla="*/ 663 h 10000"/>
                <a:gd name="connsiteX96" fmla="*/ 5260 w 10000"/>
                <a:gd name="connsiteY96" fmla="*/ 675 h 10000"/>
                <a:gd name="connsiteX97" fmla="*/ 5296 w 10000"/>
                <a:gd name="connsiteY97" fmla="*/ 687 h 10000"/>
                <a:gd name="connsiteX98" fmla="*/ 5332 w 10000"/>
                <a:gd name="connsiteY98" fmla="*/ 716 h 10000"/>
                <a:gd name="connsiteX99" fmla="*/ 5363 w 10000"/>
                <a:gd name="connsiteY99" fmla="*/ 734 h 10000"/>
                <a:gd name="connsiteX100" fmla="*/ 5390 w 10000"/>
                <a:gd name="connsiteY100" fmla="*/ 770 h 10000"/>
                <a:gd name="connsiteX101" fmla="*/ 5413 w 10000"/>
                <a:gd name="connsiteY101" fmla="*/ 941 h 10000"/>
                <a:gd name="connsiteX102" fmla="*/ 5435 w 10000"/>
                <a:gd name="connsiteY102" fmla="*/ 1297 h 10000"/>
                <a:gd name="connsiteX103" fmla="*/ 5462 w 10000"/>
                <a:gd name="connsiteY103" fmla="*/ 1794 h 10000"/>
                <a:gd name="connsiteX104" fmla="*/ 5489 w 10000"/>
                <a:gd name="connsiteY104" fmla="*/ 2404 h 10000"/>
                <a:gd name="connsiteX105" fmla="*/ 9928 w 10000"/>
                <a:gd name="connsiteY105" fmla="*/ 2416 h 10000"/>
                <a:gd name="connsiteX106" fmla="*/ 10000 w 10000"/>
                <a:gd name="connsiteY106" fmla="*/ 3410 h 10000"/>
                <a:gd name="connsiteX107" fmla="*/ 9978 w 10000"/>
                <a:gd name="connsiteY107" fmla="*/ 3529 h 10000"/>
                <a:gd name="connsiteX108" fmla="*/ 9946 w 10000"/>
                <a:gd name="connsiteY108" fmla="*/ 3623 h 10000"/>
                <a:gd name="connsiteX109" fmla="*/ 9901 w 10000"/>
                <a:gd name="connsiteY109" fmla="*/ 3694 h 10000"/>
                <a:gd name="connsiteX110" fmla="*/ 9852 w 10000"/>
                <a:gd name="connsiteY110" fmla="*/ 3760 h 10000"/>
                <a:gd name="connsiteX111" fmla="*/ 9798 w 10000"/>
                <a:gd name="connsiteY111" fmla="*/ 3807 h 10000"/>
                <a:gd name="connsiteX112" fmla="*/ 9753 w 10000"/>
                <a:gd name="connsiteY112" fmla="*/ 3843 h 10000"/>
                <a:gd name="connsiteX113" fmla="*/ 9722 w 10000"/>
                <a:gd name="connsiteY113" fmla="*/ 3860 h 10000"/>
                <a:gd name="connsiteX114" fmla="*/ 9709 w 10000"/>
                <a:gd name="connsiteY114"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8471 w 10000"/>
                <a:gd name="connsiteY6" fmla="*/ 4298 h 10000"/>
                <a:gd name="connsiteX7" fmla="*/ 5435 w 10000"/>
                <a:gd name="connsiteY7" fmla="*/ 4494 h 10000"/>
                <a:gd name="connsiteX8" fmla="*/ 5422 w 10000"/>
                <a:gd name="connsiteY8" fmla="*/ 4494 h 10000"/>
                <a:gd name="connsiteX9" fmla="*/ 5152 w 10000"/>
                <a:gd name="connsiteY9" fmla="*/ 7620 h 10000"/>
                <a:gd name="connsiteX10" fmla="*/ 6516 w 10000"/>
                <a:gd name="connsiteY10" fmla="*/ 7999 h 10000"/>
                <a:gd name="connsiteX11" fmla="*/ 6565 w 10000"/>
                <a:gd name="connsiteY11" fmla="*/ 8034 h 10000"/>
                <a:gd name="connsiteX12" fmla="*/ 6601 w 10000"/>
                <a:gd name="connsiteY12" fmla="*/ 8105 h 10000"/>
                <a:gd name="connsiteX13" fmla="*/ 6623 w 10000"/>
                <a:gd name="connsiteY13" fmla="*/ 8200 h 10000"/>
                <a:gd name="connsiteX14" fmla="*/ 6632 w 10000"/>
                <a:gd name="connsiteY14" fmla="*/ 8307 h 10000"/>
                <a:gd name="connsiteX15" fmla="*/ 6543 w 10000"/>
                <a:gd name="connsiteY15" fmla="*/ 9053 h 10000"/>
                <a:gd name="connsiteX16" fmla="*/ 5291 w 10000"/>
                <a:gd name="connsiteY16" fmla="*/ 9153 h 10000"/>
                <a:gd name="connsiteX17" fmla="*/ 5099 w 10000"/>
                <a:gd name="connsiteY17" fmla="*/ 8620 h 10000"/>
                <a:gd name="connsiteX18" fmla="*/ 5099 w 10000"/>
                <a:gd name="connsiteY18" fmla="*/ 8686 h 10000"/>
                <a:gd name="connsiteX19" fmla="*/ 5090 w 10000"/>
                <a:gd name="connsiteY19" fmla="*/ 8840 h 10000"/>
                <a:gd name="connsiteX20" fmla="*/ 5081 w 10000"/>
                <a:gd name="connsiteY20" fmla="*/ 9059 h 10000"/>
                <a:gd name="connsiteX21" fmla="*/ 5063 w 10000"/>
                <a:gd name="connsiteY21" fmla="*/ 9307 h 10000"/>
                <a:gd name="connsiteX22" fmla="*/ 5040 w 10000"/>
                <a:gd name="connsiteY22" fmla="*/ 9568 h 10000"/>
                <a:gd name="connsiteX23" fmla="*/ 5013 w 10000"/>
                <a:gd name="connsiteY23" fmla="*/ 9787 h 10000"/>
                <a:gd name="connsiteX24" fmla="*/ 4978 w 10000"/>
                <a:gd name="connsiteY24" fmla="*/ 9947 h 10000"/>
                <a:gd name="connsiteX25" fmla="*/ 4928 w 10000"/>
                <a:gd name="connsiteY25" fmla="*/ 10000 h 10000"/>
                <a:gd name="connsiteX26" fmla="*/ 4852 w 10000"/>
                <a:gd name="connsiteY26" fmla="*/ 9781 h 10000"/>
                <a:gd name="connsiteX27" fmla="*/ 4816 w 10000"/>
                <a:gd name="connsiteY27" fmla="*/ 9307 h 10000"/>
                <a:gd name="connsiteX28" fmla="*/ 4803 w 10000"/>
                <a:gd name="connsiteY28" fmla="*/ 8834 h 10000"/>
                <a:gd name="connsiteX29" fmla="*/ 4794 w 10000"/>
                <a:gd name="connsiteY29" fmla="*/ 8620 h 10000"/>
                <a:gd name="connsiteX30" fmla="*/ 4601 w 10000"/>
                <a:gd name="connsiteY30" fmla="*/ 9153 h 10000"/>
                <a:gd name="connsiteX31" fmla="*/ 3368 w 10000"/>
                <a:gd name="connsiteY31" fmla="*/ 9053 h 10000"/>
                <a:gd name="connsiteX32" fmla="*/ 3260 w 10000"/>
                <a:gd name="connsiteY32" fmla="*/ 8307 h 10000"/>
                <a:gd name="connsiteX33" fmla="*/ 3265 w 10000"/>
                <a:gd name="connsiteY33" fmla="*/ 8200 h 10000"/>
                <a:gd name="connsiteX34" fmla="*/ 3291 w 10000"/>
                <a:gd name="connsiteY34" fmla="*/ 8105 h 10000"/>
                <a:gd name="connsiteX35" fmla="*/ 3323 w 10000"/>
                <a:gd name="connsiteY35" fmla="*/ 8034 h 10000"/>
                <a:gd name="connsiteX36" fmla="*/ 3368 w 10000"/>
                <a:gd name="connsiteY36" fmla="*/ 7999 h 10000"/>
                <a:gd name="connsiteX37" fmla="*/ 4740 w 10000"/>
                <a:gd name="connsiteY37" fmla="*/ 7620 h 10000"/>
                <a:gd name="connsiteX38" fmla="*/ 4475 w 10000"/>
                <a:gd name="connsiteY38" fmla="*/ 4494 h 10000"/>
                <a:gd name="connsiteX39" fmla="*/ 511 w 10000"/>
                <a:gd name="connsiteY39" fmla="*/ 4044 h 10000"/>
                <a:gd name="connsiteX40" fmla="*/ 502 w 10000"/>
                <a:gd name="connsiteY40" fmla="*/ 4044 h 10000"/>
                <a:gd name="connsiteX41" fmla="*/ 471 w 10000"/>
                <a:gd name="connsiteY41" fmla="*/ 4032 h 10000"/>
                <a:gd name="connsiteX42" fmla="*/ 430 w 10000"/>
                <a:gd name="connsiteY42" fmla="*/ 4020 h 10000"/>
                <a:gd name="connsiteX43" fmla="*/ 386 w 10000"/>
                <a:gd name="connsiteY43" fmla="*/ 3996 h 10000"/>
                <a:gd name="connsiteX44" fmla="*/ 341 w 10000"/>
                <a:gd name="connsiteY44" fmla="*/ 3985 h 10000"/>
                <a:gd name="connsiteX45" fmla="*/ 300 w 10000"/>
                <a:gd name="connsiteY45" fmla="*/ 3967 h 10000"/>
                <a:gd name="connsiteX46" fmla="*/ 269 w 10000"/>
                <a:gd name="connsiteY46" fmla="*/ 3955 h 10000"/>
                <a:gd name="connsiteX47" fmla="*/ 260 w 10000"/>
                <a:gd name="connsiteY47" fmla="*/ 3955 h 10000"/>
                <a:gd name="connsiteX48" fmla="*/ 179 w 10000"/>
                <a:gd name="connsiteY48" fmla="*/ 3914 h 10000"/>
                <a:gd name="connsiteX49" fmla="*/ 126 w 10000"/>
                <a:gd name="connsiteY49" fmla="*/ 3860 h 10000"/>
                <a:gd name="connsiteX50" fmla="*/ 76 w 10000"/>
                <a:gd name="connsiteY50" fmla="*/ 3813 h 10000"/>
                <a:gd name="connsiteX51" fmla="*/ 54 w 10000"/>
                <a:gd name="connsiteY51" fmla="*/ 3760 h 10000"/>
                <a:gd name="connsiteX52" fmla="*/ 31 w 10000"/>
                <a:gd name="connsiteY52" fmla="*/ 3718 h 10000"/>
                <a:gd name="connsiteX53" fmla="*/ 22 w 10000"/>
                <a:gd name="connsiteY53" fmla="*/ 3677 h 10000"/>
                <a:gd name="connsiteX54" fmla="*/ 13 w 10000"/>
                <a:gd name="connsiteY54" fmla="*/ 3647 h 10000"/>
                <a:gd name="connsiteX55" fmla="*/ 13 w 10000"/>
                <a:gd name="connsiteY55" fmla="*/ 3641 h 10000"/>
                <a:gd name="connsiteX56" fmla="*/ 0 w 10000"/>
                <a:gd name="connsiteY56" fmla="*/ 2351 h 10000"/>
                <a:gd name="connsiteX57" fmla="*/ 4408 w 10000"/>
                <a:gd name="connsiteY57" fmla="*/ 2345 h 10000"/>
                <a:gd name="connsiteX58" fmla="*/ 4439 w 10000"/>
                <a:gd name="connsiteY58" fmla="*/ 1764 h 10000"/>
                <a:gd name="connsiteX59" fmla="*/ 4466 w 10000"/>
                <a:gd name="connsiteY59" fmla="*/ 1291 h 10000"/>
                <a:gd name="connsiteX60" fmla="*/ 4484 w 10000"/>
                <a:gd name="connsiteY60" fmla="*/ 941 h 10000"/>
                <a:gd name="connsiteX61" fmla="*/ 4516 w 10000"/>
                <a:gd name="connsiteY61" fmla="*/ 770 h 10000"/>
                <a:gd name="connsiteX62" fmla="*/ 4538 w 10000"/>
                <a:gd name="connsiteY62" fmla="*/ 734 h 10000"/>
                <a:gd name="connsiteX63" fmla="*/ 4565 w 10000"/>
                <a:gd name="connsiteY63" fmla="*/ 716 h 10000"/>
                <a:gd name="connsiteX64" fmla="*/ 4596 w 10000"/>
                <a:gd name="connsiteY64" fmla="*/ 687 h 10000"/>
                <a:gd name="connsiteX65" fmla="*/ 4632 w 10000"/>
                <a:gd name="connsiteY65" fmla="*/ 675 h 10000"/>
                <a:gd name="connsiteX66" fmla="*/ 4668 w 10000"/>
                <a:gd name="connsiteY66" fmla="*/ 663 h 10000"/>
                <a:gd name="connsiteX67" fmla="*/ 4704 w 10000"/>
                <a:gd name="connsiteY67" fmla="*/ 645 h 10000"/>
                <a:gd name="connsiteX68" fmla="*/ 4740 w 10000"/>
                <a:gd name="connsiteY68" fmla="*/ 639 h 10000"/>
                <a:gd name="connsiteX69" fmla="*/ 4767 w 10000"/>
                <a:gd name="connsiteY69" fmla="*/ 639 h 10000"/>
                <a:gd name="connsiteX70" fmla="*/ 4780 w 10000"/>
                <a:gd name="connsiteY70" fmla="*/ 586 h 10000"/>
                <a:gd name="connsiteX71" fmla="*/ 4789 w 10000"/>
                <a:gd name="connsiteY71" fmla="*/ 527 h 10000"/>
                <a:gd name="connsiteX72" fmla="*/ 4807 w 10000"/>
                <a:gd name="connsiteY72" fmla="*/ 480 h 10000"/>
                <a:gd name="connsiteX73" fmla="*/ 4816 w 10000"/>
                <a:gd name="connsiteY73" fmla="*/ 432 h 10000"/>
                <a:gd name="connsiteX74" fmla="*/ 3789 w 10000"/>
                <a:gd name="connsiteY74" fmla="*/ 432 h 10000"/>
                <a:gd name="connsiteX75" fmla="*/ 3789 w 10000"/>
                <a:gd name="connsiteY75" fmla="*/ 219 h 10000"/>
                <a:gd name="connsiteX76" fmla="*/ 4834 w 10000"/>
                <a:gd name="connsiteY76" fmla="*/ 219 h 10000"/>
                <a:gd name="connsiteX77" fmla="*/ 4857 w 10000"/>
                <a:gd name="connsiteY77" fmla="*/ 148 h 10000"/>
                <a:gd name="connsiteX78" fmla="*/ 4883 w 10000"/>
                <a:gd name="connsiteY78" fmla="*/ 77 h 10000"/>
                <a:gd name="connsiteX79" fmla="*/ 4910 w 10000"/>
                <a:gd name="connsiteY79" fmla="*/ 18 h 10000"/>
                <a:gd name="connsiteX80" fmla="*/ 4946 w 10000"/>
                <a:gd name="connsiteY80" fmla="*/ 0 h 10000"/>
                <a:gd name="connsiteX81" fmla="*/ 4982 w 10000"/>
                <a:gd name="connsiteY81" fmla="*/ 18 h 10000"/>
                <a:gd name="connsiteX82" fmla="*/ 5009 w 10000"/>
                <a:gd name="connsiteY82" fmla="*/ 77 h 10000"/>
                <a:gd name="connsiteX83" fmla="*/ 5031 w 10000"/>
                <a:gd name="connsiteY83" fmla="*/ 148 h 10000"/>
                <a:gd name="connsiteX84" fmla="*/ 5054 w 10000"/>
                <a:gd name="connsiteY84" fmla="*/ 219 h 10000"/>
                <a:gd name="connsiteX85" fmla="*/ 6135 w 10000"/>
                <a:gd name="connsiteY85" fmla="*/ 219 h 10000"/>
                <a:gd name="connsiteX86" fmla="*/ 6135 w 10000"/>
                <a:gd name="connsiteY86" fmla="*/ 432 h 10000"/>
                <a:gd name="connsiteX87" fmla="*/ 5076 w 10000"/>
                <a:gd name="connsiteY87" fmla="*/ 432 h 10000"/>
                <a:gd name="connsiteX88" fmla="*/ 5085 w 10000"/>
                <a:gd name="connsiteY88" fmla="*/ 480 h 10000"/>
                <a:gd name="connsiteX89" fmla="*/ 5099 w 10000"/>
                <a:gd name="connsiteY89" fmla="*/ 527 h 10000"/>
                <a:gd name="connsiteX90" fmla="*/ 5112 w 10000"/>
                <a:gd name="connsiteY90" fmla="*/ 586 h 10000"/>
                <a:gd name="connsiteX91" fmla="*/ 5126 w 10000"/>
                <a:gd name="connsiteY91" fmla="*/ 639 h 10000"/>
                <a:gd name="connsiteX92" fmla="*/ 5152 w 10000"/>
                <a:gd name="connsiteY92" fmla="*/ 639 h 10000"/>
                <a:gd name="connsiteX93" fmla="*/ 5188 w 10000"/>
                <a:gd name="connsiteY93" fmla="*/ 645 h 10000"/>
                <a:gd name="connsiteX94" fmla="*/ 5224 w 10000"/>
                <a:gd name="connsiteY94" fmla="*/ 663 h 10000"/>
                <a:gd name="connsiteX95" fmla="*/ 5260 w 10000"/>
                <a:gd name="connsiteY95" fmla="*/ 675 h 10000"/>
                <a:gd name="connsiteX96" fmla="*/ 5296 w 10000"/>
                <a:gd name="connsiteY96" fmla="*/ 687 h 10000"/>
                <a:gd name="connsiteX97" fmla="*/ 5332 w 10000"/>
                <a:gd name="connsiteY97" fmla="*/ 716 h 10000"/>
                <a:gd name="connsiteX98" fmla="*/ 5363 w 10000"/>
                <a:gd name="connsiteY98" fmla="*/ 734 h 10000"/>
                <a:gd name="connsiteX99" fmla="*/ 5390 w 10000"/>
                <a:gd name="connsiteY99" fmla="*/ 770 h 10000"/>
                <a:gd name="connsiteX100" fmla="*/ 5413 w 10000"/>
                <a:gd name="connsiteY100" fmla="*/ 941 h 10000"/>
                <a:gd name="connsiteX101" fmla="*/ 5435 w 10000"/>
                <a:gd name="connsiteY101" fmla="*/ 1297 h 10000"/>
                <a:gd name="connsiteX102" fmla="*/ 5462 w 10000"/>
                <a:gd name="connsiteY102" fmla="*/ 1794 h 10000"/>
                <a:gd name="connsiteX103" fmla="*/ 5489 w 10000"/>
                <a:gd name="connsiteY103" fmla="*/ 2404 h 10000"/>
                <a:gd name="connsiteX104" fmla="*/ 9928 w 10000"/>
                <a:gd name="connsiteY104" fmla="*/ 2416 h 10000"/>
                <a:gd name="connsiteX105" fmla="*/ 10000 w 10000"/>
                <a:gd name="connsiteY105" fmla="*/ 3410 h 10000"/>
                <a:gd name="connsiteX106" fmla="*/ 9978 w 10000"/>
                <a:gd name="connsiteY106" fmla="*/ 3529 h 10000"/>
                <a:gd name="connsiteX107" fmla="*/ 9946 w 10000"/>
                <a:gd name="connsiteY107" fmla="*/ 3623 h 10000"/>
                <a:gd name="connsiteX108" fmla="*/ 9901 w 10000"/>
                <a:gd name="connsiteY108" fmla="*/ 3694 h 10000"/>
                <a:gd name="connsiteX109" fmla="*/ 9852 w 10000"/>
                <a:gd name="connsiteY109" fmla="*/ 3760 h 10000"/>
                <a:gd name="connsiteX110" fmla="*/ 9798 w 10000"/>
                <a:gd name="connsiteY110" fmla="*/ 3807 h 10000"/>
                <a:gd name="connsiteX111" fmla="*/ 9753 w 10000"/>
                <a:gd name="connsiteY111" fmla="*/ 3843 h 10000"/>
                <a:gd name="connsiteX112" fmla="*/ 9722 w 10000"/>
                <a:gd name="connsiteY112" fmla="*/ 3860 h 10000"/>
                <a:gd name="connsiteX113" fmla="*/ 9709 w 10000"/>
                <a:gd name="connsiteY113"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8565 w 10000"/>
                <a:gd name="connsiteY5" fmla="*/ 4269 h 10000"/>
                <a:gd name="connsiteX6" fmla="*/ 5435 w 10000"/>
                <a:gd name="connsiteY6" fmla="*/ 4494 h 10000"/>
                <a:gd name="connsiteX7" fmla="*/ 5422 w 10000"/>
                <a:gd name="connsiteY7" fmla="*/ 4494 h 10000"/>
                <a:gd name="connsiteX8" fmla="*/ 5152 w 10000"/>
                <a:gd name="connsiteY8" fmla="*/ 7620 h 10000"/>
                <a:gd name="connsiteX9" fmla="*/ 6516 w 10000"/>
                <a:gd name="connsiteY9" fmla="*/ 7999 h 10000"/>
                <a:gd name="connsiteX10" fmla="*/ 6565 w 10000"/>
                <a:gd name="connsiteY10" fmla="*/ 8034 h 10000"/>
                <a:gd name="connsiteX11" fmla="*/ 6601 w 10000"/>
                <a:gd name="connsiteY11" fmla="*/ 8105 h 10000"/>
                <a:gd name="connsiteX12" fmla="*/ 6623 w 10000"/>
                <a:gd name="connsiteY12" fmla="*/ 8200 h 10000"/>
                <a:gd name="connsiteX13" fmla="*/ 6632 w 10000"/>
                <a:gd name="connsiteY13" fmla="*/ 8307 h 10000"/>
                <a:gd name="connsiteX14" fmla="*/ 6543 w 10000"/>
                <a:gd name="connsiteY14" fmla="*/ 9053 h 10000"/>
                <a:gd name="connsiteX15" fmla="*/ 5291 w 10000"/>
                <a:gd name="connsiteY15" fmla="*/ 9153 h 10000"/>
                <a:gd name="connsiteX16" fmla="*/ 5099 w 10000"/>
                <a:gd name="connsiteY16" fmla="*/ 8620 h 10000"/>
                <a:gd name="connsiteX17" fmla="*/ 5099 w 10000"/>
                <a:gd name="connsiteY17" fmla="*/ 8686 h 10000"/>
                <a:gd name="connsiteX18" fmla="*/ 5090 w 10000"/>
                <a:gd name="connsiteY18" fmla="*/ 8840 h 10000"/>
                <a:gd name="connsiteX19" fmla="*/ 5081 w 10000"/>
                <a:gd name="connsiteY19" fmla="*/ 9059 h 10000"/>
                <a:gd name="connsiteX20" fmla="*/ 5063 w 10000"/>
                <a:gd name="connsiteY20" fmla="*/ 9307 h 10000"/>
                <a:gd name="connsiteX21" fmla="*/ 5040 w 10000"/>
                <a:gd name="connsiteY21" fmla="*/ 9568 h 10000"/>
                <a:gd name="connsiteX22" fmla="*/ 5013 w 10000"/>
                <a:gd name="connsiteY22" fmla="*/ 9787 h 10000"/>
                <a:gd name="connsiteX23" fmla="*/ 4978 w 10000"/>
                <a:gd name="connsiteY23" fmla="*/ 9947 h 10000"/>
                <a:gd name="connsiteX24" fmla="*/ 4928 w 10000"/>
                <a:gd name="connsiteY24" fmla="*/ 10000 h 10000"/>
                <a:gd name="connsiteX25" fmla="*/ 4852 w 10000"/>
                <a:gd name="connsiteY25" fmla="*/ 9781 h 10000"/>
                <a:gd name="connsiteX26" fmla="*/ 4816 w 10000"/>
                <a:gd name="connsiteY26" fmla="*/ 9307 h 10000"/>
                <a:gd name="connsiteX27" fmla="*/ 4803 w 10000"/>
                <a:gd name="connsiteY27" fmla="*/ 8834 h 10000"/>
                <a:gd name="connsiteX28" fmla="*/ 4794 w 10000"/>
                <a:gd name="connsiteY28" fmla="*/ 8620 h 10000"/>
                <a:gd name="connsiteX29" fmla="*/ 4601 w 10000"/>
                <a:gd name="connsiteY29" fmla="*/ 9153 h 10000"/>
                <a:gd name="connsiteX30" fmla="*/ 3368 w 10000"/>
                <a:gd name="connsiteY30" fmla="*/ 9053 h 10000"/>
                <a:gd name="connsiteX31" fmla="*/ 3260 w 10000"/>
                <a:gd name="connsiteY31" fmla="*/ 8307 h 10000"/>
                <a:gd name="connsiteX32" fmla="*/ 3265 w 10000"/>
                <a:gd name="connsiteY32" fmla="*/ 8200 h 10000"/>
                <a:gd name="connsiteX33" fmla="*/ 3291 w 10000"/>
                <a:gd name="connsiteY33" fmla="*/ 8105 h 10000"/>
                <a:gd name="connsiteX34" fmla="*/ 3323 w 10000"/>
                <a:gd name="connsiteY34" fmla="*/ 8034 h 10000"/>
                <a:gd name="connsiteX35" fmla="*/ 3368 w 10000"/>
                <a:gd name="connsiteY35" fmla="*/ 7999 h 10000"/>
                <a:gd name="connsiteX36" fmla="*/ 4740 w 10000"/>
                <a:gd name="connsiteY36" fmla="*/ 7620 h 10000"/>
                <a:gd name="connsiteX37" fmla="*/ 4475 w 10000"/>
                <a:gd name="connsiteY37" fmla="*/ 4494 h 10000"/>
                <a:gd name="connsiteX38" fmla="*/ 511 w 10000"/>
                <a:gd name="connsiteY38" fmla="*/ 4044 h 10000"/>
                <a:gd name="connsiteX39" fmla="*/ 502 w 10000"/>
                <a:gd name="connsiteY39" fmla="*/ 4044 h 10000"/>
                <a:gd name="connsiteX40" fmla="*/ 471 w 10000"/>
                <a:gd name="connsiteY40" fmla="*/ 4032 h 10000"/>
                <a:gd name="connsiteX41" fmla="*/ 430 w 10000"/>
                <a:gd name="connsiteY41" fmla="*/ 4020 h 10000"/>
                <a:gd name="connsiteX42" fmla="*/ 386 w 10000"/>
                <a:gd name="connsiteY42" fmla="*/ 3996 h 10000"/>
                <a:gd name="connsiteX43" fmla="*/ 341 w 10000"/>
                <a:gd name="connsiteY43" fmla="*/ 3985 h 10000"/>
                <a:gd name="connsiteX44" fmla="*/ 300 w 10000"/>
                <a:gd name="connsiteY44" fmla="*/ 3967 h 10000"/>
                <a:gd name="connsiteX45" fmla="*/ 269 w 10000"/>
                <a:gd name="connsiteY45" fmla="*/ 3955 h 10000"/>
                <a:gd name="connsiteX46" fmla="*/ 260 w 10000"/>
                <a:gd name="connsiteY46" fmla="*/ 3955 h 10000"/>
                <a:gd name="connsiteX47" fmla="*/ 179 w 10000"/>
                <a:gd name="connsiteY47" fmla="*/ 3914 h 10000"/>
                <a:gd name="connsiteX48" fmla="*/ 126 w 10000"/>
                <a:gd name="connsiteY48" fmla="*/ 3860 h 10000"/>
                <a:gd name="connsiteX49" fmla="*/ 76 w 10000"/>
                <a:gd name="connsiteY49" fmla="*/ 3813 h 10000"/>
                <a:gd name="connsiteX50" fmla="*/ 54 w 10000"/>
                <a:gd name="connsiteY50" fmla="*/ 3760 h 10000"/>
                <a:gd name="connsiteX51" fmla="*/ 31 w 10000"/>
                <a:gd name="connsiteY51" fmla="*/ 3718 h 10000"/>
                <a:gd name="connsiteX52" fmla="*/ 22 w 10000"/>
                <a:gd name="connsiteY52" fmla="*/ 3677 h 10000"/>
                <a:gd name="connsiteX53" fmla="*/ 13 w 10000"/>
                <a:gd name="connsiteY53" fmla="*/ 3647 h 10000"/>
                <a:gd name="connsiteX54" fmla="*/ 13 w 10000"/>
                <a:gd name="connsiteY54" fmla="*/ 3641 h 10000"/>
                <a:gd name="connsiteX55" fmla="*/ 0 w 10000"/>
                <a:gd name="connsiteY55" fmla="*/ 2351 h 10000"/>
                <a:gd name="connsiteX56" fmla="*/ 4408 w 10000"/>
                <a:gd name="connsiteY56" fmla="*/ 2345 h 10000"/>
                <a:gd name="connsiteX57" fmla="*/ 4439 w 10000"/>
                <a:gd name="connsiteY57" fmla="*/ 1764 h 10000"/>
                <a:gd name="connsiteX58" fmla="*/ 4466 w 10000"/>
                <a:gd name="connsiteY58" fmla="*/ 1291 h 10000"/>
                <a:gd name="connsiteX59" fmla="*/ 4484 w 10000"/>
                <a:gd name="connsiteY59" fmla="*/ 941 h 10000"/>
                <a:gd name="connsiteX60" fmla="*/ 4516 w 10000"/>
                <a:gd name="connsiteY60" fmla="*/ 770 h 10000"/>
                <a:gd name="connsiteX61" fmla="*/ 4538 w 10000"/>
                <a:gd name="connsiteY61" fmla="*/ 734 h 10000"/>
                <a:gd name="connsiteX62" fmla="*/ 4565 w 10000"/>
                <a:gd name="connsiteY62" fmla="*/ 716 h 10000"/>
                <a:gd name="connsiteX63" fmla="*/ 4596 w 10000"/>
                <a:gd name="connsiteY63" fmla="*/ 687 h 10000"/>
                <a:gd name="connsiteX64" fmla="*/ 4632 w 10000"/>
                <a:gd name="connsiteY64" fmla="*/ 675 h 10000"/>
                <a:gd name="connsiteX65" fmla="*/ 4668 w 10000"/>
                <a:gd name="connsiteY65" fmla="*/ 663 h 10000"/>
                <a:gd name="connsiteX66" fmla="*/ 4704 w 10000"/>
                <a:gd name="connsiteY66" fmla="*/ 645 h 10000"/>
                <a:gd name="connsiteX67" fmla="*/ 4740 w 10000"/>
                <a:gd name="connsiteY67" fmla="*/ 639 h 10000"/>
                <a:gd name="connsiteX68" fmla="*/ 4767 w 10000"/>
                <a:gd name="connsiteY68" fmla="*/ 639 h 10000"/>
                <a:gd name="connsiteX69" fmla="*/ 4780 w 10000"/>
                <a:gd name="connsiteY69" fmla="*/ 586 h 10000"/>
                <a:gd name="connsiteX70" fmla="*/ 4789 w 10000"/>
                <a:gd name="connsiteY70" fmla="*/ 527 h 10000"/>
                <a:gd name="connsiteX71" fmla="*/ 4807 w 10000"/>
                <a:gd name="connsiteY71" fmla="*/ 480 h 10000"/>
                <a:gd name="connsiteX72" fmla="*/ 4816 w 10000"/>
                <a:gd name="connsiteY72" fmla="*/ 432 h 10000"/>
                <a:gd name="connsiteX73" fmla="*/ 3789 w 10000"/>
                <a:gd name="connsiteY73" fmla="*/ 432 h 10000"/>
                <a:gd name="connsiteX74" fmla="*/ 3789 w 10000"/>
                <a:gd name="connsiteY74" fmla="*/ 219 h 10000"/>
                <a:gd name="connsiteX75" fmla="*/ 4834 w 10000"/>
                <a:gd name="connsiteY75" fmla="*/ 219 h 10000"/>
                <a:gd name="connsiteX76" fmla="*/ 4857 w 10000"/>
                <a:gd name="connsiteY76" fmla="*/ 148 h 10000"/>
                <a:gd name="connsiteX77" fmla="*/ 4883 w 10000"/>
                <a:gd name="connsiteY77" fmla="*/ 77 h 10000"/>
                <a:gd name="connsiteX78" fmla="*/ 4910 w 10000"/>
                <a:gd name="connsiteY78" fmla="*/ 18 h 10000"/>
                <a:gd name="connsiteX79" fmla="*/ 4946 w 10000"/>
                <a:gd name="connsiteY79" fmla="*/ 0 h 10000"/>
                <a:gd name="connsiteX80" fmla="*/ 4982 w 10000"/>
                <a:gd name="connsiteY80" fmla="*/ 18 h 10000"/>
                <a:gd name="connsiteX81" fmla="*/ 5009 w 10000"/>
                <a:gd name="connsiteY81" fmla="*/ 77 h 10000"/>
                <a:gd name="connsiteX82" fmla="*/ 5031 w 10000"/>
                <a:gd name="connsiteY82" fmla="*/ 148 h 10000"/>
                <a:gd name="connsiteX83" fmla="*/ 5054 w 10000"/>
                <a:gd name="connsiteY83" fmla="*/ 219 h 10000"/>
                <a:gd name="connsiteX84" fmla="*/ 6135 w 10000"/>
                <a:gd name="connsiteY84" fmla="*/ 219 h 10000"/>
                <a:gd name="connsiteX85" fmla="*/ 6135 w 10000"/>
                <a:gd name="connsiteY85" fmla="*/ 432 h 10000"/>
                <a:gd name="connsiteX86" fmla="*/ 5076 w 10000"/>
                <a:gd name="connsiteY86" fmla="*/ 432 h 10000"/>
                <a:gd name="connsiteX87" fmla="*/ 5085 w 10000"/>
                <a:gd name="connsiteY87" fmla="*/ 480 h 10000"/>
                <a:gd name="connsiteX88" fmla="*/ 5099 w 10000"/>
                <a:gd name="connsiteY88" fmla="*/ 527 h 10000"/>
                <a:gd name="connsiteX89" fmla="*/ 5112 w 10000"/>
                <a:gd name="connsiteY89" fmla="*/ 586 h 10000"/>
                <a:gd name="connsiteX90" fmla="*/ 5126 w 10000"/>
                <a:gd name="connsiteY90" fmla="*/ 639 h 10000"/>
                <a:gd name="connsiteX91" fmla="*/ 5152 w 10000"/>
                <a:gd name="connsiteY91" fmla="*/ 639 h 10000"/>
                <a:gd name="connsiteX92" fmla="*/ 5188 w 10000"/>
                <a:gd name="connsiteY92" fmla="*/ 645 h 10000"/>
                <a:gd name="connsiteX93" fmla="*/ 5224 w 10000"/>
                <a:gd name="connsiteY93" fmla="*/ 663 h 10000"/>
                <a:gd name="connsiteX94" fmla="*/ 5260 w 10000"/>
                <a:gd name="connsiteY94" fmla="*/ 675 h 10000"/>
                <a:gd name="connsiteX95" fmla="*/ 5296 w 10000"/>
                <a:gd name="connsiteY95" fmla="*/ 687 h 10000"/>
                <a:gd name="connsiteX96" fmla="*/ 5332 w 10000"/>
                <a:gd name="connsiteY96" fmla="*/ 716 h 10000"/>
                <a:gd name="connsiteX97" fmla="*/ 5363 w 10000"/>
                <a:gd name="connsiteY97" fmla="*/ 734 h 10000"/>
                <a:gd name="connsiteX98" fmla="*/ 5390 w 10000"/>
                <a:gd name="connsiteY98" fmla="*/ 770 h 10000"/>
                <a:gd name="connsiteX99" fmla="*/ 5413 w 10000"/>
                <a:gd name="connsiteY99" fmla="*/ 941 h 10000"/>
                <a:gd name="connsiteX100" fmla="*/ 5435 w 10000"/>
                <a:gd name="connsiteY100" fmla="*/ 1297 h 10000"/>
                <a:gd name="connsiteX101" fmla="*/ 5462 w 10000"/>
                <a:gd name="connsiteY101" fmla="*/ 1794 h 10000"/>
                <a:gd name="connsiteX102" fmla="*/ 5489 w 10000"/>
                <a:gd name="connsiteY102" fmla="*/ 2404 h 10000"/>
                <a:gd name="connsiteX103" fmla="*/ 9928 w 10000"/>
                <a:gd name="connsiteY103" fmla="*/ 2416 h 10000"/>
                <a:gd name="connsiteX104" fmla="*/ 10000 w 10000"/>
                <a:gd name="connsiteY104" fmla="*/ 3410 h 10000"/>
                <a:gd name="connsiteX105" fmla="*/ 9978 w 10000"/>
                <a:gd name="connsiteY105" fmla="*/ 3529 h 10000"/>
                <a:gd name="connsiteX106" fmla="*/ 9946 w 10000"/>
                <a:gd name="connsiteY106" fmla="*/ 3623 h 10000"/>
                <a:gd name="connsiteX107" fmla="*/ 9901 w 10000"/>
                <a:gd name="connsiteY107" fmla="*/ 3694 h 10000"/>
                <a:gd name="connsiteX108" fmla="*/ 9852 w 10000"/>
                <a:gd name="connsiteY108" fmla="*/ 3760 h 10000"/>
                <a:gd name="connsiteX109" fmla="*/ 9798 w 10000"/>
                <a:gd name="connsiteY109" fmla="*/ 3807 h 10000"/>
                <a:gd name="connsiteX110" fmla="*/ 9753 w 10000"/>
                <a:gd name="connsiteY110" fmla="*/ 3843 h 10000"/>
                <a:gd name="connsiteX111" fmla="*/ 9722 w 10000"/>
                <a:gd name="connsiteY111" fmla="*/ 3860 h 10000"/>
                <a:gd name="connsiteX112" fmla="*/ 9709 w 10000"/>
                <a:gd name="connsiteY112"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8650 w 10000"/>
                <a:gd name="connsiteY4" fmla="*/ 4251 h 10000"/>
                <a:gd name="connsiteX5" fmla="*/ 5435 w 10000"/>
                <a:gd name="connsiteY5" fmla="*/ 4494 h 10000"/>
                <a:gd name="connsiteX6" fmla="*/ 5422 w 10000"/>
                <a:gd name="connsiteY6" fmla="*/ 4494 h 10000"/>
                <a:gd name="connsiteX7" fmla="*/ 5152 w 10000"/>
                <a:gd name="connsiteY7" fmla="*/ 7620 h 10000"/>
                <a:gd name="connsiteX8" fmla="*/ 6516 w 10000"/>
                <a:gd name="connsiteY8" fmla="*/ 7999 h 10000"/>
                <a:gd name="connsiteX9" fmla="*/ 6565 w 10000"/>
                <a:gd name="connsiteY9" fmla="*/ 8034 h 10000"/>
                <a:gd name="connsiteX10" fmla="*/ 6601 w 10000"/>
                <a:gd name="connsiteY10" fmla="*/ 8105 h 10000"/>
                <a:gd name="connsiteX11" fmla="*/ 6623 w 10000"/>
                <a:gd name="connsiteY11" fmla="*/ 8200 h 10000"/>
                <a:gd name="connsiteX12" fmla="*/ 6632 w 10000"/>
                <a:gd name="connsiteY12" fmla="*/ 8307 h 10000"/>
                <a:gd name="connsiteX13" fmla="*/ 6543 w 10000"/>
                <a:gd name="connsiteY13" fmla="*/ 9053 h 10000"/>
                <a:gd name="connsiteX14" fmla="*/ 5291 w 10000"/>
                <a:gd name="connsiteY14" fmla="*/ 9153 h 10000"/>
                <a:gd name="connsiteX15" fmla="*/ 5099 w 10000"/>
                <a:gd name="connsiteY15" fmla="*/ 8620 h 10000"/>
                <a:gd name="connsiteX16" fmla="*/ 5099 w 10000"/>
                <a:gd name="connsiteY16" fmla="*/ 8686 h 10000"/>
                <a:gd name="connsiteX17" fmla="*/ 5090 w 10000"/>
                <a:gd name="connsiteY17" fmla="*/ 8840 h 10000"/>
                <a:gd name="connsiteX18" fmla="*/ 5081 w 10000"/>
                <a:gd name="connsiteY18" fmla="*/ 9059 h 10000"/>
                <a:gd name="connsiteX19" fmla="*/ 5063 w 10000"/>
                <a:gd name="connsiteY19" fmla="*/ 9307 h 10000"/>
                <a:gd name="connsiteX20" fmla="*/ 5040 w 10000"/>
                <a:gd name="connsiteY20" fmla="*/ 9568 h 10000"/>
                <a:gd name="connsiteX21" fmla="*/ 5013 w 10000"/>
                <a:gd name="connsiteY21" fmla="*/ 9787 h 10000"/>
                <a:gd name="connsiteX22" fmla="*/ 4978 w 10000"/>
                <a:gd name="connsiteY22" fmla="*/ 9947 h 10000"/>
                <a:gd name="connsiteX23" fmla="*/ 4928 w 10000"/>
                <a:gd name="connsiteY23" fmla="*/ 10000 h 10000"/>
                <a:gd name="connsiteX24" fmla="*/ 4852 w 10000"/>
                <a:gd name="connsiteY24" fmla="*/ 9781 h 10000"/>
                <a:gd name="connsiteX25" fmla="*/ 4816 w 10000"/>
                <a:gd name="connsiteY25" fmla="*/ 9307 h 10000"/>
                <a:gd name="connsiteX26" fmla="*/ 4803 w 10000"/>
                <a:gd name="connsiteY26" fmla="*/ 8834 h 10000"/>
                <a:gd name="connsiteX27" fmla="*/ 4794 w 10000"/>
                <a:gd name="connsiteY27" fmla="*/ 8620 h 10000"/>
                <a:gd name="connsiteX28" fmla="*/ 4601 w 10000"/>
                <a:gd name="connsiteY28" fmla="*/ 9153 h 10000"/>
                <a:gd name="connsiteX29" fmla="*/ 3368 w 10000"/>
                <a:gd name="connsiteY29" fmla="*/ 9053 h 10000"/>
                <a:gd name="connsiteX30" fmla="*/ 3260 w 10000"/>
                <a:gd name="connsiteY30" fmla="*/ 8307 h 10000"/>
                <a:gd name="connsiteX31" fmla="*/ 3265 w 10000"/>
                <a:gd name="connsiteY31" fmla="*/ 8200 h 10000"/>
                <a:gd name="connsiteX32" fmla="*/ 3291 w 10000"/>
                <a:gd name="connsiteY32" fmla="*/ 8105 h 10000"/>
                <a:gd name="connsiteX33" fmla="*/ 3323 w 10000"/>
                <a:gd name="connsiteY33" fmla="*/ 8034 h 10000"/>
                <a:gd name="connsiteX34" fmla="*/ 3368 w 10000"/>
                <a:gd name="connsiteY34" fmla="*/ 7999 h 10000"/>
                <a:gd name="connsiteX35" fmla="*/ 4740 w 10000"/>
                <a:gd name="connsiteY35" fmla="*/ 7620 h 10000"/>
                <a:gd name="connsiteX36" fmla="*/ 4475 w 10000"/>
                <a:gd name="connsiteY36" fmla="*/ 4494 h 10000"/>
                <a:gd name="connsiteX37" fmla="*/ 511 w 10000"/>
                <a:gd name="connsiteY37" fmla="*/ 4044 h 10000"/>
                <a:gd name="connsiteX38" fmla="*/ 502 w 10000"/>
                <a:gd name="connsiteY38" fmla="*/ 4044 h 10000"/>
                <a:gd name="connsiteX39" fmla="*/ 471 w 10000"/>
                <a:gd name="connsiteY39" fmla="*/ 4032 h 10000"/>
                <a:gd name="connsiteX40" fmla="*/ 430 w 10000"/>
                <a:gd name="connsiteY40" fmla="*/ 4020 h 10000"/>
                <a:gd name="connsiteX41" fmla="*/ 386 w 10000"/>
                <a:gd name="connsiteY41" fmla="*/ 3996 h 10000"/>
                <a:gd name="connsiteX42" fmla="*/ 341 w 10000"/>
                <a:gd name="connsiteY42" fmla="*/ 3985 h 10000"/>
                <a:gd name="connsiteX43" fmla="*/ 300 w 10000"/>
                <a:gd name="connsiteY43" fmla="*/ 3967 h 10000"/>
                <a:gd name="connsiteX44" fmla="*/ 269 w 10000"/>
                <a:gd name="connsiteY44" fmla="*/ 3955 h 10000"/>
                <a:gd name="connsiteX45" fmla="*/ 260 w 10000"/>
                <a:gd name="connsiteY45" fmla="*/ 3955 h 10000"/>
                <a:gd name="connsiteX46" fmla="*/ 179 w 10000"/>
                <a:gd name="connsiteY46" fmla="*/ 3914 h 10000"/>
                <a:gd name="connsiteX47" fmla="*/ 126 w 10000"/>
                <a:gd name="connsiteY47" fmla="*/ 3860 h 10000"/>
                <a:gd name="connsiteX48" fmla="*/ 76 w 10000"/>
                <a:gd name="connsiteY48" fmla="*/ 3813 h 10000"/>
                <a:gd name="connsiteX49" fmla="*/ 54 w 10000"/>
                <a:gd name="connsiteY49" fmla="*/ 3760 h 10000"/>
                <a:gd name="connsiteX50" fmla="*/ 31 w 10000"/>
                <a:gd name="connsiteY50" fmla="*/ 3718 h 10000"/>
                <a:gd name="connsiteX51" fmla="*/ 22 w 10000"/>
                <a:gd name="connsiteY51" fmla="*/ 3677 h 10000"/>
                <a:gd name="connsiteX52" fmla="*/ 13 w 10000"/>
                <a:gd name="connsiteY52" fmla="*/ 3647 h 10000"/>
                <a:gd name="connsiteX53" fmla="*/ 13 w 10000"/>
                <a:gd name="connsiteY53" fmla="*/ 3641 h 10000"/>
                <a:gd name="connsiteX54" fmla="*/ 0 w 10000"/>
                <a:gd name="connsiteY54" fmla="*/ 2351 h 10000"/>
                <a:gd name="connsiteX55" fmla="*/ 4408 w 10000"/>
                <a:gd name="connsiteY55" fmla="*/ 2345 h 10000"/>
                <a:gd name="connsiteX56" fmla="*/ 4439 w 10000"/>
                <a:gd name="connsiteY56" fmla="*/ 1764 h 10000"/>
                <a:gd name="connsiteX57" fmla="*/ 4466 w 10000"/>
                <a:gd name="connsiteY57" fmla="*/ 1291 h 10000"/>
                <a:gd name="connsiteX58" fmla="*/ 4484 w 10000"/>
                <a:gd name="connsiteY58" fmla="*/ 941 h 10000"/>
                <a:gd name="connsiteX59" fmla="*/ 4516 w 10000"/>
                <a:gd name="connsiteY59" fmla="*/ 770 h 10000"/>
                <a:gd name="connsiteX60" fmla="*/ 4538 w 10000"/>
                <a:gd name="connsiteY60" fmla="*/ 734 h 10000"/>
                <a:gd name="connsiteX61" fmla="*/ 4565 w 10000"/>
                <a:gd name="connsiteY61" fmla="*/ 716 h 10000"/>
                <a:gd name="connsiteX62" fmla="*/ 4596 w 10000"/>
                <a:gd name="connsiteY62" fmla="*/ 687 h 10000"/>
                <a:gd name="connsiteX63" fmla="*/ 4632 w 10000"/>
                <a:gd name="connsiteY63" fmla="*/ 675 h 10000"/>
                <a:gd name="connsiteX64" fmla="*/ 4668 w 10000"/>
                <a:gd name="connsiteY64" fmla="*/ 663 h 10000"/>
                <a:gd name="connsiteX65" fmla="*/ 4704 w 10000"/>
                <a:gd name="connsiteY65" fmla="*/ 645 h 10000"/>
                <a:gd name="connsiteX66" fmla="*/ 4740 w 10000"/>
                <a:gd name="connsiteY66" fmla="*/ 639 h 10000"/>
                <a:gd name="connsiteX67" fmla="*/ 4767 w 10000"/>
                <a:gd name="connsiteY67" fmla="*/ 639 h 10000"/>
                <a:gd name="connsiteX68" fmla="*/ 4780 w 10000"/>
                <a:gd name="connsiteY68" fmla="*/ 586 h 10000"/>
                <a:gd name="connsiteX69" fmla="*/ 4789 w 10000"/>
                <a:gd name="connsiteY69" fmla="*/ 527 h 10000"/>
                <a:gd name="connsiteX70" fmla="*/ 4807 w 10000"/>
                <a:gd name="connsiteY70" fmla="*/ 480 h 10000"/>
                <a:gd name="connsiteX71" fmla="*/ 4816 w 10000"/>
                <a:gd name="connsiteY71" fmla="*/ 432 h 10000"/>
                <a:gd name="connsiteX72" fmla="*/ 3789 w 10000"/>
                <a:gd name="connsiteY72" fmla="*/ 432 h 10000"/>
                <a:gd name="connsiteX73" fmla="*/ 3789 w 10000"/>
                <a:gd name="connsiteY73" fmla="*/ 219 h 10000"/>
                <a:gd name="connsiteX74" fmla="*/ 4834 w 10000"/>
                <a:gd name="connsiteY74" fmla="*/ 219 h 10000"/>
                <a:gd name="connsiteX75" fmla="*/ 4857 w 10000"/>
                <a:gd name="connsiteY75" fmla="*/ 148 h 10000"/>
                <a:gd name="connsiteX76" fmla="*/ 4883 w 10000"/>
                <a:gd name="connsiteY76" fmla="*/ 77 h 10000"/>
                <a:gd name="connsiteX77" fmla="*/ 4910 w 10000"/>
                <a:gd name="connsiteY77" fmla="*/ 18 h 10000"/>
                <a:gd name="connsiteX78" fmla="*/ 4946 w 10000"/>
                <a:gd name="connsiteY78" fmla="*/ 0 h 10000"/>
                <a:gd name="connsiteX79" fmla="*/ 4982 w 10000"/>
                <a:gd name="connsiteY79" fmla="*/ 18 h 10000"/>
                <a:gd name="connsiteX80" fmla="*/ 5009 w 10000"/>
                <a:gd name="connsiteY80" fmla="*/ 77 h 10000"/>
                <a:gd name="connsiteX81" fmla="*/ 5031 w 10000"/>
                <a:gd name="connsiteY81" fmla="*/ 148 h 10000"/>
                <a:gd name="connsiteX82" fmla="*/ 5054 w 10000"/>
                <a:gd name="connsiteY82" fmla="*/ 219 h 10000"/>
                <a:gd name="connsiteX83" fmla="*/ 6135 w 10000"/>
                <a:gd name="connsiteY83" fmla="*/ 219 h 10000"/>
                <a:gd name="connsiteX84" fmla="*/ 6135 w 10000"/>
                <a:gd name="connsiteY84" fmla="*/ 432 h 10000"/>
                <a:gd name="connsiteX85" fmla="*/ 5076 w 10000"/>
                <a:gd name="connsiteY85" fmla="*/ 432 h 10000"/>
                <a:gd name="connsiteX86" fmla="*/ 5085 w 10000"/>
                <a:gd name="connsiteY86" fmla="*/ 480 h 10000"/>
                <a:gd name="connsiteX87" fmla="*/ 5099 w 10000"/>
                <a:gd name="connsiteY87" fmla="*/ 527 h 10000"/>
                <a:gd name="connsiteX88" fmla="*/ 5112 w 10000"/>
                <a:gd name="connsiteY88" fmla="*/ 586 h 10000"/>
                <a:gd name="connsiteX89" fmla="*/ 5126 w 10000"/>
                <a:gd name="connsiteY89" fmla="*/ 639 h 10000"/>
                <a:gd name="connsiteX90" fmla="*/ 5152 w 10000"/>
                <a:gd name="connsiteY90" fmla="*/ 639 h 10000"/>
                <a:gd name="connsiteX91" fmla="*/ 5188 w 10000"/>
                <a:gd name="connsiteY91" fmla="*/ 645 h 10000"/>
                <a:gd name="connsiteX92" fmla="*/ 5224 w 10000"/>
                <a:gd name="connsiteY92" fmla="*/ 663 h 10000"/>
                <a:gd name="connsiteX93" fmla="*/ 5260 w 10000"/>
                <a:gd name="connsiteY93" fmla="*/ 675 h 10000"/>
                <a:gd name="connsiteX94" fmla="*/ 5296 w 10000"/>
                <a:gd name="connsiteY94" fmla="*/ 687 h 10000"/>
                <a:gd name="connsiteX95" fmla="*/ 5332 w 10000"/>
                <a:gd name="connsiteY95" fmla="*/ 716 h 10000"/>
                <a:gd name="connsiteX96" fmla="*/ 5363 w 10000"/>
                <a:gd name="connsiteY96" fmla="*/ 734 h 10000"/>
                <a:gd name="connsiteX97" fmla="*/ 5390 w 10000"/>
                <a:gd name="connsiteY97" fmla="*/ 770 h 10000"/>
                <a:gd name="connsiteX98" fmla="*/ 5413 w 10000"/>
                <a:gd name="connsiteY98" fmla="*/ 941 h 10000"/>
                <a:gd name="connsiteX99" fmla="*/ 5435 w 10000"/>
                <a:gd name="connsiteY99" fmla="*/ 1297 h 10000"/>
                <a:gd name="connsiteX100" fmla="*/ 5462 w 10000"/>
                <a:gd name="connsiteY100" fmla="*/ 1794 h 10000"/>
                <a:gd name="connsiteX101" fmla="*/ 5489 w 10000"/>
                <a:gd name="connsiteY101" fmla="*/ 2404 h 10000"/>
                <a:gd name="connsiteX102" fmla="*/ 9928 w 10000"/>
                <a:gd name="connsiteY102" fmla="*/ 2416 h 10000"/>
                <a:gd name="connsiteX103" fmla="*/ 10000 w 10000"/>
                <a:gd name="connsiteY103" fmla="*/ 3410 h 10000"/>
                <a:gd name="connsiteX104" fmla="*/ 9978 w 10000"/>
                <a:gd name="connsiteY104" fmla="*/ 3529 h 10000"/>
                <a:gd name="connsiteX105" fmla="*/ 9946 w 10000"/>
                <a:gd name="connsiteY105" fmla="*/ 3623 h 10000"/>
                <a:gd name="connsiteX106" fmla="*/ 9901 w 10000"/>
                <a:gd name="connsiteY106" fmla="*/ 3694 h 10000"/>
                <a:gd name="connsiteX107" fmla="*/ 9852 w 10000"/>
                <a:gd name="connsiteY107" fmla="*/ 3760 h 10000"/>
                <a:gd name="connsiteX108" fmla="*/ 9798 w 10000"/>
                <a:gd name="connsiteY108" fmla="*/ 3807 h 10000"/>
                <a:gd name="connsiteX109" fmla="*/ 9753 w 10000"/>
                <a:gd name="connsiteY109" fmla="*/ 3843 h 10000"/>
                <a:gd name="connsiteX110" fmla="*/ 9722 w 10000"/>
                <a:gd name="connsiteY110" fmla="*/ 3860 h 10000"/>
                <a:gd name="connsiteX111" fmla="*/ 9709 w 10000"/>
                <a:gd name="connsiteY111" fmla="*/ 3866 h 10000"/>
                <a:gd name="connsiteX0" fmla="*/ 9709 w 10000"/>
                <a:gd name="connsiteY0" fmla="*/ 3866 h 10000"/>
                <a:gd name="connsiteX1" fmla="*/ 8910 w 10000"/>
                <a:gd name="connsiteY1" fmla="*/ 4174 h 10000"/>
                <a:gd name="connsiteX2" fmla="*/ 8825 w 10000"/>
                <a:gd name="connsiteY2" fmla="*/ 4192 h 10000"/>
                <a:gd name="connsiteX3" fmla="*/ 8740 w 10000"/>
                <a:gd name="connsiteY3" fmla="*/ 4221 h 10000"/>
                <a:gd name="connsiteX4" fmla="*/ 5435 w 10000"/>
                <a:gd name="connsiteY4" fmla="*/ 4494 h 10000"/>
                <a:gd name="connsiteX5" fmla="*/ 5422 w 10000"/>
                <a:gd name="connsiteY5" fmla="*/ 4494 h 10000"/>
                <a:gd name="connsiteX6" fmla="*/ 5152 w 10000"/>
                <a:gd name="connsiteY6" fmla="*/ 7620 h 10000"/>
                <a:gd name="connsiteX7" fmla="*/ 6516 w 10000"/>
                <a:gd name="connsiteY7" fmla="*/ 7999 h 10000"/>
                <a:gd name="connsiteX8" fmla="*/ 6565 w 10000"/>
                <a:gd name="connsiteY8" fmla="*/ 8034 h 10000"/>
                <a:gd name="connsiteX9" fmla="*/ 6601 w 10000"/>
                <a:gd name="connsiteY9" fmla="*/ 8105 h 10000"/>
                <a:gd name="connsiteX10" fmla="*/ 6623 w 10000"/>
                <a:gd name="connsiteY10" fmla="*/ 8200 h 10000"/>
                <a:gd name="connsiteX11" fmla="*/ 6632 w 10000"/>
                <a:gd name="connsiteY11" fmla="*/ 8307 h 10000"/>
                <a:gd name="connsiteX12" fmla="*/ 6543 w 10000"/>
                <a:gd name="connsiteY12" fmla="*/ 9053 h 10000"/>
                <a:gd name="connsiteX13" fmla="*/ 5291 w 10000"/>
                <a:gd name="connsiteY13" fmla="*/ 9153 h 10000"/>
                <a:gd name="connsiteX14" fmla="*/ 5099 w 10000"/>
                <a:gd name="connsiteY14" fmla="*/ 8620 h 10000"/>
                <a:gd name="connsiteX15" fmla="*/ 5099 w 10000"/>
                <a:gd name="connsiteY15" fmla="*/ 8686 h 10000"/>
                <a:gd name="connsiteX16" fmla="*/ 5090 w 10000"/>
                <a:gd name="connsiteY16" fmla="*/ 8840 h 10000"/>
                <a:gd name="connsiteX17" fmla="*/ 5081 w 10000"/>
                <a:gd name="connsiteY17" fmla="*/ 9059 h 10000"/>
                <a:gd name="connsiteX18" fmla="*/ 5063 w 10000"/>
                <a:gd name="connsiteY18" fmla="*/ 9307 h 10000"/>
                <a:gd name="connsiteX19" fmla="*/ 5040 w 10000"/>
                <a:gd name="connsiteY19" fmla="*/ 9568 h 10000"/>
                <a:gd name="connsiteX20" fmla="*/ 5013 w 10000"/>
                <a:gd name="connsiteY20" fmla="*/ 9787 h 10000"/>
                <a:gd name="connsiteX21" fmla="*/ 4978 w 10000"/>
                <a:gd name="connsiteY21" fmla="*/ 9947 h 10000"/>
                <a:gd name="connsiteX22" fmla="*/ 4928 w 10000"/>
                <a:gd name="connsiteY22" fmla="*/ 10000 h 10000"/>
                <a:gd name="connsiteX23" fmla="*/ 4852 w 10000"/>
                <a:gd name="connsiteY23" fmla="*/ 9781 h 10000"/>
                <a:gd name="connsiteX24" fmla="*/ 4816 w 10000"/>
                <a:gd name="connsiteY24" fmla="*/ 9307 h 10000"/>
                <a:gd name="connsiteX25" fmla="*/ 4803 w 10000"/>
                <a:gd name="connsiteY25" fmla="*/ 8834 h 10000"/>
                <a:gd name="connsiteX26" fmla="*/ 4794 w 10000"/>
                <a:gd name="connsiteY26" fmla="*/ 8620 h 10000"/>
                <a:gd name="connsiteX27" fmla="*/ 4601 w 10000"/>
                <a:gd name="connsiteY27" fmla="*/ 9153 h 10000"/>
                <a:gd name="connsiteX28" fmla="*/ 3368 w 10000"/>
                <a:gd name="connsiteY28" fmla="*/ 9053 h 10000"/>
                <a:gd name="connsiteX29" fmla="*/ 3260 w 10000"/>
                <a:gd name="connsiteY29" fmla="*/ 8307 h 10000"/>
                <a:gd name="connsiteX30" fmla="*/ 3265 w 10000"/>
                <a:gd name="connsiteY30" fmla="*/ 8200 h 10000"/>
                <a:gd name="connsiteX31" fmla="*/ 3291 w 10000"/>
                <a:gd name="connsiteY31" fmla="*/ 8105 h 10000"/>
                <a:gd name="connsiteX32" fmla="*/ 3323 w 10000"/>
                <a:gd name="connsiteY32" fmla="*/ 8034 h 10000"/>
                <a:gd name="connsiteX33" fmla="*/ 3368 w 10000"/>
                <a:gd name="connsiteY33" fmla="*/ 7999 h 10000"/>
                <a:gd name="connsiteX34" fmla="*/ 4740 w 10000"/>
                <a:gd name="connsiteY34" fmla="*/ 7620 h 10000"/>
                <a:gd name="connsiteX35" fmla="*/ 4475 w 10000"/>
                <a:gd name="connsiteY35" fmla="*/ 4494 h 10000"/>
                <a:gd name="connsiteX36" fmla="*/ 511 w 10000"/>
                <a:gd name="connsiteY36" fmla="*/ 4044 h 10000"/>
                <a:gd name="connsiteX37" fmla="*/ 502 w 10000"/>
                <a:gd name="connsiteY37" fmla="*/ 4044 h 10000"/>
                <a:gd name="connsiteX38" fmla="*/ 471 w 10000"/>
                <a:gd name="connsiteY38" fmla="*/ 4032 h 10000"/>
                <a:gd name="connsiteX39" fmla="*/ 430 w 10000"/>
                <a:gd name="connsiteY39" fmla="*/ 4020 h 10000"/>
                <a:gd name="connsiteX40" fmla="*/ 386 w 10000"/>
                <a:gd name="connsiteY40" fmla="*/ 3996 h 10000"/>
                <a:gd name="connsiteX41" fmla="*/ 341 w 10000"/>
                <a:gd name="connsiteY41" fmla="*/ 3985 h 10000"/>
                <a:gd name="connsiteX42" fmla="*/ 300 w 10000"/>
                <a:gd name="connsiteY42" fmla="*/ 3967 h 10000"/>
                <a:gd name="connsiteX43" fmla="*/ 269 w 10000"/>
                <a:gd name="connsiteY43" fmla="*/ 3955 h 10000"/>
                <a:gd name="connsiteX44" fmla="*/ 260 w 10000"/>
                <a:gd name="connsiteY44" fmla="*/ 3955 h 10000"/>
                <a:gd name="connsiteX45" fmla="*/ 179 w 10000"/>
                <a:gd name="connsiteY45" fmla="*/ 3914 h 10000"/>
                <a:gd name="connsiteX46" fmla="*/ 126 w 10000"/>
                <a:gd name="connsiteY46" fmla="*/ 3860 h 10000"/>
                <a:gd name="connsiteX47" fmla="*/ 76 w 10000"/>
                <a:gd name="connsiteY47" fmla="*/ 3813 h 10000"/>
                <a:gd name="connsiteX48" fmla="*/ 54 w 10000"/>
                <a:gd name="connsiteY48" fmla="*/ 3760 h 10000"/>
                <a:gd name="connsiteX49" fmla="*/ 31 w 10000"/>
                <a:gd name="connsiteY49" fmla="*/ 3718 h 10000"/>
                <a:gd name="connsiteX50" fmla="*/ 22 w 10000"/>
                <a:gd name="connsiteY50" fmla="*/ 3677 h 10000"/>
                <a:gd name="connsiteX51" fmla="*/ 13 w 10000"/>
                <a:gd name="connsiteY51" fmla="*/ 3647 h 10000"/>
                <a:gd name="connsiteX52" fmla="*/ 13 w 10000"/>
                <a:gd name="connsiteY52" fmla="*/ 3641 h 10000"/>
                <a:gd name="connsiteX53" fmla="*/ 0 w 10000"/>
                <a:gd name="connsiteY53" fmla="*/ 2351 h 10000"/>
                <a:gd name="connsiteX54" fmla="*/ 4408 w 10000"/>
                <a:gd name="connsiteY54" fmla="*/ 2345 h 10000"/>
                <a:gd name="connsiteX55" fmla="*/ 4439 w 10000"/>
                <a:gd name="connsiteY55" fmla="*/ 1764 h 10000"/>
                <a:gd name="connsiteX56" fmla="*/ 4466 w 10000"/>
                <a:gd name="connsiteY56" fmla="*/ 1291 h 10000"/>
                <a:gd name="connsiteX57" fmla="*/ 4484 w 10000"/>
                <a:gd name="connsiteY57" fmla="*/ 941 h 10000"/>
                <a:gd name="connsiteX58" fmla="*/ 4516 w 10000"/>
                <a:gd name="connsiteY58" fmla="*/ 770 h 10000"/>
                <a:gd name="connsiteX59" fmla="*/ 4538 w 10000"/>
                <a:gd name="connsiteY59" fmla="*/ 734 h 10000"/>
                <a:gd name="connsiteX60" fmla="*/ 4565 w 10000"/>
                <a:gd name="connsiteY60" fmla="*/ 716 h 10000"/>
                <a:gd name="connsiteX61" fmla="*/ 4596 w 10000"/>
                <a:gd name="connsiteY61" fmla="*/ 687 h 10000"/>
                <a:gd name="connsiteX62" fmla="*/ 4632 w 10000"/>
                <a:gd name="connsiteY62" fmla="*/ 675 h 10000"/>
                <a:gd name="connsiteX63" fmla="*/ 4668 w 10000"/>
                <a:gd name="connsiteY63" fmla="*/ 663 h 10000"/>
                <a:gd name="connsiteX64" fmla="*/ 4704 w 10000"/>
                <a:gd name="connsiteY64" fmla="*/ 645 h 10000"/>
                <a:gd name="connsiteX65" fmla="*/ 4740 w 10000"/>
                <a:gd name="connsiteY65" fmla="*/ 639 h 10000"/>
                <a:gd name="connsiteX66" fmla="*/ 4767 w 10000"/>
                <a:gd name="connsiteY66" fmla="*/ 639 h 10000"/>
                <a:gd name="connsiteX67" fmla="*/ 4780 w 10000"/>
                <a:gd name="connsiteY67" fmla="*/ 586 h 10000"/>
                <a:gd name="connsiteX68" fmla="*/ 4789 w 10000"/>
                <a:gd name="connsiteY68" fmla="*/ 527 h 10000"/>
                <a:gd name="connsiteX69" fmla="*/ 4807 w 10000"/>
                <a:gd name="connsiteY69" fmla="*/ 480 h 10000"/>
                <a:gd name="connsiteX70" fmla="*/ 4816 w 10000"/>
                <a:gd name="connsiteY70" fmla="*/ 432 h 10000"/>
                <a:gd name="connsiteX71" fmla="*/ 3789 w 10000"/>
                <a:gd name="connsiteY71" fmla="*/ 432 h 10000"/>
                <a:gd name="connsiteX72" fmla="*/ 3789 w 10000"/>
                <a:gd name="connsiteY72" fmla="*/ 219 h 10000"/>
                <a:gd name="connsiteX73" fmla="*/ 4834 w 10000"/>
                <a:gd name="connsiteY73" fmla="*/ 219 h 10000"/>
                <a:gd name="connsiteX74" fmla="*/ 4857 w 10000"/>
                <a:gd name="connsiteY74" fmla="*/ 148 h 10000"/>
                <a:gd name="connsiteX75" fmla="*/ 4883 w 10000"/>
                <a:gd name="connsiteY75" fmla="*/ 77 h 10000"/>
                <a:gd name="connsiteX76" fmla="*/ 4910 w 10000"/>
                <a:gd name="connsiteY76" fmla="*/ 18 h 10000"/>
                <a:gd name="connsiteX77" fmla="*/ 4946 w 10000"/>
                <a:gd name="connsiteY77" fmla="*/ 0 h 10000"/>
                <a:gd name="connsiteX78" fmla="*/ 4982 w 10000"/>
                <a:gd name="connsiteY78" fmla="*/ 18 h 10000"/>
                <a:gd name="connsiteX79" fmla="*/ 5009 w 10000"/>
                <a:gd name="connsiteY79" fmla="*/ 77 h 10000"/>
                <a:gd name="connsiteX80" fmla="*/ 5031 w 10000"/>
                <a:gd name="connsiteY80" fmla="*/ 148 h 10000"/>
                <a:gd name="connsiteX81" fmla="*/ 5054 w 10000"/>
                <a:gd name="connsiteY81" fmla="*/ 219 h 10000"/>
                <a:gd name="connsiteX82" fmla="*/ 6135 w 10000"/>
                <a:gd name="connsiteY82" fmla="*/ 219 h 10000"/>
                <a:gd name="connsiteX83" fmla="*/ 6135 w 10000"/>
                <a:gd name="connsiteY83" fmla="*/ 432 h 10000"/>
                <a:gd name="connsiteX84" fmla="*/ 5076 w 10000"/>
                <a:gd name="connsiteY84" fmla="*/ 432 h 10000"/>
                <a:gd name="connsiteX85" fmla="*/ 5085 w 10000"/>
                <a:gd name="connsiteY85" fmla="*/ 480 h 10000"/>
                <a:gd name="connsiteX86" fmla="*/ 5099 w 10000"/>
                <a:gd name="connsiteY86" fmla="*/ 527 h 10000"/>
                <a:gd name="connsiteX87" fmla="*/ 5112 w 10000"/>
                <a:gd name="connsiteY87" fmla="*/ 586 h 10000"/>
                <a:gd name="connsiteX88" fmla="*/ 5126 w 10000"/>
                <a:gd name="connsiteY88" fmla="*/ 639 h 10000"/>
                <a:gd name="connsiteX89" fmla="*/ 5152 w 10000"/>
                <a:gd name="connsiteY89" fmla="*/ 639 h 10000"/>
                <a:gd name="connsiteX90" fmla="*/ 5188 w 10000"/>
                <a:gd name="connsiteY90" fmla="*/ 645 h 10000"/>
                <a:gd name="connsiteX91" fmla="*/ 5224 w 10000"/>
                <a:gd name="connsiteY91" fmla="*/ 663 h 10000"/>
                <a:gd name="connsiteX92" fmla="*/ 5260 w 10000"/>
                <a:gd name="connsiteY92" fmla="*/ 675 h 10000"/>
                <a:gd name="connsiteX93" fmla="*/ 5296 w 10000"/>
                <a:gd name="connsiteY93" fmla="*/ 687 h 10000"/>
                <a:gd name="connsiteX94" fmla="*/ 5332 w 10000"/>
                <a:gd name="connsiteY94" fmla="*/ 716 h 10000"/>
                <a:gd name="connsiteX95" fmla="*/ 5363 w 10000"/>
                <a:gd name="connsiteY95" fmla="*/ 734 h 10000"/>
                <a:gd name="connsiteX96" fmla="*/ 5390 w 10000"/>
                <a:gd name="connsiteY96" fmla="*/ 770 h 10000"/>
                <a:gd name="connsiteX97" fmla="*/ 5413 w 10000"/>
                <a:gd name="connsiteY97" fmla="*/ 941 h 10000"/>
                <a:gd name="connsiteX98" fmla="*/ 5435 w 10000"/>
                <a:gd name="connsiteY98" fmla="*/ 1297 h 10000"/>
                <a:gd name="connsiteX99" fmla="*/ 5462 w 10000"/>
                <a:gd name="connsiteY99" fmla="*/ 1794 h 10000"/>
                <a:gd name="connsiteX100" fmla="*/ 5489 w 10000"/>
                <a:gd name="connsiteY100" fmla="*/ 2404 h 10000"/>
                <a:gd name="connsiteX101" fmla="*/ 9928 w 10000"/>
                <a:gd name="connsiteY101" fmla="*/ 2416 h 10000"/>
                <a:gd name="connsiteX102" fmla="*/ 10000 w 10000"/>
                <a:gd name="connsiteY102" fmla="*/ 3410 h 10000"/>
                <a:gd name="connsiteX103" fmla="*/ 9978 w 10000"/>
                <a:gd name="connsiteY103" fmla="*/ 3529 h 10000"/>
                <a:gd name="connsiteX104" fmla="*/ 9946 w 10000"/>
                <a:gd name="connsiteY104" fmla="*/ 3623 h 10000"/>
                <a:gd name="connsiteX105" fmla="*/ 9901 w 10000"/>
                <a:gd name="connsiteY105" fmla="*/ 3694 h 10000"/>
                <a:gd name="connsiteX106" fmla="*/ 9852 w 10000"/>
                <a:gd name="connsiteY106" fmla="*/ 3760 h 10000"/>
                <a:gd name="connsiteX107" fmla="*/ 9798 w 10000"/>
                <a:gd name="connsiteY107" fmla="*/ 3807 h 10000"/>
                <a:gd name="connsiteX108" fmla="*/ 9753 w 10000"/>
                <a:gd name="connsiteY108" fmla="*/ 3843 h 10000"/>
                <a:gd name="connsiteX109" fmla="*/ 9722 w 10000"/>
                <a:gd name="connsiteY109" fmla="*/ 3860 h 10000"/>
                <a:gd name="connsiteX110" fmla="*/ 9709 w 10000"/>
                <a:gd name="connsiteY110" fmla="*/ 3866 h 10000"/>
                <a:gd name="connsiteX0" fmla="*/ 9709 w 10000"/>
                <a:gd name="connsiteY0" fmla="*/ 3866 h 10000"/>
                <a:gd name="connsiteX1" fmla="*/ 8910 w 10000"/>
                <a:gd name="connsiteY1" fmla="*/ 4174 h 10000"/>
                <a:gd name="connsiteX2" fmla="*/ 8825 w 10000"/>
                <a:gd name="connsiteY2" fmla="*/ 4192 h 10000"/>
                <a:gd name="connsiteX3" fmla="*/ 5435 w 10000"/>
                <a:gd name="connsiteY3" fmla="*/ 4494 h 10000"/>
                <a:gd name="connsiteX4" fmla="*/ 5422 w 10000"/>
                <a:gd name="connsiteY4" fmla="*/ 4494 h 10000"/>
                <a:gd name="connsiteX5" fmla="*/ 5152 w 10000"/>
                <a:gd name="connsiteY5" fmla="*/ 7620 h 10000"/>
                <a:gd name="connsiteX6" fmla="*/ 6516 w 10000"/>
                <a:gd name="connsiteY6" fmla="*/ 7999 h 10000"/>
                <a:gd name="connsiteX7" fmla="*/ 6565 w 10000"/>
                <a:gd name="connsiteY7" fmla="*/ 8034 h 10000"/>
                <a:gd name="connsiteX8" fmla="*/ 6601 w 10000"/>
                <a:gd name="connsiteY8" fmla="*/ 8105 h 10000"/>
                <a:gd name="connsiteX9" fmla="*/ 6623 w 10000"/>
                <a:gd name="connsiteY9" fmla="*/ 8200 h 10000"/>
                <a:gd name="connsiteX10" fmla="*/ 6632 w 10000"/>
                <a:gd name="connsiteY10" fmla="*/ 8307 h 10000"/>
                <a:gd name="connsiteX11" fmla="*/ 6543 w 10000"/>
                <a:gd name="connsiteY11" fmla="*/ 9053 h 10000"/>
                <a:gd name="connsiteX12" fmla="*/ 5291 w 10000"/>
                <a:gd name="connsiteY12" fmla="*/ 9153 h 10000"/>
                <a:gd name="connsiteX13" fmla="*/ 5099 w 10000"/>
                <a:gd name="connsiteY13" fmla="*/ 8620 h 10000"/>
                <a:gd name="connsiteX14" fmla="*/ 5099 w 10000"/>
                <a:gd name="connsiteY14" fmla="*/ 8686 h 10000"/>
                <a:gd name="connsiteX15" fmla="*/ 5090 w 10000"/>
                <a:gd name="connsiteY15" fmla="*/ 8840 h 10000"/>
                <a:gd name="connsiteX16" fmla="*/ 5081 w 10000"/>
                <a:gd name="connsiteY16" fmla="*/ 9059 h 10000"/>
                <a:gd name="connsiteX17" fmla="*/ 5063 w 10000"/>
                <a:gd name="connsiteY17" fmla="*/ 9307 h 10000"/>
                <a:gd name="connsiteX18" fmla="*/ 5040 w 10000"/>
                <a:gd name="connsiteY18" fmla="*/ 9568 h 10000"/>
                <a:gd name="connsiteX19" fmla="*/ 5013 w 10000"/>
                <a:gd name="connsiteY19" fmla="*/ 9787 h 10000"/>
                <a:gd name="connsiteX20" fmla="*/ 4978 w 10000"/>
                <a:gd name="connsiteY20" fmla="*/ 9947 h 10000"/>
                <a:gd name="connsiteX21" fmla="*/ 4928 w 10000"/>
                <a:gd name="connsiteY21" fmla="*/ 10000 h 10000"/>
                <a:gd name="connsiteX22" fmla="*/ 4852 w 10000"/>
                <a:gd name="connsiteY22" fmla="*/ 9781 h 10000"/>
                <a:gd name="connsiteX23" fmla="*/ 4816 w 10000"/>
                <a:gd name="connsiteY23" fmla="*/ 9307 h 10000"/>
                <a:gd name="connsiteX24" fmla="*/ 4803 w 10000"/>
                <a:gd name="connsiteY24" fmla="*/ 8834 h 10000"/>
                <a:gd name="connsiteX25" fmla="*/ 4794 w 10000"/>
                <a:gd name="connsiteY25" fmla="*/ 8620 h 10000"/>
                <a:gd name="connsiteX26" fmla="*/ 4601 w 10000"/>
                <a:gd name="connsiteY26" fmla="*/ 9153 h 10000"/>
                <a:gd name="connsiteX27" fmla="*/ 3368 w 10000"/>
                <a:gd name="connsiteY27" fmla="*/ 9053 h 10000"/>
                <a:gd name="connsiteX28" fmla="*/ 3260 w 10000"/>
                <a:gd name="connsiteY28" fmla="*/ 8307 h 10000"/>
                <a:gd name="connsiteX29" fmla="*/ 3265 w 10000"/>
                <a:gd name="connsiteY29" fmla="*/ 8200 h 10000"/>
                <a:gd name="connsiteX30" fmla="*/ 3291 w 10000"/>
                <a:gd name="connsiteY30" fmla="*/ 8105 h 10000"/>
                <a:gd name="connsiteX31" fmla="*/ 3323 w 10000"/>
                <a:gd name="connsiteY31" fmla="*/ 8034 h 10000"/>
                <a:gd name="connsiteX32" fmla="*/ 3368 w 10000"/>
                <a:gd name="connsiteY32" fmla="*/ 7999 h 10000"/>
                <a:gd name="connsiteX33" fmla="*/ 4740 w 10000"/>
                <a:gd name="connsiteY33" fmla="*/ 7620 h 10000"/>
                <a:gd name="connsiteX34" fmla="*/ 4475 w 10000"/>
                <a:gd name="connsiteY34" fmla="*/ 4494 h 10000"/>
                <a:gd name="connsiteX35" fmla="*/ 511 w 10000"/>
                <a:gd name="connsiteY35" fmla="*/ 4044 h 10000"/>
                <a:gd name="connsiteX36" fmla="*/ 502 w 10000"/>
                <a:gd name="connsiteY36" fmla="*/ 4044 h 10000"/>
                <a:gd name="connsiteX37" fmla="*/ 471 w 10000"/>
                <a:gd name="connsiteY37" fmla="*/ 4032 h 10000"/>
                <a:gd name="connsiteX38" fmla="*/ 430 w 10000"/>
                <a:gd name="connsiteY38" fmla="*/ 4020 h 10000"/>
                <a:gd name="connsiteX39" fmla="*/ 386 w 10000"/>
                <a:gd name="connsiteY39" fmla="*/ 3996 h 10000"/>
                <a:gd name="connsiteX40" fmla="*/ 341 w 10000"/>
                <a:gd name="connsiteY40" fmla="*/ 3985 h 10000"/>
                <a:gd name="connsiteX41" fmla="*/ 300 w 10000"/>
                <a:gd name="connsiteY41" fmla="*/ 3967 h 10000"/>
                <a:gd name="connsiteX42" fmla="*/ 269 w 10000"/>
                <a:gd name="connsiteY42" fmla="*/ 3955 h 10000"/>
                <a:gd name="connsiteX43" fmla="*/ 260 w 10000"/>
                <a:gd name="connsiteY43" fmla="*/ 3955 h 10000"/>
                <a:gd name="connsiteX44" fmla="*/ 179 w 10000"/>
                <a:gd name="connsiteY44" fmla="*/ 3914 h 10000"/>
                <a:gd name="connsiteX45" fmla="*/ 126 w 10000"/>
                <a:gd name="connsiteY45" fmla="*/ 3860 h 10000"/>
                <a:gd name="connsiteX46" fmla="*/ 76 w 10000"/>
                <a:gd name="connsiteY46" fmla="*/ 3813 h 10000"/>
                <a:gd name="connsiteX47" fmla="*/ 54 w 10000"/>
                <a:gd name="connsiteY47" fmla="*/ 3760 h 10000"/>
                <a:gd name="connsiteX48" fmla="*/ 31 w 10000"/>
                <a:gd name="connsiteY48" fmla="*/ 3718 h 10000"/>
                <a:gd name="connsiteX49" fmla="*/ 22 w 10000"/>
                <a:gd name="connsiteY49" fmla="*/ 3677 h 10000"/>
                <a:gd name="connsiteX50" fmla="*/ 13 w 10000"/>
                <a:gd name="connsiteY50" fmla="*/ 3647 h 10000"/>
                <a:gd name="connsiteX51" fmla="*/ 13 w 10000"/>
                <a:gd name="connsiteY51" fmla="*/ 3641 h 10000"/>
                <a:gd name="connsiteX52" fmla="*/ 0 w 10000"/>
                <a:gd name="connsiteY52" fmla="*/ 2351 h 10000"/>
                <a:gd name="connsiteX53" fmla="*/ 4408 w 10000"/>
                <a:gd name="connsiteY53" fmla="*/ 2345 h 10000"/>
                <a:gd name="connsiteX54" fmla="*/ 4439 w 10000"/>
                <a:gd name="connsiteY54" fmla="*/ 1764 h 10000"/>
                <a:gd name="connsiteX55" fmla="*/ 4466 w 10000"/>
                <a:gd name="connsiteY55" fmla="*/ 1291 h 10000"/>
                <a:gd name="connsiteX56" fmla="*/ 4484 w 10000"/>
                <a:gd name="connsiteY56" fmla="*/ 941 h 10000"/>
                <a:gd name="connsiteX57" fmla="*/ 4516 w 10000"/>
                <a:gd name="connsiteY57" fmla="*/ 770 h 10000"/>
                <a:gd name="connsiteX58" fmla="*/ 4538 w 10000"/>
                <a:gd name="connsiteY58" fmla="*/ 734 h 10000"/>
                <a:gd name="connsiteX59" fmla="*/ 4565 w 10000"/>
                <a:gd name="connsiteY59" fmla="*/ 716 h 10000"/>
                <a:gd name="connsiteX60" fmla="*/ 4596 w 10000"/>
                <a:gd name="connsiteY60" fmla="*/ 687 h 10000"/>
                <a:gd name="connsiteX61" fmla="*/ 4632 w 10000"/>
                <a:gd name="connsiteY61" fmla="*/ 675 h 10000"/>
                <a:gd name="connsiteX62" fmla="*/ 4668 w 10000"/>
                <a:gd name="connsiteY62" fmla="*/ 663 h 10000"/>
                <a:gd name="connsiteX63" fmla="*/ 4704 w 10000"/>
                <a:gd name="connsiteY63" fmla="*/ 645 h 10000"/>
                <a:gd name="connsiteX64" fmla="*/ 4740 w 10000"/>
                <a:gd name="connsiteY64" fmla="*/ 639 h 10000"/>
                <a:gd name="connsiteX65" fmla="*/ 4767 w 10000"/>
                <a:gd name="connsiteY65" fmla="*/ 639 h 10000"/>
                <a:gd name="connsiteX66" fmla="*/ 4780 w 10000"/>
                <a:gd name="connsiteY66" fmla="*/ 586 h 10000"/>
                <a:gd name="connsiteX67" fmla="*/ 4789 w 10000"/>
                <a:gd name="connsiteY67" fmla="*/ 527 h 10000"/>
                <a:gd name="connsiteX68" fmla="*/ 4807 w 10000"/>
                <a:gd name="connsiteY68" fmla="*/ 480 h 10000"/>
                <a:gd name="connsiteX69" fmla="*/ 4816 w 10000"/>
                <a:gd name="connsiteY69" fmla="*/ 432 h 10000"/>
                <a:gd name="connsiteX70" fmla="*/ 3789 w 10000"/>
                <a:gd name="connsiteY70" fmla="*/ 432 h 10000"/>
                <a:gd name="connsiteX71" fmla="*/ 3789 w 10000"/>
                <a:gd name="connsiteY71" fmla="*/ 219 h 10000"/>
                <a:gd name="connsiteX72" fmla="*/ 4834 w 10000"/>
                <a:gd name="connsiteY72" fmla="*/ 219 h 10000"/>
                <a:gd name="connsiteX73" fmla="*/ 4857 w 10000"/>
                <a:gd name="connsiteY73" fmla="*/ 148 h 10000"/>
                <a:gd name="connsiteX74" fmla="*/ 4883 w 10000"/>
                <a:gd name="connsiteY74" fmla="*/ 77 h 10000"/>
                <a:gd name="connsiteX75" fmla="*/ 4910 w 10000"/>
                <a:gd name="connsiteY75" fmla="*/ 18 h 10000"/>
                <a:gd name="connsiteX76" fmla="*/ 4946 w 10000"/>
                <a:gd name="connsiteY76" fmla="*/ 0 h 10000"/>
                <a:gd name="connsiteX77" fmla="*/ 4982 w 10000"/>
                <a:gd name="connsiteY77" fmla="*/ 18 h 10000"/>
                <a:gd name="connsiteX78" fmla="*/ 5009 w 10000"/>
                <a:gd name="connsiteY78" fmla="*/ 77 h 10000"/>
                <a:gd name="connsiteX79" fmla="*/ 5031 w 10000"/>
                <a:gd name="connsiteY79" fmla="*/ 148 h 10000"/>
                <a:gd name="connsiteX80" fmla="*/ 5054 w 10000"/>
                <a:gd name="connsiteY80" fmla="*/ 219 h 10000"/>
                <a:gd name="connsiteX81" fmla="*/ 6135 w 10000"/>
                <a:gd name="connsiteY81" fmla="*/ 219 h 10000"/>
                <a:gd name="connsiteX82" fmla="*/ 6135 w 10000"/>
                <a:gd name="connsiteY82" fmla="*/ 432 h 10000"/>
                <a:gd name="connsiteX83" fmla="*/ 5076 w 10000"/>
                <a:gd name="connsiteY83" fmla="*/ 432 h 10000"/>
                <a:gd name="connsiteX84" fmla="*/ 5085 w 10000"/>
                <a:gd name="connsiteY84" fmla="*/ 480 h 10000"/>
                <a:gd name="connsiteX85" fmla="*/ 5099 w 10000"/>
                <a:gd name="connsiteY85" fmla="*/ 527 h 10000"/>
                <a:gd name="connsiteX86" fmla="*/ 5112 w 10000"/>
                <a:gd name="connsiteY86" fmla="*/ 586 h 10000"/>
                <a:gd name="connsiteX87" fmla="*/ 5126 w 10000"/>
                <a:gd name="connsiteY87" fmla="*/ 639 h 10000"/>
                <a:gd name="connsiteX88" fmla="*/ 5152 w 10000"/>
                <a:gd name="connsiteY88" fmla="*/ 639 h 10000"/>
                <a:gd name="connsiteX89" fmla="*/ 5188 w 10000"/>
                <a:gd name="connsiteY89" fmla="*/ 645 h 10000"/>
                <a:gd name="connsiteX90" fmla="*/ 5224 w 10000"/>
                <a:gd name="connsiteY90" fmla="*/ 663 h 10000"/>
                <a:gd name="connsiteX91" fmla="*/ 5260 w 10000"/>
                <a:gd name="connsiteY91" fmla="*/ 675 h 10000"/>
                <a:gd name="connsiteX92" fmla="*/ 5296 w 10000"/>
                <a:gd name="connsiteY92" fmla="*/ 687 h 10000"/>
                <a:gd name="connsiteX93" fmla="*/ 5332 w 10000"/>
                <a:gd name="connsiteY93" fmla="*/ 716 h 10000"/>
                <a:gd name="connsiteX94" fmla="*/ 5363 w 10000"/>
                <a:gd name="connsiteY94" fmla="*/ 734 h 10000"/>
                <a:gd name="connsiteX95" fmla="*/ 5390 w 10000"/>
                <a:gd name="connsiteY95" fmla="*/ 770 h 10000"/>
                <a:gd name="connsiteX96" fmla="*/ 5413 w 10000"/>
                <a:gd name="connsiteY96" fmla="*/ 941 h 10000"/>
                <a:gd name="connsiteX97" fmla="*/ 5435 w 10000"/>
                <a:gd name="connsiteY97" fmla="*/ 1297 h 10000"/>
                <a:gd name="connsiteX98" fmla="*/ 5462 w 10000"/>
                <a:gd name="connsiteY98" fmla="*/ 1794 h 10000"/>
                <a:gd name="connsiteX99" fmla="*/ 5489 w 10000"/>
                <a:gd name="connsiteY99" fmla="*/ 2404 h 10000"/>
                <a:gd name="connsiteX100" fmla="*/ 9928 w 10000"/>
                <a:gd name="connsiteY100" fmla="*/ 2416 h 10000"/>
                <a:gd name="connsiteX101" fmla="*/ 10000 w 10000"/>
                <a:gd name="connsiteY101" fmla="*/ 3410 h 10000"/>
                <a:gd name="connsiteX102" fmla="*/ 9978 w 10000"/>
                <a:gd name="connsiteY102" fmla="*/ 3529 h 10000"/>
                <a:gd name="connsiteX103" fmla="*/ 9946 w 10000"/>
                <a:gd name="connsiteY103" fmla="*/ 3623 h 10000"/>
                <a:gd name="connsiteX104" fmla="*/ 9901 w 10000"/>
                <a:gd name="connsiteY104" fmla="*/ 3694 h 10000"/>
                <a:gd name="connsiteX105" fmla="*/ 9852 w 10000"/>
                <a:gd name="connsiteY105" fmla="*/ 3760 h 10000"/>
                <a:gd name="connsiteX106" fmla="*/ 9798 w 10000"/>
                <a:gd name="connsiteY106" fmla="*/ 3807 h 10000"/>
                <a:gd name="connsiteX107" fmla="*/ 9753 w 10000"/>
                <a:gd name="connsiteY107" fmla="*/ 3843 h 10000"/>
                <a:gd name="connsiteX108" fmla="*/ 9722 w 10000"/>
                <a:gd name="connsiteY108" fmla="*/ 3860 h 10000"/>
                <a:gd name="connsiteX109" fmla="*/ 9709 w 10000"/>
                <a:gd name="connsiteY109" fmla="*/ 3866 h 10000"/>
                <a:gd name="connsiteX0" fmla="*/ 9709 w 10000"/>
                <a:gd name="connsiteY0" fmla="*/ 3866 h 10000"/>
                <a:gd name="connsiteX1" fmla="*/ 8910 w 10000"/>
                <a:gd name="connsiteY1" fmla="*/ 4174 h 10000"/>
                <a:gd name="connsiteX2" fmla="*/ 5435 w 10000"/>
                <a:gd name="connsiteY2" fmla="*/ 4494 h 10000"/>
                <a:gd name="connsiteX3" fmla="*/ 5422 w 10000"/>
                <a:gd name="connsiteY3" fmla="*/ 4494 h 10000"/>
                <a:gd name="connsiteX4" fmla="*/ 5152 w 10000"/>
                <a:gd name="connsiteY4" fmla="*/ 7620 h 10000"/>
                <a:gd name="connsiteX5" fmla="*/ 6516 w 10000"/>
                <a:gd name="connsiteY5" fmla="*/ 7999 h 10000"/>
                <a:gd name="connsiteX6" fmla="*/ 6565 w 10000"/>
                <a:gd name="connsiteY6" fmla="*/ 8034 h 10000"/>
                <a:gd name="connsiteX7" fmla="*/ 6601 w 10000"/>
                <a:gd name="connsiteY7" fmla="*/ 8105 h 10000"/>
                <a:gd name="connsiteX8" fmla="*/ 6623 w 10000"/>
                <a:gd name="connsiteY8" fmla="*/ 8200 h 10000"/>
                <a:gd name="connsiteX9" fmla="*/ 6632 w 10000"/>
                <a:gd name="connsiteY9" fmla="*/ 8307 h 10000"/>
                <a:gd name="connsiteX10" fmla="*/ 6543 w 10000"/>
                <a:gd name="connsiteY10" fmla="*/ 9053 h 10000"/>
                <a:gd name="connsiteX11" fmla="*/ 5291 w 10000"/>
                <a:gd name="connsiteY11" fmla="*/ 9153 h 10000"/>
                <a:gd name="connsiteX12" fmla="*/ 5099 w 10000"/>
                <a:gd name="connsiteY12" fmla="*/ 8620 h 10000"/>
                <a:gd name="connsiteX13" fmla="*/ 5099 w 10000"/>
                <a:gd name="connsiteY13" fmla="*/ 8686 h 10000"/>
                <a:gd name="connsiteX14" fmla="*/ 5090 w 10000"/>
                <a:gd name="connsiteY14" fmla="*/ 8840 h 10000"/>
                <a:gd name="connsiteX15" fmla="*/ 5081 w 10000"/>
                <a:gd name="connsiteY15" fmla="*/ 9059 h 10000"/>
                <a:gd name="connsiteX16" fmla="*/ 5063 w 10000"/>
                <a:gd name="connsiteY16" fmla="*/ 9307 h 10000"/>
                <a:gd name="connsiteX17" fmla="*/ 5040 w 10000"/>
                <a:gd name="connsiteY17" fmla="*/ 9568 h 10000"/>
                <a:gd name="connsiteX18" fmla="*/ 5013 w 10000"/>
                <a:gd name="connsiteY18" fmla="*/ 9787 h 10000"/>
                <a:gd name="connsiteX19" fmla="*/ 4978 w 10000"/>
                <a:gd name="connsiteY19" fmla="*/ 9947 h 10000"/>
                <a:gd name="connsiteX20" fmla="*/ 4928 w 10000"/>
                <a:gd name="connsiteY20" fmla="*/ 10000 h 10000"/>
                <a:gd name="connsiteX21" fmla="*/ 4852 w 10000"/>
                <a:gd name="connsiteY21" fmla="*/ 9781 h 10000"/>
                <a:gd name="connsiteX22" fmla="*/ 4816 w 10000"/>
                <a:gd name="connsiteY22" fmla="*/ 9307 h 10000"/>
                <a:gd name="connsiteX23" fmla="*/ 4803 w 10000"/>
                <a:gd name="connsiteY23" fmla="*/ 8834 h 10000"/>
                <a:gd name="connsiteX24" fmla="*/ 4794 w 10000"/>
                <a:gd name="connsiteY24" fmla="*/ 8620 h 10000"/>
                <a:gd name="connsiteX25" fmla="*/ 4601 w 10000"/>
                <a:gd name="connsiteY25" fmla="*/ 9153 h 10000"/>
                <a:gd name="connsiteX26" fmla="*/ 3368 w 10000"/>
                <a:gd name="connsiteY26" fmla="*/ 9053 h 10000"/>
                <a:gd name="connsiteX27" fmla="*/ 3260 w 10000"/>
                <a:gd name="connsiteY27" fmla="*/ 8307 h 10000"/>
                <a:gd name="connsiteX28" fmla="*/ 3265 w 10000"/>
                <a:gd name="connsiteY28" fmla="*/ 8200 h 10000"/>
                <a:gd name="connsiteX29" fmla="*/ 3291 w 10000"/>
                <a:gd name="connsiteY29" fmla="*/ 8105 h 10000"/>
                <a:gd name="connsiteX30" fmla="*/ 3323 w 10000"/>
                <a:gd name="connsiteY30" fmla="*/ 8034 h 10000"/>
                <a:gd name="connsiteX31" fmla="*/ 3368 w 10000"/>
                <a:gd name="connsiteY31" fmla="*/ 7999 h 10000"/>
                <a:gd name="connsiteX32" fmla="*/ 4740 w 10000"/>
                <a:gd name="connsiteY32" fmla="*/ 7620 h 10000"/>
                <a:gd name="connsiteX33" fmla="*/ 4475 w 10000"/>
                <a:gd name="connsiteY33" fmla="*/ 4494 h 10000"/>
                <a:gd name="connsiteX34" fmla="*/ 511 w 10000"/>
                <a:gd name="connsiteY34" fmla="*/ 4044 h 10000"/>
                <a:gd name="connsiteX35" fmla="*/ 502 w 10000"/>
                <a:gd name="connsiteY35" fmla="*/ 4044 h 10000"/>
                <a:gd name="connsiteX36" fmla="*/ 471 w 10000"/>
                <a:gd name="connsiteY36" fmla="*/ 4032 h 10000"/>
                <a:gd name="connsiteX37" fmla="*/ 430 w 10000"/>
                <a:gd name="connsiteY37" fmla="*/ 4020 h 10000"/>
                <a:gd name="connsiteX38" fmla="*/ 386 w 10000"/>
                <a:gd name="connsiteY38" fmla="*/ 3996 h 10000"/>
                <a:gd name="connsiteX39" fmla="*/ 341 w 10000"/>
                <a:gd name="connsiteY39" fmla="*/ 3985 h 10000"/>
                <a:gd name="connsiteX40" fmla="*/ 300 w 10000"/>
                <a:gd name="connsiteY40" fmla="*/ 3967 h 10000"/>
                <a:gd name="connsiteX41" fmla="*/ 269 w 10000"/>
                <a:gd name="connsiteY41" fmla="*/ 3955 h 10000"/>
                <a:gd name="connsiteX42" fmla="*/ 260 w 10000"/>
                <a:gd name="connsiteY42" fmla="*/ 3955 h 10000"/>
                <a:gd name="connsiteX43" fmla="*/ 179 w 10000"/>
                <a:gd name="connsiteY43" fmla="*/ 3914 h 10000"/>
                <a:gd name="connsiteX44" fmla="*/ 126 w 10000"/>
                <a:gd name="connsiteY44" fmla="*/ 3860 h 10000"/>
                <a:gd name="connsiteX45" fmla="*/ 76 w 10000"/>
                <a:gd name="connsiteY45" fmla="*/ 3813 h 10000"/>
                <a:gd name="connsiteX46" fmla="*/ 54 w 10000"/>
                <a:gd name="connsiteY46" fmla="*/ 3760 h 10000"/>
                <a:gd name="connsiteX47" fmla="*/ 31 w 10000"/>
                <a:gd name="connsiteY47" fmla="*/ 3718 h 10000"/>
                <a:gd name="connsiteX48" fmla="*/ 22 w 10000"/>
                <a:gd name="connsiteY48" fmla="*/ 3677 h 10000"/>
                <a:gd name="connsiteX49" fmla="*/ 13 w 10000"/>
                <a:gd name="connsiteY49" fmla="*/ 3647 h 10000"/>
                <a:gd name="connsiteX50" fmla="*/ 13 w 10000"/>
                <a:gd name="connsiteY50" fmla="*/ 3641 h 10000"/>
                <a:gd name="connsiteX51" fmla="*/ 0 w 10000"/>
                <a:gd name="connsiteY51" fmla="*/ 2351 h 10000"/>
                <a:gd name="connsiteX52" fmla="*/ 4408 w 10000"/>
                <a:gd name="connsiteY52" fmla="*/ 2345 h 10000"/>
                <a:gd name="connsiteX53" fmla="*/ 4439 w 10000"/>
                <a:gd name="connsiteY53" fmla="*/ 1764 h 10000"/>
                <a:gd name="connsiteX54" fmla="*/ 4466 w 10000"/>
                <a:gd name="connsiteY54" fmla="*/ 1291 h 10000"/>
                <a:gd name="connsiteX55" fmla="*/ 4484 w 10000"/>
                <a:gd name="connsiteY55" fmla="*/ 941 h 10000"/>
                <a:gd name="connsiteX56" fmla="*/ 4516 w 10000"/>
                <a:gd name="connsiteY56" fmla="*/ 770 h 10000"/>
                <a:gd name="connsiteX57" fmla="*/ 4538 w 10000"/>
                <a:gd name="connsiteY57" fmla="*/ 734 h 10000"/>
                <a:gd name="connsiteX58" fmla="*/ 4565 w 10000"/>
                <a:gd name="connsiteY58" fmla="*/ 716 h 10000"/>
                <a:gd name="connsiteX59" fmla="*/ 4596 w 10000"/>
                <a:gd name="connsiteY59" fmla="*/ 687 h 10000"/>
                <a:gd name="connsiteX60" fmla="*/ 4632 w 10000"/>
                <a:gd name="connsiteY60" fmla="*/ 675 h 10000"/>
                <a:gd name="connsiteX61" fmla="*/ 4668 w 10000"/>
                <a:gd name="connsiteY61" fmla="*/ 663 h 10000"/>
                <a:gd name="connsiteX62" fmla="*/ 4704 w 10000"/>
                <a:gd name="connsiteY62" fmla="*/ 645 h 10000"/>
                <a:gd name="connsiteX63" fmla="*/ 4740 w 10000"/>
                <a:gd name="connsiteY63" fmla="*/ 639 h 10000"/>
                <a:gd name="connsiteX64" fmla="*/ 4767 w 10000"/>
                <a:gd name="connsiteY64" fmla="*/ 639 h 10000"/>
                <a:gd name="connsiteX65" fmla="*/ 4780 w 10000"/>
                <a:gd name="connsiteY65" fmla="*/ 586 h 10000"/>
                <a:gd name="connsiteX66" fmla="*/ 4789 w 10000"/>
                <a:gd name="connsiteY66" fmla="*/ 527 h 10000"/>
                <a:gd name="connsiteX67" fmla="*/ 4807 w 10000"/>
                <a:gd name="connsiteY67" fmla="*/ 480 h 10000"/>
                <a:gd name="connsiteX68" fmla="*/ 4816 w 10000"/>
                <a:gd name="connsiteY68" fmla="*/ 432 h 10000"/>
                <a:gd name="connsiteX69" fmla="*/ 3789 w 10000"/>
                <a:gd name="connsiteY69" fmla="*/ 432 h 10000"/>
                <a:gd name="connsiteX70" fmla="*/ 3789 w 10000"/>
                <a:gd name="connsiteY70" fmla="*/ 219 h 10000"/>
                <a:gd name="connsiteX71" fmla="*/ 4834 w 10000"/>
                <a:gd name="connsiteY71" fmla="*/ 219 h 10000"/>
                <a:gd name="connsiteX72" fmla="*/ 4857 w 10000"/>
                <a:gd name="connsiteY72" fmla="*/ 148 h 10000"/>
                <a:gd name="connsiteX73" fmla="*/ 4883 w 10000"/>
                <a:gd name="connsiteY73" fmla="*/ 77 h 10000"/>
                <a:gd name="connsiteX74" fmla="*/ 4910 w 10000"/>
                <a:gd name="connsiteY74" fmla="*/ 18 h 10000"/>
                <a:gd name="connsiteX75" fmla="*/ 4946 w 10000"/>
                <a:gd name="connsiteY75" fmla="*/ 0 h 10000"/>
                <a:gd name="connsiteX76" fmla="*/ 4982 w 10000"/>
                <a:gd name="connsiteY76" fmla="*/ 18 h 10000"/>
                <a:gd name="connsiteX77" fmla="*/ 5009 w 10000"/>
                <a:gd name="connsiteY77" fmla="*/ 77 h 10000"/>
                <a:gd name="connsiteX78" fmla="*/ 5031 w 10000"/>
                <a:gd name="connsiteY78" fmla="*/ 148 h 10000"/>
                <a:gd name="connsiteX79" fmla="*/ 5054 w 10000"/>
                <a:gd name="connsiteY79" fmla="*/ 219 h 10000"/>
                <a:gd name="connsiteX80" fmla="*/ 6135 w 10000"/>
                <a:gd name="connsiteY80" fmla="*/ 219 h 10000"/>
                <a:gd name="connsiteX81" fmla="*/ 6135 w 10000"/>
                <a:gd name="connsiteY81" fmla="*/ 432 h 10000"/>
                <a:gd name="connsiteX82" fmla="*/ 5076 w 10000"/>
                <a:gd name="connsiteY82" fmla="*/ 432 h 10000"/>
                <a:gd name="connsiteX83" fmla="*/ 5085 w 10000"/>
                <a:gd name="connsiteY83" fmla="*/ 480 h 10000"/>
                <a:gd name="connsiteX84" fmla="*/ 5099 w 10000"/>
                <a:gd name="connsiteY84" fmla="*/ 527 h 10000"/>
                <a:gd name="connsiteX85" fmla="*/ 5112 w 10000"/>
                <a:gd name="connsiteY85" fmla="*/ 586 h 10000"/>
                <a:gd name="connsiteX86" fmla="*/ 5126 w 10000"/>
                <a:gd name="connsiteY86" fmla="*/ 639 h 10000"/>
                <a:gd name="connsiteX87" fmla="*/ 5152 w 10000"/>
                <a:gd name="connsiteY87" fmla="*/ 639 h 10000"/>
                <a:gd name="connsiteX88" fmla="*/ 5188 w 10000"/>
                <a:gd name="connsiteY88" fmla="*/ 645 h 10000"/>
                <a:gd name="connsiteX89" fmla="*/ 5224 w 10000"/>
                <a:gd name="connsiteY89" fmla="*/ 663 h 10000"/>
                <a:gd name="connsiteX90" fmla="*/ 5260 w 10000"/>
                <a:gd name="connsiteY90" fmla="*/ 675 h 10000"/>
                <a:gd name="connsiteX91" fmla="*/ 5296 w 10000"/>
                <a:gd name="connsiteY91" fmla="*/ 687 h 10000"/>
                <a:gd name="connsiteX92" fmla="*/ 5332 w 10000"/>
                <a:gd name="connsiteY92" fmla="*/ 716 h 10000"/>
                <a:gd name="connsiteX93" fmla="*/ 5363 w 10000"/>
                <a:gd name="connsiteY93" fmla="*/ 734 h 10000"/>
                <a:gd name="connsiteX94" fmla="*/ 5390 w 10000"/>
                <a:gd name="connsiteY94" fmla="*/ 770 h 10000"/>
                <a:gd name="connsiteX95" fmla="*/ 5413 w 10000"/>
                <a:gd name="connsiteY95" fmla="*/ 941 h 10000"/>
                <a:gd name="connsiteX96" fmla="*/ 5435 w 10000"/>
                <a:gd name="connsiteY96" fmla="*/ 1297 h 10000"/>
                <a:gd name="connsiteX97" fmla="*/ 5462 w 10000"/>
                <a:gd name="connsiteY97" fmla="*/ 1794 h 10000"/>
                <a:gd name="connsiteX98" fmla="*/ 5489 w 10000"/>
                <a:gd name="connsiteY98" fmla="*/ 2404 h 10000"/>
                <a:gd name="connsiteX99" fmla="*/ 9928 w 10000"/>
                <a:gd name="connsiteY99" fmla="*/ 2416 h 10000"/>
                <a:gd name="connsiteX100" fmla="*/ 10000 w 10000"/>
                <a:gd name="connsiteY100" fmla="*/ 3410 h 10000"/>
                <a:gd name="connsiteX101" fmla="*/ 9978 w 10000"/>
                <a:gd name="connsiteY101" fmla="*/ 3529 h 10000"/>
                <a:gd name="connsiteX102" fmla="*/ 9946 w 10000"/>
                <a:gd name="connsiteY102" fmla="*/ 3623 h 10000"/>
                <a:gd name="connsiteX103" fmla="*/ 9901 w 10000"/>
                <a:gd name="connsiteY103" fmla="*/ 3694 h 10000"/>
                <a:gd name="connsiteX104" fmla="*/ 9852 w 10000"/>
                <a:gd name="connsiteY104" fmla="*/ 3760 h 10000"/>
                <a:gd name="connsiteX105" fmla="*/ 9798 w 10000"/>
                <a:gd name="connsiteY105" fmla="*/ 3807 h 10000"/>
                <a:gd name="connsiteX106" fmla="*/ 9753 w 10000"/>
                <a:gd name="connsiteY106" fmla="*/ 3843 h 10000"/>
                <a:gd name="connsiteX107" fmla="*/ 9722 w 10000"/>
                <a:gd name="connsiteY107" fmla="*/ 3860 h 10000"/>
                <a:gd name="connsiteX108" fmla="*/ 9709 w 10000"/>
                <a:gd name="connsiteY108" fmla="*/ 3866 h 10000"/>
                <a:gd name="connsiteX0" fmla="*/ 9709 w 10000"/>
                <a:gd name="connsiteY0" fmla="*/ 3866 h 10000"/>
                <a:gd name="connsiteX1" fmla="*/ 5435 w 10000"/>
                <a:gd name="connsiteY1" fmla="*/ 4494 h 10000"/>
                <a:gd name="connsiteX2" fmla="*/ 5422 w 10000"/>
                <a:gd name="connsiteY2" fmla="*/ 4494 h 10000"/>
                <a:gd name="connsiteX3" fmla="*/ 5152 w 10000"/>
                <a:gd name="connsiteY3" fmla="*/ 7620 h 10000"/>
                <a:gd name="connsiteX4" fmla="*/ 6516 w 10000"/>
                <a:gd name="connsiteY4" fmla="*/ 7999 h 10000"/>
                <a:gd name="connsiteX5" fmla="*/ 6565 w 10000"/>
                <a:gd name="connsiteY5" fmla="*/ 8034 h 10000"/>
                <a:gd name="connsiteX6" fmla="*/ 6601 w 10000"/>
                <a:gd name="connsiteY6" fmla="*/ 8105 h 10000"/>
                <a:gd name="connsiteX7" fmla="*/ 6623 w 10000"/>
                <a:gd name="connsiteY7" fmla="*/ 8200 h 10000"/>
                <a:gd name="connsiteX8" fmla="*/ 6632 w 10000"/>
                <a:gd name="connsiteY8" fmla="*/ 8307 h 10000"/>
                <a:gd name="connsiteX9" fmla="*/ 6543 w 10000"/>
                <a:gd name="connsiteY9" fmla="*/ 9053 h 10000"/>
                <a:gd name="connsiteX10" fmla="*/ 5291 w 10000"/>
                <a:gd name="connsiteY10" fmla="*/ 9153 h 10000"/>
                <a:gd name="connsiteX11" fmla="*/ 5099 w 10000"/>
                <a:gd name="connsiteY11" fmla="*/ 8620 h 10000"/>
                <a:gd name="connsiteX12" fmla="*/ 5099 w 10000"/>
                <a:gd name="connsiteY12" fmla="*/ 8686 h 10000"/>
                <a:gd name="connsiteX13" fmla="*/ 5090 w 10000"/>
                <a:gd name="connsiteY13" fmla="*/ 8840 h 10000"/>
                <a:gd name="connsiteX14" fmla="*/ 5081 w 10000"/>
                <a:gd name="connsiteY14" fmla="*/ 9059 h 10000"/>
                <a:gd name="connsiteX15" fmla="*/ 5063 w 10000"/>
                <a:gd name="connsiteY15" fmla="*/ 9307 h 10000"/>
                <a:gd name="connsiteX16" fmla="*/ 5040 w 10000"/>
                <a:gd name="connsiteY16" fmla="*/ 9568 h 10000"/>
                <a:gd name="connsiteX17" fmla="*/ 5013 w 10000"/>
                <a:gd name="connsiteY17" fmla="*/ 9787 h 10000"/>
                <a:gd name="connsiteX18" fmla="*/ 4978 w 10000"/>
                <a:gd name="connsiteY18" fmla="*/ 9947 h 10000"/>
                <a:gd name="connsiteX19" fmla="*/ 4928 w 10000"/>
                <a:gd name="connsiteY19" fmla="*/ 10000 h 10000"/>
                <a:gd name="connsiteX20" fmla="*/ 4852 w 10000"/>
                <a:gd name="connsiteY20" fmla="*/ 9781 h 10000"/>
                <a:gd name="connsiteX21" fmla="*/ 4816 w 10000"/>
                <a:gd name="connsiteY21" fmla="*/ 9307 h 10000"/>
                <a:gd name="connsiteX22" fmla="*/ 4803 w 10000"/>
                <a:gd name="connsiteY22" fmla="*/ 8834 h 10000"/>
                <a:gd name="connsiteX23" fmla="*/ 4794 w 10000"/>
                <a:gd name="connsiteY23" fmla="*/ 8620 h 10000"/>
                <a:gd name="connsiteX24" fmla="*/ 4601 w 10000"/>
                <a:gd name="connsiteY24" fmla="*/ 9153 h 10000"/>
                <a:gd name="connsiteX25" fmla="*/ 3368 w 10000"/>
                <a:gd name="connsiteY25" fmla="*/ 9053 h 10000"/>
                <a:gd name="connsiteX26" fmla="*/ 3260 w 10000"/>
                <a:gd name="connsiteY26" fmla="*/ 8307 h 10000"/>
                <a:gd name="connsiteX27" fmla="*/ 3265 w 10000"/>
                <a:gd name="connsiteY27" fmla="*/ 8200 h 10000"/>
                <a:gd name="connsiteX28" fmla="*/ 3291 w 10000"/>
                <a:gd name="connsiteY28" fmla="*/ 8105 h 10000"/>
                <a:gd name="connsiteX29" fmla="*/ 3323 w 10000"/>
                <a:gd name="connsiteY29" fmla="*/ 8034 h 10000"/>
                <a:gd name="connsiteX30" fmla="*/ 3368 w 10000"/>
                <a:gd name="connsiteY30" fmla="*/ 7999 h 10000"/>
                <a:gd name="connsiteX31" fmla="*/ 4740 w 10000"/>
                <a:gd name="connsiteY31" fmla="*/ 7620 h 10000"/>
                <a:gd name="connsiteX32" fmla="*/ 4475 w 10000"/>
                <a:gd name="connsiteY32" fmla="*/ 4494 h 10000"/>
                <a:gd name="connsiteX33" fmla="*/ 511 w 10000"/>
                <a:gd name="connsiteY33" fmla="*/ 4044 h 10000"/>
                <a:gd name="connsiteX34" fmla="*/ 502 w 10000"/>
                <a:gd name="connsiteY34" fmla="*/ 4044 h 10000"/>
                <a:gd name="connsiteX35" fmla="*/ 471 w 10000"/>
                <a:gd name="connsiteY35" fmla="*/ 4032 h 10000"/>
                <a:gd name="connsiteX36" fmla="*/ 430 w 10000"/>
                <a:gd name="connsiteY36" fmla="*/ 4020 h 10000"/>
                <a:gd name="connsiteX37" fmla="*/ 386 w 10000"/>
                <a:gd name="connsiteY37" fmla="*/ 3996 h 10000"/>
                <a:gd name="connsiteX38" fmla="*/ 341 w 10000"/>
                <a:gd name="connsiteY38" fmla="*/ 3985 h 10000"/>
                <a:gd name="connsiteX39" fmla="*/ 300 w 10000"/>
                <a:gd name="connsiteY39" fmla="*/ 3967 h 10000"/>
                <a:gd name="connsiteX40" fmla="*/ 269 w 10000"/>
                <a:gd name="connsiteY40" fmla="*/ 3955 h 10000"/>
                <a:gd name="connsiteX41" fmla="*/ 260 w 10000"/>
                <a:gd name="connsiteY41" fmla="*/ 3955 h 10000"/>
                <a:gd name="connsiteX42" fmla="*/ 179 w 10000"/>
                <a:gd name="connsiteY42" fmla="*/ 3914 h 10000"/>
                <a:gd name="connsiteX43" fmla="*/ 126 w 10000"/>
                <a:gd name="connsiteY43" fmla="*/ 3860 h 10000"/>
                <a:gd name="connsiteX44" fmla="*/ 76 w 10000"/>
                <a:gd name="connsiteY44" fmla="*/ 3813 h 10000"/>
                <a:gd name="connsiteX45" fmla="*/ 54 w 10000"/>
                <a:gd name="connsiteY45" fmla="*/ 3760 h 10000"/>
                <a:gd name="connsiteX46" fmla="*/ 31 w 10000"/>
                <a:gd name="connsiteY46" fmla="*/ 3718 h 10000"/>
                <a:gd name="connsiteX47" fmla="*/ 22 w 10000"/>
                <a:gd name="connsiteY47" fmla="*/ 3677 h 10000"/>
                <a:gd name="connsiteX48" fmla="*/ 13 w 10000"/>
                <a:gd name="connsiteY48" fmla="*/ 3647 h 10000"/>
                <a:gd name="connsiteX49" fmla="*/ 13 w 10000"/>
                <a:gd name="connsiteY49" fmla="*/ 3641 h 10000"/>
                <a:gd name="connsiteX50" fmla="*/ 0 w 10000"/>
                <a:gd name="connsiteY50" fmla="*/ 2351 h 10000"/>
                <a:gd name="connsiteX51" fmla="*/ 4408 w 10000"/>
                <a:gd name="connsiteY51" fmla="*/ 2345 h 10000"/>
                <a:gd name="connsiteX52" fmla="*/ 4439 w 10000"/>
                <a:gd name="connsiteY52" fmla="*/ 1764 h 10000"/>
                <a:gd name="connsiteX53" fmla="*/ 4466 w 10000"/>
                <a:gd name="connsiteY53" fmla="*/ 1291 h 10000"/>
                <a:gd name="connsiteX54" fmla="*/ 4484 w 10000"/>
                <a:gd name="connsiteY54" fmla="*/ 941 h 10000"/>
                <a:gd name="connsiteX55" fmla="*/ 4516 w 10000"/>
                <a:gd name="connsiteY55" fmla="*/ 770 h 10000"/>
                <a:gd name="connsiteX56" fmla="*/ 4538 w 10000"/>
                <a:gd name="connsiteY56" fmla="*/ 734 h 10000"/>
                <a:gd name="connsiteX57" fmla="*/ 4565 w 10000"/>
                <a:gd name="connsiteY57" fmla="*/ 716 h 10000"/>
                <a:gd name="connsiteX58" fmla="*/ 4596 w 10000"/>
                <a:gd name="connsiteY58" fmla="*/ 687 h 10000"/>
                <a:gd name="connsiteX59" fmla="*/ 4632 w 10000"/>
                <a:gd name="connsiteY59" fmla="*/ 675 h 10000"/>
                <a:gd name="connsiteX60" fmla="*/ 4668 w 10000"/>
                <a:gd name="connsiteY60" fmla="*/ 663 h 10000"/>
                <a:gd name="connsiteX61" fmla="*/ 4704 w 10000"/>
                <a:gd name="connsiteY61" fmla="*/ 645 h 10000"/>
                <a:gd name="connsiteX62" fmla="*/ 4740 w 10000"/>
                <a:gd name="connsiteY62" fmla="*/ 639 h 10000"/>
                <a:gd name="connsiteX63" fmla="*/ 4767 w 10000"/>
                <a:gd name="connsiteY63" fmla="*/ 639 h 10000"/>
                <a:gd name="connsiteX64" fmla="*/ 4780 w 10000"/>
                <a:gd name="connsiteY64" fmla="*/ 586 h 10000"/>
                <a:gd name="connsiteX65" fmla="*/ 4789 w 10000"/>
                <a:gd name="connsiteY65" fmla="*/ 527 h 10000"/>
                <a:gd name="connsiteX66" fmla="*/ 4807 w 10000"/>
                <a:gd name="connsiteY66" fmla="*/ 480 h 10000"/>
                <a:gd name="connsiteX67" fmla="*/ 4816 w 10000"/>
                <a:gd name="connsiteY67" fmla="*/ 432 h 10000"/>
                <a:gd name="connsiteX68" fmla="*/ 3789 w 10000"/>
                <a:gd name="connsiteY68" fmla="*/ 432 h 10000"/>
                <a:gd name="connsiteX69" fmla="*/ 3789 w 10000"/>
                <a:gd name="connsiteY69" fmla="*/ 219 h 10000"/>
                <a:gd name="connsiteX70" fmla="*/ 4834 w 10000"/>
                <a:gd name="connsiteY70" fmla="*/ 219 h 10000"/>
                <a:gd name="connsiteX71" fmla="*/ 4857 w 10000"/>
                <a:gd name="connsiteY71" fmla="*/ 148 h 10000"/>
                <a:gd name="connsiteX72" fmla="*/ 4883 w 10000"/>
                <a:gd name="connsiteY72" fmla="*/ 77 h 10000"/>
                <a:gd name="connsiteX73" fmla="*/ 4910 w 10000"/>
                <a:gd name="connsiteY73" fmla="*/ 18 h 10000"/>
                <a:gd name="connsiteX74" fmla="*/ 4946 w 10000"/>
                <a:gd name="connsiteY74" fmla="*/ 0 h 10000"/>
                <a:gd name="connsiteX75" fmla="*/ 4982 w 10000"/>
                <a:gd name="connsiteY75" fmla="*/ 18 h 10000"/>
                <a:gd name="connsiteX76" fmla="*/ 5009 w 10000"/>
                <a:gd name="connsiteY76" fmla="*/ 77 h 10000"/>
                <a:gd name="connsiteX77" fmla="*/ 5031 w 10000"/>
                <a:gd name="connsiteY77" fmla="*/ 148 h 10000"/>
                <a:gd name="connsiteX78" fmla="*/ 5054 w 10000"/>
                <a:gd name="connsiteY78" fmla="*/ 219 h 10000"/>
                <a:gd name="connsiteX79" fmla="*/ 6135 w 10000"/>
                <a:gd name="connsiteY79" fmla="*/ 219 h 10000"/>
                <a:gd name="connsiteX80" fmla="*/ 6135 w 10000"/>
                <a:gd name="connsiteY80" fmla="*/ 432 h 10000"/>
                <a:gd name="connsiteX81" fmla="*/ 5076 w 10000"/>
                <a:gd name="connsiteY81" fmla="*/ 432 h 10000"/>
                <a:gd name="connsiteX82" fmla="*/ 5085 w 10000"/>
                <a:gd name="connsiteY82" fmla="*/ 480 h 10000"/>
                <a:gd name="connsiteX83" fmla="*/ 5099 w 10000"/>
                <a:gd name="connsiteY83" fmla="*/ 527 h 10000"/>
                <a:gd name="connsiteX84" fmla="*/ 5112 w 10000"/>
                <a:gd name="connsiteY84" fmla="*/ 586 h 10000"/>
                <a:gd name="connsiteX85" fmla="*/ 5126 w 10000"/>
                <a:gd name="connsiteY85" fmla="*/ 639 h 10000"/>
                <a:gd name="connsiteX86" fmla="*/ 5152 w 10000"/>
                <a:gd name="connsiteY86" fmla="*/ 639 h 10000"/>
                <a:gd name="connsiteX87" fmla="*/ 5188 w 10000"/>
                <a:gd name="connsiteY87" fmla="*/ 645 h 10000"/>
                <a:gd name="connsiteX88" fmla="*/ 5224 w 10000"/>
                <a:gd name="connsiteY88" fmla="*/ 663 h 10000"/>
                <a:gd name="connsiteX89" fmla="*/ 5260 w 10000"/>
                <a:gd name="connsiteY89" fmla="*/ 675 h 10000"/>
                <a:gd name="connsiteX90" fmla="*/ 5296 w 10000"/>
                <a:gd name="connsiteY90" fmla="*/ 687 h 10000"/>
                <a:gd name="connsiteX91" fmla="*/ 5332 w 10000"/>
                <a:gd name="connsiteY91" fmla="*/ 716 h 10000"/>
                <a:gd name="connsiteX92" fmla="*/ 5363 w 10000"/>
                <a:gd name="connsiteY92" fmla="*/ 734 h 10000"/>
                <a:gd name="connsiteX93" fmla="*/ 5390 w 10000"/>
                <a:gd name="connsiteY93" fmla="*/ 770 h 10000"/>
                <a:gd name="connsiteX94" fmla="*/ 5413 w 10000"/>
                <a:gd name="connsiteY94" fmla="*/ 941 h 10000"/>
                <a:gd name="connsiteX95" fmla="*/ 5435 w 10000"/>
                <a:gd name="connsiteY95" fmla="*/ 1297 h 10000"/>
                <a:gd name="connsiteX96" fmla="*/ 5462 w 10000"/>
                <a:gd name="connsiteY96" fmla="*/ 1794 h 10000"/>
                <a:gd name="connsiteX97" fmla="*/ 5489 w 10000"/>
                <a:gd name="connsiteY97" fmla="*/ 2404 h 10000"/>
                <a:gd name="connsiteX98" fmla="*/ 9928 w 10000"/>
                <a:gd name="connsiteY98" fmla="*/ 2416 h 10000"/>
                <a:gd name="connsiteX99" fmla="*/ 10000 w 10000"/>
                <a:gd name="connsiteY99" fmla="*/ 3410 h 10000"/>
                <a:gd name="connsiteX100" fmla="*/ 9978 w 10000"/>
                <a:gd name="connsiteY100" fmla="*/ 3529 h 10000"/>
                <a:gd name="connsiteX101" fmla="*/ 9946 w 10000"/>
                <a:gd name="connsiteY101" fmla="*/ 3623 h 10000"/>
                <a:gd name="connsiteX102" fmla="*/ 9901 w 10000"/>
                <a:gd name="connsiteY102" fmla="*/ 3694 h 10000"/>
                <a:gd name="connsiteX103" fmla="*/ 9852 w 10000"/>
                <a:gd name="connsiteY103" fmla="*/ 3760 h 10000"/>
                <a:gd name="connsiteX104" fmla="*/ 9798 w 10000"/>
                <a:gd name="connsiteY104" fmla="*/ 3807 h 10000"/>
                <a:gd name="connsiteX105" fmla="*/ 9753 w 10000"/>
                <a:gd name="connsiteY105" fmla="*/ 3843 h 10000"/>
                <a:gd name="connsiteX106" fmla="*/ 9722 w 10000"/>
                <a:gd name="connsiteY106" fmla="*/ 3860 h 10000"/>
                <a:gd name="connsiteX107" fmla="*/ 9709 w 10000"/>
                <a:gd name="connsiteY107" fmla="*/ 3866 h 10000"/>
                <a:gd name="connsiteX0" fmla="*/ 9709 w 10026"/>
                <a:gd name="connsiteY0" fmla="*/ 3866 h 10000"/>
                <a:gd name="connsiteX1" fmla="*/ 5435 w 10026"/>
                <a:gd name="connsiteY1" fmla="*/ 4494 h 10000"/>
                <a:gd name="connsiteX2" fmla="*/ 5422 w 10026"/>
                <a:gd name="connsiteY2" fmla="*/ 4494 h 10000"/>
                <a:gd name="connsiteX3" fmla="*/ 5152 w 10026"/>
                <a:gd name="connsiteY3" fmla="*/ 7620 h 10000"/>
                <a:gd name="connsiteX4" fmla="*/ 6516 w 10026"/>
                <a:gd name="connsiteY4" fmla="*/ 7999 h 10000"/>
                <a:gd name="connsiteX5" fmla="*/ 6565 w 10026"/>
                <a:gd name="connsiteY5" fmla="*/ 8034 h 10000"/>
                <a:gd name="connsiteX6" fmla="*/ 6601 w 10026"/>
                <a:gd name="connsiteY6" fmla="*/ 8105 h 10000"/>
                <a:gd name="connsiteX7" fmla="*/ 6623 w 10026"/>
                <a:gd name="connsiteY7" fmla="*/ 8200 h 10000"/>
                <a:gd name="connsiteX8" fmla="*/ 6632 w 10026"/>
                <a:gd name="connsiteY8" fmla="*/ 8307 h 10000"/>
                <a:gd name="connsiteX9" fmla="*/ 6543 w 10026"/>
                <a:gd name="connsiteY9" fmla="*/ 9053 h 10000"/>
                <a:gd name="connsiteX10" fmla="*/ 5291 w 10026"/>
                <a:gd name="connsiteY10" fmla="*/ 9153 h 10000"/>
                <a:gd name="connsiteX11" fmla="*/ 5099 w 10026"/>
                <a:gd name="connsiteY11" fmla="*/ 8620 h 10000"/>
                <a:gd name="connsiteX12" fmla="*/ 5099 w 10026"/>
                <a:gd name="connsiteY12" fmla="*/ 8686 h 10000"/>
                <a:gd name="connsiteX13" fmla="*/ 5090 w 10026"/>
                <a:gd name="connsiteY13" fmla="*/ 8840 h 10000"/>
                <a:gd name="connsiteX14" fmla="*/ 5081 w 10026"/>
                <a:gd name="connsiteY14" fmla="*/ 9059 h 10000"/>
                <a:gd name="connsiteX15" fmla="*/ 5063 w 10026"/>
                <a:gd name="connsiteY15" fmla="*/ 9307 h 10000"/>
                <a:gd name="connsiteX16" fmla="*/ 5040 w 10026"/>
                <a:gd name="connsiteY16" fmla="*/ 9568 h 10000"/>
                <a:gd name="connsiteX17" fmla="*/ 5013 w 10026"/>
                <a:gd name="connsiteY17" fmla="*/ 9787 h 10000"/>
                <a:gd name="connsiteX18" fmla="*/ 4978 w 10026"/>
                <a:gd name="connsiteY18" fmla="*/ 9947 h 10000"/>
                <a:gd name="connsiteX19" fmla="*/ 4928 w 10026"/>
                <a:gd name="connsiteY19" fmla="*/ 10000 h 10000"/>
                <a:gd name="connsiteX20" fmla="*/ 4852 w 10026"/>
                <a:gd name="connsiteY20" fmla="*/ 9781 h 10000"/>
                <a:gd name="connsiteX21" fmla="*/ 4816 w 10026"/>
                <a:gd name="connsiteY21" fmla="*/ 9307 h 10000"/>
                <a:gd name="connsiteX22" fmla="*/ 4803 w 10026"/>
                <a:gd name="connsiteY22" fmla="*/ 8834 h 10000"/>
                <a:gd name="connsiteX23" fmla="*/ 4794 w 10026"/>
                <a:gd name="connsiteY23" fmla="*/ 8620 h 10000"/>
                <a:gd name="connsiteX24" fmla="*/ 4601 w 10026"/>
                <a:gd name="connsiteY24" fmla="*/ 9153 h 10000"/>
                <a:gd name="connsiteX25" fmla="*/ 3368 w 10026"/>
                <a:gd name="connsiteY25" fmla="*/ 9053 h 10000"/>
                <a:gd name="connsiteX26" fmla="*/ 3260 w 10026"/>
                <a:gd name="connsiteY26" fmla="*/ 8307 h 10000"/>
                <a:gd name="connsiteX27" fmla="*/ 3265 w 10026"/>
                <a:gd name="connsiteY27" fmla="*/ 8200 h 10000"/>
                <a:gd name="connsiteX28" fmla="*/ 3291 w 10026"/>
                <a:gd name="connsiteY28" fmla="*/ 8105 h 10000"/>
                <a:gd name="connsiteX29" fmla="*/ 3323 w 10026"/>
                <a:gd name="connsiteY29" fmla="*/ 8034 h 10000"/>
                <a:gd name="connsiteX30" fmla="*/ 3368 w 10026"/>
                <a:gd name="connsiteY30" fmla="*/ 7999 h 10000"/>
                <a:gd name="connsiteX31" fmla="*/ 4740 w 10026"/>
                <a:gd name="connsiteY31" fmla="*/ 7620 h 10000"/>
                <a:gd name="connsiteX32" fmla="*/ 4475 w 10026"/>
                <a:gd name="connsiteY32" fmla="*/ 4494 h 10000"/>
                <a:gd name="connsiteX33" fmla="*/ 511 w 10026"/>
                <a:gd name="connsiteY33" fmla="*/ 4044 h 10000"/>
                <a:gd name="connsiteX34" fmla="*/ 502 w 10026"/>
                <a:gd name="connsiteY34" fmla="*/ 4044 h 10000"/>
                <a:gd name="connsiteX35" fmla="*/ 471 w 10026"/>
                <a:gd name="connsiteY35" fmla="*/ 4032 h 10000"/>
                <a:gd name="connsiteX36" fmla="*/ 430 w 10026"/>
                <a:gd name="connsiteY36" fmla="*/ 4020 h 10000"/>
                <a:gd name="connsiteX37" fmla="*/ 386 w 10026"/>
                <a:gd name="connsiteY37" fmla="*/ 3996 h 10000"/>
                <a:gd name="connsiteX38" fmla="*/ 341 w 10026"/>
                <a:gd name="connsiteY38" fmla="*/ 3985 h 10000"/>
                <a:gd name="connsiteX39" fmla="*/ 300 w 10026"/>
                <a:gd name="connsiteY39" fmla="*/ 3967 h 10000"/>
                <a:gd name="connsiteX40" fmla="*/ 269 w 10026"/>
                <a:gd name="connsiteY40" fmla="*/ 3955 h 10000"/>
                <a:gd name="connsiteX41" fmla="*/ 260 w 10026"/>
                <a:gd name="connsiteY41" fmla="*/ 3955 h 10000"/>
                <a:gd name="connsiteX42" fmla="*/ 179 w 10026"/>
                <a:gd name="connsiteY42" fmla="*/ 3914 h 10000"/>
                <a:gd name="connsiteX43" fmla="*/ 126 w 10026"/>
                <a:gd name="connsiteY43" fmla="*/ 3860 h 10000"/>
                <a:gd name="connsiteX44" fmla="*/ 76 w 10026"/>
                <a:gd name="connsiteY44" fmla="*/ 3813 h 10000"/>
                <a:gd name="connsiteX45" fmla="*/ 54 w 10026"/>
                <a:gd name="connsiteY45" fmla="*/ 3760 h 10000"/>
                <a:gd name="connsiteX46" fmla="*/ 31 w 10026"/>
                <a:gd name="connsiteY46" fmla="*/ 3718 h 10000"/>
                <a:gd name="connsiteX47" fmla="*/ 22 w 10026"/>
                <a:gd name="connsiteY47" fmla="*/ 3677 h 10000"/>
                <a:gd name="connsiteX48" fmla="*/ 13 w 10026"/>
                <a:gd name="connsiteY48" fmla="*/ 3647 h 10000"/>
                <a:gd name="connsiteX49" fmla="*/ 13 w 10026"/>
                <a:gd name="connsiteY49" fmla="*/ 3641 h 10000"/>
                <a:gd name="connsiteX50" fmla="*/ 0 w 10026"/>
                <a:gd name="connsiteY50" fmla="*/ 2351 h 10000"/>
                <a:gd name="connsiteX51" fmla="*/ 4408 w 10026"/>
                <a:gd name="connsiteY51" fmla="*/ 2345 h 10000"/>
                <a:gd name="connsiteX52" fmla="*/ 4439 w 10026"/>
                <a:gd name="connsiteY52" fmla="*/ 1764 h 10000"/>
                <a:gd name="connsiteX53" fmla="*/ 4466 w 10026"/>
                <a:gd name="connsiteY53" fmla="*/ 1291 h 10000"/>
                <a:gd name="connsiteX54" fmla="*/ 4484 w 10026"/>
                <a:gd name="connsiteY54" fmla="*/ 941 h 10000"/>
                <a:gd name="connsiteX55" fmla="*/ 4516 w 10026"/>
                <a:gd name="connsiteY55" fmla="*/ 770 h 10000"/>
                <a:gd name="connsiteX56" fmla="*/ 4538 w 10026"/>
                <a:gd name="connsiteY56" fmla="*/ 734 h 10000"/>
                <a:gd name="connsiteX57" fmla="*/ 4565 w 10026"/>
                <a:gd name="connsiteY57" fmla="*/ 716 h 10000"/>
                <a:gd name="connsiteX58" fmla="*/ 4596 w 10026"/>
                <a:gd name="connsiteY58" fmla="*/ 687 h 10000"/>
                <a:gd name="connsiteX59" fmla="*/ 4632 w 10026"/>
                <a:gd name="connsiteY59" fmla="*/ 675 h 10000"/>
                <a:gd name="connsiteX60" fmla="*/ 4668 w 10026"/>
                <a:gd name="connsiteY60" fmla="*/ 663 h 10000"/>
                <a:gd name="connsiteX61" fmla="*/ 4704 w 10026"/>
                <a:gd name="connsiteY61" fmla="*/ 645 h 10000"/>
                <a:gd name="connsiteX62" fmla="*/ 4740 w 10026"/>
                <a:gd name="connsiteY62" fmla="*/ 639 h 10000"/>
                <a:gd name="connsiteX63" fmla="*/ 4767 w 10026"/>
                <a:gd name="connsiteY63" fmla="*/ 639 h 10000"/>
                <a:gd name="connsiteX64" fmla="*/ 4780 w 10026"/>
                <a:gd name="connsiteY64" fmla="*/ 586 h 10000"/>
                <a:gd name="connsiteX65" fmla="*/ 4789 w 10026"/>
                <a:gd name="connsiteY65" fmla="*/ 527 h 10000"/>
                <a:gd name="connsiteX66" fmla="*/ 4807 w 10026"/>
                <a:gd name="connsiteY66" fmla="*/ 480 h 10000"/>
                <a:gd name="connsiteX67" fmla="*/ 4816 w 10026"/>
                <a:gd name="connsiteY67" fmla="*/ 432 h 10000"/>
                <a:gd name="connsiteX68" fmla="*/ 3789 w 10026"/>
                <a:gd name="connsiteY68" fmla="*/ 432 h 10000"/>
                <a:gd name="connsiteX69" fmla="*/ 3789 w 10026"/>
                <a:gd name="connsiteY69" fmla="*/ 219 h 10000"/>
                <a:gd name="connsiteX70" fmla="*/ 4834 w 10026"/>
                <a:gd name="connsiteY70" fmla="*/ 219 h 10000"/>
                <a:gd name="connsiteX71" fmla="*/ 4857 w 10026"/>
                <a:gd name="connsiteY71" fmla="*/ 148 h 10000"/>
                <a:gd name="connsiteX72" fmla="*/ 4883 w 10026"/>
                <a:gd name="connsiteY72" fmla="*/ 77 h 10000"/>
                <a:gd name="connsiteX73" fmla="*/ 4910 w 10026"/>
                <a:gd name="connsiteY73" fmla="*/ 18 h 10000"/>
                <a:gd name="connsiteX74" fmla="*/ 4946 w 10026"/>
                <a:gd name="connsiteY74" fmla="*/ 0 h 10000"/>
                <a:gd name="connsiteX75" fmla="*/ 4982 w 10026"/>
                <a:gd name="connsiteY75" fmla="*/ 18 h 10000"/>
                <a:gd name="connsiteX76" fmla="*/ 5009 w 10026"/>
                <a:gd name="connsiteY76" fmla="*/ 77 h 10000"/>
                <a:gd name="connsiteX77" fmla="*/ 5031 w 10026"/>
                <a:gd name="connsiteY77" fmla="*/ 148 h 10000"/>
                <a:gd name="connsiteX78" fmla="*/ 5054 w 10026"/>
                <a:gd name="connsiteY78" fmla="*/ 219 h 10000"/>
                <a:gd name="connsiteX79" fmla="*/ 6135 w 10026"/>
                <a:gd name="connsiteY79" fmla="*/ 219 h 10000"/>
                <a:gd name="connsiteX80" fmla="*/ 6135 w 10026"/>
                <a:gd name="connsiteY80" fmla="*/ 432 h 10000"/>
                <a:gd name="connsiteX81" fmla="*/ 5076 w 10026"/>
                <a:gd name="connsiteY81" fmla="*/ 432 h 10000"/>
                <a:gd name="connsiteX82" fmla="*/ 5085 w 10026"/>
                <a:gd name="connsiteY82" fmla="*/ 480 h 10000"/>
                <a:gd name="connsiteX83" fmla="*/ 5099 w 10026"/>
                <a:gd name="connsiteY83" fmla="*/ 527 h 10000"/>
                <a:gd name="connsiteX84" fmla="*/ 5112 w 10026"/>
                <a:gd name="connsiteY84" fmla="*/ 586 h 10000"/>
                <a:gd name="connsiteX85" fmla="*/ 5126 w 10026"/>
                <a:gd name="connsiteY85" fmla="*/ 639 h 10000"/>
                <a:gd name="connsiteX86" fmla="*/ 5152 w 10026"/>
                <a:gd name="connsiteY86" fmla="*/ 639 h 10000"/>
                <a:gd name="connsiteX87" fmla="*/ 5188 w 10026"/>
                <a:gd name="connsiteY87" fmla="*/ 645 h 10000"/>
                <a:gd name="connsiteX88" fmla="*/ 5224 w 10026"/>
                <a:gd name="connsiteY88" fmla="*/ 663 h 10000"/>
                <a:gd name="connsiteX89" fmla="*/ 5260 w 10026"/>
                <a:gd name="connsiteY89" fmla="*/ 675 h 10000"/>
                <a:gd name="connsiteX90" fmla="*/ 5296 w 10026"/>
                <a:gd name="connsiteY90" fmla="*/ 687 h 10000"/>
                <a:gd name="connsiteX91" fmla="*/ 5332 w 10026"/>
                <a:gd name="connsiteY91" fmla="*/ 716 h 10000"/>
                <a:gd name="connsiteX92" fmla="*/ 5363 w 10026"/>
                <a:gd name="connsiteY92" fmla="*/ 734 h 10000"/>
                <a:gd name="connsiteX93" fmla="*/ 5390 w 10026"/>
                <a:gd name="connsiteY93" fmla="*/ 770 h 10000"/>
                <a:gd name="connsiteX94" fmla="*/ 5413 w 10026"/>
                <a:gd name="connsiteY94" fmla="*/ 941 h 10000"/>
                <a:gd name="connsiteX95" fmla="*/ 5435 w 10026"/>
                <a:gd name="connsiteY95" fmla="*/ 1297 h 10000"/>
                <a:gd name="connsiteX96" fmla="*/ 5462 w 10026"/>
                <a:gd name="connsiteY96" fmla="*/ 1794 h 10000"/>
                <a:gd name="connsiteX97" fmla="*/ 5489 w 10026"/>
                <a:gd name="connsiteY97" fmla="*/ 2404 h 10000"/>
                <a:gd name="connsiteX98" fmla="*/ 10021 w 10026"/>
                <a:gd name="connsiteY98" fmla="*/ 2416 h 10000"/>
                <a:gd name="connsiteX99" fmla="*/ 10000 w 10026"/>
                <a:gd name="connsiteY99" fmla="*/ 3410 h 10000"/>
                <a:gd name="connsiteX100" fmla="*/ 9978 w 10026"/>
                <a:gd name="connsiteY100" fmla="*/ 3529 h 10000"/>
                <a:gd name="connsiteX101" fmla="*/ 9946 w 10026"/>
                <a:gd name="connsiteY101" fmla="*/ 3623 h 10000"/>
                <a:gd name="connsiteX102" fmla="*/ 9901 w 10026"/>
                <a:gd name="connsiteY102" fmla="*/ 3694 h 10000"/>
                <a:gd name="connsiteX103" fmla="*/ 9852 w 10026"/>
                <a:gd name="connsiteY103" fmla="*/ 3760 h 10000"/>
                <a:gd name="connsiteX104" fmla="*/ 9798 w 10026"/>
                <a:gd name="connsiteY104" fmla="*/ 3807 h 10000"/>
                <a:gd name="connsiteX105" fmla="*/ 9753 w 10026"/>
                <a:gd name="connsiteY105" fmla="*/ 3843 h 10000"/>
                <a:gd name="connsiteX106" fmla="*/ 9722 w 10026"/>
                <a:gd name="connsiteY106" fmla="*/ 3860 h 10000"/>
                <a:gd name="connsiteX107" fmla="*/ 9709 w 10026"/>
                <a:gd name="connsiteY107"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511 w 10022"/>
                <a:gd name="connsiteY33" fmla="*/ 4044 h 10000"/>
                <a:gd name="connsiteX34" fmla="*/ 502 w 10022"/>
                <a:gd name="connsiteY34" fmla="*/ 4044 h 10000"/>
                <a:gd name="connsiteX35" fmla="*/ 471 w 10022"/>
                <a:gd name="connsiteY35" fmla="*/ 4032 h 10000"/>
                <a:gd name="connsiteX36" fmla="*/ 430 w 10022"/>
                <a:gd name="connsiteY36" fmla="*/ 4020 h 10000"/>
                <a:gd name="connsiteX37" fmla="*/ 386 w 10022"/>
                <a:gd name="connsiteY37" fmla="*/ 3996 h 10000"/>
                <a:gd name="connsiteX38" fmla="*/ 341 w 10022"/>
                <a:gd name="connsiteY38" fmla="*/ 3985 h 10000"/>
                <a:gd name="connsiteX39" fmla="*/ 300 w 10022"/>
                <a:gd name="connsiteY39" fmla="*/ 3967 h 10000"/>
                <a:gd name="connsiteX40" fmla="*/ 269 w 10022"/>
                <a:gd name="connsiteY40" fmla="*/ 3955 h 10000"/>
                <a:gd name="connsiteX41" fmla="*/ 260 w 10022"/>
                <a:gd name="connsiteY41" fmla="*/ 3955 h 10000"/>
                <a:gd name="connsiteX42" fmla="*/ 179 w 10022"/>
                <a:gd name="connsiteY42" fmla="*/ 3914 h 10000"/>
                <a:gd name="connsiteX43" fmla="*/ 126 w 10022"/>
                <a:gd name="connsiteY43" fmla="*/ 3860 h 10000"/>
                <a:gd name="connsiteX44" fmla="*/ 76 w 10022"/>
                <a:gd name="connsiteY44" fmla="*/ 3813 h 10000"/>
                <a:gd name="connsiteX45" fmla="*/ 54 w 10022"/>
                <a:gd name="connsiteY45" fmla="*/ 3760 h 10000"/>
                <a:gd name="connsiteX46" fmla="*/ 31 w 10022"/>
                <a:gd name="connsiteY46" fmla="*/ 3718 h 10000"/>
                <a:gd name="connsiteX47" fmla="*/ 22 w 10022"/>
                <a:gd name="connsiteY47" fmla="*/ 3677 h 10000"/>
                <a:gd name="connsiteX48" fmla="*/ 13 w 10022"/>
                <a:gd name="connsiteY48" fmla="*/ 3647 h 10000"/>
                <a:gd name="connsiteX49" fmla="*/ 13 w 10022"/>
                <a:gd name="connsiteY49" fmla="*/ 3641 h 10000"/>
                <a:gd name="connsiteX50" fmla="*/ 0 w 10022"/>
                <a:gd name="connsiteY50" fmla="*/ 2351 h 10000"/>
                <a:gd name="connsiteX51" fmla="*/ 4408 w 10022"/>
                <a:gd name="connsiteY51" fmla="*/ 2345 h 10000"/>
                <a:gd name="connsiteX52" fmla="*/ 4439 w 10022"/>
                <a:gd name="connsiteY52" fmla="*/ 1764 h 10000"/>
                <a:gd name="connsiteX53" fmla="*/ 4466 w 10022"/>
                <a:gd name="connsiteY53" fmla="*/ 1291 h 10000"/>
                <a:gd name="connsiteX54" fmla="*/ 4484 w 10022"/>
                <a:gd name="connsiteY54" fmla="*/ 941 h 10000"/>
                <a:gd name="connsiteX55" fmla="*/ 4516 w 10022"/>
                <a:gd name="connsiteY55" fmla="*/ 770 h 10000"/>
                <a:gd name="connsiteX56" fmla="*/ 4538 w 10022"/>
                <a:gd name="connsiteY56" fmla="*/ 734 h 10000"/>
                <a:gd name="connsiteX57" fmla="*/ 4565 w 10022"/>
                <a:gd name="connsiteY57" fmla="*/ 716 h 10000"/>
                <a:gd name="connsiteX58" fmla="*/ 4596 w 10022"/>
                <a:gd name="connsiteY58" fmla="*/ 687 h 10000"/>
                <a:gd name="connsiteX59" fmla="*/ 4632 w 10022"/>
                <a:gd name="connsiteY59" fmla="*/ 675 h 10000"/>
                <a:gd name="connsiteX60" fmla="*/ 4668 w 10022"/>
                <a:gd name="connsiteY60" fmla="*/ 663 h 10000"/>
                <a:gd name="connsiteX61" fmla="*/ 4704 w 10022"/>
                <a:gd name="connsiteY61" fmla="*/ 645 h 10000"/>
                <a:gd name="connsiteX62" fmla="*/ 4740 w 10022"/>
                <a:gd name="connsiteY62" fmla="*/ 639 h 10000"/>
                <a:gd name="connsiteX63" fmla="*/ 4767 w 10022"/>
                <a:gd name="connsiteY63" fmla="*/ 639 h 10000"/>
                <a:gd name="connsiteX64" fmla="*/ 4780 w 10022"/>
                <a:gd name="connsiteY64" fmla="*/ 586 h 10000"/>
                <a:gd name="connsiteX65" fmla="*/ 4789 w 10022"/>
                <a:gd name="connsiteY65" fmla="*/ 527 h 10000"/>
                <a:gd name="connsiteX66" fmla="*/ 4807 w 10022"/>
                <a:gd name="connsiteY66" fmla="*/ 480 h 10000"/>
                <a:gd name="connsiteX67" fmla="*/ 4816 w 10022"/>
                <a:gd name="connsiteY67" fmla="*/ 432 h 10000"/>
                <a:gd name="connsiteX68" fmla="*/ 3789 w 10022"/>
                <a:gd name="connsiteY68" fmla="*/ 432 h 10000"/>
                <a:gd name="connsiteX69" fmla="*/ 3789 w 10022"/>
                <a:gd name="connsiteY69" fmla="*/ 219 h 10000"/>
                <a:gd name="connsiteX70" fmla="*/ 4834 w 10022"/>
                <a:gd name="connsiteY70" fmla="*/ 219 h 10000"/>
                <a:gd name="connsiteX71" fmla="*/ 4857 w 10022"/>
                <a:gd name="connsiteY71" fmla="*/ 148 h 10000"/>
                <a:gd name="connsiteX72" fmla="*/ 4883 w 10022"/>
                <a:gd name="connsiteY72" fmla="*/ 77 h 10000"/>
                <a:gd name="connsiteX73" fmla="*/ 4910 w 10022"/>
                <a:gd name="connsiteY73" fmla="*/ 18 h 10000"/>
                <a:gd name="connsiteX74" fmla="*/ 4946 w 10022"/>
                <a:gd name="connsiteY74" fmla="*/ 0 h 10000"/>
                <a:gd name="connsiteX75" fmla="*/ 4982 w 10022"/>
                <a:gd name="connsiteY75" fmla="*/ 18 h 10000"/>
                <a:gd name="connsiteX76" fmla="*/ 5009 w 10022"/>
                <a:gd name="connsiteY76" fmla="*/ 77 h 10000"/>
                <a:gd name="connsiteX77" fmla="*/ 5031 w 10022"/>
                <a:gd name="connsiteY77" fmla="*/ 148 h 10000"/>
                <a:gd name="connsiteX78" fmla="*/ 5054 w 10022"/>
                <a:gd name="connsiteY78" fmla="*/ 219 h 10000"/>
                <a:gd name="connsiteX79" fmla="*/ 6135 w 10022"/>
                <a:gd name="connsiteY79" fmla="*/ 219 h 10000"/>
                <a:gd name="connsiteX80" fmla="*/ 6135 w 10022"/>
                <a:gd name="connsiteY80" fmla="*/ 432 h 10000"/>
                <a:gd name="connsiteX81" fmla="*/ 5076 w 10022"/>
                <a:gd name="connsiteY81" fmla="*/ 432 h 10000"/>
                <a:gd name="connsiteX82" fmla="*/ 5085 w 10022"/>
                <a:gd name="connsiteY82" fmla="*/ 480 h 10000"/>
                <a:gd name="connsiteX83" fmla="*/ 5099 w 10022"/>
                <a:gd name="connsiteY83" fmla="*/ 527 h 10000"/>
                <a:gd name="connsiteX84" fmla="*/ 5112 w 10022"/>
                <a:gd name="connsiteY84" fmla="*/ 586 h 10000"/>
                <a:gd name="connsiteX85" fmla="*/ 5126 w 10022"/>
                <a:gd name="connsiteY85" fmla="*/ 639 h 10000"/>
                <a:gd name="connsiteX86" fmla="*/ 5152 w 10022"/>
                <a:gd name="connsiteY86" fmla="*/ 639 h 10000"/>
                <a:gd name="connsiteX87" fmla="*/ 5188 w 10022"/>
                <a:gd name="connsiteY87" fmla="*/ 645 h 10000"/>
                <a:gd name="connsiteX88" fmla="*/ 5224 w 10022"/>
                <a:gd name="connsiteY88" fmla="*/ 663 h 10000"/>
                <a:gd name="connsiteX89" fmla="*/ 5260 w 10022"/>
                <a:gd name="connsiteY89" fmla="*/ 675 h 10000"/>
                <a:gd name="connsiteX90" fmla="*/ 5296 w 10022"/>
                <a:gd name="connsiteY90" fmla="*/ 687 h 10000"/>
                <a:gd name="connsiteX91" fmla="*/ 5332 w 10022"/>
                <a:gd name="connsiteY91" fmla="*/ 716 h 10000"/>
                <a:gd name="connsiteX92" fmla="*/ 5363 w 10022"/>
                <a:gd name="connsiteY92" fmla="*/ 734 h 10000"/>
                <a:gd name="connsiteX93" fmla="*/ 5390 w 10022"/>
                <a:gd name="connsiteY93" fmla="*/ 770 h 10000"/>
                <a:gd name="connsiteX94" fmla="*/ 5413 w 10022"/>
                <a:gd name="connsiteY94" fmla="*/ 941 h 10000"/>
                <a:gd name="connsiteX95" fmla="*/ 5435 w 10022"/>
                <a:gd name="connsiteY95" fmla="*/ 1297 h 10000"/>
                <a:gd name="connsiteX96" fmla="*/ 5462 w 10022"/>
                <a:gd name="connsiteY96" fmla="*/ 1794 h 10000"/>
                <a:gd name="connsiteX97" fmla="*/ 5489 w 10022"/>
                <a:gd name="connsiteY97" fmla="*/ 2404 h 10000"/>
                <a:gd name="connsiteX98" fmla="*/ 10021 w 10022"/>
                <a:gd name="connsiteY98" fmla="*/ 2416 h 10000"/>
                <a:gd name="connsiteX99" fmla="*/ 10000 w 10022"/>
                <a:gd name="connsiteY99" fmla="*/ 3410 h 10000"/>
                <a:gd name="connsiteX100" fmla="*/ 9978 w 10022"/>
                <a:gd name="connsiteY100" fmla="*/ 3529 h 10000"/>
                <a:gd name="connsiteX101" fmla="*/ 9946 w 10022"/>
                <a:gd name="connsiteY101" fmla="*/ 3623 h 10000"/>
                <a:gd name="connsiteX102" fmla="*/ 9901 w 10022"/>
                <a:gd name="connsiteY102" fmla="*/ 3694 h 10000"/>
                <a:gd name="connsiteX103" fmla="*/ 9852 w 10022"/>
                <a:gd name="connsiteY103" fmla="*/ 3760 h 10000"/>
                <a:gd name="connsiteX104" fmla="*/ 9798 w 10022"/>
                <a:gd name="connsiteY104" fmla="*/ 3807 h 10000"/>
                <a:gd name="connsiteX105" fmla="*/ 9753 w 10022"/>
                <a:gd name="connsiteY105" fmla="*/ 3843 h 10000"/>
                <a:gd name="connsiteX106" fmla="*/ 9722 w 10022"/>
                <a:gd name="connsiteY106" fmla="*/ 3860 h 10000"/>
                <a:gd name="connsiteX107" fmla="*/ 9709 w 10022"/>
                <a:gd name="connsiteY107"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511 w 10022"/>
                <a:gd name="connsiteY33" fmla="*/ 4044 h 10000"/>
                <a:gd name="connsiteX34" fmla="*/ 502 w 10022"/>
                <a:gd name="connsiteY34" fmla="*/ 4044 h 10000"/>
                <a:gd name="connsiteX35" fmla="*/ 471 w 10022"/>
                <a:gd name="connsiteY35" fmla="*/ 4032 h 10000"/>
                <a:gd name="connsiteX36" fmla="*/ 430 w 10022"/>
                <a:gd name="connsiteY36" fmla="*/ 4020 h 10000"/>
                <a:gd name="connsiteX37" fmla="*/ 386 w 10022"/>
                <a:gd name="connsiteY37" fmla="*/ 3996 h 10000"/>
                <a:gd name="connsiteX38" fmla="*/ 341 w 10022"/>
                <a:gd name="connsiteY38" fmla="*/ 3985 h 10000"/>
                <a:gd name="connsiteX39" fmla="*/ 300 w 10022"/>
                <a:gd name="connsiteY39" fmla="*/ 3967 h 10000"/>
                <a:gd name="connsiteX40" fmla="*/ 269 w 10022"/>
                <a:gd name="connsiteY40" fmla="*/ 3955 h 10000"/>
                <a:gd name="connsiteX41" fmla="*/ 260 w 10022"/>
                <a:gd name="connsiteY41" fmla="*/ 3955 h 10000"/>
                <a:gd name="connsiteX42" fmla="*/ 126 w 10022"/>
                <a:gd name="connsiteY42" fmla="*/ 3860 h 10000"/>
                <a:gd name="connsiteX43" fmla="*/ 76 w 10022"/>
                <a:gd name="connsiteY43" fmla="*/ 3813 h 10000"/>
                <a:gd name="connsiteX44" fmla="*/ 54 w 10022"/>
                <a:gd name="connsiteY44" fmla="*/ 3760 h 10000"/>
                <a:gd name="connsiteX45" fmla="*/ 31 w 10022"/>
                <a:gd name="connsiteY45" fmla="*/ 3718 h 10000"/>
                <a:gd name="connsiteX46" fmla="*/ 22 w 10022"/>
                <a:gd name="connsiteY46" fmla="*/ 3677 h 10000"/>
                <a:gd name="connsiteX47" fmla="*/ 13 w 10022"/>
                <a:gd name="connsiteY47" fmla="*/ 3647 h 10000"/>
                <a:gd name="connsiteX48" fmla="*/ 13 w 10022"/>
                <a:gd name="connsiteY48" fmla="*/ 3641 h 10000"/>
                <a:gd name="connsiteX49" fmla="*/ 0 w 10022"/>
                <a:gd name="connsiteY49" fmla="*/ 2351 h 10000"/>
                <a:gd name="connsiteX50" fmla="*/ 4408 w 10022"/>
                <a:gd name="connsiteY50" fmla="*/ 2345 h 10000"/>
                <a:gd name="connsiteX51" fmla="*/ 4439 w 10022"/>
                <a:gd name="connsiteY51" fmla="*/ 1764 h 10000"/>
                <a:gd name="connsiteX52" fmla="*/ 4466 w 10022"/>
                <a:gd name="connsiteY52" fmla="*/ 1291 h 10000"/>
                <a:gd name="connsiteX53" fmla="*/ 4484 w 10022"/>
                <a:gd name="connsiteY53" fmla="*/ 941 h 10000"/>
                <a:gd name="connsiteX54" fmla="*/ 4516 w 10022"/>
                <a:gd name="connsiteY54" fmla="*/ 770 h 10000"/>
                <a:gd name="connsiteX55" fmla="*/ 4538 w 10022"/>
                <a:gd name="connsiteY55" fmla="*/ 734 h 10000"/>
                <a:gd name="connsiteX56" fmla="*/ 4565 w 10022"/>
                <a:gd name="connsiteY56" fmla="*/ 716 h 10000"/>
                <a:gd name="connsiteX57" fmla="*/ 4596 w 10022"/>
                <a:gd name="connsiteY57" fmla="*/ 687 h 10000"/>
                <a:gd name="connsiteX58" fmla="*/ 4632 w 10022"/>
                <a:gd name="connsiteY58" fmla="*/ 675 h 10000"/>
                <a:gd name="connsiteX59" fmla="*/ 4668 w 10022"/>
                <a:gd name="connsiteY59" fmla="*/ 663 h 10000"/>
                <a:gd name="connsiteX60" fmla="*/ 4704 w 10022"/>
                <a:gd name="connsiteY60" fmla="*/ 645 h 10000"/>
                <a:gd name="connsiteX61" fmla="*/ 4740 w 10022"/>
                <a:gd name="connsiteY61" fmla="*/ 639 h 10000"/>
                <a:gd name="connsiteX62" fmla="*/ 4767 w 10022"/>
                <a:gd name="connsiteY62" fmla="*/ 639 h 10000"/>
                <a:gd name="connsiteX63" fmla="*/ 4780 w 10022"/>
                <a:gd name="connsiteY63" fmla="*/ 586 h 10000"/>
                <a:gd name="connsiteX64" fmla="*/ 4789 w 10022"/>
                <a:gd name="connsiteY64" fmla="*/ 527 h 10000"/>
                <a:gd name="connsiteX65" fmla="*/ 4807 w 10022"/>
                <a:gd name="connsiteY65" fmla="*/ 480 h 10000"/>
                <a:gd name="connsiteX66" fmla="*/ 4816 w 10022"/>
                <a:gd name="connsiteY66" fmla="*/ 432 h 10000"/>
                <a:gd name="connsiteX67" fmla="*/ 3789 w 10022"/>
                <a:gd name="connsiteY67" fmla="*/ 432 h 10000"/>
                <a:gd name="connsiteX68" fmla="*/ 3789 w 10022"/>
                <a:gd name="connsiteY68" fmla="*/ 219 h 10000"/>
                <a:gd name="connsiteX69" fmla="*/ 4834 w 10022"/>
                <a:gd name="connsiteY69" fmla="*/ 219 h 10000"/>
                <a:gd name="connsiteX70" fmla="*/ 4857 w 10022"/>
                <a:gd name="connsiteY70" fmla="*/ 148 h 10000"/>
                <a:gd name="connsiteX71" fmla="*/ 4883 w 10022"/>
                <a:gd name="connsiteY71" fmla="*/ 77 h 10000"/>
                <a:gd name="connsiteX72" fmla="*/ 4910 w 10022"/>
                <a:gd name="connsiteY72" fmla="*/ 18 h 10000"/>
                <a:gd name="connsiteX73" fmla="*/ 4946 w 10022"/>
                <a:gd name="connsiteY73" fmla="*/ 0 h 10000"/>
                <a:gd name="connsiteX74" fmla="*/ 4982 w 10022"/>
                <a:gd name="connsiteY74" fmla="*/ 18 h 10000"/>
                <a:gd name="connsiteX75" fmla="*/ 5009 w 10022"/>
                <a:gd name="connsiteY75" fmla="*/ 77 h 10000"/>
                <a:gd name="connsiteX76" fmla="*/ 5031 w 10022"/>
                <a:gd name="connsiteY76" fmla="*/ 148 h 10000"/>
                <a:gd name="connsiteX77" fmla="*/ 5054 w 10022"/>
                <a:gd name="connsiteY77" fmla="*/ 219 h 10000"/>
                <a:gd name="connsiteX78" fmla="*/ 6135 w 10022"/>
                <a:gd name="connsiteY78" fmla="*/ 219 h 10000"/>
                <a:gd name="connsiteX79" fmla="*/ 6135 w 10022"/>
                <a:gd name="connsiteY79" fmla="*/ 432 h 10000"/>
                <a:gd name="connsiteX80" fmla="*/ 5076 w 10022"/>
                <a:gd name="connsiteY80" fmla="*/ 432 h 10000"/>
                <a:gd name="connsiteX81" fmla="*/ 5085 w 10022"/>
                <a:gd name="connsiteY81" fmla="*/ 480 h 10000"/>
                <a:gd name="connsiteX82" fmla="*/ 5099 w 10022"/>
                <a:gd name="connsiteY82" fmla="*/ 527 h 10000"/>
                <a:gd name="connsiteX83" fmla="*/ 5112 w 10022"/>
                <a:gd name="connsiteY83" fmla="*/ 586 h 10000"/>
                <a:gd name="connsiteX84" fmla="*/ 5126 w 10022"/>
                <a:gd name="connsiteY84" fmla="*/ 639 h 10000"/>
                <a:gd name="connsiteX85" fmla="*/ 5152 w 10022"/>
                <a:gd name="connsiteY85" fmla="*/ 639 h 10000"/>
                <a:gd name="connsiteX86" fmla="*/ 5188 w 10022"/>
                <a:gd name="connsiteY86" fmla="*/ 645 h 10000"/>
                <a:gd name="connsiteX87" fmla="*/ 5224 w 10022"/>
                <a:gd name="connsiteY87" fmla="*/ 663 h 10000"/>
                <a:gd name="connsiteX88" fmla="*/ 5260 w 10022"/>
                <a:gd name="connsiteY88" fmla="*/ 675 h 10000"/>
                <a:gd name="connsiteX89" fmla="*/ 5296 w 10022"/>
                <a:gd name="connsiteY89" fmla="*/ 687 h 10000"/>
                <a:gd name="connsiteX90" fmla="*/ 5332 w 10022"/>
                <a:gd name="connsiteY90" fmla="*/ 716 h 10000"/>
                <a:gd name="connsiteX91" fmla="*/ 5363 w 10022"/>
                <a:gd name="connsiteY91" fmla="*/ 734 h 10000"/>
                <a:gd name="connsiteX92" fmla="*/ 5390 w 10022"/>
                <a:gd name="connsiteY92" fmla="*/ 770 h 10000"/>
                <a:gd name="connsiteX93" fmla="*/ 5413 w 10022"/>
                <a:gd name="connsiteY93" fmla="*/ 941 h 10000"/>
                <a:gd name="connsiteX94" fmla="*/ 5435 w 10022"/>
                <a:gd name="connsiteY94" fmla="*/ 1297 h 10000"/>
                <a:gd name="connsiteX95" fmla="*/ 5462 w 10022"/>
                <a:gd name="connsiteY95" fmla="*/ 1794 h 10000"/>
                <a:gd name="connsiteX96" fmla="*/ 5489 w 10022"/>
                <a:gd name="connsiteY96" fmla="*/ 2404 h 10000"/>
                <a:gd name="connsiteX97" fmla="*/ 10021 w 10022"/>
                <a:gd name="connsiteY97" fmla="*/ 2416 h 10000"/>
                <a:gd name="connsiteX98" fmla="*/ 10000 w 10022"/>
                <a:gd name="connsiteY98" fmla="*/ 3410 h 10000"/>
                <a:gd name="connsiteX99" fmla="*/ 9978 w 10022"/>
                <a:gd name="connsiteY99" fmla="*/ 3529 h 10000"/>
                <a:gd name="connsiteX100" fmla="*/ 9946 w 10022"/>
                <a:gd name="connsiteY100" fmla="*/ 3623 h 10000"/>
                <a:gd name="connsiteX101" fmla="*/ 9901 w 10022"/>
                <a:gd name="connsiteY101" fmla="*/ 3694 h 10000"/>
                <a:gd name="connsiteX102" fmla="*/ 9852 w 10022"/>
                <a:gd name="connsiteY102" fmla="*/ 3760 h 10000"/>
                <a:gd name="connsiteX103" fmla="*/ 9798 w 10022"/>
                <a:gd name="connsiteY103" fmla="*/ 3807 h 10000"/>
                <a:gd name="connsiteX104" fmla="*/ 9753 w 10022"/>
                <a:gd name="connsiteY104" fmla="*/ 3843 h 10000"/>
                <a:gd name="connsiteX105" fmla="*/ 9722 w 10022"/>
                <a:gd name="connsiteY105" fmla="*/ 3860 h 10000"/>
                <a:gd name="connsiteX106" fmla="*/ 9709 w 10022"/>
                <a:gd name="connsiteY106"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511 w 10022"/>
                <a:gd name="connsiteY33" fmla="*/ 4044 h 10000"/>
                <a:gd name="connsiteX34" fmla="*/ 502 w 10022"/>
                <a:gd name="connsiteY34" fmla="*/ 4044 h 10000"/>
                <a:gd name="connsiteX35" fmla="*/ 471 w 10022"/>
                <a:gd name="connsiteY35" fmla="*/ 4032 h 10000"/>
                <a:gd name="connsiteX36" fmla="*/ 430 w 10022"/>
                <a:gd name="connsiteY36" fmla="*/ 4020 h 10000"/>
                <a:gd name="connsiteX37" fmla="*/ 386 w 10022"/>
                <a:gd name="connsiteY37" fmla="*/ 3996 h 10000"/>
                <a:gd name="connsiteX38" fmla="*/ 341 w 10022"/>
                <a:gd name="connsiteY38" fmla="*/ 3985 h 10000"/>
                <a:gd name="connsiteX39" fmla="*/ 300 w 10022"/>
                <a:gd name="connsiteY39" fmla="*/ 3967 h 10000"/>
                <a:gd name="connsiteX40" fmla="*/ 269 w 10022"/>
                <a:gd name="connsiteY40" fmla="*/ 3955 h 10000"/>
                <a:gd name="connsiteX41" fmla="*/ 260 w 10022"/>
                <a:gd name="connsiteY41" fmla="*/ 3955 h 10000"/>
                <a:gd name="connsiteX42" fmla="*/ 126 w 10022"/>
                <a:gd name="connsiteY42" fmla="*/ 3860 h 10000"/>
                <a:gd name="connsiteX43" fmla="*/ 76 w 10022"/>
                <a:gd name="connsiteY43" fmla="*/ 3813 h 10000"/>
                <a:gd name="connsiteX44" fmla="*/ 54 w 10022"/>
                <a:gd name="connsiteY44" fmla="*/ 3760 h 10000"/>
                <a:gd name="connsiteX45" fmla="*/ 22 w 10022"/>
                <a:gd name="connsiteY45" fmla="*/ 3677 h 10000"/>
                <a:gd name="connsiteX46" fmla="*/ 13 w 10022"/>
                <a:gd name="connsiteY46" fmla="*/ 3647 h 10000"/>
                <a:gd name="connsiteX47" fmla="*/ 13 w 10022"/>
                <a:gd name="connsiteY47" fmla="*/ 3641 h 10000"/>
                <a:gd name="connsiteX48" fmla="*/ 0 w 10022"/>
                <a:gd name="connsiteY48" fmla="*/ 2351 h 10000"/>
                <a:gd name="connsiteX49" fmla="*/ 4408 w 10022"/>
                <a:gd name="connsiteY49" fmla="*/ 2345 h 10000"/>
                <a:gd name="connsiteX50" fmla="*/ 4439 w 10022"/>
                <a:gd name="connsiteY50" fmla="*/ 1764 h 10000"/>
                <a:gd name="connsiteX51" fmla="*/ 4466 w 10022"/>
                <a:gd name="connsiteY51" fmla="*/ 1291 h 10000"/>
                <a:gd name="connsiteX52" fmla="*/ 4484 w 10022"/>
                <a:gd name="connsiteY52" fmla="*/ 941 h 10000"/>
                <a:gd name="connsiteX53" fmla="*/ 4516 w 10022"/>
                <a:gd name="connsiteY53" fmla="*/ 770 h 10000"/>
                <a:gd name="connsiteX54" fmla="*/ 4538 w 10022"/>
                <a:gd name="connsiteY54" fmla="*/ 734 h 10000"/>
                <a:gd name="connsiteX55" fmla="*/ 4565 w 10022"/>
                <a:gd name="connsiteY55" fmla="*/ 716 h 10000"/>
                <a:gd name="connsiteX56" fmla="*/ 4596 w 10022"/>
                <a:gd name="connsiteY56" fmla="*/ 687 h 10000"/>
                <a:gd name="connsiteX57" fmla="*/ 4632 w 10022"/>
                <a:gd name="connsiteY57" fmla="*/ 675 h 10000"/>
                <a:gd name="connsiteX58" fmla="*/ 4668 w 10022"/>
                <a:gd name="connsiteY58" fmla="*/ 663 h 10000"/>
                <a:gd name="connsiteX59" fmla="*/ 4704 w 10022"/>
                <a:gd name="connsiteY59" fmla="*/ 645 h 10000"/>
                <a:gd name="connsiteX60" fmla="*/ 4740 w 10022"/>
                <a:gd name="connsiteY60" fmla="*/ 639 h 10000"/>
                <a:gd name="connsiteX61" fmla="*/ 4767 w 10022"/>
                <a:gd name="connsiteY61" fmla="*/ 639 h 10000"/>
                <a:gd name="connsiteX62" fmla="*/ 4780 w 10022"/>
                <a:gd name="connsiteY62" fmla="*/ 586 h 10000"/>
                <a:gd name="connsiteX63" fmla="*/ 4789 w 10022"/>
                <a:gd name="connsiteY63" fmla="*/ 527 h 10000"/>
                <a:gd name="connsiteX64" fmla="*/ 4807 w 10022"/>
                <a:gd name="connsiteY64" fmla="*/ 480 h 10000"/>
                <a:gd name="connsiteX65" fmla="*/ 4816 w 10022"/>
                <a:gd name="connsiteY65" fmla="*/ 432 h 10000"/>
                <a:gd name="connsiteX66" fmla="*/ 3789 w 10022"/>
                <a:gd name="connsiteY66" fmla="*/ 432 h 10000"/>
                <a:gd name="connsiteX67" fmla="*/ 3789 w 10022"/>
                <a:gd name="connsiteY67" fmla="*/ 219 h 10000"/>
                <a:gd name="connsiteX68" fmla="*/ 4834 w 10022"/>
                <a:gd name="connsiteY68" fmla="*/ 219 h 10000"/>
                <a:gd name="connsiteX69" fmla="*/ 4857 w 10022"/>
                <a:gd name="connsiteY69" fmla="*/ 148 h 10000"/>
                <a:gd name="connsiteX70" fmla="*/ 4883 w 10022"/>
                <a:gd name="connsiteY70" fmla="*/ 77 h 10000"/>
                <a:gd name="connsiteX71" fmla="*/ 4910 w 10022"/>
                <a:gd name="connsiteY71" fmla="*/ 18 h 10000"/>
                <a:gd name="connsiteX72" fmla="*/ 4946 w 10022"/>
                <a:gd name="connsiteY72" fmla="*/ 0 h 10000"/>
                <a:gd name="connsiteX73" fmla="*/ 4982 w 10022"/>
                <a:gd name="connsiteY73" fmla="*/ 18 h 10000"/>
                <a:gd name="connsiteX74" fmla="*/ 5009 w 10022"/>
                <a:gd name="connsiteY74" fmla="*/ 77 h 10000"/>
                <a:gd name="connsiteX75" fmla="*/ 5031 w 10022"/>
                <a:gd name="connsiteY75" fmla="*/ 148 h 10000"/>
                <a:gd name="connsiteX76" fmla="*/ 5054 w 10022"/>
                <a:gd name="connsiteY76" fmla="*/ 219 h 10000"/>
                <a:gd name="connsiteX77" fmla="*/ 6135 w 10022"/>
                <a:gd name="connsiteY77" fmla="*/ 219 h 10000"/>
                <a:gd name="connsiteX78" fmla="*/ 6135 w 10022"/>
                <a:gd name="connsiteY78" fmla="*/ 432 h 10000"/>
                <a:gd name="connsiteX79" fmla="*/ 5076 w 10022"/>
                <a:gd name="connsiteY79" fmla="*/ 432 h 10000"/>
                <a:gd name="connsiteX80" fmla="*/ 5085 w 10022"/>
                <a:gd name="connsiteY80" fmla="*/ 480 h 10000"/>
                <a:gd name="connsiteX81" fmla="*/ 5099 w 10022"/>
                <a:gd name="connsiteY81" fmla="*/ 527 h 10000"/>
                <a:gd name="connsiteX82" fmla="*/ 5112 w 10022"/>
                <a:gd name="connsiteY82" fmla="*/ 586 h 10000"/>
                <a:gd name="connsiteX83" fmla="*/ 5126 w 10022"/>
                <a:gd name="connsiteY83" fmla="*/ 639 h 10000"/>
                <a:gd name="connsiteX84" fmla="*/ 5152 w 10022"/>
                <a:gd name="connsiteY84" fmla="*/ 639 h 10000"/>
                <a:gd name="connsiteX85" fmla="*/ 5188 w 10022"/>
                <a:gd name="connsiteY85" fmla="*/ 645 h 10000"/>
                <a:gd name="connsiteX86" fmla="*/ 5224 w 10022"/>
                <a:gd name="connsiteY86" fmla="*/ 663 h 10000"/>
                <a:gd name="connsiteX87" fmla="*/ 5260 w 10022"/>
                <a:gd name="connsiteY87" fmla="*/ 675 h 10000"/>
                <a:gd name="connsiteX88" fmla="*/ 5296 w 10022"/>
                <a:gd name="connsiteY88" fmla="*/ 687 h 10000"/>
                <a:gd name="connsiteX89" fmla="*/ 5332 w 10022"/>
                <a:gd name="connsiteY89" fmla="*/ 716 h 10000"/>
                <a:gd name="connsiteX90" fmla="*/ 5363 w 10022"/>
                <a:gd name="connsiteY90" fmla="*/ 734 h 10000"/>
                <a:gd name="connsiteX91" fmla="*/ 5390 w 10022"/>
                <a:gd name="connsiteY91" fmla="*/ 770 h 10000"/>
                <a:gd name="connsiteX92" fmla="*/ 5413 w 10022"/>
                <a:gd name="connsiteY92" fmla="*/ 941 h 10000"/>
                <a:gd name="connsiteX93" fmla="*/ 5435 w 10022"/>
                <a:gd name="connsiteY93" fmla="*/ 1297 h 10000"/>
                <a:gd name="connsiteX94" fmla="*/ 5462 w 10022"/>
                <a:gd name="connsiteY94" fmla="*/ 1794 h 10000"/>
                <a:gd name="connsiteX95" fmla="*/ 5489 w 10022"/>
                <a:gd name="connsiteY95" fmla="*/ 2404 h 10000"/>
                <a:gd name="connsiteX96" fmla="*/ 10021 w 10022"/>
                <a:gd name="connsiteY96" fmla="*/ 2416 h 10000"/>
                <a:gd name="connsiteX97" fmla="*/ 10000 w 10022"/>
                <a:gd name="connsiteY97" fmla="*/ 3410 h 10000"/>
                <a:gd name="connsiteX98" fmla="*/ 9978 w 10022"/>
                <a:gd name="connsiteY98" fmla="*/ 3529 h 10000"/>
                <a:gd name="connsiteX99" fmla="*/ 9946 w 10022"/>
                <a:gd name="connsiteY99" fmla="*/ 3623 h 10000"/>
                <a:gd name="connsiteX100" fmla="*/ 9901 w 10022"/>
                <a:gd name="connsiteY100" fmla="*/ 3694 h 10000"/>
                <a:gd name="connsiteX101" fmla="*/ 9852 w 10022"/>
                <a:gd name="connsiteY101" fmla="*/ 3760 h 10000"/>
                <a:gd name="connsiteX102" fmla="*/ 9798 w 10022"/>
                <a:gd name="connsiteY102" fmla="*/ 3807 h 10000"/>
                <a:gd name="connsiteX103" fmla="*/ 9753 w 10022"/>
                <a:gd name="connsiteY103" fmla="*/ 3843 h 10000"/>
                <a:gd name="connsiteX104" fmla="*/ 9722 w 10022"/>
                <a:gd name="connsiteY104" fmla="*/ 3860 h 10000"/>
                <a:gd name="connsiteX105" fmla="*/ 9709 w 10022"/>
                <a:gd name="connsiteY105"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511 w 10022"/>
                <a:gd name="connsiteY33" fmla="*/ 4044 h 10000"/>
                <a:gd name="connsiteX34" fmla="*/ 502 w 10022"/>
                <a:gd name="connsiteY34" fmla="*/ 4044 h 10000"/>
                <a:gd name="connsiteX35" fmla="*/ 471 w 10022"/>
                <a:gd name="connsiteY35" fmla="*/ 4032 h 10000"/>
                <a:gd name="connsiteX36" fmla="*/ 430 w 10022"/>
                <a:gd name="connsiteY36" fmla="*/ 4020 h 10000"/>
                <a:gd name="connsiteX37" fmla="*/ 386 w 10022"/>
                <a:gd name="connsiteY37" fmla="*/ 3996 h 10000"/>
                <a:gd name="connsiteX38" fmla="*/ 300 w 10022"/>
                <a:gd name="connsiteY38" fmla="*/ 3967 h 10000"/>
                <a:gd name="connsiteX39" fmla="*/ 269 w 10022"/>
                <a:gd name="connsiteY39" fmla="*/ 3955 h 10000"/>
                <a:gd name="connsiteX40" fmla="*/ 260 w 10022"/>
                <a:gd name="connsiteY40" fmla="*/ 3955 h 10000"/>
                <a:gd name="connsiteX41" fmla="*/ 126 w 10022"/>
                <a:gd name="connsiteY41" fmla="*/ 3860 h 10000"/>
                <a:gd name="connsiteX42" fmla="*/ 76 w 10022"/>
                <a:gd name="connsiteY42" fmla="*/ 3813 h 10000"/>
                <a:gd name="connsiteX43" fmla="*/ 54 w 10022"/>
                <a:gd name="connsiteY43" fmla="*/ 3760 h 10000"/>
                <a:gd name="connsiteX44" fmla="*/ 22 w 10022"/>
                <a:gd name="connsiteY44" fmla="*/ 3677 h 10000"/>
                <a:gd name="connsiteX45" fmla="*/ 13 w 10022"/>
                <a:gd name="connsiteY45" fmla="*/ 3647 h 10000"/>
                <a:gd name="connsiteX46" fmla="*/ 13 w 10022"/>
                <a:gd name="connsiteY46" fmla="*/ 3641 h 10000"/>
                <a:gd name="connsiteX47" fmla="*/ 0 w 10022"/>
                <a:gd name="connsiteY47" fmla="*/ 2351 h 10000"/>
                <a:gd name="connsiteX48" fmla="*/ 4408 w 10022"/>
                <a:gd name="connsiteY48" fmla="*/ 2345 h 10000"/>
                <a:gd name="connsiteX49" fmla="*/ 4439 w 10022"/>
                <a:gd name="connsiteY49" fmla="*/ 1764 h 10000"/>
                <a:gd name="connsiteX50" fmla="*/ 4466 w 10022"/>
                <a:gd name="connsiteY50" fmla="*/ 1291 h 10000"/>
                <a:gd name="connsiteX51" fmla="*/ 4484 w 10022"/>
                <a:gd name="connsiteY51" fmla="*/ 941 h 10000"/>
                <a:gd name="connsiteX52" fmla="*/ 4516 w 10022"/>
                <a:gd name="connsiteY52" fmla="*/ 770 h 10000"/>
                <a:gd name="connsiteX53" fmla="*/ 4538 w 10022"/>
                <a:gd name="connsiteY53" fmla="*/ 734 h 10000"/>
                <a:gd name="connsiteX54" fmla="*/ 4565 w 10022"/>
                <a:gd name="connsiteY54" fmla="*/ 716 h 10000"/>
                <a:gd name="connsiteX55" fmla="*/ 4596 w 10022"/>
                <a:gd name="connsiteY55" fmla="*/ 687 h 10000"/>
                <a:gd name="connsiteX56" fmla="*/ 4632 w 10022"/>
                <a:gd name="connsiteY56" fmla="*/ 675 h 10000"/>
                <a:gd name="connsiteX57" fmla="*/ 4668 w 10022"/>
                <a:gd name="connsiteY57" fmla="*/ 663 h 10000"/>
                <a:gd name="connsiteX58" fmla="*/ 4704 w 10022"/>
                <a:gd name="connsiteY58" fmla="*/ 645 h 10000"/>
                <a:gd name="connsiteX59" fmla="*/ 4740 w 10022"/>
                <a:gd name="connsiteY59" fmla="*/ 639 h 10000"/>
                <a:gd name="connsiteX60" fmla="*/ 4767 w 10022"/>
                <a:gd name="connsiteY60" fmla="*/ 639 h 10000"/>
                <a:gd name="connsiteX61" fmla="*/ 4780 w 10022"/>
                <a:gd name="connsiteY61" fmla="*/ 586 h 10000"/>
                <a:gd name="connsiteX62" fmla="*/ 4789 w 10022"/>
                <a:gd name="connsiteY62" fmla="*/ 527 h 10000"/>
                <a:gd name="connsiteX63" fmla="*/ 4807 w 10022"/>
                <a:gd name="connsiteY63" fmla="*/ 480 h 10000"/>
                <a:gd name="connsiteX64" fmla="*/ 4816 w 10022"/>
                <a:gd name="connsiteY64" fmla="*/ 432 h 10000"/>
                <a:gd name="connsiteX65" fmla="*/ 3789 w 10022"/>
                <a:gd name="connsiteY65" fmla="*/ 432 h 10000"/>
                <a:gd name="connsiteX66" fmla="*/ 3789 w 10022"/>
                <a:gd name="connsiteY66" fmla="*/ 219 h 10000"/>
                <a:gd name="connsiteX67" fmla="*/ 4834 w 10022"/>
                <a:gd name="connsiteY67" fmla="*/ 219 h 10000"/>
                <a:gd name="connsiteX68" fmla="*/ 4857 w 10022"/>
                <a:gd name="connsiteY68" fmla="*/ 148 h 10000"/>
                <a:gd name="connsiteX69" fmla="*/ 4883 w 10022"/>
                <a:gd name="connsiteY69" fmla="*/ 77 h 10000"/>
                <a:gd name="connsiteX70" fmla="*/ 4910 w 10022"/>
                <a:gd name="connsiteY70" fmla="*/ 18 h 10000"/>
                <a:gd name="connsiteX71" fmla="*/ 4946 w 10022"/>
                <a:gd name="connsiteY71" fmla="*/ 0 h 10000"/>
                <a:gd name="connsiteX72" fmla="*/ 4982 w 10022"/>
                <a:gd name="connsiteY72" fmla="*/ 18 h 10000"/>
                <a:gd name="connsiteX73" fmla="*/ 5009 w 10022"/>
                <a:gd name="connsiteY73" fmla="*/ 77 h 10000"/>
                <a:gd name="connsiteX74" fmla="*/ 5031 w 10022"/>
                <a:gd name="connsiteY74" fmla="*/ 148 h 10000"/>
                <a:gd name="connsiteX75" fmla="*/ 5054 w 10022"/>
                <a:gd name="connsiteY75" fmla="*/ 219 h 10000"/>
                <a:gd name="connsiteX76" fmla="*/ 6135 w 10022"/>
                <a:gd name="connsiteY76" fmla="*/ 219 h 10000"/>
                <a:gd name="connsiteX77" fmla="*/ 6135 w 10022"/>
                <a:gd name="connsiteY77" fmla="*/ 432 h 10000"/>
                <a:gd name="connsiteX78" fmla="*/ 5076 w 10022"/>
                <a:gd name="connsiteY78" fmla="*/ 432 h 10000"/>
                <a:gd name="connsiteX79" fmla="*/ 5085 w 10022"/>
                <a:gd name="connsiteY79" fmla="*/ 480 h 10000"/>
                <a:gd name="connsiteX80" fmla="*/ 5099 w 10022"/>
                <a:gd name="connsiteY80" fmla="*/ 527 h 10000"/>
                <a:gd name="connsiteX81" fmla="*/ 5112 w 10022"/>
                <a:gd name="connsiteY81" fmla="*/ 586 h 10000"/>
                <a:gd name="connsiteX82" fmla="*/ 5126 w 10022"/>
                <a:gd name="connsiteY82" fmla="*/ 639 h 10000"/>
                <a:gd name="connsiteX83" fmla="*/ 5152 w 10022"/>
                <a:gd name="connsiteY83" fmla="*/ 639 h 10000"/>
                <a:gd name="connsiteX84" fmla="*/ 5188 w 10022"/>
                <a:gd name="connsiteY84" fmla="*/ 645 h 10000"/>
                <a:gd name="connsiteX85" fmla="*/ 5224 w 10022"/>
                <a:gd name="connsiteY85" fmla="*/ 663 h 10000"/>
                <a:gd name="connsiteX86" fmla="*/ 5260 w 10022"/>
                <a:gd name="connsiteY86" fmla="*/ 675 h 10000"/>
                <a:gd name="connsiteX87" fmla="*/ 5296 w 10022"/>
                <a:gd name="connsiteY87" fmla="*/ 687 h 10000"/>
                <a:gd name="connsiteX88" fmla="*/ 5332 w 10022"/>
                <a:gd name="connsiteY88" fmla="*/ 716 h 10000"/>
                <a:gd name="connsiteX89" fmla="*/ 5363 w 10022"/>
                <a:gd name="connsiteY89" fmla="*/ 734 h 10000"/>
                <a:gd name="connsiteX90" fmla="*/ 5390 w 10022"/>
                <a:gd name="connsiteY90" fmla="*/ 770 h 10000"/>
                <a:gd name="connsiteX91" fmla="*/ 5413 w 10022"/>
                <a:gd name="connsiteY91" fmla="*/ 941 h 10000"/>
                <a:gd name="connsiteX92" fmla="*/ 5435 w 10022"/>
                <a:gd name="connsiteY92" fmla="*/ 1297 h 10000"/>
                <a:gd name="connsiteX93" fmla="*/ 5462 w 10022"/>
                <a:gd name="connsiteY93" fmla="*/ 1794 h 10000"/>
                <a:gd name="connsiteX94" fmla="*/ 5489 w 10022"/>
                <a:gd name="connsiteY94" fmla="*/ 2404 h 10000"/>
                <a:gd name="connsiteX95" fmla="*/ 10021 w 10022"/>
                <a:gd name="connsiteY95" fmla="*/ 2416 h 10000"/>
                <a:gd name="connsiteX96" fmla="*/ 10000 w 10022"/>
                <a:gd name="connsiteY96" fmla="*/ 3410 h 10000"/>
                <a:gd name="connsiteX97" fmla="*/ 9978 w 10022"/>
                <a:gd name="connsiteY97" fmla="*/ 3529 h 10000"/>
                <a:gd name="connsiteX98" fmla="*/ 9946 w 10022"/>
                <a:gd name="connsiteY98" fmla="*/ 3623 h 10000"/>
                <a:gd name="connsiteX99" fmla="*/ 9901 w 10022"/>
                <a:gd name="connsiteY99" fmla="*/ 3694 h 10000"/>
                <a:gd name="connsiteX100" fmla="*/ 9852 w 10022"/>
                <a:gd name="connsiteY100" fmla="*/ 3760 h 10000"/>
                <a:gd name="connsiteX101" fmla="*/ 9798 w 10022"/>
                <a:gd name="connsiteY101" fmla="*/ 3807 h 10000"/>
                <a:gd name="connsiteX102" fmla="*/ 9753 w 10022"/>
                <a:gd name="connsiteY102" fmla="*/ 3843 h 10000"/>
                <a:gd name="connsiteX103" fmla="*/ 9722 w 10022"/>
                <a:gd name="connsiteY103" fmla="*/ 3860 h 10000"/>
                <a:gd name="connsiteX104" fmla="*/ 9709 w 10022"/>
                <a:gd name="connsiteY104"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511 w 10022"/>
                <a:gd name="connsiteY33" fmla="*/ 4044 h 10000"/>
                <a:gd name="connsiteX34" fmla="*/ 502 w 10022"/>
                <a:gd name="connsiteY34" fmla="*/ 4044 h 10000"/>
                <a:gd name="connsiteX35" fmla="*/ 471 w 10022"/>
                <a:gd name="connsiteY35" fmla="*/ 4032 h 10000"/>
                <a:gd name="connsiteX36" fmla="*/ 386 w 10022"/>
                <a:gd name="connsiteY36" fmla="*/ 3996 h 10000"/>
                <a:gd name="connsiteX37" fmla="*/ 300 w 10022"/>
                <a:gd name="connsiteY37" fmla="*/ 3967 h 10000"/>
                <a:gd name="connsiteX38" fmla="*/ 269 w 10022"/>
                <a:gd name="connsiteY38" fmla="*/ 3955 h 10000"/>
                <a:gd name="connsiteX39" fmla="*/ 260 w 10022"/>
                <a:gd name="connsiteY39" fmla="*/ 3955 h 10000"/>
                <a:gd name="connsiteX40" fmla="*/ 126 w 10022"/>
                <a:gd name="connsiteY40" fmla="*/ 3860 h 10000"/>
                <a:gd name="connsiteX41" fmla="*/ 76 w 10022"/>
                <a:gd name="connsiteY41" fmla="*/ 3813 h 10000"/>
                <a:gd name="connsiteX42" fmla="*/ 54 w 10022"/>
                <a:gd name="connsiteY42" fmla="*/ 3760 h 10000"/>
                <a:gd name="connsiteX43" fmla="*/ 22 w 10022"/>
                <a:gd name="connsiteY43" fmla="*/ 3677 h 10000"/>
                <a:gd name="connsiteX44" fmla="*/ 13 w 10022"/>
                <a:gd name="connsiteY44" fmla="*/ 3647 h 10000"/>
                <a:gd name="connsiteX45" fmla="*/ 13 w 10022"/>
                <a:gd name="connsiteY45" fmla="*/ 3641 h 10000"/>
                <a:gd name="connsiteX46" fmla="*/ 0 w 10022"/>
                <a:gd name="connsiteY46" fmla="*/ 2351 h 10000"/>
                <a:gd name="connsiteX47" fmla="*/ 4408 w 10022"/>
                <a:gd name="connsiteY47" fmla="*/ 2345 h 10000"/>
                <a:gd name="connsiteX48" fmla="*/ 4439 w 10022"/>
                <a:gd name="connsiteY48" fmla="*/ 1764 h 10000"/>
                <a:gd name="connsiteX49" fmla="*/ 4466 w 10022"/>
                <a:gd name="connsiteY49" fmla="*/ 1291 h 10000"/>
                <a:gd name="connsiteX50" fmla="*/ 4484 w 10022"/>
                <a:gd name="connsiteY50" fmla="*/ 941 h 10000"/>
                <a:gd name="connsiteX51" fmla="*/ 4516 w 10022"/>
                <a:gd name="connsiteY51" fmla="*/ 770 h 10000"/>
                <a:gd name="connsiteX52" fmla="*/ 4538 w 10022"/>
                <a:gd name="connsiteY52" fmla="*/ 734 h 10000"/>
                <a:gd name="connsiteX53" fmla="*/ 4565 w 10022"/>
                <a:gd name="connsiteY53" fmla="*/ 716 h 10000"/>
                <a:gd name="connsiteX54" fmla="*/ 4596 w 10022"/>
                <a:gd name="connsiteY54" fmla="*/ 687 h 10000"/>
                <a:gd name="connsiteX55" fmla="*/ 4632 w 10022"/>
                <a:gd name="connsiteY55" fmla="*/ 675 h 10000"/>
                <a:gd name="connsiteX56" fmla="*/ 4668 w 10022"/>
                <a:gd name="connsiteY56" fmla="*/ 663 h 10000"/>
                <a:gd name="connsiteX57" fmla="*/ 4704 w 10022"/>
                <a:gd name="connsiteY57" fmla="*/ 645 h 10000"/>
                <a:gd name="connsiteX58" fmla="*/ 4740 w 10022"/>
                <a:gd name="connsiteY58" fmla="*/ 639 h 10000"/>
                <a:gd name="connsiteX59" fmla="*/ 4767 w 10022"/>
                <a:gd name="connsiteY59" fmla="*/ 639 h 10000"/>
                <a:gd name="connsiteX60" fmla="*/ 4780 w 10022"/>
                <a:gd name="connsiteY60" fmla="*/ 586 h 10000"/>
                <a:gd name="connsiteX61" fmla="*/ 4789 w 10022"/>
                <a:gd name="connsiteY61" fmla="*/ 527 h 10000"/>
                <a:gd name="connsiteX62" fmla="*/ 4807 w 10022"/>
                <a:gd name="connsiteY62" fmla="*/ 480 h 10000"/>
                <a:gd name="connsiteX63" fmla="*/ 4816 w 10022"/>
                <a:gd name="connsiteY63" fmla="*/ 432 h 10000"/>
                <a:gd name="connsiteX64" fmla="*/ 3789 w 10022"/>
                <a:gd name="connsiteY64" fmla="*/ 432 h 10000"/>
                <a:gd name="connsiteX65" fmla="*/ 3789 w 10022"/>
                <a:gd name="connsiteY65" fmla="*/ 219 h 10000"/>
                <a:gd name="connsiteX66" fmla="*/ 4834 w 10022"/>
                <a:gd name="connsiteY66" fmla="*/ 219 h 10000"/>
                <a:gd name="connsiteX67" fmla="*/ 4857 w 10022"/>
                <a:gd name="connsiteY67" fmla="*/ 148 h 10000"/>
                <a:gd name="connsiteX68" fmla="*/ 4883 w 10022"/>
                <a:gd name="connsiteY68" fmla="*/ 77 h 10000"/>
                <a:gd name="connsiteX69" fmla="*/ 4910 w 10022"/>
                <a:gd name="connsiteY69" fmla="*/ 18 h 10000"/>
                <a:gd name="connsiteX70" fmla="*/ 4946 w 10022"/>
                <a:gd name="connsiteY70" fmla="*/ 0 h 10000"/>
                <a:gd name="connsiteX71" fmla="*/ 4982 w 10022"/>
                <a:gd name="connsiteY71" fmla="*/ 18 h 10000"/>
                <a:gd name="connsiteX72" fmla="*/ 5009 w 10022"/>
                <a:gd name="connsiteY72" fmla="*/ 77 h 10000"/>
                <a:gd name="connsiteX73" fmla="*/ 5031 w 10022"/>
                <a:gd name="connsiteY73" fmla="*/ 148 h 10000"/>
                <a:gd name="connsiteX74" fmla="*/ 5054 w 10022"/>
                <a:gd name="connsiteY74" fmla="*/ 219 h 10000"/>
                <a:gd name="connsiteX75" fmla="*/ 6135 w 10022"/>
                <a:gd name="connsiteY75" fmla="*/ 219 h 10000"/>
                <a:gd name="connsiteX76" fmla="*/ 6135 w 10022"/>
                <a:gd name="connsiteY76" fmla="*/ 432 h 10000"/>
                <a:gd name="connsiteX77" fmla="*/ 5076 w 10022"/>
                <a:gd name="connsiteY77" fmla="*/ 432 h 10000"/>
                <a:gd name="connsiteX78" fmla="*/ 5085 w 10022"/>
                <a:gd name="connsiteY78" fmla="*/ 480 h 10000"/>
                <a:gd name="connsiteX79" fmla="*/ 5099 w 10022"/>
                <a:gd name="connsiteY79" fmla="*/ 527 h 10000"/>
                <a:gd name="connsiteX80" fmla="*/ 5112 w 10022"/>
                <a:gd name="connsiteY80" fmla="*/ 586 h 10000"/>
                <a:gd name="connsiteX81" fmla="*/ 5126 w 10022"/>
                <a:gd name="connsiteY81" fmla="*/ 639 h 10000"/>
                <a:gd name="connsiteX82" fmla="*/ 5152 w 10022"/>
                <a:gd name="connsiteY82" fmla="*/ 639 h 10000"/>
                <a:gd name="connsiteX83" fmla="*/ 5188 w 10022"/>
                <a:gd name="connsiteY83" fmla="*/ 645 h 10000"/>
                <a:gd name="connsiteX84" fmla="*/ 5224 w 10022"/>
                <a:gd name="connsiteY84" fmla="*/ 663 h 10000"/>
                <a:gd name="connsiteX85" fmla="*/ 5260 w 10022"/>
                <a:gd name="connsiteY85" fmla="*/ 675 h 10000"/>
                <a:gd name="connsiteX86" fmla="*/ 5296 w 10022"/>
                <a:gd name="connsiteY86" fmla="*/ 687 h 10000"/>
                <a:gd name="connsiteX87" fmla="*/ 5332 w 10022"/>
                <a:gd name="connsiteY87" fmla="*/ 716 h 10000"/>
                <a:gd name="connsiteX88" fmla="*/ 5363 w 10022"/>
                <a:gd name="connsiteY88" fmla="*/ 734 h 10000"/>
                <a:gd name="connsiteX89" fmla="*/ 5390 w 10022"/>
                <a:gd name="connsiteY89" fmla="*/ 770 h 10000"/>
                <a:gd name="connsiteX90" fmla="*/ 5413 w 10022"/>
                <a:gd name="connsiteY90" fmla="*/ 941 h 10000"/>
                <a:gd name="connsiteX91" fmla="*/ 5435 w 10022"/>
                <a:gd name="connsiteY91" fmla="*/ 1297 h 10000"/>
                <a:gd name="connsiteX92" fmla="*/ 5462 w 10022"/>
                <a:gd name="connsiteY92" fmla="*/ 1794 h 10000"/>
                <a:gd name="connsiteX93" fmla="*/ 5489 w 10022"/>
                <a:gd name="connsiteY93" fmla="*/ 2404 h 10000"/>
                <a:gd name="connsiteX94" fmla="*/ 10021 w 10022"/>
                <a:gd name="connsiteY94" fmla="*/ 2416 h 10000"/>
                <a:gd name="connsiteX95" fmla="*/ 10000 w 10022"/>
                <a:gd name="connsiteY95" fmla="*/ 3410 h 10000"/>
                <a:gd name="connsiteX96" fmla="*/ 9978 w 10022"/>
                <a:gd name="connsiteY96" fmla="*/ 3529 h 10000"/>
                <a:gd name="connsiteX97" fmla="*/ 9946 w 10022"/>
                <a:gd name="connsiteY97" fmla="*/ 3623 h 10000"/>
                <a:gd name="connsiteX98" fmla="*/ 9901 w 10022"/>
                <a:gd name="connsiteY98" fmla="*/ 3694 h 10000"/>
                <a:gd name="connsiteX99" fmla="*/ 9852 w 10022"/>
                <a:gd name="connsiteY99" fmla="*/ 3760 h 10000"/>
                <a:gd name="connsiteX100" fmla="*/ 9798 w 10022"/>
                <a:gd name="connsiteY100" fmla="*/ 3807 h 10000"/>
                <a:gd name="connsiteX101" fmla="*/ 9753 w 10022"/>
                <a:gd name="connsiteY101" fmla="*/ 3843 h 10000"/>
                <a:gd name="connsiteX102" fmla="*/ 9722 w 10022"/>
                <a:gd name="connsiteY102" fmla="*/ 3860 h 10000"/>
                <a:gd name="connsiteX103" fmla="*/ 9709 w 10022"/>
                <a:gd name="connsiteY103"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511 w 10022"/>
                <a:gd name="connsiteY33" fmla="*/ 4044 h 10000"/>
                <a:gd name="connsiteX34" fmla="*/ 502 w 10022"/>
                <a:gd name="connsiteY34" fmla="*/ 4044 h 10000"/>
                <a:gd name="connsiteX35" fmla="*/ 386 w 10022"/>
                <a:gd name="connsiteY35" fmla="*/ 3996 h 10000"/>
                <a:gd name="connsiteX36" fmla="*/ 300 w 10022"/>
                <a:gd name="connsiteY36" fmla="*/ 3967 h 10000"/>
                <a:gd name="connsiteX37" fmla="*/ 269 w 10022"/>
                <a:gd name="connsiteY37" fmla="*/ 3955 h 10000"/>
                <a:gd name="connsiteX38" fmla="*/ 260 w 10022"/>
                <a:gd name="connsiteY38" fmla="*/ 3955 h 10000"/>
                <a:gd name="connsiteX39" fmla="*/ 126 w 10022"/>
                <a:gd name="connsiteY39" fmla="*/ 3860 h 10000"/>
                <a:gd name="connsiteX40" fmla="*/ 76 w 10022"/>
                <a:gd name="connsiteY40" fmla="*/ 3813 h 10000"/>
                <a:gd name="connsiteX41" fmla="*/ 54 w 10022"/>
                <a:gd name="connsiteY41" fmla="*/ 3760 h 10000"/>
                <a:gd name="connsiteX42" fmla="*/ 22 w 10022"/>
                <a:gd name="connsiteY42" fmla="*/ 3677 h 10000"/>
                <a:gd name="connsiteX43" fmla="*/ 13 w 10022"/>
                <a:gd name="connsiteY43" fmla="*/ 3647 h 10000"/>
                <a:gd name="connsiteX44" fmla="*/ 13 w 10022"/>
                <a:gd name="connsiteY44" fmla="*/ 3641 h 10000"/>
                <a:gd name="connsiteX45" fmla="*/ 0 w 10022"/>
                <a:gd name="connsiteY45" fmla="*/ 2351 h 10000"/>
                <a:gd name="connsiteX46" fmla="*/ 4408 w 10022"/>
                <a:gd name="connsiteY46" fmla="*/ 2345 h 10000"/>
                <a:gd name="connsiteX47" fmla="*/ 4439 w 10022"/>
                <a:gd name="connsiteY47" fmla="*/ 1764 h 10000"/>
                <a:gd name="connsiteX48" fmla="*/ 4466 w 10022"/>
                <a:gd name="connsiteY48" fmla="*/ 1291 h 10000"/>
                <a:gd name="connsiteX49" fmla="*/ 4484 w 10022"/>
                <a:gd name="connsiteY49" fmla="*/ 941 h 10000"/>
                <a:gd name="connsiteX50" fmla="*/ 4516 w 10022"/>
                <a:gd name="connsiteY50" fmla="*/ 770 h 10000"/>
                <a:gd name="connsiteX51" fmla="*/ 4538 w 10022"/>
                <a:gd name="connsiteY51" fmla="*/ 734 h 10000"/>
                <a:gd name="connsiteX52" fmla="*/ 4565 w 10022"/>
                <a:gd name="connsiteY52" fmla="*/ 716 h 10000"/>
                <a:gd name="connsiteX53" fmla="*/ 4596 w 10022"/>
                <a:gd name="connsiteY53" fmla="*/ 687 h 10000"/>
                <a:gd name="connsiteX54" fmla="*/ 4632 w 10022"/>
                <a:gd name="connsiteY54" fmla="*/ 675 h 10000"/>
                <a:gd name="connsiteX55" fmla="*/ 4668 w 10022"/>
                <a:gd name="connsiteY55" fmla="*/ 663 h 10000"/>
                <a:gd name="connsiteX56" fmla="*/ 4704 w 10022"/>
                <a:gd name="connsiteY56" fmla="*/ 645 h 10000"/>
                <a:gd name="connsiteX57" fmla="*/ 4740 w 10022"/>
                <a:gd name="connsiteY57" fmla="*/ 639 h 10000"/>
                <a:gd name="connsiteX58" fmla="*/ 4767 w 10022"/>
                <a:gd name="connsiteY58" fmla="*/ 639 h 10000"/>
                <a:gd name="connsiteX59" fmla="*/ 4780 w 10022"/>
                <a:gd name="connsiteY59" fmla="*/ 586 h 10000"/>
                <a:gd name="connsiteX60" fmla="*/ 4789 w 10022"/>
                <a:gd name="connsiteY60" fmla="*/ 527 h 10000"/>
                <a:gd name="connsiteX61" fmla="*/ 4807 w 10022"/>
                <a:gd name="connsiteY61" fmla="*/ 480 h 10000"/>
                <a:gd name="connsiteX62" fmla="*/ 4816 w 10022"/>
                <a:gd name="connsiteY62" fmla="*/ 432 h 10000"/>
                <a:gd name="connsiteX63" fmla="*/ 3789 w 10022"/>
                <a:gd name="connsiteY63" fmla="*/ 432 h 10000"/>
                <a:gd name="connsiteX64" fmla="*/ 3789 w 10022"/>
                <a:gd name="connsiteY64" fmla="*/ 219 h 10000"/>
                <a:gd name="connsiteX65" fmla="*/ 4834 w 10022"/>
                <a:gd name="connsiteY65" fmla="*/ 219 h 10000"/>
                <a:gd name="connsiteX66" fmla="*/ 4857 w 10022"/>
                <a:gd name="connsiteY66" fmla="*/ 148 h 10000"/>
                <a:gd name="connsiteX67" fmla="*/ 4883 w 10022"/>
                <a:gd name="connsiteY67" fmla="*/ 77 h 10000"/>
                <a:gd name="connsiteX68" fmla="*/ 4910 w 10022"/>
                <a:gd name="connsiteY68" fmla="*/ 18 h 10000"/>
                <a:gd name="connsiteX69" fmla="*/ 4946 w 10022"/>
                <a:gd name="connsiteY69" fmla="*/ 0 h 10000"/>
                <a:gd name="connsiteX70" fmla="*/ 4982 w 10022"/>
                <a:gd name="connsiteY70" fmla="*/ 18 h 10000"/>
                <a:gd name="connsiteX71" fmla="*/ 5009 w 10022"/>
                <a:gd name="connsiteY71" fmla="*/ 77 h 10000"/>
                <a:gd name="connsiteX72" fmla="*/ 5031 w 10022"/>
                <a:gd name="connsiteY72" fmla="*/ 148 h 10000"/>
                <a:gd name="connsiteX73" fmla="*/ 5054 w 10022"/>
                <a:gd name="connsiteY73" fmla="*/ 219 h 10000"/>
                <a:gd name="connsiteX74" fmla="*/ 6135 w 10022"/>
                <a:gd name="connsiteY74" fmla="*/ 219 h 10000"/>
                <a:gd name="connsiteX75" fmla="*/ 6135 w 10022"/>
                <a:gd name="connsiteY75" fmla="*/ 432 h 10000"/>
                <a:gd name="connsiteX76" fmla="*/ 5076 w 10022"/>
                <a:gd name="connsiteY76" fmla="*/ 432 h 10000"/>
                <a:gd name="connsiteX77" fmla="*/ 5085 w 10022"/>
                <a:gd name="connsiteY77" fmla="*/ 480 h 10000"/>
                <a:gd name="connsiteX78" fmla="*/ 5099 w 10022"/>
                <a:gd name="connsiteY78" fmla="*/ 527 h 10000"/>
                <a:gd name="connsiteX79" fmla="*/ 5112 w 10022"/>
                <a:gd name="connsiteY79" fmla="*/ 586 h 10000"/>
                <a:gd name="connsiteX80" fmla="*/ 5126 w 10022"/>
                <a:gd name="connsiteY80" fmla="*/ 639 h 10000"/>
                <a:gd name="connsiteX81" fmla="*/ 5152 w 10022"/>
                <a:gd name="connsiteY81" fmla="*/ 639 h 10000"/>
                <a:gd name="connsiteX82" fmla="*/ 5188 w 10022"/>
                <a:gd name="connsiteY82" fmla="*/ 645 h 10000"/>
                <a:gd name="connsiteX83" fmla="*/ 5224 w 10022"/>
                <a:gd name="connsiteY83" fmla="*/ 663 h 10000"/>
                <a:gd name="connsiteX84" fmla="*/ 5260 w 10022"/>
                <a:gd name="connsiteY84" fmla="*/ 675 h 10000"/>
                <a:gd name="connsiteX85" fmla="*/ 5296 w 10022"/>
                <a:gd name="connsiteY85" fmla="*/ 687 h 10000"/>
                <a:gd name="connsiteX86" fmla="*/ 5332 w 10022"/>
                <a:gd name="connsiteY86" fmla="*/ 716 h 10000"/>
                <a:gd name="connsiteX87" fmla="*/ 5363 w 10022"/>
                <a:gd name="connsiteY87" fmla="*/ 734 h 10000"/>
                <a:gd name="connsiteX88" fmla="*/ 5390 w 10022"/>
                <a:gd name="connsiteY88" fmla="*/ 770 h 10000"/>
                <a:gd name="connsiteX89" fmla="*/ 5413 w 10022"/>
                <a:gd name="connsiteY89" fmla="*/ 941 h 10000"/>
                <a:gd name="connsiteX90" fmla="*/ 5435 w 10022"/>
                <a:gd name="connsiteY90" fmla="*/ 1297 h 10000"/>
                <a:gd name="connsiteX91" fmla="*/ 5462 w 10022"/>
                <a:gd name="connsiteY91" fmla="*/ 1794 h 10000"/>
                <a:gd name="connsiteX92" fmla="*/ 5489 w 10022"/>
                <a:gd name="connsiteY92" fmla="*/ 2404 h 10000"/>
                <a:gd name="connsiteX93" fmla="*/ 10021 w 10022"/>
                <a:gd name="connsiteY93" fmla="*/ 2416 h 10000"/>
                <a:gd name="connsiteX94" fmla="*/ 10000 w 10022"/>
                <a:gd name="connsiteY94" fmla="*/ 3410 h 10000"/>
                <a:gd name="connsiteX95" fmla="*/ 9978 w 10022"/>
                <a:gd name="connsiteY95" fmla="*/ 3529 h 10000"/>
                <a:gd name="connsiteX96" fmla="*/ 9946 w 10022"/>
                <a:gd name="connsiteY96" fmla="*/ 3623 h 10000"/>
                <a:gd name="connsiteX97" fmla="*/ 9901 w 10022"/>
                <a:gd name="connsiteY97" fmla="*/ 3694 h 10000"/>
                <a:gd name="connsiteX98" fmla="*/ 9852 w 10022"/>
                <a:gd name="connsiteY98" fmla="*/ 3760 h 10000"/>
                <a:gd name="connsiteX99" fmla="*/ 9798 w 10022"/>
                <a:gd name="connsiteY99" fmla="*/ 3807 h 10000"/>
                <a:gd name="connsiteX100" fmla="*/ 9753 w 10022"/>
                <a:gd name="connsiteY100" fmla="*/ 3843 h 10000"/>
                <a:gd name="connsiteX101" fmla="*/ 9722 w 10022"/>
                <a:gd name="connsiteY101" fmla="*/ 3860 h 10000"/>
                <a:gd name="connsiteX102" fmla="*/ 9709 w 10022"/>
                <a:gd name="connsiteY102"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511 w 10022"/>
                <a:gd name="connsiteY33" fmla="*/ 4044 h 10000"/>
                <a:gd name="connsiteX34" fmla="*/ 386 w 10022"/>
                <a:gd name="connsiteY34" fmla="*/ 3996 h 10000"/>
                <a:gd name="connsiteX35" fmla="*/ 300 w 10022"/>
                <a:gd name="connsiteY35" fmla="*/ 3967 h 10000"/>
                <a:gd name="connsiteX36" fmla="*/ 269 w 10022"/>
                <a:gd name="connsiteY36" fmla="*/ 3955 h 10000"/>
                <a:gd name="connsiteX37" fmla="*/ 260 w 10022"/>
                <a:gd name="connsiteY37" fmla="*/ 3955 h 10000"/>
                <a:gd name="connsiteX38" fmla="*/ 126 w 10022"/>
                <a:gd name="connsiteY38" fmla="*/ 3860 h 10000"/>
                <a:gd name="connsiteX39" fmla="*/ 76 w 10022"/>
                <a:gd name="connsiteY39" fmla="*/ 3813 h 10000"/>
                <a:gd name="connsiteX40" fmla="*/ 54 w 10022"/>
                <a:gd name="connsiteY40" fmla="*/ 3760 h 10000"/>
                <a:gd name="connsiteX41" fmla="*/ 22 w 10022"/>
                <a:gd name="connsiteY41" fmla="*/ 3677 h 10000"/>
                <a:gd name="connsiteX42" fmla="*/ 13 w 10022"/>
                <a:gd name="connsiteY42" fmla="*/ 3647 h 10000"/>
                <a:gd name="connsiteX43" fmla="*/ 13 w 10022"/>
                <a:gd name="connsiteY43" fmla="*/ 3641 h 10000"/>
                <a:gd name="connsiteX44" fmla="*/ 0 w 10022"/>
                <a:gd name="connsiteY44" fmla="*/ 2351 h 10000"/>
                <a:gd name="connsiteX45" fmla="*/ 4408 w 10022"/>
                <a:gd name="connsiteY45" fmla="*/ 2345 h 10000"/>
                <a:gd name="connsiteX46" fmla="*/ 4439 w 10022"/>
                <a:gd name="connsiteY46" fmla="*/ 1764 h 10000"/>
                <a:gd name="connsiteX47" fmla="*/ 4466 w 10022"/>
                <a:gd name="connsiteY47" fmla="*/ 1291 h 10000"/>
                <a:gd name="connsiteX48" fmla="*/ 4484 w 10022"/>
                <a:gd name="connsiteY48" fmla="*/ 941 h 10000"/>
                <a:gd name="connsiteX49" fmla="*/ 4516 w 10022"/>
                <a:gd name="connsiteY49" fmla="*/ 770 h 10000"/>
                <a:gd name="connsiteX50" fmla="*/ 4538 w 10022"/>
                <a:gd name="connsiteY50" fmla="*/ 734 h 10000"/>
                <a:gd name="connsiteX51" fmla="*/ 4565 w 10022"/>
                <a:gd name="connsiteY51" fmla="*/ 716 h 10000"/>
                <a:gd name="connsiteX52" fmla="*/ 4596 w 10022"/>
                <a:gd name="connsiteY52" fmla="*/ 687 h 10000"/>
                <a:gd name="connsiteX53" fmla="*/ 4632 w 10022"/>
                <a:gd name="connsiteY53" fmla="*/ 675 h 10000"/>
                <a:gd name="connsiteX54" fmla="*/ 4668 w 10022"/>
                <a:gd name="connsiteY54" fmla="*/ 663 h 10000"/>
                <a:gd name="connsiteX55" fmla="*/ 4704 w 10022"/>
                <a:gd name="connsiteY55" fmla="*/ 645 h 10000"/>
                <a:gd name="connsiteX56" fmla="*/ 4740 w 10022"/>
                <a:gd name="connsiteY56" fmla="*/ 639 h 10000"/>
                <a:gd name="connsiteX57" fmla="*/ 4767 w 10022"/>
                <a:gd name="connsiteY57" fmla="*/ 639 h 10000"/>
                <a:gd name="connsiteX58" fmla="*/ 4780 w 10022"/>
                <a:gd name="connsiteY58" fmla="*/ 586 h 10000"/>
                <a:gd name="connsiteX59" fmla="*/ 4789 w 10022"/>
                <a:gd name="connsiteY59" fmla="*/ 527 h 10000"/>
                <a:gd name="connsiteX60" fmla="*/ 4807 w 10022"/>
                <a:gd name="connsiteY60" fmla="*/ 480 h 10000"/>
                <a:gd name="connsiteX61" fmla="*/ 4816 w 10022"/>
                <a:gd name="connsiteY61" fmla="*/ 432 h 10000"/>
                <a:gd name="connsiteX62" fmla="*/ 3789 w 10022"/>
                <a:gd name="connsiteY62" fmla="*/ 432 h 10000"/>
                <a:gd name="connsiteX63" fmla="*/ 3789 w 10022"/>
                <a:gd name="connsiteY63" fmla="*/ 219 h 10000"/>
                <a:gd name="connsiteX64" fmla="*/ 4834 w 10022"/>
                <a:gd name="connsiteY64" fmla="*/ 219 h 10000"/>
                <a:gd name="connsiteX65" fmla="*/ 4857 w 10022"/>
                <a:gd name="connsiteY65" fmla="*/ 148 h 10000"/>
                <a:gd name="connsiteX66" fmla="*/ 4883 w 10022"/>
                <a:gd name="connsiteY66" fmla="*/ 77 h 10000"/>
                <a:gd name="connsiteX67" fmla="*/ 4910 w 10022"/>
                <a:gd name="connsiteY67" fmla="*/ 18 h 10000"/>
                <a:gd name="connsiteX68" fmla="*/ 4946 w 10022"/>
                <a:gd name="connsiteY68" fmla="*/ 0 h 10000"/>
                <a:gd name="connsiteX69" fmla="*/ 4982 w 10022"/>
                <a:gd name="connsiteY69" fmla="*/ 18 h 10000"/>
                <a:gd name="connsiteX70" fmla="*/ 5009 w 10022"/>
                <a:gd name="connsiteY70" fmla="*/ 77 h 10000"/>
                <a:gd name="connsiteX71" fmla="*/ 5031 w 10022"/>
                <a:gd name="connsiteY71" fmla="*/ 148 h 10000"/>
                <a:gd name="connsiteX72" fmla="*/ 5054 w 10022"/>
                <a:gd name="connsiteY72" fmla="*/ 219 h 10000"/>
                <a:gd name="connsiteX73" fmla="*/ 6135 w 10022"/>
                <a:gd name="connsiteY73" fmla="*/ 219 h 10000"/>
                <a:gd name="connsiteX74" fmla="*/ 6135 w 10022"/>
                <a:gd name="connsiteY74" fmla="*/ 432 h 10000"/>
                <a:gd name="connsiteX75" fmla="*/ 5076 w 10022"/>
                <a:gd name="connsiteY75" fmla="*/ 432 h 10000"/>
                <a:gd name="connsiteX76" fmla="*/ 5085 w 10022"/>
                <a:gd name="connsiteY76" fmla="*/ 480 h 10000"/>
                <a:gd name="connsiteX77" fmla="*/ 5099 w 10022"/>
                <a:gd name="connsiteY77" fmla="*/ 527 h 10000"/>
                <a:gd name="connsiteX78" fmla="*/ 5112 w 10022"/>
                <a:gd name="connsiteY78" fmla="*/ 586 h 10000"/>
                <a:gd name="connsiteX79" fmla="*/ 5126 w 10022"/>
                <a:gd name="connsiteY79" fmla="*/ 639 h 10000"/>
                <a:gd name="connsiteX80" fmla="*/ 5152 w 10022"/>
                <a:gd name="connsiteY80" fmla="*/ 639 h 10000"/>
                <a:gd name="connsiteX81" fmla="*/ 5188 w 10022"/>
                <a:gd name="connsiteY81" fmla="*/ 645 h 10000"/>
                <a:gd name="connsiteX82" fmla="*/ 5224 w 10022"/>
                <a:gd name="connsiteY82" fmla="*/ 663 h 10000"/>
                <a:gd name="connsiteX83" fmla="*/ 5260 w 10022"/>
                <a:gd name="connsiteY83" fmla="*/ 675 h 10000"/>
                <a:gd name="connsiteX84" fmla="*/ 5296 w 10022"/>
                <a:gd name="connsiteY84" fmla="*/ 687 h 10000"/>
                <a:gd name="connsiteX85" fmla="*/ 5332 w 10022"/>
                <a:gd name="connsiteY85" fmla="*/ 716 h 10000"/>
                <a:gd name="connsiteX86" fmla="*/ 5363 w 10022"/>
                <a:gd name="connsiteY86" fmla="*/ 734 h 10000"/>
                <a:gd name="connsiteX87" fmla="*/ 5390 w 10022"/>
                <a:gd name="connsiteY87" fmla="*/ 770 h 10000"/>
                <a:gd name="connsiteX88" fmla="*/ 5413 w 10022"/>
                <a:gd name="connsiteY88" fmla="*/ 941 h 10000"/>
                <a:gd name="connsiteX89" fmla="*/ 5435 w 10022"/>
                <a:gd name="connsiteY89" fmla="*/ 1297 h 10000"/>
                <a:gd name="connsiteX90" fmla="*/ 5462 w 10022"/>
                <a:gd name="connsiteY90" fmla="*/ 1794 h 10000"/>
                <a:gd name="connsiteX91" fmla="*/ 5489 w 10022"/>
                <a:gd name="connsiteY91" fmla="*/ 2404 h 10000"/>
                <a:gd name="connsiteX92" fmla="*/ 10021 w 10022"/>
                <a:gd name="connsiteY92" fmla="*/ 2416 h 10000"/>
                <a:gd name="connsiteX93" fmla="*/ 10000 w 10022"/>
                <a:gd name="connsiteY93" fmla="*/ 3410 h 10000"/>
                <a:gd name="connsiteX94" fmla="*/ 9978 w 10022"/>
                <a:gd name="connsiteY94" fmla="*/ 3529 h 10000"/>
                <a:gd name="connsiteX95" fmla="*/ 9946 w 10022"/>
                <a:gd name="connsiteY95" fmla="*/ 3623 h 10000"/>
                <a:gd name="connsiteX96" fmla="*/ 9901 w 10022"/>
                <a:gd name="connsiteY96" fmla="*/ 3694 h 10000"/>
                <a:gd name="connsiteX97" fmla="*/ 9852 w 10022"/>
                <a:gd name="connsiteY97" fmla="*/ 3760 h 10000"/>
                <a:gd name="connsiteX98" fmla="*/ 9798 w 10022"/>
                <a:gd name="connsiteY98" fmla="*/ 3807 h 10000"/>
                <a:gd name="connsiteX99" fmla="*/ 9753 w 10022"/>
                <a:gd name="connsiteY99" fmla="*/ 3843 h 10000"/>
                <a:gd name="connsiteX100" fmla="*/ 9722 w 10022"/>
                <a:gd name="connsiteY100" fmla="*/ 3860 h 10000"/>
                <a:gd name="connsiteX101" fmla="*/ 9709 w 10022"/>
                <a:gd name="connsiteY101"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386 w 10022"/>
                <a:gd name="connsiteY33" fmla="*/ 3996 h 10000"/>
                <a:gd name="connsiteX34" fmla="*/ 300 w 10022"/>
                <a:gd name="connsiteY34" fmla="*/ 3967 h 10000"/>
                <a:gd name="connsiteX35" fmla="*/ 269 w 10022"/>
                <a:gd name="connsiteY35" fmla="*/ 3955 h 10000"/>
                <a:gd name="connsiteX36" fmla="*/ 260 w 10022"/>
                <a:gd name="connsiteY36" fmla="*/ 3955 h 10000"/>
                <a:gd name="connsiteX37" fmla="*/ 126 w 10022"/>
                <a:gd name="connsiteY37" fmla="*/ 3860 h 10000"/>
                <a:gd name="connsiteX38" fmla="*/ 76 w 10022"/>
                <a:gd name="connsiteY38" fmla="*/ 3813 h 10000"/>
                <a:gd name="connsiteX39" fmla="*/ 54 w 10022"/>
                <a:gd name="connsiteY39" fmla="*/ 3760 h 10000"/>
                <a:gd name="connsiteX40" fmla="*/ 22 w 10022"/>
                <a:gd name="connsiteY40" fmla="*/ 3677 h 10000"/>
                <a:gd name="connsiteX41" fmla="*/ 13 w 10022"/>
                <a:gd name="connsiteY41" fmla="*/ 3647 h 10000"/>
                <a:gd name="connsiteX42" fmla="*/ 13 w 10022"/>
                <a:gd name="connsiteY42" fmla="*/ 3641 h 10000"/>
                <a:gd name="connsiteX43" fmla="*/ 0 w 10022"/>
                <a:gd name="connsiteY43" fmla="*/ 2351 h 10000"/>
                <a:gd name="connsiteX44" fmla="*/ 4408 w 10022"/>
                <a:gd name="connsiteY44" fmla="*/ 2345 h 10000"/>
                <a:gd name="connsiteX45" fmla="*/ 4439 w 10022"/>
                <a:gd name="connsiteY45" fmla="*/ 1764 h 10000"/>
                <a:gd name="connsiteX46" fmla="*/ 4466 w 10022"/>
                <a:gd name="connsiteY46" fmla="*/ 1291 h 10000"/>
                <a:gd name="connsiteX47" fmla="*/ 4484 w 10022"/>
                <a:gd name="connsiteY47" fmla="*/ 941 h 10000"/>
                <a:gd name="connsiteX48" fmla="*/ 4516 w 10022"/>
                <a:gd name="connsiteY48" fmla="*/ 770 h 10000"/>
                <a:gd name="connsiteX49" fmla="*/ 4538 w 10022"/>
                <a:gd name="connsiteY49" fmla="*/ 734 h 10000"/>
                <a:gd name="connsiteX50" fmla="*/ 4565 w 10022"/>
                <a:gd name="connsiteY50" fmla="*/ 716 h 10000"/>
                <a:gd name="connsiteX51" fmla="*/ 4596 w 10022"/>
                <a:gd name="connsiteY51" fmla="*/ 687 h 10000"/>
                <a:gd name="connsiteX52" fmla="*/ 4632 w 10022"/>
                <a:gd name="connsiteY52" fmla="*/ 675 h 10000"/>
                <a:gd name="connsiteX53" fmla="*/ 4668 w 10022"/>
                <a:gd name="connsiteY53" fmla="*/ 663 h 10000"/>
                <a:gd name="connsiteX54" fmla="*/ 4704 w 10022"/>
                <a:gd name="connsiteY54" fmla="*/ 645 h 10000"/>
                <a:gd name="connsiteX55" fmla="*/ 4740 w 10022"/>
                <a:gd name="connsiteY55" fmla="*/ 639 h 10000"/>
                <a:gd name="connsiteX56" fmla="*/ 4767 w 10022"/>
                <a:gd name="connsiteY56" fmla="*/ 639 h 10000"/>
                <a:gd name="connsiteX57" fmla="*/ 4780 w 10022"/>
                <a:gd name="connsiteY57" fmla="*/ 586 h 10000"/>
                <a:gd name="connsiteX58" fmla="*/ 4789 w 10022"/>
                <a:gd name="connsiteY58" fmla="*/ 527 h 10000"/>
                <a:gd name="connsiteX59" fmla="*/ 4807 w 10022"/>
                <a:gd name="connsiteY59" fmla="*/ 480 h 10000"/>
                <a:gd name="connsiteX60" fmla="*/ 4816 w 10022"/>
                <a:gd name="connsiteY60" fmla="*/ 432 h 10000"/>
                <a:gd name="connsiteX61" fmla="*/ 3789 w 10022"/>
                <a:gd name="connsiteY61" fmla="*/ 432 h 10000"/>
                <a:gd name="connsiteX62" fmla="*/ 3789 w 10022"/>
                <a:gd name="connsiteY62" fmla="*/ 219 h 10000"/>
                <a:gd name="connsiteX63" fmla="*/ 4834 w 10022"/>
                <a:gd name="connsiteY63" fmla="*/ 219 h 10000"/>
                <a:gd name="connsiteX64" fmla="*/ 4857 w 10022"/>
                <a:gd name="connsiteY64" fmla="*/ 148 h 10000"/>
                <a:gd name="connsiteX65" fmla="*/ 4883 w 10022"/>
                <a:gd name="connsiteY65" fmla="*/ 77 h 10000"/>
                <a:gd name="connsiteX66" fmla="*/ 4910 w 10022"/>
                <a:gd name="connsiteY66" fmla="*/ 18 h 10000"/>
                <a:gd name="connsiteX67" fmla="*/ 4946 w 10022"/>
                <a:gd name="connsiteY67" fmla="*/ 0 h 10000"/>
                <a:gd name="connsiteX68" fmla="*/ 4982 w 10022"/>
                <a:gd name="connsiteY68" fmla="*/ 18 h 10000"/>
                <a:gd name="connsiteX69" fmla="*/ 5009 w 10022"/>
                <a:gd name="connsiteY69" fmla="*/ 77 h 10000"/>
                <a:gd name="connsiteX70" fmla="*/ 5031 w 10022"/>
                <a:gd name="connsiteY70" fmla="*/ 148 h 10000"/>
                <a:gd name="connsiteX71" fmla="*/ 5054 w 10022"/>
                <a:gd name="connsiteY71" fmla="*/ 219 h 10000"/>
                <a:gd name="connsiteX72" fmla="*/ 6135 w 10022"/>
                <a:gd name="connsiteY72" fmla="*/ 219 h 10000"/>
                <a:gd name="connsiteX73" fmla="*/ 6135 w 10022"/>
                <a:gd name="connsiteY73" fmla="*/ 432 h 10000"/>
                <a:gd name="connsiteX74" fmla="*/ 5076 w 10022"/>
                <a:gd name="connsiteY74" fmla="*/ 432 h 10000"/>
                <a:gd name="connsiteX75" fmla="*/ 5085 w 10022"/>
                <a:gd name="connsiteY75" fmla="*/ 480 h 10000"/>
                <a:gd name="connsiteX76" fmla="*/ 5099 w 10022"/>
                <a:gd name="connsiteY76" fmla="*/ 527 h 10000"/>
                <a:gd name="connsiteX77" fmla="*/ 5112 w 10022"/>
                <a:gd name="connsiteY77" fmla="*/ 586 h 10000"/>
                <a:gd name="connsiteX78" fmla="*/ 5126 w 10022"/>
                <a:gd name="connsiteY78" fmla="*/ 639 h 10000"/>
                <a:gd name="connsiteX79" fmla="*/ 5152 w 10022"/>
                <a:gd name="connsiteY79" fmla="*/ 639 h 10000"/>
                <a:gd name="connsiteX80" fmla="*/ 5188 w 10022"/>
                <a:gd name="connsiteY80" fmla="*/ 645 h 10000"/>
                <a:gd name="connsiteX81" fmla="*/ 5224 w 10022"/>
                <a:gd name="connsiteY81" fmla="*/ 663 h 10000"/>
                <a:gd name="connsiteX82" fmla="*/ 5260 w 10022"/>
                <a:gd name="connsiteY82" fmla="*/ 675 h 10000"/>
                <a:gd name="connsiteX83" fmla="*/ 5296 w 10022"/>
                <a:gd name="connsiteY83" fmla="*/ 687 h 10000"/>
                <a:gd name="connsiteX84" fmla="*/ 5332 w 10022"/>
                <a:gd name="connsiteY84" fmla="*/ 716 h 10000"/>
                <a:gd name="connsiteX85" fmla="*/ 5363 w 10022"/>
                <a:gd name="connsiteY85" fmla="*/ 734 h 10000"/>
                <a:gd name="connsiteX86" fmla="*/ 5390 w 10022"/>
                <a:gd name="connsiteY86" fmla="*/ 770 h 10000"/>
                <a:gd name="connsiteX87" fmla="*/ 5413 w 10022"/>
                <a:gd name="connsiteY87" fmla="*/ 941 h 10000"/>
                <a:gd name="connsiteX88" fmla="*/ 5435 w 10022"/>
                <a:gd name="connsiteY88" fmla="*/ 1297 h 10000"/>
                <a:gd name="connsiteX89" fmla="*/ 5462 w 10022"/>
                <a:gd name="connsiteY89" fmla="*/ 1794 h 10000"/>
                <a:gd name="connsiteX90" fmla="*/ 5489 w 10022"/>
                <a:gd name="connsiteY90" fmla="*/ 2404 h 10000"/>
                <a:gd name="connsiteX91" fmla="*/ 10021 w 10022"/>
                <a:gd name="connsiteY91" fmla="*/ 2416 h 10000"/>
                <a:gd name="connsiteX92" fmla="*/ 10000 w 10022"/>
                <a:gd name="connsiteY92" fmla="*/ 3410 h 10000"/>
                <a:gd name="connsiteX93" fmla="*/ 9978 w 10022"/>
                <a:gd name="connsiteY93" fmla="*/ 3529 h 10000"/>
                <a:gd name="connsiteX94" fmla="*/ 9946 w 10022"/>
                <a:gd name="connsiteY94" fmla="*/ 3623 h 10000"/>
                <a:gd name="connsiteX95" fmla="*/ 9901 w 10022"/>
                <a:gd name="connsiteY95" fmla="*/ 3694 h 10000"/>
                <a:gd name="connsiteX96" fmla="*/ 9852 w 10022"/>
                <a:gd name="connsiteY96" fmla="*/ 3760 h 10000"/>
                <a:gd name="connsiteX97" fmla="*/ 9798 w 10022"/>
                <a:gd name="connsiteY97" fmla="*/ 3807 h 10000"/>
                <a:gd name="connsiteX98" fmla="*/ 9753 w 10022"/>
                <a:gd name="connsiteY98" fmla="*/ 3843 h 10000"/>
                <a:gd name="connsiteX99" fmla="*/ 9722 w 10022"/>
                <a:gd name="connsiteY99" fmla="*/ 3860 h 10000"/>
                <a:gd name="connsiteX100" fmla="*/ 9709 w 10022"/>
                <a:gd name="connsiteY100"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300 w 10022"/>
                <a:gd name="connsiteY33" fmla="*/ 3967 h 10000"/>
                <a:gd name="connsiteX34" fmla="*/ 269 w 10022"/>
                <a:gd name="connsiteY34" fmla="*/ 3955 h 10000"/>
                <a:gd name="connsiteX35" fmla="*/ 260 w 10022"/>
                <a:gd name="connsiteY35" fmla="*/ 3955 h 10000"/>
                <a:gd name="connsiteX36" fmla="*/ 126 w 10022"/>
                <a:gd name="connsiteY36" fmla="*/ 3860 h 10000"/>
                <a:gd name="connsiteX37" fmla="*/ 76 w 10022"/>
                <a:gd name="connsiteY37" fmla="*/ 3813 h 10000"/>
                <a:gd name="connsiteX38" fmla="*/ 54 w 10022"/>
                <a:gd name="connsiteY38" fmla="*/ 3760 h 10000"/>
                <a:gd name="connsiteX39" fmla="*/ 22 w 10022"/>
                <a:gd name="connsiteY39" fmla="*/ 3677 h 10000"/>
                <a:gd name="connsiteX40" fmla="*/ 13 w 10022"/>
                <a:gd name="connsiteY40" fmla="*/ 3647 h 10000"/>
                <a:gd name="connsiteX41" fmla="*/ 13 w 10022"/>
                <a:gd name="connsiteY41" fmla="*/ 3641 h 10000"/>
                <a:gd name="connsiteX42" fmla="*/ 0 w 10022"/>
                <a:gd name="connsiteY42" fmla="*/ 2351 h 10000"/>
                <a:gd name="connsiteX43" fmla="*/ 4408 w 10022"/>
                <a:gd name="connsiteY43" fmla="*/ 2345 h 10000"/>
                <a:gd name="connsiteX44" fmla="*/ 4439 w 10022"/>
                <a:gd name="connsiteY44" fmla="*/ 1764 h 10000"/>
                <a:gd name="connsiteX45" fmla="*/ 4466 w 10022"/>
                <a:gd name="connsiteY45" fmla="*/ 1291 h 10000"/>
                <a:gd name="connsiteX46" fmla="*/ 4484 w 10022"/>
                <a:gd name="connsiteY46" fmla="*/ 941 h 10000"/>
                <a:gd name="connsiteX47" fmla="*/ 4516 w 10022"/>
                <a:gd name="connsiteY47" fmla="*/ 770 h 10000"/>
                <a:gd name="connsiteX48" fmla="*/ 4538 w 10022"/>
                <a:gd name="connsiteY48" fmla="*/ 734 h 10000"/>
                <a:gd name="connsiteX49" fmla="*/ 4565 w 10022"/>
                <a:gd name="connsiteY49" fmla="*/ 716 h 10000"/>
                <a:gd name="connsiteX50" fmla="*/ 4596 w 10022"/>
                <a:gd name="connsiteY50" fmla="*/ 687 h 10000"/>
                <a:gd name="connsiteX51" fmla="*/ 4632 w 10022"/>
                <a:gd name="connsiteY51" fmla="*/ 675 h 10000"/>
                <a:gd name="connsiteX52" fmla="*/ 4668 w 10022"/>
                <a:gd name="connsiteY52" fmla="*/ 663 h 10000"/>
                <a:gd name="connsiteX53" fmla="*/ 4704 w 10022"/>
                <a:gd name="connsiteY53" fmla="*/ 645 h 10000"/>
                <a:gd name="connsiteX54" fmla="*/ 4740 w 10022"/>
                <a:gd name="connsiteY54" fmla="*/ 639 h 10000"/>
                <a:gd name="connsiteX55" fmla="*/ 4767 w 10022"/>
                <a:gd name="connsiteY55" fmla="*/ 639 h 10000"/>
                <a:gd name="connsiteX56" fmla="*/ 4780 w 10022"/>
                <a:gd name="connsiteY56" fmla="*/ 586 h 10000"/>
                <a:gd name="connsiteX57" fmla="*/ 4789 w 10022"/>
                <a:gd name="connsiteY57" fmla="*/ 527 h 10000"/>
                <a:gd name="connsiteX58" fmla="*/ 4807 w 10022"/>
                <a:gd name="connsiteY58" fmla="*/ 480 h 10000"/>
                <a:gd name="connsiteX59" fmla="*/ 4816 w 10022"/>
                <a:gd name="connsiteY59" fmla="*/ 432 h 10000"/>
                <a:gd name="connsiteX60" fmla="*/ 3789 w 10022"/>
                <a:gd name="connsiteY60" fmla="*/ 432 h 10000"/>
                <a:gd name="connsiteX61" fmla="*/ 3789 w 10022"/>
                <a:gd name="connsiteY61" fmla="*/ 219 h 10000"/>
                <a:gd name="connsiteX62" fmla="*/ 4834 w 10022"/>
                <a:gd name="connsiteY62" fmla="*/ 219 h 10000"/>
                <a:gd name="connsiteX63" fmla="*/ 4857 w 10022"/>
                <a:gd name="connsiteY63" fmla="*/ 148 h 10000"/>
                <a:gd name="connsiteX64" fmla="*/ 4883 w 10022"/>
                <a:gd name="connsiteY64" fmla="*/ 77 h 10000"/>
                <a:gd name="connsiteX65" fmla="*/ 4910 w 10022"/>
                <a:gd name="connsiteY65" fmla="*/ 18 h 10000"/>
                <a:gd name="connsiteX66" fmla="*/ 4946 w 10022"/>
                <a:gd name="connsiteY66" fmla="*/ 0 h 10000"/>
                <a:gd name="connsiteX67" fmla="*/ 4982 w 10022"/>
                <a:gd name="connsiteY67" fmla="*/ 18 h 10000"/>
                <a:gd name="connsiteX68" fmla="*/ 5009 w 10022"/>
                <a:gd name="connsiteY68" fmla="*/ 77 h 10000"/>
                <a:gd name="connsiteX69" fmla="*/ 5031 w 10022"/>
                <a:gd name="connsiteY69" fmla="*/ 148 h 10000"/>
                <a:gd name="connsiteX70" fmla="*/ 5054 w 10022"/>
                <a:gd name="connsiteY70" fmla="*/ 219 h 10000"/>
                <a:gd name="connsiteX71" fmla="*/ 6135 w 10022"/>
                <a:gd name="connsiteY71" fmla="*/ 219 h 10000"/>
                <a:gd name="connsiteX72" fmla="*/ 6135 w 10022"/>
                <a:gd name="connsiteY72" fmla="*/ 432 h 10000"/>
                <a:gd name="connsiteX73" fmla="*/ 5076 w 10022"/>
                <a:gd name="connsiteY73" fmla="*/ 432 h 10000"/>
                <a:gd name="connsiteX74" fmla="*/ 5085 w 10022"/>
                <a:gd name="connsiteY74" fmla="*/ 480 h 10000"/>
                <a:gd name="connsiteX75" fmla="*/ 5099 w 10022"/>
                <a:gd name="connsiteY75" fmla="*/ 527 h 10000"/>
                <a:gd name="connsiteX76" fmla="*/ 5112 w 10022"/>
                <a:gd name="connsiteY76" fmla="*/ 586 h 10000"/>
                <a:gd name="connsiteX77" fmla="*/ 5126 w 10022"/>
                <a:gd name="connsiteY77" fmla="*/ 639 h 10000"/>
                <a:gd name="connsiteX78" fmla="*/ 5152 w 10022"/>
                <a:gd name="connsiteY78" fmla="*/ 639 h 10000"/>
                <a:gd name="connsiteX79" fmla="*/ 5188 w 10022"/>
                <a:gd name="connsiteY79" fmla="*/ 645 h 10000"/>
                <a:gd name="connsiteX80" fmla="*/ 5224 w 10022"/>
                <a:gd name="connsiteY80" fmla="*/ 663 h 10000"/>
                <a:gd name="connsiteX81" fmla="*/ 5260 w 10022"/>
                <a:gd name="connsiteY81" fmla="*/ 675 h 10000"/>
                <a:gd name="connsiteX82" fmla="*/ 5296 w 10022"/>
                <a:gd name="connsiteY82" fmla="*/ 687 h 10000"/>
                <a:gd name="connsiteX83" fmla="*/ 5332 w 10022"/>
                <a:gd name="connsiteY83" fmla="*/ 716 h 10000"/>
                <a:gd name="connsiteX84" fmla="*/ 5363 w 10022"/>
                <a:gd name="connsiteY84" fmla="*/ 734 h 10000"/>
                <a:gd name="connsiteX85" fmla="*/ 5390 w 10022"/>
                <a:gd name="connsiteY85" fmla="*/ 770 h 10000"/>
                <a:gd name="connsiteX86" fmla="*/ 5413 w 10022"/>
                <a:gd name="connsiteY86" fmla="*/ 941 h 10000"/>
                <a:gd name="connsiteX87" fmla="*/ 5435 w 10022"/>
                <a:gd name="connsiteY87" fmla="*/ 1297 h 10000"/>
                <a:gd name="connsiteX88" fmla="*/ 5462 w 10022"/>
                <a:gd name="connsiteY88" fmla="*/ 1794 h 10000"/>
                <a:gd name="connsiteX89" fmla="*/ 5489 w 10022"/>
                <a:gd name="connsiteY89" fmla="*/ 2404 h 10000"/>
                <a:gd name="connsiteX90" fmla="*/ 10021 w 10022"/>
                <a:gd name="connsiteY90" fmla="*/ 2416 h 10000"/>
                <a:gd name="connsiteX91" fmla="*/ 10000 w 10022"/>
                <a:gd name="connsiteY91" fmla="*/ 3410 h 10000"/>
                <a:gd name="connsiteX92" fmla="*/ 9978 w 10022"/>
                <a:gd name="connsiteY92" fmla="*/ 3529 h 10000"/>
                <a:gd name="connsiteX93" fmla="*/ 9946 w 10022"/>
                <a:gd name="connsiteY93" fmla="*/ 3623 h 10000"/>
                <a:gd name="connsiteX94" fmla="*/ 9901 w 10022"/>
                <a:gd name="connsiteY94" fmla="*/ 3694 h 10000"/>
                <a:gd name="connsiteX95" fmla="*/ 9852 w 10022"/>
                <a:gd name="connsiteY95" fmla="*/ 3760 h 10000"/>
                <a:gd name="connsiteX96" fmla="*/ 9798 w 10022"/>
                <a:gd name="connsiteY96" fmla="*/ 3807 h 10000"/>
                <a:gd name="connsiteX97" fmla="*/ 9753 w 10022"/>
                <a:gd name="connsiteY97" fmla="*/ 3843 h 10000"/>
                <a:gd name="connsiteX98" fmla="*/ 9722 w 10022"/>
                <a:gd name="connsiteY98" fmla="*/ 3860 h 10000"/>
                <a:gd name="connsiteX99" fmla="*/ 9709 w 10022"/>
                <a:gd name="connsiteY99"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300 w 10022"/>
                <a:gd name="connsiteY33" fmla="*/ 3967 h 10000"/>
                <a:gd name="connsiteX34" fmla="*/ 269 w 10022"/>
                <a:gd name="connsiteY34" fmla="*/ 3955 h 10000"/>
                <a:gd name="connsiteX35" fmla="*/ 202 w 10022"/>
                <a:gd name="connsiteY35" fmla="*/ 3940 h 10000"/>
                <a:gd name="connsiteX36" fmla="*/ 126 w 10022"/>
                <a:gd name="connsiteY36" fmla="*/ 3860 h 10000"/>
                <a:gd name="connsiteX37" fmla="*/ 76 w 10022"/>
                <a:gd name="connsiteY37" fmla="*/ 3813 h 10000"/>
                <a:gd name="connsiteX38" fmla="*/ 54 w 10022"/>
                <a:gd name="connsiteY38" fmla="*/ 3760 h 10000"/>
                <a:gd name="connsiteX39" fmla="*/ 22 w 10022"/>
                <a:gd name="connsiteY39" fmla="*/ 3677 h 10000"/>
                <a:gd name="connsiteX40" fmla="*/ 13 w 10022"/>
                <a:gd name="connsiteY40" fmla="*/ 3647 h 10000"/>
                <a:gd name="connsiteX41" fmla="*/ 13 w 10022"/>
                <a:gd name="connsiteY41" fmla="*/ 3641 h 10000"/>
                <a:gd name="connsiteX42" fmla="*/ 0 w 10022"/>
                <a:gd name="connsiteY42" fmla="*/ 2351 h 10000"/>
                <a:gd name="connsiteX43" fmla="*/ 4408 w 10022"/>
                <a:gd name="connsiteY43" fmla="*/ 2345 h 10000"/>
                <a:gd name="connsiteX44" fmla="*/ 4439 w 10022"/>
                <a:gd name="connsiteY44" fmla="*/ 1764 h 10000"/>
                <a:gd name="connsiteX45" fmla="*/ 4466 w 10022"/>
                <a:gd name="connsiteY45" fmla="*/ 1291 h 10000"/>
                <a:gd name="connsiteX46" fmla="*/ 4484 w 10022"/>
                <a:gd name="connsiteY46" fmla="*/ 941 h 10000"/>
                <a:gd name="connsiteX47" fmla="*/ 4516 w 10022"/>
                <a:gd name="connsiteY47" fmla="*/ 770 h 10000"/>
                <a:gd name="connsiteX48" fmla="*/ 4538 w 10022"/>
                <a:gd name="connsiteY48" fmla="*/ 734 h 10000"/>
                <a:gd name="connsiteX49" fmla="*/ 4565 w 10022"/>
                <a:gd name="connsiteY49" fmla="*/ 716 h 10000"/>
                <a:gd name="connsiteX50" fmla="*/ 4596 w 10022"/>
                <a:gd name="connsiteY50" fmla="*/ 687 h 10000"/>
                <a:gd name="connsiteX51" fmla="*/ 4632 w 10022"/>
                <a:gd name="connsiteY51" fmla="*/ 675 h 10000"/>
                <a:gd name="connsiteX52" fmla="*/ 4668 w 10022"/>
                <a:gd name="connsiteY52" fmla="*/ 663 h 10000"/>
                <a:gd name="connsiteX53" fmla="*/ 4704 w 10022"/>
                <a:gd name="connsiteY53" fmla="*/ 645 h 10000"/>
                <a:gd name="connsiteX54" fmla="*/ 4740 w 10022"/>
                <a:gd name="connsiteY54" fmla="*/ 639 h 10000"/>
                <a:gd name="connsiteX55" fmla="*/ 4767 w 10022"/>
                <a:gd name="connsiteY55" fmla="*/ 639 h 10000"/>
                <a:gd name="connsiteX56" fmla="*/ 4780 w 10022"/>
                <a:gd name="connsiteY56" fmla="*/ 586 h 10000"/>
                <a:gd name="connsiteX57" fmla="*/ 4789 w 10022"/>
                <a:gd name="connsiteY57" fmla="*/ 527 h 10000"/>
                <a:gd name="connsiteX58" fmla="*/ 4807 w 10022"/>
                <a:gd name="connsiteY58" fmla="*/ 480 h 10000"/>
                <a:gd name="connsiteX59" fmla="*/ 4816 w 10022"/>
                <a:gd name="connsiteY59" fmla="*/ 432 h 10000"/>
                <a:gd name="connsiteX60" fmla="*/ 3789 w 10022"/>
                <a:gd name="connsiteY60" fmla="*/ 432 h 10000"/>
                <a:gd name="connsiteX61" fmla="*/ 3789 w 10022"/>
                <a:gd name="connsiteY61" fmla="*/ 219 h 10000"/>
                <a:gd name="connsiteX62" fmla="*/ 4834 w 10022"/>
                <a:gd name="connsiteY62" fmla="*/ 219 h 10000"/>
                <a:gd name="connsiteX63" fmla="*/ 4857 w 10022"/>
                <a:gd name="connsiteY63" fmla="*/ 148 h 10000"/>
                <a:gd name="connsiteX64" fmla="*/ 4883 w 10022"/>
                <a:gd name="connsiteY64" fmla="*/ 77 h 10000"/>
                <a:gd name="connsiteX65" fmla="*/ 4910 w 10022"/>
                <a:gd name="connsiteY65" fmla="*/ 18 h 10000"/>
                <a:gd name="connsiteX66" fmla="*/ 4946 w 10022"/>
                <a:gd name="connsiteY66" fmla="*/ 0 h 10000"/>
                <a:gd name="connsiteX67" fmla="*/ 4982 w 10022"/>
                <a:gd name="connsiteY67" fmla="*/ 18 h 10000"/>
                <a:gd name="connsiteX68" fmla="*/ 5009 w 10022"/>
                <a:gd name="connsiteY68" fmla="*/ 77 h 10000"/>
                <a:gd name="connsiteX69" fmla="*/ 5031 w 10022"/>
                <a:gd name="connsiteY69" fmla="*/ 148 h 10000"/>
                <a:gd name="connsiteX70" fmla="*/ 5054 w 10022"/>
                <a:gd name="connsiteY70" fmla="*/ 219 h 10000"/>
                <a:gd name="connsiteX71" fmla="*/ 6135 w 10022"/>
                <a:gd name="connsiteY71" fmla="*/ 219 h 10000"/>
                <a:gd name="connsiteX72" fmla="*/ 6135 w 10022"/>
                <a:gd name="connsiteY72" fmla="*/ 432 h 10000"/>
                <a:gd name="connsiteX73" fmla="*/ 5076 w 10022"/>
                <a:gd name="connsiteY73" fmla="*/ 432 h 10000"/>
                <a:gd name="connsiteX74" fmla="*/ 5085 w 10022"/>
                <a:gd name="connsiteY74" fmla="*/ 480 h 10000"/>
                <a:gd name="connsiteX75" fmla="*/ 5099 w 10022"/>
                <a:gd name="connsiteY75" fmla="*/ 527 h 10000"/>
                <a:gd name="connsiteX76" fmla="*/ 5112 w 10022"/>
                <a:gd name="connsiteY76" fmla="*/ 586 h 10000"/>
                <a:gd name="connsiteX77" fmla="*/ 5126 w 10022"/>
                <a:gd name="connsiteY77" fmla="*/ 639 h 10000"/>
                <a:gd name="connsiteX78" fmla="*/ 5152 w 10022"/>
                <a:gd name="connsiteY78" fmla="*/ 639 h 10000"/>
                <a:gd name="connsiteX79" fmla="*/ 5188 w 10022"/>
                <a:gd name="connsiteY79" fmla="*/ 645 h 10000"/>
                <a:gd name="connsiteX80" fmla="*/ 5224 w 10022"/>
                <a:gd name="connsiteY80" fmla="*/ 663 h 10000"/>
                <a:gd name="connsiteX81" fmla="*/ 5260 w 10022"/>
                <a:gd name="connsiteY81" fmla="*/ 675 h 10000"/>
                <a:gd name="connsiteX82" fmla="*/ 5296 w 10022"/>
                <a:gd name="connsiteY82" fmla="*/ 687 h 10000"/>
                <a:gd name="connsiteX83" fmla="*/ 5332 w 10022"/>
                <a:gd name="connsiteY83" fmla="*/ 716 h 10000"/>
                <a:gd name="connsiteX84" fmla="*/ 5363 w 10022"/>
                <a:gd name="connsiteY84" fmla="*/ 734 h 10000"/>
                <a:gd name="connsiteX85" fmla="*/ 5390 w 10022"/>
                <a:gd name="connsiteY85" fmla="*/ 770 h 10000"/>
                <a:gd name="connsiteX86" fmla="*/ 5413 w 10022"/>
                <a:gd name="connsiteY86" fmla="*/ 941 h 10000"/>
                <a:gd name="connsiteX87" fmla="*/ 5435 w 10022"/>
                <a:gd name="connsiteY87" fmla="*/ 1297 h 10000"/>
                <a:gd name="connsiteX88" fmla="*/ 5462 w 10022"/>
                <a:gd name="connsiteY88" fmla="*/ 1794 h 10000"/>
                <a:gd name="connsiteX89" fmla="*/ 5489 w 10022"/>
                <a:gd name="connsiteY89" fmla="*/ 2404 h 10000"/>
                <a:gd name="connsiteX90" fmla="*/ 10021 w 10022"/>
                <a:gd name="connsiteY90" fmla="*/ 2416 h 10000"/>
                <a:gd name="connsiteX91" fmla="*/ 10000 w 10022"/>
                <a:gd name="connsiteY91" fmla="*/ 3410 h 10000"/>
                <a:gd name="connsiteX92" fmla="*/ 9978 w 10022"/>
                <a:gd name="connsiteY92" fmla="*/ 3529 h 10000"/>
                <a:gd name="connsiteX93" fmla="*/ 9946 w 10022"/>
                <a:gd name="connsiteY93" fmla="*/ 3623 h 10000"/>
                <a:gd name="connsiteX94" fmla="*/ 9901 w 10022"/>
                <a:gd name="connsiteY94" fmla="*/ 3694 h 10000"/>
                <a:gd name="connsiteX95" fmla="*/ 9852 w 10022"/>
                <a:gd name="connsiteY95" fmla="*/ 3760 h 10000"/>
                <a:gd name="connsiteX96" fmla="*/ 9798 w 10022"/>
                <a:gd name="connsiteY96" fmla="*/ 3807 h 10000"/>
                <a:gd name="connsiteX97" fmla="*/ 9753 w 10022"/>
                <a:gd name="connsiteY97" fmla="*/ 3843 h 10000"/>
                <a:gd name="connsiteX98" fmla="*/ 9722 w 10022"/>
                <a:gd name="connsiteY98" fmla="*/ 3860 h 10000"/>
                <a:gd name="connsiteX99" fmla="*/ 9709 w 10022"/>
                <a:gd name="connsiteY99"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300 w 10022"/>
                <a:gd name="connsiteY33" fmla="*/ 3967 h 10000"/>
                <a:gd name="connsiteX34" fmla="*/ 269 w 10022"/>
                <a:gd name="connsiteY34" fmla="*/ 3955 h 10000"/>
                <a:gd name="connsiteX35" fmla="*/ 126 w 10022"/>
                <a:gd name="connsiteY35" fmla="*/ 3860 h 10000"/>
                <a:gd name="connsiteX36" fmla="*/ 76 w 10022"/>
                <a:gd name="connsiteY36" fmla="*/ 3813 h 10000"/>
                <a:gd name="connsiteX37" fmla="*/ 54 w 10022"/>
                <a:gd name="connsiteY37" fmla="*/ 3760 h 10000"/>
                <a:gd name="connsiteX38" fmla="*/ 22 w 10022"/>
                <a:gd name="connsiteY38" fmla="*/ 3677 h 10000"/>
                <a:gd name="connsiteX39" fmla="*/ 13 w 10022"/>
                <a:gd name="connsiteY39" fmla="*/ 3647 h 10000"/>
                <a:gd name="connsiteX40" fmla="*/ 13 w 10022"/>
                <a:gd name="connsiteY40" fmla="*/ 3641 h 10000"/>
                <a:gd name="connsiteX41" fmla="*/ 0 w 10022"/>
                <a:gd name="connsiteY41" fmla="*/ 2351 h 10000"/>
                <a:gd name="connsiteX42" fmla="*/ 4408 w 10022"/>
                <a:gd name="connsiteY42" fmla="*/ 2345 h 10000"/>
                <a:gd name="connsiteX43" fmla="*/ 4439 w 10022"/>
                <a:gd name="connsiteY43" fmla="*/ 1764 h 10000"/>
                <a:gd name="connsiteX44" fmla="*/ 4466 w 10022"/>
                <a:gd name="connsiteY44" fmla="*/ 1291 h 10000"/>
                <a:gd name="connsiteX45" fmla="*/ 4484 w 10022"/>
                <a:gd name="connsiteY45" fmla="*/ 941 h 10000"/>
                <a:gd name="connsiteX46" fmla="*/ 4516 w 10022"/>
                <a:gd name="connsiteY46" fmla="*/ 770 h 10000"/>
                <a:gd name="connsiteX47" fmla="*/ 4538 w 10022"/>
                <a:gd name="connsiteY47" fmla="*/ 734 h 10000"/>
                <a:gd name="connsiteX48" fmla="*/ 4565 w 10022"/>
                <a:gd name="connsiteY48" fmla="*/ 716 h 10000"/>
                <a:gd name="connsiteX49" fmla="*/ 4596 w 10022"/>
                <a:gd name="connsiteY49" fmla="*/ 687 h 10000"/>
                <a:gd name="connsiteX50" fmla="*/ 4632 w 10022"/>
                <a:gd name="connsiteY50" fmla="*/ 675 h 10000"/>
                <a:gd name="connsiteX51" fmla="*/ 4668 w 10022"/>
                <a:gd name="connsiteY51" fmla="*/ 663 h 10000"/>
                <a:gd name="connsiteX52" fmla="*/ 4704 w 10022"/>
                <a:gd name="connsiteY52" fmla="*/ 645 h 10000"/>
                <a:gd name="connsiteX53" fmla="*/ 4740 w 10022"/>
                <a:gd name="connsiteY53" fmla="*/ 639 h 10000"/>
                <a:gd name="connsiteX54" fmla="*/ 4767 w 10022"/>
                <a:gd name="connsiteY54" fmla="*/ 639 h 10000"/>
                <a:gd name="connsiteX55" fmla="*/ 4780 w 10022"/>
                <a:gd name="connsiteY55" fmla="*/ 586 h 10000"/>
                <a:gd name="connsiteX56" fmla="*/ 4789 w 10022"/>
                <a:gd name="connsiteY56" fmla="*/ 527 h 10000"/>
                <a:gd name="connsiteX57" fmla="*/ 4807 w 10022"/>
                <a:gd name="connsiteY57" fmla="*/ 480 h 10000"/>
                <a:gd name="connsiteX58" fmla="*/ 4816 w 10022"/>
                <a:gd name="connsiteY58" fmla="*/ 432 h 10000"/>
                <a:gd name="connsiteX59" fmla="*/ 3789 w 10022"/>
                <a:gd name="connsiteY59" fmla="*/ 432 h 10000"/>
                <a:gd name="connsiteX60" fmla="*/ 3789 w 10022"/>
                <a:gd name="connsiteY60" fmla="*/ 219 h 10000"/>
                <a:gd name="connsiteX61" fmla="*/ 4834 w 10022"/>
                <a:gd name="connsiteY61" fmla="*/ 219 h 10000"/>
                <a:gd name="connsiteX62" fmla="*/ 4857 w 10022"/>
                <a:gd name="connsiteY62" fmla="*/ 148 h 10000"/>
                <a:gd name="connsiteX63" fmla="*/ 4883 w 10022"/>
                <a:gd name="connsiteY63" fmla="*/ 77 h 10000"/>
                <a:gd name="connsiteX64" fmla="*/ 4910 w 10022"/>
                <a:gd name="connsiteY64" fmla="*/ 18 h 10000"/>
                <a:gd name="connsiteX65" fmla="*/ 4946 w 10022"/>
                <a:gd name="connsiteY65" fmla="*/ 0 h 10000"/>
                <a:gd name="connsiteX66" fmla="*/ 4982 w 10022"/>
                <a:gd name="connsiteY66" fmla="*/ 18 h 10000"/>
                <a:gd name="connsiteX67" fmla="*/ 5009 w 10022"/>
                <a:gd name="connsiteY67" fmla="*/ 77 h 10000"/>
                <a:gd name="connsiteX68" fmla="*/ 5031 w 10022"/>
                <a:gd name="connsiteY68" fmla="*/ 148 h 10000"/>
                <a:gd name="connsiteX69" fmla="*/ 5054 w 10022"/>
                <a:gd name="connsiteY69" fmla="*/ 219 h 10000"/>
                <a:gd name="connsiteX70" fmla="*/ 6135 w 10022"/>
                <a:gd name="connsiteY70" fmla="*/ 219 h 10000"/>
                <a:gd name="connsiteX71" fmla="*/ 6135 w 10022"/>
                <a:gd name="connsiteY71" fmla="*/ 432 h 10000"/>
                <a:gd name="connsiteX72" fmla="*/ 5076 w 10022"/>
                <a:gd name="connsiteY72" fmla="*/ 432 h 10000"/>
                <a:gd name="connsiteX73" fmla="*/ 5085 w 10022"/>
                <a:gd name="connsiteY73" fmla="*/ 480 h 10000"/>
                <a:gd name="connsiteX74" fmla="*/ 5099 w 10022"/>
                <a:gd name="connsiteY74" fmla="*/ 527 h 10000"/>
                <a:gd name="connsiteX75" fmla="*/ 5112 w 10022"/>
                <a:gd name="connsiteY75" fmla="*/ 586 h 10000"/>
                <a:gd name="connsiteX76" fmla="*/ 5126 w 10022"/>
                <a:gd name="connsiteY76" fmla="*/ 639 h 10000"/>
                <a:gd name="connsiteX77" fmla="*/ 5152 w 10022"/>
                <a:gd name="connsiteY77" fmla="*/ 639 h 10000"/>
                <a:gd name="connsiteX78" fmla="*/ 5188 w 10022"/>
                <a:gd name="connsiteY78" fmla="*/ 645 h 10000"/>
                <a:gd name="connsiteX79" fmla="*/ 5224 w 10022"/>
                <a:gd name="connsiteY79" fmla="*/ 663 h 10000"/>
                <a:gd name="connsiteX80" fmla="*/ 5260 w 10022"/>
                <a:gd name="connsiteY80" fmla="*/ 675 h 10000"/>
                <a:gd name="connsiteX81" fmla="*/ 5296 w 10022"/>
                <a:gd name="connsiteY81" fmla="*/ 687 h 10000"/>
                <a:gd name="connsiteX82" fmla="*/ 5332 w 10022"/>
                <a:gd name="connsiteY82" fmla="*/ 716 h 10000"/>
                <a:gd name="connsiteX83" fmla="*/ 5363 w 10022"/>
                <a:gd name="connsiteY83" fmla="*/ 734 h 10000"/>
                <a:gd name="connsiteX84" fmla="*/ 5390 w 10022"/>
                <a:gd name="connsiteY84" fmla="*/ 770 h 10000"/>
                <a:gd name="connsiteX85" fmla="*/ 5413 w 10022"/>
                <a:gd name="connsiteY85" fmla="*/ 941 h 10000"/>
                <a:gd name="connsiteX86" fmla="*/ 5435 w 10022"/>
                <a:gd name="connsiteY86" fmla="*/ 1297 h 10000"/>
                <a:gd name="connsiteX87" fmla="*/ 5462 w 10022"/>
                <a:gd name="connsiteY87" fmla="*/ 1794 h 10000"/>
                <a:gd name="connsiteX88" fmla="*/ 5489 w 10022"/>
                <a:gd name="connsiteY88" fmla="*/ 2404 h 10000"/>
                <a:gd name="connsiteX89" fmla="*/ 10021 w 10022"/>
                <a:gd name="connsiteY89" fmla="*/ 2416 h 10000"/>
                <a:gd name="connsiteX90" fmla="*/ 10000 w 10022"/>
                <a:gd name="connsiteY90" fmla="*/ 3410 h 10000"/>
                <a:gd name="connsiteX91" fmla="*/ 9978 w 10022"/>
                <a:gd name="connsiteY91" fmla="*/ 3529 h 10000"/>
                <a:gd name="connsiteX92" fmla="*/ 9946 w 10022"/>
                <a:gd name="connsiteY92" fmla="*/ 3623 h 10000"/>
                <a:gd name="connsiteX93" fmla="*/ 9901 w 10022"/>
                <a:gd name="connsiteY93" fmla="*/ 3694 h 10000"/>
                <a:gd name="connsiteX94" fmla="*/ 9852 w 10022"/>
                <a:gd name="connsiteY94" fmla="*/ 3760 h 10000"/>
                <a:gd name="connsiteX95" fmla="*/ 9798 w 10022"/>
                <a:gd name="connsiteY95" fmla="*/ 3807 h 10000"/>
                <a:gd name="connsiteX96" fmla="*/ 9753 w 10022"/>
                <a:gd name="connsiteY96" fmla="*/ 3843 h 10000"/>
                <a:gd name="connsiteX97" fmla="*/ 9722 w 10022"/>
                <a:gd name="connsiteY97" fmla="*/ 3860 h 10000"/>
                <a:gd name="connsiteX98" fmla="*/ 9709 w 10022"/>
                <a:gd name="connsiteY98"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300 w 10022"/>
                <a:gd name="connsiteY33" fmla="*/ 3967 h 10000"/>
                <a:gd name="connsiteX34" fmla="*/ 204 w 10022"/>
                <a:gd name="connsiteY34" fmla="*/ 3925 h 10000"/>
                <a:gd name="connsiteX35" fmla="*/ 126 w 10022"/>
                <a:gd name="connsiteY35" fmla="*/ 3860 h 10000"/>
                <a:gd name="connsiteX36" fmla="*/ 76 w 10022"/>
                <a:gd name="connsiteY36" fmla="*/ 3813 h 10000"/>
                <a:gd name="connsiteX37" fmla="*/ 54 w 10022"/>
                <a:gd name="connsiteY37" fmla="*/ 3760 h 10000"/>
                <a:gd name="connsiteX38" fmla="*/ 22 w 10022"/>
                <a:gd name="connsiteY38" fmla="*/ 3677 h 10000"/>
                <a:gd name="connsiteX39" fmla="*/ 13 w 10022"/>
                <a:gd name="connsiteY39" fmla="*/ 3647 h 10000"/>
                <a:gd name="connsiteX40" fmla="*/ 13 w 10022"/>
                <a:gd name="connsiteY40" fmla="*/ 3641 h 10000"/>
                <a:gd name="connsiteX41" fmla="*/ 0 w 10022"/>
                <a:gd name="connsiteY41" fmla="*/ 2351 h 10000"/>
                <a:gd name="connsiteX42" fmla="*/ 4408 w 10022"/>
                <a:gd name="connsiteY42" fmla="*/ 2345 h 10000"/>
                <a:gd name="connsiteX43" fmla="*/ 4439 w 10022"/>
                <a:gd name="connsiteY43" fmla="*/ 1764 h 10000"/>
                <a:gd name="connsiteX44" fmla="*/ 4466 w 10022"/>
                <a:gd name="connsiteY44" fmla="*/ 1291 h 10000"/>
                <a:gd name="connsiteX45" fmla="*/ 4484 w 10022"/>
                <a:gd name="connsiteY45" fmla="*/ 941 h 10000"/>
                <a:gd name="connsiteX46" fmla="*/ 4516 w 10022"/>
                <a:gd name="connsiteY46" fmla="*/ 770 h 10000"/>
                <a:gd name="connsiteX47" fmla="*/ 4538 w 10022"/>
                <a:gd name="connsiteY47" fmla="*/ 734 h 10000"/>
                <a:gd name="connsiteX48" fmla="*/ 4565 w 10022"/>
                <a:gd name="connsiteY48" fmla="*/ 716 h 10000"/>
                <a:gd name="connsiteX49" fmla="*/ 4596 w 10022"/>
                <a:gd name="connsiteY49" fmla="*/ 687 h 10000"/>
                <a:gd name="connsiteX50" fmla="*/ 4632 w 10022"/>
                <a:gd name="connsiteY50" fmla="*/ 675 h 10000"/>
                <a:gd name="connsiteX51" fmla="*/ 4668 w 10022"/>
                <a:gd name="connsiteY51" fmla="*/ 663 h 10000"/>
                <a:gd name="connsiteX52" fmla="*/ 4704 w 10022"/>
                <a:gd name="connsiteY52" fmla="*/ 645 h 10000"/>
                <a:gd name="connsiteX53" fmla="*/ 4740 w 10022"/>
                <a:gd name="connsiteY53" fmla="*/ 639 h 10000"/>
                <a:gd name="connsiteX54" fmla="*/ 4767 w 10022"/>
                <a:gd name="connsiteY54" fmla="*/ 639 h 10000"/>
                <a:gd name="connsiteX55" fmla="*/ 4780 w 10022"/>
                <a:gd name="connsiteY55" fmla="*/ 586 h 10000"/>
                <a:gd name="connsiteX56" fmla="*/ 4789 w 10022"/>
                <a:gd name="connsiteY56" fmla="*/ 527 h 10000"/>
                <a:gd name="connsiteX57" fmla="*/ 4807 w 10022"/>
                <a:gd name="connsiteY57" fmla="*/ 480 h 10000"/>
                <a:gd name="connsiteX58" fmla="*/ 4816 w 10022"/>
                <a:gd name="connsiteY58" fmla="*/ 432 h 10000"/>
                <a:gd name="connsiteX59" fmla="*/ 3789 w 10022"/>
                <a:gd name="connsiteY59" fmla="*/ 432 h 10000"/>
                <a:gd name="connsiteX60" fmla="*/ 3789 w 10022"/>
                <a:gd name="connsiteY60" fmla="*/ 219 h 10000"/>
                <a:gd name="connsiteX61" fmla="*/ 4834 w 10022"/>
                <a:gd name="connsiteY61" fmla="*/ 219 h 10000"/>
                <a:gd name="connsiteX62" fmla="*/ 4857 w 10022"/>
                <a:gd name="connsiteY62" fmla="*/ 148 h 10000"/>
                <a:gd name="connsiteX63" fmla="*/ 4883 w 10022"/>
                <a:gd name="connsiteY63" fmla="*/ 77 h 10000"/>
                <a:gd name="connsiteX64" fmla="*/ 4910 w 10022"/>
                <a:gd name="connsiteY64" fmla="*/ 18 h 10000"/>
                <a:gd name="connsiteX65" fmla="*/ 4946 w 10022"/>
                <a:gd name="connsiteY65" fmla="*/ 0 h 10000"/>
                <a:gd name="connsiteX66" fmla="*/ 4982 w 10022"/>
                <a:gd name="connsiteY66" fmla="*/ 18 h 10000"/>
                <a:gd name="connsiteX67" fmla="*/ 5009 w 10022"/>
                <a:gd name="connsiteY67" fmla="*/ 77 h 10000"/>
                <a:gd name="connsiteX68" fmla="*/ 5031 w 10022"/>
                <a:gd name="connsiteY68" fmla="*/ 148 h 10000"/>
                <a:gd name="connsiteX69" fmla="*/ 5054 w 10022"/>
                <a:gd name="connsiteY69" fmla="*/ 219 h 10000"/>
                <a:gd name="connsiteX70" fmla="*/ 6135 w 10022"/>
                <a:gd name="connsiteY70" fmla="*/ 219 h 10000"/>
                <a:gd name="connsiteX71" fmla="*/ 6135 w 10022"/>
                <a:gd name="connsiteY71" fmla="*/ 432 h 10000"/>
                <a:gd name="connsiteX72" fmla="*/ 5076 w 10022"/>
                <a:gd name="connsiteY72" fmla="*/ 432 h 10000"/>
                <a:gd name="connsiteX73" fmla="*/ 5085 w 10022"/>
                <a:gd name="connsiteY73" fmla="*/ 480 h 10000"/>
                <a:gd name="connsiteX74" fmla="*/ 5099 w 10022"/>
                <a:gd name="connsiteY74" fmla="*/ 527 h 10000"/>
                <a:gd name="connsiteX75" fmla="*/ 5112 w 10022"/>
                <a:gd name="connsiteY75" fmla="*/ 586 h 10000"/>
                <a:gd name="connsiteX76" fmla="*/ 5126 w 10022"/>
                <a:gd name="connsiteY76" fmla="*/ 639 h 10000"/>
                <a:gd name="connsiteX77" fmla="*/ 5152 w 10022"/>
                <a:gd name="connsiteY77" fmla="*/ 639 h 10000"/>
                <a:gd name="connsiteX78" fmla="*/ 5188 w 10022"/>
                <a:gd name="connsiteY78" fmla="*/ 645 h 10000"/>
                <a:gd name="connsiteX79" fmla="*/ 5224 w 10022"/>
                <a:gd name="connsiteY79" fmla="*/ 663 h 10000"/>
                <a:gd name="connsiteX80" fmla="*/ 5260 w 10022"/>
                <a:gd name="connsiteY80" fmla="*/ 675 h 10000"/>
                <a:gd name="connsiteX81" fmla="*/ 5296 w 10022"/>
                <a:gd name="connsiteY81" fmla="*/ 687 h 10000"/>
                <a:gd name="connsiteX82" fmla="*/ 5332 w 10022"/>
                <a:gd name="connsiteY82" fmla="*/ 716 h 10000"/>
                <a:gd name="connsiteX83" fmla="*/ 5363 w 10022"/>
                <a:gd name="connsiteY83" fmla="*/ 734 h 10000"/>
                <a:gd name="connsiteX84" fmla="*/ 5390 w 10022"/>
                <a:gd name="connsiteY84" fmla="*/ 770 h 10000"/>
                <a:gd name="connsiteX85" fmla="*/ 5413 w 10022"/>
                <a:gd name="connsiteY85" fmla="*/ 941 h 10000"/>
                <a:gd name="connsiteX86" fmla="*/ 5435 w 10022"/>
                <a:gd name="connsiteY86" fmla="*/ 1297 h 10000"/>
                <a:gd name="connsiteX87" fmla="*/ 5462 w 10022"/>
                <a:gd name="connsiteY87" fmla="*/ 1794 h 10000"/>
                <a:gd name="connsiteX88" fmla="*/ 5489 w 10022"/>
                <a:gd name="connsiteY88" fmla="*/ 2404 h 10000"/>
                <a:gd name="connsiteX89" fmla="*/ 10021 w 10022"/>
                <a:gd name="connsiteY89" fmla="*/ 2416 h 10000"/>
                <a:gd name="connsiteX90" fmla="*/ 10000 w 10022"/>
                <a:gd name="connsiteY90" fmla="*/ 3410 h 10000"/>
                <a:gd name="connsiteX91" fmla="*/ 9978 w 10022"/>
                <a:gd name="connsiteY91" fmla="*/ 3529 h 10000"/>
                <a:gd name="connsiteX92" fmla="*/ 9946 w 10022"/>
                <a:gd name="connsiteY92" fmla="*/ 3623 h 10000"/>
                <a:gd name="connsiteX93" fmla="*/ 9901 w 10022"/>
                <a:gd name="connsiteY93" fmla="*/ 3694 h 10000"/>
                <a:gd name="connsiteX94" fmla="*/ 9852 w 10022"/>
                <a:gd name="connsiteY94" fmla="*/ 3760 h 10000"/>
                <a:gd name="connsiteX95" fmla="*/ 9798 w 10022"/>
                <a:gd name="connsiteY95" fmla="*/ 3807 h 10000"/>
                <a:gd name="connsiteX96" fmla="*/ 9753 w 10022"/>
                <a:gd name="connsiteY96" fmla="*/ 3843 h 10000"/>
                <a:gd name="connsiteX97" fmla="*/ 9722 w 10022"/>
                <a:gd name="connsiteY97" fmla="*/ 3860 h 10000"/>
                <a:gd name="connsiteX98" fmla="*/ 9709 w 10022"/>
                <a:gd name="connsiteY98"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268 w 10022"/>
                <a:gd name="connsiteY33" fmla="*/ 3941 h 10000"/>
                <a:gd name="connsiteX34" fmla="*/ 300 w 10022"/>
                <a:gd name="connsiteY34" fmla="*/ 3967 h 10000"/>
                <a:gd name="connsiteX35" fmla="*/ 204 w 10022"/>
                <a:gd name="connsiteY35" fmla="*/ 3925 h 10000"/>
                <a:gd name="connsiteX36" fmla="*/ 126 w 10022"/>
                <a:gd name="connsiteY36" fmla="*/ 3860 h 10000"/>
                <a:gd name="connsiteX37" fmla="*/ 76 w 10022"/>
                <a:gd name="connsiteY37" fmla="*/ 3813 h 10000"/>
                <a:gd name="connsiteX38" fmla="*/ 54 w 10022"/>
                <a:gd name="connsiteY38" fmla="*/ 3760 h 10000"/>
                <a:gd name="connsiteX39" fmla="*/ 22 w 10022"/>
                <a:gd name="connsiteY39" fmla="*/ 3677 h 10000"/>
                <a:gd name="connsiteX40" fmla="*/ 13 w 10022"/>
                <a:gd name="connsiteY40" fmla="*/ 3647 h 10000"/>
                <a:gd name="connsiteX41" fmla="*/ 13 w 10022"/>
                <a:gd name="connsiteY41" fmla="*/ 3641 h 10000"/>
                <a:gd name="connsiteX42" fmla="*/ 0 w 10022"/>
                <a:gd name="connsiteY42" fmla="*/ 2351 h 10000"/>
                <a:gd name="connsiteX43" fmla="*/ 4408 w 10022"/>
                <a:gd name="connsiteY43" fmla="*/ 2345 h 10000"/>
                <a:gd name="connsiteX44" fmla="*/ 4439 w 10022"/>
                <a:gd name="connsiteY44" fmla="*/ 1764 h 10000"/>
                <a:gd name="connsiteX45" fmla="*/ 4466 w 10022"/>
                <a:gd name="connsiteY45" fmla="*/ 1291 h 10000"/>
                <a:gd name="connsiteX46" fmla="*/ 4484 w 10022"/>
                <a:gd name="connsiteY46" fmla="*/ 941 h 10000"/>
                <a:gd name="connsiteX47" fmla="*/ 4516 w 10022"/>
                <a:gd name="connsiteY47" fmla="*/ 770 h 10000"/>
                <a:gd name="connsiteX48" fmla="*/ 4538 w 10022"/>
                <a:gd name="connsiteY48" fmla="*/ 734 h 10000"/>
                <a:gd name="connsiteX49" fmla="*/ 4565 w 10022"/>
                <a:gd name="connsiteY49" fmla="*/ 716 h 10000"/>
                <a:gd name="connsiteX50" fmla="*/ 4596 w 10022"/>
                <a:gd name="connsiteY50" fmla="*/ 687 h 10000"/>
                <a:gd name="connsiteX51" fmla="*/ 4632 w 10022"/>
                <a:gd name="connsiteY51" fmla="*/ 675 h 10000"/>
                <a:gd name="connsiteX52" fmla="*/ 4668 w 10022"/>
                <a:gd name="connsiteY52" fmla="*/ 663 h 10000"/>
                <a:gd name="connsiteX53" fmla="*/ 4704 w 10022"/>
                <a:gd name="connsiteY53" fmla="*/ 645 h 10000"/>
                <a:gd name="connsiteX54" fmla="*/ 4740 w 10022"/>
                <a:gd name="connsiteY54" fmla="*/ 639 h 10000"/>
                <a:gd name="connsiteX55" fmla="*/ 4767 w 10022"/>
                <a:gd name="connsiteY55" fmla="*/ 639 h 10000"/>
                <a:gd name="connsiteX56" fmla="*/ 4780 w 10022"/>
                <a:gd name="connsiteY56" fmla="*/ 586 h 10000"/>
                <a:gd name="connsiteX57" fmla="*/ 4789 w 10022"/>
                <a:gd name="connsiteY57" fmla="*/ 527 h 10000"/>
                <a:gd name="connsiteX58" fmla="*/ 4807 w 10022"/>
                <a:gd name="connsiteY58" fmla="*/ 480 h 10000"/>
                <a:gd name="connsiteX59" fmla="*/ 4816 w 10022"/>
                <a:gd name="connsiteY59" fmla="*/ 432 h 10000"/>
                <a:gd name="connsiteX60" fmla="*/ 3789 w 10022"/>
                <a:gd name="connsiteY60" fmla="*/ 432 h 10000"/>
                <a:gd name="connsiteX61" fmla="*/ 3789 w 10022"/>
                <a:gd name="connsiteY61" fmla="*/ 219 h 10000"/>
                <a:gd name="connsiteX62" fmla="*/ 4834 w 10022"/>
                <a:gd name="connsiteY62" fmla="*/ 219 h 10000"/>
                <a:gd name="connsiteX63" fmla="*/ 4857 w 10022"/>
                <a:gd name="connsiteY63" fmla="*/ 148 h 10000"/>
                <a:gd name="connsiteX64" fmla="*/ 4883 w 10022"/>
                <a:gd name="connsiteY64" fmla="*/ 77 h 10000"/>
                <a:gd name="connsiteX65" fmla="*/ 4910 w 10022"/>
                <a:gd name="connsiteY65" fmla="*/ 18 h 10000"/>
                <a:gd name="connsiteX66" fmla="*/ 4946 w 10022"/>
                <a:gd name="connsiteY66" fmla="*/ 0 h 10000"/>
                <a:gd name="connsiteX67" fmla="*/ 4982 w 10022"/>
                <a:gd name="connsiteY67" fmla="*/ 18 h 10000"/>
                <a:gd name="connsiteX68" fmla="*/ 5009 w 10022"/>
                <a:gd name="connsiteY68" fmla="*/ 77 h 10000"/>
                <a:gd name="connsiteX69" fmla="*/ 5031 w 10022"/>
                <a:gd name="connsiteY69" fmla="*/ 148 h 10000"/>
                <a:gd name="connsiteX70" fmla="*/ 5054 w 10022"/>
                <a:gd name="connsiteY70" fmla="*/ 219 h 10000"/>
                <a:gd name="connsiteX71" fmla="*/ 6135 w 10022"/>
                <a:gd name="connsiteY71" fmla="*/ 219 h 10000"/>
                <a:gd name="connsiteX72" fmla="*/ 6135 w 10022"/>
                <a:gd name="connsiteY72" fmla="*/ 432 h 10000"/>
                <a:gd name="connsiteX73" fmla="*/ 5076 w 10022"/>
                <a:gd name="connsiteY73" fmla="*/ 432 h 10000"/>
                <a:gd name="connsiteX74" fmla="*/ 5085 w 10022"/>
                <a:gd name="connsiteY74" fmla="*/ 480 h 10000"/>
                <a:gd name="connsiteX75" fmla="*/ 5099 w 10022"/>
                <a:gd name="connsiteY75" fmla="*/ 527 h 10000"/>
                <a:gd name="connsiteX76" fmla="*/ 5112 w 10022"/>
                <a:gd name="connsiteY76" fmla="*/ 586 h 10000"/>
                <a:gd name="connsiteX77" fmla="*/ 5126 w 10022"/>
                <a:gd name="connsiteY77" fmla="*/ 639 h 10000"/>
                <a:gd name="connsiteX78" fmla="*/ 5152 w 10022"/>
                <a:gd name="connsiteY78" fmla="*/ 639 h 10000"/>
                <a:gd name="connsiteX79" fmla="*/ 5188 w 10022"/>
                <a:gd name="connsiteY79" fmla="*/ 645 h 10000"/>
                <a:gd name="connsiteX80" fmla="*/ 5224 w 10022"/>
                <a:gd name="connsiteY80" fmla="*/ 663 h 10000"/>
                <a:gd name="connsiteX81" fmla="*/ 5260 w 10022"/>
                <a:gd name="connsiteY81" fmla="*/ 675 h 10000"/>
                <a:gd name="connsiteX82" fmla="*/ 5296 w 10022"/>
                <a:gd name="connsiteY82" fmla="*/ 687 h 10000"/>
                <a:gd name="connsiteX83" fmla="*/ 5332 w 10022"/>
                <a:gd name="connsiteY83" fmla="*/ 716 h 10000"/>
                <a:gd name="connsiteX84" fmla="*/ 5363 w 10022"/>
                <a:gd name="connsiteY84" fmla="*/ 734 h 10000"/>
                <a:gd name="connsiteX85" fmla="*/ 5390 w 10022"/>
                <a:gd name="connsiteY85" fmla="*/ 770 h 10000"/>
                <a:gd name="connsiteX86" fmla="*/ 5413 w 10022"/>
                <a:gd name="connsiteY86" fmla="*/ 941 h 10000"/>
                <a:gd name="connsiteX87" fmla="*/ 5435 w 10022"/>
                <a:gd name="connsiteY87" fmla="*/ 1297 h 10000"/>
                <a:gd name="connsiteX88" fmla="*/ 5462 w 10022"/>
                <a:gd name="connsiteY88" fmla="*/ 1794 h 10000"/>
                <a:gd name="connsiteX89" fmla="*/ 5489 w 10022"/>
                <a:gd name="connsiteY89" fmla="*/ 2404 h 10000"/>
                <a:gd name="connsiteX90" fmla="*/ 10021 w 10022"/>
                <a:gd name="connsiteY90" fmla="*/ 2416 h 10000"/>
                <a:gd name="connsiteX91" fmla="*/ 10000 w 10022"/>
                <a:gd name="connsiteY91" fmla="*/ 3410 h 10000"/>
                <a:gd name="connsiteX92" fmla="*/ 9978 w 10022"/>
                <a:gd name="connsiteY92" fmla="*/ 3529 h 10000"/>
                <a:gd name="connsiteX93" fmla="*/ 9946 w 10022"/>
                <a:gd name="connsiteY93" fmla="*/ 3623 h 10000"/>
                <a:gd name="connsiteX94" fmla="*/ 9901 w 10022"/>
                <a:gd name="connsiteY94" fmla="*/ 3694 h 10000"/>
                <a:gd name="connsiteX95" fmla="*/ 9852 w 10022"/>
                <a:gd name="connsiteY95" fmla="*/ 3760 h 10000"/>
                <a:gd name="connsiteX96" fmla="*/ 9798 w 10022"/>
                <a:gd name="connsiteY96" fmla="*/ 3807 h 10000"/>
                <a:gd name="connsiteX97" fmla="*/ 9753 w 10022"/>
                <a:gd name="connsiteY97" fmla="*/ 3843 h 10000"/>
                <a:gd name="connsiteX98" fmla="*/ 9722 w 10022"/>
                <a:gd name="connsiteY98" fmla="*/ 3860 h 10000"/>
                <a:gd name="connsiteX99" fmla="*/ 9709 w 10022"/>
                <a:gd name="connsiteY99"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268 w 10022"/>
                <a:gd name="connsiteY33" fmla="*/ 3941 h 10000"/>
                <a:gd name="connsiteX34" fmla="*/ 204 w 10022"/>
                <a:gd name="connsiteY34" fmla="*/ 3925 h 10000"/>
                <a:gd name="connsiteX35" fmla="*/ 126 w 10022"/>
                <a:gd name="connsiteY35" fmla="*/ 3860 h 10000"/>
                <a:gd name="connsiteX36" fmla="*/ 76 w 10022"/>
                <a:gd name="connsiteY36" fmla="*/ 3813 h 10000"/>
                <a:gd name="connsiteX37" fmla="*/ 54 w 10022"/>
                <a:gd name="connsiteY37" fmla="*/ 3760 h 10000"/>
                <a:gd name="connsiteX38" fmla="*/ 22 w 10022"/>
                <a:gd name="connsiteY38" fmla="*/ 3677 h 10000"/>
                <a:gd name="connsiteX39" fmla="*/ 13 w 10022"/>
                <a:gd name="connsiteY39" fmla="*/ 3647 h 10000"/>
                <a:gd name="connsiteX40" fmla="*/ 13 w 10022"/>
                <a:gd name="connsiteY40" fmla="*/ 3641 h 10000"/>
                <a:gd name="connsiteX41" fmla="*/ 0 w 10022"/>
                <a:gd name="connsiteY41" fmla="*/ 2351 h 10000"/>
                <a:gd name="connsiteX42" fmla="*/ 4408 w 10022"/>
                <a:gd name="connsiteY42" fmla="*/ 2345 h 10000"/>
                <a:gd name="connsiteX43" fmla="*/ 4439 w 10022"/>
                <a:gd name="connsiteY43" fmla="*/ 1764 h 10000"/>
                <a:gd name="connsiteX44" fmla="*/ 4466 w 10022"/>
                <a:gd name="connsiteY44" fmla="*/ 1291 h 10000"/>
                <a:gd name="connsiteX45" fmla="*/ 4484 w 10022"/>
                <a:gd name="connsiteY45" fmla="*/ 941 h 10000"/>
                <a:gd name="connsiteX46" fmla="*/ 4516 w 10022"/>
                <a:gd name="connsiteY46" fmla="*/ 770 h 10000"/>
                <a:gd name="connsiteX47" fmla="*/ 4538 w 10022"/>
                <a:gd name="connsiteY47" fmla="*/ 734 h 10000"/>
                <a:gd name="connsiteX48" fmla="*/ 4565 w 10022"/>
                <a:gd name="connsiteY48" fmla="*/ 716 h 10000"/>
                <a:gd name="connsiteX49" fmla="*/ 4596 w 10022"/>
                <a:gd name="connsiteY49" fmla="*/ 687 h 10000"/>
                <a:gd name="connsiteX50" fmla="*/ 4632 w 10022"/>
                <a:gd name="connsiteY50" fmla="*/ 675 h 10000"/>
                <a:gd name="connsiteX51" fmla="*/ 4668 w 10022"/>
                <a:gd name="connsiteY51" fmla="*/ 663 h 10000"/>
                <a:gd name="connsiteX52" fmla="*/ 4704 w 10022"/>
                <a:gd name="connsiteY52" fmla="*/ 645 h 10000"/>
                <a:gd name="connsiteX53" fmla="*/ 4740 w 10022"/>
                <a:gd name="connsiteY53" fmla="*/ 639 h 10000"/>
                <a:gd name="connsiteX54" fmla="*/ 4767 w 10022"/>
                <a:gd name="connsiteY54" fmla="*/ 639 h 10000"/>
                <a:gd name="connsiteX55" fmla="*/ 4780 w 10022"/>
                <a:gd name="connsiteY55" fmla="*/ 586 h 10000"/>
                <a:gd name="connsiteX56" fmla="*/ 4789 w 10022"/>
                <a:gd name="connsiteY56" fmla="*/ 527 h 10000"/>
                <a:gd name="connsiteX57" fmla="*/ 4807 w 10022"/>
                <a:gd name="connsiteY57" fmla="*/ 480 h 10000"/>
                <a:gd name="connsiteX58" fmla="*/ 4816 w 10022"/>
                <a:gd name="connsiteY58" fmla="*/ 432 h 10000"/>
                <a:gd name="connsiteX59" fmla="*/ 3789 w 10022"/>
                <a:gd name="connsiteY59" fmla="*/ 432 h 10000"/>
                <a:gd name="connsiteX60" fmla="*/ 3789 w 10022"/>
                <a:gd name="connsiteY60" fmla="*/ 219 h 10000"/>
                <a:gd name="connsiteX61" fmla="*/ 4834 w 10022"/>
                <a:gd name="connsiteY61" fmla="*/ 219 h 10000"/>
                <a:gd name="connsiteX62" fmla="*/ 4857 w 10022"/>
                <a:gd name="connsiteY62" fmla="*/ 148 h 10000"/>
                <a:gd name="connsiteX63" fmla="*/ 4883 w 10022"/>
                <a:gd name="connsiteY63" fmla="*/ 77 h 10000"/>
                <a:gd name="connsiteX64" fmla="*/ 4910 w 10022"/>
                <a:gd name="connsiteY64" fmla="*/ 18 h 10000"/>
                <a:gd name="connsiteX65" fmla="*/ 4946 w 10022"/>
                <a:gd name="connsiteY65" fmla="*/ 0 h 10000"/>
                <a:gd name="connsiteX66" fmla="*/ 4982 w 10022"/>
                <a:gd name="connsiteY66" fmla="*/ 18 h 10000"/>
                <a:gd name="connsiteX67" fmla="*/ 5009 w 10022"/>
                <a:gd name="connsiteY67" fmla="*/ 77 h 10000"/>
                <a:gd name="connsiteX68" fmla="*/ 5031 w 10022"/>
                <a:gd name="connsiteY68" fmla="*/ 148 h 10000"/>
                <a:gd name="connsiteX69" fmla="*/ 5054 w 10022"/>
                <a:gd name="connsiteY69" fmla="*/ 219 h 10000"/>
                <a:gd name="connsiteX70" fmla="*/ 6135 w 10022"/>
                <a:gd name="connsiteY70" fmla="*/ 219 h 10000"/>
                <a:gd name="connsiteX71" fmla="*/ 6135 w 10022"/>
                <a:gd name="connsiteY71" fmla="*/ 432 h 10000"/>
                <a:gd name="connsiteX72" fmla="*/ 5076 w 10022"/>
                <a:gd name="connsiteY72" fmla="*/ 432 h 10000"/>
                <a:gd name="connsiteX73" fmla="*/ 5085 w 10022"/>
                <a:gd name="connsiteY73" fmla="*/ 480 h 10000"/>
                <a:gd name="connsiteX74" fmla="*/ 5099 w 10022"/>
                <a:gd name="connsiteY74" fmla="*/ 527 h 10000"/>
                <a:gd name="connsiteX75" fmla="*/ 5112 w 10022"/>
                <a:gd name="connsiteY75" fmla="*/ 586 h 10000"/>
                <a:gd name="connsiteX76" fmla="*/ 5126 w 10022"/>
                <a:gd name="connsiteY76" fmla="*/ 639 h 10000"/>
                <a:gd name="connsiteX77" fmla="*/ 5152 w 10022"/>
                <a:gd name="connsiteY77" fmla="*/ 639 h 10000"/>
                <a:gd name="connsiteX78" fmla="*/ 5188 w 10022"/>
                <a:gd name="connsiteY78" fmla="*/ 645 h 10000"/>
                <a:gd name="connsiteX79" fmla="*/ 5224 w 10022"/>
                <a:gd name="connsiteY79" fmla="*/ 663 h 10000"/>
                <a:gd name="connsiteX80" fmla="*/ 5260 w 10022"/>
                <a:gd name="connsiteY80" fmla="*/ 675 h 10000"/>
                <a:gd name="connsiteX81" fmla="*/ 5296 w 10022"/>
                <a:gd name="connsiteY81" fmla="*/ 687 h 10000"/>
                <a:gd name="connsiteX82" fmla="*/ 5332 w 10022"/>
                <a:gd name="connsiteY82" fmla="*/ 716 h 10000"/>
                <a:gd name="connsiteX83" fmla="*/ 5363 w 10022"/>
                <a:gd name="connsiteY83" fmla="*/ 734 h 10000"/>
                <a:gd name="connsiteX84" fmla="*/ 5390 w 10022"/>
                <a:gd name="connsiteY84" fmla="*/ 770 h 10000"/>
                <a:gd name="connsiteX85" fmla="*/ 5413 w 10022"/>
                <a:gd name="connsiteY85" fmla="*/ 941 h 10000"/>
                <a:gd name="connsiteX86" fmla="*/ 5435 w 10022"/>
                <a:gd name="connsiteY86" fmla="*/ 1297 h 10000"/>
                <a:gd name="connsiteX87" fmla="*/ 5462 w 10022"/>
                <a:gd name="connsiteY87" fmla="*/ 1794 h 10000"/>
                <a:gd name="connsiteX88" fmla="*/ 5489 w 10022"/>
                <a:gd name="connsiteY88" fmla="*/ 2404 h 10000"/>
                <a:gd name="connsiteX89" fmla="*/ 10021 w 10022"/>
                <a:gd name="connsiteY89" fmla="*/ 2416 h 10000"/>
                <a:gd name="connsiteX90" fmla="*/ 10000 w 10022"/>
                <a:gd name="connsiteY90" fmla="*/ 3410 h 10000"/>
                <a:gd name="connsiteX91" fmla="*/ 9978 w 10022"/>
                <a:gd name="connsiteY91" fmla="*/ 3529 h 10000"/>
                <a:gd name="connsiteX92" fmla="*/ 9946 w 10022"/>
                <a:gd name="connsiteY92" fmla="*/ 3623 h 10000"/>
                <a:gd name="connsiteX93" fmla="*/ 9901 w 10022"/>
                <a:gd name="connsiteY93" fmla="*/ 3694 h 10000"/>
                <a:gd name="connsiteX94" fmla="*/ 9852 w 10022"/>
                <a:gd name="connsiteY94" fmla="*/ 3760 h 10000"/>
                <a:gd name="connsiteX95" fmla="*/ 9798 w 10022"/>
                <a:gd name="connsiteY95" fmla="*/ 3807 h 10000"/>
                <a:gd name="connsiteX96" fmla="*/ 9753 w 10022"/>
                <a:gd name="connsiteY96" fmla="*/ 3843 h 10000"/>
                <a:gd name="connsiteX97" fmla="*/ 9722 w 10022"/>
                <a:gd name="connsiteY97" fmla="*/ 3860 h 10000"/>
                <a:gd name="connsiteX98" fmla="*/ 9709 w 10022"/>
                <a:gd name="connsiteY98" fmla="*/ 3866 h 10000"/>
                <a:gd name="connsiteX0" fmla="*/ 9709 w 10022"/>
                <a:gd name="connsiteY0" fmla="*/ 3866 h 10000"/>
                <a:gd name="connsiteX1" fmla="*/ 5435 w 10022"/>
                <a:gd name="connsiteY1" fmla="*/ 4494 h 10000"/>
                <a:gd name="connsiteX2" fmla="*/ 5422 w 10022"/>
                <a:gd name="connsiteY2" fmla="*/ 4494 h 10000"/>
                <a:gd name="connsiteX3" fmla="*/ 5152 w 10022"/>
                <a:gd name="connsiteY3" fmla="*/ 7620 h 10000"/>
                <a:gd name="connsiteX4" fmla="*/ 6516 w 10022"/>
                <a:gd name="connsiteY4" fmla="*/ 7999 h 10000"/>
                <a:gd name="connsiteX5" fmla="*/ 6565 w 10022"/>
                <a:gd name="connsiteY5" fmla="*/ 8034 h 10000"/>
                <a:gd name="connsiteX6" fmla="*/ 6601 w 10022"/>
                <a:gd name="connsiteY6" fmla="*/ 8105 h 10000"/>
                <a:gd name="connsiteX7" fmla="*/ 6623 w 10022"/>
                <a:gd name="connsiteY7" fmla="*/ 8200 h 10000"/>
                <a:gd name="connsiteX8" fmla="*/ 6632 w 10022"/>
                <a:gd name="connsiteY8" fmla="*/ 8307 h 10000"/>
                <a:gd name="connsiteX9" fmla="*/ 6543 w 10022"/>
                <a:gd name="connsiteY9" fmla="*/ 9053 h 10000"/>
                <a:gd name="connsiteX10" fmla="*/ 5291 w 10022"/>
                <a:gd name="connsiteY10" fmla="*/ 9153 h 10000"/>
                <a:gd name="connsiteX11" fmla="*/ 5099 w 10022"/>
                <a:gd name="connsiteY11" fmla="*/ 8620 h 10000"/>
                <a:gd name="connsiteX12" fmla="*/ 5099 w 10022"/>
                <a:gd name="connsiteY12" fmla="*/ 8686 h 10000"/>
                <a:gd name="connsiteX13" fmla="*/ 5090 w 10022"/>
                <a:gd name="connsiteY13" fmla="*/ 8840 h 10000"/>
                <a:gd name="connsiteX14" fmla="*/ 5081 w 10022"/>
                <a:gd name="connsiteY14" fmla="*/ 9059 h 10000"/>
                <a:gd name="connsiteX15" fmla="*/ 5063 w 10022"/>
                <a:gd name="connsiteY15" fmla="*/ 9307 h 10000"/>
                <a:gd name="connsiteX16" fmla="*/ 5040 w 10022"/>
                <a:gd name="connsiteY16" fmla="*/ 9568 h 10000"/>
                <a:gd name="connsiteX17" fmla="*/ 5013 w 10022"/>
                <a:gd name="connsiteY17" fmla="*/ 9787 h 10000"/>
                <a:gd name="connsiteX18" fmla="*/ 4978 w 10022"/>
                <a:gd name="connsiteY18" fmla="*/ 9947 h 10000"/>
                <a:gd name="connsiteX19" fmla="*/ 4928 w 10022"/>
                <a:gd name="connsiteY19" fmla="*/ 10000 h 10000"/>
                <a:gd name="connsiteX20" fmla="*/ 4852 w 10022"/>
                <a:gd name="connsiteY20" fmla="*/ 9781 h 10000"/>
                <a:gd name="connsiteX21" fmla="*/ 4816 w 10022"/>
                <a:gd name="connsiteY21" fmla="*/ 9307 h 10000"/>
                <a:gd name="connsiteX22" fmla="*/ 4803 w 10022"/>
                <a:gd name="connsiteY22" fmla="*/ 8834 h 10000"/>
                <a:gd name="connsiteX23" fmla="*/ 4794 w 10022"/>
                <a:gd name="connsiteY23" fmla="*/ 8620 h 10000"/>
                <a:gd name="connsiteX24" fmla="*/ 4601 w 10022"/>
                <a:gd name="connsiteY24" fmla="*/ 9153 h 10000"/>
                <a:gd name="connsiteX25" fmla="*/ 3368 w 10022"/>
                <a:gd name="connsiteY25" fmla="*/ 9053 h 10000"/>
                <a:gd name="connsiteX26" fmla="*/ 3260 w 10022"/>
                <a:gd name="connsiteY26" fmla="*/ 8307 h 10000"/>
                <a:gd name="connsiteX27" fmla="*/ 3265 w 10022"/>
                <a:gd name="connsiteY27" fmla="*/ 8200 h 10000"/>
                <a:gd name="connsiteX28" fmla="*/ 3291 w 10022"/>
                <a:gd name="connsiteY28" fmla="*/ 8105 h 10000"/>
                <a:gd name="connsiteX29" fmla="*/ 3323 w 10022"/>
                <a:gd name="connsiteY29" fmla="*/ 8034 h 10000"/>
                <a:gd name="connsiteX30" fmla="*/ 3368 w 10022"/>
                <a:gd name="connsiteY30" fmla="*/ 7999 h 10000"/>
                <a:gd name="connsiteX31" fmla="*/ 4740 w 10022"/>
                <a:gd name="connsiteY31" fmla="*/ 7620 h 10000"/>
                <a:gd name="connsiteX32" fmla="*/ 4475 w 10022"/>
                <a:gd name="connsiteY32" fmla="*/ 4494 h 10000"/>
                <a:gd name="connsiteX33" fmla="*/ 268 w 10022"/>
                <a:gd name="connsiteY33" fmla="*/ 3941 h 10000"/>
                <a:gd name="connsiteX34" fmla="*/ 177 w 10022"/>
                <a:gd name="connsiteY34" fmla="*/ 3905 h 10000"/>
                <a:gd name="connsiteX35" fmla="*/ 126 w 10022"/>
                <a:gd name="connsiteY35" fmla="*/ 3860 h 10000"/>
                <a:gd name="connsiteX36" fmla="*/ 76 w 10022"/>
                <a:gd name="connsiteY36" fmla="*/ 3813 h 10000"/>
                <a:gd name="connsiteX37" fmla="*/ 54 w 10022"/>
                <a:gd name="connsiteY37" fmla="*/ 3760 h 10000"/>
                <a:gd name="connsiteX38" fmla="*/ 22 w 10022"/>
                <a:gd name="connsiteY38" fmla="*/ 3677 h 10000"/>
                <a:gd name="connsiteX39" fmla="*/ 13 w 10022"/>
                <a:gd name="connsiteY39" fmla="*/ 3647 h 10000"/>
                <a:gd name="connsiteX40" fmla="*/ 13 w 10022"/>
                <a:gd name="connsiteY40" fmla="*/ 3641 h 10000"/>
                <a:gd name="connsiteX41" fmla="*/ 0 w 10022"/>
                <a:gd name="connsiteY41" fmla="*/ 2351 h 10000"/>
                <a:gd name="connsiteX42" fmla="*/ 4408 w 10022"/>
                <a:gd name="connsiteY42" fmla="*/ 2345 h 10000"/>
                <a:gd name="connsiteX43" fmla="*/ 4439 w 10022"/>
                <a:gd name="connsiteY43" fmla="*/ 1764 h 10000"/>
                <a:gd name="connsiteX44" fmla="*/ 4466 w 10022"/>
                <a:gd name="connsiteY44" fmla="*/ 1291 h 10000"/>
                <a:gd name="connsiteX45" fmla="*/ 4484 w 10022"/>
                <a:gd name="connsiteY45" fmla="*/ 941 h 10000"/>
                <a:gd name="connsiteX46" fmla="*/ 4516 w 10022"/>
                <a:gd name="connsiteY46" fmla="*/ 770 h 10000"/>
                <a:gd name="connsiteX47" fmla="*/ 4538 w 10022"/>
                <a:gd name="connsiteY47" fmla="*/ 734 h 10000"/>
                <a:gd name="connsiteX48" fmla="*/ 4565 w 10022"/>
                <a:gd name="connsiteY48" fmla="*/ 716 h 10000"/>
                <a:gd name="connsiteX49" fmla="*/ 4596 w 10022"/>
                <a:gd name="connsiteY49" fmla="*/ 687 h 10000"/>
                <a:gd name="connsiteX50" fmla="*/ 4632 w 10022"/>
                <a:gd name="connsiteY50" fmla="*/ 675 h 10000"/>
                <a:gd name="connsiteX51" fmla="*/ 4668 w 10022"/>
                <a:gd name="connsiteY51" fmla="*/ 663 h 10000"/>
                <a:gd name="connsiteX52" fmla="*/ 4704 w 10022"/>
                <a:gd name="connsiteY52" fmla="*/ 645 h 10000"/>
                <a:gd name="connsiteX53" fmla="*/ 4740 w 10022"/>
                <a:gd name="connsiteY53" fmla="*/ 639 h 10000"/>
                <a:gd name="connsiteX54" fmla="*/ 4767 w 10022"/>
                <a:gd name="connsiteY54" fmla="*/ 639 h 10000"/>
                <a:gd name="connsiteX55" fmla="*/ 4780 w 10022"/>
                <a:gd name="connsiteY55" fmla="*/ 586 h 10000"/>
                <a:gd name="connsiteX56" fmla="*/ 4789 w 10022"/>
                <a:gd name="connsiteY56" fmla="*/ 527 h 10000"/>
                <a:gd name="connsiteX57" fmla="*/ 4807 w 10022"/>
                <a:gd name="connsiteY57" fmla="*/ 480 h 10000"/>
                <a:gd name="connsiteX58" fmla="*/ 4816 w 10022"/>
                <a:gd name="connsiteY58" fmla="*/ 432 h 10000"/>
                <a:gd name="connsiteX59" fmla="*/ 3789 w 10022"/>
                <a:gd name="connsiteY59" fmla="*/ 432 h 10000"/>
                <a:gd name="connsiteX60" fmla="*/ 3789 w 10022"/>
                <a:gd name="connsiteY60" fmla="*/ 219 h 10000"/>
                <a:gd name="connsiteX61" fmla="*/ 4834 w 10022"/>
                <a:gd name="connsiteY61" fmla="*/ 219 h 10000"/>
                <a:gd name="connsiteX62" fmla="*/ 4857 w 10022"/>
                <a:gd name="connsiteY62" fmla="*/ 148 h 10000"/>
                <a:gd name="connsiteX63" fmla="*/ 4883 w 10022"/>
                <a:gd name="connsiteY63" fmla="*/ 77 h 10000"/>
                <a:gd name="connsiteX64" fmla="*/ 4910 w 10022"/>
                <a:gd name="connsiteY64" fmla="*/ 18 h 10000"/>
                <a:gd name="connsiteX65" fmla="*/ 4946 w 10022"/>
                <a:gd name="connsiteY65" fmla="*/ 0 h 10000"/>
                <a:gd name="connsiteX66" fmla="*/ 4982 w 10022"/>
                <a:gd name="connsiteY66" fmla="*/ 18 h 10000"/>
                <a:gd name="connsiteX67" fmla="*/ 5009 w 10022"/>
                <a:gd name="connsiteY67" fmla="*/ 77 h 10000"/>
                <a:gd name="connsiteX68" fmla="*/ 5031 w 10022"/>
                <a:gd name="connsiteY68" fmla="*/ 148 h 10000"/>
                <a:gd name="connsiteX69" fmla="*/ 5054 w 10022"/>
                <a:gd name="connsiteY69" fmla="*/ 219 h 10000"/>
                <a:gd name="connsiteX70" fmla="*/ 6135 w 10022"/>
                <a:gd name="connsiteY70" fmla="*/ 219 h 10000"/>
                <a:gd name="connsiteX71" fmla="*/ 6135 w 10022"/>
                <a:gd name="connsiteY71" fmla="*/ 432 h 10000"/>
                <a:gd name="connsiteX72" fmla="*/ 5076 w 10022"/>
                <a:gd name="connsiteY72" fmla="*/ 432 h 10000"/>
                <a:gd name="connsiteX73" fmla="*/ 5085 w 10022"/>
                <a:gd name="connsiteY73" fmla="*/ 480 h 10000"/>
                <a:gd name="connsiteX74" fmla="*/ 5099 w 10022"/>
                <a:gd name="connsiteY74" fmla="*/ 527 h 10000"/>
                <a:gd name="connsiteX75" fmla="*/ 5112 w 10022"/>
                <a:gd name="connsiteY75" fmla="*/ 586 h 10000"/>
                <a:gd name="connsiteX76" fmla="*/ 5126 w 10022"/>
                <a:gd name="connsiteY76" fmla="*/ 639 h 10000"/>
                <a:gd name="connsiteX77" fmla="*/ 5152 w 10022"/>
                <a:gd name="connsiteY77" fmla="*/ 639 h 10000"/>
                <a:gd name="connsiteX78" fmla="*/ 5188 w 10022"/>
                <a:gd name="connsiteY78" fmla="*/ 645 h 10000"/>
                <a:gd name="connsiteX79" fmla="*/ 5224 w 10022"/>
                <a:gd name="connsiteY79" fmla="*/ 663 h 10000"/>
                <a:gd name="connsiteX80" fmla="*/ 5260 w 10022"/>
                <a:gd name="connsiteY80" fmla="*/ 675 h 10000"/>
                <a:gd name="connsiteX81" fmla="*/ 5296 w 10022"/>
                <a:gd name="connsiteY81" fmla="*/ 687 h 10000"/>
                <a:gd name="connsiteX82" fmla="*/ 5332 w 10022"/>
                <a:gd name="connsiteY82" fmla="*/ 716 h 10000"/>
                <a:gd name="connsiteX83" fmla="*/ 5363 w 10022"/>
                <a:gd name="connsiteY83" fmla="*/ 734 h 10000"/>
                <a:gd name="connsiteX84" fmla="*/ 5390 w 10022"/>
                <a:gd name="connsiteY84" fmla="*/ 770 h 10000"/>
                <a:gd name="connsiteX85" fmla="*/ 5413 w 10022"/>
                <a:gd name="connsiteY85" fmla="*/ 941 h 10000"/>
                <a:gd name="connsiteX86" fmla="*/ 5435 w 10022"/>
                <a:gd name="connsiteY86" fmla="*/ 1297 h 10000"/>
                <a:gd name="connsiteX87" fmla="*/ 5462 w 10022"/>
                <a:gd name="connsiteY87" fmla="*/ 1794 h 10000"/>
                <a:gd name="connsiteX88" fmla="*/ 5489 w 10022"/>
                <a:gd name="connsiteY88" fmla="*/ 2404 h 10000"/>
                <a:gd name="connsiteX89" fmla="*/ 10021 w 10022"/>
                <a:gd name="connsiteY89" fmla="*/ 2416 h 10000"/>
                <a:gd name="connsiteX90" fmla="*/ 10000 w 10022"/>
                <a:gd name="connsiteY90" fmla="*/ 3410 h 10000"/>
                <a:gd name="connsiteX91" fmla="*/ 9978 w 10022"/>
                <a:gd name="connsiteY91" fmla="*/ 3529 h 10000"/>
                <a:gd name="connsiteX92" fmla="*/ 9946 w 10022"/>
                <a:gd name="connsiteY92" fmla="*/ 3623 h 10000"/>
                <a:gd name="connsiteX93" fmla="*/ 9901 w 10022"/>
                <a:gd name="connsiteY93" fmla="*/ 3694 h 10000"/>
                <a:gd name="connsiteX94" fmla="*/ 9852 w 10022"/>
                <a:gd name="connsiteY94" fmla="*/ 3760 h 10000"/>
                <a:gd name="connsiteX95" fmla="*/ 9798 w 10022"/>
                <a:gd name="connsiteY95" fmla="*/ 3807 h 10000"/>
                <a:gd name="connsiteX96" fmla="*/ 9753 w 10022"/>
                <a:gd name="connsiteY96" fmla="*/ 3843 h 10000"/>
                <a:gd name="connsiteX97" fmla="*/ 9722 w 10022"/>
                <a:gd name="connsiteY97" fmla="*/ 3860 h 10000"/>
                <a:gd name="connsiteX98" fmla="*/ 9709 w 10022"/>
                <a:gd name="connsiteY98" fmla="*/ 3866 h 10000"/>
                <a:gd name="connsiteX0" fmla="*/ 9709 w 10026"/>
                <a:gd name="connsiteY0" fmla="*/ 3866 h 10000"/>
                <a:gd name="connsiteX1" fmla="*/ 5435 w 10026"/>
                <a:gd name="connsiteY1" fmla="*/ 4494 h 10000"/>
                <a:gd name="connsiteX2" fmla="*/ 5422 w 10026"/>
                <a:gd name="connsiteY2" fmla="*/ 4494 h 10000"/>
                <a:gd name="connsiteX3" fmla="*/ 5152 w 10026"/>
                <a:gd name="connsiteY3" fmla="*/ 7620 h 10000"/>
                <a:gd name="connsiteX4" fmla="*/ 6516 w 10026"/>
                <a:gd name="connsiteY4" fmla="*/ 7999 h 10000"/>
                <a:gd name="connsiteX5" fmla="*/ 6565 w 10026"/>
                <a:gd name="connsiteY5" fmla="*/ 8034 h 10000"/>
                <a:gd name="connsiteX6" fmla="*/ 6601 w 10026"/>
                <a:gd name="connsiteY6" fmla="*/ 8105 h 10000"/>
                <a:gd name="connsiteX7" fmla="*/ 6623 w 10026"/>
                <a:gd name="connsiteY7" fmla="*/ 8200 h 10000"/>
                <a:gd name="connsiteX8" fmla="*/ 6632 w 10026"/>
                <a:gd name="connsiteY8" fmla="*/ 8307 h 10000"/>
                <a:gd name="connsiteX9" fmla="*/ 6543 w 10026"/>
                <a:gd name="connsiteY9" fmla="*/ 9053 h 10000"/>
                <a:gd name="connsiteX10" fmla="*/ 5291 w 10026"/>
                <a:gd name="connsiteY10" fmla="*/ 9153 h 10000"/>
                <a:gd name="connsiteX11" fmla="*/ 5099 w 10026"/>
                <a:gd name="connsiteY11" fmla="*/ 8620 h 10000"/>
                <a:gd name="connsiteX12" fmla="*/ 5099 w 10026"/>
                <a:gd name="connsiteY12" fmla="*/ 8686 h 10000"/>
                <a:gd name="connsiteX13" fmla="*/ 5090 w 10026"/>
                <a:gd name="connsiteY13" fmla="*/ 8840 h 10000"/>
                <a:gd name="connsiteX14" fmla="*/ 5081 w 10026"/>
                <a:gd name="connsiteY14" fmla="*/ 9059 h 10000"/>
                <a:gd name="connsiteX15" fmla="*/ 5063 w 10026"/>
                <a:gd name="connsiteY15" fmla="*/ 9307 h 10000"/>
                <a:gd name="connsiteX16" fmla="*/ 5040 w 10026"/>
                <a:gd name="connsiteY16" fmla="*/ 9568 h 10000"/>
                <a:gd name="connsiteX17" fmla="*/ 5013 w 10026"/>
                <a:gd name="connsiteY17" fmla="*/ 9787 h 10000"/>
                <a:gd name="connsiteX18" fmla="*/ 4978 w 10026"/>
                <a:gd name="connsiteY18" fmla="*/ 9947 h 10000"/>
                <a:gd name="connsiteX19" fmla="*/ 4928 w 10026"/>
                <a:gd name="connsiteY19" fmla="*/ 10000 h 10000"/>
                <a:gd name="connsiteX20" fmla="*/ 4852 w 10026"/>
                <a:gd name="connsiteY20" fmla="*/ 9781 h 10000"/>
                <a:gd name="connsiteX21" fmla="*/ 4816 w 10026"/>
                <a:gd name="connsiteY21" fmla="*/ 9307 h 10000"/>
                <a:gd name="connsiteX22" fmla="*/ 4803 w 10026"/>
                <a:gd name="connsiteY22" fmla="*/ 8834 h 10000"/>
                <a:gd name="connsiteX23" fmla="*/ 4794 w 10026"/>
                <a:gd name="connsiteY23" fmla="*/ 8620 h 10000"/>
                <a:gd name="connsiteX24" fmla="*/ 4601 w 10026"/>
                <a:gd name="connsiteY24" fmla="*/ 9153 h 10000"/>
                <a:gd name="connsiteX25" fmla="*/ 3368 w 10026"/>
                <a:gd name="connsiteY25" fmla="*/ 9053 h 10000"/>
                <a:gd name="connsiteX26" fmla="*/ 3260 w 10026"/>
                <a:gd name="connsiteY26" fmla="*/ 8307 h 10000"/>
                <a:gd name="connsiteX27" fmla="*/ 3265 w 10026"/>
                <a:gd name="connsiteY27" fmla="*/ 8200 h 10000"/>
                <a:gd name="connsiteX28" fmla="*/ 3291 w 10026"/>
                <a:gd name="connsiteY28" fmla="*/ 8105 h 10000"/>
                <a:gd name="connsiteX29" fmla="*/ 3323 w 10026"/>
                <a:gd name="connsiteY29" fmla="*/ 8034 h 10000"/>
                <a:gd name="connsiteX30" fmla="*/ 3368 w 10026"/>
                <a:gd name="connsiteY30" fmla="*/ 7999 h 10000"/>
                <a:gd name="connsiteX31" fmla="*/ 4740 w 10026"/>
                <a:gd name="connsiteY31" fmla="*/ 7620 h 10000"/>
                <a:gd name="connsiteX32" fmla="*/ 4475 w 10026"/>
                <a:gd name="connsiteY32" fmla="*/ 4494 h 10000"/>
                <a:gd name="connsiteX33" fmla="*/ 268 w 10026"/>
                <a:gd name="connsiteY33" fmla="*/ 3941 h 10000"/>
                <a:gd name="connsiteX34" fmla="*/ 177 w 10026"/>
                <a:gd name="connsiteY34" fmla="*/ 3905 h 10000"/>
                <a:gd name="connsiteX35" fmla="*/ 126 w 10026"/>
                <a:gd name="connsiteY35" fmla="*/ 3860 h 10000"/>
                <a:gd name="connsiteX36" fmla="*/ 76 w 10026"/>
                <a:gd name="connsiteY36" fmla="*/ 3813 h 10000"/>
                <a:gd name="connsiteX37" fmla="*/ 54 w 10026"/>
                <a:gd name="connsiteY37" fmla="*/ 3760 h 10000"/>
                <a:gd name="connsiteX38" fmla="*/ 22 w 10026"/>
                <a:gd name="connsiteY38" fmla="*/ 3677 h 10000"/>
                <a:gd name="connsiteX39" fmla="*/ 13 w 10026"/>
                <a:gd name="connsiteY39" fmla="*/ 3647 h 10000"/>
                <a:gd name="connsiteX40" fmla="*/ 13 w 10026"/>
                <a:gd name="connsiteY40" fmla="*/ 3641 h 10000"/>
                <a:gd name="connsiteX41" fmla="*/ 0 w 10026"/>
                <a:gd name="connsiteY41" fmla="*/ 2351 h 10000"/>
                <a:gd name="connsiteX42" fmla="*/ 4408 w 10026"/>
                <a:gd name="connsiteY42" fmla="*/ 2345 h 10000"/>
                <a:gd name="connsiteX43" fmla="*/ 4439 w 10026"/>
                <a:gd name="connsiteY43" fmla="*/ 1764 h 10000"/>
                <a:gd name="connsiteX44" fmla="*/ 4466 w 10026"/>
                <a:gd name="connsiteY44" fmla="*/ 1291 h 10000"/>
                <a:gd name="connsiteX45" fmla="*/ 4484 w 10026"/>
                <a:gd name="connsiteY45" fmla="*/ 941 h 10000"/>
                <a:gd name="connsiteX46" fmla="*/ 4516 w 10026"/>
                <a:gd name="connsiteY46" fmla="*/ 770 h 10000"/>
                <a:gd name="connsiteX47" fmla="*/ 4538 w 10026"/>
                <a:gd name="connsiteY47" fmla="*/ 734 h 10000"/>
                <a:gd name="connsiteX48" fmla="*/ 4565 w 10026"/>
                <a:gd name="connsiteY48" fmla="*/ 716 h 10000"/>
                <a:gd name="connsiteX49" fmla="*/ 4596 w 10026"/>
                <a:gd name="connsiteY49" fmla="*/ 687 h 10000"/>
                <a:gd name="connsiteX50" fmla="*/ 4632 w 10026"/>
                <a:gd name="connsiteY50" fmla="*/ 675 h 10000"/>
                <a:gd name="connsiteX51" fmla="*/ 4668 w 10026"/>
                <a:gd name="connsiteY51" fmla="*/ 663 h 10000"/>
                <a:gd name="connsiteX52" fmla="*/ 4704 w 10026"/>
                <a:gd name="connsiteY52" fmla="*/ 645 h 10000"/>
                <a:gd name="connsiteX53" fmla="*/ 4740 w 10026"/>
                <a:gd name="connsiteY53" fmla="*/ 639 h 10000"/>
                <a:gd name="connsiteX54" fmla="*/ 4767 w 10026"/>
                <a:gd name="connsiteY54" fmla="*/ 639 h 10000"/>
                <a:gd name="connsiteX55" fmla="*/ 4780 w 10026"/>
                <a:gd name="connsiteY55" fmla="*/ 586 h 10000"/>
                <a:gd name="connsiteX56" fmla="*/ 4789 w 10026"/>
                <a:gd name="connsiteY56" fmla="*/ 527 h 10000"/>
                <a:gd name="connsiteX57" fmla="*/ 4807 w 10026"/>
                <a:gd name="connsiteY57" fmla="*/ 480 h 10000"/>
                <a:gd name="connsiteX58" fmla="*/ 4816 w 10026"/>
                <a:gd name="connsiteY58" fmla="*/ 432 h 10000"/>
                <a:gd name="connsiteX59" fmla="*/ 3789 w 10026"/>
                <a:gd name="connsiteY59" fmla="*/ 432 h 10000"/>
                <a:gd name="connsiteX60" fmla="*/ 3789 w 10026"/>
                <a:gd name="connsiteY60" fmla="*/ 219 h 10000"/>
                <a:gd name="connsiteX61" fmla="*/ 4834 w 10026"/>
                <a:gd name="connsiteY61" fmla="*/ 219 h 10000"/>
                <a:gd name="connsiteX62" fmla="*/ 4857 w 10026"/>
                <a:gd name="connsiteY62" fmla="*/ 148 h 10000"/>
                <a:gd name="connsiteX63" fmla="*/ 4883 w 10026"/>
                <a:gd name="connsiteY63" fmla="*/ 77 h 10000"/>
                <a:gd name="connsiteX64" fmla="*/ 4910 w 10026"/>
                <a:gd name="connsiteY64" fmla="*/ 18 h 10000"/>
                <a:gd name="connsiteX65" fmla="*/ 4946 w 10026"/>
                <a:gd name="connsiteY65" fmla="*/ 0 h 10000"/>
                <a:gd name="connsiteX66" fmla="*/ 4982 w 10026"/>
                <a:gd name="connsiteY66" fmla="*/ 18 h 10000"/>
                <a:gd name="connsiteX67" fmla="*/ 5009 w 10026"/>
                <a:gd name="connsiteY67" fmla="*/ 77 h 10000"/>
                <a:gd name="connsiteX68" fmla="*/ 5031 w 10026"/>
                <a:gd name="connsiteY68" fmla="*/ 148 h 10000"/>
                <a:gd name="connsiteX69" fmla="*/ 5054 w 10026"/>
                <a:gd name="connsiteY69" fmla="*/ 219 h 10000"/>
                <a:gd name="connsiteX70" fmla="*/ 6135 w 10026"/>
                <a:gd name="connsiteY70" fmla="*/ 219 h 10000"/>
                <a:gd name="connsiteX71" fmla="*/ 6135 w 10026"/>
                <a:gd name="connsiteY71" fmla="*/ 432 h 10000"/>
                <a:gd name="connsiteX72" fmla="*/ 5076 w 10026"/>
                <a:gd name="connsiteY72" fmla="*/ 432 h 10000"/>
                <a:gd name="connsiteX73" fmla="*/ 5085 w 10026"/>
                <a:gd name="connsiteY73" fmla="*/ 480 h 10000"/>
                <a:gd name="connsiteX74" fmla="*/ 5099 w 10026"/>
                <a:gd name="connsiteY74" fmla="*/ 527 h 10000"/>
                <a:gd name="connsiteX75" fmla="*/ 5112 w 10026"/>
                <a:gd name="connsiteY75" fmla="*/ 586 h 10000"/>
                <a:gd name="connsiteX76" fmla="*/ 5126 w 10026"/>
                <a:gd name="connsiteY76" fmla="*/ 639 h 10000"/>
                <a:gd name="connsiteX77" fmla="*/ 5152 w 10026"/>
                <a:gd name="connsiteY77" fmla="*/ 639 h 10000"/>
                <a:gd name="connsiteX78" fmla="*/ 5188 w 10026"/>
                <a:gd name="connsiteY78" fmla="*/ 645 h 10000"/>
                <a:gd name="connsiteX79" fmla="*/ 5224 w 10026"/>
                <a:gd name="connsiteY79" fmla="*/ 663 h 10000"/>
                <a:gd name="connsiteX80" fmla="*/ 5260 w 10026"/>
                <a:gd name="connsiteY80" fmla="*/ 675 h 10000"/>
                <a:gd name="connsiteX81" fmla="*/ 5296 w 10026"/>
                <a:gd name="connsiteY81" fmla="*/ 687 h 10000"/>
                <a:gd name="connsiteX82" fmla="*/ 5332 w 10026"/>
                <a:gd name="connsiteY82" fmla="*/ 716 h 10000"/>
                <a:gd name="connsiteX83" fmla="*/ 5363 w 10026"/>
                <a:gd name="connsiteY83" fmla="*/ 734 h 10000"/>
                <a:gd name="connsiteX84" fmla="*/ 5390 w 10026"/>
                <a:gd name="connsiteY84" fmla="*/ 770 h 10000"/>
                <a:gd name="connsiteX85" fmla="*/ 5413 w 10026"/>
                <a:gd name="connsiteY85" fmla="*/ 941 h 10000"/>
                <a:gd name="connsiteX86" fmla="*/ 5435 w 10026"/>
                <a:gd name="connsiteY86" fmla="*/ 1297 h 10000"/>
                <a:gd name="connsiteX87" fmla="*/ 5462 w 10026"/>
                <a:gd name="connsiteY87" fmla="*/ 1794 h 10000"/>
                <a:gd name="connsiteX88" fmla="*/ 5489 w 10026"/>
                <a:gd name="connsiteY88" fmla="*/ 2404 h 10000"/>
                <a:gd name="connsiteX89" fmla="*/ 10021 w 10026"/>
                <a:gd name="connsiteY89" fmla="*/ 2416 h 10000"/>
                <a:gd name="connsiteX90" fmla="*/ 10000 w 10026"/>
                <a:gd name="connsiteY90" fmla="*/ 3410 h 10000"/>
                <a:gd name="connsiteX91" fmla="*/ 9978 w 10026"/>
                <a:gd name="connsiteY91" fmla="*/ 3529 h 10000"/>
                <a:gd name="connsiteX92" fmla="*/ 9946 w 10026"/>
                <a:gd name="connsiteY92" fmla="*/ 3623 h 10000"/>
                <a:gd name="connsiteX93" fmla="*/ 9901 w 10026"/>
                <a:gd name="connsiteY93" fmla="*/ 3694 h 10000"/>
                <a:gd name="connsiteX94" fmla="*/ 9852 w 10026"/>
                <a:gd name="connsiteY94" fmla="*/ 3760 h 10000"/>
                <a:gd name="connsiteX95" fmla="*/ 9798 w 10026"/>
                <a:gd name="connsiteY95" fmla="*/ 3807 h 10000"/>
                <a:gd name="connsiteX96" fmla="*/ 9753 w 10026"/>
                <a:gd name="connsiteY96" fmla="*/ 3843 h 10000"/>
                <a:gd name="connsiteX97" fmla="*/ 9722 w 10026"/>
                <a:gd name="connsiteY97" fmla="*/ 3860 h 10000"/>
                <a:gd name="connsiteX98" fmla="*/ 9709 w 10026"/>
                <a:gd name="connsiteY98" fmla="*/ 386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0026" h="10000">
                  <a:moveTo>
                    <a:pt x="9709" y="3866"/>
                  </a:moveTo>
                  <a:lnTo>
                    <a:pt x="5435" y="4494"/>
                  </a:lnTo>
                  <a:lnTo>
                    <a:pt x="5422" y="4494"/>
                  </a:lnTo>
                  <a:lnTo>
                    <a:pt x="5152" y="7620"/>
                  </a:lnTo>
                  <a:lnTo>
                    <a:pt x="6516" y="7999"/>
                  </a:lnTo>
                  <a:cubicBezTo>
                    <a:pt x="6532" y="8011"/>
                    <a:pt x="6549" y="8022"/>
                    <a:pt x="6565" y="8034"/>
                  </a:cubicBezTo>
                  <a:cubicBezTo>
                    <a:pt x="6577" y="8058"/>
                    <a:pt x="6589" y="8081"/>
                    <a:pt x="6601" y="8105"/>
                  </a:cubicBezTo>
                  <a:cubicBezTo>
                    <a:pt x="6608" y="8137"/>
                    <a:pt x="6616" y="8168"/>
                    <a:pt x="6623" y="8200"/>
                  </a:cubicBezTo>
                  <a:cubicBezTo>
                    <a:pt x="6626" y="8236"/>
                    <a:pt x="6629" y="8271"/>
                    <a:pt x="6632" y="8307"/>
                  </a:cubicBezTo>
                  <a:cubicBezTo>
                    <a:pt x="6602" y="8556"/>
                    <a:pt x="6573" y="8804"/>
                    <a:pt x="6543" y="9053"/>
                  </a:cubicBezTo>
                  <a:lnTo>
                    <a:pt x="5291" y="9153"/>
                  </a:lnTo>
                  <a:lnTo>
                    <a:pt x="5099" y="8620"/>
                  </a:lnTo>
                  <a:lnTo>
                    <a:pt x="5099" y="8686"/>
                  </a:lnTo>
                  <a:cubicBezTo>
                    <a:pt x="5096" y="8737"/>
                    <a:pt x="5093" y="8789"/>
                    <a:pt x="5090" y="8840"/>
                  </a:cubicBezTo>
                  <a:lnTo>
                    <a:pt x="5081" y="9059"/>
                  </a:lnTo>
                  <a:cubicBezTo>
                    <a:pt x="5075" y="9142"/>
                    <a:pt x="5069" y="9224"/>
                    <a:pt x="5063" y="9307"/>
                  </a:cubicBezTo>
                  <a:cubicBezTo>
                    <a:pt x="5055" y="9394"/>
                    <a:pt x="5048" y="9481"/>
                    <a:pt x="5040" y="9568"/>
                  </a:cubicBezTo>
                  <a:lnTo>
                    <a:pt x="5013" y="9787"/>
                  </a:lnTo>
                  <a:cubicBezTo>
                    <a:pt x="5001" y="9840"/>
                    <a:pt x="4990" y="9894"/>
                    <a:pt x="4978" y="9947"/>
                  </a:cubicBezTo>
                  <a:lnTo>
                    <a:pt x="4928" y="10000"/>
                  </a:lnTo>
                  <a:cubicBezTo>
                    <a:pt x="4903" y="9927"/>
                    <a:pt x="4877" y="9854"/>
                    <a:pt x="4852" y="9781"/>
                  </a:cubicBezTo>
                  <a:lnTo>
                    <a:pt x="4816" y="9307"/>
                  </a:lnTo>
                  <a:cubicBezTo>
                    <a:pt x="4812" y="9149"/>
                    <a:pt x="4807" y="8992"/>
                    <a:pt x="4803" y="8834"/>
                  </a:cubicBezTo>
                  <a:cubicBezTo>
                    <a:pt x="4800" y="8763"/>
                    <a:pt x="4797" y="8691"/>
                    <a:pt x="4794" y="8620"/>
                  </a:cubicBezTo>
                  <a:cubicBezTo>
                    <a:pt x="4730" y="8798"/>
                    <a:pt x="4665" y="8975"/>
                    <a:pt x="4601" y="9153"/>
                  </a:cubicBezTo>
                  <a:lnTo>
                    <a:pt x="3368" y="9053"/>
                  </a:lnTo>
                  <a:lnTo>
                    <a:pt x="3260" y="8307"/>
                  </a:lnTo>
                  <a:cubicBezTo>
                    <a:pt x="3262" y="8271"/>
                    <a:pt x="3263" y="8236"/>
                    <a:pt x="3265" y="8200"/>
                  </a:cubicBezTo>
                  <a:cubicBezTo>
                    <a:pt x="3274" y="8168"/>
                    <a:pt x="3282" y="8137"/>
                    <a:pt x="3291" y="8105"/>
                  </a:cubicBezTo>
                  <a:cubicBezTo>
                    <a:pt x="3302" y="8081"/>
                    <a:pt x="3312" y="8058"/>
                    <a:pt x="3323" y="8034"/>
                  </a:cubicBezTo>
                  <a:cubicBezTo>
                    <a:pt x="3338" y="8022"/>
                    <a:pt x="3353" y="8011"/>
                    <a:pt x="3368" y="7999"/>
                  </a:cubicBezTo>
                  <a:lnTo>
                    <a:pt x="4740" y="7620"/>
                  </a:lnTo>
                  <a:cubicBezTo>
                    <a:pt x="4652" y="6578"/>
                    <a:pt x="4563" y="5536"/>
                    <a:pt x="4475" y="4494"/>
                  </a:cubicBezTo>
                  <a:lnTo>
                    <a:pt x="268" y="3941"/>
                  </a:lnTo>
                  <a:cubicBezTo>
                    <a:pt x="247" y="3936"/>
                    <a:pt x="198" y="3910"/>
                    <a:pt x="177" y="3905"/>
                  </a:cubicBezTo>
                  <a:cubicBezTo>
                    <a:pt x="151" y="3883"/>
                    <a:pt x="152" y="3882"/>
                    <a:pt x="126" y="3860"/>
                  </a:cubicBezTo>
                  <a:lnTo>
                    <a:pt x="76" y="3813"/>
                  </a:lnTo>
                  <a:cubicBezTo>
                    <a:pt x="69" y="3795"/>
                    <a:pt x="61" y="3778"/>
                    <a:pt x="54" y="3760"/>
                  </a:cubicBezTo>
                  <a:cubicBezTo>
                    <a:pt x="45" y="3737"/>
                    <a:pt x="29" y="3696"/>
                    <a:pt x="22" y="3677"/>
                  </a:cubicBezTo>
                  <a:lnTo>
                    <a:pt x="13" y="3647"/>
                  </a:lnTo>
                  <a:lnTo>
                    <a:pt x="13" y="3641"/>
                  </a:lnTo>
                  <a:cubicBezTo>
                    <a:pt x="9" y="3211"/>
                    <a:pt x="4" y="2781"/>
                    <a:pt x="0" y="2351"/>
                  </a:cubicBezTo>
                  <a:lnTo>
                    <a:pt x="4408" y="2345"/>
                  </a:lnTo>
                  <a:cubicBezTo>
                    <a:pt x="4418" y="2151"/>
                    <a:pt x="4429" y="1958"/>
                    <a:pt x="4439" y="1764"/>
                  </a:cubicBezTo>
                  <a:cubicBezTo>
                    <a:pt x="4448" y="1606"/>
                    <a:pt x="4457" y="1449"/>
                    <a:pt x="4466" y="1291"/>
                  </a:cubicBezTo>
                  <a:cubicBezTo>
                    <a:pt x="4472" y="1174"/>
                    <a:pt x="4478" y="1058"/>
                    <a:pt x="4484" y="941"/>
                  </a:cubicBezTo>
                  <a:cubicBezTo>
                    <a:pt x="4495" y="884"/>
                    <a:pt x="4505" y="827"/>
                    <a:pt x="4516" y="770"/>
                  </a:cubicBezTo>
                  <a:cubicBezTo>
                    <a:pt x="4523" y="758"/>
                    <a:pt x="4531" y="746"/>
                    <a:pt x="4538" y="734"/>
                  </a:cubicBezTo>
                  <a:lnTo>
                    <a:pt x="4565" y="716"/>
                  </a:lnTo>
                  <a:cubicBezTo>
                    <a:pt x="4575" y="706"/>
                    <a:pt x="4586" y="697"/>
                    <a:pt x="4596" y="687"/>
                  </a:cubicBezTo>
                  <a:lnTo>
                    <a:pt x="4632" y="675"/>
                  </a:lnTo>
                  <a:lnTo>
                    <a:pt x="4668" y="663"/>
                  </a:lnTo>
                  <a:lnTo>
                    <a:pt x="4704" y="645"/>
                  </a:lnTo>
                  <a:lnTo>
                    <a:pt x="4740" y="639"/>
                  </a:lnTo>
                  <a:lnTo>
                    <a:pt x="4767" y="639"/>
                  </a:lnTo>
                  <a:cubicBezTo>
                    <a:pt x="4771" y="621"/>
                    <a:pt x="4776" y="604"/>
                    <a:pt x="4780" y="586"/>
                  </a:cubicBezTo>
                  <a:cubicBezTo>
                    <a:pt x="4783" y="566"/>
                    <a:pt x="4786" y="547"/>
                    <a:pt x="4789" y="527"/>
                  </a:cubicBezTo>
                  <a:cubicBezTo>
                    <a:pt x="4795" y="511"/>
                    <a:pt x="4801" y="496"/>
                    <a:pt x="4807" y="480"/>
                  </a:cubicBezTo>
                  <a:lnTo>
                    <a:pt x="4816" y="432"/>
                  </a:lnTo>
                  <a:lnTo>
                    <a:pt x="3789" y="432"/>
                  </a:lnTo>
                  <a:lnTo>
                    <a:pt x="3789" y="219"/>
                  </a:lnTo>
                  <a:lnTo>
                    <a:pt x="4834" y="219"/>
                  </a:lnTo>
                  <a:cubicBezTo>
                    <a:pt x="4842" y="195"/>
                    <a:pt x="4849" y="172"/>
                    <a:pt x="4857" y="148"/>
                  </a:cubicBezTo>
                  <a:cubicBezTo>
                    <a:pt x="4866" y="124"/>
                    <a:pt x="4874" y="101"/>
                    <a:pt x="4883" y="77"/>
                  </a:cubicBezTo>
                  <a:cubicBezTo>
                    <a:pt x="4892" y="57"/>
                    <a:pt x="4901" y="38"/>
                    <a:pt x="4910" y="18"/>
                  </a:cubicBezTo>
                  <a:lnTo>
                    <a:pt x="4946" y="0"/>
                  </a:lnTo>
                  <a:lnTo>
                    <a:pt x="4982" y="18"/>
                  </a:lnTo>
                  <a:cubicBezTo>
                    <a:pt x="4991" y="38"/>
                    <a:pt x="5000" y="57"/>
                    <a:pt x="5009" y="77"/>
                  </a:cubicBezTo>
                  <a:cubicBezTo>
                    <a:pt x="5016" y="101"/>
                    <a:pt x="5024" y="124"/>
                    <a:pt x="5031" y="148"/>
                  </a:cubicBezTo>
                  <a:cubicBezTo>
                    <a:pt x="5039" y="172"/>
                    <a:pt x="5046" y="195"/>
                    <a:pt x="5054" y="219"/>
                  </a:cubicBezTo>
                  <a:lnTo>
                    <a:pt x="6135" y="219"/>
                  </a:lnTo>
                  <a:lnTo>
                    <a:pt x="6135" y="432"/>
                  </a:lnTo>
                  <a:lnTo>
                    <a:pt x="5076" y="432"/>
                  </a:lnTo>
                  <a:lnTo>
                    <a:pt x="5085" y="480"/>
                  </a:lnTo>
                  <a:cubicBezTo>
                    <a:pt x="5090" y="496"/>
                    <a:pt x="5094" y="511"/>
                    <a:pt x="5099" y="527"/>
                  </a:cubicBezTo>
                  <a:cubicBezTo>
                    <a:pt x="5103" y="547"/>
                    <a:pt x="5108" y="566"/>
                    <a:pt x="5112" y="586"/>
                  </a:cubicBezTo>
                  <a:cubicBezTo>
                    <a:pt x="5117" y="604"/>
                    <a:pt x="5121" y="621"/>
                    <a:pt x="5126" y="639"/>
                  </a:cubicBezTo>
                  <a:lnTo>
                    <a:pt x="5152" y="639"/>
                  </a:lnTo>
                  <a:lnTo>
                    <a:pt x="5188" y="645"/>
                  </a:lnTo>
                  <a:lnTo>
                    <a:pt x="5224" y="663"/>
                  </a:lnTo>
                  <a:lnTo>
                    <a:pt x="5260" y="675"/>
                  </a:lnTo>
                  <a:lnTo>
                    <a:pt x="5296" y="687"/>
                  </a:lnTo>
                  <a:cubicBezTo>
                    <a:pt x="5308" y="697"/>
                    <a:pt x="5320" y="706"/>
                    <a:pt x="5332" y="716"/>
                  </a:cubicBezTo>
                  <a:cubicBezTo>
                    <a:pt x="5342" y="722"/>
                    <a:pt x="5353" y="728"/>
                    <a:pt x="5363" y="734"/>
                  </a:cubicBezTo>
                  <a:lnTo>
                    <a:pt x="5390" y="770"/>
                  </a:lnTo>
                  <a:cubicBezTo>
                    <a:pt x="5398" y="827"/>
                    <a:pt x="5405" y="884"/>
                    <a:pt x="5413" y="941"/>
                  </a:cubicBezTo>
                  <a:cubicBezTo>
                    <a:pt x="5420" y="1060"/>
                    <a:pt x="5428" y="1178"/>
                    <a:pt x="5435" y="1297"/>
                  </a:cubicBezTo>
                  <a:cubicBezTo>
                    <a:pt x="5444" y="1463"/>
                    <a:pt x="5453" y="1628"/>
                    <a:pt x="5462" y="1794"/>
                  </a:cubicBezTo>
                  <a:cubicBezTo>
                    <a:pt x="5471" y="1997"/>
                    <a:pt x="5480" y="2201"/>
                    <a:pt x="5489" y="2404"/>
                  </a:cubicBezTo>
                  <a:lnTo>
                    <a:pt x="10021" y="2416"/>
                  </a:lnTo>
                  <a:cubicBezTo>
                    <a:pt x="10033" y="3334"/>
                    <a:pt x="10025" y="3079"/>
                    <a:pt x="10000" y="3410"/>
                  </a:cubicBezTo>
                  <a:cubicBezTo>
                    <a:pt x="9993" y="3450"/>
                    <a:pt x="9985" y="3489"/>
                    <a:pt x="9978" y="3529"/>
                  </a:cubicBezTo>
                  <a:cubicBezTo>
                    <a:pt x="9967" y="3560"/>
                    <a:pt x="9957" y="3592"/>
                    <a:pt x="9946" y="3623"/>
                  </a:cubicBezTo>
                  <a:cubicBezTo>
                    <a:pt x="9931" y="3647"/>
                    <a:pt x="9916" y="3670"/>
                    <a:pt x="9901" y="3694"/>
                  </a:cubicBezTo>
                  <a:cubicBezTo>
                    <a:pt x="9885" y="3716"/>
                    <a:pt x="9868" y="3738"/>
                    <a:pt x="9852" y="3760"/>
                  </a:cubicBezTo>
                  <a:cubicBezTo>
                    <a:pt x="9834" y="3776"/>
                    <a:pt x="9816" y="3791"/>
                    <a:pt x="9798" y="3807"/>
                  </a:cubicBezTo>
                  <a:lnTo>
                    <a:pt x="9753" y="3843"/>
                  </a:lnTo>
                  <a:cubicBezTo>
                    <a:pt x="9743" y="3849"/>
                    <a:pt x="9732" y="3854"/>
                    <a:pt x="9722" y="3860"/>
                  </a:cubicBezTo>
                  <a:cubicBezTo>
                    <a:pt x="9718" y="3862"/>
                    <a:pt x="9713" y="3864"/>
                    <a:pt x="9709" y="3866"/>
                  </a:cubicBez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911" name="Group 1910">
            <a:extLst>
              <a:ext uri="{FF2B5EF4-FFF2-40B4-BE49-F238E27FC236}">
                <a16:creationId xmlns:a16="http://schemas.microsoft.com/office/drawing/2014/main" id="{0916E7A5-FAC5-446E-8673-49E20708409B}"/>
              </a:ext>
            </a:extLst>
          </p:cNvPr>
          <p:cNvGrpSpPr/>
          <p:nvPr/>
        </p:nvGrpSpPr>
        <p:grpSpPr>
          <a:xfrm>
            <a:off x="3153826" y="1656899"/>
            <a:ext cx="612775" cy="612775"/>
            <a:chOff x="1321462" y="2258092"/>
            <a:chExt cx="612775" cy="612775"/>
          </a:xfrm>
        </p:grpSpPr>
        <p:sp>
          <p:nvSpPr>
            <p:cNvPr id="1912" name="Oval 1911">
              <a:extLst>
                <a:ext uri="{FF2B5EF4-FFF2-40B4-BE49-F238E27FC236}">
                  <a16:creationId xmlns:a16="http://schemas.microsoft.com/office/drawing/2014/main" id="{2A6F957D-7504-4848-BEBD-8F577876CB73}"/>
                </a:ext>
              </a:extLst>
            </p:cNvPr>
            <p:cNvSpPr/>
            <p:nvPr/>
          </p:nvSpPr>
          <p:spPr bwMode="ltGray">
            <a:xfrm>
              <a:off x="1321462"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1913" name="Freeform 8">
              <a:extLst>
                <a:ext uri="{FF2B5EF4-FFF2-40B4-BE49-F238E27FC236}">
                  <a16:creationId xmlns:a16="http://schemas.microsoft.com/office/drawing/2014/main" id="{1F33825A-A9E3-4F7E-B2AE-2A390D94E4A9}"/>
                </a:ext>
              </a:extLst>
            </p:cNvPr>
            <p:cNvSpPr>
              <a:spLocks/>
            </p:cNvSpPr>
            <p:nvPr/>
          </p:nvSpPr>
          <p:spPr bwMode="auto">
            <a:xfrm>
              <a:off x="1428554" y="2344509"/>
              <a:ext cx="453586" cy="429756"/>
            </a:xfrm>
            <a:custGeom>
              <a:avLst/>
              <a:gdLst>
                <a:gd name="T0" fmla="*/ 553 w 1065"/>
                <a:gd name="T1" fmla="*/ 562 h 1009"/>
                <a:gd name="T2" fmla="*/ 609 w 1065"/>
                <a:gd name="T3" fmla="*/ 557 h 1009"/>
                <a:gd name="T4" fmla="*/ 694 w 1065"/>
                <a:gd name="T5" fmla="*/ 549 h 1009"/>
                <a:gd name="T6" fmla="*/ 755 w 1065"/>
                <a:gd name="T7" fmla="*/ 547 h 1009"/>
                <a:gd name="T8" fmla="*/ 830 w 1065"/>
                <a:gd name="T9" fmla="*/ 549 h 1009"/>
                <a:gd name="T10" fmla="*/ 919 w 1065"/>
                <a:gd name="T11" fmla="*/ 551 h 1009"/>
                <a:gd name="T12" fmla="*/ 1000 w 1065"/>
                <a:gd name="T13" fmla="*/ 554 h 1009"/>
                <a:gd name="T14" fmla="*/ 1054 w 1065"/>
                <a:gd name="T15" fmla="*/ 557 h 1009"/>
                <a:gd name="T16" fmla="*/ 1064 w 1065"/>
                <a:gd name="T17" fmla="*/ 554 h 1009"/>
                <a:gd name="T18" fmla="*/ 1053 w 1065"/>
                <a:gd name="T19" fmla="*/ 522 h 1009"/>
                <a:gd name="T20" fmla="*/ 1024 w 1065"/>
                <a:gd name="T21" fmla="*/ 482 h 1009"/>
                <a:gd name="T22" fmla="*/ 984 w 1065"/>
                <a:gd name="T23" fmla="*/ 466 h 1009"/>
                <a:gd name="T24" fmla="*/ 886 w 1065"/>
                <a:gd name="T25" fmla="*/ 447 h 1009"/>
                <a:gd name="T26" fmla="*/ 750 w 1065"/>
                <a:gd name="T27" fmla="*/ 423 h 1009"/>
                <a:gd name="T28" fmla="*/ 615 w 1065"/>
                <a:gd name="T29" fmla="*/ 399 h 1009"/>
                <a:gd name="T30" fmla="*/ 520 w 1065"/>
                <a:gd name="T31" fmla="*/ 382 h 1009"/>
                <a:gd name="T32" fmla="*/ 411 w 1065"/>
                <a:gd name="T33" fmla="*/ 78 h 1009"/>
                <a:gd name="T34" fmla="*/ 387 w 1065"/>
                <a:gd name="T35" fmla="*/ 37 h 1009"/>
                <a:gd name="T36" fmla="*/ 350 w 1065"/>
                <a:gd name="T37" fmla="*/ 5 h 1009"/>
                <a:gd name="T38" fmla="*/ 320 w 1065"/>
                <a:gd name="T39" fmla="*/ 6 h 1009"/>
                <a:gd name="T40" fmla="*/ 302 w 1065"/>
                <a:gd name="T41" fmla="*/ 46 h 1009"/>
                <a:gd name="T42" fmla="*/ 297 w 1065"/>
                <a:gd name="T43" fmla="*/ 97 h 1009"/>
                <a:gd name="T44" fmla="*/ 381 w 1065"/>
                <a:gd name="T45" fmla="*/ 414 h 1009"/>
                <a:gd name="T46" fmla="*/ 328 w 1065"/>
                <a:gd name="T47" fmla="*/ 463 h 1009"/>
                <a:gd name="T48" fmla="*/ 236 w 1065"/>
                <a:gd name="T49" fmla="*/ 550 h 1009"/>
                <a:gd name="T50" fmla="*/ 133 w 1065"/>
                <a:gd name="T51" fmla="*/ 646 h 1009"/>
                <a:gd name="T52" fmla="*/ 49 w 1065"/>
                <a:gd name="T53" fmla="*/ 726 h 1009"/>
                <a:gd name="T54" fmla="*/ 13 w 1065"/>
                <a:gd name="T55" fmla="*/ 762 h 1009"/>
                <a:gd name="T56" fmla="*/ 2 w 1065"/>
                <a:gd name="T57" fmla="*/ 855 h 1009"/>
                <a:gd name="T58" fmla="*/ 14 w 1065"/>
                <a:gd name="T59" fmla="*/ 858 h 1009"/>
                <a:gd name="T60" fmla="*/ 53 w 1065"/>
                <a:gd name="T61" fmla="*/ 830 h 1009"/>
                <a:gd name="T62" fmla="*/ 113 w 1065"/>
                <a:gd name="T63" fmla="*/ 787 h 1009"/>
                <a:gd name="T64" fmla="*/ 178 w 1065"/>
                <a:gd name="T65" fmla="*/ 741 h 1009"/>
                <a:gd name="T66" fmla="*/ 237 w 1065"/>
                <a:gd name="T67" fmla="*/ 701 h 1009"/>
                <a:gd name="T68" fmla="*/ 291 w 1065"/>
                <a:gd name="T69" fmla="*/ 670 h 1009"/>
                <a:gd name="T70" fmla="*/ 377 w 1065"/>
                <a:gd name="T71" fmla="*/ 627 h 1009"/>
                <a:gd name="T72" fmla="*/ 435 w 1065"/>
                <a:gd name="T73" fmla="*/ 598 h 1009"/>
                <a:gd name="T74" fmla="*/ 496 w 1065"/>
                <a:gd name="T75" fmla="*/ 805 h 1009"/>
                <a:gd name="T76" fmla="*/ 464 w 1065"/>
                <a:gd name="T77" fmla="*/ 840 h 1009"/>
                <a:gd name="T78" fmla="*/ 425 w 1065"/>
                <a:gd name="T79" fmla="*/ 901 h 1009"/>
                <a:gd name="T80" fmla="*/ 416 w 1065"/>
                <a:gd name="T81" fmla="*/ 962 h 1009"/>
                <a:gd name="T82" fmla="*/ 430 w 1065"/>
                <a:gd name="T83" fmla="*/ 992 h 1009"/>
                <a:gd name="T84" fmla="*/ 440 w 1065"/>
                <a:gd name="T85" fmla="*/ 999 h 1009"/>
                <a:gd name="T86" fmla="*/ 586 w 1065"/>
                <a:gd name="T87" fmla="*/ 994 h 1009"/>
                <a:gd name="T88" fmla="*/ 598 w 1065"/>
                <a:gd name="T89" fmla="*/ 1006 h 1009"/>
                <a:gd name="T90" fmla="*/ 615 w 1065"/>
                <a:gd name="T91" fmla="*/ 1009 h 1009"/>
                <a:gd name="T92" fmla="*/ 638 w 1065"/>
                <a:gd name="T93" fmla="*/ 994 h 1009"/>
                <a:gd name="T94" fmla="*/ 617 w 1065"/>
                <a:gd name="T95" fmla="*/ 895 h 1009"/>
                <a:gd name="T96" fmla="*/ 767 w 1065"/>
                <a:gd name="T97" fmla="*/ 870 h 1009"/>
                <a:gd name="T98" fmla="*/ 728 w 1065"/>
                <a:gd name="T99" fmla="*/ 808 h 1009"/>
                <a:gd name="T100" fmla="*/ 663 w 1065"/>
                <a:gd name="T101" fmla="*/ 785 h 1009"/>
                <a:gd name="T102" fmla="*/ 611 w 1065"/>
                <a:gd name="T103" fmla="*/ 773 h 10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65" h="1009">
                  <a:moveTo>
                    <a:pt x="607" y="772"/>
                  </a:moveTo>
                  <a:lnTo>
                    <a:pt x="548" y="564"/>
                  </a:lnTo>
                  <a:lnTo>
                    <a:pt x="553" y="562"/>
                  </a:lnTo>
                  <a:lnTo>
                    <a:pt x="565" y="561"/>
                  </a:lnTo>
                  <a:lnTo>
                    <a:pt x="585" y="559"/>
                  </a:lnTo>
                  <a:lnTo>
                    <a:pt x="609" y="557"/>
                  </a:lnTo>
                  <a:lnTo>
                    <a:pt x="637" y="553"/>
                  </a:lnTo>
                  <a:lnTo>
                    <a:pt x="666" y="551"/>
                  </a:lnTo>
                  <a:lnTo>
                    <a:pt x="694" y="549"/>
                  </a:lnTo>
                  <a:lnTo>
                    <a:pt x="721" y="547"/>
                  </a:lnTo>
                  <a:lnTo>
                    <a:pt x="736" y="547"/>
                  </a:lnTo>
                  <a:lnTo>
                    <a:pt x="755" y="547"/>
                  </a:lnTo>
                  <a:lnTo>
                    <a:pt x="779" y="547"/>
                  </a:lnTo>
                  <a:lnTo>
                    <a:pt x="804" y="547"/>
                  </a:lnTo>
                  <a:lnTo>
                    <a:pt x="830" y="549"/>
                  </a:lnTo>
                  <a:lnTo>
                    <a:pt x="860" y="550"/>
                  </a:lnTo>
                  <a:lnTo>
                    <a:pt x="889" y="550"/>
                  </a:lnTo>
                  <a:lnTo>
                    <a:pt x="919" y="551"/>
                  </a:lnTo>
                  <a:lnTo>
                    <a:pt x="947" y="552"/>
                  </a:lnTo>
                  <a:lnTo>
                    <a:pt x="974" y="553"/>
                  </a:lnTo>
                  <a:lnTo>
                    <a:pt x="1000" y="554"/>
                  </a:lnTo>
                  <a:lnTo>
                    <a:pt x="1022" y="554"/>
                  </a:lnTo>
                  <a:lnTo>
                    <a:pt x="1039" y="555"/>
                  </a:lnTo>
                  <a:lnTo>
                    <a:pt x="1054" y="557"/>
                  </a:lnTo>
                  <a:lnTo>
                    <a:pt x="1062" y="557"/>
                  </a:lnTo>
                  <a:lnTo>
                    <a:pt x="1065" y="557"/>
                  </a:lnTo>
                  <a:lnTo>
                    <a:pt x="1064" y="554"/>
                  </a:lnTo>
                  <a:lnTo>
                    <a:pt x="1063" y="546"/>
                  </a:lnTo>
                  <a:lnTo>
                    <a:pt x="1058" y="536"/>
                  </a:lnTo>
                  <a:lnTo>
                    <a:pt x="1053" y="522"/>
                  </a:lnTo>
                  <a:lnTo>
                    <a:pt x="1046" y="508"/>
                  </a:lnTo>
                  <a:lnTo>
                    <a:pt x="1035" y="494"/>
                  </a:lnTo>
                  <a:lnTo>
                    <a:pt x="1024" y="482"/>
                  </a:lnTo>
                  <a:lnTo>
                    <a:pt x="1009" y="471"/>
                  </a:lnTo>
                  <a:lnTo>
                    <a:pt x="1002" y="469"/>
                  </a:lnTo>
                  <a:lnTo>
                    <a:pt x="984" y="466"/>
                  </a:lnTo>
                  <a:lnTo>
                    <a:pt x="958" y="461"/>
                  </a:lnTo>
                  <a:lnTo>
                    <a:pt x="925" y="454"/>
                  </a:lnTo>
                  <a:lnTo>
                    <a:pt x="886" y="447"/>
                  </a:lnTo>
                  <a:lnTo>
                    <a:pt x="843" y="439"/>
                  </a:lnTo>
                  <a:lnTo>
                    <a:pt x="797" y="431"/>
                  </a:lnTo>
                  <a:lnTo>
                    <a:pt x="750" y="423"/>
                  </a:lnTo>
                  <a:lnTo>
                    <a:pt x="702" y="414"/>
                  </a:lnTo>
                  <a:lnTo>
                    <a:pt x="658" y="406"/>
                  </a:lnTo>
                  <a:lnTo>
                    <a:pt x="615" y="399"/>
                  </a:lnTo>
                  <a:lnTo>
                    <a:pt x="577" y="392"/>
                  </a:lnTo>
                  <a:lnTo>
                    <a:pt x="545" y="386"/>
                  </a:lnTo>
                  <a:lnTo>
                    <a:pt x="520" y="382"/>
                  </a:lnTo>
                  <a:lnTo>
                    <a:pt x="504" y="379"/>
                  </a:lnTo>
                  <a:lnTo>
                    <a:pt x="499" y="378"/>
                  </a:lnTo>
                  <a:lnTo>
                    <a:pt x="411" y="78"/>
                  </a:lnTo>
                  <a:lnTo>
                    <a:pt x="405" y="65"/>
                  </a:lnTo>
                  <a:lnTo>
                    <a:pt x="397" y="51"/>
                  </a:lnTo>
                  <a:lnTo>
                    <a:pt x="387" y="37"/>
                  </a:lnTo>
                  <a:lnTo>
                    <a:pt x="375" y="25"/>
                  </a:lnTo>
                  <a:lnTo>
                    <a:pt x="363" y="13"/>
                  </a:lnTo>
                  <a:lnTo>
                    <a:pt x="350" y="5"/>
                  </a:lnTo>
                  <a:lnTo>
                    <a:pt x="339" y="0"/>
                  </a:lnTo>
                  <a:lnTo>
                    <a:pt x="328" y="0"/>
                  </a:lnTo>
                  <a:lnTo>
                    <a:pt x="320" y="6"/>
                  </a:lnTo>
                  <a:lnTo>
                    <a:pt x="312" y="16"/>
                  </a:lnTo>
                  <a:lnTo>
                    <a:pt x="306" y="30"/>
                  </a:lnTo>
                  <a:lnTo>
                    <a:pt x="302" y="46"/>
                  </a:lnTo>
                  <a:lnTo>
                    <a:pt x="298" y="64"/>
                  </a:lnTo>
                  <a:lnTo>
                    <a:pt x="297" y="81"/>
                  </a:lnTo>
                  <a:lnTo>
                    <a:pt x="297" y="97"/>
                  </a:lnTo>
                  <a:lnTo>
                    <a:pt x="299" y="110"/>
                  </a:lnTo>
                  <a:lnTo>
                    <a:pt x="386" y="410"/>
                  </a:lnTo>
                  <a:lnTo>
                    <a:pt x="381" y="414"/>
                  </a:lnTo>
                  <a:lnTo>
                    <a:pt x="370" y="425"/>
                  </a:lnTo>
                  <a:lnTo>
                    <a:pt x="352" y="441"/>
                  </a:lnTo>
                  <a:lnTo>
                    <a:pt x="328" y="463"/>
                  </a:lnTo>
                  <a:lnTo>
                    <a:pt x="300" y="490"/>
                  </a:lnTo>
                  <a:lnTo>
                    <a:pt x="269" y="519"/>
                  </a:lnTo>
                  <a:lnTo>
                    <a:pt x="236" y="550"/>
                  </a:lnTo>
                  <a:lnTo>
                    <a:pt x="201" y="582"/>
                  </a:lnTo>
                  <a:lnTo>
                    <a:pt x="167" y="614"/>
                  </a:lnTo>
                  <a:lnTo>
                    <a:pt x="133" y="646"/>
                  </a:lnTo>
                  <a:lnTo>
                    <a:pt x="101" y="675"/>
                  </a:lnTo>
                  <a:lnTo>
                    <a:pt x="74" y="703"/>
                  </a:lnTo>
                  <a:lnTo>
                    <a:pt x="49" y="726"/>
                  </a:lnTo>
                  <a:lnTo>
                    <a:pt x="30" y="743"/>
                  </a:lnTo>
                  <a:lnTo>
                    <a:pt x="17" y="756"/>
                  </a:lnTo>
                  <a:lnTo>
                    <a:pt x="13" y="762"/>
                  </a:lnTo>
                  <a:lnTo>
                    <a:pt x="1" y="797"/>
                  </a:lnTo>
                  <a:lnTo>
                    <a:pt x="0" y="831"/>
                  </a:lnTo>
                  <a:lnTo>
                    <a:pt x="2" y="855"/>
                  </a:lnTo>
                  <a:lnTo>
                    <a:pt x="4" y="865"/>
                  </a:lnTo>
                  <a:lnTo>
                    <a:pt x="7" y="864"/>
                  </a:lnTo>
                  <a:lnTo>
                    <a:pt x="14" y="858"/>
                  </a:lnTo>
                  <a:lnTo>
                    <a:pt x="23" y="851"/>
                  </a:lnTo>
                  <a:lnTo>
                    <a:pt x="37" y="842"/>
                  </a:lnTo>
                  <a:lnTo>
                    <a:pt x="53" y="830"/>
                  </a:lnTo>
                  <a:lnTo>
                    <a:pt x="71" y="817"/>
                  </a:lnTo>
                  <a:lnTo>
                    <a:pt x="91" y="802"/>
                  </a:lnTo>
                  <a:lnTo>
                    <a:pt x="113" y="787"/>
                  </a:lnTo>
                  <a:lnTo>
                    <a:pt x="135" y="772"/>
                  </a:lnTo>
                  <a:lnTo>
                    <a:pt x="157" y="756"/>
                  </a:lnTo>
                  <a:lnTo>
                    <a:pt x="178" y="741"/>
                  </a:lnTo>
                  <a:lnTo>
                    <a:pt x="199" y="726"/>
                  </a:lnTo>
                  <a:lnTo>
                    <a:pt x="219" y="713"/>
                  </a:lnTo>
                  <a:lnTo>
                    <a:pt x="237" y="701"/>
                  </a:lnTo>
                  <a:lnTo>
                    <a:pt x="253" y="691"/>
                  </a:lnTo>
                  <a:lnTo>
                    <a:pt x="266" y="683"/>
                  </a:lnTo>
                  <a:lnTo>
                    <a:pt x="291" y="670"/>
                  </a:lnTo>
                  <a:lnTo>
                    <a:pt x="319" y="656"/>
                  </a:lnTo>
                  <a:lnTo>
                    <a:pt x="349" y="641"/>
                  </a:lnTo>
                  <a:lnTo>
                    <a:pt x="377" y="627"/>
                  </a:lnTo>
                  <a:lnTo>
                    <a:pt x="401" y="614"/>
                  </a:lnTo>
                  <a:lnTo>
                    <a:pt x="421" y="605"/>
                  </a:lnTo>
                  <a:lnTo>
                    <a:pt x="435" y="598"/>
                  </a:lnTo>
                  <a:lnTo>
                    <a:pt x="440" y="596"/>
                  </a:lnTo>
                  <a:lnTo>
                    <a:pt x="500" y="803"/>
                  </a:lnTo>
                  <a:lnTo>
                    <a:pt x="496" y="805"/>
                  </a:lnTo>
                  <a:lnTo>
                    <a:pt x="489" y="813"/>
                  </a:lnTo>
                  <a:lnTo>
                    <a:pt x="478" y="825"/>
                  </a:lnTo>
                  <a:lnTo>
                    <a:pt x="464" y="840"/>
                  </a:lnTo>
                  <a:lnTo>
                    <a:pt x="450" y="858"/>
                  </a:lnTo>
                  <a:lnTo>
                    <a:pt x="436" y="878"/>
                  </a:lnTo>
                  <a:lnTo>
                    <a:pt x="425" y="901"/>
                  </a:lnTo>
                  <a:lnTo>
                    <a:pt x="418" y="924"/>
                  </a:lnTo>
                  <a:lnTo>
                    <a:pt x="416" y="946"/>
                  </a:lnTo>
                  <a:lnTo>
                    <a:pt x="416" y="962"/>
                  </a:lnTo>
                  <a:lnTo>
                    <a:pt x="419" y="976"/>
                  </a:lnTo>
                  <a:lnTo>
                    <a:pt x="424" y="985"/>
                  </a:lnTo>
                  <a:lnTo>
                    <a:pt x="430" y="992"/>
                  </a:lnTo>
                  <a:lnTo>
                    <a:pt x="434" y="997"/>
                  </a:lnTo>
                  <a:lnTo>
                    <a:pt x="439" y="998"/>
                  </a:lnTo>
                  <a:lnTo>
                    <a:pt x="440" y="999"/>
                  </a:lnTo>
                  <a:lnTo>
                    <a:pt x="562" y="911"/>
                  </a:lnTo>
                  <a:lnTo>
                    <a:pt x="584" y="989"/>
                  </a:lnTo>
                  <a:lnTo>
                    <a:pt x="586" y="994"/>
                  </a:lnTo>
                  <a:lnTo>
                    <a:pt x="590" y="999"/>
                  </a:lnTo>
                  <a:lnTo>
                    <a:pt x="593" y="1002"/>
                  </a:lnTo>
                  <a:lnTo>
                    <a:pt x="598" y="1006"/>
                  </a:lnTo>
                  <a:lnTo>
                    <a:pt x="603" y="1008"/>
                  </a:lnTo>
                  <a:lnTo>
                    <a:pt x="609" y="1009"/>
                  </a:lnTo>
                  <a:lnTo>
                    <a:pt x="615" y="1009"/>
                  </a:lnTo>
                  <a:lnTo>
                    <a:pt x="621" y="1008"/>
                  </a:lnTo>
                  <a:lnTo>
                    <a:pt x="631" y="1002"/>
                  </a:lnTo>
                  <a:lnTo>
                    <a:pt x="638" y="994"/>
                  </a:lnTo>
                  <a:lnTo>
                    <a:pt x="641" y="984"/>
                  </a:lnTo>
                  <a:lnTo>
                    <a:pt x="640" y="972"/>
                  </a:lnTo>
                  <a:lnTo>
                    <a:pt x="617" y="895"/>
                  </a:lnTo>
                  <a:lnTo>
                    <a:pt x="768" y="903"/>
                  </a:lnTo>
                  <a:lnTo>
                    <a:pt x="768" y="894"/>
                  </a:lnTo>
                  <a:lnTo>
                    <a:pt x="767" y="870"/>
                  </a:lnTo>
                  <a:lnTo>
                    <a:pt x="760" y="842"/>
                  </a:lnTo>
                  <a:lnTo>
                    <a:pt x="743" y="817"/>
                  </a:lnTo>
                  <a:lnTo>
                    <a:pt x="728" y="808"/>
                  </a:lnTo>
                  <a:lnTo>
                    <a:pt x="708" y="799"/>
                  </a:lnTo>
                  <a:lnTo>
                    <a:pt x="686" y="792"/>
                  </a:lnTo>
                  <a:lnTo>
                    <a:pt x="663" y="785"/>
                  </a:lnTo>
                  <a:lnTo>
                    <a:pt x="641" y="779"/>
                  </a:lnTo>
                  <a:lnTo>
                    <a:pt x="624" y="775"/>
                  </a:lnTo>
                  <a:lnTo>
                    <a:pt x="611" y="773"/>
                  </a:lnTo>
                  <a:lnTo>
                    <a:pt x="607" y="77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1914" name="Group 1913">
            <a:extLst>
              <a:ext uri="{FF2B5EF4-FFF2-40B4-BE49-F238E27FC236}">
                <a16:creationId xmlns:a16="http://schemas.microsoft.com/office/drawing/2014/main" id="{92869AE8-D2AE-45C3-AAFF-E332748CDE4D}"/>
              </a:ext>
            </a:extLst>
          </p:cNvPr>
          <p:cNvGrpSpPr/>
          <p:nvPr/>
        </p:nvGrpSpPr>
        <p:grpSpPr>
          <a:xfrm>
            <a:off x="2425171" y="4756107"/>
            <a:ext cx="612000" cy="612000"/>
            <a:chOff x="592807" y="5357300"/>
            <a:chExt cx="612000" cy="612000"/>
          </a:xfrm>
        </p:grpSpPr>
        <p:sp>
          <p:nvSpPr>
            <p:cNvPr id="1915" name="Oval 1914">
              <a:extLst>
                <a:ext uri="{FF2B5EF4-FFF2-40B4-BE49-F238E27FC236}">
                  <a16:creationId xmlns:a16="http://schemas.microsoft.com/office/drawing/2014/main" id="{24AD74D0-F51B-4036-9D0F-939980C1B89B}"/>
                </a:ext>
              </a:extLst>
            </p:cNvPr>
            <p:cNvSpPr/>
            <p:nvPr/>
          </p:nvSpPr>
          <p:spPr bwMode="ltGray">
            <a:xfrm>
              <a:off x="592807" y="5357300"/>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916" name="Group 1915">
              <a:extLst>
                <a:ext uri="{FF2B5EF4-FFF2-40B4-BE49-F238E27FC236}">
                  <a16:creationId xmlns:a16="http://schemas.microsoft.com/office/drawing/2014/main" id="{09C139A4-A653-4DE6-9F61-337CA60731CF}"/>
                </a:ext>
              </a:extLst>
            </p:cNvPr>
            <p:cNvGrpSpPr/>
            <p:nvPr/>
          </p:nvGrpSpPr>
          <p:grpSpPr>
            <a:xfrm>
              <a:off x="772243" y="5406698"/>
              <a:ext cx="253901" cy="482724"/>
              <a:chOff x="2535238" y="3005138"/>
              <a:chExt cx="771525" cy="1466850"/>
            </a:xfrm>
          </p:grpSpPr>
          <p:sp>
            <p:nvSpPr>
              <p:cNvPr id="1917" name="Freeform 1103">
                <a:extLst>
                  <a:ext uri="{FF2B5EF4-FFF2-40B4-BE49-F238E27FC236}">
                    <a16:creationId xmlns:a16="http://schemas.microsoft.com/office/drawing/2014/main" id="{C814C539-EA03-48BE-8CB5-5C7C170A8D4B}"/>
                  </a:ext>
                </a:extLst>
              </p:cNvPr>
              <p:cNvSpPr>
                <a:spLocks/>
              </p:cNvSpPr>
              <p:nvPr/>
            </p:nvSpPr>
            <p:spPr bwMode="auto">
              <a:xfrm>
                <a:off x="2535238" y="3005138"/>
                <a:ext cx="771525" cy="1466850"/>
              </a:xfrm>
              <a:custGeom>
                <a:avLst/>
                <a:gdLst>
                  <a:gd name="T0" fmla="*/ 0 w 972"/>
                  <a:gd name="T1" fmla="*/ 1847 h 1847"/>
                  <a:gd name="T2" fmla="*/ 197 w 972"/>
                  <a:gd name="T3" fmla="*/ 1761 h 1847"/>
                  <a:gd name="T4" fmla="*/ 216 w 972"/>
                  <a:gd name="T5" fmla="*/ 1726 h 1847"/>
                  <a:gd name="T6" fmla="*/ 258 w 972"/>
                  <a:gd name="T7" fmla="*/ 1647 h 1847"/>
                  <a:gd name="T8" fmla="*/ 311 w 972"/>
                  <a:gd name="T9" fmla="*/ 1565 h 1847"/>
                  <a:gd name="T10" fmla="*/ 358 w 972"/>
                  <a:gd name="T11" fmla="*/ 1522 h 1847"/>
                  <a:gd name="T12" fmla="*/ 383 w 972"/>
                  <a:gd name="T13" fmla="*/ 1517 h 1847"/>
                  <a:gd name="T14" fmla="*/ 414 w 972"/>
                  <a:gd name="T15" fmla="*/ 1515 h 1847"/>
                  <a:gd name="T16" fmla="*/ 448 w 972"/>
                  <a:gd name="T17" fmla="*/ 1514 h 1847"/>
                  <a:gd name="T18" fmla="*/ 484 w 972"/>
                  <a:gd name="T19" fmla="*/ 1514 h 1847"/>
                  <a:gd name="T20" fmla="*/ 517 w 972"/>
                  <a:gd name="T21" fmla="*/ 1515 h 1847"/>
                  <a:gd name="T22" fmla="*/ 545 w 972"/>
                  <a:gd name="T23" fmla="*/ 1516 h 1847"/>
                  <a:gd name="T24" fmla="*/ 563 w 972"/>
                  <a:gd name="T25" fmla="*/ 1518 h 1847"/>
                  <a:gd name="T26" fmla="*/ 570 w 972"/>
                  <a:gd name="T27" fmla="*/ 1518 h 1847"/>
                  <a:gd name="T28" fmla="*/ 592 w 972"/>
                  <a:gd name="T29" fmla="*/ 1532 h 1847"/>
                  <a:gd name="T30" fmla="*/ 643 w 972"/>
                  <a:gd name="T31" fmla="*/ 1577 h 1847"/>
                  <a:gd name="T32" fmla="*/ 701 w 972"/>
                  <a:gd name="T33" fmla="*/ 1656 h 1847"/>
                  <a:gd name="T34" fmla="*/ 742 w 972"/>
                  <a:gd name="T35" fmla="*/ 1774 h 1847"/>
                  <a:gd name="T36" fmla="*/ 972 w 972"/>
                  <a:gd name="T37" fmla="*/ 1792 h 1847"/>
                  <a:gd name="T38" fmla="*/ 861 w 972"/>
                  <a:gd name="T39" fmla="*/ 1683 h 1847"/>
                  <a:gd name="T40" fmla="*/ 824 w 972"/>
                  <a:gd name="T41" fmla="*/ 1378 h 1847"/>
                  <a:gd name="T42" fmla="*/ 722 w 972"/>
                  <a:gd name="T43" fmla="*/ 1258 h 1847"/>
                  <a:gd name="T44" fmla="*/ 651 w 972"/>
                  <a:gd name="T45" fmla="*/ 880 h 1847"/>
                  <a:gd name="T46" fmla="*/ 596 w 972"/>
                  <a:gd name="T47" fmla="*/ 814 h 1847"/>
                  <a:gd name="T48" fmla="*/ 583 w 972"/>
                  <a:gd name="T49" fmla="*/ 753 h 1847"/>
                  <a:gd name="T50" fmla="*/ 553 w 972"/>
                  <a:gd name="T51" fmla="*/ 608 h 1847"/>
                  <a:gd name="T52" fmla="*/ 522 w 972"/>
                  <a:gd name="T53" fmla="*/ 442 h 1847"/>
                  <a:gd name="T54" fmla="*/ 505 w 972"/>
                  <a:gd name="T55" fmla="*/ 315 h 1847"/>
                  <a:gd name="T56" fmla="*/ 531 w 972"/>
                  <a:gd name="T57" fmla="*/ 184 h 1847"/>
                  <a:gd name="T58" fmla="*/ 456 w 972"/>
                  <a:gd name="T59" fmla="*/ 0 h 1847"/>
                  <a:gd name="T60" fmla="*/ 386 w 972"/>
                  <a:gd name="T61" fmla="*/ 190 h 1847"/>
                  <a:gd name="T62" fmla="*/ 432 w 972"/>
                  <a:gd name="T63" fmla="*/ 309 h 1847"/>
                  <a:gd name="T64" fmla="*/ 262 w 972"/>
                  <a:gd name="T65" fmla="*/ 828 h 1847"/>
                  <a:gd name="T66" fmla="*/ 324 w 972"/>
                  <a:gd name="T67" fmla="*/ 933 h 1847"/>
                  <a:gd name="T68" fmla="*/ 114 w 972"/>
                  <a:gd name="T69" fmla="*/ 1300 h 1847"/>
                  <a:gd name="T70" fmla="*/ 174 w 972"/>
                  <a:gd name="T71" fmla="*/ 1417 h 1847"/>
                  <a:gd name="T72" fmla="*/ 6 w 972"/>
                  <a:gd name="T73" fmla="*/ 1776 h 1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72" h="1847">
                    <a:moveTo>
                      <a:pt x="6" y="1776"/>
                    </a:moveTo>
                    <a:lnTo>
                      <a:pt x="0" y="1847"/>
                    </a:lnTo>
                    <a:lnTo>
                      <a:pt x="222" y="1834"/>
                    </a:lnTo>
                    <a:lnTo>
                      <a:pt x="197" y="1761"/>
                    </a:lnTo>
                    <a:lnTo>
                      <a:pt x="202" y="1752"/>
                    </a:lnTo>
                    <a:lnTo>
                      <a:pt x="216" y="1726"/>
                    </a:lnTo>
                    <a:lnTo>
                      <a:pt x="234" y="1690"/>
                    </a:lnTo>
                    <a:lnTo>
                      <a:pt x="258" y="1647"/>
                    </a:lnTo>
                    <a:lnTo>
                      <a:pt x="285" y="1605"/>
                    </a:lnTo>
                    <a:lnTo>
                      <a:pt x="311" y="1565"/>
                    </a:lnTo>
                    <a:lnTo>
                      <a:pt x="337" y="1537"/>
                    </a:lnTo>
                    <a:lnTo>
                      <a:pt x="358" y="1522"/>
                    </a:lnTo>
                    <a:lnTo>
                      <a:pt x="369" y="1519"/>
                    </a:lnTo>
                    <a:lnTo>
                      <a:pt x="383" y="1517"/>
                    </a:lnTo>
                    <a:lnTo>
                      <a:pt x="398" y="1516"/>
                    </a:lnTo>
                    <a:lnTo>
                      <a:pt x="414" y="1515"/>
                    </a:lnTo>
                    <a:lnTo>
                      <a:pt x="431" y="1514"/>
                    </a:lnTo>
                    <a:lnTo>
                      <a:pt x="448" y="1514"/>
                    </a:lnTo>
                    <a:lnTo>
                      <a:pt x="467" y="1514"/>
                    </a:lnTo>
                    <a:lnTo>
                      <a:pt x="484" y="1514"/>
                    </a:lnTo>
                    <a:lnTo>
                      <a:pt x="501" y="1515"/>
                    </a:lnTo>
                    <a:lnTo>
                      <a:pt x="517" y="1515"/>
                    </a:lnTo>
                    <a:lnTo>
                      <a:pt x="531" y="1516"/>
                    </a:lnTo>
                    <a:lnTo>
                      <a:pt x="545" y="1516"/>
                    </a:lnTo>
                    <a:lnTo>
                      <a:pt x="555" y="1517"/>
                    </a:lnTo>
                    <a:lnTo>
                      <a:pt x="563" y="1518"/>
                    </a:lnTo>
                    <a:lnTo>
                      <a:pt x="568" y="1518"/>
                    </a:lnTo>
                    <a:lnTo>
                      <a:pt x="570" y="1518"/>
                    </a:lnTo>
                    <a:lnTo>
                      <a:pt x="576" y="1522"/>
                    </a:lnTo>
                    <a:lnTo>
                      <a:pt x="592" y="1532"/>
                    </a:lnTo>
                    <a:lnTo>
                      <a:pt x="615" y="1550"/>
                    </a:lnTo>
                    <a:lnTo>
                      <a:pt x="643" y="1577"/>
                    </a:lnTo>
                    <a:lnTo>
                      <a:pt x="672" y="1611"/>
                    </a:lnTo>
                    <a:lnTo>
                      <a:pt x="701" y="1656"/>
                    </a:lnTo>
                    <a:lnTo>
                      <a:pt x="725" y="1711"/>
                    </a:lnTo>
                    <a:lnTo>
                      <a:pt x="742" y="1774"/>
                    </a:lnTo>
                    <a:lnTo>
                      <a:pt x="749" y="1805"/>
                    </a:lnTo>
                    <a:lnTo>
                      <a:pt x="972" y="1792"/>
                    </a:lnTo>
                    <a:lnTo>
                      <a:pt x="939" y="1709"/>
                    </a:lnTo>
                    <a:lnTo>
                      <a:pt x="861" y="1683"/>
                    </a:lnTo>
                    <a:lnTo>
                      <a:pt x="771" y="1403"/>
                    </a:lnTo>
                    <a:lnTo>
                      <a:pt x="824" y="1378"/>
                    </a:lnTo>
                    <a:lnTo>
                      <a:pt x="831" y="1287"/>
                    </a:lnTo>
                    <a:lnTo>
                      <a:pt x="722" y="1258"/>
                    </a:lnTo>
                    <a:lnTo>
                      <a:pt x="608" y="906"/>
                    </a:lnTo>
                    <a:lnTo>
                      <a:pt x="651" y="880"/>
                    </a:lnTo>
                    <a:lnTo>
                      <a:pt x="656" y="829"/>
                    </a:lnTo>
                    <a:lnTo>
                      <a:pt x="596" y="814"/>
                    </a:lnTo>
                    <a:lnTo>
                      <a:pt x="592" y="798"/>
                    </a:lnTo>
                    <a:lnTo>
                      <a:pt x="583" y="753"/>
                    </a:lnTo>
                    <a:lnTo>
                      <a:pt x="569" y="687"/>
                    </a:lnTo>
                    <a:lnTo>
                      <a:pt x="553" y="608"/>
                    </a:lnTo>
                    <a:lnTo>
                      <a:pt x="537" y="524"/>
                    </a:lnTo>
                    <a:lnTo>
                      <a:pt x="522" y="442"/>
                    </a:lnTo>
                    <a:lnTo>
                      <a:pt x="510" y="371"/>
                    </a:lnTo>
                    <a:lnTo>
                      <a:pt x="505" y="315"/>
                    </a:lnTo>
                    <a:lnTo>
                      <a:pt x="548" y="266"/>
                    </a:lnTo>
                    <a:lnTo>
                      <a:pt x="531" y="184"/>
                    </a:lnTo>
                    <a:lnTo>
                      <a:pt x="500" y="163"/>
                    </a:lnTo>
                    <a:lnTo>
                      <a:pt x="456" y="0"/>
                    </a:lnTo>
                    <a:lnTo>
                      <a:pt x="428" y="167"/>
                    </a:lnTo>
                    <a:lnTo>
                      <a:pt x="386" y="190"/>
                    </a:lnTo>
                    <a:lnTo>
                      <a:pt x="372" y="260"/>
                    </a:lnTo>
                    <a:lnTo>
                      <a:pt x="432" y="309"/>
                    </a:lnTo>
                    <a:lnTo>
                      <a:pt x="353" y="826"/>
                    </a:lnTo>
                    <a:lnTo>
                      <a:pt x="262" y="828"/>
                    </a:lnTo>
                    <a:lnTo>
                      <a:pt x="286" y="910"/>
                    </a:lnTo>
                    <a:lnTo>
                      <a:pt x="324" y="933"/>
                    </a:lnTo>
                    <a:lnTo>
                      <a:pt x="226" y="1278"/>
                    </a:lnTo>
                    <a:lnTo>
                      <a:pt x="114" y="1300"/>
                    </a:lnTo>
                    <a:lnTo>
                      <a:pt x="127" y="1402"/>
                    </a:lnTo>
                    <a:lnTo>
                      <a:pt x="174" y="1417"/>
                    </a:lnTo>
                    <a:lnTo>
                      <a:pt x="80" y="1742"/>
                    </a:lnTo>
                    <a:lnTo>
                      <a:pt x="6" y="17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18" name="Freeform 1104">
                <a:extLst>
                  <a:ext uri="{FF2B5EF4-FFF2-40B4-BE49-F238E27FC236}">
                    <a16:creationId xmlns:a16="http://schemas.microsoft.com/office/drawing/2014/main" id="{00410CEA-CD30-4330-BB91-6C2AC33B29A7}"/>
                  </a:ext>
                </a:extLst>
              </p:cNvPr>
              <p:cNvSpPr>
                <a:spLocks/>
              </p:cNvSpPr>
              <p:nvPr/>
            </p:nvSpPr>
            <p:spPr bwMode="auto">
              <a:xfrm>
                <a:off x="2827338" y="3805238"/>
                <a:ext cx="192088" cy="207963"/>
              </a:xfrm>
              <a:custGeom>
                <a:avLst/>
                <a:gdLst>
                  <a:gd name="T0" fmla="*/ 0 w 242"/>
                  <a:gd name="T1" fmla="*/ 252 h 261"/>
                  <a:gd name="T2" fmla="*/ 242 w 242"/>
                  <a:gd name="T3" fmla="*/ 261 h 261"/>
                  <a:gd name="T4" fmla="*/ 238 w 242"/>
                  <a:gd name="T5" fmla="*/ 256 h 261"/>
                  <a:gd name="T6" fmla="*/ 230 w 242"/>
                  <a:gd name="T7" fmla="*/ 239 h 261"/>
                  <a:gd name="T8" fmla="*/ 218 w 242"/>
                  <a:gd name="T9" fmla="*/ 214 h 261"/>
                  <a:gd name="T10" fmla="*/ 201 w 242"/>
                  <a:gd name="T11" fmla="*/ 181 h 261"/>
                  <a:gd name="T12" fmla="*/ 183 w 242"/>
                  <a:gd name="T13" fmla="*/ 141 h 261"/>
                  <a:gd name="T14" fmla="*/ 165 w 242"/>
                  <a:gd name="T15" fmla="*/ 98 h 261"/>
                  <a:gd name="T16" fmla="*/ 147 w 242"/>
                  <a:gd name="T17" fmla="*/ 49 h 261"/>
                  <a:gd name="T18" fmla="*/ 131 w 242"/>
                  <a:gd name="T19" fmla="*/ 0 h 261"/>
                  <a:gd name="T20" fmla="*/ 70 w 242"/>
                  <a:gd name="T21" fmla="*/ 5 h 261"/>
                  <a:gd name="T22" fmla="*/ 69 w 242"/>
                  <a:gd name="T23" fmla="*/ 12 h 261"/>
                  <a:gd name="T24" fmla="*/ 64 w 242"/>
                  <a:gd name="T25" fmla="*/ 32 h 261"/>
                  <a:gd name="T26" fmla="*/ 57 w 242"/>
                  <a:gd name="T27" fmla="*/ 61 h 261"/>
                  <a:gd name="T28" fmla="*/ 49 w 242"/>
                  <a:gd name="T29" fmla="*/ 95 h 261"/>
                  <a:gd name="T30" fmla="*/ 38 w 242"/>
                  <a:gd name="T31" fmla="*/ 136 h 261"/>
                  <a:gd name="T32" fmla="*/ 26 w 242"/>
                  <a:gd name="T33" fmla="*/ 176 h 261"/>
                  <a:gd name="T34" fmla="*/ 14 w 242"/>
                  <a:gd name="T35" fmla="*/ 216 h 261"/>
                  <a:gd name="T36" fmla="*/ 0 w 242"/>
                  <a:gd name="T37" fmla="*/ 25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2" h="261">
                    <a:moveTo>
                      <a:pt x="0" y="252"/>
                    </a:moveTo>
                    <a:lnTo>
                      <a:pt x="242" y="261"/>
                    </a:lnTo>
                    <a:lnTo>
                      <a:pt x="238" y="256"/>
                    </a:lnTo>
                    <a:lnTo>
                      <a:pt x="230" y="239"/>
                    </a:lnTo>
                    <a:lnTo>
                      <a:pt x="218" y="214"/>
                    </a:lnTo>
                    <a:lnTo>
                      <a:pt x="201" y="181"/>
                    </a:lnTo>
                    <a:lnTo>
                      <a:pt x="183" y="141"/>
                    </a:lnTo>
                    <a:lnTo>
                      <a:pt x="165" y="98"/>
                    </a:lnTo>
                    <a:lnTo>
                      <a:pt x="147" y="49"/>
                    </a:lnTo>
                    <a:lnTo>
                      <a:pt x="131" y="0"/>
                    </a:lnTo>
                    <a:lnTo>
                      <a:pt x="70" y="5"/>
                    </a:lnTo>
                    <a:lnTo>
                      <a:pt x="69" y="12"/>
                    </a:lnTo>
                    <a:lnTo>
                      <a:pt x="64" y="32"/>
                    </a:lnTo>
                    <a:lnTo>
                      <a:pt x="57" y="61"/>
                    </a:lnTo>
                    <a:lnTo>
                      <a:pt x="49" y="95"/>
                    </a:lnTo>
                    <a:lnTo>
                      <a:pt x="38" y="136"/>
                    </a:lnTo>
                    <a:lnTo>
                      <a:pt x="26" y="176"/>
                    </a:lnTo>
                    <a:lnTo>
                      <a:pt x="14" y="216"/>
                    </a:lnTo>
                    <a:lnTo>
                      <a:pt x="0" y="25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19" name="Freeform 1110">
                <a:extLst>
                  <a:ext uri="{FF2B5EF4-FFF2-40B4-BE49-F238E27FC236}">
                    <a16:creationId xmlns:a16="http://schemas.microsoft.com/office/drawing/2014/main" id="{50240375-A47D-474A-A62B-BAF2494174AB}"/>
                  </a:ext>
                </a:extLst>
              </p:cNvPr>
              <p:cNvSpPr>
                <a:spLocks/>
              </p:cNvSpPr>
              <p:nvPr/>
            </p:nvSpPr>
            <p:spPr bwMode="auto">
              <a:xfrm>
                <a:off x="2711450" y="4064000"/>
                <a:ext cx="392113" cy="49213"/>
              </a:xfrm>
              <a:custGeom>
                <a:avLst/>
                <a:gdLst>
                  <a:gd name="T0" fmla="*/ 494 w 494"/>
                  <a:gd name="T1" fmla="*/ 0 h 61"/>
                  <a:gd name="T2" fmla="*/ 474 w 494"/>
                  <a:gd name="T3" fmla="*/ 40 h 61"/>
                  <a:gd name="T4" fmla="*/ 0 w 494"/>
                  <a:gd name="T5" fmla="*/ 61 h 61"/>
                  <a:gd name="T6" fmla="*/ 0 w 494"/>
                  <a:gd name="T7" fmla="*/ 21 h 61"/>
                  <a:gd name="T8" fmla="*/ 494 w 494"/>
                  <a:gd name="T9" fmla="*/ 0 h 61"/>
                </a:gdLst>
                <a:ahLst/>
                <a:cxnLst>
                  <a:cxn ang="0">
                    <a:pos x="T0" y="T1"/>
                  </a:cxn>
                  <a:cxn ang="0">
                    <a:pos x="T2" y="T3"/>
                  </a:cxn>
                  <a:cxn ang="0">
                    <a:pos x="T4" y="T5"/>
                  </a:cxn>
                  <a:cxn ang="0">
                    <a:pos x="T6" y="T7"/>
                  </a:cxn>
                  <a:cxn ang="0">
                    <a:pos x="T8" y="T9"/>
                  </a:cxn>
                </a:cxnLst>
                <a:rect l="0" t="0" r="r" b="b"/>
                <a:pathLst>
                  <a:path w="494" h="61">
                    <a:moveTo>
                      <a:pt x="494" y="0"/>
                    </a:moveTo>
                    <a:lnTo>
                      <a:pt x="474" y="40"/>
                    </a:lnTo>
                    <a:lnTo>
                      <a:pt x="0" y="61"/>
                    </a:lnTo>
                    <a:lnTo>
                      <a:pt x="0" y="21"/>
                    </a:lnTo>
                    <a:lnTo>
                      <a:pt x="494"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20" name="Freeform 1111">
                <a:extLst>
                  <a:ext uri="{FF2B5EF4-FFF2-40B4-BE49-F238E27FC236}">
                    <a16:creationId xmlns:a16="http://schemas.microsoft.com/office/drawing/2014/main" id="{2B8C1A0D-9557-48E2-977A-322772D120C9}"/>
                  </a:ext>
                </a:extLst>
              </p:cNvPr>
              <p:cNvSpPr>
                <a:spLocks/>
              </p:cNvSpPr>
              <p:nvPr/>
            </p:nvSpPr>
            <p:spPr bwMode="auto">
              <a:xfrm>
                <a:off x="2832100" y="3706813"/>
                <a:ext cx="136525" cy="23813"/>
              </a:xfrm>
              <a:custGeom>
                <a:avLst/>
                <a:gdLst>
                  <a:gd name="T0" fmla="*/ 172 w 172"/>
                  <a:gd name="T1" fmla="*/ 0 h 30"/>
                  <a:gd name="T2" fmla="*/ 142 w 172"/>
                  <a:gd name="T3" fmla="*/ 21 h 30"/>
                  <a:gd name="T4" fmla="*/ 0 w 172"/>
                  <a:gd name="T5" fmla="*/ 30 h 30"/>
                  <a:gd name="T6" fmla="*/ 0 w 172"/>
                  <a:gd name="T7" fmla="*/ 0 h 30"/>
                  <a:gd name="T8" fmla="*/ 172 w 172"/>
                  <a:gd name="T9" fmla="*/ 0 h 30"/>
                </a:gdLst>
                <a:ahLst/>
                <a:cxnLst>
                  <a:cxn ang="0">
                    <a:pos x="T0" y="T1"/>
                  </a:cxn>
                  <a:cxn ang="0">
                    <a:pos x="T2" y="T3"/>
                  </a:cxn>
                  <a:cxn ang="0">
                    <a:pos x="T4" y="T5"/>
                  </a:cxn>
                  <a:cxn ang="0">
                    <a:pos x="T6" y="T7"/>
                  </a:cxn>
                  <a:cxn ang="0">
                    <a:pos x="T8" y="T9"/>
                  </a:cxn>
                </a:cxnLst>
                <a:rect l="0" t="0" r="r" b="b"/>
                <a:pathLst>
                  <a:path w="172" h="30">
                    <a:moveTo>
                      <a:pt x="172" y="0"/>
                    </a:moveTo>
                    <a:lnTo>
                      <a:pt x="142" y="21"/>
                    </a:lnTo>
                    <a:lnTo>
                      <a:pt x="0" y="30"/>
                    </a:lnTo>
                    <a:lnTo>
                      <a:pt x="0" y="0"/>
                    </a:lnTo>
                    <a:lnTo>
                      <a:pt x="172"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21" name="Rectangle 1112">
                <a:extLst>
                  <a:ext uri="{FF2B5EF4-FFF2-40B4-BE49-F238E27FC236}">
                    <a16:creationId xmlns:a16="http://schemas.microsoft.com/office/drawing/2014/main" id="{CAE38BE4-509A-41DD-BAA1-251FF845157D}"/>
                  </a:ext>
                </a:extLst>
              </p:cNvPr>
              <p:cNvSpPr>
                <a:spLocks noChangeArrowheads="1"/>
              </p:cNvSpPr>
              <p:nvPr/>
            </p:nvSpPr>
            <p:spPr bwMode="auto">
              <a:xfrm>
                <a:off x="2879725" y="3178175"/>
                <a:ext cx="39688" cy="31750"/>
              </a:xfrm>
              <a:prstGeom prst="rect">
                <a:avLst/>
              </a:pr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22" name="Freeform 1113">
                <a:extLst>
                  <a:ext uri="{FF2B5EF4-FFF2-40B4-BE49-F238E27FC236}">
                    <a16:creationId xmlns:a16="http://schemas.microsoft.com/office/drawing/2014/main" id="{126B7DB9-1C8B-488A-919E-FDBF6BDD1617}"/>
                  </a:ext>
                </a:extLst>
              </p:cNvPr>
              <p:cNvSpPr>
                <a:spLocks/>
              </p:cNvSpPr>
              <p:nvPr/>
            </p:nvSpPr>
            <p:spPr bwMode="auto">
              <a:xfrm>
                <a:off x="2911475" y="3400425"/>
                <a:ext cx="39688" cy="234950"/>
              </a:xfrm>
              <a:custGeom>
                <a:avLst/>
                <a:gdLst>
                  <a:gd name="T0" fmla="*/ 0 w 49"/>
                  <a:gd name="T1" fmla="*/ 0 h 296"/>
                  <a:gd name="T2" fmla="*/ 49 w 49"/>
                  <a:gd name="T3" fmla="*/ 296 h 296"/>
                  <a:gd name="T4" fmla="*/ 9 w 49"/>
                  <a:gd name="T5" fmla="*/ 296 h 296"/>
                  <a:gd name="T6" fmla="*/ 0 w 49"/>
                  <a:gd name="T7" fmla="*/ 0 h 296"/>
                </a:gdLst>
                <a:ahLst/>
                <a:cxnLst>
                  <a:cxn ang="0">
                    <a:pos x="T0" y="T1"/>
                  </a:cxn>
                  <a:cxn ang="0">
                    <a:pos x="T2" y="T3"/>
                  </a:cxn>
                  <a:cxn ang="0">
                    <a:pos x="T4" y="T5"/>
                  </a:cxn>
                  <a:cxn ang="0">
                    <a:pos x="T6" y="T7"/>
                  </a:cxn>
                </a:cxnLst>
                <a:rect l="0" t="0" r="r" b="b"/>
                <a:pathLst>
                  <a:path w="49" h="296">
                    <a:moveTo>
                      <a:pt x="0" y="0"/>
                    </a:moveTo>
                    <a:lnTo>
                      <a:pt x="49" y="296"/>
                    </a:lnTo>
                    <a:lnTo>
                      <a:pt x="9" y="296"/>
                    </a:lnTo>
                    <a:lnTo>
                      <a:pt x="0"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923" name="Group 1922">
            <a:extLst>
              <a:ext uri="{FF2B5EF4-FFF2-40B4-BE49-F238E27FC236}">
                <a16:creationId xmlns:a16="http://schemas.microsoft.com/office/drawing/2014/main" id="{FD3A4B90-5AAD-4E5C-86B5-A1E7A3692ADB}"/>
              </a:ext>
            </a:extLst>
          </p:cNvPr>
          <p:cNvGrpSpPr/>
          <p:nvPr/>
        </p:nvGrpSpPr>
        <p:grpSpPr>
          <a:xfrm>
            <a:off x="5339791" y="1656899"/>
            <a:ext cx="612775" cy="612775"/>
            <a:chOff x="3507427" y="2258092"/>
            <a:chExt cx="612775" cy="612775"/>
          </a:xfrm>
        </p:grpSpPr>
        <p:sp>
          <p:nvSpPr>
            <p:cNvPr id="1924" name="Oval 1923">
              <a:extLst>
                <a:ext uri="{FF2B5EF4-FFF2-40B4-BE49-F238E27FC236}">
                  <a16:creationId xmlns:a16="http://schemas.microsoft.com/office/drawing/2014/main" id="{C41E95C8-DBBA-4EDF-BED2-D772D347F669}"/>
                </a:ext>
              </a:extLst>
            </p:cNvPr>
            <p:cNvSpPr/>
            <p:nvPr/>
          </p:nvSpPr>
          <p:spPr bwMode="ltGray">
            <a:xfrm>
              <a:off x="3507427"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925" name="Group 1924">
              <a:extLst>
                <a:ext uri="{FF2B5EF4-FFF2-40B4-BE49-F238E27FC236}">
                  <a16:creationId xmlns:a16="http://schemas.microsoft.com/office/drawing/2014/main" id="{9BDCD8E7-5ECA-4206-827B-65A64742693A}"/>
                </a:ext>
              </a:extLst>
            </p:cNvPr>
            <p:cNvGrpSpPr/>
            <p:nvPr/>
          </p:nvGrpSpPr>
          <p:grpSpPr>
            <a:xfrm>
              <a:off x="3573769" y="2478619"/>
              <a:ext cx="504056" cy="185781"/>
              <a:chOff x="8620198" y="1585341"/>
              <a:chExt cx="574996" cy="211927"/>
            </a:xfrm>
          </p:grpSpPr>
          <p:sp>
            <p:nvSpPr>
              <p:cNvPr id="1926" name="Freeform 2042">
                <a:extLst>
                  <a:ext uri="{FF2B5EF4-FFF2-40B4-BE49-F238E27FC236}">
                    <a16:creationId xmlns:a16="http://schemas.microsoft.com/office/drawing/2014/main" id="{72D4215A-1651-452C-9CEA-9A9B04E89D04}"/>
                  </a:ext>
                </a:extLst>
              </p:cNvPr>
              <p:cNvSpPr>
                <a:spLocks/>
              </p:cNvSpPr>
              <p:nvPr/>
            </p:nvSpPr>
            <p:spPr bwMode="auto">
              <a:xfrm>
                <a:off x="8620198" y="1585341"/>
                <a:ext cx="574996" cy="211927"/>
              </a:xfrm>
              <a:custGeom>
                <a:avLst/>
                <a:gdLst>
                  <a:gd name="T0" fmla="*/ 206 w 2099"/>
                  <a:gd name="T1" fmla="*/ 581 h 775"/>
                  <a:gd name="T2" fmla="*/ 147 w 2099"/>
                  <a:gd name="T3" fmla="*/ 444 h 775"/>
                  <a:gd name="T4" fmla="*/ 80 w 2099"/>
                  <a:gd name="T5" fmla="*/ 407 h 775"/>
                  <a:gd name="T6" fmla="*/ 0 w 2099"/>
                  <a:gd name="T7" fmla="*/ 151 h 775"/>
                  <a:gd name="T8" fmla="*/ 198 w 2099"/>
                  <a:gd name="T9" fmla="*/ 319 h 775"/>
                  <a:gd name="T10" fmla="*/ 890 w 2099"/>
                  <a:gd name="T11" fmla="*/ 316 h 775"/>
                  <a:gd name="T12" fmla="*/ 1139 w 2099"/>
                  <a:gd name="T13" fmla="*/ 176 h 775"/>
                  <a:gd name="T14" fmla="*/ 1154 w 2099"/>
                  <a:gd name="T15" fmla="*/ 136 h 775"/>
                  <a:gd name="T16" fmla="*/ 548 w 2099"/>
                  <a:gd name="T17" fmla="*/ 243 h 775"/>
                  <a:gd name="T18" fmla="*/ 1105 w 2099"/>
                  <a:gd name="T19" fmla="*/ 92 h 775"/>
                  <a:gd name="T20" fmla="*/ 511 w 2099"/>
                  <a:gd name="T21" fmla="*/ 37 h 775"/>
                  <a:gd name="T22" fmla="*/ 1124 w 2099"/>
                  <a:gd name="T23" fmla="*/ 44 h 775"/>
                  <a:gd name="T24" fmla="*/ 1249 w 2099"/>
                  <a:gd name="T25" fmla="*/ 37 h 775"/>
                  <a:gd name="T26" fmla="*/ 1871 w 2099"/>
                  <a:gd name="T27" fmla="*/ 0 h 775"/>
                  <a:gd name="T28" fmla="*/ 1338 w 2099"/>
                  <a:gd name="T29" fmla="*/ 96 h 775"/>
                  <a:gd name="T30" fmla="*/ 1989 w 2099"/>
                  <a:gd name="T31" fmla="*/ 198 h 775"/>
                  <a:gd name="T32" fmla="*/ 1231 w 2099"/>
                  <a:gd name="T33" fmla="*/ 124 h 775"/>
                  <a:gd name="T34" fmla="*/ 1249 w 2099"/>
                  <a:gd name="T35" fmla="*/ 151 h 775"/>
                  <a:gd name="T36" fmla="*/ 1345 w 2099"/>
                  <a:gd name="T37" fmla="*/ 184 h 775"/>
                  <a:gd name="T38" fmla="*/ 1544 w 2099"/>
                  <a:gd name="T39" fmla="*/ 247 h 775"/>
                  <a:gd name="T40" fmla="*/ 1662 w 2099"/>
                  <a:gd name="T41" fmla="*/ 289 h 775"/>
                  <a:gd name="T42" fmla="*/ 1834 w 2099"/>
                  <a:gd name="T43" fmla="*/ 433 h 775"/>
                  <a:gd name="T44" fmla="*/ 1831 w 2099"/>
                  <a:gd name="T45" fmla="*/ 532 h 775"/>
                  <a:gd name="T46" fmla="*/ 1650 w 2099"/>
                  <a:gd name="T47" fmla="*/ 606 h 775"/>
                  <a:gd name="T48" fmla="*/ 1526 w 2099"/>
                  <a:gd name="T49" fmla="*/ 676 h 775"/>
                  <a:gd name="T50" fmla="*/ 1672 w 2099"/>
                  <a:gd name="T51" fmla="*/ 650 h 775"/>
                  <a:gd name="T52" fmla="*/ 1628 w 2099"/>
                  <a:gd name="T53" fmla="*/ 709 h 775"/>
                  <a:gd name="T54" fmla="*/ 1407 w 2099"/>
                  <a:gd name="T55" fmla="*/ 680 h 775"/>
                  <a:gd name="T56" fmla="*/ 1492 w 2099"/>
                  <a:gd name="T57" fmla="*/ 628 h 775"/>
                  <a:gd name="T58" fmla="*/ 1385 w 2099"/>
                  <a:gd name="T59" fmla="*/ 732 h 775"/>
                  <a:gd name="T60" fmla="*/ 1455 w 2099"/>
                  <a:gd name="T61" fmla="*/ 727 h 775"/>
                  <a:gd name="T62" fmla="*/ 912 w 2099"/>
                  <a:gd name="T63" fmla="*/ 764 h 775"/>
                  <a:gd name="T64" fmla="*/ 1345 w 2099"/>
                  <a:gd name="T65" fmla="*/ 739 h 775"/>
                  <a:gd name="T66" fmla="*/ 1275 w 2099"/>
                  <a:gd name="T67" fmla="*/ 636 h 775"/>
                  <a:gd name="T68" fmla="*/ 1234 w 2099"/>
                  <a:gd name="T69" fmla="*/ 698 h 775"/>
                  <a:gd name="T70" fmla="*/ 1068 w 2099"/>
                  <a:gd name="T71" fmla="*/ 603 h 775"/>
                  <a:gd name="T72" fmla="*/ 1021 w 2099"/>
                  <a:gd name="T73" fmla="*/ 720 h 775"/>
                  <a:gd name="T74" fmla="*/ 977 w 2099"/>
                  <a:gd name="T75" fmla="*/ 621 h 775"/>
                  <a:gd name="T76" fmla="*/ 919 w 2099"/>
                  <a:gd name="T77" fmla="*/ 521 h 775"/>
                  <a:gd name="T78" fmla="*/ 249 w 2099"/>
                  <a:gd name="T79" fmla="*/ 467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99" h="775">
                    <a:moveTo>
                      <a:pt x="249" y="467"/>
                    </a:moveTo>
                    <a:lnTo>
                      <a:pt x="206" y="581"/>
                    </a:lnTo>
                    <a:lnTo>
                      <a:pt x="135" y="581"/>
                    </a:lnTo>
                    <a:lnTo>
                      <a:pt x="147" y="444"/>
                    </a:lnTo>
                    <a:lnTo>
                      <a:pt x="73" y="433"/>
                    </a:lnTo>
                    <a:lnTo>
                      <a:pt x="80" y="407"/>
                    </a:lnTo>
                    <a:lnTo>
                      <a:pt x="114" y="388"/>
                    </a:lnTo>
                    <a:lnTo>
                      <a:pt x="0" y="151"/>
                    </a:lnTo>
                    <a:lnTo>
                      <a:pt x="77" y="139"/>
                    </a:lnTo>
                    <a:lnTo>
                      <a:pt x="198" y="319"/>
                    </a:lnTo>
                    <a:lnTo>
                      <a:pt x="256" y="359"/>
                    </a:lnTo>
                    <a:lnTo>
                      <a:pt x="890" y="316"/>
                    </a:lnTo>
                    <a:lnTo>
                      <a:pt x="981" y="206"/>
                    </a:lnTo>
                    <a:lnTo>
                      <a:pt x="1139" y="176"/>
                    </a:lnTo>
                    <a:lnTo>
                      <a:pt x="1135" y="158"/>
                    </a:lnTo>
                    <a:lnTo>
                      <a:pt x="1154" y="136"/>
                    </a:lnTo>
                    <a:lnTo>
                      <a:pt x="1154" y="124"/>
                    </a:lnTo>
                    <a:lnTo>
                      <a:pt x="548" y="243"/>
                    </a:lnTo>
                    <a:lnTo>
                      <a:pt x="400" y="206"/>
                    </a:lnTo>
                    <a:lnTo>
                      <a:pt x="1105" y="92"/>
                    </a:lnTo>
                    <a:lnTo>
                      <a:pt x="327" y="77"/>
                    </a:lnTo>
                    <a:lnTo>
                      <a:pt x="511" y="37"/>
                    </a:lnTo>
                    <a:lnTo>
                      <a:pt x="1120" y="62"/>
                    </a:lnTo>
                    <a:lnTo>
                      <a:pt x="1124" y="44"/>
                    </a:lnTo>
                    <a:lnTo>
                      <a:pt x="1190" y="33"/>
                    </a:lnTo>
                    <a:lnTo>
                      <a:pt x="1249" y="37"/>
                    </a:lnTo>
                    <a:lnTo>
                      <a:pt x="1256" y="59"/>
                    </a:lnTo>
                    <a:lnTo>
                      <a:pt x="1871" y="0"/>
                    </a:lnTo>
                    <a:lnTo>
                      <a:pt x="2004" y="22"/>
                    </a:lnTo>
                    <a:lnTo>
                      <a:pt x="1338" y="96"/>
                    </a:lnTo>
                    <a:lnTo>
                      <a:pt x="2099" y="136"/>
                    </a:lnTo>
                    <a:lnTo>
                      <a:pt x="1989" y="198"/>
                    </a:lnTo>
                    <a:lnTo>
                      <a:pt x="1264" y="118"/>
                    </a:lnTo>
                    <a:lnTo>
                      <a:pt x="1231" y="124"/>
                    </a:lnTo>
                    <a:lnTo>
                      <a:pt x="1227" y="139"/>
                    </a:lnTo>
                    <a:lnTo>
                      <a:pt x="1249" y="151"/>
                    </a:lnTo>
                    <a:lnTo>
                      <a:pt x="1249" y="176"/>
                    </a:lnTo>
                    <a:lnTo>
                      <a:pt x="1345" y="184"/>
                    </a:lnTo>
                    <a:lnTo>
                      <a:pt x="1404" y="243"/>
                    </a:lnTo>
                    <a:lnTo>
                      <a:pt x="1544" y="247"/>
                    </a:lnTo>
                    <a:lnTo>
                      <a:pt x="1650" y="262"/>
                    </a:lnTo>
                    <a:lnTo>
                      <a:pt x="1662" y="289"/>
                    </a:lnTo>
                    <a:lnTo>
                      <a:pt x="1791" y="396"/>
                    </a:lnTo>
                    <a:lnTo>
                      <a:pt x="1834" y="433"/>
                    </a:lnTo>
                    <a:lnTo>
                      <a:pt x="1853" y="489"/>
                    </a:lnTo>
                    <a:lnTo>
                      <a:pt x="1831" y="532"/>
                    </a:lnTo>
                    <a:lnTo>
                      <a:pt x="1764" y="569"/>
                    </a:lnTo>
                    <a:lnTo>
                      <a:pt x="1650" y="606"/>
                    </a:lnTo>
                    <a:lnTo>
                      <a:pt x="1529" y="621"/>
                    </a:lnTo>
                    <a:lnTo>
                      <a:pt x="1526" y="676"/>
                    </a:lnTo>
                    <a:lnTo>
                      <a:pt x="1621" y="680"/>
                    </a:lnTo>
                    <a:lnTo>
                      <a:pt x="1672" y="650"/>
                    </a:lnTo>
                    <a:lnTo>
                      <a:pt x="1709" y="653"/>
                    </a:lnTo>
                    <a:lnTo>
                      <a:pt x="1628" y="709"/>
                    </a:lnTo>
                    <a:lnTo>
                      <a:pt x="1415" y="702"/>
                    </a:lnTo>
                    <a:lnTo>
                      <a:pt x="1407" y="680"/>
                    </a:lnTo>
                    <a:lnTo>
                      <a:pt x="1489" y="680"/>
                    </a:lnTo>
                    <a:lnTo>
                      <a:pt x="1492" y="628"/>
                    </a:lnTo>
                    <a:lnTo>
                      <a:pt x="1389" y="636"/>
                    </a:lnTo>
                    <a:lnTo>
                      <a:pt x="1385" y="732"/>
                    </a:lnTo>
                    <a:lnTo>
                      <a:pt x="1434" y="713"/>
                    </a:lnTo>
                    <a:lnTo>
                      <a:pt x="1455" y="727"/>
                    </a:lnTo>
                    <a:lnTo>
                      <a:pt x="1382" y="775"/>
                    </a:lnTo>
                    <a:lnTo>
                      <a:pt x="912" y="764"/>
                    </a:lnTo>
                    <a:lnTo>
                      <a:pt x="908" y="732"/>
                    </a:lnTo>
                    <a:lnTo>
                      <a:pt x="1345" y="739"/>
                    </a:lnTo>
                    <a:lnTo>
                      <a:pt x="1338" y="643"/>
                    </a:lnTo>
                    <a:lnTo>
                      <a:pt x="1275" y="636"/>
                    </a:lnTo>
                    <a:lnTo>
                      <a:pt x="1271" y="698"/>
                    </a:lnTo>
                    <a:lnTo>
                      <a:pt x="1234" y="698"/>
                    </a:lnTo>
                    <a:lnTo>
                      <a:pt x="1231" y="631"/>
                    </a:lnTo>
                    <a:lnTo>
                      <a:pt x="1068" y="603"/>
                    </a:lnTo>
                    <a:lnTo>
                      <a:pt x="1021" y="650"/>
                    </a:lnTo>
                    <a:lnTo>
                      <a:pt x="1021" y="720"/>
                    </a:lnTo>
                    <a:lnTo>
                      <a:pt x="984" y="724"/>
                    </a:lnTo>
                    <a:lnTo>
                      <a:pt x="977" y="621"/>
                    </a:lnTo>
                    <a:lnTo>
                      <a:pt x="1010" y="573"/>
                    </a:lnTo>
                    <a:lnTo>
                      <a:pt x="919" y="521"/>
                    </a:lnTo>
                    <a:lnTo>
                      <a:pt x="478" y="480"/>
                    </a:lnTo>
                    <a:lnTo>
                      <a:pt x="249" y="467"/>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27" name="Freeform 2045">
                <a:extLst>
                  <a:ext uri="{FF2B5EF4-FFF2-40B4-BE49-F238E27FC236}">
                    <a16:creationId xmlns:a16="http://schemas.microsoft.com/office/drawing/2014/main" id="{528FF337-9B32-415B-94B4-2CAB5160FAA9}"/>
                  </a:ext>
                </a:extLst>
              </p:cNvPr>
              <p:cNvSpPr>
                <a:spLocks/>
              </p:cNvSpPr>
              <p:nvPr/>
            </p:nvSpPr>
            <p:spPr bwMode="auto">
              <a:xfrm>
                <a:off x="9030909" y="1662555"/>
                <a:ext cx="70642" cy="51476"/>
              </a:xfrm>
              <a:custGeom>
                <a:avLst/>
                <a:gdLst>
                  <a:gd name="T0" fmla="*/ 0 w 258"/>
                  <a:gd name="T1" fmla="*/ 59 h 188"/>
                  <a:gd name="T2" fmla="*/ 59 w 258"/>
                  <a:gd name="T3" fmla="*/ 188 h 188"/>
                  <a:gd name="T4" fmla="*/ 203 w 258"/>
                  <a:gd name="T5" fmla="*/ 155 h 188"/>
                  <a:gd name="T6" fmla="*/ 258 w 258"/>
                  <a:gd name="T7" fmla="*/ 114 h 188"/>
                  <a:gd name="T8" fmla="*/ 136 w 258"/>
                  <a:gd name="T9" fmla="*/ 0 h 188"/>
                  <a:gd name="T10" fmla="*/ 77 w 258"/>
                  <a:gd name="T11" fmla="*/ 22 h 188"/>
                  <a:gd name="T12" fmla="*/ 4 w 258"/>
                  <a:gd name="T13" fmla="*/ 34 h 188"/>
                  <a:gd name="T14" fmla="*/ 0 w 258"/>
                  <a:gd name="T15" fmla="*/ 59 h 18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8" h="188">
                    <a:moveTo>
                      <a:pt x="0" y="59"/>
                    </a:moveTo>
                    <a:lnTo>
                      <a:pt x="59" y="188"/>
                    </a:lnTo>
                    <a:lnTo>
                      <a:pt x="203" y="155"/>
                    </a:lnTo>
                    <a:lnTo>
                      <a:pt x="258" y="114"/>
                    </a:lnTo>
                    <a:lnTo>
                      <a:pt x="136" y="0"/>
                    </a:lnTo>
                    <a:lnTo>
                      <a:pt x="77" y="22"/>
                    </a:lnTo>
                    <a:lnTo>
                      <a:pt x="4" y="34"/>
                    </a:lnTo>
                    <a:lnTo>
                      <a:pt x="0" y="5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28" name="Freeform 2046">
                <a:extLst>
                  <a:ext uri="{FF2B5EF4-FFF2-40B4-BE49-F238E27FC236}">
                    <a16:creationId xmlns:a16="http://schemas.microsoft.com/office/drawing/2014/main" id="{35454930-2114-4F8E-BB68-63631CB3E534}"/>
                  </a:ext>
                </a:extLst>
              </p:cNvPr>
              <p:cNvSpPr>
                <a:spLocks/>
              </p:cNvSpPr>
              <p:nvPr/>
            </p:nvSpPr>
            <p:spPr bwMode="auto">
              <a:xfrm>
                <a:off x="8977243" y="1677888"/>
                <a:ext cx="58047" cy="36690"/>
              </a:xfrm>
              <a:custGeom>
                <a:avLst/>
                <a:gdLst>
                  <a:gd name="T0" fmla="*/ 169 w 212"/>
                  <a:gd name="T1" fmla="*/ 19 h 133"/>
                  <a:gd name="T2" fmla="*/ 140 w 212"/>
                  <a:gd name="T3" fmla="*/ 0 h 133"/>
                  <a:gd name="T4" fmla="*/ 16 w 212"/>
                  <a:gd name="T5" fmla="*/ 0 h 133"/>
                  <a:gd name="T6" fmla="*/ 0 w 212"/>
                  <a:gd name="T7" fmla="*/ 15 h 133"/>
                  <a:gd name="T8" fmla="*/ 28 w 212"/>
                  <a:gd name="T9" fmla="*/ 110 h 133"/>
                  <a:gd name="T10" fmla="*/ 52 w 212"/>
                  <a:gd name="T11" fmla="*/ 133 h 133"/>
                  <a:gd name="T12" fmla="*/ 200 w 212"/>
                  <a:gd name="T13" fmla="*/ 129 h 133"/>
                  <a:gd name="T14" fmla="*/ 212 w 212"/>
                  <a:gd name="T15" fmla="*/ 117 h 133"/>
                  <a:gd name="T16" fmla="*/ 169 w 212"/>
                  <a:gd name="T17" fmla="*/ 1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2" h="133">
                    <a:moveTo>
                      <a:pt x="169" y="19"/>
                    </a:moveTo>
                    <a:lnTo>
                      <a:pt x="140" y="0"/>
                    </a:lnTo>
                    <a:lnTo>
                      <a:pt x="16" y="0"/>
                    </a:lnTo>
                    <a:lnTo>
                      <a:pt x="0" y="15"/>
                    </a:lnTo>
                    <a:lnTo>
                      <a:pt x="28" y="110"/>
                    </a:lnTo>
                    <a:lnTo>
                      <a:pt x="52" y="133"/>
                    </a:lnTo>
                    <a:lnTo>
                      <a:pt x="200" y="129"/>
                    </a:lnTo>
                    <a:lnTo>
                      <a:pt x="212" y="117"/>
                    </a:lnTo>
                    <a:lnTo>
                      <a:pt x="169" y="19"/>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29" name="Freeform 2047">
                <a:extLst>
                  <a:ext uri="{FF2B5EF4-FFF2-40B4-BE49-F238E27FC236}">
                    <a16:creationId xmlns:a16="http://schemas.microsoft.com/office/drawing/2014/main" id="{269E87E2-7F81-4447-A83E-395E73645096}"/>
                  </a:ext>
                </a:extLst>
              </p:cNvPr>
              <p:cNvSpPr>
                <a:spLocks/>
              </p:cNvSpPr>
              <p:nvPr/>
            </p:nvSpPr>
            <p:spPr bwMode="auto">
              <a:xfrm>
                <a:off x="8990386" y="1722245"/>
                <a:ext cx="52571" cy="20809"/>
              </a:xfrm>
              <a:custGeom>
                <a:avLst/>
                <a:gdLst>
                  <a:gd name="T0" fmla="*/ 138 w 192"/>
                  <a:gd name="T1" fmla="*/ 0 h 76"/>
                  <a:gd name="T2" fmla="*/ 179 w 192"/>
                  <a:gd name="T3" fmla="*/ 9 h 76"/>
                  <a:gd name="T4" fmla="*/ 192 w 192"/>
                  <a:gd name="T5" fmla="*/ 35 h 76"/>
                  <a:gd name="T6" fmla="*/ 175 w 192"/>
                  <a:gd name="T7" fmla="*/ 68 h 76"/>
                  <a:gd name="T8" fmla="*/ 42 w 192"/>
                  <a:gd name="T9" fmla="*/ 76 h 76"/>
                  <a:gd name="T10" fmla="*/ 12 w 192"/>
                  <a:gd name="T11" fmla="*/ 55 h 76"/>
                  <a:gd name="T12" fmla="*/ 0 w 192"/>
                  <a:gd name="T13" fmla="*/ 27 h 76"/>
                  <a:gd name="T14" fmla="*/ 14 w 192"/>
                  <a:gd name="T15" fmla="*/ 5 h 76"/>
                  <a:gd name="T16" fmla="*/ 138 w 192"/>
                  <a:gd name="T17"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2" h="76">
                    <a:moveTo>
                      <a:pt x="138" y="0"/>
                    </a:moveTo>
                    <a:lnTo>
                      <a:pt x="179" y="9"/>
                    </a:lnTo>
                    <a:lnTo>
                      <a:pt x="192" y="35"/>
                    </a:lnTo>
                    <a:lnTo>
                      <a:pt x="175" y="68"/>
                    </a:lnTo>
                    <a:lnTo>
                      <a:pt x="42" y="76"/>
                    </a:lnTo>
                    <a:lnTo>
                      <a:pt x="12" y="55"/>
                    </a:lnTo>
                    <a:lnTo>
                      <a:pt x="0" y="27"/>
                    </a:lnTo>
                    <a:lnTo>
                      <a:pt x="14" y="5"/>
                    </a:lnTo>
                    <a:lnTo>
                      <a:pt x="138"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30" name="Freeform 2048">
                <a:extLst>
                  <a:ext uri="{FF2B5EF4-FFF2-40B4-BE49-F238E27FC236}">
                    <a16:creationId xmlns:a16="http://schemas.microsoft.com/office/drawing/2014/main" id="{899CC34D-69AD-41CA-9A6E-FB3E9AF2B9D3}"/>
                  </a:ext>
                </a:extLst>
              </p:cNvPr>
              <p:cNvSpPr>
                <a:spLocks/>
              </p:cNvSpPr>
              <p:nvPr/>
            </p:nvSpPr>
            <p:spPr bwMode="auto">
              <a:xfrm>
                <a:off x="8950410" y="1677340"/>
                <a:ext cx="26285" cy="35595"/>
              </a:xfrm>
              <a:custGeom>
                <a:avLst/>
                <a:gdLst>
                  <a:gd name="T0" fmla="*/ 70 w 96"/>
                  <a:gd name="T1" fmla="*/ 7 h 129"/>
                  <a:gd name="T2" fmla="*/ 29 w 96"/>
                  <a:gd name="T3" fmla="*/ 0 h 129"/>
                  <a:gd name="T4" fmla="*/ 0 w 96"/>
                  <a:gd name="T5" fmla="*/ 21 h 129"/>
                  <a:gd name="T6" fmla="*/ 11 w 96"/>
                  <a:gd name="T7" fmla="*/ 92 h 129"/>
                  <a:gd name="T8" fmla="*/ 33 w 96"/>
                  <a:gd name="T9" fmla="*/ 121 h 129"/>
                  <a:gd name="T10" fmla="*/ 66 w 96"/>
                  <a:gd name="T11" fmla="*/ 129 h 129"/>
                  <a:gd name="T12" fmla="*/ 96 w 96"/>
                  <a:gd name="T13" fmla="*/ 117 h 129"/>
                  <a:gd name="T14" fmla="*/ 85 w 96"/>
                  <a:gd name="T15" fmla="*/ 80 h 129"/>
                  <a:gd name="T16" fmla="*/ 70 w 96"/>
                  <a:gd name="T17" fmla="*/ 7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129">
                    <a:moveTo>
                      <a:pt x="70" y="7"/>
                    </a:moveTo>
                    <a:lnTo>
                      <a:pt x="29" y="0"/>
                    </a:lnTo>
                    <a:lnTo>
                      <a:pt x="0" y="21"/>
                    </a:lnTo>
                    <a:lnTo>
                      <a:pt x="11" y="92"/>
                    </a:lnTo>
                    <a:lnTo>
                      <a:pt x="33" y="121"/>
                    </a:lnTo>
                    <a:lnTo>
                      <a:pt x="66" y="129"/>
                    </a:lnTo>
                    <a:lnTo>
                      <a:pt x="96" y="117"/>
                    </a:lnTo>
                    <a:lnTo>
                      <a:pt x="85" y="80"/>
                    </a:lnTo>
                    <a:lnTo>
                      <a:pt x="70" y="7"/>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31" name="Freeform 2049">
                <a:extLst>
                  <a:ext uri="{FF2B5EF4-FFF2-40B4-BE49-F238E27FC236}">
                    <a16:creationId xmlns:a16="http://schemas.microsoft.com/office/drawing/2014/main" id="{A2A2621E-BF83-424B-A84D-55B66F28F5CB}"/>
                  </a:ext>
                </a:extLst>
              </p:cNvPr>
              <p:cNvSpPr>
                <a:spLocks/>
              </p:cNvSpPr>
              <p:nvPr/>
            </p:nvSpPr>
            <p:spPr bwMode="auto">
              <a:xfrm>
                <a:off x="9056100" y="1718959"/>
                <a:ext cx="32857" cy="24095"/>
              </a:xfrm>
              <a:custGeom>
                <a:avLst/>
                <a:gdLst>
                  <a:gd name="T0" fmla="*/ 19 w 121"/>
                  <a:gd name="T1" fmla="*/ 3 h 87"/>
                  <a:gd name="T2" fmla="*/ 0 w 121"/>
                  <a:gd name="T3" fmla="*/ 6 h 87"/>
                  <a:gd name="T4" fmla="*/ 4 w 121"/>
                  <a:gd name="T5" fmla="*/ 36 h 87"/>
                  <a:gd name="T6" fmla="*/ 49 w 121"/>
                  <a:gd name="T7" fmla="*/ 87 h 87"/>
                  <a:gd name="T8" fmla="*/ 99 w 121"/>
                  <a:gd name="T9" fmla="*/ 73 h 87"/>
                  <a:gd name="T10" fmla="*/ 121 w 121"/>
                  <a:gd name="T11" fmla="*/ 28 h 87"/>
                  <a:gd name="T12" fmla="*/ 104 w 121"/>
                  <a:gd name="T13" fmla="*/ 3 h 87"/>
                  <a:gd name="T14" fmla="*/ 56 w 121"/>
                  <a:gd name="T15" fmla="*/ 0 h 87"/>
                  <a:gd name="T16" fmla="*/ 19 w 121"/>
                  <a:gd name="T17" fmla="*/ 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87">
                    <a:moveTo>
                      <a:pt x="19" y="3"/>
                    </a:moveTo>
                    <a:lnTo>
                      <a:pt x="0" y="6"/>
                    </a:lnTo>
                    <a:lnTo>
                      <a:pt x="4" y="36"/>
                    </a:lnTo>
                    <a:lnTo>
                      <a:pt x="49" y="87"/>
                    </a:lnTo>
                    <a:lnTo>
                      <a:pt x="99" y="73"/>
                    </a:lnTo>
                    <a:lnTo>
                      <a:pt x="121" y="28"/>
                    </a:lnTo>
                    <a:lnTo>
                      <a:pt x="104" y="3"/>
                    </a:lnTo>
                    <a:lnTo>
                      <a:pt x="56" y="0"/>
                    </a:lnTo>
                    <a:lnTo>
                      <a:pt x="19" y="3"/>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32" name="Freeform 2050">
                <a:extLst>
                  <a:ext uri="{FF2B5EF4-FFF2-40B4-BE49-F238E27FC236}">
                    <a16:creationId xmlns:a16="http://schemas.microsoft.com/office/drawing/2014/main" id="{2FE008A2-111E-47B3-B87A-3B9EB21E4773}"/>
                  </a:ext>
                </a:extLst>
              </p:cNvPr>
              <p:cNvSpPr>
                <a:spLocks/>
              </p:cNvSpPr>
              <p:nvPr/>
            </p:nvSpPr>
            <p:spPr bwMode="auto">
              <a:xfrm>
                <a:off x="9004624" y="1658721"/>
                <a:ext cx="46000" cy="9857"/>
              </a:xfrm>
              <a:custGeom>
                <a:avLst/>
                <a:gdLst>
                  <a:gd name="T0" fmla="*/ 169 w 169"/>
                  <a:gd name="T1" fmla="*/ 6 h 36"/>
                  <a:gd name="T2" fmla="*/ 70 w 169"/>
                  <a:gd name="T3" fmla="*/ 36 h 36"/>
                  <a:gd name="T4" fmla="*/ 0 w 169"/>
                  <a:gd name="T5" fmla="*/ 21 h 36"/>
                  <a:gd name="T6" fmla="*/ 58 w 169"/>
                  <a:gd name="T7" fmla="*/ 0 h 36"/>
                  <a:gd name="T8" fmla="*/ 169 w 169"/>
                  <a:gd name="T9" fmla="*/ 6 h 36"/>
                </a:gdLst>
                <a:ahLst/>
                <a:cxnLst>
                  <a:cxn ang="0">
                    <a:pos x="T0" y="T1"/>
                  </a:cxn>
                  <a:cxn ang="0">
                    <a:pos x="T2" y="T3"/>
                  </a:cxn>
                  <a:cxn ang="0">
                    <a:pos x="T4" y="T5"/>
                  </a:cxn>
                  <a:cxn ang="0">
                    <a:pos x="T6" y="T7"/>
                  </a:cxn>
                  <a:cxn ang="0">
                    <a:pos x="T8" y="T9"/>
                  </a:cxn>
                </a:cxnLst>
                <a:rect l="0" t="0" r="r" b="b"/>
                <a:pathLst>
                  <a:path w="169" h="36">
                    <a:moveTo>
                      <a:pt x="169" y="6"/>
                    </a:moveTo>
                    <a:lnTo>
                      <a:pt x="70" y="36"/>
                    </a:lnTo>
                    <a:lnTo>
                      <a:pt x="0" y="21"/>
                    </a:lnTo>
                    <a:lnTo>
                      <a:pt x="58" y="0"/>
                    </a:lnTo>
                    <a:lnTo>
                      <a:pt x="169" y="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33" name="Freeform 2051">
                <a:extLst>
                  <a:ext uri="{FF2B5EF4-FFF2-40B4-BE49-F238E27FC236}">
                    <a16:creationId xmlns:a16="http://schemas.microsoft.com/office/drawing/2014/main" id="{7F9DD613-73DF-44CA-A80A-E888EC5580B6}"/>
                  </a:ext>
                </a:extLst>
              </p:cNvPr>
              <p:cNvSpPr>
                <a:spLocks/>
              </p:cNvSpPr>
              <p:nvPr/>
            </p:nvSpPr>
            <p:spPr bwMode="auto">
              <a:xfrm>
                <a:off x="8935077" y="1770982"/>
                <a:ext cx="136904" cy="8214"/>
              </a:xfrm>
              <a:custGeom>
                <a:avLst/>
                <a:gdLst>
                  <a:gd name="T0" fmla="*/ 316 w 500"/>
                  <a:gd name="T1" fmla="*/ 0 h 29"/>
                  <a:gd name="T2" fmla="*/ 0 w 500"/>
                  <a:gd name="T3" fmla="*/ 3 h 29"/>
                  <a:gd name="T4" fmla="*/ 4 w 500"/>
                  <a:gd name="T5" fmla="*/ 29 h 29"/>
                  <a:gd name="T6" fmla="*/ 482 w 500"/>
                  <a:gd name="T7" fmla="*/ 29 h 29"/>
                  <a:gd name="T8" fmla="*/ 500 w 500"/>
                  <a:gd name="T9" fmla="*/ 3 h 29"/>
                  <a:gd name="T10" fmla="*/ 316 w 500"/>
                  <a:gd name="T11" fmla="*/ 0 h 29"/>
                </a:gdLst>
                <a:ahLst/>
                <a:cxnLst>
                  <a:cxn ang="0">
                    <a:pos x="T0" y="T1"/>
                  </a:cxn>
                  <a:cxn ang="0">
                    <a:pos x="T2" y="T3"/>
                  </a:cxn>
                  <a:cxn ang="0">
                    <a:pos x="T4" y="T5"/>
                  </a:cxn>
                  <a:cxn ang="0">
                    <a:pos x="T6" y="T7"/>
                  </a:cxn>
                  <a:cxn ang="0">
                    <a:pos x="T8" y="T9"/>
                  </a:cxn>
                  <a:cxn ang="0">
                    <a:pos x="T10" y="T11"/>
                  </a:cxn>
                </a:cxnLst>
                <a:rect l="0" t="0" r="r" b="b"/>
                <a:pathLst>
                  <a:path w="500" h="29">
                    <a:moveTo>
                      <a:pt x="316" y="0"/>
                    </a:moveTo>
                    <a:lnTo>
                      <a:pt x="0" y="3"/>
                    </a:lnTo>
                    <a:lnTo>
                      <a:pt x="4" y="29"/>
                    </a:lnTo>
                    <a:lnTo>
                      <a:pt x="482" y="29"/>
                    </a:lnTo>
                    <a:lnTo>
                      <a:pt x="500" y="3"/>
                    </a:lnTo>
                    <a:lnTo>
                      <a:pt x="316"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34" name="Freeform 2052">
                <a:extLst>
                  <a:ext uri="{FF2B5EF4-FFF2-40B4-BE49-F238E27FC236}">
                    <a16:creationId xmlns:a16="http://schemas.microsoft.com/office/drawing/2014/main" id="{93ED72FB-30D0-4D59-B2DD-0085A2C94DEC}"/>
                  </a:ext>
                </a:extLst>
              </p:cNvPr>
              <p:cNvSpPr>
                <a:spLocks/>
              </p:cNvSpPr>
              <p:nvPr/>
            </p:nvSpPr>
            <p:spPr bwMode="auto">
              <a:xfrm>
                <a:off x="8887982" y="1755102"/>
                <a:ext cx="12048" cy="33952"/>
              </a:xfrm>
              <a:custGeom>
                <a:avLst/>
                <a:gdLst>
                  <a:gd name="T0" fmla="*/ 37 w 44"/>
                  <a:gd name="T1" fmla="*/ 15 h 124"/>
                  <a:gd name="T2" fmla="*/ 44 w 44"/>
                  <a:gd name="T3" fmla="*/ 124 h 124"/>
                  <a:gd name="T4" fmla="*/ 0 w 44"/>
                  <a:gd name="T5" fmla="*/ 121 h 124"/>
                  <a:gd name="T6" fmla="*/ 0 w 44"/>
                  <a:gd name="T7" fmla="*/ 0 h 124"/>
                  <a:gd name="T8" fmla="*/ 37 w 44"/>
                  <a:gd name="T9" fmla="*/ 15 h 124"/>
                </a:gdLst>
                <a:ahLst/>
                <a:cxnLst>
                  <a:cxn ang="0">
                    <a:pos x="T0" y="T1"/>
                  </a:cxn>
                  <a:cxn ang="0">
                    <a:pos x="T2" y="T3"/>
                  </a:cxn>
                  <a:cxn ang="0">
                    <a:pos x="T4" y="T5"/>
                  </a:cxn>
                  <a:cxn ang="0">
                    <a:pos x="T6" y="T7"/>
                  </a:cxn>
                  <a:cxn ang="0">
                    <a:pos x="T8" y="T9"/>
                  </a:cxn>
                </a:cxnLst>
                <a:rect l="0" t="0" r="r" b="b"/>
                <a:pathLst>
                  <a:path w="44" h="124">
                    <a:moveTo>
                      <a:pt x="37" y="15"/>
                    </a:moveTo>
                    <a:lnTo>
                      <a:pt x="44" y="124"/>
                    </a:lnTo>
                    <a:lnTo>
                      <a:pt x="0" y="121"/>
                    </a:lnTo>
                    <a:lnTo>
                      <a:pt x="0" y="0"/>
                    </a:lnTo>
                    <a:lnTo>
                      <a:pt x="37" y="15"/>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35" name="Freeform 2061">
                <a:extLst>
                  <a:ext uri="{FF2B5EF4-FFF2-40B4-BE49-F238E27FC236}">
                    <a16:creationId xmlns:a16="http://schemas.microsoft.com/office/drawing/2014/main" id="{2E14ED57-CC40-4216-A6AC-B3E31F25E253}"/>
                  </a:ext>
                </a:extLst>
              </p:cNvPr>
              <p:cNvSpPr>
                <a:spLocks/>
              </p:cNvSpPr>
              <p:nvPr/>
            </p:nvSpPr>
            <p:spPr bwMode="auto">
              <a:xfrm>
                <a:off x="8984362" y="1683364"/>
                <a:ext cx="43262" cy="26285"/>
              </a:xfrm>
              <a:custGeom>
                <a:avLst/>
                <a:gdLst>
                  <a:gd name="T0" fmla="*/ 129 w 159"/>
                  <a:gd name="T1" fmla="*/ 15 h 96"/>
                  <a:gd name="T2" fmla="*/ 95 w 159"/>
                  <a:gd name="T3" fmla="*/ 0 h 96"/>
                  <a:gd name="T4" fmla="*/ 18 w 159"/>
                  <a:gd name="T5" fmla="*/ 0 h 96"/>
                  <a:gd name="T6" fmla="*/ 0 w 159"/>
                  <a:gd name="T7" fmla="*/ 12 h 96"/>
                  <a:gd name="T8" fmla="*/ 15 w 159"/>
                  <a:gd name="T9" fmla="*/ 78 h 96"/>
                  <a:gd name="T10" fmla="*/ 48 w 159"/>
                  <a:gd name="T11" fmla="*/ 96 h 96"/>
                  <a:gd name="T12" fmla="*/ 159 w 159"/>
                  <a:gd name="T13" fmla="*/ 93 h 96"/>
                  <a:gd name="T14" fmla="*/ 129 w 159"/>
                  <a:gd name="T15" fmla="*/ 15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9" h="96">
                    <a:moveTo>
                      <a:pt x="129" y="15"/>
                    </a:moveTo>
                    <a:lnTo>
                      <a:pt x="95" y="0"/>
                    </a:lnTo>
                    <a:lnTo>
                      <a:pt x="18" y="0"/>
                    </a:lnTo>
                    <a:lnTo>
                      <a:pt x="0" y="12"/>
                    </a:lnTo>
                    <a:lnTo>
                      <a:pt x="15" y="78"/>
                    </a:lnTo>
                    <a:lnTo>
                      <a:pt x="48" y="96"/>
                    </a:lnTo>
                    <a:lnTo>
                      <a:pt x="159" y="93"/>
                    </a:lnTo>
                    <a:lnTo>
                      <a:pt x="129" y="15"/>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36" name="Freeform 2070">
                <a:extLst>
                  <a:ext uri="{FF2B5EF4-FFF2-40B4-BE49-F238E27FC236}">
                    <a16:creationId xmlns:a16="http://schemas.microsoft.com/office/drawing/2014/main" id="{962E6F3D-E911-4B00-B1FA-19D16363850A}"/>
                  </a:ext>
                </a:extLst>
              </p:cNvPr>
              <p:cNvSpPr>
                <a:spLocks/>
              </p:cNvSpPr>
              <p:nvPr/>
            </p:nvSpPr>
            <p:spPr bwMode="auto">
              <a:xfrm>
                <a:off x="8937815" y="1621484"/>
                <a:ext cx="16429" cy="20262"/>
              </a:xfrm>
              <a:custGeom>
                <a:avLst/>
                <a:gdLst>
                  <a:gd name="T0" fmla="*/ 0 w 58"/>
                  <a:gd name="T1" fmla="*/ 33 h 73"/>
                  <a:gd name="T2" fmla="*/ 3 w 58"/>
                  <a:gd name="T3" fmla="*/ 73 h 73"/>
                  <a:gd name="T4" fmla="*/ 51 w 58"/>
                  <a:gd name="T5" fmla="*/ 65 h 73"/>
                  <a:gd name="T6" fmla="*/ 58 w 58"/>
                  <a:gd name="T7" fmla="*/ 40 h 73"/>
                  <a:gd name="T8" fmla="*/ 21 w 58"/>
                  <a:gd name="T9" fmla="*/ 43 h 73"/>
                  <a:gd name="T10" fmla="*/ 21 w 58"/>
                  <a:gd name="T11" fmla="*/ 25 h 73"/>
                  <a:gd name="T12" fmla="*/ 44 w 58"/>
                  <a:gd name="T13" fmla="*/ 15 h 73"/>
                  <a:gd name="T14" fmla="*/ 44 w 58"/>
                  <a:gd name="T15" fmla="*/ 0 h 73"/>
                  <a:gd name="T16" fmla="*/ 18 w 58"/>
                  <a:gd name="T17" fmla="*/ 0 h 73"/>
                  <a:gd name="T18" fmla="*/ 18 w 58"/>
                  <a:gd name="T19" fmla="*/ 10 h 73"/>
                  <a:gd name="T20" fmla="*/ 3 w 58"/>
                  <a:gd name="T21" fmla="*/ 18 h 73"/>
                  <a:gd name="T22" fmla="*/ 0 w 58"/>
                  <a:gd name="T23" fmla="*/ 3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8" h="73">
                    <a:moveTo>
                      <a:pt x="0" y="33"/>
                    </a:moveTo>
                    <a:lnTo>
                      <a:pt x="3" y="73"/>
                    </a:lnTo>
                    <a:lnTo>
                      <a:pt x="51" y="65"/>
                    </a:lnTo>
                    <a:lnTo>
                      <a:pt x="58" y="40"/>
                    </a:lnTo>
                    <a:lnTo>
                      <a:pt x="21" y="43"/>
                    </a:lnTo>
                    <a:lnTo>
                      <a:pt x="21" y="25"/>
                    </a:lnTo>
                    <a:lnTo>
                      <a:pt x="44" y="15"/>
                    </a:lnTo>
                    <a:lnTo>
                      <a:pt x="44" y="0"/>
                    </a:lnTo>
                    <a:lnTo>
                      <a:pt x="18" y="0"/>
                    </a:lnTo>
                    <a:lnTo>
                      <a:pt x="18" y="10"/>
                    </a:lnTo>
                    <a:lnTo>
                      <a:pt x="3" y="18"/>
                    </a:lnTo>
                    <a:lnTo>
                      <a:pt x="0" y="33"/>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37" name="Freeform 2071">
                <a:extLst>
                  <a:ext uri="{FF2B5EF4-FFF2-40B4-BE49-F238E27FC236}">
                    <a16:creationId xmlns:a16="http://schemas.microsoft.com/office/drawing/2014/main" id="{B93AFDA1-55BB-4192-A3A7-563F5FF997FF}"/>
                  </a:ext>
                </a:extLst>
              </p:cNvPr>
              <p:cNvSpPr>
                <a:spLocks/>
              </p:cNvSpPr>
              <p:nvPr/>
            </p:nvSpPr>
            <p:spPr bwMode="auto">
              <a:xfrm>
                <a:off x="8935077" y="1601222"/>
                <a:ext cx="13143" cy="12048"/>
              </a:xfrm>
              <a:custGeom>
                <a:avLst/>
                <a:gdLst>
                  <a:gd name="T0" fmla="*/ 47 w 47"/>
                  <a:gd name="T1" fmla="*/ 0 h 44"/>
                  <a:gd name="T2" fmla="*/ 47 w 47"/>
                  <a:gd name="T3" fmla="*/ 22 h 44"/>
                  <a:gd name="T4" fmla="*/ 32 w 47"/>
                  <a:gd name="T5" fmla="*/ 44 h 44"/>
                  <a:gd name="T6" fmla="*/ 0 w 47"/>
                  <a:gd name="T7" fmla="*/ 25 h 44"/>
                  <a:gd name="T8" fmla="*/ 0 w 47"/>
                  <a:gd name="T9" fmla="*/ 3 h 44"/>
                  <a:gd name="T10" fmla="*/ 47 w 47"/>
                  <a:gd name="T11" fmla="*/ 0 h 44"/>
                </a:gdLst>
                <a:ahLst/>
                <a:cxnLst>
                  <a:cxn ang="0">
                    <a:pos x="T0" y="T1"/>
                  </a:cxn>
                  <a:cxn ang="0">
                    <a:pos x="T2" y="T3"/>
                  </a:cxn>
                  <a:cxn ang="0">
                    <a:pos x="T4" y="T5"/>
                  </a:cxn>
                  <a:cxn ang="0">
                    <a:pos x="T6" y="T7"/>
                  </a:cxn>
                  <a:cxn ang="0">
                    <a:pos x="T8" y="T9"/>
                  </a:cxn>
                  <a:cxn ang="0">
                    <a:pos x="T10" y="T11"/>
                  </a:cxn>
                </a:cxnLst>
                <a:rect l="0" t="0" r="r" b="b"/>
                <a:pathLst>
                  <a:path w="47" h="44">
                    <a:moveTo>
                      <a:pt x="47" y="0"/>
                    </a:moveTo>
                    <a:lnTo>
                      <a:pt x="47" y="22"/>
                    </a:lnTo>
                    <a:lnTo>
                      <a:pt x="32" y="44"/>
                    </a:lnTo>
                    <a:lnTo>
                      <a:pt x="0" y="25"/>
                    </a:lnTo>
                    <a:lnTo>
                      <a:pt x="0" y="3"/>
                    </a:lnTo>
                    <a:lnTo>
                      <a:pt x="47" y="0"/>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938" name="Group 1937">
            <a:extLst>
              <a:ext uri="{FF2B5EF4-FFF2-40B4-BE49-F238E27FC236}">
                <a16:creationId xmlns:a16="http://schemas.microsoft.com/office/drawing/2014/main" id="{11D46959-0CE2-4352-A341-468B72B5B900}"/>
              </a:ext>
            </a:extLst>
          </p:cNvPr>
          <p:cNvGrpSpPr/>
          <p:nvPr/>
        </p:nvGrpSpPr>
        <p:grpSpPr>
          <a:xfrm>
            <a:off x="8982876" y="3205728"/>
            <a:ext cx="612775" cy="612775"/>
            <a:chOff x="7150512" y="3806921"/>
            <a:chExt cx="612775" cy="612775"/>
          </a:xfrm>
        </p:grpSpPr>
        <p:sp>
          <p:nvSpPr>
            <p:cNvPr id="1939" name="Oval 1938">
              <a:extLst>
                <a:ext uri="{FF2B5EF4-FFF2-40B4-BE49-F238E27FC236}">
                  <a16:creationId xmlns:a16="http://schemas.microsoft.com/office/drawing/2014/main" id="{6CD06067-3D7E-4CD1-9FD9-F08C49E3E56B}"/>
                </a:ext>
              </a:extLst>
            </p:cNvPr>
            <p:cNvSpPr/>
            <p:nvPr/>
          </p:nvSpPr>
          <p:spPr bwMode="ltGray">
            <a:xfrm>
              <a:off x="715051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940" name="Group 1939">
              <a:extLst>
                <a:ext uri="{FF2B5EF4-FFF2-40B4-BE49-F238E27FC236}">
                  <a16:creationId xmlns:a16="http://schemas.microsoft.com/office/drawing/2014/main" id="{FD76857E-23F4-495C-9E85-99A90A162E82}"/>
                </a:ext>
              </a:extLst>
            </p:cNvPr>
            <p:cNvGrpSpPr/>
            <p:nvPr/>
          </p:nvGrpSpPr>
          <p:grpSpPr>
            <a:xfrm>
              <a:off x="7282321" y="3949375"/>
              <a:ext cx="385276" cy="373648"/>
              <a:chOff x="3749471" y="3639322"/>
              <a:chExt cx="670334" cy="650104"/>
            </a:xfrm>
          </p:grpSpPr>
          <p:sp>
            <p:nvSpPr>
              <p:cNvPr id="1941" name="Freeform 2130">
                <a:extLst>
                  <a:ext uri="{FF2B5EF4-FFF2-40B4-BE49-F238E27FC236}">
                    <a16:creationId xmlns:a16="http://schemas.microsoft.com/office/drawing/2014/main" id="{719A258C-704F-41A3-A337-8BABAE2A03DD}"/>
                  </a:ext>
                </a:extLst>
              </p:cNvPr>
              <p:cNvSpPr>
                <a:spLocks/>
              </p:cNvSpPr>
              <p:nvPr/>
            </p:nvSpPr>
            <p:spPr bwMode="auto">
              <a:xfrm>
                <a:off x="4029075" y="3668713"/>
                <a:ext cx="87313" cy="82550"/>
              </a:xfrm>
              <a:custGeom>
                <a:avLst/>
                <a:gdLst>
                  <a:gd name="T0" fmla="*/ 55 w 109"/>
                  <a:gd name="T1" fmla="*/ 104 h 104"/>
                  <a:gd name="T2" fmla="*/ 65 w 109"/>
                  <a:gd name="T3" fmla="*/ 103 h 104"/>
                  <a:gd name="T4" fmla="*/ 76 w 109"/>
                  <a:gd name="T5" fmla="*/ 100 h 104"/>
                  <a:gd name="T6" fmla="*/ 85 w 109"/>
                  <a:gd name="T7" fmla="*/ 95 h 104"/>
                  <a:gd name="T8" fmla="*/ 93 w 109"/>
                  <a:gd name="T9" fmla="*/ 89 h 104"/>
                  <a:gd name="T10" fmla="*/ 100 w 109"/>
                  <a:gd name="T11" fmla="*/ 81 h 104"/>
                  <a:gd name="T12" fmla="*/ 105 w 109"/>
                  <a:gd name="T13" fmla="*/ 73 h 104"/>
                  <a:gd name="T14" fmla="*/ 108 w 109"/>
                  <a:gd name="T15" fmla="*/ 63 h 104"/>
                  <a:gd name="T16" fmla="*/ 109 w 109"/>
                  <a:gd name="T17" fmla="*/ 53 h 104"/>
                  <a:gd name="T18" fmla="*/ 108 w 109"/>
                  <a:gd name="T19" fmla="*/ 42 h 104"/>
                  <a:gd name="T20" fmla="*/ 105 w 109"/>
                  <a:gd name="T21" fmla="*/ 32 h 104"/>
                  <a:gd name="T22" fmla="*/ 100 w 109"/>
                  <a:gd name="T23" fmla="*/ 23 h 104"/>
                  <a:gd name="T24" fmla="*/ 93 w 109"/>
                  <a:gd name="T25" fmla="*/ 15 h 104"/>
                  <a:gd name="T26" fmla="*/ 85 w 109"/>
                  <a:gd name="T27" fmla="*/ 9 h 104"/>
                  <a:gd name="T28" fmla="*/ 76 w 109"/>
                  <a:gd name="T29" fmla="*/ 4 h 104"/>
                  <a:gd name="T30" fmla="*/ 65 w 109"/>
                  <a:gd name="T31" fmla="*/ 1 h 104"/>
                  <a:gd name="T32" fmla="*/ 55 w 109"/>
                  <a:gd name="T33" fmla="*/ 0 h 104"/>
                  <a:gd name="T34" fmla="*/ 44 w 109"/>
                  <a:gd name="T35" fmla="*/ 1 h 104"/>
                  <a:gd name="T36" fmla="*/ 33 w 109"/>
                  <a:gd name="T37" fmla="*/ 4 h 104"/>
                  <a:gd name="T38" fmla="*/ 24 w 109"/>
                  <a:gd name="T39" fmla="*/ 9 h 104"/>
                  <a:gd name="T40" fmla="*/ 16 w 109"/>
                  <a:gd name="T41" fmla="*/ 15 h 104"/>
                  <a:gd name="T42" fmla="*/ 9 w 109"/>
                  <a:gd name="T43" fmla="*/ 23 h 104"/>
                  <a:gd name="T44" fmla="*/ 4 w 109"/>
                  <a:gd name="T45" fmla="*/ 32 h 104"/>
                  <a:gd name="T46" fmla="*/ 1 w 109"/>
                  <a:gd name="T47" fmla="*/ 42 h 104"/>
                  <a:gd name="T48" fmla="*/ 0 w 109"/>
                  <a:gd name="T49" fmla="*/ 53 h 104"/>
                  <a:gd name="T50" fmla="*/ 1 w 109"/>
                  <a:gd name="T51" fmla="*/ 63 h 104"/>
                  <a:gd name="T52" fmla="*/ 4 w 109"/>
                  <a:gd name="T53" fmla="*/ 73 h 104"/>
                  <a:gd name="T54" fmla="*/ 9 w 109"/>
                  <a:gd name="T55" fmla="*/ 81 h 104"/>
                  <a:gd name="T56" fmla="*/ 16 w 109"/>
                  <a:gd name="T57" fmla="*/ 89 h 104"/>
                  <a:gd name="T58" fmla="*/ 24 w 109"/>
                  <a:gd name="T59" fmla="*/ 95 h 104"/>
                  <a:gd name="T60" fmla="*/ 33 w 109"/>
                  <a:gd name="T61" fmla="*/ 100 h 104"/>
                  <a:gd name="T62" fmla="*/ 44 w 109"/>
                  <a:gd name="T63" fmla="*/ 103 h 104"/>
                  <a:gd name="T64" fmla="*/ 55 w 109"/>
                  <a:gd name="T65" fmla="*/ 104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9" h="104">
                    <a:moveTo>
                      <a:pt x="55" y="104"/>
                    </a:moveTo>
                    <a:lnTo>
                      <a:pt x="65" y="103"/>
                    </a:lnTo>
                    <a:lnTo>
                      <a:pt x="76" y="100"/>
                    </a:lnTo>
                    <a:lnTo>
                      <a:pt x="85" y="95"/>
                    </a:lnTo>
                    <a:lnTo>
                      <a:pt x="93" y="89"/>
                    </a:lnTo>
                    <a:lnTo>
                      <a:pt x="100" y="81"/>
                    </a:lnTo>
                    <a:lnTo>
                      <a:pt x="105" y="73"/>
                    </a:lnTo>
                    <a:lnTo>
                      <a:pt x="108" y="63"/>
                    </a:lnTo>
                    <a:lnTo>
                      <a:pt x="109" y="53"/>
                    </a:lnTo>
                    <a:lnTo>
                      <a:pt x="108" y="42"/>
                    </a:lnTo>
                    <a:lnTo>
                      <a:pt x="105" y="32"/>
                    </a:lnTo>
                    <a:lnTo>
                      <a:pt x="100" y="23"/>
                    </a:lnTo>
                    <a:lnTo>
                      <a:pt x="93" y="15"/>
                    </a:lnTo>
                    <a:lnTo>
                      <a:pt x="85" y="9"/>
                    </a:lnTo>
                    <a:lnTo>
                      <a:pt x="76" y="4"/>
                    </a:lnTo>
                    <a:lnTo>
                      <a:pt x="65" y="1"/>
                    </a:lnTo>
                    <a:lnTo>
                      <a:pt x="55" y="0"/>
                    </a:lnTo>
                    <a:lnTo>
                      <a:pt x="44" y="1"/>
                    </a:lnTo>
                    <a:lnTo>
                      <a:pt x="33" y="4"/>
                    </a:lnTo>
                    <a:lnTo>
                      <a:pt x="24" y="9"/>
                    </a:lnTo>
                    <a:lnTo>
                      <a:pt x="16" y="15"/>
                    </a:lnTo>
                    <a:lnTo>
                      <a:pt x="9" y="23"/>
                    </a:lnTo>
                    <a:lnTo>
                      <a:pt x="4" y="32"/>
                    </a:lnTo>
                    <a:lnTo>
                      <a:pt x="1" y="42"/>
                    </a:lnTo>
                    <a:lnTo>
                      <a:pt x="0" y="53"/>
                    </a:lnTo>
                    <a:lnTo>
                      <a:pt x="1" y="63"/>
                    </a:lnTo>
                    <a:lnTo>
                      <a:pt x="4" y="73"/>
                    </a:lnTo>
                    <a:lnTo>
                      <a:pt x="9" y="81"/>
                    </a:lnTo>
                    <a:lnTo>
                      <a:pt x="16" y="89"/>
                    </a:lnTo>
                    <a:lnTo>
                      <a:pt x="24" y="95"/>
                    </a:lnTo>
                    <a:lnTo>
                      <a:pt x="33" y="100"/>
                    </a:lnTo>
                    <a:lnTo>
                      <a:pt x="44" y="103"/>
                    </a:lnTo>
                    <a:lnTo>
                      <a:pt x="55" y="10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42" name="Rectangle 2131">
                <a:extLst>
                  <a:ext uri="{FF2B5EF4-FFF2-40B4-BE49-F238E27FC236}">
                    <a16:creationId xmlns:a16="http://schemas.microsoft.com/office/drawing/2014/main" id="{7E42A23D-D9BB-4318-8616-F2EEBC600635}"/>
                  </a:ext>
                </a:extLst>
              </p:cNvPr>
              <p:cNvSpPr>
                <a:spLocks noChangeArrowheads="1"/>
              </p:cNvSpPr>
              <p:nvPr/>
            </p:nvSpPr>
            <p:spPr bwMode="auto">
              <a:xfrm>
                <a:off x="4060825" y="3733801"/>
                <a:ext cx="25400" cy="1873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43" name="Freeform 2132">
                <a:extLst>
                  <a:ext uri="{FF2B5EF4-FFF2-40B4-BE49-F238E27FC236}">
                    <a16:creationId xmlns:a16="http://schemas.microsoft.com/office/drawing/2014/main" id="{680EB2C5-C13B-4529-80A7-99396C19795B}"/>
                  </a:ext>
                </a:extLst>
              </p:cNvPr>
              <p:cNvSpPr>
                <a:spLocks/>
              </p:cNvSpPr>
              <p:nvPr/>
            </p:nvSpPr>
            <p:spPr bwMode="auto">
              <a:xfrm>
                <a:off x="3810000" y="3892551"/>
                <a:ext cx="533400" cy="396875"/>
              </a:xfrm>
              <a:custGeom>
                <a:avLst/>
                <a:gdLst>
                  <a:gd name="T0" fmla="*/ 533 w 672"/>
                  <a:gd name="T1" fmla="*/ 501 h 501"/>
                  <a:gd name="T2" fmla="*/ 546 w 672"/>
                  <a:gd name="T3" fmla="*/ 499 h 501"/>
                  <a:gd name="T4" fmla="*/ 560 w 672"/>
                  <a:gd name="T5" fmla="*/ 498 h 501"/>
                  <a:gd name="T6" fmla="*/ 573 w 672"/>
                  <a:gd name="T7" fmla="*/ 495 h 501"/>
                  <a:gd name="T8" fmla="*/ 586 w 672"/>
                  <a:gd name="T9" fmla="*/ 490 h 501"/>
                  <a:gd name="T10" fmla="*/ 598 w 672"/>
                  <a:gd name="T11" fmla="*/ 484 h 501"/>
                  <a:gd name="T12" fmla="*/ 610 w 672"/>
                  <a:gd name="T13" fmla="*/ 478 h 501"/>
                  <a:gd name="T14" fmla="*/ 620 w 672"/>
                  <a:gd name="T15" fmla="*/ 470 h 501"/>
                  <a:gd name="T16" fmla="*/ 631 w 672"/>
                  <a:gd name="T17" fmla="*/ 460 h 501"/>
                  <a:gd name="T18" fmla="*/ 640 w 672"/>
                  <a:gd name="T19" fmla="*/ 450 h 501"/>
                  <a:gd name="T20" fmla="*/ 648 w 672"/>
                  <a:gd name="T21" fmla="*/ 438 h 501"/>
                  <a:gd name="T22" fmla="*/ 655 w 672"/>
                  <a:gd name="T23" fmla="*/ 427 h 501"/>
                  <a:gd name="T24" fmla="*/ 662 w 672"/>
                  <a:gd name="T25" fmla="*/ 415 h 501"/>
                  <a:gd name="T26" fmla="*/ 666 w 672"/>
                  <a:gd name="T27" fmla="*/ 403 h 501"/>
                  <a:gd name="T28" fmla="*/ 670 w 672"/>
                  <a:gd name="T29" fmla="*/ 389 h 501"/>
                  <a:gd name="T30" fmla="*/ 671 w 672"/>
                  <a:gd name="T31" fmla="*/ 375 h 501"/>
                  <a:gd name="T32" fmla="*/ 672 w 672"/>
                  <a:gd name="T33" fmla="*/ 361 h 501"/>
                  <a:gd name="T34" fmla="*/ 672 w 672"/>
                  <a:gd name="T35" fmla="*/ 139 h 501"/>
                  <a:gd name="T36" fmla="*/ 671 w 672"/>
                  <a:gd name="T37" fmla="*/ 125 h 501"/>
                  <a:gd name="T38" fmla="*/ 670 w 672"/>
                  <a:gd name="T39" fmla="*/ 111 h 501"/>
                  <a:gd name="T40" fmla="*/ 666 w 672"/>
                  <a:gd name="T41" fmla="*/ 98 h 501"/>
                  <a:gd name="T42" fmla="*/ 662 w 672"/>
                  <a:gd name="T43" fmla="*/ 85 h 501"/>
                  <a:gd name="T44" fmla="*/ 655 w 672"/>
                  <a:gd name="T45" fmla="*/ 73 h 501"/>
                  <a:gd name="T46" fmla="*/ 648 w 672"/>
                  <a:gd name="T47" fmla="*/ 61 h 501"/>
                  <a:gd name="T48" fmla="*/ 640 w 672"/>
                  <a:gd name="T49" fmla="*/ 50 h 501"/>
                  <a:gd name="T50" fmla="*/ 631 w 672"/>
                  <a:gd name="T51" fmla="*/ 40 h 501"/>
                  <a:gd name="T52" fmla="*/ 620 w 672"/>
                  <a:gd name="T53" fmla="*/ 31 h 501"/>
                  <a:gd name="T54" fmla="*/ 610 w 672"/>
                  <a:gd name="T55" fmla="*/ 23 h 501"/>
                  <a:gd name="T56" fmla="*/ 598 w 672"/>
                  <a:gd name="T57" fmla="*/ 16 h 501"/>
                  <a:gd name="T58" fmla="*/ 586 w 672"/>
                  <a:gd name="T59" fmla="*/ 10 h 501"/>
                  <a:gd name="T60" fmla="*/ 573 w 672"/>
                  <a:gd name="T61" fmla="*/ 5 h 501"/>
                  <a:gd name="T62" fmla="*/ 560 w 672"/>
                  <a:gd name="T63" fmla="*/ 2 h 501"/>
                  <a:gd name="T64" fmla="*/ 546 w 672"/>
                  <a:gd name="T65" fmla="*/ 1 h 501"/>
                  <a:gd name="T66" fmla="*/ 533 w 672"/>
                  <a:gd name="T67" fmla="*/ 0 h 501"/>
                  <a:gd name="T68" fmla="*/ 139 w 672"/>
                  <a:gd name="T69" fmla="*/ 0 h 501"/>
                  <a:gd name="T70" fmla="*/ 111 w 672"/>
                  <a:gd name="T71" fmla="*/ 2 h 501"/>
                  <a:gd name="T72" fmla="*/ 84 w 672"/>
                  <a:gd name="T73" fmla="*/ 10 h 501"/>
                  <a:gd name="T74" fmla="*/ 61 w 672"/>
                  <a:gd name="T75" fmla="*/ 24 h 501"/>
                  <a:gd name="T76" fmla="*/ 41 w 672"/>
                  <a:gd name="T77" fmla="*/ 40 h 501"/>
                  <a:gd name="T78" fmla="*/ 24 w 672"/>
                  <a:gd name="T79" fmla="*/ 61 h 501"/>
                  <a:gd name="T80" fmla="*/ 11 w 672"/>
                  <a:gd name="T81" fmla="*/ 85 h 501"/>
                  <a:gd name="T82" fmla="*/ 3 w 672"/>
                  <a:gd name="T83" fmla="*/ 111 h 501"/>
                  <a:gd name="T84" fmla="*/ 0 w 672"/>
                  <a:gd name="T85" fmla="*/ 139 h 501"/>
                  <a:gd name="T86" fmla="*/ 0 w 672"/>
                  <a:gd name="T87" fmla="*/ 361 h 501"/>
                  <a:gd name="T88" fmla="*/ 1 w 672"/>
                  <a:gd name="T89" fmla="*/ 375 h 501"/>
                  <a:gd name="T90" fmla="*/ 3 w 672"/>
                  <a:gd name="T91" fmla="*/ 389 h 501"/>
                  <a:gd name="T92" fmla="*/ 6 w 672"/>
                  <a:gd name="T93" fmla="*/ 403 h 501"/>
                  <a:gd name="T94" fmla="*/ 11 w 672"/>
                  <a:gd name="T95" fmla="*/ 415 h 501"/>
                  <a:gd name="T96" fmla="*/ 16 w 672"/>
                  <a:gd name="T97" fmla="*/ 427 h 501"/>
                  <a:gd name="T98" fmla="*/ 23 w 672"/>
                  <a:gd name="T99" fmla="*/ 438 h 501"/>
                  <a:gd name="T100" fmla="*/ 31 w 672"/>
                  <a:gd name="T101" fmla="*/ 450 h 501"/>
                  <a:gd name="T102" fmla="*/ 41 w 672"/>
                  <a:gd name="T103" fmla="*/ 460 h 501"/>
                  <a:gd name="T104" fmla="*/ 51 w 672"/>
                  <a:gd name="T105" fmla="*/ 470 h 501"/>
                  <a:gd name="T106" fmla="*/ 61 w 672"/>
                  <a:gd name="T107" fmla="*/ 478 h 501"/>
                  <a:gd name="T108" fmla="*/ 74 w 672"/>
                  <a:gd name="T109" fmla="*/ 484 h 501"/>
                  <a:gd name="T110" fmla="*/ 86 w 672"/>
                  <a:gd name="T111" fmla="*/ 490 h 501"/>
                  <a:gd name="T112" fmla="*/ 98 w 672"/>
                  <a:gd name="T113" fmla="*/ 495 h 501"/>
                  <a:gd name="T114" fmla="*/ 111 w 672"/>
                  <a:gd name="T115" fmla="*/ 498 h 501"/>
                  <a:gd name="T116" fmla="*/ 125 w 672"/>
                  <a:gd name="T117" fmla="*/ 499 h 501"/>
                  <a:gd name="T118" fmla="*/ 139 w 672"/>
                  <a:gd name="T119" fmla="*/ 501 h 501"/>
                  <a:gd name="T120" fmla="*/ 533 w 672"/>
                  <a:gd name="T121" fmla="*/ 501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72" h="501">
                    <a:moveTo>
                      <a:pt x="533" y="501"/>
                    </a:moveTo>
                    <a:lnTo>
                      <a:pt x="546" y="499"/>
                    </a:lnTo>
                    <a:lnTo>
                      <a:pt x="560" y="498"/>
                    </a:lnTo>
                    <a:lnTo>
                      <a:pt x="573" y="495"/>
                    </a:lnTo>
                    <a:lnTo>
                      <a:pt x="586" y="490"/>
                    </a:lnTo>
                    <a:lnTo>
                      <a:pt x="598" y="484"/>
                    </a:lnTo>
                    <a:lnTo>
                      <a:pt x="610" y="478"/>
                    </a:lnTo>
                    <a:lnTo>
                      <a:pt x="620" y="470"/>
                    </a:lnTo>
                    <a:lnTo>
                      <a:pt x="631" y="460"/>
                    </a:lnTo>
                    <a:lnTo>
                      <a:pt x="640" y="450"/>
                    </a:lnTo>
                    <a:lnTo>
                      <a:pt x="648" y="438"/>
                    </a:lnTo>
                    <a:lnTo>
                      <a:pt x="655" y="427"/>
                    </a:lnTo>
                    <a:lnTo>
                      <a:pt x="662" y="415"/>
                    </a:lnTo>
                    <a:lnTo>
                      <a:pt x="666" y="403"/>
                    </a:lnTo>
                    <a:lnTo>
                      <a:pt x="670" y="389"/>
                    </a:lnTo>
                    <a:lnTo>
                      <a:pt x="671" y="375"/>
                    </a:lnTo>
                    <a:lnTo>
                      <a:pt x="672" y="361"/>
                    </a:lnTo>
                    <a:lnTo>
                      <a:pt x="672" y="139"/>
                    </a:lnTo>
                    <a:lnTo>
                      <a:pt x="671" y="125"/>
                    </a:lnTo>
                    <a:lnTo>
                      <a:pt x="670" y="111"/>
                    </a:lnTo>
                    <a:lnTo>
                      <a:pt x="666" y="98"/>
                    </a:lnTo>
                    <a:lnTo>
                      <a:pt x="662" y="85"/>
                    </a:lnTo>
                    <a:lnTo>
                      <a:pt x="655" y="73"/>
                    </a:lnTo>
                    <a:lnTo>
                      <a:pt x="648" y="61"/>
                    </a:lnTo>
                    <a:lnTo>
                      <a:pt x="640" y="50"/>
                    </a:lnTo>
                    <a:lnTo>
                      <a:pt x="631" y="40"/>
                    </a:lnTo>
                    <a:lnTo>
                      <a:pt x="620" y="31"/>
                    </a:lnTo>
                    <a:lnTo>
                      <a:pt x="610" y="23"/>
                    </a:lnTo>
                    <a:lnTo>
                      <a:pt x="598" y="16"/>
                    </a:lnTo>
                    <a:lnTo>
                      <a:pt x="586" y="10"/>
                    </a:lnTo>
                    <a:lnTo>
                      <a:pt x="573" y="5"/>
                    </a:lnTo>
                    <a:lnTo>
                      <a:pt x="560" y="2"/>
                    </a:lnTo>
                    <a:lnTo>
                      <a:pt x="546" y="1"/>
                    </a:lnTo>
                    <a:lnTo>
                      <a:pt x="533" y="0"/>
                    </a:lnTo>
                    <a:lnTo>
                      <a:pt x="139" y="0"/>
                    </a:lnTo>
                    <a:lnTo>
                      <a:pt x="111" y="2"/>
                    </a:lnTo>
                    <a:lnTo>
                      <a:pt x="84" y="10"/>
                    </a:lnTo>
                    <a:lnTo>
                      <a:pt x="61" y="24"/>
                    </a:lnTo>
                    <a:lnTo>
                      <a:pt x="41" y="40"/>
                    </a:lnTo>
                    <a:lnTo>
                      <a:pt x="24" y="61"/>
                    </a:lnTo>
                    <a:lnTo>
                      <a:pt x="11" y="85"/>
                    </a:lnTo>
                    <a:lnTo>
                      <a:pt x="3" y="111"/>
                    </a:lnTo>
                    <a:lnTo>
                      <a:pt x="0" y="139"/>
                    </a:lnTo>
                    <a:lnTo>
                      <a:pt x="0" y="361"/>
                    </a:lnTo>
                    <a:lnTo>
                      <a:pt x="1" y="375"/>
                    </a:lnTo>
                    <a:lnTo>
                      <a:pt x="3" y="389"/>
                    </a:lnTo>
                    <a:lnTo>
                      <a:pt x="6" y="403"/>
                    </a:lnTo>
                    <a:lnTo>
                      <a:pt x="11" y="415"/>
                    </a:lnTo>
                    <a:lnTo>
                      <a:pt x="16" y="427"/>
                    </a:lnTo>
                    <a:lnTo>
                      <a:pt x="23" y="438"/>
                    </a:lnTo>
                    <a:lnTo>
                      <a:pt x="31" y="450"/>
                    </a:lnTo>
                    <a:lnTo>
                      <a:pt x="41" y="460"/>
                    </a:lnTo>
                    <a:lnTo>
                      <a:pt x="51" y="470"/>
                    </a:lnTo>
                    <a:lnTo>
                      <a:pt x="61" y="478"/>
                    </a:lnTo>
                    <a:lnTo>
                      <a:pt x="74" y="484"/>
                    </a:lnTo>
                    <a:lnTo>
                      <a:pt x="86" y="490"/>
                    </a:lnTo>
                    <a:lnTo>
                      <a:pt x="98" y="495"/>
                    </a:lnTo>
                    <a:lnTo>
                      <a:pt x="111" y="498"/>
                    </a:lnTo>
                    <a:lnTo>
                      <a:pt x="125" y="499"/>
                    </a:lnTo>
                    <a:lnTo>
                      <a:pt x="139" y="501"/>
                    </a:lnTo>
                    <a:lnTo>
                      <a:pt x="533" y="50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44" name="Freeform 2133">
                <a:extLst>
                  <a:ext uri="{FF2B5EF4-FFF2-40B4-BE49-F238E27FC236}">
                    <a16:creationId xmlns:a16="http://schemas.microsoft.com/office/drawing/2014/main" id="{CD10A557-D761-43F5-9A02-687D23DBDD44}"/>
                  </a:ext>
                </a:extLst>
              </p:cNvPr>
              <p:cNvSpPr>
                <a:spLocks/>
              </p:cNvSpPr>
              <p:nvPr/>
            </p:nvSpPr>
            <p:spPr bwMode="auto">
              <a:xfrm>
                <a:off x="3830638" y="4070351"/>
                <a:ext cx="488950" cy="198438"/>
              </a:xfrm>
              <a:custGeom>
                <a:avLst/>
                <a:gdLst>
                  <a:gd name="T0" fmla="*/ 77 w 615"/>
                  <a:gd name="T1" fmla="*/ 251 h 251"/>
                  <a:gd name="T2" fmla="*/ 541 w 615"/>
                  <a:gd name="T3" fmla="*/ 251 h 251"/>
                  <a:gd name="T4" fmla="*/ 615 w 615"/>
                  <a:gd name="T5" fmla="*/ 206 h 251"/>
                  <a:gd name="T6" fmla="*/ 615 w 615"/>
                  <a:gd name="T7" fmla="*/ 0 h 251"/>
                  <a:gd name="T8" fmla="*/ 0 w 615"/>
                  <a:gd name="T9" fmla="*/ 0 h 251"/>
                  <a:gd name="T10" fmla="*/ 0 w 615"/>
                  <a:gd name="T11" fmla="*/ 206 h 251"/>
                  <a:gd name="T12" fmla="*/ 77 w 615"/>
                  <a:gd name="T13" fmla="*/ 251 h 251"/>
                </a:gdLst>
                <a:ahLst/>
                <a:cxnLst>
                  <a:cxn ang="0">
                    <a:pos x="T0" y="T1"/>
                  </a:cxn>
                  <a:cxn ang="0">
                    <a:pos x="T2" y="T3"/>
                  </a:cxn>
                  <a:cxn ang="0">
                    <a:pos x="T4" y="T5"/>
                  </a:cxn>
                  <a:cxn ang="0">
                    <a:pos x="T6" y="T7"/>
                  </a:cxn>
                  <a:cxn ang="0">
                    <a:pos x="T8" y="T9"/>
                  </a:cxn>
                  <a:cxn ang="0">
                    <a:pos x="T10" y="T11"/>
                  </a:cxn>
                  <a:cxn ang="0">
                    <a:pos x="T12" y="T13"/>
                  </a:cxn>
                </a:cxnLst>
                <a:rect l="0" t="0" r="r" b="b"/>
                <a:pathLst>
                  <a:path w="615" h="251">
                    <a:moveTo>
                      <a:pt x="77" y="251"/>
                    </a:moveTo>
                    <a:lnTo>
                      <a:pt x="541" y="251"/>
                    </a:lnTo>
                    <a:lnTo>
                      <a:pt x="615" y="206"/>
                    </a:lnTo>
                    <a:lnTo>
                      <a:pt x="615" y="0"/>
                    </a:lnTo>
                    <a:lnTo>
                      <a:pt x="0" y="0"/>
                    </a:lnTo>
                    <a:lnTo>
                      <a:pt x="0" y="206"/>
                    </a:lnTo>
                    <a:lnTo>
                      <a:pt x="77" y="25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45" name="Freeform 2134">
                <a:extLst>
                  <a:ext uri="{FF2B5EF4-FFF2-40B4-BE49-F238E27FC236}">
                    <a16:creationId xmlns:a16="http://schemas.microsoft.com/office/drawing/2014/main" id="{EFF26205-873D-4AA0-B3D7-E1D85A3D5187}"/>
                  </a:ext>
                </a:extLst>
              </p:cNvPr>
              <p:cNvSpPr>
                <a:spLocks/>
              </p:cNvSpPr>
              <p:nvPr/>
            </p:nvSpPr>
            <p:spPr bwMode="auto">
              <a:xfrm>
                <a:off x="3749471" y="3639322"/>
                <a:ext cx="670334" cy="63546"/>
              </a:xfrm>
              <a:custGeom>
                <a:avLst/>
                <a:gdLst>
                  <a:gd name="T0" fmla="*/ 23 w 1076"/>
                  <a:gd name="T1" fmla="*/ 45 h 103"/>
                  <a:gd name="T2" fmla="*/ 72 w 1076"/>
                  <a:gd name="T3" fmla="*/ 59 h 103"/>
                  <a:gd name="T4" fmla="*/ 130 w 1076"/>
                  <a:gd name="T5" fmla="*/ 70 h 103"/>
                  <a:gd name="T6" fmla="*/ 192 w 1076"/>
                  <a:gd name="T7" fmla="*/ 81 h 103"/>
                  <a:gd name="T8" fmla="*/ 261 w 1076"/>
                  <a:gd name="T9" fmla="*/ 89 h 103"/>
                  <a:gd name="T10" fmla="*/ 333 w 1076"/>
                  <a:gd name="T11" fmla="*/ 96 h 103"/>
                  <a:gd name="T12" fmla="*/ 409 w 1076"/>
                  <a:gd name="T13" fmla="*/ 100 h 103"/>
                  <a:gd name="T14" fmla="*/ 488 w 1076"/>
                  <a:gd name="T15" fmla="*/ 103 h 103"/>
                  <a:gd name="T16" fmla="*/ 571 w 1076"/>
                  <a:gd name="T17" fmla="*/ 103 h 103"/>
                  <a:gd name="T18" fmla="*/ 654 w 1076"/>
                  <a:gd name="T19" fmla="*/ 100 h 103"/>
                  <a:gd name="T20" fmla="*/ 735 w 1076"/>
                  <a:gd name="T21" fmla="*/ 95 h 103"/>
                  <a:gd name="T22" fmla="*/ 811 w 1076"/>
                  <a:gd name="T23" fmla="*/ 88 h 103"/>
                  <a:gd name="T24" fmla="*/ 881 w 1076"/>
                  <a:gd name="T25" fmla="*/ 79 h 103"/>
                  <a:gd name="T26" fmla="*/ 947 w 1076"/>
                  <a:gd name="T27" fmla="*/ 67 h 103"/>
                  <a:gd name="T28" fmla="*/ 1005 w 1076"/>
                  <a:gd name="T29" fmla="*/ 53 h 103"/>
                  <a:gd name="T30" fmla="*/ 1054 w 1076"/>
                  <a:gd name="T31" fmla="*/ 37 h 103"/>
                  <a:gd name="T32" fmla="*/ 1065 w 1076"/>
                  <a:gd name="T33" fmla="*/ 0 h 103"/>
                  <a:gd name="T34" fmla="*/ 1021 w 1076"/>
                  <a:gd name="T35" fmla="*/ 16 h 103"/>
                  <a:gd name="T36" fmla="*/ 968 w 1076"/>
                  <a:gd name="T37" fmla="*/ 30 h 103"/>
                  <a:gd name="T38" fmla="*/ 908 w 1076"/>
                  <a:gd name="T39" fmla="*/ 42 h 103"/>
                  <a:gd name="T40" fmla="*/ 841 w 1076"/>
                  <a:gd name="T41" fmla="*/ 52 h 103"/>
                  <a:gd name="T42" fmla="*/ 770 w 1076"/>
                  <a:gd name="T43" fmla="*/ 60 h 103"/>
                  <a:gd name="T44" fmla="*/ 692 w 1076"/>
                  <a:gd name="T45" fmla="*/ 66 h 103"/>
                  <a:gd name="T46" fmla="*/ 612 w 1076"/>
                  <a:gd name="T47" fmla="*/ 69 h 103"/>
                  <a:gd name="T48" fmla="*/ 529 w 1076"/>
                  <a:gd name="T49" fmla="*/ 70 h 103"/>
                  <a:gd name="T50" fmla="*/ 450 w 1076"/>
                  <a:gd name="T51" fmla="*/ 69 h 103"/>
                  <a:gd name="T52" fmla="*/ 373 w 1076"/>
                  <a:gd name="T53" fmla="*/ 66 h 103"/>
                  <a:gd name="T54" fmla="*/ 301 w 1076"/>
                  <a:gd name="T55" fmla="*/ 61 h 103"/>
                  <a:gd name="T56" fmla="*/ 231 w 1076"/>
                  <a:gd name="T57" fmla="*/ 54 h 103"/>
                  <a:gd name="T58" fmla="*/ 167 w 1076"/>
                  <a:gd name="T59" fmla="*/ 45 h 103"/>
                  <a:gd name="T60" fmla="*/ 109 w 1076"/>
                  <a:gd name="T61" fmla="*/ 34 h 103"/>
                  <a:gd name="T62" fmla="*/ 56 w 1076"/>
                  <a:gd name="T63" fmla="*/ 21 h 103"/>
                  <a:gd name="T64" fmla="*/ 11 w 1076"/>
                  <a:gd name="T65" fmla="*/ 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76" h="103">
                    <a:moveTo>
                      <a:pt x="0" y="37"/>
                    </a:moveTo>
                    <a:lnTo>
                      <a:pt x="23" y="45"/>
                    </a:lnTo>
                    <a:lnTo>
                      <a:pt x="47" y="52"/>
                    </a:lnTo>
                    <a:lnTo>
                      <a:pt x="72" y="59"/>
                    </a:lnTo>
                    <a:lnTo>
                      <a:pt x="100" y="65"/>
                    </a:lnTo>
                    <a:lnTo>
                      <a:pt x="130" y="70"/>
                    </a:lnTo>
                    <a:lnTo>
                      <a:pt x="161" y="76"/>
                    </a:lnTo>
                    <a:lnTo>
                      <a:pt x="192" y="81"/>
                    </a:lnTo>
                    <a:lnTo>
                      <a:pt x="227" y="85"/>
                    </a:lnTo>
                    <a:lnTo>
                      <a:pt x="261" y="89"/>
                    </a:lnTo>
                    <a:lnTo>
                      <a:pt x="297" y="92"/>
                    </a:lnTo>
                    <a:lnTo>
                      <a:pt x="333" y="96"/>
                    </a:lnTo>
                    <a:lnTo>
                      <a:pt x="371" y="98"/>
                    </a:lnTo>
                    <a:lnTo>
                      <a:pt x="409" y="100"/>
                    </a:lnTo>
                    <a:lnTo>
                      <a:pt x="448" y="102"/>
                    </a:lnTo>
                    <a:lnTo>
                      <a:pt x="488" y="103"/>
                    </a:lnTo>
                    <a:lnTo>
                      <a:pt x="529" y="103"/>
                    </a:lnTo>
                    <a:lnTo>
                      <a:pt x="571" y="103"/>
                    </a:lnTo>
                    <a:lnTo>
                      <a:pt x="613" y="102"/>
                    </a:lnTo>
                    <a:lnTo>
                      <a:pt x="654" y="100"/>
                    </a:lnTo>
                    <a:lnTo>
                      <a:pt x="695" y="98"/>
                    </a:lnTo>
                    <a:lnTo>
                      <a:pt x="735" y="95"/>
                    </a:lnTo>
                    <a:lnTo>
                      <a:pt x="773" y="91"/>
                    </a:lnTo>
                    <a:lnTo>
                      <a:pt x="811" y="88"/>
                    </a:lnTo>
                    <a:lnTo>
                      <a:pt x="847" y="83"/>
                    </a:lnTo>
                    <a:lnTo>
                      <a:pt x="881" y="79"/>
                    </a:lnTo>
                    <a:lnTo>
                      <a:pt x="915" y="73"/>
                    </a:lnTo>
                    <a:lnTo>
                      <a:pt x="947" y="67"/>
                    </a:lnTo>
                    <a:lnTo>
                      <a:pt x="977" y="60"/>
                    </a:lnTo>
                    <a:lnTo>
                      <a:pt x="1005" y="53"/>
                    </a:lnTo>
                    <a:lnTo>
                      <a:pt x="1030" y="45"/>
                    </a:lnTo>
                    <a:lnTo>
                      <a:pt x="1054" y="37"/>
                    </a:lnTo>
                    <a:lnTo>
                      <a:pt x="1076" y="29"/>
                    </a:lnTo>
                    <a:lnTo>
                      <a:pt x="1065" y="0"/>
                    </a:lnTo>
                    <a:lnTo>
                      <a:pt x="1044" y="8"/>
                    </a:lnTo>
                    <a:lnTo>
                      <a:pt x="1021" y="16"/>
                    </a:lnTo>
                    <a:lnTo>
                      <a:pt x="995" y="23"/>
                    </a:lnTo>
                    <a:lnTo>
                      <a:pt x="968" y="30"/>
                    </a:lnTo>
                    <a:lnTo>
                      <a:pt x="939" y="36"/>
                    </a:lnTo>
                    <a:lnTo>
                      <a:pt x="908" y="42"/>
                    </a:lnTo>
                    <a:lnTo>
                      <a:pt x="876" y="47"/>
                    </a:lnTo>
                    <a:lnTo>
                      <a:pt x="841" y="52"/>
                    </a:lnTo>
                    <a:lnTo>
                      <a:pt x="805" y="55"/>
                    </a:lnTo>
                    <a:lnTo>
                      <a:pt x="770" y="60"/>
                    </a:lnTo>
                    <a:lnTo>
                      <a:pt x="732" y="64"/>
                    </a:lnTo>
                    <a:lnTo>
                      <a:pt x="692" y="66"/>
                    </a:lnTo>
                    <a:lnTo>
                      <a:pt x="652" y="68"/>
                    </a:lnTo>
                    <a:lnTo>
                      <a:pt x="612" y="69"/>
                    </a:lnTo>
                    <a:lnTo>
                      <a:pt x="570" y="70"/>
                    </a:lnTo>
                    <a:lnTo>
                      <a:pt x="529" y="70"/>
                    </a:lnTo>
                    <a:lnTo>
                      <a:pt x="490" y="70"/>
                    </a:lnTo>
                    <a:lnTo>
                      <a:pt x="450" y="69"/>
                    </a:lnTo>
                    <a:lnTo>
                      <a:pt x="411" y="68"/>
                    </a:lnTo>
                    <a:lnTo>
                      <a:pt x="373" y="66"/>
                    </a:lnTo>
                    <a:lnTo>
                      <a:pt x="336" y="64"/>
                    </a:lnTo>
                    <a:lnTo>
                      <a:pt x="301" y="61"/>
                    </a:lnTo>
                    <a:lnTo>
                      <a:pt x="266" y="58"/>
                    </a:lnTo>
                    <a:lnTo>
                      <a:pt x="231" y="54"/>
                    </a:lnTo>
                    <a:lnTo>
                      <a:pt x="199" y="50"/>
                    </a:lnTo>
                    <a:lnTo>
                      <a:pt x="167" y="45"/>
                    </a:lnTo>
                    <a:lnTo>
                      <a:pt x="137" y="39"/>
                    </a:lnTo>
                    <a:lnTo>
                      <a:pt x="109" y="34"/>
                    </a:lnTo>
                    <a:lnTo>
                      <a:pt x="82" y="28"/>
                    </a:lnTo>
                    <a:lnTo>
                      <a:pt x="56" y="21"/>
                    </a:lnTo>
                    <a:lnTo>
                      <a:pt x="33" y="14"/>
                    </a:lnTo>
                    <a:lnTo>
                      <a:pt x="11" y="7"/>
                    </a:lnTo>
                    <a:lnTo>
                      <a:pt x="0" y="3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46" name="Freeform 2135">
                <a:extLst>
                  <a:ext uri="{FF2B5EF4-FFF2-40B4-BE49-F238E27FC236}">
                    <a16:creationId xmlns:a16="http://schemas.microsoft.com/office/drawing/2014/main" id="{F8A037C0-BC01-435A-BE73-47492D80A9FF}"/>
                  </a:ext>
                </a:extLst>
              </p:cNvPr>
              <p:cNvSpPr>
                <a:spLocks/>
              </p:cNvSpPr>
              <p:nvPr/>
            </p:nvSpPr>
            <p:spPr bwMode="auto">
              <a:xfrm>
                <a:off x="3848100" y="3930651"/>
                <a:ext cx="457200" cy="320675"/>
              </a:xfrm>
              <a:custGeom>
                <a:avLst/>
                <a:gdLst>
                  <a:gd name="T0" fmla="*/ 92 w 577"/>
                  <a:gd name="T1" fmla="*/ 404 h 404"/>
                  <a:gd name="T2" fmla="*/ 82 w 577"/>
                  <a:gd name="T3" fmla="*/ 404 h 404"/>
                  <a:gd name="T4" fmla="*/ 74 w 577"/>
                  <a:gd name="T5" fmla="*/ 403 h 404"/>
                  <a:gd name="T6" fmla="*/ 65 w 577"/>
                  <a:gd name="T7" fmla="*/ 401 h 404"/>
                  <a:gd name="T8" fmla="*/ 57 w 577"/>
                  <a:gd name="T9" fmla="*/ 397 h 404"/>
                  <a:gd name="T10" fmla="*/ 49 w 577"/>
                  <a:gd name="T11" fmla="*/ 394 h 404"/>
                  <a:gd name="T12" fmla="*/ 41 w 577"/>
                  <a:gd name="T13" fmla="*/ 389 h 404"/>
                  <a:gd name="T14" fmla="*/ 34 w 577"/>
                  <a:gd name="T15" fmla="*/ 384 h 404"/>
                  <a:gd name="T16" fmla="*/ 27 w 577"/>
                  <a:gd name="T17" fmla="*/ 378 h 404"/>
                  <a:gd name="T18" fmla="*/ 15 w 577"/>
                  <a:gd name="T19" fmla="*/ 364 h 404"/>
                  <a:gd name="T20" fmla="*/ 7 w 577"/>
                  <a:gd name="T21" fmla="*/ 348 h 404"/>
                  <a:gd name="T22" fmla="*/ 2 w 577"/>
                  <a:gd name="T23" fmla="*/ 331 h 404"/>
                  <a:gd name="T24" fmla="*/ 0 w 577"/>
                  <a:gd name="T25" fmla="*/ 313 h 404"/>
                  <a:gd name="T26" fmla="*/ 0 w 577"/>
                  <a:gd name="T27" fmla="*/ 91 h 404"/>
                  <a:gd name="T28" fmla="*/ 2 w 577"/>
                  <a:gd name="T29" fmla="*/ 73 h 404"/>
                  <a:gd name="T30" fmla="*/ 7 w 577"/>
                  <a:gd name="T31" fmla="*/ 56 h 404"/>
                  <a:gd name="T32" fmla="*/ 15 w 577"/>
                  <a:gd name="T33" fmla="*/ 40 h 404"/>
                  <a:gd name="T34" fmla="*/ 27 w 577"/>
                  <a:gd name="T35" fmla="*/ 27 h 404"/>
                  <a:gd name="T36" fmla="*/ 34 w 577"/>
                  <a:gd name="T37" fmla="*/ 21 h 404"/>
                  <a:gd name="T38" fmla="*/ 41 w 577"/>
                  <a:gd name="T39" fmla="*/ 15 h 404"/>
                  <a:gd name="T40" fmla="*/ 49 w 577"/>
                  <a:gd name="T41" fmla="*/ 10 h 404"/>
                  <a:gd name="T42" fmla="*/ 57 w 577"/>
                  <a:gd name="T43" fmla="*/ 7 h 404"/>
                  <a:gd name="T44" fmla="*/ 65 w 577"/>
                  <a:gd name="T45" fmla="*/ 4 h 404"/>
                  <a:gd name="T46" fmla="*/ 74 w 577"/>
                  <a:gd name="T47" fmla="*/ 1 h 404"/>
                  <a:gd name="T48" fmla="*/ 82 w 577"/>
                  <a:gd name="T49" fmla="*/ 0 h 404"/>
                  <a:gd name="T50" fmla="*/ 92 w 577"/>
                  <a:gd name="T51" fmla="*/ 0 h 404"/>
                  <a:gd name="T52" fmla="*/ 486 w 577"/>
                  <a:gd name="T53" fmla="*/ 0 h 404"/>
                  <a:gd name="T54" fmla="*/ 495 w 577"/>
                  <a:gd name="T55" fmla="*/ 0 h 404"/>
                  <a:gd name="T56" fmla="*/ 504 w 577"/>
                  <a:gd name="T57" fmla="*/ 1 h 404"/>
                  <a:gd name="T58" fmla="*/ 512 w 577"/>
                  <a:gd name="T59" fmla="*/ 4 h 404"/>
                  <a:gd name="T60" fmla="*/ 520 w 577"/>
                  <a:gd name="T61" fmla="*/ 7 h 404"/>
                  <a:gd name="T62" fmla="*/ 528 w 577"/>
                  <a:gd name="T63" fmla="*/ 10 h 404"/>
                  <a:gd name="T64" fmla="*/ 536 w 577"/>
                  <a:gd name="T65" fmla="*/ 15 h 404"/>
                  <a:gd name="T66" fmla="*/ 543 w 577"/>
                  <a:gd name="T67" fmla="*/ 21 h 404"/>
                  <a:gd name="T68" fmla="*/ 550 w 577"/>
                  <a:gd name="T69" fmla="*/ 27 h 404"/>
                  <a:gd name="T70" fmla="*/ 562 w 577"/>
                  <a:gd name="T71" fmla="*/ 40 h 404"/>
                  <a:gd name="T72" fmla="*/ 570 w 577"/>
                  <a:gd name="T73" fmla="*/ 56 h 404"/>
                  <a:gd name="T74" fmla="*/ 576 w 577"/>
                  <a:gd name="T75" fmla="*/ 73 h 404"/>
                  <a:gd name="T76" fmla="*/ 577 w 577"/>
                  <a:gd name="T77" fmla="*/ 91 h 404"/>
                  <a:gd name="T78" fmla="*/ 577 w 577"/>
                  <a:gd name="T79" fmla="*/ 313 h 404"/>
                  <a:gd name="T80" fmla="*/ 574 w 577"/>
                  <a:gd name="T81" fmla="*/ 332 h 404"/>
                  <a:gd name="T82" fmla="*/ 570 w 577"/>
                  <a:gd name="T83" fmla="*/ 349 h 404"/>
                  <a:gd name="T84" fmla="*/ 562 w 577"/>
                  <a:gd name="T85" fmla="*/ 364 h 404"/>
                  <a:gd name="T86" fmla="*/ 550 w 577"/>
                  <a:gd name="T87" fmla="*/ 378 h 404"/>
                  <a:gd name="T88" fmla="*/ 536 w 577"/>
                  <a:gd name="T89" fmla="*/ 389 h 404"/>
                  <a:gd name="T90" fmla="*/ 521 w 577"/>
                  <a:gd name="T91" fmla="*/ 397 h 404"/>
                  <a:gd name="T92" fmla="*/ 504 w 577"/>
                  <a:gd name="T93" fmla="*/ 402 h 404"/>
                  <a:gd name="T94" fmla="*/ 486 w 577"/>
                  <a:gd name="T95" fmla="*/ 404 h 404"/>
                  <a:gd name="T96" fmla="*/ 92 w 577"/>
                  <a:gd name="T97"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77" h="404">
                    <a:moveTo>
                      <a:pt x="92" y="404"/>
                    </a:moveTo>
                    <a:lnTo>
                      <a:pt x="82" y="404"/>
                    </a:lnTo>
                    <a:lnTo>
                      <a:pt x="74" y="403"/>
                    </a:lnTo>
                    <a:lnTo>
                      <a:pt x="65" y="401"/>
                    </a:lnTo>
                    <a:lnTo>
                      <a:pt x="57" y="397"/>
                    </a:lnTo>
                    <a:lnTo>
                      <a:pt x="49" y="394"/>
                    </a:lnTo>
                    <a:lnTo>
                      <a:pt x="41" y="389"/>
                    </a:lnTo>
                    <a:lnTo>
                      <a:pt x="34" y="384"/>
                    </a:lnTo>
                    <a:lnTo>
                      <a:pt x="27" y="378"/>
                    </a:lnTo>
                    <a:lnTo>
                      <a:pt x="15" y="364"/>
                    </a:lnTo>
                    <a:lnTo>
                      <a:pt x="7" y="348"/>
                    </a:lnTo>
                    <a:lnTo>
                      <a:pt x="2" y="331"/>
                    </a:lnTo>
                    <a:lnTo>
                      <a:pt x="0" y="313"/>
                    </a:lnTo>
                    <a:lnTo>
                      <a:pt x="0" y="91"/>
                    </a:lnTo>
                    <a:lnTo>
                      <a:pt x="2" y="73"/>
                    </a:lnTo>
                    <a:lnTo>
                      <a:pt x="7" y="56"/>
                    </a:lnTo>
                    <a:lnTo>
                      <a:pt x="15" y="40"/>
                    </a:lnTo>
                    <a:lnTo>
                      <a:pt x="27" y="27"/>
                    </a:lnTo>
                    <a:lnTo>
                      <a:pt x="34" y="21"/>
                    </a:lnTo>
                    <a:lnTo>
                      <a:pt x="41" y="15"/>
                    </a:lnTo>
                    <a:lnTo>
                      <a:pt x="49" y="10"/>
                    </a:lnTo>
                    <a:lnTo>
                      <a:pt x="57" y="7"/>
                    </a:lnTo>
                    <a:lnTo>
                      <a:pt x="65" y="4"/>
                    </a:lnTo>
                    <a:lnTo>
                      <a:pt x="74" y="1"/>
                    </a:lnTo>
                    <a:lnTo>
                      <a:pt x="82" y="0"/>
                    </a:lnTo>
                    <a:lnTo>
                      <a:pt x="92" y="0"/>
                    </a:lnTo>
                    <a:lnTo>
                      <a:pt x="486" y="0"/>
                    </a:lnTo>
                    <a:lnTo>
                      <a:pt x="495" y="0"/>
                    </a:lnTo>
                    <a:lnTo>
                      <a:pt x="504" y="1"/>
                    </a:lnTo>
                    <a:lnTo>
                      <a:pt x="512" y="4"/>
                    </a:lnTo>
                    <a:lnTo>
                      <a:pt x="520" y="7"/>
                    </a:lnTo>
                    <a:lnTo>
                      <a:pt x="528" y="10"/>
                    </a:lnTo>
                    <a:lnTo>
                      <a:pt x="536" y="15"/>
                    </a:lnTo>
                    <a:lnTo>
                      <a:pt x="543" y="21"/>
                    </a:lnTo>
                    <a:lnTo>
                      <a:pt x="550" y="27"/>
                    </a:lnTo>
                    <a:lnTo>
                      <a:pt x="562" y="40"/>
                    </a:lnTo>
                    <a:lnTo>
                      <a:pt x="570" y="56"/>
                    </a:lnTo>
                    <a:lnTo>
                      <a:pt x="576" y="73"/>
                    </a:lnTo>
                    <a:lnTo>
                      <a:pt x="577" y="91"/>
                    </a:lnTo>
                    <a:lnTo>
                      <a:pt x="577" y="313"/>
                    </a:lnTo>
                    <a:lnTo>
                      <a:pt x="574" y="332"/>
                    </a:lnTo>
                    <a:lnTo>
                      <a:pt x="570" y="349"/>
                    </a:lnTo>
                    <a:lnTo>
                      <a:pt x="562" y="364"/>
                    </a:lnTo>
                    <a:lnTo>
                      <a:pt x="550" y="378"/>
                    </a:lnTo>
                    <a:lnTo>
                      <a:pt x="536" y="389"/>
                    </a:lnTo>
                    <a:lnTo>
                      <a:pt x="521" y="397"/>
                    </a:lnTo>
                    <a:lnTo>
                      <a:pt x="504" y="402"/>
                    </a:lnTo>
                    <a:lnTo>
                      <a:pt x="486" y="404"/>
                    </a:lnTo>
                    <a:lnTo>
                      <a:pt x="92" y="404"/>
                    </a:lnTo>
                    <a:close/>
                  </a:path>
                </a:pathLst>
              </a:cu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47" name="Rectangle 2136">
                <a:extLst>
                  <a:ext uri="{FF2B5EF4-FFF2-40B4-BE49-F238E27FC236}">
                    <a16:creationId xmlns:a16="http://schemas.microsoft.com/office/drawing/2014/main" id="{D781182B-F663-4807-9FD3-47AE1F67D2D5}"/>
                  </a:ext>
                </a:extLst>
              </p:cNvPr>
              <p:cNvSpPr>
                <a:spLocks noChangeArrowheads="1"/>
              </p:cNvSpPr>
              <p:nvPr/>
            </p:nvSpPr>
            <p:spPr bwMode="auto">
              <a:xfrm>
                <a:off x="3979863" y="3906838"/>
                <a:ext cx="38100" cy="1603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48" name="Rectangle 2137">
                <a:extLst>
                  <a:ext uri="{FF2B5EF4-FFF2-40B4-BE49-F238E27FC236}">
                    <a16:creationId xmlns:a16="http://schemas.microsoft.com/office/drawing/2014/main" id="{2C17CBD0-F3A7-416E-8E67-D53C34EA949E}"/>
                  </a:ext>
                </a:extLst>
              </p:cNvPr>
              <p:cNvSpPr>
                <a:spLocks noChangeArrowheads="1"/>
              </p:cNvSpPr>
              <p:nvPr/>
            </p:nvSpPr>
            <p:spPr bwMode="auto">
              <a:xfrm>
                <a:off x="4148138" y="3906838"/>
                <a:ext cx="39688" cy="160338"/>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49" name="Freeform 2138">
                <a:extLst>
                  <a:ext uri="{FF2B5EF4-FFF2-40B4-BE49-F238E27FC236}">
                    <a16:creationId xmlns:a16="http://schemas.microsoft.com/office/drawing/2014/main" id="{39D4CC67-21A4-4169-886A-1D045A9CCEA6}"/>
                  </a:ext>
                </a:extLst>
              </p:cNvPr>
              <p:cNvSpPr>
                <a:spLocks/>
              </p:cNvSpPr>
              <p:nvPr/>
            </p:nvSpPr>
            <p:spPr bwMode="auto">
              <a:xfrm>
                <a:off x="3890963" y="3970338"/>
                <a:ext cx="52388" cy="57150"/>
              </a:xfrm>
              <a:custGeom>
                <a:avLst/>
                <a:gdLst>
                  <a:gd name="T0" fmla="*/ 32 w 65"/>
                  <a:gd name="T1" fmla="*/ 38 h 72"/>
                  <a:gd name="T2" fmla="*/ 32 w 65"/>
                  <a:gd name="T3" fmla="*/ 39 h 72"/>
                  <a:gd name="T4" fmla="*/ 32 w 65"/>
                  <a:gd name="T5" fmla="*/ 38 h 72"/>
                  <a:gd name="T6" fmla="*/ 49 w 65"/>
                  <a:gd name="T7" fmla="*/ 71 h 72"/>
                  <a:gd name="T8" fmla="*/ 49 w 65"/>
                  <a:gd name="T9" fmla="*/ 71 h 72"/>
                  <a:gd name="T10" fmla="*/ 49 w 65"/>
                  <a:gd name="T11" fmla="*/ 71 h 72"/>
                  <a:gd name="T12" fmla="*/ 49 w 65"/>
                  <a:gd name="T13" fmla="*/ 72 h 72"/>
                  <a:gd name="T14" fmla="*/ 49 w 65"/>
                  <a:gd name="T15" fmla="*/ 72 h 72"/>
                  <a:gd name="T16" fmla="*/ 56 w 65"/>
                  <a:gd name="T17" fmla="*/ 66 h 72"/>
                  <a:gd name="T18" fmla="*/ 61 w 65"/>
                  <a:gd name="T19" fmla="*/ 58 h 72"/>
                  <a:gd name="T20" fmla="*/ 64 w 65"/>
                  <a:gd name="T21" fmla="*/ 49 h 72"/>
                  <a:gd name="T22" fmla="*/ 65 w 65"/>
                  <a:gd name="T23" fmla="*/ 39 h 72"/>
                  <a:gd name="T24" fmla="*/ 63 w 65"/>
                  <a:gd name="T25" fmla="*/ 24 h 72"/>
                  <a:gd name="T26" fmla="*/ 56 w 65"/>
                  <a:gd name="T27" fmla="*/ 11 h 72"/>
                  <a:gd name="T28" fmla="*/ 45 w 65"/>
                  <a:gd name="T29" fmla="*/ 3 h 72"/>
                  <a:gd name="T30" fmla="*/ 32 w 65"/>
                  <a:gd name="T31" fmla="*/ 0 h 72"/>
                  <a:gd name="T32" fmla="*/ 19 w 65"/>
                  <a:gd name="T33" fmla="*/ 3 h 72"/>
                  <a:gd name="T34" fmla="*/ 9 w 65"/>
                  <a:gd name="T35" fmla="*/ 11 h 72"/>
                  <a:gd name="T36" fmla="*/ 2 w 65"/>
                  <a:gd name="T37" fmla="*/ 24 h 72"/>
                  <a:gd name="T38" fmla="*/ 0 w 65"/>
                  <a:gd name="T39" fmla="*/ 39 h 72"/>
                  <a:gd name="T40" fmla="*/ 1 w 65"/>
                  <a:gd name="T41" fmla="*/ 49 h 72"/>
                  <a:gd name="T42" fmla="*/ 4 w 65"/>
                  <a:gd name="T43" fmla="*/ 58 h 72"/>
                  <a:gd name="T44" fmla="*/ 9 w 65"/>
                  <a:gd name="T45" fmla="*/ 66 h 72"/>
                  <a:gd name="T46" fmla="*/ 16 w 65"/>
                  <a:gd name="T47" fmla="*/ 72 h 72"/>
                  <a:gd name="T48" fmla="*/ 16 w 65"/>
                  <a:gd name="T49" fmla="*/ 71 h 72"/>
                  <a:gd name="T50" fmla="*/ 16 w 65"/>
                  <a:gd name="T51" fmla="*/ 71 h 72"/>
                  <a:gd name="T52" fmla="*/ 16 w 65"/>
                  <a:gd name="T53" fmla="*/ 71 h 72"/>
                  <a:gd name="T54" fmla="*/ 16 w 65"/>
                  <a:gd name="T55" fmla="*/ 71 h 72"/>
                  <a:gd name="T56" fmla="*/ 32 w 65"/>
                  <a:gd name="T57" fmla="*/ 3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 h="72">
                    <a:moveTo>
                      <a:pt x="32" y="38"/>
                    </a:moveTo>
                    <a:lnTo>
                      <a:pt x="32" y="39"/>
                    </a:lnTo>
                    <a:lnTo>
                      <a:pt x="32" y="38"/>
                    </a:lnTo>
                    <a:lnTo>
                      <a:pt x="49" y="71"/>
                    </a:lnTo>
                    <a:lnTo>
                      <a:pt x="49" y="71"/>
                    </a:lnTo>
                    <a:lnTo>
                      <a:pt x="49" y="71"/>
                    </a:lnTo>
                    <a:lnTo>
                      <a:pt x="49" y="72"/>
                    </a:lnTo>
                    <a:lnTo>
                      <a:pt x="49" y="72"/>
                    </a:lnTo>
                    <a:lnTo>
                      <a:pt x="56" y="66"/>
                    </a:lnTo>
                    <a:lnTo>
                      <a:pt x="61" y="58"/>
                    </a:lnTo>
                    <a:lnTo>
                      <a:pt x="64" y="49"/>
                    </a:lnTo>
                    <a:lnTo>
                      <a:pt x="65" y="39"/>
                    </a:lnTo>
                    <a:lnTo>
                      <a:pt x="63" y="24"/>
                    </a:lnTo>
                    <a:lnTo>
                      <a:pt x="56" y="11"/>
                    </a:lnTo>
                    <a:lnTo>
                      <a:pt x="45" y="3"/>
                    </a:lnTo>
                    <a:lnTo>
                      <a:pt x="32" y="0"/>
                    </a:lnTo>
                    <a:lnTo>
                      <a:pt x="19" y="3"/>
                    </a:lnTo>
                    <a:lnTo>
                      <a:pt x="9" y="11"/>
                    </a:lnTo>
                    <a:lnTo>
                      <a:pt x="2" y="24"/>
                    </a:lnTo>
                    <a:lnTo>
                      <a:pt x="0" y="39"/>
                    </a:lnTo>
                    <a:lnTo>
                      <a:pt x="1" y="49"/>
                    </a:lnTo>
                    <a:lnTo>
                      <a:pt x="4" y="58"/>
                    </a:lnTo>
                    <a:lnTo>
                      <a:pt x="9" y="66"/>
                    </a:lnTo>
                    <a:lnTo>
                      <a:pt x="16" y="72"/>
                    </a:lnTo>
                    <a:lnTo>
                      <a:pt x="16" y="71"/>
                    </a:lnTo>
                    <a:lnTo>
                      <a:pt x="16" y="71"/>
                    </a:lnTo>
                    <a:lnTo>
                      <a:pt x="16" y="71"/>
                    </a:lnTo>
                    <a:lnTo>
                      <a:pt x="16" y="71"/>
                    </a:lnTo>
                    <a:lnTo>
                      <a:pt x="32" y="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50" name="Freeform 2139">
                <a:extLst>
                  <a:ext uri="{FF2B5EF4-FFF2-40B4-BE49-F238E27FC236}">
                    <a16:creationId xmlns:a16="http://schemas.microsoft.com/office/drawing/2014/main" id="{A618FB4E-60B2-4E1D-BDA0-B40A279655DF}"/>
                  </a:ext>
                </a:extLst>
              </p:cNvPr>
              <p:cNvSpPr>
                <a:spLocks/>
              </p:cNvSpPr>
              <p:nvPr/>
            </p:nvSpPr>
            <p:spPr bwMode="auto">
              <a:xfrm>
                <a:off x="3848100" y="4000501"/>
                <a:ext cx="138113" cy="82550"/>
              </a:xfrm>
              <a:custGeom>
                <a:avLst/>
                <a:gdLst>
                  <a:gd name="T0" fmla="*/ 136 w 176"/>
                  <a:gd name="T1" fmla="*/ 54 h 103"/>
                  <a:gd name="T2" fmla="*/ 132 w 176"/>
                  <a:gd name="T3" fmla="*/ 54 h 103"/>
                  <a:gd name="T4" fmla="*/ 121 w 176"/>
                  <a:gd name="T5" fmla="*/ 51 h 103"/>
                  <a:gd name="T6" fmla="*/ 111 w 176"/>
                  <a:gd name="T7" fmla="*/ 46 h 103"/>
                  <a:gd name="T8" fmla="*/ 105 w 176"/>
                  <a:gd name="T9" fmla="*/ 34 h 103"/>
                  <a:gd name="T10" fmla="*/ 105 w 176"/>
                  <a:gd name="T11" fmla="*/ 34 h 103"/>
                  <a:gd name="T12" fmla="*/ 105 w 176"/>
                  <a:gd name="T13" fmla="*/ 33 h 103"/>
                  <a:gd name="T14" fmla="*/ 105 w 176"/>
                  <a:gd name="T15" fmla="*/ 33 h 103"/>
                  <a:gd name="T16" fmla="*/ 105 w 176"/>
                  <a:gd name="T17" fmla="*/ 33 h 103"/>
                  <a:gd name="T18" fmla="*/ 88 w 176"/>
                  <a:gd name="T19" fmla="*/ 0 h 103"/>
                  <a:gd name="T20" fmla="*/ 88 w 176"/>
                  <a:gd name="T21" fmla="*/ 1 h 103"/>
                  <a:gd name="T22" fmla="*/ 88 w 176"/>
                  <a:gd name="T23" fmla="*/ 0 h 103"/>
                  <a:gd name="T24" fmla="*/ 72 w 176"/>
                  <a:gd name="T25" fmla="*/ 33 h 103"/>
                  <a:gd name="T26" fmla="*/ 72 w 176"/>
                  <a:gd name="T27" fmla="*/ 33 h 103"/>
                  <a:gd name="T28" fmla="*/ 72 w 176"/>
                  <a:gd name="T29" fmla="*/ 33 h 103"/>
                  <a:gd name="T30" fmla="*/ 72 w 176"/>
                  <a:gd name="T31" fmla="*/ 33 h 103"/>
                  <a:gd name="T32" fmla="*/ 72 w 176"/>
                  <a:gd name="T33" fmla="*/ 34 h 103"/>
                  <a:gd name="T34" fmla="*/ 66 w 176"/>
                  <a:gd name="T35" fmla="*/ 46 h 103"/>
                  <a:gd name="T36" fmla="*/ 55 w 176"/>
                  <a:gd name="T37" fmla="*/ 51 h 103"/>
                  <a:gd name="T38" fmla="*/ 44 w 176"/>
                  <a:gd name="T39" fmla="*/ 54 h 103"/>
                  <a:gd name="T40" fmla="*/ 40 w 176"/>
                  <a:gd name="T41" fmla="*/ 54 h 103"/>
                  <a:gd name="T42" fmla="*/ 28 w 176"/>
                  <a:gd name="T43" fmla="*/ 56 h 103"/>
                  <a:gd name="T44" fmla="*/ 19 w 176"/>
                  <a:gd name="T45" fmla="*/ 61 h 103"/>
                  <a:gd name="T46" fmla="*/ 12 w 176"/>
                  <a:gd name="T47" fmla="*/ 66 h 103"/>
                  <a:gd name="T48" fmla="*/ 7 w 176"/>
                  <a:gd name="T49" fmla="*/ 73 h 103"/>
                  <a:gd name="T50" fmla="*/ 4 w 176"/>
                  <a:gd name="T51" fmla="*/ 79 h 103"/>
                  <a:gd name="T52" fmla="*/ 2 w 176"/>
                  <a:gd name="T53" fmla="*/ 85 h 103"/>
                  <a:gd name="T54" fmla="*/ 0 w 176"/>
                  <a:gd name="T55" fmla="*/ 89 h 103"/>
                  <a:gd name="T56" fmla="*/ 0 w 176"/>
                  <a:gd name="T57" fmla="*/ 91 h 103"/>
                  <a:gd name="T58" fmla="*/ 0 w 176"/>
                  <a:gd name="T59" fmla="*/ 103 h 103"/>
                  <a:gd name="T60" fmla="*/ 176 w 176"/>
                  <a:gd name="T61" fmla="*/ 103 h 103"/>
                  <a:gd name="T62" fmla="*/ 176 w 176"/>
                  <a:gd name="T63" fmla="*/ 91 h 103"/>
                  <a:gd name="T64" fmla="*/ 176 w 176"/>
                  <a:gd name="T65" fmla="*/ 89 h 103"/>
                  <a:gd name="T66" fmla="*/ 174 w 176"/>
                  <a:gd name="T67" fmla="*/ 85 h 103"/>
                  <a:gd name="T68" fmla="*/ 172 w 176"/>
                  <a:gd name="T69" fmla="*/ 79 h 103"/>
                  <a:gd name="T70" fmla="*/ 170 w 176"/>
                  <a:gd name="T71" fmla="*/ 73 h 103"/>
                  <a:gd name="T72" fmla="*/ 164 w 176"/>
                  <a:gd name="T73" fmla="*/ 66 h 103"/>
                  <a:gd name="T74" fmla="*/ 157 w 176"/>
                  <a:gd name="T75" fmla="*/ 61 h 103"/>
                  <a:gd name="T76" fmla="*/ 148 w 176"/>
                  <a:gd name="T77" fmla="*/ 56 h 103"/>
                  <a:gd name="T78" fmla="*/ 136 w 176"/>
                  <a:gd name="T79" fmla="*/ 5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6" h="103">
                    <a:moveTo>
                      <a:pt x="136" y="54"/>
                    </a:moveTo>
                    <a:lnTo>
                      <a:pt x="132" y="54"/>
                    </a:lnTo>
                    <a:lnTo>
                      <a:pt x="121" y="51"/>
                    </a:lnTo>
                    <a:lnTo>
                      <a:pt x="111" y="46"/>
                    </a:lnTo>
                    <a:lnTo>
                      <a:pt x="105" y="34"/>
                    </a:lnTo>
                    <a:lnTo>
                      <a:pt x="105" y="34"/>
                    </a:lnTo>
                    <a:lnTo>
                      <a:pt x="105" y="33"/>
                    </a:lnTo>
                    <a:lnTo>
                      <a:pt x="105" y="33"/>
                    </a:lnTo>
                    <a:lnTo>
                      <a:pt x="105" y="33"/>
                    </a:lnTo>
                    <a:lnTo>
                      <a:pt x="88" y="0"/>
                    </a:lnTo>
                    <a:lnTo>
                      <a:pt x="88" y="1"/>
                    </a:lnTo>
                    <a:lnTo>
                      <a:pt x="88" y="0"/>
                    </a:lnTo>
                    <a:lnTo>
                      <a:pt x="72" y="33"/>
                    </a:lnTo>
                    <a:lnTo>
                      <a:pt x="72" y="33"/>
                    </a:lnTo>
                    <a:lnTo>
                      <a:pt x="72" y="33"/>
                    </a:lnTo>
                    <a:lnTo>
                      <a:pt x="72" y="33"/>
                    </a:lnTo>
                    <a:lnTo>
                      <a:pt x="72" y="34"/>
                    </a:lnTo>
                    <a:lnTo>
                      <a:pt x="66" y="46"/>
                    </a:lnTo>
                    <a:lnTo>
                      <a:pt x="55" y="51"/>
                    </a:lnTo>
                    <a:lnTo>
                      <a:pt x="44" y="54"/>
                    </a:lnTo>
                    <a:lnTo>
                      <a:pt x="40" y="54"/>
                    </a:lnTo>
                    <a:lnTo>
                      <a:pt x="28" y="56"/>
                    </a:lnTo>
                    <a:lnTo>
                      <a:pt x="19" y="61"/>
                    </a:lnTo>
                    <a:lnTo>
                      <a:pt x="12" y="66"/>
                    </a:lnTo>
                    <a:lnTo>
                      <a:pt x="7" y="73"/>
                    </a:lnTo>
                    <a:lnTo>
                      <a:pt x="4" y="79"/>
                    </a:lnTo>
                    <a:lnTo>
                      <a:pt x="2" y="85"/>
                    </a:lnTo>
                    <a:lnTo>
                      <a:pt x="0" y="89"/>
                    </a:lnTo>
                    <a:lnTo>
                      <a:pt x="0" y="91"/>
                    </a:lnTo>
                    <a:lnTo>
                      <a:pt x="0" y="103"/>
                    </a:lnTo>
                    <a:lnTo>
                      <a:pt x="176" y="103"/>
                    </a:lnTo>
                    <a:lnTo>
                      <a:pt x="176" y="91"/>
                    </a:lnTo>
                    <a:lnTo>
                      <a:pt x="176" y="89"/>
                    </a:lnTo>
                    <a:lnTo>
                      <a:pt x="174" y="85"/>
                    </a:lnTo>
                    <a:lnTo>
                      <a:pt x="172" y="79"/>
                    </a:lnTo>
                    <a:lnTo>
                      <a:pt x="170" y="73"/>
                    </a:lnTo>
                    <a:lnTo>
                      <a:pt x="164" y="66"/>
                    </a:lnTo>
                    <a:lnTo>
                      <a:pt x="157" y="61"/>
                    </a:lnTo>
                    <a:lnTo>
                      <a:pt x="148" y="56"/>
                    </a:lnTo>
                    <a:lnTo>
                      <a:pt x="136" y="5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51" name="Freeform 2140">
                <a:extLst>
                  <a:ext uri="{FF2B5EF4-FFF2-40B4-BE49-F238E27FC236}">
                    <a16:creationId xmlns:a16="http://schemas.microsoft.com/office/drawing/2014/main" id="{601540CB-347E-4D6E-8FD1-A04BC2CFEF14}"/>
                  </a:ext>
                </a:extLst>
              </p:cNvPr>
              <p:cNvSpPr>
                <a:spLocks/>
              </p:cNvSpPr>
              <p:nvPr/>
            </p:nvSpPr>
            <p:spPr bwMode="auto">
              <a:xfrm>
                <a:off x="4060825" y="3970338"/>
                <a:ext cx="52388" cy="57150"/>
              </a:xfrm>
              <a:custGeom>
                <a:avLst/>
                <a:gdLst>
                  <a:gd name="T0" fmla="*/ 33 w 66"/>
                  <a:gd name="T1" fmla="*/ 38 h 72"/>
                  <a:gd name="T2" fmla="*/ 33 w 66"/>
                  <a:gd name="T3" fmla="*/ 39 h 72"/>
                  <a:gd name="T4" fmla="*/ 33 w 66"/>
                  <a:gd name="T5" fmla="*/ 38 h 72"/>
                  <a:gd name="T6" fmla="*/ 50 w 66"/>
                  <a:gd name="T7" fmla="*/ 71 h 72"/>
                  <a:gd name="T8" fmla="*/ 50 w 66"/>
                  <a:gd name="T9" fmla="*/ 71 h 72"/>
                  <a:gd name="T10" fmla="*/ 50 w 66"/>
                  <a:gd name="T11" fmla="*/ 71 h 72"/>
                  <a:gd name="T12" fmla="*/ 50 w 66"/>
                  <a:gd name="T13" fmla="*/ 72 h 72"/>
                  <a:gd name="T14" fmla="*/ 50 w 66"/>
                  <a:gd name="T15" fmla="*/ 72 h 72"/>
                  <a:gd name="T16" fmla="*/ 56 w 66"/>
                  <a:gd name="T17" fmla="*/ 66 h 72"/>
                  <a:gd name="T18" fmla="*/ 61 w 66"/>
                  <a:gd name="T19" fmla="*/ 58 h 72"/>
                  <a:gd name="T20" fmla="*/ 65 w 66"/>
                  <a:gd name="T21" fmla="*/ 49 h 72"/>
                  <a:gd name="T22" fmla="*/ 66 w 66"/>
                  <a:gd name="T23" fmla="*/ 39 h 72"/>
                  <a:gd name="T24" fmla="*/ 63 w 66"/>
                  <a:gd name="T25" fmla="*/ 24 h 72"/>
                  <a:gd name="T26" fmla="*/ 56 w 66"/>
                  <a:gd name="T27" fmla="*/ 11 h 72"/>
                  <a:gd name="T28" fmla="*/ 46 w 66"/>
                  <a:gd name="T29" fmla="*/ 3 h 72"/>
                  <a:gd name="T30" fmla="*/ 33 w 66"/>
                  <a:gd name="T31" fmla="*/ 0 h 72"/>
                  <a:gd name="T32" fmla="*/ 21 w 66"/>
                  <a:gd name="T33" fmla="*/ 3 h 72"/>
                  <a:gd name="T34" fmla="*/ 10 w 66"/>
                  <a:gd name="T35" fmla="*/ 11 h 72"/>
                  <a:gd name="T36" fmla="*/ 2 w 66"/>
                  <a:gd name="T37" fmla="*/ 24 h 72"/>
                  <a:gd name="T38" fmla="*/ 0 w 66"/>
                  <a:gd name="T39" fmla="*/ 39 h 72"/>
                  <a:gd name="T40" fmla="*/ 1 w 66"/>
                  <a:gd name="T41" fmla="*/ 49 h 72"/>
                  <a:gd name="T42" fmla="*/ 5 w 66"/>
                  <a:gd name="T43" fmla="*/ 58 h 72"/>
                  <a:gd name="T44" fmla="*/ 9 w 66"/>
                  <a:gd name="T45" fmla="*/ 66 h 72"/>
                  <a:gd name="T46" fmla="*/ 16 w 66"/>
                  <a:gd name="T47" fmla="*/ 72 h 72"/>
                  <a:gd name="T48" fmla="*/ 16 w 66"/>
                  <a:gd name="T49" fmla="*/ 71 h 72"/>
                  <a:gd name="T50" fmla="*/ 16 w 66"/>
                  <a:gd name="T51" fmla="*/ 71 h 72"/>
                  <a:gd name="T52" fmla="*/ 16 w 66"/>
                  <a:gd name="T53" fmla="*/ 71 h 72"/>
                  <a:gd name="T54" fmla="*/ 16 w 66"/>
                  <a:gd name="T55" fmla="*/ 71 h 72"/>
                  <a:gd name="T56" fmla="*/ 33 w 66"/>
                  <a:gd name="T57" fmla="*/ 3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6" h="72">
                    <a:moveTo>
                      <a:pt x="33" y="38"/>
                    </a:moveTo>
                    <a:lnTo>
                      <a:pt x="33" y="39"/>
                    </a:lnTo>
                    <a:lnTo>
                      <a:pt x="33" y="38"/>
                    </a:lnTo>
                    <a:lnTo>
                      <a:pt x="50" y="71"/>
                    </a:lnTo>
                    <a:lnTo>
                      <a:pt x="50" y="71"/>
                    </a:lnTo>
                    <a:lnTo>
                      <a:pt x="50" y="71"/>
                    </a:lnTo>
                    <a:lnTo>
                      <a:pt x="50" y="72"/>
                    </a:lnTo>
                    <a:lnTo>
                      <a:pt x="50" y="72"/>
                    </a:lnTo>
                    <a:lnTo>
                      <a:pt x="56" y="66"/>
                    </a:lnTo>
                    <a:lnTo>
                      <a:pt x="61" y="58"/>
                    </a:lnTo>
                    <a:lnTo>
                      <a:pt x="65" y="49"/>
                    </a:lnTo>
                    <a:lnTo>
                      <a:pt x="66" y="39"/>
                    </a:lnTo>
                    <a:lnTo>
                      <a:pt x="63" y="24"/>
                    </a:lnTo>
                    <a:lnTo>
                      <a:pt x="56" y="11"/>
                    </a:lnTo>
                    <a:lnTo>
                      <a:pt x="46" y="3"/>
                    </a:lnTo>
                    <a:lnTo>
                      <a:pt x="33" y="0"/>
                    </a:lnTo>
                    <a:lnTo>
                      <a:pt x="21" y="3"/>
                    </a:lnTo>
                    <a:lnTo>
                      <a:pt x="10" y="11"/>
                    </a:lnTo>
                    <a:lnTo>
                      <a:pt x="2" y="24"/>
                    </a:lnTo>
                    <a:lnTo>
                      <a:pt x="0" y="39"/>
                    </a:lnTo>
                    <a:lnTo>
                      <a:pt x="1" y="49"/>
                    </a:lnTo>
                    <a:lnTo>
                      <a:pt x="5" y="58"/>
                    </a:lnTo>
                    <a:lnTo>
                      <a:pt x="9" y="66"/>
                    </a:lnTo>
                    <a:lnTo>
                      <a:pt x="16" y="72"/>
                    </a:lnTo>
                    <a:lnTo>
                      <a:pt x="16" y="71"/>
                    </a:lnTo>
                    <a:lnTo>
                      <a:pt x="16" y="71"/>
                    </a:lnTo>
                    <a:lnTo>
                      <a:pt x="16" y="71"/>
                    </a:lnTo>
                    <a:lnTo>
                      <a:pt x="16" y="71"/>
                    </a:lnTo>
                    <a:lnTo>
                      <a:pt x="33" y="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52" name="Freeform 2141">
                <a:extLst>
                  <a:ext uri="{FF2B5EF4-FFF2-40B4-BE49-F238E27FC236}">
                    <a16:creationId xmlns:a16="http://schemas.microsoft.com/office/drawing/2014/main" id="{B659E828-9E5D-45D9-A63C-4BE2C089C167}"/>
                  </a:ext>
                </a:extLst>
              </p:cNvPr>
              <p:cNvSpPr>
                <a:spLocks/>
              </p:cNvSpPr>
              <p:nvPr/>
            </p:nvSpPr>
            <p:spPr bwMode="auto">
              <a:xfrm>
                <a:off x="4017963" y="4000501"/>
                <a:ext cx="138113" cy="82550"/>
              </a:xfrm>
              <a:custGeom>
                <a:avLst/>
                <a:gdLst>
                  <a:gd name="T0" fmla="*/ 136 w 175"/>
                  <a:gd name="T1" fmla="*/ 54 h 103"/>
                  <a:gd name="T2" fmla="*/ 131 w 175"/>
                  <a:gd name="T3" fmla="*/ 54 h 103"/>
                  <a:gd name="T4" fmla="*/ 121 w 175"/>
                  <a:gd name="T5" fmla="*/ 51 h 103"/>
                  <a:gd name="T6" fmla="*/ 109 w 175"/>
                  <a:gd name="T7" fmla="*/ 46 h 103"/>
                  <a:gd name="T8" fmla="*/ 104 w 175"/>
                  <a:gd name="T9" fmla="*/ 34 h 103"/>
                  <a:gd name="T10" fmla="*/ 104 w 175"/>
                  <a:gd name="T11" fmla="*/ 34 h 103"/>
                  <a:gd name="T12" fmla="*/ 104 w 175"/>
                  <a:gd name="T13" fmla="*/ 33 h 103"/>
                  <a:gd name="T14" fmla="*/ 104 w 175"/>
                  <a:gd name="T15" fmla="*/ 33 h 103"/>
                  <a:gd name="T16" fmla="*/ 104 w 175"/>
                  <a:gd name="T17" fmla="*/ 33 h 103"/>
                  <a:gd name="T18" fmla="*/ 87 w 175"/>
                  <a:gd name="T19" fmla="*/ 0 h 103"/>
                  <a:gd name="T20" fmla="*/ 87 w 175"/>
                  <a:gd name="T21" fmla="*/ 1 h 103"/>
                  <a:gd name="T22" fmla="*/ 87 w 175"/>
                  <a:gd name="T23" fmla="*/ 0 h 103"/>
                  <a:gd name="T24" fmla="*/ 70 w 175"/>
                  <a:gd name="T25" fmla="*/ 33 h 103"/>
                  <a:gd name="T26" fmla="*/ 70 w 175"/>
                  <a:gd name="T27" fmla="*/ 33 h 103"/>
                  <a:gd name="T28" fmla="*/ 70 w 175"/>
                  <a:gd name="T29" fmla="*/ 33 h 103"/>
                  <a:gd name="T30" fmla="*/ 70 w 175"/>
                  <a:gd name="T31" fmla="*/ 33 h 103"/>
                  <a:gd name="T32" fmla="*/ 70 w 175"/>
                  <a:gd name="T33" fmla="*/ 34 h 103"/>
                  <a:gd name="T34" fmla="*/ 64 w 175"/>
                  <a:gd name="T35" fmla="*/ 46 h 103"/>
                  <a:gd name="T36" fmla="*/ 54 w 175"/>
                  <a:gd name="T37" fmla="*/ 51 h 103"/>
                  <a:gd name="T38" fmla="*/ 44 w 175"/>
                  <a:gd name="T39" fmla="*/ 54 h 103"/>
                  <a:gd name="T40" fmla="*/ 39 w 175"/>
                  <a:gd name="T41" fmla="*/ 54 h 103"/>
                  <a:gd name="T42" fmla="*/ 27 w 175"/>
                  <a:gd name="T43" fmla="*/ 56 h 103"/>
                  <a:gd name="T44" fmla="*/ 18 w 175"/>
                  <a:gd name="T45" fmla="*/ 61 h 103"/>
                  <a:gd name="T46" fmla="*/ 11 w 175"/>
                  <a:gd name="T47" fmla="*/ 66 h 103"/>
                  <a:gd name="T48" fmla="*/ 6 w 175"/>
                  <a:gd name="T49" fmla="*/ 73 h 103"/>
                  <a:gd name="T50" fmla="*/ 3 w 175"/>
                  <a:gd name="T51" fmla="*/ 79 h 103"/>
                  <a:gd name="T52" fmla="*/ 1 w 175"/>
                  <a:gd name="T53" fmla="*/ 85 h 103"/>
                  <a:gd name="T54" fmla="*/ 0 w 175"/>
                  <a:gd name="T55" fmla="*/ 89 h 103"/>
                  <a:gd name="T56" fmla="*/ 0 w 175"/>
                  <a:gd name="T57" fmla="*/ 91 h 103"/>
                  <a:gd name="T58" fmla="*/ 0 w 175"/>
                  <a:gd name="T59" fmla="*/ 103 h 103"/>
                  <a:gd name="T60" fmla="*/ 175 w 175"/>
                  <a:gd name="T61" fmla="*/ 103 h 103"/>
                  <a:gd name="T62" fmla="*/ 175 w 175"/>
                  <a:gd name="T63" fmla="*/ 91 h 103"/>
                  <a:gd name="T64" fmla="*/ 175 w 175"/>
                  <a:gd name="T65" fmla="*/ 89 h 103"/>
                  <a:gd name="T66" fmla="*/ 174 w 175"/>
                  <a:gd name="T67" fmla="*/ 85 h 103"/>
                  <a:gd name="T68" fmla="*/ 172 w 175"/>
                  <a:gd name="T69" fmla="*/ 79 h 103"/>
                  <a:gd name="T70" fmla="*/ 168 w 175"/>
                  <a:gd name="T71" fmla="*/ 73 h 103"/>
                  <a:gd name="T72" fmla="*/ 163 w 175"/>
                  <a:gd name="T73" fmla="*/ 66 h 103"/>
                  <a:gd name="T74" fmla="*/ 157 w 175"/>
                  <a:gd name="T75" fmla="*/ 61 h 103"/>
                  <a:gd name="T76" fmla="*/ 147 w 175"/>
                  <a:gd name="T77" fmla="*/ 56 h 103"/>
                  <a:gd name="T78" fmla="*/ 136 w 175"/>
                  <a:gd name="T79" fmla="*/ 5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5" h="103">
                    <a:moveTo>
                      <a:pt x="136" y="54"/>
                    </a:moveTo>
                    <a:lnTo>
                      <a:pt x="131" y="54"/>
                    </a:lnTo>
                    <a:lnTo>
                      <a:pt x="121" y="51"/>
                    </a:lnTo>
                    <a:lnTo>
                      <a:pt x="109" y="46"/>
                    </a:lnTo>
                    <a:lnTo>
                      <a:pt x="104" y="34"/>
                    </a:lnTo>
                    <a:lnTo>
                      <a:pt x="104" y="34"/>
                    </a:lnTo>
                    <a:lnTo>
                      <a:pt x="104" y="33"/>
                    </a:lnTo>
                    <a:lnTo>
                      <a:pt x="104" y="33"/>
                    </a:lnTo>
                    <a:lnTo>
                      <a:pt x="104" y="33"/>
                    </a:lnTo>
                    <a:lnTo>
                      <a:pt x="87" y="0"/>
                    </a:lnTo>
                    <a:lnTo>
                      <a:pt x="87" y="1"/>
                    </a:lnTo>
                    <a:lnTo>
                      <a:pt x="87" y="0"/>
                    </a:lnTo>
                    <a:lnTo>
                      <a:pt x="70" y="33"/>
                    </a:lnTo>
                    <a:lnTo>
                      <a:pt x="70" y="33"/>
                    </a:lnTo>
                    <a:lnTo>
                      <a:pt x="70" y="33"/>
                    </a:lnTo>
                    <a:lnTo>
                      <a:pt x="70" y="33"/>
                    </a:lnTo>
                    <a:lnTo>
                      <a:pt x="70" y="34"/>
                    </a:lnTo>
                    <a:lnTo>
                      <a:pt x="64" y="46"/>
                    </a:lnTo>
                    <a:lnTo>
                      <a:pt x="54" y="51"/>
                    </a:lnTo>
                    <a:lnTo>
                      <a:pt x="44" y="54"/>
                    </a:lnTo>
                    <a:lnTo>
                      <a:pt x="39" y="54"/>
                    </a:lnTo>
                    <a:lnTo>
                      <a:pt x="27" y="56"/>
                    </a:lnTo>
                    <a:lnTo>
                      <a:pt x="18" y="61"/>
                    </a:lnTo>
                    <a:lnTo>
                      <a:pt x="11" y="66"/>
                    </a:lnTo>
                    <a:lnTo>
                      <a:pt x="6" y="73"/>
                    </a:lnTo>
                    <a:lnTo>
                      <a:pt x="3" y="79"/>
                    </a:lnTo>
                    <a:lnTo>
                      <a:pt x="1" y="85"/>
                    </a:lnTo>
                    <a:lnTo>
                      <a:pt x="0" y="89"/>
                    </a:lnTo>
                    <a:lnTo>
                      <a:pt x="0" y="91"/>
                    </a:lnTo>
                    <a:lnTo>
                      <a:pt x="0" y="103"/>
                    </a:lnTo>
                    <a:lnTo>
                      <a:pt x="175" y="103"/>
                    </a:lnTo>
                    <a:lnTo>
                      <a:pt x="175" y="91"/>
                    </a:lnTo>
                    <a:lnTo>
                      <a:pt x="175" y="89"/>
                    </a:lnTo>
                    <a:lnTo>
                      <a:pt x="174" y="85"/>
                    </a:lnTo>
                    <a:lnTo>
                      <a:pt x="172" y="79"/>
                    </a:lnTo>
                    <a:lnTo>
                      <a:pt x="168" y="73"/>
                    </a:lnTo>
                    <a:lnTo>
                      <a:pt x="163" y="66"/>
                    </a:lnTo>
                    <a:lnTo>
                      <a:pt x="157" y="61"/>
                    </a:lnTo>
                    <a:lnTo>
                      <a:pt x="147" y="56"/>
                    </a:lnTo>
                    <a:lnTo>
                      <a:pt x="136" y="5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53" name="Freeform 2142">
                <a:extLst>
                  <a:ext uri="{FF2B5EF4-FFF2-40B4-BE49-F238E27FC236}">
                    <a16:creationId xmlns:a16="http://schemas.microsoft.com/office/drawing/2014/main" id="{B2EA4111-D690-4A93-AADF-A058BE9E68B4}"/>
                  </a:ext>
                </a:extLst>
              </p:cNvPr>
              <p:cNvSpPr>
                <a:spLocks/>
              </p:cNvSpPr>
              <p:nvPr/>
            </p:nvSpPr>
            <p:spPr bwMode="auto">
              <a:xfrm>
                <a:off x="4221163" y="3970338"/>
                <a:ext cx="52388" cy="57150"/>
              </a:xfrm>
              <a:custGeom>
                <a:avLst/>
                <a:gdLst>
                  <a:gd name="T0" fmla="*/ 32 w 65"/>
                  <a:gd name="T1" fmla="*/ 38 h 72"/>
                  <a:gd name="T2" fmla="*/ 33 w 65"/>
                  <a:gd name="T3" fmla="*/ 39 h 72"/>
                  <a:gd name="T4" fmla="*/ 33 w 65"/>
                  <a:gd name="T5" fmla="*/ 38 h 72"/>
                  <a:gd name="T6" fmla="*/ 49 w 65"/>
                  <a:gd name="T7" fmla="*/ 71 h 72"/>
                  <a:gd name="T8" fmla="*/ 49 w 65"/>
                  <a:gd name="T9" fmla="*/ 71 h 72"/>
                  <a:gd name="T10" fmla="*/ 49 w 65"/>
                  <a:gd name="T11" fmla="*/ 71 h 72"/>
                  <a:gd name="T12" fmla="*/ 49 w 65"/>
                  <a:gd name="T13" fmla="*/ 72 h 72"/>
                  <a:gd name="T14" fmla="*/ 49 w 65"/>
                  <a:gd name="T15" fmla="*/ 72 h 72"/>
                  <a:gd name="T16" fmla="*/ 56 w 65"/>
                  <a:gd name="T17" fmla="*/ 66 h 72"/>
                  <a:gd name="T18" fmla="*/ 61 w 65"/>
                  <a:gd name="T19" fmla="*/ 58 h 72"/>
                  <a:gd name="T20" fmla="*/ 64 w 65"/>
                  <a:gd name="T21" fmla="*/ 49 h 72"/>
                  <a:gd name="T22" fmla="*/ 65 w 65"/>
                  <a:gd name="T23" fmla="*/ 39 h 72"/>
                  <a:gd name="T24" fmla="*/ 63 w 65"/>
                  <a:gd name="T25" fmla="*/ 24 h 72"/>
                  <a:gd name="T26" fmla="*/ 56 w 65"/>
                  <a:gd name="T27" fmla="*/ 11 h 72"/>
                  <a:gd name="T28" fmla="*/ 46 w 65"/>
                  <a:gd name="T29" fmla="*/ 3 h 72"/>
                  <a:gd name="T30" fmla="*/ 33 w 65"/>
                  <a:gd name="T31" fmla="*/ 0 h 72"/>
                  <a:gd name="T32" fmla="*/ 21 w 65"/>
                  <a:gd name="T33" fmla="*/ 3 h 72"/>
                  <a:gd name="T34" fmla="*/ 10 w 65"/>
                  <a:gd name="T35" fmla="*/ 11 h 72"/>
                  <a:gd name="T36" fmla="*/ 2 w 65"/>
                  <a:gd name="T37" fmla="*/ 24 h 72"/>
                  <a:gd name="T38" fmla="*/ 0 w 65"/>
                  <a:gd name="T39" fmla="*/ 39 h 72"/>
                  <a:gd name="T40" fmla="*/ 1 w 65"/>
                  <a:gd name="T41" fmla="*/ 49 h 72"/>
                  <a:gd name="T42" fmla="*/ 4 w 65"/>
                  <a:gd name="T43" fmla="*/ 58 h 72"/>
                  <a:gd name="T44" fmla="*/ 9 w 65"/>
                  <a:gd name="T45" fmla="*/ 66 h 72"/>
                  <a:gd name="T46" fmla="*/ 16 w 65"/>
                  <a:gd name="T47" fmla="*/ 72 h 72"/>
                  <a:gd name="T48" fmla="*/ 16 w 65"/>
                  <a:gd name="T49" fmla="*/ 71 h 72"/>
                  <a:gd name="T50" fmla="*/ 16 w 65"/>
                  <a:gd name="T51" fmla="*/ 71 h 72"/>
                  <a:gd name="T52" fmla="*/ 16 w 65"/>
                  <a:gd name="T53" fmla="*/ 71 h 72"/>
                  <a:gd name="T54" fmla="*/ 16 w 65"/>
                  <a:gd name="T55" fmla="*/ 71 h 72"/>
                  <a:gd name="T56" fmla="*/ 32 w 65"/>
                  <a:gd name="T57" fmla="*/ 38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5" h="72">
                    <a:moveTo>
                      <a:pt x="32" y="38"/>
                    </a:moveTo>
                    <a:lnTo>
                      <a:pt x="33" y="39"/>
                    </a:lnTo>
                    <a:lnTo>
                      <a:pt x="33" y="38"/>
                    </a:lnTo>
                    <a:lnTo>
                      <a:pt x="49" y="71"/>
                    </a:lnTo>
                    <a:lnTo>
                      <a:pt x="49" y="71"/>
                    </a:lnTo>
                    <a:lnTo>
                      <a:pt x="49" y="71"/>
                    </a:lnTo>
                    <a:lnTo>
                      <a:pt x="49" y="72"/>
                    </a:lnTo>
                    <a:lnTo>
                      <a:pt x="49" y="72"/>
                    </a:lnTo>
                    <a:lnTo>
                      <a:pt x="56" y="66"/>
                    </a:lnTo>
                    <a:lnTo>
                      <a:pt x="61" y="58"/>
                    </a:lnTo>
                    <a:lnTo>
                      <a:pt x="64" y="49"/>
                    </a:lnTo>
                    <a:lnTo>
                      <a:pt x="65" y="39"/>
                    </a:lnTo>
                    <a:lnTo>
                      <a:pt x="63" y="24"/>
                    </a:lnTo>
                    <a:lnTo>
                      <a:pt x="56" y="11"/>
                    </a:lnTo>
                    <a:lnTo>
                      <a:pt x="46" y="3"/>
                    </a:lnTo>
                    <a:lnTo>
                      <a:pt x="33" y="0"/>
                    </a:lnTo>
                    <a:lnTo>
                      <a:pt x="21" y="3"/>
                    </a:lnTo>
                    <a:lnTo>
                      <a:pt x="10" y="11"/>
                    </a:lnTo>
                    <a:lnTo>
                      <a:pt x="2" y="24"/>
                    </a:lnTo>
                    <a:lnTo>
                      <a:pt x="0" y="39"/>
                    </a:lnTo>
                    <a:lnTo>
                      <a:pt x="1" y="49"/>
                    </a:lnTo>
                    <a:lnTo>
                      <a:pt x="4" y="58"/>
                    </a:lnTo>
                    <a:lnTo>
                      <a:pt x="9" y="66"/>
                    </a:lnTo>
                    <a:lnTo>
                      <a:pt x="16" y="72"/>
                    </a:lnTo>
                    <a:lnTo>
                      <a:pt x="16" y="71"/>
                    </a:lnTo>
                    <a:lnTo>
                      <a:pt x="16" y="71"/>
                    </a:lnTo>
                    <a:lnTo>
                      <a:pt x="16" y="71"/>
                    </a:lnTo>
                    <a:lnTo>
                      <a:pt x="16" y="71"/>
                    </a:lnTo>
                    <a:lnTo>
                      <a:pt x="32" y="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54" name="Freeform 2143">
                <a:extLst>
                  <a:ext uri="{FF2B5EF4-FFF2-40B4-BE49-F238E27FC236}">
                    <a16:creationId xmlns:a16="http://schemas.microsoft.com/office/drawing/2014/main" id="{E34F7CA7-E2FF-4CC9-8421-48B8416554E2}"/>
                  </a:ext>
                </a:extLst>
              </p:cNvPr>
              <p:cNvSpPr>
                <a:spLocks/>
              </p:cNvSpPr>
              <p:nvPr/>
            </p:nvSpPr>
            <p:spPr bwMode="auto">
              <a:xfrm>
                <a:off x="4178300" y="4000501"/>
                <a:ext cx="139700" cy="82550"/>
              </a:xfrm>
              <a:custGeom>
                <a:avLst/>
                <a:gdLst>
                  <a:gd name="T0" fmla="*/ 138 w 177"/>
                  <a:gd name="T1" fmla="*/ 54 h 103"/>
                  <a:gd name="T2" fmla="*/ 133 w 177"/>
                  <a:gd name="T3" fmla="*/ 54 h 103"/>
                  <a:gd name="T4" fmla="*/ 123 w 177"/>
                  <a:gd name="T5" fmla="*/ 51 h 103"/>
                  <a:gd name="T6" fmla="*/ 111 w 177"/>
                  <a:gd name="T7" fmla="*/ 46 h 103"/>
                  <a:gd name="T8" fmla="*/ 105 w 177"/>
                  <a:gd name="T9" fmla="*/ 34 h 103"/>
                  <a:gd name="T10" fmla="*/ 105 w 177"/>
                  <a:gd name="T11" fmla="*/ 34 h 103"/>
                  <a:gd name="T12" fmla="*/ 105 w 177"/>
                  <a:gd name="T13" fmla="*/ 33 h 103"/>
                  <a:gd name="T14" fmla="*/ 105 w 177"/>
                  <a:gd name="T15" fmla="*/ 33 h 103"/>
                  <a:gd name="T16" fmla="*/ 105 w 177"/>
                  <a:gd name="T17" fmla="*/ 33 h 103"/>
                  <a:gd name="T18" fmla="*/ 89 w 177"/>
                  <a:gd name="T19" fmla="*/ 0 h 103"/>
                  <a:gd name="T20" fmla="*/ 89 w 177"/>
                  <a:gd name="T21" fmla="*/ 1 h 103"/>
                  <a:gd name="T22" fmla="*/ 88 w 177"/>
                  <a:gd name="T23" fmla="*/ 0 h 103"/>
                  <a:gd name="T24" fmla="*/ 72 w 177"/>
                  <a:gd name="T25" fmla="*/ 33 h 103"/>
                  <a:gd name="T26" fmla="*/ 72 w 177"/>
                  <a:gd name="T27" fmla="*/ 33 h 103"/>
                  <a:gd name="T28" fmla="*/ 72 w 177"/>
                  <a:gd name="T29" fmla="*/ 33 h 103"/>
                  <a:gd name="T30" fmla="*/ 72 w 177"/>
                  <a:gd name="T31" fmla="*/ 33 h 103"/>
                  <a:gd name="T32" fmla="*/ 72 w 177"/>
                  <a:gd name="T33" fmla="*/ 34 h 103"/>
                  <a:gd name="T34" fmla="*/ 66 w 177"/>
                  <a:gd name="T35" fmla="*/ 46 h 103"/>
                  <a:gd name="T36" fmla="*/ 55 w 177"/>
                  <a:gd name="T37" fmla="*/ 51 h 103"/>
                  <a:gd name="T38" fmla="*/ 44 w 177"/>
                  <a:gd name="T39" fmla="*/ 54 h 103"/>
                  <a:gd name="T40" fmla="*/ 40 w 177"/>
                  <a:gd name="T41" fmla="*/ 54 h 103"/>
                  <a:gd name="T42" fmla="*/ 28 w 177"/>
                  <a:gd name="T43" fmla="*/ 56 h 103"/>
                  <a:gd name="T44" fmla="*/ 19 w 177"/>
                  <a:gd name="T45" fmla="*/ 61 h 103"/>
                  <a:gd name="T46" fmla="*/ 12 w 177"/>
                  <a:gd name="T47" fmla="*/ 66 h 103"/>
                  <a:gd name="T48" fmla="*/ 7 w 177"/>
                  <a:gd name="T49" fmla="*/ 73 h 103"/>
                  <a:gd name="T50" fmla="*/ 4 w 177"/>
                  <a:gd name="T51" fmla="*/ 79 h 103"/>
                  <a:gd name="T52" fmla="*/ 2 w 177"/>
                  <a:gd name="T53" fmla="*/ 85 h 103"/>
                  <a:gd name="T54" fmla="*/ 0 w 177"/>
                  <a:gd name="T55" fmla="*/ 89 h 103"/>
                  <a:gd name="T56" fmla="*/ 0 w 177"/>
                  <a:gd name="T57" fmla="*/ 91 h 103"/>
                  <a:gd name="T58" fmla="*/ 0 w 177"/>
                  <a:gd name="T59" fmla="*/ 103 h 103"/>
                  <a:gd name="T60" fmla="*/ 177 w 177"/>
                  <a:gd name="T61" fmla="*/ 103 h 103"/>
                  <a:gd name="T62" fmla="*/ 177 w 177"/>
                  <a:gd name="T63" fmla="*/ 91 h 103"/>
                  <a:gd name="T64" fmla="*/ 177 w 177"/>
                  <a:gd name="T65" fmla="*/ 89 h 103"/>
                  <a:gd name="T66" fmla="*/ 176 w 177"/>
                  <a:gd name="T67" fmla="*/ 85 h 103"/>
                  <a:gd name="T68" fmla="*/ 173 w 177"/>
                  <a:gd name="T69" fmla="*/ 79 h 103"/>
                  <a:gd name="T70" fmla="*/ 170 w 177"/>
                  <a:gd name="T71" fmla="*/ 73 h 103"/>
                  <a:gd name="T72" fmla="*/ 165 w 177"/>
                  <a:gd name="T73" fmla="*/ 66 h 103"/>
                  <a:gd name="T74" fmla="*/ 158 w 177"/>
                  <a:gd name="T75" fmla="*/ 61 h 103"/>
                  <a:gd name="T76" fmla="*/ 149 w 177"/>
                  <a:gd name="T77" fmla="*/ 56 h 103"/>
                  <a:gd name="T78" fmla="*/ 138 w 177"/>
                  <a:gd name="T79" fmla="*/ 54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7" h="103">
                    <a:moveTo>
                      <a:pt x="138" y="54"/>
                    </a:moveTo>
                    <a:lnTo>
                      <a:pt x="133" y="54"/>
                    </a:lnTo>
                    <a:lnTo>
                      <a:pt x="123" y="51"/>
                    </a:lnTo>
                    <a:lnTo>
                      <a:pt x="111" y="46"/>
                    </a:lnTo>
                    <a:lnTo>
                      <a:pt x="105" y="34"/>
                    </a:lnTo>
                    <a:lnTo>
                      <a:pt x="105" y="34"/>
                    </a:lnTo>
                    <a:lnTo>
                      <a:pt x="105" y="33"/>
                    </a:lnTo>
                    <a:lnTo>
                      <a:pt x="105" y="33"/>
                    </a:lnTo>
                    <a:lnTo>
                      <a:pt x="105" y="33"/>
                    </a:lnTo>
                    <a:lnTo>
                      <a:pt x="89" y="0"/>
                    </a:lnTo>
                    <a:lnTo>
                      <a:pt x="89" y="1"/>
                    </a:lnTo>
                    <a:lnTo>
                      <a:pt x="88" y="0"/>
                    </a:lnTo>
                    <a:lnTo>
                      <a:pt x="72" y="33"/>
                    </a:lnTo>
                    <a:lnTo>
                      <a:pt x="72" y="33"/>
                    </a:lnTo>
                    <a:lnTo>
                      <a:pt x="72" y="33"/>
                    </a:lnTo>
                    <a:lnTo>
                      <a:pt x="72" y="33"/>
                    </a:lnTo>
                    <a:lnTo>
                      <a:pt x="72" y="34"/>
                    </a:lnTo>
                    <a:lnTo>
                      <a:pt x="66" y="46"/>
                    </a:lnTo>
                    <a:lnTo>
                      <a:pt x="55" y="51"/>
                    </a:lnTo>
                    <a:lnTo>
                      <a:pt x="44" y="54"/>
                    </a:lnTo>
                    <a:lnTo>
                      <a:pt x="40" y="54"/>
                    </a:lnTo>
                    <a:lnTo>
                      <a:pt x="28" y="56"/>
                    </a:lnTo>
                    <a:lnTo>
                      <a:pt x="19" y="61"/>
                    </a:lnTo>
                    <a:lnTo>
                      <a:pt x="12" y="66"/>
                    </a:lnTo>
                    <a:lnTo>
                      <a:pt x="7" y="73"/>
                    </a:lnTo>
                    <a:lnTo>
                      <a:pt x="4" y="79"/>
                    </a:lnTo>
                    <a:lnTo>
                      <a:pt x="2" y="85"/>
                    </a:lnTo>
                    <a:lnTo>
                      <a:pt x="0" y="89"/>
                    </a:lnTo>
                    <a:lnTo>
                      <a:pt x="0" y="91"/>
                    </a:lnTo>
                    <a:lnTo>
                      <a:pt x="0" y="103"/>
                    </a:lnTo>
                    <a:lnTo>
                      <a:pt x="177" y="103"/>
                    </a:lnTo>
                    <a:lnTo>
                      <a:pt x="177" y="91"/>
                    </a:lnTo>
                    <a:lnTo>
                      <a:pt x="177" y="89"/>
                    </a:lnTo>
                    <a:lnTo>
                      <a:pt x="176" y="85"/>
                    </a:lnTo>
                    <a:lnTo>
                      <a:pt x="173" y="79"/>
                    </a:lnTo>
                    <a:lnTo>
                      <a:pt x="170" y="73"/>
                    </a:lnTo>
                    <a:lnTo>
                      <a:pt x="165" y="66"/>
                    </a:lnTo>
                    <a:lnTo>
                      <a:pt x="158" y="61"/>
                    </a:lnTo>
                    <a:lnTo>
                      <a:pt x="149" y="56"/>
                    </a:lnTo>
                    <a:lnTo>
                      <a:pt x="138" y="5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55" name="Rectangle 2144">
                <a:extLst>
                  <a:ext uri="{FF2B5EF4-FFF2-40B4-BE49-F238E27FC236}">
                    <a16:creationId xmlns:a16="http://schemas.microsoft.com/office/drawing/2014/main" id="{CA1CFFD7-5F3E-4362-B86D-FE26B3AD5EED}"/>
                  </a:ext>
                </a:extLst>
              </p:cNvPr>
              <p:cNvSpPr>
                <a:spLocks noChangeArrowheads="1"/>
              </p:cNvSpPr>
              <p:nvPr/>
            </p:nvSpPr>
            <p:spPr bwMode="auto">
              <a:xfrm>
                <a:off x="3833813" y="4060826"/>
                <a:ext cx="496888" cy="4445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56" name="Freeform 2145">
                <a:extLst>
                  <a:ext uri="{FF2B5EF4-FFF2-40B4-BE49-F238E27FC236}">
                    <a16:creationId xmlns:a16="http://schemas.microsoft.com/office/drawing/2014/main" id="{D165B668-9AAB-4D3F-B804-079ADDA8B153}"/>
                  </a:ext>
                </a:extLst>
              </p:cNvPr>
              <p:cNvSpPr>
                <a:spLocks/>
              </p:cNvSpPr>
              <p:nvPr/>
            </p:nvSpPr>
            <p:spPr bwMode="auto">
              <a:xfrm>
                <a:off x="3921125" y="4140201"/>
                <a:ext cx="38100" cy="38100"/>
              </a:xfrm>
              <a:custGeom>
                <a:avLst/>
                <a:gdLst>
                  <a:gd name="T0" fmla="*/ 24 w 48"/>
                  <a:gd name="T1" fmla="*/ 48 h 48"/>
                  <a:gd name="T2" fmla="*/ 33 w 48"/>
                  <a:gd name="T3" fmla="*/ 46 h 48"/>
                  <a:gd name="T4" fmla="*/ 41 w 48"/>
                  <a:gd name="T5" fmla="*/ 41 h 48"/>
                  <a:gd name="T6" fmla="*/ 46 w 48"/>
                  <a:gd name="T7" fmla="*/ 33 h 48"/>
                  <a:gd name="T8" fmla="*/ 48 w 48"/>
                  <a:gd name="T9" fmla="*/ 24 h 48"/>
                  <a:gd name="T10" fmla="*/ 46 w 48"/>
                  <a:gd name="T11" fmla="*/ 15 h 48"/>
                  <a:gd name="T12" fmla="*/ 41 w 48"/>
                  <a:gd name="T13" fmla="*/ 7 h 48"/>
                  <a:gd name="T14" fmla="*/ 33 w 48"/>
                  <a:gd name="T15" fmla="*/ 2 h 48"/>
                  <a:gd name="T16" fmla="*/ 24 w 48"/>
                  <a:gd name="T17" fmla="*/ 0 h 48"/>
                  <a:gd name="T18" fmla="*/ 15 w 48"/>
                  <a:gd name="T19" fmla="*/ 2 h 48"/>
                  <a:gd name="T20" fmla="*/ 7 w 48"/>
                  <a:gd name="T21" fmla="*/ 7 h 48"/>
                  <a:gd name="T22" fmla="*/ 2 w 48"/>
                  <a:gd name="T23" fmla="*/ 15 h 48"/>
                  <a:gd name="T24" fmla="*/ 0 w 48"/>
                  <a:gd name="T25" fmla="*/ 24 h 48"/>
                  <a:gd name="T26" fmla="*/ 2 w 48"/>
                  <a:gd name="T27" fmla="*/ 33 h 48"/>
                  <a:gd name="T28" fmla="*/ 7 w 48"/>
                  <a:gd name="T29" fmla="*/ 41 h 48"/>
                  <a:gd name="T30" fmla="*/ 15 w 48"/>
                  <a:gd name="T31" fmla="*/ 46 h 48"/>
                  <a:gd name="T32" fmla="*/ 24 w 48"/>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8">
                    <a:moveTo>
                      <a:pt x="24" y="48"/>
                    </a:moveTo>
                    <a:lnTo>
                      <a:pt x="33" y="46"/>
                    </a:lnTo>
                    <a:lnTo>
                      <a:pt x="41" y="41"/>
                    </a:lnTo>
                    <a:lnTo>
                      <a:pt x="46" y="33"/>
                    </a:lnTo>
                    <a:lnTo>
                      <a:pt x="48" y="24"/>
                    </a:lnTo>
                    <a:lnTo>
                      <a:pt x="46" y="15"/>
                    </a:lnTo>
                    <a:lnTo>
                      <a:pt x="41" y="7"/>
                    </a:lnTo>
                    <a:lnTo>
                      <a:pt x="33" y="2"/>
                    </a:lnTo>
                    <a:lnTo>
                      <a:pt x="24" y="0"/>
                    </a:lnTo>
                    <a:lnTo>
                      <a:pt x="15" y="2"/>
                    </a:lnTo>
                    <a:lnTo>
                      <a:pt x="7" y="7"/>
                    </a:lnTo>
                    <a:lnTo>
                      <a:pt x="2" y="15"/>
                    </a:lnTo>
                    <a:lnTo>
                      <a:pt x="0" y="24"/>
                    </a:lnTo>
                    <a:lnTo>
                      <a:pt x="2" y="33"/>
                    </a:lnTo>
                    <a:lnTo>
                      <a:pt x="7" y="41"/>
                    </a:lnTo>
                    <a:lnTo>
                      <a:pt x="15" y="46"/>
                    </a:lnTo>
                    <a:lnTo>
                      <a:pt x="24" y="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57" name="Freeform 2146">
                <a:extLst>
                  <a:ext uri="{FF2B5EF4-FFF2-40B4-BE49-F238E27FC236}">
                    <a16:creationId xmlns:a16="http://schemas.microsoft.com/office/drawing/2014/main" id="{EC682702-5354-4938-93E4-F038F99E2C03}"/>
                  </a:ext>
                </a:extLst>
              </p:cNvPr>
              <p:cNvSpPr>
                <a:spLocks/>
              </p:cNvSpPr>
              <p:nvPr/>
            </p:nvSpPr>
            <p:spPr bwMode="auto">
              <a:xfrm>
                <a:off x="4062413" y="4140201"/>
                <a:ext cx="39688" cy="38100"/>
              </a:xfrm>
              <a:custGeom>
                <a:avLst/>
                <a:gdLst>
                  <a:gd name="T0" fmla="*/ 24 w 50"/>
                  <a:gd name="T1" fmla="*/ 48 h 48"/>
                  <a:gd name="T2" fmla="*/ 35 w 50"/>
                  <a:gd name="T3" fmla="*/ 46 h 48"/>
                  <a:gd name="T4" fmla="*/ 43 w 50"/>
                  <a:gd name="T5" fmla="*/ 41 h 48"/>
                  <a:gd name="T6" fmla="*/ 48 w 50"/>
                  <a:gd name="T7" fmla="*/ 33 h 48"/>
                  <a:gd name="T8" fmla="*/ 50 w 50"/>
                  <a:gd name="T9" fmla="*/ 24 h 48"/>
                  <a:gd name="T10" fmla="*/ 48 w 50"/>
                  <a:gd name="T11" fmla="*/ 15 h 48"/>
                  <a:gd name="T12" fmla="*/ 43 w 50"/>
                  <a:gd name="T13" fmla="*/ 7 h 48"/>
                  <a:gd name="T14" fmla="*/ 35 w 50"/>
                  <a:gd name="T15" fmla="*/ 2 h 48"/>
                  <a:gd name="T16" fmla="*/ 24 w 50"/>
                  <a:gd name="T17" fmla="*/ 0 h 48"/>
                  <a:gd name="T18" fmla="*/ 15 w 50"/>
                  <a:gd name="T19" fmla="*/ 2 h 48"/>
                  <a:gd name="T20" fmla="*/ 7 w 50"/>
                  <a:gd name="T21" fmla="*/ 7 h 48"/>
                  <a:gd name="T22" fmla="*/ 3 w 50"/>
                  <a:gd name="T23" fmla="*/ 15 h 48"/>
                  <a:gd name="T24" fmla="*/ 0 w 50"/>
                  <a:gd name="T25" fmla="*/ 24 h 48"/>
                  <a:gd name="T26" fmla="*/ 3 w 50"/>
                  <a:gd name="T27" fmla="*/ 33 h 48"/>
                  <a:gd name="T28" fmla="*/ 7 w 50"/>
                  <a:gd name="T29" fmla="*/ 41 h 48"/>
                  <a:gd name="T30" fmla="*/ 15 w 50"/>
                  <a:gd name="T31" fmla="*/ 46 h 48"/>
                  <a:gd name="T32" fmla="*/ 24 w 50"/>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48">
                    <a:moveTo>
                      <a:pt x="24" y="48"/>
                    </a:moveTo>
                    <a:lnTo>
                      <a:pt x="35" y="46"/>
                    </a:lnTo>
                    <a:lnTo>
                      <a:pt x="43" y="41"/>
                    </a:lnTo>
                    <a:lnTo>
                      <a:pt x="48" y="33"/>
                    </a:lnTo>
                    <a:lnTo>
                      <a:pt x="50" y="24"/>
                    </a:lnTo>
                    <a:lnTo>
                      <a:pt x="48" y="15"/>
                    </a:lnTo>
                    <a:lnTo>
                      <a:pt x="43" y="7"/>
                    </a:lnTo>
                    <a:lnTo>
                      <a:pt x="35" y="2"/>
                    </a:lnTo>
                    <a:lnTo>
                      <a:pt x="24" y="0"/>
                    </a:lnTo>
                    <a:lnTo>
                      <a:pt x="15" y="2"/>
                    </a:lnTo>
                    <a:lnTo>
                      <a:pt x="7" y="7"/>
                    </a:lnTo>
                    <a:lnTo>
                      <a:pt x="3" y="15"/>
                    </a:lnTo>
                    <a:lnTo>
                      <a:pt x="0" y="24"/>
                    </a:lnTo>
                    <a:lnTo>
                      <a:pt x="3" y="33"/>
                    </a:lnTo>
                    <a:lnTo>
                      <a:pt x="7" y="41"/>
                    </a:lnTo>
                    <a:lnTo>
                      <a:pt x="15" y="46"/>
                    </a:lnTo>
                    <a:lnTo>
                      <a:pt x="24" y="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58" name="Freeform 2147">
                <a:extLst>
                  <a:ext uri="{FF2B5EF4-FFF2-40B4-BE49-F238E27FC236}">
                    <a16:creationId xmlns:a16="http://schemas.microsoft.com/office/drawing/2014/main" id="{5FA1B279-A7CF-4075-AA9F-E3D456EA6FBF}"/>
                  </a:ext>
                </a:extLst>
              </p:cNvPr>
              <p:cNvSpPr>
                <a:spLocks/>
              </p:cNvSpPr>
              <p:nvPr/>
            </p:nvSpPr>
            <p:spPr bwMode="auto">
              <a:xfrm>
                <a:off x="4202113" y="4140201"/>
                <a:ext cx="39688" cy="38100"/>
              </a:xfrm>
              <a:custGeom>
                <a:avLst/>
                <a:gdLst>
                  <a:gd name="T0" fmla="*/ 24 w 48"/>
                  <a:gd name="T1" fmla="*/ 48 h 48"/>
                  <a:gd name="T2" fmla="*/ 33 w 48"/>
                  <a:gd name="T3" fmla="*/ 46 h 48"/>
                  <a:gd name="T4" fmla="*/ 41 w 48"/>
                  <a:gd name="T5" fmla="*/ 41 h 48"/>
                  <a:gd name="T6" fmla="*/ 46 w 48"/>
                  <a:gd name="T7" fmla="*/ 33 h 48"/>
                  <a:gd name="T8" fmla="*/ 48 w 48"/>
                  <a:gd name="T9" fmla="*/ 24 h 48"/>
                  <a:gd name="T10" fmla="*/ 46 w 48"/>
                  <a:gd name="T11" fmla="*/ 15 h 48"/>
                  <a:gd name="T12" fmla="*/ 41 w 48"/>
                  <a:gd name="T13" fmla="*/ 7 h 48"/>
                  <a:gd name="T14" fmla="*/ 33 w 48"/>
                  <a:gd name="T15" fmla="*/ 2 h 48"/>
                  <a:gd name="T16" fmla="*/ 24 w 48"/>
                  <a:gd name="T17" fmla="*/ 0 h 48"/>
                  <a:gd name="T18" fmla="*/ 15 w 48"/>
                  <a:gd name="T19" fmla="*/ 2 h 48"/>
                  <a:gd name="T20" fmla="*/ 7 w 48"/>
                  <a:gd name="T21" fmla="*/ 7 h 48"/>
                  <a:gd name="T22" fmla="*/ 2 w 48"/>
                  <a:gd name="T23" fmla="*/ 15 h 48"/>
                  <a:gd name="T24" fmla="*/ 0 w 48"/>
                  <a:gd name="T25" fmla="*/ 24 h 48"/>
                  <a:gd name="T26" fmla="*/ 2 w 48"/>
                  <a:gd name="T27" fmla="*/ 33 h 48"/>
                  <a:gd name="T28" fmla="*/ 7 w 48"/>
                  <a:gd name="T29" fmla="*/ 41 h 48"/>
                  <a:gd name="T30" fmla="*/ 15 w 48"/>
                  <a:gd name="T31" fmla="*/ 46 h 48"/>
                  <a:gd name="T32" fmla="*/ 24 w 48"/>
                  <a:gd name="T3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 h="48">
                    <a:moveTo>
                      <a:pt x="24" y="48"/>
                    </a:moveTo>
                    <a:lnTo>
                      <a:pt x="33" y="46"/>
                    </a:lnTo>
                    <a:lnTo>
                      <a:pt x="41" y="41"/>
                    </a:lnTo>
                    <a:lnTo>
                      <a:pt x="46" y="33"/>
                    </a:lnTo>
                    <a:lnTo>
                      <a:pt x="48" y="24"/>
                    </a:lnTo>
                    <a:lnTo>
                      <a:pt x="46" y="15"/>
                    </a:lnTo>
                    <a:lnTo>
                      <a:pt x="41" y="7"/>
                    </a:lnTo>
                    <a:lnTo>
                      <a:pt x="33" y="2"/>
                    </a:lnTo>
                    <a:lnTo>
                      <a:pt x="24" y="0"/>
                    </a:lnTo>
                    <a:lnTo>
                      <a:pt x="15" y="2"/>
                    </a:lnTo>
                    <a:lnTo>
                      <a:pt x="7" y="7"/>
                    </a:lnTo>
                    <a:lnTo>
                      <a:pt x="2" y="15"/>
                    </a:lnTo>
                    <a:lnTo>
                      <a:pt x="0" y="24"/>
                    </a:lnTo>
                    <a:lnTo>
                      <a:pt x="2" y="33"/>
                    </a:lnTo>
                    <a:lnTo>
                      <a:pt x="7" y="41"/>
                    </a:lnTo>
                    <a:lnTo>
                      <a:pt x="15" y="46"/>
                    </a:lnTo>
                    <a:lnTo>
                      <a:pt x="24" y="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959" name="Group 1958">
            <a:extLst>
              <a:ext uri="{FF2B5EF4-FFF2-40B4-BE49-F238E27FC236}">
                <a16:creationId xmlns:a16="http://schemas.microsoft.com/office/drawing/2014/main" id="{7D9D7C6D-2814-4919-A070-C10214A31AAF}"/>
              </a:ext>
            </a:extLst>
          </p:cNvPr>
          <p:cNvGrpSpPr/>
          <p:nvPr/>
        </p:nvGrpSpPr>
        <p:grpSpPr>
          <a:xfrm>
            <a:off x="4611331" y="3205728"/>
            <a:ext cx="612000" cy="612000"/>
            <a:chOff x="2778967" y="3806921"/>
            <a:chExt cx="612000" cy="612000"/>
          </a:xfrm>
        </p:grpSpPr>
        <p:sp>
          <p:nvSpPr>
            <p:cNvPr id="1960" name="Oval 1959">
              <a:extLst>
                <a:ext uri="{FF2B5EF4-FFF2-40B4-BE49-F238E27FC236}">
                  <a16:creationId xmlns:a16="http://schemas.microsoft.com/office/drawing/2014/main" id="{3AE11F41-34B3-4184-B9CD-6E0C7EE8F1AA}"/>
                </a:ext>
              </a:extLst>
            </p:cNvPr>
            <p:cNvSpPr/>
            <p:nvPr/>
          </p:nvSpPr>
          <p:spPr bwMode="ltGray">
            <a:xfrm>
              <a:off x="2778967" y="3806921"/>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961" name="Group 1960">
              <a:extLst>
                <a:ext uri="{FF2B5EF4-FFF2-40B4-BE49-F238E27FC236}">
                  <a16:creationId xmlns:a16="http://schemas.microsoft.com/office/drawing/2014/main" id="{3093FBCC-E697-4492-8E37-17B5C746424F}"/>
                </a:ext>
              </a:extLst>
            </p:cNvPr>
            <p:cNvGrpSpPr/>
            <p:nvPr/>
          </p:nvGrpSpPr>
          <p:grpSpPr>
            <a:xfrm>
              <a:off x="2948312" y="3942827"/>
              <a:ext cx="317206" cy="347373"/>
              <a:chOff x="6940550" y="4613275"/>
              <a:chExt cx="550862" cy="603250"/>
            </a:xfrm>
          </p:grpSpPr>
          <p:sp>
            <p:nvSpPr>
              <p:cNvPr id="1962" name="Freeform 44">
                <a:extLst>
                  <a:ext uri="{FF2B5EF4-FFF2-40B4-BE49-F238E27FC236}">
                    <a16:creationId xmlns:a16="http://schemas.microsoft.com/office/drawing/2014/main" id="{78C7F0FA-F141-4B16-8B29-E8A8EEE584A2}"/>
                  </a:ext>
                </a:extLst>
              </p:cNvPr>
              <p:cNvSpPr>
                <a:spLocks/>
              </p:cNvSpPr>
              <p:nvPr/>
            </p:nvSpPr>
            <p:spPr bwMode="auto">
              <a:xfrm>
                <a:off x="6989763" y="4656138"/>
                <a:ext cx="312737" cy="182563"/>
              </a:xfrm>
              <a:custGeom>
                <a:avLst/>
                <a:gdLst>
                  <a:gd name="T0" fmla="*/ 24 w 394"/>
                  <a:gd name="T1" fmla="*/ 0 h 231"/>
                  <a:gd name="T2" fmla="*/ 370 w 394"/>
                  <a:gd name="T3" fmla="*/ 0 h 231"/>
                  <a:gd name="T4" fmla="*/ 379 w 394"/>
                  <a:gd name="T5" fmla="*/ 3 h 231"/>
                  <a:gd name="T6" fmla="*/ 387 w 394"/>
                  <a:gd name="T7" fmla="*/ 7 h 231"/>
                  <a:gd name="T8" fmla="*/ 391 w 394"/>
                  <a:gd name="T9" fmla="*/ 15 h 231"/>
                  <a:gd name="T10" fmla="*/ 394 w 394"/>
                  <a:gd name="T11" fmla="*/ 26 h 231"/>
                  <a:gd name="T12" fmla="*/ 394 w 394"/>
                  <a:gd name="T13" fmla="*/ 204 h 231"/>
                  <a:gd name="T14" fmla="*/ 391 w 394"/>
                  <a:gd name="T15" fmla="*/ 215 h 231"/>
                  <a:gd name="T16" fmla="*/ 387 w 394"/>
                  <a:gd name="T17" fmla="*/ 223 h 231"/>
                  <a:gd name="T18" fmla="*/ 379 w 394"/>
                  <a:gd name="T19" fmla="*/ 229 h 231"/>
                  <a:gd name="T20" fmla="*/ 370 w 394"/>
                  <a:gd name="T21" fmla="*/ 231 h 231"/>
                  <a:gd name="T22" fmla="*/ 24 w 394"/>
                  <a:gd name="T23" fmla="*/ 231 h 231"/>
                  <a:gd name="T24" fmla="*/ 15 w 394"/>
                  <a:gd name="T25" fmla="*/ 229 h 231"/>
                  <a:gd name="T26" fmla="*/ 7 w 394"/>
                  <a:gd name="T27" fmla="*/ 223 h 231"/>
                  <a:gd name="T28" fmla="*/ 2 w 394"/>
                  <a:gd name="T29" fmla="*/ 215 h 231"/>
                  <a:gd name="T30" fmla="*/ 0 w 394"/>
                  <a:gd name="T31" fmla="*/ 204 h 231"/>
                  <a:gd name="T32" fmla="*/ 0 w 394"/>
                  <a:gd name="T33" fmla="*/ 26 h 231"/>
                  <a:gd name="T34" fmla="*/ 2 w 394"/>
                  <a:gd name="T35" fmla="*/ 15 h 231"/>
                  <a:gd name="T36" fmla="*/ 7 w 394"/>
                  <a:gd name="T37" fmla="*/ 7 h 231"/>
                  <a:gd name="T38" fmla="*/ 15 w 394"/>
                  <a:gd name="T39" fmla="*/ 3 h 231"/>
                  <a:gd name="T40" fmla="*/ 24 w 394"/>
                  <a:gd name="T41" fmla="*/ 0 h 231"/>
                  <a:gd name="T42" fmla="*/ 24 w 394"/>
                  <a:gd name="T43"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4" h="231">
                    <a:moveTo>
                      <a:pt x="24" y="0"/>
                    </a:moveTo>
                    <a:lnTo>
                      <a:pt x="370" y="0"/>
                    </a:lnTo>
                    <a:lnTo>
                      <a:pt x="379" y="3"/>
                    </a:lnTo>
                    <a:lnTo>
                      <a:pt x="387" y="7"/>
                    </a:lnTo>
                    <a:lnTo>
                      <a:pt x="391" y="15"/>
                    </a:lnTo>
                    <a:lnTo>
                      <a:pt x="394" y="26"/>
                    </a:lnTo>
                    <a:lnTo>
                      <a:pt x="394" y="204"/>
                    </a:lnTo>
                    <a:lnTo>
                      <a:pt x="391" y="215"/>
                    </a:lnTo>
                    <a:lnTo>
                      <a:pt x="387" y="223"/>
                    </a:lnTo>
                    <a:lnTo>
                      <a:pt x="379" y="229"/>
                    </a:lnTo>
                    <a:lnTo>
                      <a:pt x="370" y="231"/>
                    </a:lnTo>
                    <a:lnTo>
                      <a:pt x="24" y="231"/>
                    </a:lnTo>
                    <a:lnTo>
                      <a:pt x="15" y="229"/>
                    </a:lnTo>
                    <a:lnTo>
                      <a:pt x="7" y="223"/>
                    </a:lnTo>
                    <a:lnTo>
                      <a:pt x="2" y="215"/>
                    </a:lnTo>
                    <a:lnTo>
                      <a:pt x="0" y="204"/>
                    </a:lnTo>
                    <a:lnTo>
                      <a:pt x="0" y="26"/>
                    </a:lnTo>
                    <a:lnTo>
                      <a:pt x="2" y="15"/>
                    </a:lnTo>
                    <a:lnTo>
                      <a:pt x="7" y="7"/>
                    </a:lnTo>
                    <a:lnTo>
                      <a:pt x="15" y="3"/>
                    </a:lnTo>
                    <a:lnTo>
                      <a:pt x="24" y="0"/>
                    </a:lnTo>
                    <a:lnTo>
                      <a:pt x="2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63" name="Freeform 45">
                <a:extLst>
                  <a:ext uri="{FF2B5EF4-FFF2-40B4-BE49-F238E27FC236}">
                    <a16:creationId xmlns:a16="http://schemas.microsoft.com/office/drawing/2014/main" id="{F68DA8C2-3DFC-4146-9B1F-CC5E612B1FF1}"/>
                  </a:ext>
                </a:extLst>
              </p:cNvPr>
              <p:cNvSpPr>
                <a:spLocks/>
              </p:cNvSpPr>
              <p:nvPr/>
            </p:nvSpPr>
            <p:spPr bwMode="auto">
              <a:xfrm>
                <a:off x="6940550" y="4613275"/>
                <a:ext cx="550862" cy="603250"/>
              </a:xfrm>
              <a:custGeom>
                <a:avLst/>
                <a:gdLst>
                  <a:gd name="T0" fmla="*/ 602 w 692"/>
                  <a:gd name="T1" fmla="*/ 126 h 760"/>
                  <a:gd name="T2" fmla="*/ 601 w 692"/>
                  <a:gd name="T3" fmla="*/ 119 h 760"/>
                  <a:gd name="T4" fmla="*/ 594 w 692"/>
                  <a:gd name="T5" fmla="*/ 104 h 760"/>
                  <a:gd name="T6" fmla="*/ 575 w 692"/>
                  <a:gd name="T7" fmla="*/ 90 h 760"/>
                  <a:gd name="T8" fmla="*/ 535 w 692"/>
                  <a:gd name="T9" fmla="*/ 86 h 760"/>
                  <a:gd name="T10" fmla="*/ 553 w 692"/>
                  <a:gd name="T11" fmla="*/ 134 h 760"/>
                  <a:gd name="T12" fmla="*/ 640 w 692"/>
                  <a:gd name="T13" fmla="*/ 674 h 760"/>
                  <a:gd name="T14" fmla="*/ 634 w 692"/>
                  <a:gd name="T15" fmla="*/ 689 h 760"/>
                  <a:gd name="T16" fmla="*/ 622 w 692"/>
                  <a:gd name="T17" fmla="*/ 701 h 760"/>
                  <a:gd name="T18" fmla="*/ 607 w 692"/>
                  <a:gd name="T19" fmla="*/ 707 h 760"/>
                  <a:gd name="T20" fmla="*/ 591 w 692"/>
                  <a:gd name="T21" fmla="*/ 707 h 760"/>
                  <a:gd name="T22" fmla="*/ 576 w 692"/>
                  <a:gd name="T23" fmla="*/ 701 h 760"/>
                  <a:gd name="T24" fmla="*/ 563 w 692"/>
                  <a:gd name="T25" fmla="*/ 690 h 760"/>
                  <a:gd name="T26" fmla="*/ 557 w 692"/>
                  <a:gd name="T27" fmla="*/ 675 h 760"/>
                  <a:gd name="T28" fmla="*/ 556 w 692"/>
                  <a:gd name="T29" fmla="*/ 479 h 760"/>
                  <a:gd name="T30" fmla="*/ 556 w 692"/>
                  <a:gd name="T31" fmla="*/ 438 h 760"/>
                  <a:gd name="T32" fmla="*/ 548 w 692"/>
                  <a:gd name="T33" fmla="*/ 399 h 760"/>
                  <a:gd name="T34" fmla="*/ 522 w 692"/>
                  <a:gd name="T35" fmla="*/ 370 h 760"/>
                  <a:gd name="T36" fmla="*/ 467 w 692"/>
                  <a:gd name="T37" fmla="*/ 359 h 760"/>
                  <a:gd name="T38" fmla="*/ 516 w 692"/>
                  <a:gd name="T39" fmla="*/ 344 h 760"/>
                  <a:gd name="T40" fmla="*/ 0 w 692"/>
                  <a:gd name="T41" fmla="*/ 0 h 760"/>
                  <a:gd name="T42" fmla="*/ 47 w 692"/>
                  <a:gd name="T43" fmla="*/ 345 h 760"/>
                  <a:gd name="T44" fmla="*/ 466 w 692"/>
                  <a:gd name="T45" fmla="*/ 756 h 760"/>
                  <a:gd name="T46" fmla="*/ 478 w 692"/>
                  <a:gd name="T47" fmla="*/ 410 h 760"/>
                  <a:gd name="T48" fmla="*/ 494 w 692"/>
                  <a:gd name="T49" fmla="*/ 412 h 760"/>
                  <a:gd name="T50" fmla="*/ 502 w 692"/>
                  <a:gd name="T51" fmla="*/ 420 h 760"/>
                  <a:gd name="T52" fmla="*/ 505 w 692"/>
                  <a:gd name="T53" fmla="*/ 436 h 760"/>
                  <a:gd name="T54" fmla="*/ 505 w 692"/>
                  <a:gd name="T55" fmla="*/ 666 h 760"/>
                  <a:gd name="T56" fmla="*/ 512 w 692"/>
                  <a:gd name="T57" fmla="*/ 703 h 760"/>
                  <a:gd name="T58" fmla="*/ 532 w 692"/>
                  <a:gd name="T59" fmla="*/ 732 h 760"/>
                  <a:gd name="T60" fmla="*/ 562 w 692"/>
                  <a:gd name="T61" fmla="*/ 753 h 760"/>
                  <a:gd name="T62" fmla="*/ 599 w 692"/>
                  <a:gd name="T63" fmla="*/ 760 h 760"/>
                  <a:gd name="T64" fmla="*/ 636 w 692"/>
                  <a:gd name="T65" fmla="*/ 752 h 760"/>
                  <a:gd name="T66" fmla="*/ 664 w 692"/>
                  <a:gd name="T67" fmla="*/ 732 h 760"/>
                  <a:gd name="T68" fmla="*/ 685 w 692"/>
                  <a:gd name="T69" fmla="*/ 701 h 760"/>
                  <a:gd name="T70" fmla="*/ 692 w 692"/>
                  <a:gd name="T71" fmla="*/ 664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92" h="760">
                    <a:moveTo>
                      <a:pt x="692" y="664"/>
                    </a:moveTo>
                    <a:lnTo>
                      <a:pt x="602" y="126"/>
                    </a:lnTo>
                    <a:lnTo>
                      <a:pt x="602" y="124"/>
                    </a:lnTo>
                    <a:lnTo>
                      <a:pt x="601" y="119"/>
                    </a:lnTo>
                    <a:lnTo>
                      <a:pt x="599" y="112"/>
                    </a:lnTo>
                    <a:lnTo>
                      <a:pt x="594" y="104"/>
                    </a:lnTo>
                    <a:lnTo>
                      <a:pt x="586" y="96"/>
                    </a:lnTo>
                    <a:lnTo>
                      <a:pt x="575" y="90"/>
                    </a:lnTo>
                    <a:lnTo>
                      <a:pt x="557" y="86"/>
                    </a:lnTo>
                    <a:lnTo>
                      <a:pt x="535" y="86"/>
                    </a:lnTo>
                    <a:lnTo>
                      <a:pt x="535" y="134"/>
                    </a:lnTo>
                    <a:lnTo>
                      <a:pt x="553" y="134"/>
                    </a:lnTo>
                    <a:lnTo>
                      <a:pt x="641" y="666"/>
                    </a:lnTo>
                    <a:lnTo>
                      <a:pt x="640" y="674"/>
                    </a:lnTo>
                    <a:lnTo>
                      <a:pt x="638" y="682"/>
                    </a:lnTo>
                    <a:lnTo>
                      <a:pt x="634" y="689"/>
                    </a:lnTo>
                    <a:lnTo>
                      <a:pt x="629" y="696"/>
                    </a:lnTo>
                    <a:lnTo>
                      <a:pt x="622" y="701"/>
                    </a:lnTo>
                    <a:lnTo>
                      <a:pt x="615" y="705"/>
                    </a:lnTo>
                    <a:lnTo>
                      <a:pt x="607" y="707"/>
                    </a:lnTo>
                    <a:lnTo>
                      <a:pt x="599" y="708"/>
                    </a:lnTo>
                    <a:lnTo>
                      <a:pt x="591" y="707"/>
                    </a:lnTo>
                    <a:lnTo>
                      <a:pt x="583" y="705"/>
                    </a:lnTo>
                    <a:lnTo>
                      <a:pt x="576" y="701"/>
                    </a:lnTo>
                    <a:lnTo>
                      <a:pt x="569" y="696"/>
                    </a:lnTo>
                    <a:lnTo>
                      <a:pt x="563" y="690"/>
                    </a:lnTo>
                    <a:lnTo>
                      <a:pt x="560" y="683"/>
                    </a:lnTo>
                    <a:lnTo>
                      <a:pt x="557" y="675"/>
                    </a:lnTo>
                    <a:lnTo>
                      <a:pt x="556" y="667"/>
                    </a:lnTo>
                    <a:lnTo>
                      <a:pt x="556" y="479"/>
                    </a:lnTo>
                    <a:lnTo>
                      <a:pt x="556" y="459"/>
                    </a:lnTo>
                    <a:lnTo>
                      <a:pt x="556" y="438"/>
                    </a:lnTo>
                    <a:lnTo>
                      <a:pt x="554" y="418"/>
                    </a:lnTo>
                    <a:lnTo>
                      <a:pt x="548" y="399"/>
                    </a:lnTo>
                    <a:lnTo>
                      <a:pt x="538" y="383"/>
                    </a:lnTo>
                    <a:lnTo>
                      <a:pt x="522" y="370"/>
                    </a:lnTo>
                    <a:lnTo>
                      <a:pt x="499" y="362"/>
                    </a:lnTo>
                    <a:lnTo>
                      <a:pt x="467" y="359"/>
                    </a:lnTo>
                    <a:lnTo>
                      <a:pt x="467" y="344"/>
                    </a:lnTo>
                    <a:lnTo>
                      <a:pt x="516" y="344"/>
                    </a:lnTo>
                    <a:lnTo>
                      <a:pt x="516" y="0"/>
                    </a:lnTo>
                    <a:lnTo>
                      <a:pt x="0" y="0"/>
                    </a:lnTo>
                    <a:lnTo>
                      <a:pt x="0" y="345"/>
                    </a:lnTo>
                    <a:lnTo>
                      <a:pt x="47" y="345"/>
                    </a:lnTo>
                    <a:lnTo>
                      <a:pt x="47" y="756"/>
                    </a:lnTo>
                    <a:lnTo>
                      <a:pt x="466" y="756"/>
                    </a:lnTo>
                    <a:lnTo>
                      <a:pt x="466" y="410"/>
                    </a:lnTo>
                    <a:lnTo>
                      <a:pt x="478" y="410"/>
                    </a:lnTo>
                    <a:lnTo>
                      <a:pt x="487" y="410"/>
                    </a:lnTo>
                    <a:lnTo>
                      <a:pt x="494" y="412"/>
                    </a:lnTo>
                    <a:lnTo>
                      <a:pt x="499" y="415"/>
                    </a:lnTo>
                    <a:lnTo>
                      <a:pt x="502" y="420"/>
                    </a:lnTo>
                    <a:lnTo>
                      <a:pt x="504" y="427"/>
                    </a:lnTo>
                    <a:lnTo>
                      <a:pt x="505" y="436"/>
                    </a:lnTo>
                    <a:lnTo>
                      <a:pt x="505" y="447"/>
                    </a:lnTo>
                    <a:lnTo>
                      <a:pt x="505" y="666"/>
                    </a:lnTo>
                    <a:lnTo>
                      <a:pt x="507" y="684"/>
                    </a:lnTo>
                    <a:lnTo>
                      <a:pt x="512" y="703"/>
                    </a:lnTo>
                    <a:lnTo>
                      <a:pt x="520" y="719"/>
                    </a:lnTo>
                    <a:lnTo>
                      <a:pt x="532" y="732"/>
                    </a:lnTo>
                    <a:lnTo>
                      <a:pt x="546" y="744"/>
                    </a:lnTo>
                    <a:lnTo>
                      <a:pt x="562" y="753"/>
                    </a:lnTo>
                    <a:lnTo>
                      <a:pt x="580" y="758"/>
                    </a:lnTo>
                    <a:lnTo>
                      <a:pt x="599" y="760"/>
                    </a:lnTo>
                    <a:lnTo>
                      <a:pt x="617" y="758"/>
                    </a:lnTo>
                    <a:lnTo>
                      <a:pt x="636" y="752"/>
                    </a:lnTo>
                    <a:lnTo>
                      <a:pt x="651" y="744"/>
                    </a:lnTo>
                    <a:lnTo>
                      <a:pt x="664" y="732"/>
                    </a:lnTo>
                    <a:lnTo>
                      <a:pt x="676" y="717"/>
                    </a:lnTo>
                    <a:lnTo>
                      <a:pt x="685" y="701"/>
                    </a:lnTo>
                    <a:lnTo>
                      <a:pt x="690" y="684"/>
                    </a:lnTo>
                    <a:lnTo>
                      <a:pt x="692" y="664"/>
                    </a:lnTo>
                    <a:lnTo>
                      <a:pt x="692" y="66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64" name="Rectangle 46">
                <a:extLst>
                  <a:ext uri="{FF2B5EF4-FFF2-40B4-BE49-F238E27FC236}">
                    <a16:creationId xmlns:a16="http://schemas.microsoft.com/office/drawing/2014/main" id="{23E9BCC7-E1F4-4531-BA44-16438CFE9B51}"/>
                  </a:ext>
                </a:extLst>
              </p:cNvPr>
              <p:cNvSpPr>
                <a:spLocks noChangeArrowheads="1"/>
              </p:cNvSpPr>
              <p:nvPr/>
            </p:nvSpPr>
            <p:spPr bwMode="auto">
              <a:xfrm>
                <a:off x="7123113" y="4899025"/>
                <a:ext cx="44450" cy="50800"/>
              </a:xfrm>
              <a:prstGeom prst="rect">
                <a:avLst/>
              </a:pr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65" name="Rectangle 47">
                <a:extLst>
                  <a:ext uri="{FF2B5EF4-FFF2-40B4-BE49-F238E27FC236}">
                    <a16:creationId xmlns:a16="http://schemas.microsoft.com/office/drawing/2014/main" id="{A650A0A4-5B31-4CBC-8A53-F51080FD9D77}"/>
                  </a:ext>
                </a:extLst>
              </p:cNvPr>
              <p:cNvSpPr>
                <a:spLocks noChangeArrowheads="1"/>
              </p:cNvSpPr>
              <p:nvPr/>
            </p:nvSpPr>
            <p:spPr bwMode="auto">
              <a:xfrm>
                <a:off x="7199313" y="4899025"/>
                <a:ext cx="44450" cy="50800"/>
              </a:xfrm>
              <a:prstGeom prst="rect">
                <a:avLst/>
              </a:pr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66" name="Rectangle 48">
                <a:extLst>
                  <a:ext uri="{FF2B5EF4-FFF2-40B4-BE49-F238E27FC236}">
                    <a16:creationId xmlns:a16="http://schemas.microsoft.com/office/drawing/2014/main" id="{F7CC7B18-C139-4BF7-96DE-9BDAAE85334D}"/>
                  </a:ext>
                </a:extLst>
              </p:cNvPr>
              <p:cNvSpPr>
                <a:spLocks noChangeArrowheads="1"/>
              </p:cNvSpPr>
              <p:nvPr/>
            </p:nvSpPr>
            <p:spPr bwMode="auto">
              <a:xfrm>
                <a:off x="7046913" y="4899025"/>
                <a:ext cx="44450" cy="50800"/>
              </a:xfrm>
              <a:prstGeom prst="rect">
                <a:avLst/>
              </a:pr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67" name="Rectangle 49">
                <a:extLst>
                  <a:ext uri="{FF2B5EF4-FFF2-40B4-BE49-F238E27FC236}">
                    <a16:creationId xmlns:a16="http://schemas.microsoft.com/office/drawing/2014/main" id="{7EDA6116-2A46-4183-8CB6-45707CA419B8}"/>
                  </a:ext>
                </a:extLst>
              </p:cNvPr>
              <p:cNvSpPr>
                <a:spLocks noChangeArrowheads="1"/>
              </p:cNvSpPr>
              <p:nvPr/>
            </p:nvSpPr>
            <p:spPr bwMode="auto">
              <a:xfrm>
                <a:off x="7008813" y="4656138"/>
                <a:ext cx="279400" cy="163513"/>
              </a:xfrm>
              <a:prstGeom prst="rect">
                <a:avLst/>
              </a:prstGeom>
              <a:solidFill>
                <a:sysClr val="window" lastClr="FFFFFF"/>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968" name="Group 1967">
            <a:extLst>
              <a:ext uri="{FF2B5EF4-FFF2-40B4-BE49-F238E27FC236}">
                <a16:creationId xmlns:a16="http://schemas.microsoft.com/office/drawing/2014/main" id="{FBE68E6A-9A02-4DB4-AD4A-C8239C47F8DB}"/>
              </a:ext>
            </a:extLst>
          </p:cNvPr>
          <p:cNvGrpSpPr/>
          <p:nvPr/>
        </p:nvGrpSpPr>
        <p:grpSpPr>
          <a:xfrm>
            <a:off x="8982876" y="2430926"/>
            <a:ext cx="612775" cy="612775"/>
            <a:chOff x="7150512" y="3032119"/>
            <a:chExt cx="612775" cy="612775"/>
          </a:xfrm>
        </p:grpSpPr>
        <p:sp>
          <p:nvSpPr>
            <p:cNvPr id="1969" name="Oval 1968">
              <a:extLst>
                <a:ext uri="{FF2B5EF4-FFF2-40B4-BE49-F238E27FC236}">
                  <a16:creationId xmlns:a16="http://schemas.microsoft.com/office/drawing/2014/main" id="{25634914-C60A-4158-AC5B-65ED105A4C5F}"/>
                </a:ext>
              </a:extLst>
            </p:cNvPr>
            <p:cNvSpPr/>
            <p:nvPr/>
          </p:nvSpPr>
          <p:spPr bwMode="ltGray">
            <a:xfrm>
              <a:off x="715051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970" name="Group 1969">
              <a:extLst>
                <a:ext uri="{FF2B5EF4-FFF2-40B4-BE49-F238E27FC236}">
                  <a16:creationId xmlns:a16="http://schemas.microsoft.com/office/drawing/2014/main" id="{F6242D2A-7183-4EAF-9D5B-07D8B0B5C735}"/>
                </a:ext>
              </a:extLst>
            </p:cNvPr>
            <p:cNvGrpSpPr/>
            <p:nvPr/>
          </p:nvGrpSpPr>
          <p:grpSpPr>
            <a:xfrm>
              <a:off x="7231704" y="3144169"/>
              <a:ext cx="499598" cy="312070"/>
              <a:chOff x="515938" y="244475"/>
              <a:chExt cx="554038" cy="346075"/>
            </a:xfrm>
          </p:grpSpPr>
          <p:sp>
            <p:nvSpPr>
              <p:cNvPr id="1971" name="Rectangle 1970">
                <a:extLst>
                  <a:ext uri="{FF2B5EF4-FFF2-40B4-BE49-F238E27FC236}">
                    <a16:creationId xmlns:a16="http://schemas.microsoft.com/office/drawing/2014/main" id="{E80509A4-EF22-4A84-9749-775DE2862C34}"/>
                  </a:ext>
                </a:extLst>
              </p:cNvPr>
              <p:cNvSpPr>
                <a:spLocks noChangeArrowheads="1"/>
              </p:cNvSpPr>
              <p:nvPr/>
            </p:nvSpPr>
            <p:spPr bwMode="auto">
              <a:xfrm>
                <a:off x="636588" y="407988"/>
                <a:ext cx="76200" cy="587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72" name="Rectangle 1971">
                <a:extLst>
                  <a:ext uri="{FF2B5EF4-FFF2-40B4-BE49-F238E27FC236}">
                    <a16:creationId xmlns:a16="http://schemas.microsoft.com/office/drawing/2014/main" id="{1906E5C3-6D50-4D07-B6AA-54DBA8E2E856}"/>
                  </a:ext>
                </a:extLst>
              </p:cNvPr>
              <p:cNvSpPr>
                <a:spLocks noChangeArrowheads="1"/>
              </p:cNvSpPr>
              <p:nvPr/>
            </p:nvSpPr>
            <p:spPr bwMode="auto">
              <a:xfrm>
                <a:off x="720725" y="407988"/>
                <a:ext cx="69850" cy="587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73" name="Rectangle 1972">
                <a:extLst>
                  <a:ext uri="{FF2B5EF4-FFF2-40B4-BE49-F238E27FC236}">
                    <a16:creationId xmlns:a16="http://schemas.microsoft.com/office/drawing/2014/main" id="{6CE4142A-CDC0-4702-AA4C-462459ED59E7}"/>
                  </a:ext>
                </a:extLst>
              </p:cNvPr>
              <p:cNvSpPr>
                <a:spLocks noChangeArrowheads="1"/>
              </p:cNvSpPr>
              <p:nvPr/>
            </p:nvSpPr>
            <p:spPr bwMode="auto">
              <a:xfrm>
                <a:off x="684213" y="361950"/>
                <a:ext cx="69850" cy="46037"/>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74" name="Freeform 9">
                <a:extLst>
                  <a:ext uri="{FF2B5EF4-FFF2-40B4-BE49-F238E27FC236}">
                    <a16:creationId xmlns:a16="http://schemas.microsoft.com/office/drawing/2014/main" id="{6673D306-5F24-41C0-B082-4D39C475E113}"/>
                  </a:ext>
                </a:extLst>
              </p:cNvPr>
              <p:cNvSpPr>
                <a:spLocks/>
              </p:cNvSpPr>
              <p:nvPr/>
            </p:nvSpPr>
            <p:spPr bwMode="auto">
              <a:xfrm>
                <a:off x="863600" y="244475"/>
                <a:ext cx="15875" cy="152400"/>
              </a:xfrm>
              <a:custGeom>
                <a:avLst/>
                <a:gdLst>
                  <a:gd name="T0" fmla="*/ 31 w 31"/>
                  <a:gd name="T1" fmla="*/ 287 h 287"/>
                  <a:gd name="T2" fmla="*/ 0 w 31"/>
                  <a:gd name="T3" fmla="*/ 287 h 287"/>
                  <a:gd name="T4" fmla="*/ 10 w 31"/>
                  <a:gd name="T5" fmla="*/ 0 h 287"/>
                  <a:gd name="T6" fmla="*/ 22 w 31"/>
                  <a:gd name="T7" fmla="*/ 0 h 287"/>
                  <a:gd name="T8" fmla="*/ 31 w 31"/>
                  <a:gd name="T9" fmla="*/ 287 h 287"/>
                </a:gdLst>
                <a:ahLst/>
                <a:cxnLst>
                  <a:cxn ang="0">
                    <a:pos x="T0" y="T1"/>
                  </a:cxn>
                  <a:cxn ang="0">
                    <a:pos x="T2" y="T3"/>
                  </a:cxn>
                  <a:cxn ang="0">
                    <a:pos x="T4" y="T5"/>
                  </a:cxn>
                  <a:cxn ang="0">
                    <a:pos x="T6" y="T7"/>
                  </a:cxn>
                  <a:cxn ang="0">
                    <a:pos x="T8" y="T9"/>
                  </a:cxn>
                </a:cxnLst>
                <a:rect l="0" t="0" r="r" b="b"/>
                <a:pathLst>
                  <a:path w="31" h="287">
                    <a:moveTo>
                      <a:pt x="31" y="287"/>
                    </a:moveTo>
                    <a:lnTo>
                      <a:pt x="0" y="287"/>
                    </a:lnTo>
                    <a:lnTo>
                      <a:pt x="10" y="0"/>
                    </a:lnTo>
                    <a:lnTo>
                      <a:pt x="22" y="0"/>
                    </a:lnTo>
                    <a:lnTo>
                      <a:pt x="31" y="28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75" name="Rectangle 1974">
                <a:extLst>
                  <a:ext uri="{FF2B5EF4-FFF2-40B4-BE49-F238E27FC236}">
                    <a16:creationId xmlns:a16="http://schemas.microsoft.com/office/drawing/2014/main" id="{FCAFAB13-0B55-4516-B297-6E35CAAE4E9C}"/>
                  </a:ext>
                </a:extLst>
              </p:cNvPr>
              <p:cNvSpPr>
                <a:spLocks noChangeArrowheads="1"/>
              </p:cNvSpPr>
              <p:nvPr/>
            </p:nvSpPr>
            <p:spPr bwMode="auto">
              <a:xfrm>
                <a:off x="815975" y="393700"/>
                <a:ext cx="111125" cy="73025"/>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76" name="Freeform 11">
                <a:extLst>
                  <a:ext uri="{FF2B5EF4-FFF2-40B4-BE49-F238E27FC236}">
                    <a16:creationId xmlns:a16="http://schemas.microsoft.com/office/drawing/2014/main" id="{9C2FDD35-3F7E-4FE3-9BA0-2BFC62785445}"/>
                  </a:ext>
                </a:extLst>
              </p:cNvPr>
              <p:cNvSpPr>
                <a:spLocks/>
              </p:cNvSpPr>
              <p:nvPr/>
            </p:nvSpPr>
            <p:spPr bwMode="auto">
              <a:xfrm>
                <a:off x="515938" y="452438"/>
                <a:ext cx="554038" cy="138112"/>
              </a:xfrm>
              <a:custGeom>
                <a:avLst/>
                <a:gdLst>
                  <a:gd name="T0" fmla="*/ 148 w 1047"/>
                  <a:gd name="T1" fmla="*/ 0 h 262"/>
                  <a:gd name="T2" fmla="*/ 148 w 1047"/>
                  <a:gd name="T3" fmla="*/ 45 h 262"/>
                  <a:gd name="T4" fmla="*/ 818 w 1047"/>
                  <a:gd name="T5" fmla="*/ 45 h 262"/>
                  <a:gd name="T6" fmla="*/ 818 w 1047"/>
                  <a:gd name="T7" fmla="*/ 0 h 262"/>
                  <a:gd name="T8" fmla="*/ 1047 w 1047"/>
                  <a:gd name="T9" fmla="*/ 0 h 262"/>
                  <a:gd name="T10" fmla="*/ 1047 w 1047"/>
                  <a:gd name="T11" fmla="*/ 0 h 262"/>
                  <a:gd name="T12" fmla="*/ 1047 w 1047"/>
                  <a:gd name="T13" fmla="*/ 9 h 262"/>
                  <a:gd name="T14" fmla="*/ 1045 w 1047"/>
                  <a:gd name="T15" fmla="*/ 20 h 262"/>
                  <a:gd name="T16" fmla="*/ 1043 w 1047"/>
                  <a:gd name="T17" fmla="*/ 30 h 262"/>
                  <a:gd name="T18" fmla="*/ 1040 w 1047"/>
                  <a:gd name="T19" fmla="*/ 41 h 262"/>
                  <a:gd name="T20" fmla="*/ 1030 w 1047"/>
                  <a:gd name="T21" fmla="*/ 62 h 262"/>
                  <a:gd name="T22" fmla="*/ 1020 w 1047"/>
                  <a:gd name="T23" fmla="*/ 84 h 262"/>
                  <a:gd name="T24" fmla="*/ 1005 w 1047"/>
                  <a:gd name="T25" fmla="*/ 105 h 262"/>
                  <a:gd name="T26" fmla="*/ 988 w 1047"/>
                  <a:gd name="T27" fmla="*/ 128 h 262"/>
                  <a:gd name="T28" fmla="*/ 969 w 1047"/>
                  <a:gd name="T29" fmla="*/ 149 h 262"/>
                  <a:gd name="T30" fmla="*/ 949 w 1047"/>
                  <a:gd name="T31" fmla="*/ 169 h 262"/>
                  <a:gd name="T32" fmla="*/ 927 w 1047"/>
                  <a:gd name="T33" fmla="*/ 188 h 262"/>
                  <a:gd name="T34" fmla="*/ 904 w 1047"/>
                  <a:gd name="T35" fmla="*/ 205 h 262"/>
                  <a:gd name="T36" fmla="*/ 881 w 1047"/>
                  <a:gd name="T37" fmla="*/ 222 h 262"/>
                  <a:gd name="T38" fmla="*/ 857 w 1047"/>
                  <a:gd name="T39" fmla="*/ 235 h 262"/>
                  <a:gd name="T40" fmla="*/ 835 w 1047"/>
                  <a:gd name="T41" fmla="*/ 246 h 262"/>
                  <a:gd name="T42" fmla="*/ 812 w 1047"/>
                  <a:gd name="T43" fmla="*/ 255 h 262"/>
                  <a:gd name="T44" fmla="*/ 800 w 1047"/>
                  <a:gd name="T45" fmla="*/ 257 h 262"/>
                  <a:gd name="T46" fmla="*/ 789 w 1047"/>
                  <a:gd name="T47" fmla="*/ 259 h 262"/>
                  <a:gd name="T48" fmla="*/ 778 w 1047"/>
                  <a:gd name="T49" fmla="*/ 261 h 262"/>
                  <a:gd name="T50" fmla="*/ 767 w 1047"/>
                  <a:gd name="T51" fmla="*/ 262 h 262"/>
                  <a:gd name="T52" fmla="*/ 144 w 1047"/>
                  <a:gd name="T53" fmla="*/ 262 h 262"/>
                  <a:gd name="T54" fmla="*/ 144 w 1047"/>
                  <a:gd name="T55" fmla="*/ 262 h 262"/>
                  <a:gd name="T56" fmla="*/ 129 w 1047"/>
                  <a:gd name="T57" fmla="*/ 261 h 262"/>
                  <a:gd name="T58" fmla="*/ 116 w 1047"/>
                  <a:gd name="T59" fmla="*/ 257 h 262"/>
                  <a:gd name="T60" fmla="*/ 103 w 1047"/>
                  <a:gd name="T61" fmla="*/ 250 h 262"/>
                  <a:gd name="T62" fmla="*/ 89 w 1047"/>
                  <a:gd name="T63" fmla="*/ 241 h 262"/>
                  <a:gd name="T64" fmla="*/ 76 w 1047"/>
                  <a:gd name="T65" fmla="*/ 230 h 262"/>
                  <a:gd name="T66" fmla="*/ 65 w 1047"/>
                  <a:gd name="T67" fmla="*/ 218 h 262"/>
                  <a:gd name="T68" fmla="*/ 53 w 1047"/>
                  <a:gd name="T69" fmla="*/ 203 h 262"/>
                  <a:gd name="T70" fmla="*/ 44 w 1047"/>
                  <a:gd name="T71" fmla="*/ 187 h 262"/>
                  <a:gd name="T72" fmla="*/ 34 w 1047"/>
                  <a:gd name="T73" fmla="*/ 168 h 262"/>
                  <a:gd name="T74" fmla="*/ 26 w 1047"/>
                  <a:gd name="T75" fmla="*/ 149 h 262"/>
                  <a:gd name="T76" fmla="*/ 19 w 1047"/>
                  <a:gd name="T77" fmla="*/ 127 h 262"/>
                  <a:gd name="T78" fmla="*/ 13 w 1047"/>
                  <a:gd name="T79" fmla="*/ 104 h 262"/>
                  <a:gd name="T80" fmla="*/ 8 w 1047"/>
                  <a:gd name="T81" fmla="*/ 79 h 262"/>
                  <a:gd name="T82" fmla="*/ 4 w 1047"/>
                  <a:gd name="T83" fmla="*/ 54 h 262"/>
                  <a:gd name="T84" fmla="*/ 2 w 1047"/>
                  <a:gd name="T85" fmla="*/ 27 h 262"/>
                  <a:gd name="T86" fmla="*/ 0 w 1047"/>
                  <a:gd name="T87" fmla="*/ 0 h 262"/>
                  <a:gd name="T88" fmla="*/ 148 w 1047"/>
                  <a:gd name="T89"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47" h="262">
                    <a:moveTo>
                      <a:pt x="148" y="0"/>
                    </a:moveTo>
                    <a:lnTo>
                      <a:pt x="148" y="45"/>
                    </a:lnTo>
                    <a:lnTo>
                      <a:pt x="818" y="45"/>
                    </a:lnTo>
                    <a:lnTo>
                      <a:pt x="818" y="0"/>
                    </a:lnTo>
                    <a:lnTo>
                      <a:pt x="1047" y="0"/>
                    </a:lnTo>
                    <a:lnTo>
                      <a:pt x="1047" y="0"/>
                    </a:lnTo>
                    <a:lnTo>
                      <a:pt x="1047" y="9"/>
                    </a:lnTo>
                    <a:lnTo>
                      <a:pt x="1045" y="20"/>
                    </a:lnTo>
                    <a:lnTo>
                      <a:pt x="1043" y="30"/>
                    </a:lnTo>
                    <a:lnTo>
                      <a:pt x="1040" y="41"/>
                    </a:lnTo>
                    <a:lnTo>
                      <a:pt x="1030" y="62"/>
                    </a:lnTo>
                    <a:lnTo>
                      <a:pt x="1020" y="84"/>
                    </a:lnTo>
                    <a:lnTo>
                      <a:pt x="1005" y="105"/>
                    </a:lnTo>
                    <a:lnTo>
                      <a:pt x="988" y="128"/>
                    </a:lnTo>
                    <a:lnTo>
                      <a:pt x="969" y="149"/>
                    </a:lnTo>
                    <a:lnTo>
                      <a:pt x="949" y="169"/>
                    </a:lnTo>
                    <a:lnTo>
                      <a:pt x="927" y="188"/>
                    </a:lnTo>
                    <a:lnTo>
                      <a:pt x="904" y="205"/>
                    </a:lnTo>
                    <a:lnTo>
                      <a:pt x="881" y="222"/>
                    </a:lnTo>
                    <a:lnTo>
                      <a:pt x="857" y="235"/>
                    </a:lnTo>
                    <a:lnTo>
                      <a:pt x="835" y="246"/>
                    </a:lnTo>
                    <a:lnTo>
                      <a:pt x="812" y="255"/>
                    </a:lnTo>
                    <a:lnTo>
                      <a:pt x="800" y="257"/>
                    </a:lnTo>
                    <a:lnTo>
                      <a:pt x="789" y="259"/>
                    </a:lnTo>
                    <a:lnTo>
                      <a:pt x="778" y="261"/>
                    </a:lnTo>
                    <a:lnTo>
                      <a:pt x="767" y="262"/>
                    </a:lnTo>
                    <a:lnTo>
                      <a:pt x="144" y="262"/>
                    </a:lnTo>
                    <a:lnTo>
                      <a:pt x="144" y="262"/>
                    </a:lnTo>
                    <a:lnTo>
                      <a:pt x="129" y="261"/>
                    </a:lnTo>
                    <a:lnTo>
                      <a:pt x="116" y="257"/>
                    </a:lnTo>
                    <a:lnTo>
                      <a:pt x="103" y="250"/>
                    </a:lnTo>
                    <a:lnTo>
                      <a:pt x="89" y="241"/>
                    </a:lnTo>
                    <a:lnTo>
                      <a:pt x="76" y="230"/>
                    </a:lnTo>
                    <a:lnTo>
                      <a:pt x="65" y="218"/>
                    </a:lnTo>
                    <a:lnTo>
                      <a:pt x="53" y="203"/>
                    </a:lnTo>
                    <a:lnTo>
                      <a:pt x="44" y="187"/>
                    </a:lnTo>
                    <a:lnTo>
                      <a:pt x="34" y="168"/>
                    </a:lnTo>
                    <a:lnTo>
                      <a:pt x="26" y="149"/>
                    </a:lnTo>
                    <a:lnTo>
                      <a:pt x="19" y="127"/>
                    </a:lnTo>
                    <a:lnTo>
                      <a:pt x="13" y="104"/>
                    </a:lnTo>
                    <a:lnTo>
                      <a:pt x="8" y="79"/>
                    </a:lnTo>
                    <a:lnTo>
                      <a:pt x="4" y="54"/>
                    </a:lnTo>
                    <a:lnTo>
                      <a:pt x="2" y="27"/>
                    </a:lnTo>
                    <a:lnTo>
                      <a:pt x="0" y="0"/>
                    </a:lnTo>
                    <a:lnTo>
                      <a:pt x="148"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77" name="Freeform 12">
                <a:extLst>
                  <a:ext uri="{FF2B5EF4-FFF2-40B4-BE49-F238E27FC236}">
                    <a16:creationId xmlns:a16="http://schemas.microsoft.com/office/drawing/2014/main" id="{568E6DEB-0858-464F-ADB1-A44D74C55787}"/>
                  </a:ext>
                </a:extLst>
              </p:cNvPr>
              <p:cNvSpPr>
                <a:spLocks/>
              </p:cNvSpPr>
              <p:nvPr/>
            </p:nvSpPr>
            <p:spPr bwMode="auto">
              <a:xfrm>
                <a:off x="866775" y="503238"/>
                <a:ext cx="34925" cy="19050"/>
              </a:xfrm>
              <a:custGeom>
                <a:avLst/>
                <a:gdLst>
                  <a:gd name="T0" fmla="*/ 65 w 65"/>
                  <a:gd name="T1" fmla="*/ 17 h 35"/>
                  <a:gd name="T2" fmla="*/ 65 w 65"/>
                  <a:gd name="T3" fmla="*/ 17 h 35"/>
                  <a:gd name="T4" fmla="*/ 64 w 65"/>
                  <a:gd name="T5" fmla="*/ 24 h 35"/>
                  <a:gd name="T6" fmla="*/ 60 w 65"/>
                  <a:gd name="T7" fmla="*/ 29 h 35"/>
                  <a:gd name="T8" fmla="*/ 55 w 65"/>
                  <a:gd name="T9" fmla="*/ 34 h 35"/>
                  <a:gd name="T10" fmla="*/ 48 w 65"/>
                  <a:gd name="T11" fmla="*/ 35 h 35"/>
                  <a:gd name="T12" fmla="*/ 18 w 65"/>
                  <a:gd name="T13" fmla="*/ 35 h 35"/>
                  <a:gd name="T14" fmla="*/ 18 w 65"/>
                  <a:gd name="T15" fmla="*/ 35 h 35"/>
                  <a:gd name="T16" fmla="*/ 11 w 65"/>
                  <a:gd name="T17" fmla="*/ 34 h 35"/>
                  <a:gd name="T18" fmla="*/ 5 w 65"/>
                  <a:gd name="T19" fmla="*/ 29 h 35"/>
                  <a:gd name="T20" fmla="*/ 1 w 65"/>
                  <a:gd name="T21" fmla="*/ 24 h 35"/>
                  <a:gd name="T22" fmla="*/ 0 w 65"/>
                  <a:gd name="T23" fmla="*/ 17 h 35"/>
                  <a:gd name="T24" fmla="*/ 0 w 65"/>
                  <a:gd name="T25" fmla="*/ 17 h 35"/>
                  <a:gd name="T26" fmla="*/ 0 w 65"/>
                  <a:gd name="T27" fmla="*/ 17 h 35"/>
                  <a:gd name="T28" fmla="*/ 1 w 65"/>
                  <a:gd name="T29" fmla="*/ 11 h 35"/>
                  <a:gd name="T30" fmla="*/ 5 w 65"/>
                  <a:gd name="T31" fmla="*/ 5 h 35"/>
                  <a:gd name="T32" fmla="*/ 11 w 65"/>
                  <a:gd name="T33" fmla="*/ 1 h 35"/>
                  <a:gd name="T34" fmla="*/ 18 w 65"/>
                  <a:gd name="T35" fmla="*/ 0 h 35"/>
                  <a:gd name="T36" fmla="*/ 48 w 65"/>
                  <a:gd name="T37" fmla="*/ 0 h 35"/>
                  <a:gd name="T38" fmla="*/ 48 w 65"/>
                  <a:gd name="T39" fmla="*/ 0 h 35"/>
                  <a:gd name="T40" fmla="*/ 55 w 65"/>
                  <a:gd name="T41" fmla="*/ 1 h 35"/>
                  <a:gd name="T42" fmla="*/ 60 w 65"/>
                  <a:gd name="T43" fmla="*/ 5 h 35"/>
                  <a:gd name="T44" fmla="*/ 64 w 65"/>
                  <a:gd name="T45" fmla="*/ 11 h 35"/>
                  <a:gd name="T46" fmla="*/ 65 w 65"/>
                  <a:gd name="T47" fmla="*/ 17 h 35"/>
                  <a:gd name="T48" fmla="*/ 65 w 65"/>
                  <a:gd name="T49"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5">
                    <a:moveTo>
                      <a:pt x="65" y="17"/>
                    </a:moveTo>
                    <a:lnTo>
                      <a:pt x="65" y="17"/>
                    </a:lnTo>
                    <a:lnTo>
                      <a:pt x="64" y="24"/>
                    </a:lnTo>
                    <a:lnTo>
                      <a:pt x="60" y="29"/>
                    </a:lnTo>
                    <a:lnTo>
                      <a:pt x="55" y="34"/>
                    </a:lnTo>
                    <a:lnTo>
                      <a:pt x="48" y="35"/>
                    </a:lnTo>
                    <a:lnTo>
                      <a:pt x="18" y="35"/>
                    </a:lnTo>
                    <a:lnTo>
                      <a:pt x="18" y="35"/>
                    </a:lnTo>
                    <a:lnTo>
                      <a:pt x="11" y="34"/>
                    </a:lnTo>
                    <a:lnTo>
                      <a:pt x="5" y="29"/>
                    </a:lnTo>
                    <a:lnTo>
                      <a:pt x="1" y="24"/>
                    </a:lnTo>
                    <a:lnTo>
                      <a:pt x="0" y="17"/>
                    </a:lnTo>
                    <a:lnTo>
                      <a:pt x="0" y="17"/>
                    </a:lnTo>
                    <a:lnTo>
                      <a:pt x="0" y="17"/>
                    </a:lnTo>
                    <a:lnTo>
                      <a:pt x="1" y="11"/>
                    </a:lnTo>
                    <a:lnTo>
                      <a:pt x="5" y="5"/>
                    </a:lnTo>
                    <a:lnTo>
                      <a:pt x="11" y="1"/>
                    </a:lnTo>
                    <a:lnTo>
                      <a:pt x="18" y="0"/>
                    </a:lnTo>
                    <a:lnTo>
                      <a:pt x="48" y="0"/>
                    </a:lnTo>
                    <a:lnTo>
                      <a:pt x="48" y="0"/>
                    </a:lnTo>
                    <a:lnTo>
                      <a:pt x="55" y="1"/>
                    </a:lnTo>
                    <a:lnTo>
                      <a:pt x="60" y="5"/>
                    </a:lnTo>
                    <a:lnTo>
                      <a:pt x="64" y="11"/>
                    </a:lnTo>
                    <a:lnTo>
                      <a:pt x="65" y="17"/>
                    </a:lnTo>
                    <a:lnTo>
                      <a:pt x="65" y="1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78" name="Freeform 13">
                <a:extLst>
                  <a:ext uri="{FF2B5EF4-FFF2-40B4-BE49-F238E27FC236}">
                    <a16:creationId xmlns:a16="http://schemas.microsoft.com/office/drawing/2014/main" id="{9626C56C-CBEC-4BB7-8602-E46EB0353DF4}"/>
                  </a:ext>
                </a:extLst>
              </p:cNvPr>
              <p:cNvSpPr>
                <a:spLocks/>
              </p:cNvSpPr>
              <p:nvPr/>
            </p:nvSpPr>
            <p:spPr bwMode="auto">
              <a:xfrm>
                <a:off x="908050" y="503238"/>
                <a:ext cx="34925" cy="19050"/>
              </a:xfrm>
              <a:custGeom>
                <a:avLst/>
                <a:gdLst>
                  <a:gd name="T0" fmla="*/ 66 w 66"/>
                  <a:gd name="T1" fmla="*/ 17 h 35"/>
                  <a:gd name="T2" fmla="*/ 66 w 66"/>
                  <a:gd name="T3" fmla="*/ 17 h 35"/>
                  <a:gd name="T4" fmla="*/ 65 w 66"/>
                  <a:gd name="T5" fmla="*/ 24 h 35"/>
                  <a:gd name="T6" fmla="*/ 60 w 66"/>
                  <a:gd name="T7" fmla="*/ 29 h 35"/>
                  <a:gd name="T8" fmla="*/ 55 w 66"/>
                  <a:gd name="T9" fmla="*/ 34 h 35"/>
                  <a:gd name="T10" fmla="*/ 48 w 66"/>
                  <a:gd name="T11" fmla="*/ 35 h 35"/>
                  <a:gd name="T12" fmla="*/ 18 w 66"/>
                  <a:gd name="T13" fmla="*/ 35 h 35"/>
                  <a:gd name="T14" fmla="*/ 18 w 66"/>
                  <a:gd name="T15" fmla="*/ 35 h 35"/>
                  <a:gd name="T16" fmla="*/ 11 w 66"/>
                  <a:gd name="T17" fmla="*/ 34 h 35"/>
                  <a:gd name="T18" fmla="*/ 6 w 66"/>
                  <a:gd name="T19" fmla="*/ 29 h 35"/>
                  <a:gd name="T20" fmla="*/ 1 w 66"/>
                  <a:gd name="T21" fmla="*/ 24 h 35"/>
                  <a:gd name="T22" fmla="*/ 0 w 66"/>
                  <a:gd name="T23" fmla="*/ 17 h 35"/>
                  <a:gd name="T24" fmla="*/ 0 w 66"/>
                  <a:gd name="T25" fmla="*/ 17 h 35"/>
                  <a:gd name="T26" fmla="*/ 0 w 66"/>
                  <a:gd name="T27" fmla="*/ 17 h 35"/>
                  <a:gd name="T28" fmla="*/ 1 w 66"/>
                  <a:gd name="T29" fmla="*/ 11 h 35"/>
                  <a:gd name="T30" fmla="*/ 6 w 66"/>
                  <a:gd name="T31" fmla="*/ 5 h 35"/>
                  <a:gd name="T32" fmla="*/ 11 w 66"/>
                  <a:gd name="T33" fmla="*/ 1 h 35"/>
                  <a:gd name="T34" fmla="*/ 18 w 66"/>
                  <a:gd name="T35" fmla="*/ 0 h 35"/>
                  <a:gd name="T36" fmla="*/ 48 w 66"/>
                  <a:gd name="T37" fmla="*/ 0 h 35"/>
                  <a:gd name="T38" fmla="*/ 48 w 66"/>
                  <a:gd name="T39" fmla="*/ 0 h 35"/>
                  <a:gd name="T40" fmla="*/ 55 w 66"/>
                  <a:gd name="T41" fmla="*/ 1 h 35"/>
                  <a:gd name="T42" fmla="*/ 60 w 66"/>
                  <a:gd name="T43" fmla="*/ 5 h 35"/>
                  <a:gd name="T44" fmla="*/ 65 w 66"/>
                  <a:gd name="T45" fmla="*/ 11 h 35"/>
                  <a:gd name="T46" fmla="*/ 66 w 66"/>
                  <a:gd name="T47" fmla="*/ 17 h 35"/>
                  <a:gd name="T48" fmla="*/ 66 w 66"/>
                  <a:gd name="T49"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6" h="35">
                    <a:moveTo>
                      <a:pt x="66" y="17"/>
                    </a:moveTo>
                    <a:lnTo>
                      <a:pt x="66" y="17"/>
                    </a:lnTo>
                    <a:lnTo>
                      <a:pt x="65" y="24"/>
                    </a:lnTo>
                    <a:lnTo>
                      <a:pt x="60" y="29"/>
                    </a:lnTo>
                    <a:lnTo>
                      <a:pt x="55" y="34"/>
                    </a:lnTo>
                    <a:lnTo>
                      <a:pt x="48" y="35"/>
                    </a:lnTo>
                    <a:lnTo>
                      <a:pt x="18" y="35"/>
                    </a:lnTo>
                    <a:lnTo>
                      <a:pt x="18" y="35"/>
                    </a:lnTo>
                    <a:lnTo>
                      <a:pt x="11" y="34"/>
                    </a:lnTo>
                    <a:lnTo>
                      <a:pt x="6" y="29"/>
                    </a:lnTo>
                    <a:lnTo>
                      <a:pt x="1" y="24"/>
                    </a:lnTo>
                    <a:lnTo>
                      <a:pt x="0" y="17"/>
                    </a:lnTo>
                    <a:lnTo>
                      <a:pt x="0" y="17"/>
                    </a:lnTo>
                    <a:lnTo>
                      <a:pt x="0" y="17"/>
                    </a:lnTo>
                    <a:lnTo>
                      <a:pt x="1" y="11"/>
                    </a:lnTo>
                    <a:lnTo>
                      <a:pt x="6" y="5"/>
                    </a:lnTo>
                    <a:lnTo>
                      <a:pt x="11" y="1"/>
                    </a:lnTo>
                    <a:lnTo>
                      <a:pt x="18" y="0"/>
                    </a:lnTo>
                    <a:lnTo>
                      <a:pt x="48" y="0"/>
                    </a:lnTo>
                    <a:lnTo>
                      <a:pt x="48" y="0"/>
                    </a:lnTo>
                    <a:lnTo>
                      <a:pt x="55" y="1"/>
                    </a:lnTo>
                    <a:lnTo>
                      <a:pt x="60" y="5"/>
                    </a:lnTo>
                    <a:lnTo>
                      <a:pt x="65" y="11"/>
                    </a:lnTo>
                    <a:lnTo>
                      <a:pt x="66" y="17"/>
                    </a:lnTo>
                    <a:lnTo>
                      <a:pt x="66" y="1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79" name="Freeform 14">
                <a:extLst>
                  <a:ext uri="{FF2B5EF4-FFF2-40B4-BE49-F238E27FC236}">
                    <a16:creationId xmlns:a16="http://schemas.microsoft.com/office/drawing/2014/main" id="{B94539F2-2243-404F-9FAE-443B0D351E53}"/>
                  </a:ext>
                </a:extLst>
              </p:cNvPr>
              <p:cNvSpPr>
                <a:spLocks/>
              </p:cNvSpPr>
              <p:nvPr/>
            </p:nvSpPr>
            <p:spPr bwMode="auto">
              <a:xfrm>
                <a:off x="949325" y="503238"/>
                <a:ext cx="34925" cy="19050"/>
              </a:xfrm>
              <a:custGeom>
                <a:avLst/>
                <a:gdLst>
                  <a:gd name="T0" fmla="*/ 65 w 65"/>
                  <a:gd name="T1" fmla="*/ 17 h 35"/>
                  <a:gd name="T2" fmla="*/ 65 w 65"/>
                  <a:gd name="T3" fmla="*/ 17 h 35"/>
                  <a:gd name="T4" fmla="*/ 64 w 65"/>
                  <a:gd name="T5" fmla="*/ 24 h 35"/>
                  <a:gd name="T6" fmla="*/ 60 w 65"/>
                  <a:gd name="T7" fmla="*/ 29 h 35"/>
                  <a:gd name="T8" fmla="*/ 54 w 65"/>
                  <a:gd name="T9" fmla="*/ 34 h 35"/>
                  <a:gd name="T10" fmla="*/ 48 w 65"/>
                  <a:gd name="T11" fmla="*/ 35 h 35"/>
                  <a:gd name="T12" fmla="*/ 17 w 65"/>
                  <a:gd name="T13" fmla="*/ 35 h 35"/>
                  <a:gd name="T14" fmla="*/ 17 w 65"/>
                  <a:gd name="T15" fmla="*/ 35 h 35"/>
                  <a:gd name="T16" fmla="*/ 10 w 65"/>
                  <a:gd name="T17" fmla="*/ 34 h 35"/>
                  <a:gd name="T18" fmla="*/ 5 w 65"/>
                  <a:gd name="T19" fmla="*/ 29 h 35"/>
                  <a:gd name="T20" fmla="*/ 2 w 65"/>
                  <a:gd name="T21" fmla="*/ 24 h 35"/>
                  <a:gd name="T22" fmla="*/ 0 w 65"/>
                  <a:gd name="T23" fmla="*/ 17 h 35"/>
                  <a:gd name="T24" fmla="*/ 0 w 65"/>
                  <a:gd name="T25" fmla="*/ 17 h 35"/>
                  <a:gd name="T26" fmla="*/ 0 w 65"/>
                  <a:gd name="T27" fmla="*/ 17 h 35"/>
                  <a:gd name="T28" fmla="*/ 2 w 65"/>
                  <a:gd name="T29" fmla="*/ 11 h 35"/>
                  <a:gd name="T30" fmla="*/ 5 w 65"/>
                  <a:gd name="T31" fmla="*/ 5 h 35"/>
                  <a:gd name="T32" fmla="*/ 10 w 65"/>
                  <a:gd name="T33" fmla="*/ 1 h 35"/>
                  <a:gd name="T34" fmla="*/ 17 w 65"/>
                  <a:gd name="T35" fmla="*/ 0 h 35"/>
                  <a:gd name="T36" fmla="*/ 48 w 65"/>
                  <a:gd name="T37" fmla="*/ 0 h 35"/>
                  <a:gd name="T38" fmla="*/ 48 w 65"/>
                  <a:gd name="T39" fmla="*/ 0 h 35"/>
                  <a:gd name="T40" fmla="*/ 54 w 65"/>
                  <a:gd name="T41" fmla="*/ 1 h 35"/>
                  <a:gd name="T42" fmla="*/ 60 w 65"/>
                  <a:gd name="T43" fmla="*/ 5 h 35"/>
                  <a:gd name="T44" fmla="*/ 64 w 65"/>
                  <a:gd name="T45" fmla="*/ 11 h 35"/>
                  <a:gd name="T46" fmla="*/ 65 w 65"/>
                  <a:gd name="T47" fmla="*/ 17 h 35"/>
                  <a:gd name="T48" fmla="*/ 65 w 65"/>
                  <a:gd name="T49"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5">
                    <a:moveTo>
                      <a:pt x="65" y="17"/>
                    </a:moveTo>
                    <a:lnTo>
                      <a:pt x="65" y="17"/>
                    </a:lnTo>
                    <a:lnTo>
                      <a:pt x="64" y="24"/>
                    </a:lnTo>
                    <a:lnTo>
                      <a:pt x="60" y="29"/>
                    </a:lnTo>
                    <a:lnTo>
                      <a:pt x="54" y="34"/>
                    </a:lnTo>
                    <a:lnTo>
                      <a:pt x="48" y="35"/>
                    </a:lnTo>
                    <a:lnTo>
                      <a:pt x="17" y="35"/>
                    </a:lnTo>
                    <a:lnTo>
                      <a:pt x="17" y="35"/>
                    </a:lnTo>
                    <a:lnTo>
                      <a:pt x="10" y="34"/>
                    </a:lnTo>
                    <a:lnTo>
                      <a:pt x="5" y="29"/>
                    </a:lnTo>
                    <a:lnTo>
                      <a:pt x="2" y="24"/>
                    </a:lnTo>
                    <a:lnTo>
                      <a:pt x="0" y="17"/>
                    </a:lnTo>
                    <a:lnTo>
                      <a:pt x="0" y="17"/>
                    </a:lnTo>
                    <a:lnTo>
                      <a:pt x="0" y="17"/>
                    </a:lnTo>
                    <a:lnTo>
                      <a:pt x="2" y="11"/>
                    </a:lnTo>
                    <a:lnTo>
                      <a:pt x="5" y="5"/>
                    </a:lnTo>
                    <a:lnTo>
                      <a:pt x="10" y="1"/>
                    </a:lnTo>
                    <a:lnTo>
                      <a:pt x="17" y="0"/>
                    </a:lnTo>
                    <a:lnTo>
                      <a:pt x="48" y="0"/>
                    </a:lnTo>
                    <a:lnTo>
                      <a:pt x="48" y="0"/>
                    </a:lnTo>
                    <a:lnTo>
                      <a:pt x="54" y="1"/>
                    </a:lnTo>
                    <a:lnTo>
                      <a:pt x="60" y="5"/>
                    </a:lnTo>
                    <a:lnTo>
                      <a:pt x="64" y="11"/>
                    </a:lnTo>
                    <a:lnTo>
                      <a:pt x="65" y="17"/>
                    </a:lnTo>
                    <a:lnTo>
                      <a:pt x="65" y="1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80" name="Freeform 15">
                <a:extLst>
                  <a:ext uri="{FF2B5EF4-FFF2-40B4-BE49-F238E27FC236}">
                    <a16:creationId xmlns:a16="http://schemas.microsoft.com/office/drawing/2014/main" id="{C774B650-8BF7-4C68-AB9B-11757861F424}"/>
                  </a:ext>
                </a:extLst>
              </p:cNvPr>
              <p:cNvSpPr>
                <a:spLocks/>
              </p:cNvSpPr>
              <p:nvPr/>
            </p:nvSpPr>
            <p:spPr bwMode="auto">
              <a:xfrm>
                <a:off x="825500" y="503238"/>
                <a:ext cx="34925" cy="19050"/>
              </a:xfrm>
              <a:custGeom>
                <a:avLst/>
                <a:gdLst>
                  <a:gd name="T0" fmla="*/ 65 w 65"/>
                  <a:gd name="T1" fmla="*/ 17 h 35"/>
                  <a:gd name="T2" fmla="*/ 65 w 65"/>
                  <a:gd name="T3" fmla="*/ 17 h 35"/>
                  <a:gd name="T4" fmla="*/ 63 w 65"/>
                  <a:gd name="T5" fmla="*/ 24 h 35"/>
                  <a:gd name="T6" fmla="*/ 60 w 65"/>
                  <a:gd name="T7" fmla="*/ 29 h 35"/>
                  <a:gd name="T8" fmla="*/ 54 w 65"/>
                  <a:gd name="T9" fmla="*/ 34 h 35"/>
                  <a:gd name="T10" fmla="*/ 48 w 65"/>
                  <a:gd name="T11" fmla="*/ 35 h 35"/>
                  <a:gd name="T12" fmla="*/ 17 w 65"/>
                  <a:gd name="T13" fmla="*/ 35 h 35"/>
                  <a:gd name="T14" fmla="*/ 17 w 65"/>
                  <a:gd name="T15" fmla="*/ 35 h 35"/>
                  <a:gd name="T16" fmla="*/ 11 w 65"/>
                  <a:gd name="T17" fmla="*/ 34 h 35"/>
                  <a:gd name="T18" fmla="*/ 5 w 65"/>
                  <a:gd name="T19" fmla="*/ 29 h 35"/>
                  <a:gd name="T20" fmla="*/ 1 w 65"/>
                  <a:gd name="T21" fmla="*/ 24 h 35"/>
                  <a:gd name="T22" fmla="*/ 0 w 65"/>
                  <a:gd name="T23" fmla="*/ 17 h 35"/>
                  <a:gd name="T24" fmla="*/ 0 w 65"/>
                  <a:gd name="T25" fmla="*/ 17 h 35"/>
                  <a:gd name="T26" fmla="*/ 0 w 65"/>
                  <a:gd name="T27" fmla="*/ 17 h 35"/>
                  <a:gd name="T28" fmla="*/ 1 w 65"/>
                  <a:gd name="T29" fmla="*/ 11 h 35"/>
                  <a:gd name="T30" fmla="*/ 5 w 65"/>
                  <a:gd name="T31" fmla="*/ 5 h 35"/>
                  <a:gd name="T32" fmla="*/ 11 w 65"/>
                  <a:gd name="T33" fmla="*/ 1 h 35"/>
                  <a:gd name="T34" fmla="*/ 17 w 65"/>
                  <a:gd name="T35" fmla="*/ 0 h 35"/>
                  <a:gd name="T36" fmla="*/ 48 w 65"/>
                  <a:gd name="T37" fmla="*/ 0 h 35"/>
                  <a:gd name="T38" fmla="*/ 48 w 65"/>
                  <a:gd name="T39" fmla="*/ 0 h 35"/>
                  <a:gd name="T40" fmla="*/ 54 w 65"/>
                  <a:gd name="T41" fmla="*/ 1 h 35"/>
                  <a:gd name="T42" fmla="*/ 60 w 65"/>
                  <a:gd name="T43" fmla="*/ 5 h 35"/>
                  <a:gd name="T44" fmla="*/ 63 w 65"/>
                  <a:gd name="T45" fmla="*/ 11 h 35"/>
                  <a:gd name="T46" fmla="*/ 65 w 65"/>
                  <a:gd name="T47" fmla="*/ 17 h 35"/>
                  <a:gd name="T48" fmla="*/ 65 w 65"/>
                  <a:gd name="T49" fmla="*/ 17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5" h="35">
                    <a:moveTo>
                      <a:pt x="65" y="17"/>
                    </a:moveTo>
                    <a:lnTo>
                      <a:pt x="65" y="17"/>
                    </a:lnTo>
                    <a:lnTo>
                      <a:pt x="63" y="24"/>
                    </a:lnTo>
                    <a:lnTo>
                      <a:pt x="60" y="29"/>
                    </a:lnTo>
                    <a:lnTo>
                      <a:pt x="54" y="34"/>
                    </a:lnTo>
                    <a:lnTo>
                      <a:pt x="48" y="35"/>
                    </a:lnTo>
                    <a:lnTo>
                      <a:pt x="17" y="35"/>
                    </a:lnTo>
                    <a:lnTo>
                      <a:pt x="17" y="35"/>
                    </a:lnTo>
                    <a:lnTo>
                      <a:pt x="11" y="34"/>
                    </a:lnTo>
                    <a:lnTo>
                      <a:pt x="5" y="29"/>
                    </a:lnTo>
                    <a:lnTo>
                      <a:pt x="1" y="24"/>
                    </a:lnTo>
                    <a:lnTo>
                      <a:pt x="0" y="17"/>
                    </a:lnTo>
                    <a:lnTo>
                      <a:pt x="0" y="17"/>
                    </a:lnTo>
                    <a:lnTo>
                      <a:pt x="0" y="17"/>
                    </a:lnTo>
                    <a:lnTo>
                      <a:pt x="1" y="11"/>
                    </a:lnTo>
                    <a:lnTo>
                      <a:pt x="5" y="5"/>
                    </a:lnTo>
                    <a:lnTo>
                      <a:pt x="11" y="1"/>
                    </a:lnTo>
                    <a:lnTo>
                      <a:pt x="17" y="0"/>
                    </a:lnTo>
                    <a:lnTo>
                      <a:pt x="48" y="0"/>
                    </a:lnTo>
                    <a:lnTo>
                      <a:pt x="48" y="0"/>
                    </a:lnTo>
                    <a:lnTo>
                      <a:pt x="54" y="1"/>
                    </a:lnTo>
                    <a:lnTo>
                      <a:pt x="60" y="5"/>
                    </a:lnTo>
                    <a:lnTo>
                      <a:pt x="63" y="11"/>
                    </a:lnTo>
                    <a:lnTo>
                      <a:pt x="65" y="17"/>
                    </a:lnTo>
                    <a:lnTo>
                      <a:pt x="65" y="1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981" name="Group 1980">
            <a:extLst>
              <a:ext uri="{FF2B5EF4-FFF2-40B4-BE49-F238E27FC236}">
                <a16:creationId xmlns:a16="http://schemas.microsoft.com/office/drawing/2014/main" id="{E6D979E4-8B78-4A75-956A-4FDE080095F4}"/>
              </a:ext>
            </a:extLst>
          </p:cNvPr>
          <p:cNvGrpSpPr/>
          <p:nvPr/>
        </p:nvGrpSpPr>
        <p:grpSpPr>
          <a:xfrm>
            <a:off x="8983066" y="1656899"/>
            <a:ext cx="612775" cy="612775"/>
            <a:chOff x="7150702" y="2258092"/>
            <a:chExt cx="612775" cy="612775"/>
          </a:xfrm>
        </p:grpSpPr>
        <p:sp>
          <p:nvSpPr>
            <p:cNvPr id="1982" name="Oval 1981">
              <a:extLst>
                <a:ext uri="{FF2B5EF4-FFF2-40B4-BE49-F238E27FC236}">
                  <a16:creationId xmlns:a16="http://schemas.microsoft.com/office/drawing/2014/main" id="{99593636-C841-4D9B-A71B-1D52CAE1BA50}"/>
                </a:ext>
              </a:extLst>
            </p:cNvPr>
            <p:cNvSpPr/>
            <p:nvPr/>
          </p:nvSpPr>
          <p:spPr bwMode="ltGray">
            <a:xfrm>
              <a:off x="7150702"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983" name="Group 1982">
              <a:extLst>
                <a:ext uri="{FF2B5EF4-FFF2-40B4-BE49-F238E27FC236}">
                  <a16:creationId xmlns:a16="http://schemas.microsoft.com/office/drawing/2014/main" id="{BD9D9195-EADB-453F-96BC-6BD195BD71CB}"/>
                </a:ext>
              </a:extLst>
            </p:cNvPr>
            <p:cNvGrpSpPr/>
            <p:nvPr/>
          </p:nvGrpSpPr>
          <p:grpSpPr>
            <a:xfrm>
              <a:off x="7214935" y="2444474"/>
              <a:ext cx="493713" cy="212725"/>
              <a:chOff x="1270000" y="331788"/>
              <a:chExt cx="493713" cy="212725"/>
            </a:xfrm>
          </p:grpSpPr>
          <p:sp>
            <p:nvSpPr>
              <p:cNvPr id="1984" name="Freeform 20">
                <a:extLst>
                  <a:ext uri="{FF2B5EF4-FFF2-40B4-BE49-F238E27FC236}">
                    <a16:creationId xmlns:a16="http://schemas.microsoft.com/office/drawing/2014/main" id="{A5E2EB74-9B8F-4CB3-B403-F6E31E3EB64F}"/>
                  </a:ext>
                </a:extLst>
              </p:cNvPr>
              <p:cNvSpPr>
                <a:spLocks/>
              </p:cNvSpPr>
              <p:nvPr/>
            </p:nvSpPr>
            <p:spPr bwMode="auto">
              <a:xfrm>
                <a:off x="1277938" y="401638"/>
                <a:ext cx="231775" cy="100012"/>
              </a:xfrm>
              <a:custGeom>
                <a:avLst/>
                <a:gdLst>
                  <a:gd name="T0" fmla="*/ 437 w 437"/>
                  <a:gd name="T1" fmla="*/ 179 h 189"/>
                  <a:gd name="T2" fmla="*/ 437 w 437"/>
                  <a:gd name="T3" fmla="*/ 179 h 189"/>
                  <a:gd name="T4" fmla="*/ 436 w 437"/>
                  <a:gd name="T5" fmla="*/ 183 h 189"/>
                  <a:gd name="T6" fmla="*/ 434 w 437"/>
                  <a:gd name="T7" fmla="*/ 187 h 189"/>
                  <a:gd name="T8" fmla="*/ 430 w 437"/>
                  <a:gd name="T9" fmla="*/ 189 h 189"/>
                  <a:gd name="T10" fmla="*/ 426 w 437"/>
                  <a:gd name="T11" fmla="*/ 189 h 189"/>
                  <a:gd name="T12" fmla="*/ 11 w 437"/>
                  <a:gd name="T13" fmla="*/ 189 h 189"/>
                  <a:gd name="T14" fmla="*/ 11 w 437"/>
                  <a:gd name="T15" fmla="*/ 189 h 189"/>
                  <a:gd name="T16" fmla="*/ 6 w 437"/>
                  <a:gd name="T17" fmla="*/ 189 h 189"/>
                  <a:gd name="T18" fmla="*/ 3 w 437"/>
                  <a:gd name="T19" fmla="*/ 187 h 189"/>
                  <a:gd name="T20" fmla="*/ 1 w 437"/>
                  <a:gd name="T21" fmla="*/ 183 h 189"/>
                  <a:gd name="T22" fmla="*/ 0 w 437"/>
                  <a:gd name="T23" fmla="*/ 179 h 189"/>
                  <a:gd name="T24" fmla="*/ 0 w 437"/>
                  <a:gd name="T25" fmla="*/ 9 h 189"/>
                  <a:gd name="T26" fmla="*/ 0 w 437"/>
                  <a:gd name="T27" fmla="*/ 9 h 189"/>
                  <a:gd name="T28" fmla="*/ 1 w 437"/>
                  <a:gd name="T29" fmla="*/ 6 h 189"/>
                  <a:gd name="T30" fmla="*/ 3 w 437"/>
                  <a:gd name="T31" fmla="*/ 2 h 189"/>
                  <a:gd name="T32" fmla="*/ 6 w 437"/>
                  <a:gd name="T33" fmla="*/ 0 h 189"/>
                  <a:gd name="T34" fmla="*/ 11 w 437"/>
                  <a:gd name="T35" fmla="*/ 0 h 189"/>
                  <a:gd name="T36" fmla="*/ 426 w 437"/>
                  <a:gd name="T37" fmla="*/ 0 h 189"/>
                  <a:gd name="T38" fmla="*/ 426 w 437"/>
                  <a:gd name="T39" fmla="*/ 0 h 189"/>
                  <a:gd name="T40" fmla="*/ 430 w 437"/>
                  <a:gd name="T41" fmla="*/ 0 h 189"/>
                  <a:gd name="T42" fmla="*/ 434 w 437"/>
                  <a:gd name="T43" fmla="*/ 2 h 189"/>
                  <a:gd name="T44" fmla="*/ 436 w 437"/>
                  <a:gd name="T45" fmla="*/ 6 h 189"/>
                  <a:gd name="T46" fmla="*/ 437 w 437"/>
                  <a:gd name="T47" fmla="*/ 9 h 189"/>
                  <a:gd name="T48" fmla="*/ 437 w 437"/>
                  <a:gd name="T49" fmla="*/ 17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7" h="189">
                    <a:moveTo>
                      <a:pt x="437" y="179"/>
                    </a:moveTo>
                    <a:lnTo>
                      <a:pt x="437" y="179"/>
                    </a:lnTo>
                    <a:lnTo>
                      <a:pt x="436" y="183"/>
                    </a:lnTo>
                    <a:lnTo>
                      <a:pt x="434" y="187"/>
                    </a:lnTo>
                    <a:lnTo>
                      <a:pt x="430" y="189"/>
                    </a:lnTo>
                    <a:lnTo>
                      <a:pt x="426" y="189"/>
                    </a:lnTo>
                    <a:lnTo>
                      <a:pt x="11" y="189"/>
                    </a:lnTo>
                    <a:lnTo>
                      <a:pt x="11" y="189"/>
                    </a:lnTo>
                    <a:lnTo>
                      <a:pt x="6" y="189"/>
                    </a:lnTo>
                    <a:lnTo>
                      <a:pt x="3" y="187"/>
                    </a:lnTo>
                    <a:lnTo>
                      <a:pt x="1" y="183"/>
                    </a:lnTo>
                    <a:lnTo>
                      <a:pt x="0" y="179"/>
                    </a:lnTo>
                    <a:lnTo>
                      <a:pt x="0" y="9"/>
                    </a:lnTo>
                    <a:lnTo>
                      <a:pt x="0" y="9"/>
                    </a:lnTo>
                    <a:lnTo>
                      <a:pt x="1" y="6"/>
                    </a:lnTo>
                    <a:lnTo>
                      <a:pt x="3" y="2"/>
                    </a:lnTo>
                    <a:lnTo>
                      <a:pt x="6" y="0"/>
                    </a:lnTo>
                    <a:lnTo>
                      <a:pt x="11" y="0"/>
                    </a:lnTo>
                    <a:lnTo>
                      <a:pt x="426" y="0"/>
                    </a:lnTo>
                    <a:lnTo>
                      <a:pt x="426" y="0"/>
                    </a:lnTo>
                    <a:lnTo>
                      <a:pt x="430" y="0"/>
                    </a:lnTo>
                    <a:lnTo>
                      <a:pt x="434" y="2"/>
                    </a:lnTo>
                    <a:lnTo>
                      <a:pt x="436" y="6"/>
                    </a:lnTo>
                    <a:lnTo>
                      <a:pt x="437" y="9"/>
                    </a:lnTo>
                    <a:lnTo>
                      <a:pt x="437" y="17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85" name="Freeform 21">
                <a:extLst>
                  <a:ext uri="{FF2B5EF4-FFF2-40B4-BE49-F238E27FC236}">
                    <a16:creationId xmlns:a16="http://schemas.microsoft.com/office/drawing/2014/main" id="{B9F70767-EB4D-4AC1-A919-DAB40DDCA657}"/>
                  </a:ext>
                </a:extLst>
              </p:cNvPr>
              <p:cNvSpPr>
                <a:spLocks/>
              </p:cNvSpPr>
              <p:nvPr/>
            </p:nvSpPr>
            <p:spPr bwMode="auto">
              <a:xfrm>
                <a:off x="1270000" y="468313"/>
                <a:ext cx="68263" cy="33337"/>
              </a:xfrm>
              <a:custGeom>
                <a:avLst/>
                <a:gdLst>
                  <a:gd name="T0" fmla="*/ 129 w 129"/>
                  <a:gd name="T1" fmla="*/ 45 h 63"/>
                  <a:gd name="T2" fmla="*/ 129 w 129"/>
                  <a:gd name="T3" fmla="*/ 45 h 63"/>
                  <a:gd name="T4" fmla="*/ 127 w 129"/>
                  <a:gd name="T5" fmla="*/ 49 h 63"/>
                  <a:gd name="T6" fmla="*/ 126 w 129"/>
                  <a:gd name="T7" fmla="*/ 53 h 63"/>
                  <a:gd name="T8" fmla="*/ 123 w 129"/>
                  <a:gd name="T9" fmla="*/ 59 h 63"/>
                  <a:gd name="T10" fmla="*/ 117 w 129"/>
                  <a:gd name="T11" fmla="*/ 62 h 63"/>
                  <a:gd name="T12" fmla="*/ 113 w 129"/>
                  <a:gd name="T13" fmla="*/ 63 h 63"/>
                  <a:gd name="T14" fmla="*/ 109 w 129"/>
                  <a:gd name="T15" fmla="*/ 63 h 63"/>
                  <a:gd name="T16" fmla="*/ 19 w 129"/>
                  <a:gd name="T17" fmla="*/ 63 h 63"/>
                  <a:gd name="T18" fmla="*/ 19 w 129"/>
                  <a:gd name="T19" fmla="*/ 63 h 63"/>
                  <a:gd name="T20" fmla="*/ 16 w 129"/>
                  <a:gd name="T21" fmla="*/ 63 h 63"/>
                  <a:gd name="T22" fmla="*/ 12 w 129"/>
                  <a:gd name="T23" fmla="*/ 62 h 63"/>
                  <a:gd name="T24" fmla="*/ 6 w 129"/>
                  <a:gd name="T25" fmla="*/ 59 h 63"/>
                  <a:gd name="T26" fmla="*/ 2 w 129"/>
                  <a:gd name="T27" fmla="*/ 53 h 63"/>
                  <a:gd name="T28" fmla="*/ 1 w 129"/>
                  <a:gd name="T29" fmla="*/ 49 h 63"/>
                  <a:gd name="T30" fmla="*/ 0 w 129"/>
                  <a:gd name="T31" fmla="*/ 45 h 63"/>
                  <a:gd name="T32" fmla="*/ 0 w 129"/>
                  <a:gd name="T33" fmla="*/ 19 h 63"/>
                  <a:gd name="T34" fmla="*/ 0 w 129"/>
                  <a:gd name="T35" fmla="*/ 19 h 63"/>
                  <a:gd name="T36" fmla="*/ 1 w 129"/>
                  <a:gd name="T37" fmla="*/ 15 h 63"/>
                  <a:gd name="T38" fmla="*/ 2 w 129"/>
                  <a:gd name="T39" fmla="*/ 12 h 63"/>
                  <a:gd name="T40" fmla="*/ 6 w 129"/>
                  <a:gd name="T41" fmla="*/ 6 h 63"/>
                  <a:gd name="T42" fmla="*/ 12 w 129"/>
                  <a:gd name="T43" fmla="*/ 1 h 63"/>
                  <a:gd name="T44" fmla="*/ 16 w 129"/>
                  <a:gd name="T45" fmla="*/ 0 h 63"/>
                  <a:gd name="T46" fmla="*/ 19 w 129"/>
                  <a:gd name="T47" fmla="*/ 0 h 63"/>
                  <a:gd name="T48" fmla="*/ 109 w 129"/>
                  <a:gd name="T49" fmla="*/ 0 h 63"/>
                  <a:gd name="T50" fmla="*/ 109 w 129"/>
                  <a:gd name="T51" fmla="*/ 0 h 63"/>
                  <a:gd name="T52" fmla="*/ 113 w 129"/>
                  <a:gd name="T53" fmla="*/ 0 h 63"/>
                  <a:gd name="T54" fmla="*/ 117 w 129"/>
                  <a:gd name="T55" fmla="*/ 1 h 63"/>
                  <a:gd name="T56" fmla="*/ 123 w 129"/>
                  <a:gd name="T57" fmla="*/ 6 h 63"/>
                  <a:gd name="T58" fmla="*/ 126 w 129"/>
                  <a:gd name="T59" fmla="*/ 12 h 63"/>
                  <a:gd name="T60" fmla="*/ 127 w 129"/>
                  <a:gd name="T61" fmla="*/ 15 h 63"/>
                  <a:gd name="T62" fmla="*/ 129 w 129"/>
                  <a:gd name="T63" fmla="*/ 19 h 63"/>
                  <a:gd name="T64" fmla="*/ 129 w 129"/>
                  <a:gd name="T65"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9" h="63">
                    <a:moveTo>
                      <a:pt x="129" y="45"/>
                    </a:moveTo>
                    <a:lnTo>
                      <a:pt x="129" y="45"/>
                    </a:lnTo>
                    <a:lnTo>
                      <a:pt x="127" y="49"/>
                    </a:lnTo>
                    <a:lnTo>
                      <a:pt x="126" y="53"/>
                    </a:lnTo>
                    <a:lnTo>
                      <a:pt x="123" y="59"/>
                    </a:lnTo>
                    <a:lnTo>
                      <a:pt x="117" y="62"/>
                    </a:lnTo>
                    <a:lnTo>
                      <a:pt x="113" y="63"/>
                    </a:lnTo>
                    <a:lnTo>
                      <a:pt x="109" y="63"/>
                    </a:lnTo>
                    <a:lnTo>
                      <a:pt x="19" y="63"/>
                    </a:lnTo>
                    <a:lnTo>
                      <a:pt x="19" y="63"/>
                    </a:lnTo>
                    <a:lnTo>
                      <a:pt x="16" y="63"/>
                    </a:lnTo>
                    <a:lnTo>
                      <a:pt x="12" y="62"/>
                    </a:lnTo>
                    <a:lnTo>
                      <a:pt x="6" y="59"/>
                    </a:lnTo>
                    <a:lnTo>
                      <a:pt x="2" y="53"/>
                    </a:lnTo>
                    <a:lnTo>
                      <a:pt x="1" y="49"/>
                    </a:lnTo>
                    <a:lnTo>
                      <a:pt x="0" y="45"/>
                    </a:lnTo>
                    <a:lnTo>
                      <a:pt x="0" y="19"/>
                    </a:lnTo>
                    <a:lnTo>
                      <a:pt x="0" y="19"/>
                    </a:lnTo>
                    <a:lnTo>
                      <a:pt x="1" y="15"/>
                    </a:lnTo>
                    <a:lnTo>
                      <a:pt x="2" y="12"/>
                    </a:lnTo>
                    <a:lnTo>
                      <a:pt x="6" y="6"/>
                    </a:lnTo>
                    <a:lnTo>
                      <a:pt x="12" y="1"/>
                    </a:lnTo>
                    <a:lnTo>
                      <a:pt x="16" y="0"/>
                    </a:lnTo>
                    <a:lnTo>
                      <a:pt x="19" y="0"/>
                    </a:lnTo>
                    <a:lnTo>
                      <a:pt x="109" y="0"/>
                    </a:lnTo>
                    <a:lnTo>
                      <a:pt x="109" y="0"/>
                    </a:lnTo>
                    <a:lnTo>
                      <a:pt x="113" y="0"/>
                    </a:lnTo>
                    <a:lnTo>
                      <a:pt x="117" y="1"/>
                    </a:lnTo>
                    <a:lnTo>
                      <a:pt x="123" y="6"/>
                    </a:lnTo>
                    <a:lnTo>
                      <a:pt x="126" y="12"/>
                    </a:lnTo>
                    <a:lnTo>
                      <a:pt x="127" y="15"/>
                    </a:lnTo>
                    <a:lnTo>
                      <a:pt x="129" y="19"/>
                    </a:lnTo>
                    <a:lnTo>
                      <a:pt x="129" y="4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86" name="Freeform 22">
                <a:extLst>
                  <a:ext uri="{FF2B5EF4-FFF2-40B4-BE49-F238E27FC236}">
                    <a16:creationId xmlns:a16="http://schemas.microsoft.com/office/drawing/2014/main" id="{6884DE1E-844E-464A-A157-7966CC4354FE}"/>
                  </a:ext>
                </a:extLst>
              </p:cNvPr>
              <p:cNvSpPr>
                <a:spLocks/>
              </p:cNvSpPr>
              <p:nvPr/>
            </p:nvSpPr>
            <p:spPr bwMode="auto">
              <a:xfrm>
                <a:off x="1654175" y="468313"/>
                <a:ext cx="109538" cy="33337"/>
              </a:xfrm>
              <a:custGeom>
                <a:avLst/>
                <a:gdLst>
                  <a:gd name="T0" fmla="*/ 207 w 207"/>
                  <a:gd name="T1" fmla="*/ 45 h 63"/>
                  <a:gd name="T2" fmla="*/ 207 w 207"/>
                  <a:gd name="T3" fmla="*/ 45 h 63"/>
                  <a:gd name="T4" fmla="*/ 207 w 207"/>
                  <a:gd name="T5" fmla="*/ 49 h 63"/>
                  <a:gd name="T6" fmla="*/ 205 w 207"/>
                  <a:gd name="T7" fmla="*/ 53 h 63"/>
                  <a:gd name="T8" fmla="*/ 202 w 207"/>
                  <a:gd name="T9" fmla="*/ 59 h 63"/>
                  <a:gd name="T10" fmla="*/ 196 w 207"/>
                  <a:gd name="T11" fmla="*/ 62 h 63"/>
                  <a:gd name="T12" fmla="*/ 192 w 207"/>
                  <a:gd name="T13" fmla="*/ 63 h 63"/>
                  <a:gd name="T14" fmla="*/ 189 w 207"/>
                  <a:gd name="T15" fmla="*/ 63 h 63"/>
                  <a:gd name="T16" fmla="*/ 19 w 207"/>
                  <a:gd name="T17" fmla="*/ 63 h 63"/>
                  <a:gd name="T18" fmla="*/ 19 w 207"/>
                  <a:gd name="T19" fmla="*/ 63 h 63"/>
                  <a:gd name="T20" fmla="*/ 16 w 207"/>
                  <a:gd name="T21" fmla="*/ 63 h 63"/>
                  <a:gd name="T22" fmla="*/ 12 w 207"/>
                  <a:gd name="T23" fmla="*/ 62 h 63"/>
                  <a:gd name="T24" fmla="*/ 6 w 207"/>
                  <a:gd name="T25" fmla="*/ 59 h 63"/>
                  <a:gd name="T26" fmla="*/ 2 w 207"/>
                  <a:gd name="T27" fmla="*/ 53 h 63"/>
                  <a:gd name="T28" fmla="*/ 1 w 207"/>
                  <a:gd name="T29" fmla="*/ 49 h 63"/>
                  <a:gd name="T30" fmla="*/ 0 w 207"/>
                  <a:gd name="T31" fmla="*/ 45 h 63"/>
                  <a:gd name="T32" fmla="*/ 0 w 207"/>
                  <a:gd name="T33" fmla="*/ 19 h 63"/>
                  <a:gd name="T34" fmla="*/ 0 w 207"/>
                  <a:gd name="T35" fmla="*/ 19 h 63"/>
                  <a:gd name="T36" fmla="*/ 1 w 207"/>
                  <a:gd name="T37" fmla="*/ 15 h 63"/>
                  <a:gd name="T38" fmla="*/ 2 w 207"/>
                  <a:gd name="T39" fmla="*/ 12 h 63"/>
                  <a:gd name="T40" fmla="*/ 6 w 207"/>
                  <a:gd name="T41" fmla="*/ 6 h 63"/>
                  <a:gd name="T42" fmla="*/ 12 w 207"/>
                  <a:gd name="T43" fmla="*/ 1 h 63"/>
                  <a:gd name="T44" fmla="*/ 16 w 207"/>
                  <a:gd name="T45" fmla="*/ 0 h 63"/>
                  <a:gd name="T46" fmla="*/ 19 w 207"/>
                  <a:gd name="T47" fmla="*/ 0 h 63"/>
                  <a:gd name="T48" fmla="*/ 189 w 207"/>
                  <a:gd name="T49" fmla="*/ 0 h 63"/>
                  <a:gd name="T50" fmla="*/ 189 w 207"/>
                  <a:gd name="T51" fmla="*/ 0 h 63"/>
                  <a:gd name="T52" fmla="*/ 192 w 207"/>
                  <a:gd name="T53" fmla="*/ 0 h 63"/>
                  <a:gd name="T54" fmla="*/ 196 w 207"/>
                  <a:gd name="T55" fmla="*/ 1 h 63"/>
                  <a:gd name="T56" fmla="*/ 202 w 207"/>
                  <a:gd name="T57" fmla="*/ 6 h 63"/>
                  <a:gd name="T58" fmla="*/ 205 w 207"/>
                  <a:gd name="T59" fmla="*/ 12 h 63"/>
                  <a:gd name="T60" fmla="*/ 207 w 207"/>
                  <a:gd name="T61" fmla="*/ 15 h 63"/>
                  <a:gd name="T62" fmla="*/ 207 w 207"/>
                  <a:gd name="T63" fmla="*/ 19 h 63"/>
                  <a:gd name="T64" fmla="*/ 207 w 207"/>
                  <a:gd name="T65" fmla="*/ 45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7" h="63">
                    <a:moveTo>
                      <a:pt x="207" y="45"/>
                    </a:moveTo>
                    <a:lnTo>
                      <a:pt x="207" y="45"/>
                    </a:lnTo>
                    <a:lnTo>
                      <a:pt x="207" y="49"/>
                    </a:lnTo>
                    <a:lnTo>
                      <a:pt x="205" y="53"/>
                    </a:lnTo>
                    <a:lnTo>
                      <a:pt x="202" y="59"/>
                    </a:lnTo>
                    <a:lnTo>
                      <a:pt x="196" y="62"/>
                    </a:lnTo>
                    <a:lnTo>
                      <a:pt x="192" y="63"/>
                    </a:lnTo>
                    <a:lnTo>
                      <a:pt x="189" y="63"/>
                    </a:lnTo>
                    <a:lnTo>
                      <a:pt x="19" y="63"/>
                    </a:lnTo>
                    <a:lnTo>
                      <a:pt x="19" y="63"/>
                    </a:lnTo>
                    <a:lnTo>
                      <a:pt x="16" y="63"/>
                    </a:lnTo>
                    <a:lnTo>
                      <a:pt x="12" y="62"/>
                    </a:lnTo>
                    <a:lnTo>
                      <a:pt x="6" y="59"/>
                    </a:lnTo>
                    <a:lnTo>
                      <a:pt x="2" y="53"/>
                    </a:lnTo>
                    <a:lnTo>
                      <a:pt x="1" y="49"/>
                    </a:lnTo>
                    <a:lnTo>
                      <a:pt x="0" y="45"/>
                    </a:lnTo>
                    <a:lnTo>
                      <a:pt x="0" y="19"/>
                    </a:lnTo>
                    <a:lnTo>
                      <a:pt x="0" y="19"/>
                    </a:lnTo>
                    <a:lnTo>
                      <a:pt x="1" y="15"/>
                    </a:lnTo>
                    <a:lnTo>
                      <a:pt x="2" y="12"/>
                    </a:lnTo>
                    <a:lnTo>
                      <a:pt x="6" y="6"/>
                    </a:lnTo>
                    <a:lnTo>
                      <a:pt x="12" y="1"/>
                    </a:lnTo>
                    <a:lnTo>
                      <a:pt x="16" y="0"/>
                    </a:lnTo>
                    <a:lnTo>
                      <a:pt x="19" y="0"/>
                    </a:lnTo>
                    <a:lnTo>
                      <a:pt x="189" y="0"/>
                    </a:lnTo>
                    <a:lnTo>
                      <a:pt x="189" y="0"/>
                    </a:lnTo>
                    <a:lnTo>
                      <a:pt x="192" y="0"/>
                    </a:lnTo>
                    <a:lnTo>
                      <a:pt x="196" y="1"/>
                    </a:lnTo>
                    <a:lnTo>
                      <a:pt x="202" y="6"/>
                    </a:lnTo>
                    <a:lnTo>
                      <a:pt x="205" y="12"/>
                    </a:lnTo>
                    <a:lnTo>
                      <a:pt x="207" y="15"/>
                    </a:lnTo>
                    <a:lnTo>
                      <a:pt x="207" y="19"/>
                    </a:lnTo>
                    <a:lnTo>
                      <a:pt x="207" y="4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87" name="Freeform 23">
                <a:extLst>
                  <a:ext uri="{FF2B5EF4-FFF2-40B4-BE49-F238E27FC236}">
                    <a16:creationId xmlns:a16="http://schemas.microsoft.com/office/drawing/2014/main" id="{9A20BC2B-6AC0-4513-9D2E-02037779E7C5}"/>
                  </a:ext>
                </a:extLst>
              </p:cNvPr>
              <p:cNvSpPr>
                <a:spLocks/>
              </p:cNvSpPr>
              <p:nvPr/>
            </p:nvSpPr>
            <p:spPr bwMode="auto">
              <a:xfrm>
                <a:off x="1516063" y="331788"/>
                <a:ext cx="238125" cy="169862"/>
              </a:xfrm>
              <a:custGeom>
                <a:avLst/>
                <a:gdLst>
                  <a:gd name="T0" fmla="*/ 0 w 450"/>
                  <a:gd name="T1" fmla="*/ 1 h 320"/>
                  <a:gd name="T2" fmla="*/ 0 w 450"/>
                  <a:gd name="T3" fmla="*/ 1 h 320"/>
                  <a:gd name="T4" fmla="*/ 31 w 450"/>
                  <a:gd name="T5" fmla="*/ 0 h 320"/>
                  <a:gd name="T6" fmla="*/ 102 w 450"/>
                  <a:gd name="T7" fmla="*/ 0 h 320"/>
                  <a:gd name="T8" fmla="*/ 143 w 450"/>
                  <a:gd name="T9" fmla="*/ 1 h 320"/>
                  <a:gd name="T10" fmla="*/ 180 w 450"/>
                  <a:gd name="T11" fmla="*/ 3 h 320"/>
                  <a:gd name="T12" fmla="*/ 212 w 450"/>
                  <a:gd name="T13" fmla="*/ 7 h 320"/>
                  <a:gd name="T14" fmla="*/ 224 w 450"/>
                  <a:gd name="T15" fmla="*/ 9 h 320"/>
                  <a:gd name="T16" fmla="*/ 232 w 450"/>
                  <a:gd name="T17" fmla="*/ 13 h 320"/>
                  <a:gd name="T18" fmla="*/ 232 w 450"/>
                  <a:gd name="T19" fmla="*/ 13 h 320"/>
                  <a:gd name="T20" fmla="*/ 240 w 450"/>
                  <a:gd name="T21" fmla="*/ 16 h 320"/>
                  <a:gd name="T22" fmla="*/ 249 w 450"/>
                  <a:gd name="T23" fmla="*/ 22 h 320"/>
                  <a:gd name="T24" fmla="*/ 268 w 450"/>
                  <a:gd name="T25" fmla="*/ 39 h 320"/>
                  <a:gd name="T26" fmla="*/ 289 w 450"/>
                  <a:gd name="T27" fmla="*/ 58 h 320"/>
                  <a:gd name="T28" fmla="*/ 310 w 450"/>
                  <a:gd name="T29" fmla="*/ 79 h 320"/>
                  <a:gd name="T30" fmla="*/ 344 w 450"/>
                  <a:gd name="T31" fmla="*/ 116 h 320"/>
                  <a:gd name="T32" fmla="*/ 358 w 450"/>
                  <a:gd name="T33" fmla="*/ 132 h 320"/>
                  <a:gd name="T34" fmla="*/ 358 w 450"/>
                  <a:gd name="T35" fmla="*/ 132 h 320"/>
                  <a:gd name="T36" fmla="*/ 370 w 450"/>
                  <a:gd name="T37" fmla="*/ 134 h 320"/>
                  <a:gd name="T38" fmla="*/ 382 w 450"/>
                  <a:gd name="T39" fmla="*/ 137 h 320"/>
                  <a:gd name="T40" fmla="*/ 397 w 450"/>
                  <a:gd name="T41" fmla="*/ 139 h 320"/>
                  <a:gd name="T42" fmla="*/ 412 w 450"/>
                  <a:gd name="T43" fmla="*/ 144 h 320"/>
                  <a:gd name="T44" fmla="*/ 426 w 450"/>
                  <a:gd name="T45" fmla="*/ 150 h 320"/>
                  <a:gd name="T46" fmla="*/ 432 w 450"/>
                  <a:gd name="T47" fmla="*/ 153 h 320"/>
                  <a:gd name="T48" fmla="*/ 436 w 450"/>
                  <a:gd name="T49" fmla="*/ 157 h 320"/>
                  <a:gd name="T50" fmla="*/ 440 w 450"/>
                  <a:gd name="T51" fmla="*/ 162 h 320"/>
                  <a:gd name="T52" fmla="*/ 442 w 450"/>
                  <a:gd name="T53" fmla="*/ 167 h 320"/>
                  <a:gd name="T54" fmla="*/ 442 w 450"/>
                  <a:gd name="T55" fmla="*/ 167 h 320"/>
                  <a:gd name="T56" fmla="*/ 445 w 450"/>
                  <a:gd name="T57" fmla="*/ 174 h 320"/>
                  <a:gd name="T58" fmla="*/ 446 w 450"/>
                  <a:gd name="T59" fmla="*/ 183 h 320"/>
                  <a:gd name="T60" fmla="*/ 448 w 450"/>
                  <a:gd name="T61" fmla="*/ 206 h 320"/>
                  <a:gd name="T62" fmla="*/ 450 w 450"/>
                  <a:gd name="T63" fmla="*/ 232 h 320"/>
                  <a:gd name="T64" fmla="*/ 450 w 450"/>
                  <a:gd name="T65" fmla="*/ 257 h 320"/>
                  <a:gd name="T66" fmla="*/ 450 w 450"/>
                  <a:gd name="T67" fmla="*/ 301 h 320"/>
                  <a:gd name="T68" fmla="*/ 448 w 450"/>
                  <a:gd name="T69" fmla="*/ 320 h 320"/>
                  <a:gd name="T70" fmla="*/ 0 w 450"/>
                  <a:gd name="T71" fmla="*/ 320 h 320"/>
                  <a:gd name="T72" fmla="*/ 0 w 450"/>
                  <a:gd name="T73" fmla="*/ 1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50" h="320">
                    <a:moveTo>
                      <a:pt x="0" y="1"/>
                    </a:moveTo>
                    <a:lnTo>
                      <a:pt x="0" y="1"/>
                    </a:lnTo>
                    <a:lnTo>
                      <a:pt x="31" y="0"/>
                    </a:lnTo>
                    <a:lnTo>
                      <a:pt x="102" y="0"/>
                    </a:lnTo>
                    <a:lnTo>
                      <a:pt x="143" y="1"/>
                    </a:lnTo>
                    <a:lnTo>
                      <a:pt x="180" y="3"/>
                    </a:lnTo>
                    <a:lnTo>
                      <a:pt x="212" y="7"/>
                    </a:lnTo>
                    <a:lnTo>
                      <a:pt x="224" y="9"/>
                    </a:lnTo>
                    <a:lnTo>
                      <a:pt x="232" y="13"/>
                    </a:lnTo>
                    <a:lnTo>
                      <a:pt x="232" y="13"/>
                    </a:lnTo>
                    <a:lnTo>
                      <a:pt x="240" y="16"/>
                    </a:lnTo>
                    <a:lnTo>
                      <a:pt x="249" y="22"/>
                    </a:lnTo>
                    <a:lnTo>
                      <a:pt x="268" y="39"/>
                    </a:lnTo>
                    <a:lnTo>
                      <a:pt x="289" y="58"/>
                    </a:lnTo>
                    <a:lnTo>
                      <a:pt x="310" y="79"/>
                    </a:lnTo>
                    <a:lnTo>
                      <a:pt x="344" y="116"/>
                    </a:lnTo>
                    <a:lnTo>
                      <a:pt x="358" y="132"/>
                    </a:lnTo>
                    <a:lnTo>
                      <a:pt x="358" y="132"/>
                    </a:lnTo>
                    <a:lnTo>
                      <a:pt x="370" y="134"/>
                    </a:lnTo>
                    <a:lnTo>
                      <a:pt x="382" y="137"/>
                    </a:lnTo>
                    <a:lnTo>
                      <a:pt x="397" y="139"/>
                    </a:lnTo>
                    <a:lnTo>
                      <a:pt x="412" y="144"/>
                    </a:lnTo>
                    <a:lnTo>
                      <a:pt x="426" y="150"/>
                    </a:lnTo>
                    <a:lnTo>
                      <a:pt x="432" y="153"/>
                    </a:lnTo>
                    <a:lnTo>
                      <a:pt x="436" y="157"/>
                    </a:lnTo>
                    <a:lnTo>
                      <a:pt x="440" y="162"/>
                    </a:lnTo>
                    <a:lnTo>
                      <a:pt x="442" y="167"/>
                    </a:lnTo>
                    <a:lnTo>
                      <a:pt x="442" y="167"/>
                    </a:lnTo>
                    <a:lnTo>
                      <a:pt x="445" y="174"/>
                    </a:lnTo>
                    <a:lnTo>
                      <a:pt x="446" y="183"/>
                    </a:lnTo>
                    <a:lnTo>
                      <a:pt x="448" y="206"/>
                    </a:lnTo>
                    <a:lnTo>
                      <a:pt x="450" y="232"/>
                    </a:lnTo>
                    <a:lnTo>
                      <a:pt x="450" y="257"/>
                    </a:lnTo>
                    <a:lnTo>
                      <a:pt x="450" y="301"/>
                    </a:lnTo>
                    <a:lnTo>
                      <a:pt x="448" y="320"/>
                    </a:lnTo>
                    <a:lnTo>
                      <a:pt x="0" y="320"/>
                    </a:lnTo>
                    <a:lnTo>
                      <a:pt x="0" y="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88" name="Freeform 24">
                <a:extLst>
                  <a:ext uri="{FF2B5EF4-FFF2-40B4-BE49-F238E27FC236}">
                    <a16:creationId xmlns:a16="http://schemas.microsoft.com/office/drawing/2014/main" id="{5995B7C6-857D-4CDB-A630-680A73A6C163}"/>
                  </a:ext>
                </a:extLst>
              </p:cNvPr>
              <p:cNvSpPr>
                <a:spLocks/>
              </p:cNvSpPr>
              <p:nvPr/>
            </p:nvSpPr>
            <p:spPr bwMode="auto">
              <a:xfrm>
                <a:off x="1581150" y="346075"/>
                <a:ext cx="95250" cy="52387"/>
              </a:xfrm>
              <a:custGeom>
                <a:avLst/>
                <a:gdLst>
                  <a:gd name="T0" fmla="*/ 0 w 179"/>
                  <a:gd name="T1" fmla="*/ 1 h 100"/>
                  <a:gd name="T2" fmla="*/ 0 w 179"/>
                  <a:gd name="T3" fmla="*/ 1 h 100"/>
                  <a:gd name="T4" fmla="*/ 2 w 179"/>
                  <a:gd name="T5" fmla="*/ 1 h 100"/>
                  <a:gd name="T6" fmla="*/ 11 w 179"/>
                  <a:gd name="T7" fmla="*/ 0 h 100"/>
                  <a:gd name="T8" fmla="*/ 38 w 179"/>
                  <a:gd name="T9" fmla="*/ 2 h 100"/>
                  <a:gd name="T10" fmla="*/ 70 w 179"/>
                  <a:gd name="T11" fmla="*/ 6 h 100"/>
                  <a:gd name="T12" fmla="*/ 84 w 179"/>
                  <a:gd name="T13" fmla="*/ 8 h 100"/>
                  <a:gd name="T14" fmla="*/ 95 w 179"/>
                  <a:gd name="T15" fmla="*/ 12 h 100"/>
                  <a:gd name="T16" fmla="*/ 95 w 179"/>
                  <a:gd name="T17" fmla="*/ 12 h 100"/>
                  <a:gd name="T18" fmla="*/ 103 w 179"/>
                  <a:gd name="T19" fmla="*/ 17 h 100"/>
                  <a:gd name="T20" fmla="*/ 113 w 179"/>
                  <a:gd name="T21" fmla="*/ 23 h 100"/>
                  <a:gd name="T22" fmla="*/ 135 w 179"/>
                  <a:gd name="T23" fmla="*/ 41 h 100"/>
                  <a:gd name="T24" fmla="*/ 154 w 179"/>
                  <a:gd name="T25" fmla="*/ 60 h 100"/>
                  <a:gd name="T26" fmla="*/ 171 w 179"/>
                  <a:gd name="T27" fmla="*/ 78 h 100"/>
                  <a:gd name="T28" fmla="*/ 171 w 179"/>
                  <a:gd name="T29" fmla="*/ 78 h 100"/>
                  <a:gd name="T30" fmla="*/ 178 w 179"/>
                  <a:gd name="T31" fmla="*/ 88 h 100"/>
                  <a:gd name="T32" fmla="*/ 179 w 179"/>
                  <a:gd name="T33" fmla="*/ 91 h 100"/>
                  <a:gd name="T34" fmla="*/ 179 w 179"/>
                  <a:gd name="T35" fmla="*/ 95 h 100"/>
                  <a:gd name="T36" fmla="*/ 178 w 179"/>
                  <a:gd name="T37" fmla="*/ 97 h 100"/>
                  <a:gd name="T38" fmla="*/ 175 w 179"/>
                  <a:gd name="T39" fmla="*/ 98 h 100"/>
                  <a:gd name="T40" fmla="*/ 172 w 179"/>
                  <a:gd name="T41" fmla="*/ 100 h 100"/>
                  <a:gd name="T42" fmla="*/ 166 w 179"/>
                  <a:gd name="T43" fmla="*/ 100 h 100"/>
                  <a:gd name="T44" fmla="*/ 0 w 179"/>
                  <a:gd name="T45" fmla="*/ 100 h 100"/>
                  <a:gd name="T46" fmla="*/ 0 w 179"/>
                  <a:gd name="T47" fmla="*/ 100 h 100"/>
                  <a:gd name="T48" fmla="*/ 0 w 179"/>
                  <a:gd name="T49" fmla="*/ 1 h 100"/>
                  <a:gd name="T50" fmla="*/ 0 w 179"/>
                  <a:gd name="T51" fmla="*/ 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9" h="100">
                    <a:moveTo>
                      <a:pt x="0" y="1"/>
                    </a:moveTo>
                    <a:lnTo>
                      <a:pt x="0" y="1"/>
                    </a:lnTo>
                    <a:lnTo>
                      <a:pt x="2" y="1"/>
                    </a:lnTo>
                    <a:lnTo>
                      <a:pt x="11" y="0"/>
                    </a:lnTo>
                    <a:lnTo>
                      <a:pt x="38" y="2"/>
                    </a:lnTo>
                    <a:lnTo>
                      <a:pt x="70" y="6"/>
                    </a:lnTo>
                    <a:lnTo>
                      <a:pt x="84" y="8"/>
                    </a:lnTo>
                    <a:lnTo>
                      <a:pt x="95" y="12"/>
                    </a:lnTo>
                    <a:lnTo>
                      <a:pt x="95" y="12"/>
                    </a:lnTo>
                    <a:lnTo>
                      <a:pt x="103" y="17"/>
                    </a:lnTo>
                    <a:lnTo>
                      <a:pt x="113" y="23"/>
                    </a:lnTo>
                    <a:lnTo>
                      <a:pt x="135" y="41"/>
                    </a:lnTo>
                    <a:lnTo>
                      <a:pt x="154" y="60"/>
                    </a:lnTo>
                    <a:lnTo>
                      <a:pt x="171" y="78"/>
                    </a:lnTo>
                    <a:lnTo>
                      <a:pt x="171" y="78"/>
                    </a:lnTo>
                    <a:lnTo>
                      <a:pt x="178" y="88"/>
                    </a:lnTo>
                    <a:lnTo>
                      <a:pt x="179" y="91"/>
                    </a:lnTo>
                    <a:lnTo>
                      <a:pt x="179" y="95"/>
                    </a:lnTo>
                    <a:lnTo>
                      <a:pt x="178" y="97"/>
                    </a:lnTo>
                    <a:lnTo>
                      <a:pt x="175" y="98"/>
                    </a:lnTo>
                    <a:lnTo>
                      <a:pt x="172" y="100"/>
                    </a:lnTo>
                    <a:lnTo>
                      <a:pt x="166" y="100"/>
                    </a:lnTo>
                    <a:lnTo>
                      <a:pt x="0" y="100"/>
                    </a:lnTo>
                    <a:lnTo>
                      <a:pt x="0" y="100"/>
                    </a:lnTo>
                    <a:lnTo>
                      <a:pt x="0" y="1"/>
                    </a:lnTo>
                    <a:lnTo>
                      <a:pt x="0" y="1"/>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89" name="Freeform 25">
                <a:extLst>
                  <a:ext uri="{FF2B5EF4-FFF2-40B4-BE49-F238E27FC236}">
                    <a16:creationId xmlns:a16="http://schemas.microsoft.com/office/drawing/2014/main" id="{39745698-5D3A-4509-9B39-1908ECD717C5}"/>
                  </a:ext>
                </a:extLst>
              </p:cNvPr>
              <p:cNvSpPr>
                <a:spLocks/>
              </p:cNvSpPr>
              <p:nvPr/>
            </p:nvSpPr>
            <p:spPr bwMode="auto">
              <a:xfrm>
                <a:off x="1606550" y="452438"/>
                <a:ext cx="93663" cy="92075"/>
              </a:xfrm>
              <a:custGeom>
                <a:avLst/>
                <a:gdLst>
                  <a:gd name="T0" fmla="*/ 176 w 176"/>
                  <a:gd name="T1" fmla="*/ 88 h 174"/>
                  <a:gd name="T2" fmla="*/ 173 w 176"/>
                  <a:gd name="T3" fmla="*/ 104 h 174"/>
                  <a:gd name="T4" fmla="*/ 168 w 176"/>
                  <a:gd name="T5" fmla="*/ 121 h 174"/>
                  <a:gd name="T6" fmla="*/ 160 w 176"/>
                  <a:gd name="T7" fmla="*/ 136 h 174"/>
                  <a:gd name="T8" fmla="*/ 149 w 176"/>
                  <a:gd name="T9" fmla="*/ 149 h 174"/>
                  <a:gd name="T10" fmla="*/ 137 w 176"/>
                  <a:gd name="T11" fmla="*/ 160 h 174"/>
                  <a:gd name="T12" fmla="*/ 122 w 176"/>
                  <a:gd name="T13" fmla="*/ 168 h 174"/>
                  <a:gd name="T14" fmla="*/ 106 w 176"/>
                  <a:gd name="T15" fmla="*/ 173 h 174"/>
                  <a:gd name="T16" fmla="*/ 88 w 176"/>
                  <a:gd name="T17" fmla="*/ 174 h 174"/>
                  <a:gd name="T18" fmla="*/ 80 w 176"/>
                  <a:gd name="T19" fmla="*/ 174 h 174"/>
                  <a:gd name="T20" fmla="*/ 61 w 176"/>
                  <a:gd name="T21" fmla="*/ 171 h 174"/>
                  <a:gd name="T22" fmla="*/ 46 w 176"/>
                  <a:gd name="T23" fmla="*/ 165 h 174"/>
                  <a:gd name="T24" fmla="*/ 33 w 176"/>
                  <a:gd name="T25" fmla="*/ 155 h 174"/>
                  <a:gd name="T26" fmla="*/ 21 w 176"/>
                  <a:gd name="T27" fmla="*/ 143 h 174"/>
                  <a:gd name="T28" fmla="*/ 11 w 176"/>
                  <a:gd name="T29" fmla="*/ 129 h 174"/>
                  <a:gd name="T30" fmla="*/ 5 w 176"/>
                  <a:gd name="T31" fmla="*/ 113 h 174"/>
                  <a:gd name="T32" fmla="*/ 1 w 176"/>
                  <a:gd name="T33" fmla="*/ 96 h 174"/>
                  <a:gd name="T34" fmla="*/ 0 w 176"/>
                  <a:gd name="T35" fmla="*/ 88 h 174"/>
                  <a:gd name="T36" fmla="*/ 3 w 176"/>
                  <a:gd name="T37" fmla="*/ 70 h 174"/>
                  <a:gd name="T38" fmla="*/ 7 w 176"/>
                  <a:gd name="T39" fmla="*/ 53 h 174"/>
                  <a:gd name="T40" fmla="*/ 16 w 176"/>
                  <a:gd name="T41" fmla="*/ 38 h 174"/>
                  <a:gd name="T42" fmla="*/ 27 w 176"/>
                  <a:gd name="T43" fmla="*/ 25 h 174"/>
                  <a:gd name="T44" fmla="*/ 39 w 176"/>
                  <a:gd name="T45" fmla="*/ 16 h 174"/>
                  <a:gd name="T46" fmla="*/ 54 w 176"/>
                  <a:gd name="T47" fmla="*/ 7 h 174"/>
                  <a:gd name="T48" fmla="*/ 70 w 176"/>
                  <a:gd name="T49" fmla="*/ 2 h 174"/>
                  <a:gd name="T50" fmla="*/ 88 w 176"/>
                  <a:gd name="T51" fmla="*/ 0 h 174"/>
                  <a:gd name="T52" fmla="*/ 96 w 176"/>
                  <a:gd name="T53" fmla="*/ 0 h 174"/>
                  <a:gd name="T54" fmla="*/ 114 w 176"/>
                  <a:gd name="T55" fmla="*/ 4 h 174"/>
                  <a:gd name="T56" fmla="*/ 130 w 176"/>
                  <a:gd name="T57" fmla="*/ 11 h 174"/>
                  <a:gd name="T58" fmla="*/ 143 w 176"/>
                  <a:gd name="T59" fmla="*/ 20 h 174"/>
                  <a:gd name="T60" fmla="*/ 155 w 176"/>
                  <a:gd name="T61" fmla="*/ 32 h 174"/>
                  <a:gd name="T62" fmla="*/ 165 w 176"/>
                  <a:gd name="T63" fmla="*/ 46 h 174"/>
                  <a:gd name="T64" fmla="*/ 171 w 176"/>
                  <a:gd name="T65" fmla="*/ 61 h 174"/>
                  <a:gd name="T66" fmla="*/ 174 w 176"/>
                  <a:gd name="T67" fmla="*/ 78 h 174"/>
                  <a:gd name="T68" fmla="*/ 176 w 176"/>
                  <a:gd name="T69"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6" h="174">
                    <a:moveTo>
                      <a:pt x="176" y="88"/>
                    </a:moveTo>
                    <a:lnTo>
                      <a:pt x="176" y="88"/>
                    </a:lnTo>
                    <a:lnTo>
                      <a:pt x="174" y="96"/>
                    </a:lnTo>
                    <a:lnTo>
                      <a:pt x="173" y="104"/>
                    </a:lnTo>
                    <a:lnTo>
                      <a:pt x="171" y="113"/>
                    </a:lnTo>
                    <a:lnTo>
                      <a:pt x="168" y="121"/>
                    </a:lnTo>
                    <a:lnTo>
                      <a:pt x="165" y="129"/>
                    </a:lnTo>
                    <a:lnTo>
                      <a:pt x="160" y="136"/>
                    </a:lnTo>
                    <a:lnTo>
                      <a:pt x="155" y="143"/>
                    </a:lnTo>
                    <a:lnTo>
                      <a:pt x="149" y="149"/>
                    </a:lnTo>
                    <a:lnTo>
                      <a:pt x="143" y="155"/>
                    </a:lnTo>
                    <a:lnTo>
                      <a:pt x="137" y="160"/>
                    </a:lnTo>
                    <a:lnTo>
                      <a:pt x="130" y="165"/>
                    </a:lnTo>
                    <a:lnTo>
                      <a:pt x="122" y="168"/>
                    </a:lnTo>
                    <a:lnTo>
                      <a:pt x="114" y="171"/>
                    </a:lnTo>
                    <a:lnTo>
                      <a:pt x="106" y="173"/>
                    </a:lnTo>
                    <a:lnTo>
                      <a:pt x="96" y="174"/>
                    </a:lnTo>
                    <a:lnTo>
                      <a:pt x="88" y="174"/>
                    </a:lnTo>
                    <a:lnTo>
                      <a:pt x="88" y="174"/>
                    </a:lnTo>
                    <a:lnTo>
                      <a:pt x="80" y="174"/>
                    </a:lnTo>
                    <a:lnTo>
                      <a:pt x="70" y="173"/>
                    </a:lnTo>
                    <a:lnTo>
                      <a:pt x="61" y="171"/>
                    </a:lnTo>
                    <a:lnTo>
                      <a:pt x="54" y="168"/>
                    </a:lnTo>
                    <a:lnTo>
                      <a:pt x="46" y="165"/>
                    </a:lnTo>
                    <a:lnTo>
                      <a:pt x="39" y="160"/>
                    </a:lnTo>
                    <a:lnTo>
                      <a:pt x="33" y="155"/>
                    </a:lnTo>
                    <a:lnTo>
                      <a:pt x="27" y="149"/>
                    </a:lnTo>
                    <a:lnTo>
                      <a:pt x="21" y="143"/>
                    </a:lnTo>
                    <a:lnTo>
                      <a:pt x="16" y="136"/>
                    </a:lnTo>
                    <a:lnTo>
                      <a:pt x="11" y="129"/>
                    </a:lnTo>
                    <a:lnTo>
                      <a:pt x="7" y="121"/>
                    </a:lnTo>
                    <a:lnTo>
                      <a:pt x="5" y="113"/>
                    </a:lnTo>
                    <a:lnTo>
                      <a:pt x="3" y="104"/>
                    </a:lnTo>
                    <a:lnTo>
                      <a:pt x="1" y="96"/>
                    </a:lnTo>
                    <a:lnTo>
                      <a:pt x="0" y="88"/>
                    </a:lnTo>
                    <a:lnTo>
                      <a:pt x="0" y="88"/>
                    </a:lnTo>
                    <a:lnTo>
                      <a:pt x="1" y="78"/>
                    </a:lnTo>
                    <a:lnTo>
                      <a:pt x="3" y="70"/>
                    </a:lnTo>
                    <a:lnTo>
                      <a:pt x="5" y="61"/>
                    </a:lnTo>
                    <a:lnTo>
                      <a:pt x="7" y="53"/>
                    </a:lnTo>
                    <a:lnTo>
                      <a:pt x="11" y="46"/>
                    </a:lnTo>
                    <a:lnTo>
                      <a:pt x="16" y="38"/>
                    </a:lnTo>
                    <a:lnTo>
                      <a:pt x="21" y="32"/>
                    </a:lnTo>
                    <a:lnTo>
                      <a:pt x="27" y="25"/>
                    </a:lnTo>
                    <a:lnTo>
                      <a:pt x="33" y="20"/>
                    </a:lnTo>
                    <a:lnTo>
                      <a:pt x="39" y="16"/>
                    </a:lnTo>
                    <a:lnTo>
                      <a:pt x="46" y="11"/>
                    </a:lnTo>
                    <a:lnTo>
                      <a:pt x="54" y="7"/>
                    </a:lnTo>
                    <a:lnTo>
                      <a:pt x="61" y="4"/>
                    </a:lnTo>
                    <a:lnTo>
                      <a:pt x="70" y="2"/>
                    </a:lnTo>
                    <a:lnTo>
                      <a:pt x="80" y="0"/>
                    </a:lnTo>
                    <a:lnTo>
                      <a:pt x="88" y="0"/>
                    </a:lnTo>
                    <a:lnTo>
                      <a:pt x="88" y="0"/>
                    </a:lnTo>
                    <a:lnTo>
                      <a:pt x="96" y="0"/>
                    </a:lnTo>
                    <a:lnTo>
                      <a:pt x="106" y="2"/>
                    </a:lnTo>
                    <a:lnTo>
                      <a:pt x="114" y="4"/>
                    </a:lnTo>
                    <a:lnTo>
                      <a:pt x="122" y="7"/>
                    </a:lnTo>
                    <a:lnTo>
                      <a:pt x="130" y="11"/>
                    </a:lnTo>
                    <a:lnTo>
                      <a:pt x="137" y="16"/>
                    </a:lnTo>
                    <a:lnTo>
                      <a:pt x="143" y="20"/>
                    </a:lnTo>
                    <a:lnTo>
                      <a:pt x="149" y="25"/>
                    </a:lnTo>
                    <a:lnTo>
                      <a:pt x="155" y="32"/>
                    </a:lnTo>
                    <a:lnTo>
                      <a:pt x="160" y="38"/>
                    </a:lnTo>
                    <a:lnTo>
                      <a:pt x="165" y="46"/>
                    </a:lnTo>
                    <a:lnTo>
                      <a:pt x="168" y="53"/>
                    </a:lnTo>
                    <a:lnTo>
                      <a:pt x="171" y="61"/>
                    </a:lnTo>
                    <a:lnTo>
                      <a:pt x="173" y="70"/>
                    </a:lnTo>
                    <a:lnTo>
                      <a:pt x="174" y="78"/>
                    </a:lnTo>
                    <a:lnTo>
                      <a:pt x="176" y="88"/>
                    </a:lnTo>
                    <a:lnTo>
                      <a:pt x="176"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90" name="Freeform 26">
                <a:extLst>
                  <a:ext uri="{FF2B5EF4-FFF2-40B4-BE49-F238E27FC236}">
                    <a16:creationId xmlns:a16="http://schemas.microsoft.com/office/drawing/2014/main" id="{A3754245-EED9-4980-809B-9AC3AF18CBEF}"/>
                  </a:ext>
                </a:extLst>
              </p:cNvPr>
              <p:cNvSpPr>
                <a:spLocks/>
              </p:cNvSpPr>
              <p:nvPr/>
            </p:nvSpPr>
            <p:spPr bwMode="auto">
              <a:xfrm>
                <a:off x="1612900" y="458788"/>
                <a:ext cx="80963" cy="80962"/>
              </a:xfrm>
              <a:custGeom>
                <a:avLst/>
                <a:gdLst>
                  <a:gd name="T0" fmla="*/ 154 w 154"/>
                  <a:gd name="T1" fmla="*/ 77 h 152"/>
                  <a:gd name="T2" fmla="*/ 154 w 154"/>
                  <a:gd name="T3" fmla="*/ 77 h 152"/>
                  <a:gd name="T4" fmla="*/ 153 w 154"/>
                  <a:gd name="T5" fmla="*/ 84 h 152"/>
                  <a:gd name="T6" fmla="*/ 153 w 154"/>
                  <a:gd name="T7" fmla="*/ 92 h 152"/>
                  <a:gd name="T8" fmla="*/ 150 w 154"/>
                  <a:gd name="T9" fmla="*/ 99 h 152"/>
                  <a:gd name="T10" fmla="*/ 148 w 154"/>
                  <a:gd name="T11" fmla="*/ 107 h 152"/>
                  <a:gd name="T12" fmla="*/ 144 w 154"/>
                  <a:gd name="T13" fmla="*/ 113 h 152"/>
                  <a:gd name="T14" fmla="*/ 141 w 154"/>
                  <a:gd name="T15" fmla="*/ 119 h 152"/>
                  <a:gd name="T16" fmla="*/ 131 w 154"/>
                  <a:gd name="T17" fmla="*/ 131 h 152"/>
                  <a:gd name="T18" fmla="*/ 120 w 154"/>
                  <a:gd name="T19" fmla="*/ 140 h 152"/>
                  <a:gd name="T20" fmla="*/ 113 w 154"/>
                  <a:gd name="T21" fmla="*/ 144 h 152"/>
                  <a:gd name="T22" fmla="*/ 107 w 154"/>
                  <a:gd name="T23" fmla="*/ 146 h 152"/>
                  <a:gd name="T24" fmla="*/ 100 w 154"/>
                  <a:gd name="T25" fmla="*/ 150 h 152"/>
                  <a:gd name="T26" fmla="*/ 93 w 154"/>
                  <a:gd name="T27" fmla="*/ 151 h 152"/>
                  <a:gd name="T28" fmla="*/ 85 w 154"/>
                  <a:gd name="T29" fmla="*/ 152 h 152"/>
                  <a:gd name="T30" fmla="*/ 77 w 154"/>
                  <a:gd name="T31" fmla="*/ 152 h 152"/>
                  <a:gd name="T32" fmla="*/ 77 w 154"/>
                  <a:gd name="T33" fmla="*/ 152 h 152"/>
                  <a:gd name="T34" fmla="*/ 70 w 154"/>
                  <a:gd name="T35" fmla="*/ 152 h 152"/>
                  <a:gd name="T36" fmla="*/ 61 w 154"/>
                  <a:gd name="T37" fmla="*/ 151 h 152"/>
                  <a:gd name="T38" fmla="*/ 54 w 154"/>
                  <a:gd name="T39" fmla="*/ 150 h 152"/>
                  <a:gd name="T40" fmla="*/ 47 w 154"/>
                  <a:gd name="T41" fmla="*/ 146 h 152"/>
                  <a:gd name="T42" fmla="*/ 41 w 154"/>
                  <a:gd name="T43" fmla="*/ 144 h 152"/>
                  <a:gd name="T44" fmla="*/ 34 w 154"/>
                  <a:gd name="T45" fmla="*/ 140 h 152"/>
                  <a:gd name="T46" fmla="*/ 23 w 154"/>
                  <a:gd name="T47" fmla="*/ 131 h 152"/>
                  <a:gd name="T48" fmla="*/ 13 w 154"/>
                  <a:gd name="T49" fmla="*/ 119 h 152"/>
                  <a:gd name="T50" fmla="*/ 10 w 154"/>
                  <a:gd name="T51" fmla="*/ 113 h 152"/>
                  <a:gd name="T52" fmla="*/ 6 w 154"/>
                  <a:gd name="T53" fmla="*/ 107 h 152"/>
                  <a:gd name="T54" fmla="*/ 4 w 154"/>
                  <a:gd name="T55" fmla="*/ 99 h 152"/>
                  <a:gd name="T56" fmla="*/ 2 w 154"/>
                  <a:gd name="T57" fmla="*/ 92 h 152"/>
                  <a:gd name="T58" fmla="*/ 1 w 154"/>
                  <a:gd name="T59" fmla="*/ 84 h 152"/>
                  <a:gd name="T60" fmla="*/ 0 w 154"/>
                  <a:gd name="T61" fmla="*/ 77 h 152"/>
                  <a:gd name="T62" fmla="*/ 0 w 154"/>
                  <a:gd name="T63" fmla="*/ 77 h 152"/>
                  <a:gd name="T64" fmla="*/ 1 w 154"/>
                  <a:gd name="T65" fmla="*/ 68 h 152"/>
                  <a:gd name="T66" fmla="*/ 2 w 154"/>
                  <a:gd name="T67" fmla="*/ 61 h 152"/>
                  <a:gd name="T68" fmla="*/ 4 w 154"/>
                  <a:gd name="T69" fmla="*/ 54 h 152"/>
                  <a:gd name="T70" fmla="*/ 6 w 154"/>
                  <a:gd name="T71" fmla="*/ 47 h 152"/>
                  <a:gd name="T72" fmla="*/ 10 w 154"/>
                  <a:gd name="T73" fmla="*/ 39 h 152"/>
                  <a:gd name="T74" fmla="*/ 13 w 154"/>
                  <a:gd name="T75" fmla="*/ 33 h 152"/>
                  <a:gd name="T76" fmla="*/ 23 w 154"/>
                  <a:gd name="T77" fmla="*/ 23 h 152"/>
                  <a:gd name="T78" fmla="*/ 34 w 154"/>
                  <a:gd name="T79" fmla="*/ 13 h 152"/>
                  <a:gd name="T80" fmla="*/ 41 w 154"/>
                  <a:gd name="T81" fmla="*/ 9 h 152"/>
                  <a:gd name="T82" fmla="*/ 47 w 154"/>
                  <a:gd name="T83" fmla="*/ 6 h 152"/>
                  <a:gd name="T84" fmla="*/ 54 w 154"/>
                  <a:gd name="T85" fmla="*/ 3 h 152"/>
                  <a:gd name="T86" fmla="*/ 61 w 154"/>
                  <a:gd name="T87" fmla="*/ 1 h 152"/>
                  <a:gd name="T88" fmla="*/ 70 w 154"/>
                  <a:gd name="T89" fmla="*/ 0 h 152"/>
                  <a:gd name="T90" fmla="*/ 77 w 154"/>
                  <a:gd name="T91" fmla="*/ 0 h 152"/>
                  <a:gd name="T92" fmla="*/ 77 w 154"/>
                  <a:gd name="T93" fmla="*/ 0 h 152"/>
                  <a:gd name="T94" fmla="*/ 85 w 154"/>
                  <a:gd name="T95" fmla="*/ 0 h 152"/>
                  <a:gd name="T96" fmla="*/ 93 w 154"/>
                  <a:gd name="T97" fmla="*/ 1 h 152"/>
                  <a:gd name="T98" fmla="*/ 100 w 154"/>
                  <a:gd name="T99" fmla="*/ 3 h 152"/>
                  <a:gd name="T100" fmla="*/ 107 w 154"/>
                  <a:gd name="T101" fmla="*/ 6 h 152"/>
                  <a:gd name="T102" fmla="*/ 113 w 154"/>
                  <a:gd name="T103" fmla="*/ 9 h 152"/>
                  <a:gd name="T104" fmla="*/ 120 w 154"/>
                  <a:gd name="T105" fmla="*/ 13 h 152"/>
                  <a:gd name="T106" fmla="*/ 131 w 154"/>
                  <a:gd name="T107" fmla="*/ 23 h 152"/>
                  <a:gd name="T108" fmla="*/ 141 w 154"/>
                  <a:gd name="T109" fmla="*/ 33 h 152"/>
                  <a:gd name="T110" fmla="*/ 144 w 154"/>
                  <a:gd name="T111" fmla="*/ 39 h 152"/>
                  <a:gd name="T112" fmla="*/ 148 w 154"/>
                  <a:gd name="T113" fmla="*/ 47 h 152"/>
                  <a:gd name="T114" fmla="*/ 150 w 154"/>
                  <a:gd name="T115" fmla="*/ 54 h 152"/>
                  <a:gd name="T116" fmla="*/ 153 w 154"/>
                  <a:gd name="T117" fmla="*/ 61 h 152"/>
                  <a:gd name="T118" fmla="*/ 153 w 154"/>
                  <a:gd name="T119" fmla="*/ 68 h 152"/>
                  <a:gd name="T120" fmla="*/ 154 w 154"/>
                  <a:gd name="T121" fmla="*/ 77 h 152"/>
                  <a:gd name="T122" fmla="*/ 154 w 154"/>
                  <a:gd name="T123" fmla="*/ 7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4" h="152">
                    <a:moveTo>
                      <a:pt x="154" y="77"/>
                    </a:moveTo>
                    <a:lnTo>
                      <a:pt x="154" y="77"/>
                    </a:lnTo>
                    <a:lnTo>
                      <a:pt x="153" y="84"/>
                    </a:lnTo>
                    <a:lnTo>
                      <a:pt x="153" y="92"/>
                    </a:lnTo>
                    <a:lnTo>
                      <a:pt x="150" y="99"/>
                    </a:lnTo>
                    <a:lnTo>
                      <a:pt x="148" y="107"/>
                    </a:lnTo>
                    <a:lnTo>
                      <a:pt x="144" y="113"/>
                    </a:lnTo>
                    <a:lnTo>
                      <a:pt x="141" y="119"/>
                    </a:lnTo>
                    <a:lnTo>
                      <a:pt x="131" y="131"/>
                    </a:lnTo>
                    <a:lnTo>
                      <a:pt x="120" y="140"/>
                    </a:lnTo>
                    <a:lnTo>
                      <a:pt x="113" y="144"/>
                    </a:lnTo>
                    <a:lnTo>
                      <a:pt x="107" y="146"/>
                    </a:lnTo>
                    <a:lnTo>
                      <a:pt x="100" y="150"/>
                    </a:lnTo>
                    <a:lnTo>
                      <a:pt x="93" y="151"/>
                    </a:lnTo>
                    <a:lnTo>
                      <a:pt x="85" y="152"/>
                    </a:lnTo>
                    <a:lnTo>
                      <a:pt x="77" y="152"/>
                    </a:lnTo>
                    <a:lnTo>
                      <a:pt x="77" y="152"/>
                    </a:lnTo>
                    <a:lnTo>
                      <a:pt x="70" y="152"/>
                    </a:lnTo>
                    <a:lnTo>
                      <a:pt x="61" y="151"/>
                    </a:lnTo>
                    <a:lnTo>
                      <a:pt x="54" y="150"/>
                    </a:lnTo>
                    <a:lnTo>
                      <a:pt x="47" y="146"/>
                    </a:lnTo>
                    <a:lnTo>
                      <a:pt x="41" y="144"/>
                    </a:lnTo>
                    <a:lnTo>
                      <a:pt x="34" y="140"/>
                    </a:lnTo>
                    <a:lnTo>
                      <a:pt x="23" y="131"/>
                    </a:lnTo>
                    <a:lnTo>
                      <a:pt x="13" y="119"/>
                    </a:lnTo>
                    <a:lnTo>
                      <a:pt x="10" y="113"/>
                    </a:lnTo>
                    <a:lnTo>
                      <a:pt x="6" y="107"/>
                    </a:lnTo>
                    <a:lnTo>
                      <a:pt x="4" y="99"/>
                    </a:lnTo>
                    <a:lnTo>
                      <a:pt x="2" y="92"/>
                    </a:lnTo>
                    <a:lnTo>
                      <a:pt x="1" y="84"/>
                    </a:lnTo>
                    <a:lnTo>
                      <a:pt x="0" y="77"/>
                    </a:lnTo>
                    <a:lnTo>
                      <a:pt x="0" y="77"/>
                    </a:lnTo>
                    <a:lnTo>
                      <a:pt x="1" y="68"/>
                    </a:lnTo>
                    <a:lnTo>
                      <a:pt x="2" y="61"/>
                    </a:lnTo>
                    <a:lnTo>
                      <a:pt x="4" y="54"/>
                    </a:lnTo>
                    <a:lnTo>
                      <a:pt x="6" y="47"/>
                    </a:lnTo>
                    <a:lnTo>
                      <a:pt x="10" y="39"/>
                    </a:lnTo>
                    <a:lnTo>
                      <a:pt x="13" y="33"/>
                    </a:lnTo>
                    <a:lnTo>
                      <a:pt x="23" y="23"/>
                    </a:lnTo>
                    <a:lnTo>
                      <a:pt x="34" y="13"/>
                    </a:lnTo>
                    <a:lnTo>
                      <a:pt x="41" y="9"/>
                    </a:lnTo>
                    <a:lnTo>
                      <a:pt x="47" y="6"/>
                    </a:lnTo>
                    <a:lnTo>
                      <a:pt x="54" y="3"/>
                    </a:lnTo>
                    <a:lnTo>
                      <a:pt x="61" y="1"/>
                    </a:lnTo>
                    <a:lnTo>
                      <a:pt x="70" y="0"/>
                    </a:lnTo>
                    <a:lnTo>
                      <a:pt x="77" y="0"/>
                    </a:lnTo>
                    <a:lnTo>
                      <a:pt x="77" y="0"/>
                    </a:lnTo>
                    <a:lnTo>
                      <a:pt x="85" y="0"/>
                    </a:lnTo>
                    <a:lnTo>
                      <a:pt x="93" y="1"/>
                    </a:lnTo>
                    <a:lnTo>
                      <a:pt x="100" y="3"/>
                    </a:lnTo>
                    <a:lnTo>
                      <a:pt x="107" y="6"/>
                    </a:lnTo>
                    <a:lnTo>
                      <a:pt x="113" y="9"/>
                    </a:lnTo>
                    <a:lnTo>
                      <a:pt x="120" y="13"/>
                    </a:lnTo>
                    <a:lnTo>
                      <a:pt x="131" y="23"/>
                    </a:lnTo>
                    <a:lnTo>
                      <a:pt x="141" y="33"/>
                    </a:lnTo>
                    <a:lnTo>
                      <a:pt x="144" y="39"/>
                    </a:lnTo>
                    <a:lnTo>
                      <a:pt x="148" y="47"/>
                    </a:lnTo>
                    <a:lnTo>
                      <a:pt x="150" y="54"/>
                    </a:lnTo>
                    <a:lnTo>
                      <a:pt x="153" y="61"/>
                    </a:lnTo>
                    <a:lnTo>
                      <a:pt x="153" y="68"/>
                    </a:lnTo>
                    <a:lnTo>
                      <a:pt x="154" y="77"/>
                    </a:lnTo>
                    <a:lnTo>
                      <a:pt x="154" y="7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91" name="Freeform 27">
                <a:extLst>
                  <a:ext uri="{FF2B5EF4-FFF2-40B4-BE49-F238E27FC236}">
                    <a16:creationId xmlns:a16="http://schemas.microsoft.com/office/drawing/2014/main" id="{16D807C6-CFA8-46C9-A411-F6AF1FCC50D6}"/>
                  </a:ext>
                </a:extLst>
              </p:cNvPr>
              <p:cNvSpPr>
                <a:spLocks/>
              </p:cNvSpPr>
              <p:nvPr/>
            </p:nvSpPr>
            <p:spPr bwMode="auto">
              <a:xfrm>
                <a:off x="1630363" y="476250"/>
                <a:ext cx="46038" cy="46037"/>
              </a:xfrm>
              <a:custGeom>
                <a:avLst/>
                <a:gdLst>
                  <a:gd name="T0" fmla="*/ 86 w 86"/>
                  <a:gd name="T1" fmla="*/ 45 h 88"/>
                  <a:gd name="T2" fmla="*/ 86 w 86"/>
                  <a:gd name="T3" fmla="*/ 45 h 88"/>
                  <a:gd name="T4" fmla="*/ 86 w 86"/>
                  <a:gd name="T5" fmla="*/ 53 h 88"/>
                  <a:gd name="T6" fmla="*/ 84 w 86"/>
                  <a:gd name="T7" fmla="*/ 61 h 88"/>
                  <a:gd name="T8" fmla="*/ 79 w 86"/>
                  <a:gd name="T9" fmla="*/ 69 h 88"/>
                  <a:gd name="T10" fmla="*/ 74 w 86"/>
                  <a:gd name="T11" fmla="*/ 75 h 88"/>
                  <a:gd name="T12" fmla="*/ 67 w 86"/>
                  <a:gd name="T13" fmla="*/ 81 h 88"/>
                  <a:gd name="T14" fmla="*/ 60 w 86"/>
                  <a:gd name="T15" fmla="*/ 84 h 88"/>
                  <a:gd name="T16" fmla="*/ 51 w 86"/>
                  <a:gd name="T17" fmla="*/ 87 h 88"/>
                  <a:gd name="T18" fmla="*/ 43 w 86"/>
                  <a:gd name="T19" fmla="*/ 88 h 88"/>
                  <a:gd name="T20" fmla="*/ 43 w 86"/>
                  <a:gd name="T21" fmla="*/ 88 h 88"/>
                  <a:gd name="T22" fmla="*/ 35 w 86"/>
                  <a:gd name="T23" fmla="*/ 87 h 88"/>
                  <a:gd name="T24" fmla="*/ 26 w 86"/>
                  <a:gd name="T25" fmla="*/ 84 h 88"/>
                  <a:gd name="T26" fmla="*/ 19 w 86"/>
                  <a:gd name="T27" fmla="*/ 81 h 88"/>
                  <a:gd name="T28" fmla="*/ 12 w 86"/>
                  <a:gd name="T29" fmla="*/ 75 h 88"/>
                  <a:gd name="T30" fmla="*/ 7 w 86"/>
                  <a:gd name="T31" fmla="*/ 69 h 88"/>
                  <a:gd name="T32" fmla="*/ 3 w 86"/>
                  <a:gd name="T33" fmla="*/ 61 h 88"/>
                  <a:gd name="T34" fmla="*/ 1 w 86"/>
                  <a:gd name="T35" fmla="*/ 53 h 88"/>
                  <a:gd name="T36" fmla="*/ 0 w 86"/>
                  <a:gd name="T37" fmla="*/ 45 h 88"/>
                  <a:gd name="T38" fmla="*/ 0 w 86"/>
                  <a:gd name="T39" fmla="*/ 45 h 88"/>
                  <a:gd name="T40" fmla="*/ 1 w 86"/>
                  <a:gd name="T41" fmla="*/ 35 h 88"/>
                  <a:gd name="T42" fmla="*/ 3 w 86"/>
                  <a:gd name="T43" fmla="*/ 28 h 88"/>
                  <a:gd name="T44" fmla="*/ 7 w 86"/>
                  <a:gd name="T45" fmla="*/ 19 h 88"/>
                  <a:gd name="T46" fmla="*/ 12 w 86"/>
                  <a:gd name="T47" fmla="*/ 13 h 88"/>
                  <a:gd name="T48" fmla="*/ 19 w 86"/>
                  <a:gd name="T49" fmla="*/ 9 h 88"/>
                  <a:gd name="T50" fmla="*/ 26 w 86"/>
                  <a:gd name="T51" fmla="*/ 4 h 88"/>
                  <a:gd name="T52" fmla="*/ 35 w 86"/>
                  <a:gd name="T53" fmla="*/ 1 h 88"/>
                  <a:gd name="T54" fmla="*/ 43 w 86"/>
                  <a:gd name="T55" fmla="*/ 0 h 88"/>
                  <a:gd name="T56" fmla="*/ 43 w 86"/>
                  <a:gd name="T57" fmla="*/ 0 h 88"/>
                  <a:gd name="T58" fmla="*/ 51 w 86"/>
                  <a:gd name="T59" fmla="*/ 1 h 88"/>
                  <a:gd name="T60" fmla="*/ 60 w 86"/>
                  <a:gd name="T61" fmla="*/ 4 h 88"/>
                  <a:gd name="T62" fmla="*/ 67 w 86"/>
                  <a:gd name="T63" fmla="*/ 9 h 88"/>
                  <a:gd name="T64" fmla="*/ 74 w 86"/>
                  <a:gd name="T65" fmla="*/ 13 h 88"/>
                  <a:gd name="T66" fmla="*/ 79 w 86"/>
                  <a:gd name="T67" fmla="*/ 19 h 88"/>
                  <a:gd name="T68" fmla="*/ 84 w 86"/>
                  <a:gd name="T69" fmla="*/ 28 h 88"/>
                  <a:gd name="T70" fmla="*/ 86 w 86"/>
                  <a:gd name="T71" fmla="*/ 35 h 88"/>
                  <a:gd name="T72" fmla="*/ 86 w 86"/>
                  <a:gd name="T73" fmla="*/ 45 h 88"/>
                  <a:gd name="T74" fmla="*/ 86 w 86"/>
                  <a:gd name="T75"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6" h="88">
                    <a:moveTo>
                      <a:pt x="86" y="45"/>
                    </a:moveTo>
                    <a:lnTo>
                      <a:pt x="86" y="45"/>
                    </a:lnTo>
                    <a:lnTo>
                      <a:pt x="86" y="53"/>
                    </a:lnTo>
                    <a:lnTo>
                      <a:pt x="84" y="61"/>
                    </a:lnTo>
                    <a:lnTo>
                      <a:pt x="79" y="69"/>
                    </a:lnTo>
                    <a:lnTo>
                      <a:pt x="74" y="75"/>
                    </a:lnTo>
                    <a:lnTo>
                      <a:pt x="67" y="81"/>
                    </a:lnTo>
                    <a:lnTo>
                      <a:pt x="60" y="84"/>
                    </a:lnTo>
                    <a:lnTo>
                      <a:pt x="51" y="87"/>
                    </a:lnTo>
                    <a:lnTo>
                      <a:pt x="43" y="88"/>
                    </a:lnTo>
                    <a:lnTo>
                      <a:pt x="43" y="88"/>
                    </a:lnTo>
                    <a:lnTo>
                      <a:pt x="35" y="87"/>
                    </a:lnTo>
                    <a:lnTo>
                      <a:pt x="26" y="84"/>
                    </a:lnTo>
                    <a:lnTo>
                      <a:pt x="19" y="81"/>
                    </a:lnTo>
                    <a:lnTo>
                      <a:pt x="12" y="75"/>
                    </a:lnTo>
                    <a:lnTo>
                      <a:pt x="7" y="69"/>
                    </a:lnTo>
                    <a:lnTo>
                      <a:pt x="3" y="61"/>
                    </a:lnTo>
                    <a:lnTo>
                      <a:pt x="1" y="53"/>
                    </a:lnTo>
                    <a:lnTo>
                      <a:pt x="0" y="45"/>
                    </a:lnTo>
                    <a:lnTo>
                      <a:pt x="0" y="45"/>
                    </a:lnTo>
                    <a:lnTo>
                      <a:pt x="1" y="35"/>
                    </a:lnTo>
                    <a:lnTo>
                      <a:pt x="3" y="28"/>
                    </a:lnTo>
                    <a:lnTo>
                      <a:pt x="7" y="19"/>
                    </a:lnTo>
                    <a:lnTo>
                      <a:pt x="12" y="13"/>
                    </a:lnTo>
                    <a:lnTo>
                      <a:pt x="19" y="9"/>
                    </a:lnTo>
                    <a:lnTo>
                      <a:pt x="26" y="4"/>
                    </a:lnTo>
                    <a:lnTo>
                      <a:pt x="35" y="1"/>
                    </a:lnTo>
                    <a:lnTo>
                      <a:pt x="43" y="0"/>
                    </a:lnTo>
                    <a:lnTo>
                      <a:pt x="43" y="0"/>
                    </a:lnTo>
                    <a:lnTo>
                      <a:pt x="51" y="1"/>
                    </a:lnTo>
                    <a:lnTo>
                      <a:pt x="60" y="4"/>
                    </a:lnTo>
                    <a:lnTo>
                      <a:pt x="67" y="9"/>
                    </a:lnTo>
                    <a:lnTo>
                      <a:pt x="74" y="13"/>
                    </a:lnTo>
                    <a:lnTo>
                      <a:pt x="79" y="19"/>
                    </a:lnTo>
                    <a:lnTo>
                      <a:pt x="84" y="28"/>
                    </a:lnTo>
                    <a:lnTo>
                      <a:pt x="86" y="35"/>
                    </a:lnTo>
                    <a:lnTo>
                      <a:pt x="86" y="45"/>
                    </a:lnTo>
                    <a:lnTo>
                      <a:pt x="86" y="4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92" name="Freeform 28">
                <a:extLst>
                  <a:ext uri="{FF2B5EF4-FFF2-40B4-BE49-F238E27FC236}">
                    <a16:creationId xmlns:a16="http://schemas.microsoft.com/office/drawing/2014/main" id="{27E60C9F-F7DA-4FE2-87F2-8BDACEFCD02D}"/>
                  </a:ext>
                </a:extLst>
              </p:cNvPr>
              <p:cNvSpPr>
                <a:spLocks/>
              </p:cNvSpPr>
              <p:nvPr/>
            </p:nvSpPr>
            <p:spPr bwMode="auto">
              <a:xfrm>
                <a:off x="1341438" y="452438"/>
                <a:ext cx="92075" cy="92075"/>
              </a:xfrm>
              <a:custGeom>
                <a:avLst/>
                <a:gdLst>
                  <a:gd name="T0" fmla="*/ 174 w 174"/>
                  <a:gd name="T1" fmla="*/ 88 h 174"/>
                  <a:gd name="T2" fmla="*/ 172 w 174"/>
                  <a:gd name="T3" fmla="*/ 104 h 174"/>
                  <a:gd name="T4" fmla="*/ 167 w 174"/>
                  <a:gd name="T5" fmla="*/ 121 h 174"/>
                  <a:gd name="T6" fmla="*/ 158 w 174"/>
                  <a:gd name="T7" fmla="*/ 136 h 174"/>
                  <a:gd name="T8" fmla="*/ 149 w 174"/>
                  <a:gd name="T9" fmla="*/ 149 h 174"/>
                  <a:gd name="T10" fmla="*/ 136 w 174"/>
                  <a:gd name="T11" fmla="*/ 160 h 174"/>
                  <a:gd name="T12" fmla="*/ 121 w 174"/>
                  <a:gd name="T13" fmla="*/ 168 h 174"/>
                  <a:gd name="T14" fmla="*/ 104 w 174"/>
                  <a:gd name="T15" fmla="*/ 173 h 174"/>
                  <a:gd name="T16" fmla="*/ 86 w 174"/>
                  <a:gd name="T17" fmla="*/ 174 h 174"/>
                  <a:gd name="T18" fmla="*/ 78 w 174"/>
                  <a:gd name="T19" fmla="*/ 174 h 174"/>
                  <a:gd name="T20" fmla="*/ 61 w 174"/>
                  <a:gd name="T21" fmla="*/ 171 h 174"/>
                  <a:gd name="T22" fmla="*/ 45 w 174"/>
                  <a:gd name="T23" fmla="*/ 165 h 174"/>
                  <a:gd name="T24" fmla="*/ 31 w 174"/>
                  <a:gd name="T25" fmla="*/ 155 h 174"/>
                  <a:gd name="T26" fmla="*/ 19 w 174"/>
                  <a:gd name="T27" fmla="*/ 143 h 174"/>
                  <a:gd name="T28" fmla="*/ 9 w 174"/>
                  <a:gd name="T29" fmla="*/ 129 h 174"/>
                  <a:gd name="T30" fmla="*/ 3 w 174"/>
                  <a:gd name="T31" fmla="*/ 113 h 174"/>
                  <a:gd name="T32" fmla="*/ 0 w 174"/>
                  <a:gd name="T33" fmla="*/ 96 h 174"/>
                  <a:gd name="T34" fmla="*/ 0 w 174"/>
                  <a:gd name="T35" fmla="*/ 88 h 174"/>
                  <a:gd name="T36" fmla="*/ 1 w 174"/>
                  <a:gd name="T37" fmla="*/ 70 h 174"/>
                  <a:gd name="T38" fmla="*/ 6 w 174"/>
                  <a:gd name="T39" fmla="*/ 53 h 174"/>
                  <a:gd name="T40" fmla="*/ 14 w 174"/>
                  <a:gd name="T41" fmla="*/ 38 h 174"/>
                  <a:gd name="T42" fmla="*/ 25 w 174"/>
                  <a:gd name="T43" fmla="*/ 25 h 174"/>
                  <a:gd name="T44" fmla="*/ 38 w 174"/>
                  <a:gd name="T45" fmla="*/ 16 h 174"/>
                  <a:gd name="T46" fmla="*/ 53 w 174"/>
                  <a:gd name="T47" fmla="*/ 7 h 174"/>
                  <a:gd name="T48" fmla="*/ 70 w 174"/>
                  <a:gd name="T49" fmla="*/ 2 h 174"/>
                  <a:gd name="T50" fmla="*/ 86 w 174"/>
                  <a:gd name="T51" fmla="*/ 0 h 174"/>
                  <a:gd name="T52" fmla="*/ 96 w 174"/>
                  <a:gd name="T53" fmla="*/ 0 h 174"/>
                  <a:gd name="T54" fmla="*/ 113 w 174"/>
                  <a:gd name="T55" fmla="*/ 4 h 174"/>
                  <a:gd name="T56" fmla="*/ 128 w 174"/>
                  <a:gd name="T57" fmla="*/ 11 h 174"/>
                  <a:gd name="T58" fmla="*/ 142 w 174"/>
                  <a:gd name="T59" fmla="*/ 20 h 174"/>
                  <a:gd name="T60" fmla="*/ 154 w 174"/>
                  <a:gd name="T61" fmla="*/ 32 h 174"/>
                  <a:gd name="T62" fmla="*/ 163 w 174"/>
                  <a:gd name="T63" fmla="*/ 46 h 174"/>
                  <a:gd name="T64" fmla="*/ 170 w 174"/>
                  <a:gd name="T65" fmla="*/ 61 h 174"/>
                  <a:gd name="T66" fmla="*/ 174 w 174"/>
                  <a:gd name="T67" fmla="*/ 78 h 174"/>
                  <a:gd name="T68" fmla="*/ 174 w 174"/>
                  <a:gd name="T69" fmla="*/ 8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74" h="174">
                    <a:moveTo>
                      <a:pt x="174" y="88"/>
                    </a:moveTo>
                    <a:lnTo>
                      <a:pt x="174" y="88"/>
                    </a:lnTo>
                    <a:lnTo>
                      <a:pt x="174" y="96"/>
                    </a:lnTo>
                    <a:lnTo>
                      <a:pt x="172" y="104"/>
                    </a:lnTo>
                    <a:lnTo>
                      <a:pt x="170" y="113"/>
                    </a:lnTo>
                    <a:lnTo>
                      <a:pt x="167" y="121"/>
                    </a:lnTo>
                    <a:lnTo>
                      <a:pt x="163" y="129"/>
                    </a:lnTo>
                    <a:lnTo>
                      <a:pt x="158" y="136"/>
                    </a:lnTo>
                    <a:lnTo>
                      <a:pt x="154" y="143"/>
                    </a:lnTo>
                    <a:lnTo>
                      <a:pt x="149" y="149"/>
                    </a:lnTo>
                    <a:lnTo>
                      <a:pt x="142" y="155"/>
                    </a:lnTo>
                    <a:lnTo>
                      <a:pt x="136" y="160"/>
                    </a:lnTo>
                    <a:lnTo>
                      <a:pt x="128" y="165"/>
                    </a:lnTo>
                    <a:lnTo>
                      <a:pt x="121" y="168"/>
                    </a:lnTo>
                    <a:lnTo>
                      <a:pt x="113" y="171"/>
                    </a:lnTo>
                    <a:lnTo>
                      <a:pt x="104" y="173"/>
                    </a:lnTo>
                    <a:lnTo>
                      <a:pt x="96" y="174"/>
                    </a:lnTo>
                    <a:lnTo>
                      <a:pt x="86" y="174"/>
                    </a:lnTo>
                    <a:lnTo>
                      <a:pt x="86" y="174"/>
                    </a:lnTo>
                    <a:lnTo>
                      <a:pt x="78" y="174"/>
                    </a:lnTo>
                    <a:lnTo>
                      <a:pt x="70" y="173"/>
                    </a:lnTo>
                    <a:lnTo>
                      <a:pt x="61" y="171"/>
                    </a:lnTo>
                    <a:lnTo>
                      <a:pt x="53" y="168"/>
                    </a:lnTo>
                    <a:lnTo>
                      <a:pt x="45" y="165"/>
                    </a:lnTo>
                    <a:lnTo>
                      <a:pt x="38" y="160"/>
                    </a:lnTo>
                    <a:lnTo>
                      <a:pt x="31" y="155"/>
                    </a:lnTo>
                    <a:lnTo>
                      <a:pt x="25" y="149"/>
                    </a:lnTo>
                    <a:lnTo>
                      <a:pt x="19" y="143"/>
                    </a:lnTo>
                    <a:lnTo>
                      <a:pt x="14" y="136"/>
                    </a:lnTo>
                    <a:lnTo>
                      <a:pt x="9" y="129"/>
                    </a:lnTo>
                    <a:lnTo>
                      <a:pt x="6" y="121"/>
                    </a:lnTo>
                    <a:lnTo>
                      <a:pt x="3" y="113"/>
                    </a:lnTo>
                    <a:lnTo>
                      <a:pt x="1" y="104"/>
                    </a:lnTo>
                    <a:lnTo>
                      <a:pt x="0" y="96"/>
                    </a:lnTo>
                    <a:lnTo>
                      <a:pt x="0" y="88"/>
                    </a:lnTo>
                    <a:lnTo>
                      <a:pt x="0" y="88"/>
                    </a:lnTo>
                    <a:lnTo>
                      <a:pt x="0" y="78"/>
                    </a:lnTo>
                    <a:lnTo>
                      <a:pt x="1" y="70"/>
                    </a:lnTo>
                    <a:lnTo>
                      <a:pt x="3" y="61"/>
                    </a:lnTo>
                    <a:lnTo>
                      <a:pt x="6" y="53"/>
                    </a:lnTo>
                    <a:lnTo>
                      <a:pt x="9" y="46"/>
                    </a:lnTo>
                    <a:lnTo>
                      <a:pt x="14" y="38"/>
                    </a:lnTo>
                    <a:lnTo>
                      <a:pt x="19" y="32"/>
                    </a:lnTo>
                    <a:lnTo>
                      <a:pt x="25" y="25"/>
                    </a:lnTo>
                    <a:lnTo>
                      <a:pt x="31" y="20"/>
                    </a:lnTo>
                    <a:lnTo>
                      <a:pt x="38" y="16"/>
                    </a:lnTo>
                    <a:lnTo>
                      <a:pt x="45" y="11"/>
                    </a:lnTo>
                    <a:lnTo>
                      <a:pt x="53" y="7"/>
                    </a:lnTo>
                    <a:lnTo>
                      <a:pt x="61" y="4"/>
                    </a:lnTo>
                    <a:lnTo>
                      <a:pt x="70" y="2"/>
                    </a:lnTo>
                    <a:lnTo>
                      <a:pt x="78" y="0"/>
                    </a:lnTo>
                    <a:lnTo>
                      <a:pt x="86" y="0"/>
                    </a:lnTo>
                    <a:lnTo>
                      <a:pt x="86" y="0"/>
                    </a:lnTo>
                    <a:lnTo>
                      <a:pt x="96" y="0"/>
                    </a:lnTo>
                    <a:lnTo>
                      <a:pt x="104" y="2"/>
                    </a:lnTo>
                    <a:lnTo>
                      <a:pt x="113" y="4"/>
                    </a:lnTo>
                    <a:lnTo>
                      <a:pt x="121" y="7"/>
                    </a:lnTo>
                    <a:lnTo>
                      <a:pt x="128" y="11"/>
                    </a:lnTo>
                    <a:lnTo>
                      <a:pt x="136" y="16"/>
                    </a:lnTo>
                    <a:lnTo>
                      <a:pt x="142" y="20"/>
                    </a:lnTo>
                    <a:lnTo>
                      <a:pt x="149" y="25"/>
                    </a:lnTo>
                    <a:lnTo>
                      <a:pt x="154" y="32"/>
                    </a:lnTo>
                    <a:lnTo>
                      <a:pt x="158" y="38"/>
                    </a:lnTo>
                    <a:lnTo>
                      <a:pt x="163" y="46"/>
                    </a:lnTo>
                    <a:lnTo>
                      <a:pt x="167" y="53"/>
                    </a:lnTo>
                    <a:lnTo>
                      <a:pt x="170" y="61"/>
                    </a:lnTo>
                    <a:lnTo>
                      <a:pt x="172" y="70"/>
                    </a:lnTo>
                    <a:lnTo>
                      <a:pt x="174" y="78"/>
                    </a:lnTo>
                    <a:lnTo>
                      <a:pt x="174" y="88"/>
                    </a:lnTo>
                    <a:lnTo>
                      <a:pt x="174" y="8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93" name="Freeform 29">
                <a:extLst>
                  <a:ext uri="{FF2B5EF4-FFF2-40B4-BE49-F238E27FC236}">
                    <a16:creationId xmlns:a16="http://schemas.microsoft.com/office/drawing/2014/main" id="{C29315DA-1C62-4A77-A209-ECC4867F8BD9}"/>
                  </a:ext>
                </a:extLst>
              </p:cNvPr>
              <p:cNvSpPr>
                <a:spLocks/>
              </p:cNvSpPr>
              <p:nvPr/>
            </p:nvSpPr>
            <p:spPr bwMode="auto">
              <a:xfrm>
                <a:off x="1347788" y="458788"/>
                <a:ext cx="79375" cy="80962"/>
              </a:xfrm>
              <a:custGeom>
                <a:avLst/>
                <a:gdLst>
                  <a:gd name="T0" fmla="*/ 152 w 152"/>
                  <a:gd name="T1" fmla="*/ 77 h 152"/>
                  <a:gd name="T2" fmla="*/ 152 w 152"/>
                  <a:gd name="T3" fmla="*/ 77 h 152"/>
                  <a:gd name="T4" fmla="*/ 152 w 152"/>
                  <a:gd name="T5" fmla="*/ 84 h 152"/>
                  <a:gd name="T6" fmla="*/ 151 w 152"/>
                  <a:gd name="T7" fmla="*/ 92 h 152"/>
                  <a:gd name="T8" fmla="*/ 149 w 152"/>
                  <a:gd name="T9" fmla="*/ 99 h 152"/>
                  <a:gd name="T10" fmla="*/ 146 w 152"/>
                  <a:gd name="T11" fmla="*/ 107 h 152"/>
                  <a:gd name="T12" fmla="*/ 143 w 152"/>
                  <a:gd name="T13" fmla="*/ 113 h 152"/>
                  <a:gd name="T14" fmla="*/ 139 w 152"/>
                  <a:gd name="T15" fmla="*/ 119 h 152"/>
                  <a:gd name="T16" fmla="*/ 129 w 152"/>
                  <a:gd name="T17" fmla="*/ 131 h 152"/>
                  <a:gd name="T18" fmla="*/ 119 w 152"/>
                  <a:gd name="T19" fmla="*/ 140 h 152"/>
                  <a:gd name="T20" fmla="*/ 113 w 152"/>
                  <a:gd name="T21" fmla="*/ 144 h 152"/>
                  <a:gd name="T22" fmla="*/ 105 w 152"/>
                  <a:gd name="T23" fmla="*/ 146 h 152"/>
                  <a:gd name="T24" fmla="*/ 98 w 152"/>
                  <a:gd name="T25" fmla="*/ 150 h 152"/>
                  <a:gd name="T26" fmla="*/ 91 w 152"/>
                  <a:gd name="T27" fmla="*/ 151 h 152"/>
                  <a:gd name="T28" fmla="*/ 84 w 152"/>
                  <a:gd name="T29" fmla="*/ 152 h 152"/>
                  <a:gd name="T30" fmla="*/ 75 w 152"/>
                  <a:gd name="T31" fmla="*/ 152 h 152"/>
                  <a:gd name="T32" fmla="*/ 75 w 152"/>
                  <a:gd name="T33" fmla="*/ 152 h 152"/>
                  <a:gd name="T34" fmla="*/ 68 w 152"/>
                  <a:gd name="T35" fmla="*/ 152 h 152"/>
                  <a:gd name="T36" fmla="*/ 60 w 152"/>
                  <a:gd name="T37" fmla="*/ 151 h 152"/>
                  <a:gd name="T38" fmla="*/ 53 w 152"/>
                  <a:gd name="T39" fmla="*/ 150 h 152"/>
                  <a:gd name="T40" fmla="*/ 45 w 152"/>
                  <a:gd name="T41" fmla="*/ 146 h 152"/>
                  <a:gd name="T42" fmla="*/ 39 w 152"/>
                  <a:gd name="T43" fmla="*/ 144 h 152"/>
                  <a:gd name="T44" fmla="*/ 33 w 152"/>
                  <a:gd name="T45" fmla="*/ 140 h 152"/>
                  <a:gd name="T46" fmla="*/ 21 w 152"/>
                  <a:gd name="T47" fmla="*/ 131 h 152"/>
                  <a:gd name="T48" fmla="*/ 12 w 152"/>
                  <a:gd name="T49" fmla="*/ 119 h 152"/>
                  <a:gd name="T50" fmla="*/ 8 w 152"/>
                  <a:gd name="T51" fmla="*/ 113 h 152"/>
                  <a:gd name="T52" fmla="*/ 6 w 152"/>
                  <a:gd name="T53" fmla="*/ 107 h 152"/>
                  <a:gd name="T54" fmla="*/ 2 w 152"/>
                  <a:gd name="T55" fmla="*/ 99 h 152"/>
                  <a:gd name="T56" fmla="*/ 1 w 152"/>
                  <a:gd name="T57" fmla="*/ 92 h 152"/>
                  <a:gd name="T58" fmla="*/ 0 w 152"/>
                  <a:gd name="T59" fmla="*/ 84 h 152"/>
                  <a:gd name="T60" fmla="*/ 0 w 152"/>
                  <a:gd name="T61" fmla="*/ 77 h 152"/>
                  <a:gd name="T62" fmla="*/ 0 w 152"/>
                  <a:gd name="T63" fmla="*/ 77 h 152"/>
                  <a:gd name="T64" fmla="*/ 0 w 152"/>
                  <a:gd name="T65" fmla="*/ 68 h 152"/>
                  <a:gd name="T66" fmla="*/ 1 w 152"/>
                  <a:gd name="T67" fmla="*/ 61 h 152"/>
                  <a:gd name="T68" fmla="*/ 2 w 152"/>
                  <a:gd name="T69" fmla="*/ 54 h 152"/>
                  <a:gd name="T70" fmla="*/ 6 w 152"/>
                  <a:gd name="T71" fmla="*/ 47 h 152"/>
                  <a:gd name="T72" fmla="*/ 8 w 152"/>
                  <a:gd name="T73" fmla="*/ 39 h 152"/>
                  <a:gd name="T74" fmla="*/ 12 w 152"/>
                  <a:gd name="T75" fmla="*/ 33 h 152"/>
                  <a:gd name="T76" fmla="*/ 21 w 152"/>
                  <a:gd name="T77" fmla="*/ 23 h 152"/>
                  <a:gd name="T78" fmla="*/ 33 w 152"/>
                  <a:gd name="T79" fmla="*/ 13 h 152"/>
                  <a:gd name="T80" fmla="*/ 39 w 152"/>
                  <a:gd name="T81" fmla="*/ 9 h 152"/>
                  <a:gd name="T82" fmla="*/ 45 w 152"/>
                  <a:gd name="T83" fmla="*/ 6 h 152"/>
                  <a:gd name="T84" fmla="*/ 53 w 152"/>
                  <a:gd name="T85" fmla="*/ 3 h 152"/>
                  <a:gd name="T86" fmla="*/ 60 w 152"/>
                  <a:gd name="T87" fmla="*/ 1 h 152"/>
                  <a:gd name="T88" fmla="*/ 68 w 152"/>
                  <a:gd name="T89" fmla="*/ 0 h 152"/>
                  <a:gd name="T90" fmla="*/ 75 w 152"/>
                  <a:gd name="T91" fmla="*/ 0 h 152"/>
                  <a:gd name="T92" fmla="*/ 75 w 152"/>
                  <a:gd name="T93" fmla="*/ 0 h 152"/>
                  <a:gd name="T94" fmla="*/ 84 w 152"/>
                  <a:gd name="T95" fmla="*/ 0 h 152"/>
                  <a:gd name="T96" fmla="*/ 91 w 152"/>
                  <a:gd name="T97" fmla="*/ 1 h 152"/>
                  <a:gd name="T98" fmla="*/ 98 w 152"/>
                  <a:gd name="T99" fmla="*/ 3 h 152"/>
                  <a:gd name="T100" fmla="*/ 105 w 152"/>
                  <a:gd name="T101" fmla="*/ 6 h 152"/>
                  <a:gd name="T102" fmla="*/ 113 w 152"/>
                  <a:gd name="T103" fmla="*/ 9 h 152"/>
                  <a:gd name="T104" fmla="*/ 119 w 152"/>
                  <a:gd name="T105" fmla="*/ 13 h 152"/>
                  <a:gd name="T106" fmla="*/ 129 w 152"/>
                  <a:gd name="T107" fmla="*/ 23 h 152"/>
                  <a:gd name="T108" fmla="*/ 139 w 152"/>
                  <a:gd name="T109" fmla="*/ 33 h 152"/>
                  <a:gd name="T110" fmla="*/ 143 w 152"/>
                  <a:gd name="T111" fmla="*/ 39 h 152"/>
                  <a:gd name="T112" fmla="*/ 146 w 152"/>
                  <a:gd name="T113" fmla="*/ 47 h 152"/>
                  <a:gd name="T114" fmla="*/ 149 w 152"/>
                  <a:gd name="T115" fmla="*/ 54 h 152"/>
                  <a:gd name="T116" fmla="*/ 151 w 152"/>
                  <a:gd name="T117" fmla="*/ 61 h 152"/>
                  <a:gd name="T118" fmla="*/ 152 w 152"/>
                  <a:gd name="T119" fmla="*/ 68 h 152"/>
                  <a:gd name="T120" fmla="*/ 152 w 152"/>
                  <a:gd name="T121" fmla="*/ 77 h 152"/>
                  <a:gd name="T122" fmla="*/ 152 w 152"/>
                  <a:gd name="T123" fmla="*/ 7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2" h="152">
                    <a:moveTo>
                      <a:pt x="152" y="77"/>
                    </a:moveTo>
                    <a:lnTo>
                      <a:pt x="152" y="77"/>
                    </a:lnTo>
                    <a:lnTo>
                      <a:pt x="152" y="84"/>
                    </a:lnTo>
                    <a:lnTo>
                      <a:pt x="151" y="92"/>
                    </a:lnTo>
                    <a:lnTo>
                      <a:pt x="149" y="99"/>
                    </a:lnTo>
                    <a:lnTo>
                      <a:pt x="146" y="107"/>
                    </a:lnTo>
                    <a:lnTo>
                      <a:pt x="143" y="113"/>
                    </a:lnTo>
                    <a:lnTo>
                      <a:pt x="139" y="119"/>
                    </a:lnTo>
                    <a:lnTo>
                      <a:pt x="129" y="131"/>
                    </a:lnTo>
                    <a:lnTo>
                      <a:pt x="119" y="140"/>
                    </a:lnTo>
                    <a:lnTo>
                      <a:pt x="113" y="144"/>
                    </a:lnTo>
                    <a:lnTo>
                      <a:pt x="105" y="146"/>
                    </a:lnTo>
                    <a:lnTo>
                      <a:pt x="98" y="150"/>
                    </a:lnTo>
                    <a:lnTo>
                      <a:pt x="91" y="151"/>
                    </a:lnTo>
                    <a:lnTo>
                      <a:pt x="84" y="152"/>
                    </a:lnTo>
                    <a:lnTo>
                      <a:pt x="75" y="152"/>
                    </a:lnTo>
                    <a:lnTo>
                      <a:pt x="75" y="152"/>
                    </a:lnTo>
                    <a:lnTo>
                      <a:pt x="68" y="152"/>
                    </a:lnTo>
                    <a:lnTo>
                      <a:pt x="60" y="151"/>
                    </a:lnTo>
                    <a:lnTo>
                      <a:pt x="53" y="150"/>
                    </a:lnTo>
                    <a:lnTo>
                      <a:pt x="45" y="146"/>
                    </a:lnTo>
                    <a:lnTo>
                      <a:pt x="39" y="144"/>
                    </a:lnTo>
                    <a:lnTo>
                      <a:pt x="33" y="140"/>
                    </a:lnTo>
                    <a:lnTo>
                      <a:pt x="21" y="131"/>
                    </a:lnTo>
                    <a:lnTo>
                      <a:pt x="12" y="119"/>
                    </a:lnTo>
                    <a:lnTo>
                      <a:pt x="8" y="113"/>
                    </a:lnTo>
                    <a:lnTo>
                      <a:pt x="6" y="107"/>
                    </a:lnTo>
                    <a:lnTo>
                      <a:pt x="2" y="99"/>
                    </a:lnTo>
                    <a:lnTo>
                      <a:pt x="1" y="92"/>
                    </a:lnTo>
                    <a:lnTo>
                      <a:pt x="0" y="84"/>
                    </a:lnTo>
                    <a:lnTo>
                      <a:pt x="0" y="77"/>
                    </a:lnTo>
                    <a:lnTo>
                      <a:pt x="0" y="77"/>
                    </a:lnTo>
                    <a:lnTo>
                      <a:pt x="0" y="68"/>
                    </a:lnTo>
                    <a:lnTo>
                      <a:pt x="1" y="61"/>
                    </a:lnTo>
                    <a:lnTo>
                      <a:pt x="2" y="54"/>
                    </a:lnTo>
                    <a:lnTo>
                      <a:pt x="6" y="47"/>
                    </a:lnTo>
                    <a:lnTo>
                      <a:pt x="8" y="39"/>
                    </a:lnTo>
                    <a:lnTo>
                      <a:pt x="12" y="33"/>
                    </a:lnTo>
                    <a:lnTo>
                      <a:pt x="21" y="23"/>
                    </a:lnTo>
                    <a:lnTo>
                      <a:pt x="33" y="13"/>
                    </a:lnTo>
                    <a:lnTo>
                      <a:pt x="39" y="9"/>
                    </a:lnTo>
                    <a:lnTo>
                      <a:pt x="45" y="6"/>
                    </a:lnTo>
                    <a:lnTo>
                      <a:pt x="53" y="3"/>
                    </a:lnTo>
                    <a:lnTo>
                      <a:pt x="60" y="1"/>
                    </a:lnTo>
                    <a:lnTo>
                      <a:pt x="68" y="0"/>
                    </a:lnTo>
                    <a:lnTo>
                      <a:pt x="75" y="0"/>
                    </a:lnTo>
                    <a:lnTo>
                      <a:pt x="75" y="0"/>
                    </a:lnTo>
                    <a:lnTo>
                      <a:pt x="84" y="0"/>
                    </a:lnTo>
                    <a:lnTo>
                      <a:pt x="91" y="1"/>
                    </a:lnTo>
                    <a:lnTo>
                      <a:pt x="98" y="3"/>
                    </a:lnTo>
                    <a:lnTo>
                      <a:pt x="105" y="6"/>
                    </a:lnTo>
                    <a:lnTo>
                      <a:pt x="113" y="9"/>
                    </a:lnTo>
                    <a:lnTo>
                      <a:pt x="119" y="13"/>
                    </a:lnTo>
                    <a:lnTo>
                      <a:pt x="129" y="23"/>
                    </a:lnTo>
                    <a:lnTo>
                      <a:pt x="139" y="33"/>
                    </a:lnTo>
                    <a:lnTo>
                      <a:pt x="143" y="39"/>
                    </a:lnTo>
                    <a:lnTo>
                      <a:pt x="146" y="47"/>
                    </a:lnTo>
                    <a:lnTo>
                      <a:pt x="149" y="54"/>
                    </a:lnTo>
                    <a:lnTo>
                      <a:pt x="151" y="61"/>
                    </a:lnTo>
                    <a:lnTo>
                      <a:pt x="152" y="68"/>
                    </a:lnTo>
                    <a:lnTo>
                      <a:pt x="152" y="77"/>
                    </a:lnTo>
                    <a:lnTo>
                      <a:pt x="152" y="7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94" name="Freeform 30">
                <a:extLst>
                  <a:ext uri="{FF2B5EF4-FFF2-40B4-BE49-F238E27FC236}">
                    <a16:creationId xmlns:a16="http://schemas.microsoft.com/office/drawing/2014/main" id="{505A752C-C564-404D-B078-350A8A40F464}"/>
                  </a:ext>
                </a:extLst>
              </p:cNvPr>
              <p:cNvSpPr>
                <a:spLocks/>
              </p:cNvSpPr>
              <p:nvPr/>
            </p:nvSpPr>
            <p:spPr bwMode="auto">
              <a:xfrm>
                <a:off x="1363663" y="476250"/>
                <a:ext cx="47625" cy="46037"/>
              </a:xfrm>
              <a:custGeom>
                <a:avLst/>
                <a:gdLst>
                  <a:gd name="T0" fmla="*/ 88 w 88"/>
                  <a:gd name="T1" fmla="*/ 45 h 88"/>
                  <a:gd name="T2" fmla="*/ 88 w 88"/>
                  <a:gd name="T3" fmla="*/ 45 h 88"/>
                  <a:gd name="T4" fmla="*/ 87 w 88"/>
                  <a:gd name="T5" fmla="*/ 53 h 88"/>
                  <a:gd name="T6" fmla="*/ 84 w 88"/>
                  <a:gd name="T7" fmla="*/ 61 h 88"/>
                  <a:gd name="T8" fmla="*/ 79 w 88"/>
                  <a:gd name="T9" fmla="*/ 69 h 88"/>
                  <a:gd name="T10" fmla="*/ 75 w 88"/>
                  <a:gd name="T11" fmla="*/ 75 h 88"/>
                  <a:gd name="T12" fmla="*/ 69 w 88"/>
                  <a:gd name="T13" fmla="*/ 81 h 88"/>
                  <a:gd name="T14" fmla="*/ 60 w 88"/>
                  <a:gd name="T15" fmla="*/ 84 h 88"/>
                  <a:gd name="T16" fmla="*/ 53 w 88"/>
                  <a:gd name="T17" fmla="*/ 87 h 88"/>
                  <a:gd name="T18" fmla="*/ 43 w 88"/>
                  <a:gd name="T19" fmla="*/ 88 h 88"/>
                  <a:gd name="T20" fmla="*/ 43 w 88"/>
                  <a:gd name="T21" fmla="*/ 88 h 88"/>
                  <a:gd name="T22" fmla="*/ 35 w 88"/>
                  <a:gd name="T23" fmla="*/ 87 h 88"/>
                  <a:gd name="T24" fmla="*/ 27 w 88"/>
                  <a:gd name="T25" fmla="*/ 84 h 88"/>
                  <a:gd name="T26" fmla="*/ 19 w 88"/>
                  <a:gd name="T27" fmla="*/ 81 h 88"/>
                  <a:gd name="T28" fmla="*/ 13 w 88"/>
                  <a:gd name="T29" fmla="*/ 75 h 88"/>
                  <a:gd name="T30" fmla="*/ 7 w 88"/>
                  <a:gd name="T31" fmla="*/ 69 h 88"/>
                  <a:gd name="T32" fmla="*/ 4 w 88"/>
                  <a:gd name="T33" fmla="*/ 61 h 88"/>
                  <a:gd name="T34" fmla="*/ 1 w 88"/>
                  <a:gd name="T35" fmla="*/ 53 h 88"/>
                  <a:gd name="T36" fmla="*/ 0 w 88"/>
                  <a:gd name="T37" fmla="*/ 45 h 88"/>
                  <a:gd name="T38" fmla="*/ 0 w 88"/>
                  <a:gd name="T39" fmla="*/ 45 h 88"/>
                  <a:gd name="T40" fmla="*/ 1 w 88"/>
                  <a:gd name="T41" fmla="*/ 35 h 88"/>
                  <a:gd name="T42" fmla="*/ 4 w 88"/>
                  <a:gd name="T43" fmla="*/ 28 h 88"/>
                  <a:gd name="T44" fmla="*/ 7 w 88"/>
                  <a:gd name="T45" fmla="*/ 19 h 88"/>
                  <a:gd name="T46" fmla="*/ 13 w 88"/>
                  <a:gd name="T47" fmla="*/ 13 h 88"/>
                  <a:gd name="T48" fmla="*/ 19 w 88"/>
                  <a:gd name="T49" fmla="*/ 9 h 88"/>
                  <a:gd name="T50" fmla="*/ 27 w 88"/>
                  <a:gd name="T51" fmla="*/ 4 h 88"/>
                  <a:gd name="T52" fmla="*/ 35 w 88"/>
                  <a:gd name="T53" fmla="*/ 1 h 88"/>
                  <a:gd name="T54" fmla="*/ 43 w 88"/>
                  <a:gd name="T55" fmla="*/ 0 h 88"/>
                  <a:gd name="T56" fmla="*/ 43 w 88"/>
                  <a:gd name="T57" fmla="*/ 0 h 88"/>
                  <a:gd name="T58" fmla="*/ 53 w 88"/>
                  <a:gd name="T59" fmla="*/ 1 h 88"/>
                  <a:gd name="T60" fmla="*/ 60 w 88"/>
                  <a:gd name="T61" fmla="*/ 4 h 88"/>
                  <a:gd name="T62" fmla="*/ 69 w 88"/>
                  <a:gd name="T63" fmla="*/ 9 h 88"/>
                  <a:gd name="T64" fmla="*/ 75 w 88"/>
                  <a:gd name="T65" fmla="*/ 13 h 88"/>
                  <a:gd name="T66" fmla="*/ 79 w 88"/>
                  <a:gd name="T67" fmla="*/ 19 h 88"/>
                  <a:gd name="T68" fmla="*/ 84 w 88"/>
                  <a:gd name="T69" fmla="*/ 28 h 88"/>
                  <a:gd name="T70" fmla="*/ 87 w 88"/>
                  <a:gd name="T71" fmla="*/ 35 h 88"/>
                  <a:gd name="T72" fmla="*/ 88 w 88"/>
                  <a:gd name="T73" fmla="*/ 45 h 88"/>
                  <a:gd name="T74" fmla="*/ 88 w 88"/>
                  <a:gd name="T75" fmla="*/ 4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8" h="88">
                    <a:moveTo>
                      <a:pt x="88" y="45"/>
                    </a:moveTo>
                    <a:lnTo>
                      <a:pt x="88" y="45"/>
                    </a:lnTo>
                    <a:lnTo>
                      <a:pt x="87" y="53"/>
                    </a:lnTo>
                    <a:lnTo>
                      <a:pt x="84" y="61"/>
                    </a:lnTo>
                    <a:lnTo>
                      <a:pt x="79" y="69"/>
                    </a:lnTo>
                    <a:lnTo>
                      <a:pt x="75" y="75"/>
                    </a:lnTo>
                    <a:lnTo>
                      <a:pt x="69" y="81"/>
                    </a:lnTo>
                    <a:lnTo>
                      <a:pt x="60" y="84"/>
                    </a:lnTo>
                    <a:lnTo>
                      <a:pt x="53" y="87"/>
                    </a:lnTo>
                    <a:lnTo>
                      <a:pt x="43" y="88"/>
                    </a:lnTo>
                    <a:lnTo>
                      <a:pt x="43" y="88"/>
                    </a:lnTo>
                    <a:lnTo>
                      <a:pt x="35" y="87"/>
                    </a:lnTo>
                    <a:lnTo>
                      <a:pt x="27" y="84"/>
                    </a:lnTo>
                    <a:lnTo>
                      <a:pt x="19" y="81"/>
                    </a:lnTo>
                    <a:lnTo>
                      <a:pt x="13" y="75"/>
                    </a:lnTo>
                    <a:lnTo>
                      <a:pt x="7" y="69"/>
                    </a:lnTo>
                    <a:lnTo>
                      <a:pt x="4" y="61"/>
                    </a:lnTo>
                    <a:lnTo>
                      <a:pt x="1" y="53"/>
                    </a:lnTo>
                    <a:lnTo>
                      <a:pt x="0" y="45"/>
                    </a:lnTo>
                    <a:lnTo>
                      <a:pt x="0" y="45"/>
                    </a:lnTo>
                    <a:lnTo>
                      <a:pt x="1" y="35"/>
                    </a:lnTo>
                    <a:lnTo>
                      <a:pt x="4" y="28"/>
                    </a:lnTo>
                    <a:lnTo>
                      <a:pt x="7" y="19"/>
                    </a:lnTo>
                    <a:lnTo>
                      <a:pt x="13" y="13"/>
                    </a:lnTo>
                    <a:lnTo>
                      <a:pt x="19" y="9"/>
                    </a:lnTo>
                    <a:lnTo>
                      <a:pt x="27" y="4"/>
                    </a:lnTo>
                    <a:lnTo>
                      <a:pt x="35" y="1"/>
                    </a:lnTo>
                    <a:lnTo>
                      <a:pt x="43" y="0"/>
                    </a:lnTo>
                    <a:lnTo>
                      <a:pt x="43" y="0"/>
                    </a:lnTo>
                    <a:lnTo>
                      <a:pt x="53" y="1"/>
                    </a:lnTo>
                    <a:lnTo>
                      <a:pt x="60" y="4"/>
                    </a:lnTo>
                    <a:lnTo>
                      <a:pt x="69" y="9"/>
                    </a:lnTo>
                    <a:lnTo>
                      <a:pt x="75" y="13"/>
                    </a:lnTo>
                    <a:lnTo>
                      <a:pt x="79" y="19"/>
                    </a:lnTo>
                    <a:lnTo>
                      <a:pt x="84" y="28"/>
                    </a:lnTo>
                    <a:lnTo>
                      <a:pt x="87" y="35"/>
                    </a:lnTo>
                    <a:lnTo>
                      <a:pt x="88" y="45"/>
                    </a:lnTo>
                    <a:lnTo>
                      <a:pt x="88" y="4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1995" name="Freeform 31">
                <a:extLst>
                  <a:ext uri="{FF2B5EF4-FFF2-40B4-BE49-F238E27FC236}">
                    <a16:creationId xmlns:a16="http://schemas.microsoft.com/office/drawing/2014/main" id="{8578D366-2046-41FE-BDF3-F26DCFB3BBB3}"/>
                  </a:ext>
                </a:extLst>
              </p:cNvPr>
              <p:cNvSpPr>
                <a:spLocks/>
              </p:cNvSpPr>
              <p:nvPr/>
            </p:nvSpPr>
            <p:spPr bwMode="auto">
              <a:xfrm>
                <a:off x="1533525" y="346075"/>
                <a:ext cx="38100" cy="52387"/>
              </a:xfrm>
              <a:custGeom>
                <a:avLst/>
                <a:gdLst>
                  <a:gd name="T0" fmla="*/ 71 w 71"/>
                  <a:gd name="T1" fmla="*/ 97 h 100"/>
                  <a:gd name="T2" fmla="*/ 71 w 71"/>
                  <a:gd name="T3" fmla="*/ 97 h 100"/>
                  <a:gd name="T4" fmla="*/ 71 w 71"/>
                  <a:gd name="T5" fmla="*/ 100 h 100"/>
                  <a:gd name="T6" fmla="*/ 68 w 71"/>
                  <a:gd name="T7" fmla="*/ 100 h 100"/>
                  <a:gd name="T8" fmla="*/ 2 w 71"/>
                  <a:gd name="T9" fmla="*/ 100 h 100"/>
                  <a:gd name="T10" fmla="*/ 2 w 71"/>
                  <a:gd name="T11" fmla="*/ 100 h 100"/>
                  <a:gd name="T12" fmla="*/ 0 w 71"/>
                  <a:gd name="T13" fmla="*/ 100 h 100"/>
                  <a:gd name="T14" fmla="*/ 0 w 71"/>
                  <a:gd name="T15" fmla="*/ 97 h 100"/>
                  <a:gd name="T16" fmla="*/ 0 w 71"/>
                  <a:gd name="T17" fmla="*/ 4 h 100"/>
                  <a:gd name="T18" fmla="*/ 0 w 71"/>
                  <a:gd name="T19" fmla="*/ 4 h 100"/>
                  <a:gd name="T20" fmla="*/ 0 w 71"/>
                  <a:gd name="T21" fmla="*/ 1 h 100"/>
                  <a:gd name="T22" fmla="*/ 2 w 71"/>
                  <a:gd name="T23" fmla="*/ 0 h 100"/>
                  <a:gd name="T24" fmla="*/ 68 w 71"/>
                  <a:gd name="T25" fmla="*/ 0 h 100"/>
                  <a:gd name="T26" fmla="*/ 68 w 71"/>
                  <a:gd name="T27" fmla="*/ 0 h 100"/>
                  <a:gd name="T28" fmla="*/ 71 w 71"/>
                  <a:gd name="T29" fmla="*/ 1 h 100"/>
                  <a:gd name="T30" fmla="*/ 71 w 71"/>
                  <a:gd name="T31" fmla="*/ 4 h 100"/>
                  <a:gd name="T32" fmla="*/ 71 w 71"/>
                  <a:gd name="T33" fmla="*/ 97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100">
                    <a:moveTo>
                      <a:pt x="71" y="97"/>
                    </a:moveTo>
                    <a:lnTo>
                      <a:pt x="71" y="97"/>
                    </a:lnTo>
                    <a:lnTo>
                      <a:pt x="71" y="100"/>
                    </a:lnTo>
                    <a:lnTo>
                      <a:pt x="68" y="100"/>
                    </a:lnTo>
                    <a:lnTo>
                      <a:pt x="2" y="100"/>
                    </a:lnTo>
                    <a:lnTo>
                      <a:pt x="2" y="100"/>
                    </a:lnTo>
                    <a:lnTo>
                      <a:pt x="0" y="100"/>
                    </a:lnTo>
                    <a:lnTo>
                      <a:pt x="0" y="97"/>
                    </a:lnTo>
                    <a:lnTo>
                      <a:pt x="0" y="4"/>
                    </a:lnTo>
                    <a:lnTo>
                      <a:pt x="0" y="4"/>
                    </a:lnTo>
                    <a:lnTo>
                      <a:pt x="0" y="1"/>
                    </a:lnTo>
                    <a:lnTo>
                      <a:pt x="2" y="0"/>
                    </a:lnTo>
                    <a:lnTo>
                      <a:pt x="68" y="0"/>
                    </a:lnTo>
                    <a:lnTo>
                      <a:pt x="68" y="0"/>
                    </a:lnTo>
                    <a:lnTo>
                      <a:pt x="71" y="1"/>
                    </a:lnTo>
                    <a:lnTo>
                      <a:pt x="71" y="4"/>
                    </a:lnTo>
                    <a:lnTo>
                      <a:pt x="71" y="9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1996" name="Group 1995">
            <a:extLst>
              <a:ext uri="{FF2B5EF4-FFF2-40B4-BE49-F238E27FC236}">
                <a16:creationId xmlns:a16="http://schemas.microsoft.com/office/drawing/2014/main" id="{2EAD5994-D852-43D3-8FAB-637074027D0A}"/>
              </a:ext>
            </a:extLst>
          </p:cNvPr>
          <p:cNvGrpSpPr/>
          <p:nvPr/>
        </p:nvGrpSpPr>
        <p:grpSpPr>
          <a:xfrm>
            <a:off x="6788237" y="2425167"/>
            <a:ext cx="621254" cy="618534"/>
            <a:chOff x="4955873" y="3026360"/>
            <a:chExt cx="621254" cy="618534"/>
          </a:xfrm>
        </p:grpSpPr>
        <p:sp>
          <p:nvSpPr>
            <p:cNvPr id="1997" name="Oval 1996">
              <a:extLst>
                <a:ext uri="{FF2B5EF4-FFF2-40B4-BE49-F238E27FC236}">
                  <a16:creationId xmlns:a16="http://schemas.microsoft.com/office/drawing/2014/main" id="{4A0CD50B-0311-49CF-93BE-1CC062EC9844}"/>
                </a:ext>
              </a:extLst>
            </p:cNvPr>
            <p:cNvSpPr/>
            <p:nvPr/>
          </p:nvSpPr>
          <p:spPr bwMode="ltGray">
            <a:xfrm>
              <a:off x="496435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1998" name="Group 1997">
              <a:extLst>
                <a:ext uri="{FF2B5EF4-FFF2-40B4-BE49-F238E27FC236}">
                  <a16:creationId xmlns:a16="http://schemas.microsoft.com/office/drawing/2014/main" id="{54F7DCF1-68E0-407C-A771-16A9F0E7F925}"/>
                </a:ext>
              </a:extLst>
            </p:cNvPr>
            <p:cNvGrpSpPr/>
            <p:nvPr/>
          </p:nvGrpSpPr>
          <p:grpSpPr>
            <a:xfrm>
              <a:off x="4955873" y="3026360"/>
              <a:ext cx="611187" cy="612775"/>
              <a:chOff x="947738" y="350838"/>
              <a:chExt cx="611187" cy="612775"/>
            </a:xfrm>
          </p:grpSpPr>
          <p:sp>
            <p:nvSpPr>
              <p:cNvPr id="1999" name="AutoShape 33">
                <a:extLst>
                  <a:ext uri="{FF2B5EF4-FFF2-40B4-BE49-F238E27FC236}">
                    <a16:creationId xmlns:a16="http://schemas.microsoft.com/office/drawing/2014/main" id="{39685C67-EB02-414F-BC4A-B79FE922A19C}"/>
                  </a:ext>
                </a:extLst>
              </p:cNvPr>
              <p:cNvSpPr>
                <a:spLocks noChangeAspect="1" noChangeArrowheads="1" noTextEdit="1"/>
              </p:cNvSpPr>
              <p:nvPr/>
            </p:nvSpPr>
            <p:spPr bwMode="auto">
              <a:xfrm>
                <a:off x="947738" y="350838"/>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00" name="Freeform 36">
                <a:extLst>
                  <a:ext uri="{FF2B5EF4-FFF2-40B4-BE49-F238E27FC236}">
                    <a16:creationId xmlns:a16="http://schemas.microsoft.com/office/drawing/2014/main" id="{ECE61061-2BEA-4165-B245-773F51F4438E}"/>
                  </a:ext>
                </a:extLst>
              </p:cNvPr>
              <p:cNvSpPr>
                <a:spLocks/>
              </p:cNvSpPr>
              <p:nvPr/>
            </p:nvSpPr>
            <p:spPr bwMode="auto">
              <a:xfrm>
                <a:off x="1112838" y="484188"/>
                <a:ext cx="160337" cy="280988"/>
              </a:xfrm>
              <a:custGeom>
                <a:avLst/>
                <a:gdLst>
                  <a:gd name="T0" fmla="*/ 302 w 302"/>
                  <a:gd name="T1" fmla="*/ 495 h 529"/>
                  <a:gd name="T2" fmla="*/ 256 w 302"/>
                  <a:gd name="T3" fmla="*/ 0 h 529"/>
                  <a:gd name="T4" fmla="*/ 256 w 302"/>
                  <a:gd name="T5" fmla="*/ 0 h 529"/>
                  <a:gd name="T6" fmla="*/ 256 w 302"/>
                  <a:gd name="T7" fmla="*/ 18 h 529"/>
                  <a:gd name="T8" fmla="*/ 255 w 302"/>
                  <a:gd name="T9" fmla="*/ 36 h 529"/>
                  <a:gd name="T10" fmla="*/ 253 w 302"/>
                  <a:gd name="T11" fmla="*/ 55 h 529"/>
                  <a:gd name="T12" fmla="*/ 249 w 302"/>
                  <a:gd name="T13" fmla="*/ 75 h 529"/>
                  <a:gd name="T14" fmla="*/ 240 w 302"/>
                  <a:gd name="T15" fmla="*/ 113 h 529"/>
                  <a:gd name="T16" fmla="*/ 228 w 302"/>
                  <a:gd name="T17" fmla="*/ 153 h 529"/>
                  <a:gd name="T18" fmla="*/ 213 w 302"/>
                  <a:gd name="T19" fmla="*/ 194 h 529"/>
                  <a:gd name="T20" fmla="*/ 196 w 302"/>
                  <a:gd name="T21" fmla="*/ 234 h 529"/>
                  <a:gd name="T22" fmla="*/ 178 w 302"/>
                  <a:gd name="T23" fmla="*/ 275 h 529"/>
                  <a:gd name="T24" fmla="*/ 158 w 302"/>
                  <a:gd name="T25" fmla="*/ 313 h 529"/>
                  <a:gd name="T26" fmla="*/ 138 w 302"/>
                  <a:gd name="T27" fmla="*/ 351 h 529"/>
                  <a:gd name="T28" fmla="*/ 116 w 302"/>
                  <a:gd name="T29" fmla="*/ 386 h 529"/>
                  <a:gd name="T30" fmla="*/ 94 w 302"/>
                  <a:gd name="T31" fmla="*/ 418 h 529"/>
                  <a:gd name="T32" fmla="*/ 74 w 302"/>
                  <a:gd name="T33" fmla="*/ 448 h 529"/>
                  <a:gd name="T34" fmla="*/ 53 w 302"/>
                  <a:gd name="T35" fmla="*/ 475 h 529"/>
                  <a:gd name="T36" fmla="*/ 34 w 302"/>
                  <a:gd name="T37" fmla="*/ 497 h 529"/>
                  <a:gd name="T38" fmla="*/ 16 w 302"/>
                  <a:gd name="T39" fmla="*/ 516 h 529"/>
                  <a:gd name="T40" fmla="*/ 0 w 302"/>
                  <a:gd name="T41" fmla="*/ 529 h 529"/>
                  <a:gd name="T42" fmla="*/ 302 w 302"/>
                  <a:gd name="T43" fmla="*/ 495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2" h="529">
                    <a:moveTo>
                      <a:pt x="302" y="495"/>
                    </a:moveTo>
                    <a:lnTo>
                      <a:pt x="256" y="0"/>
                    </a:lnTo>
                    <a:lnTo>
                      <a:pt x="256" y="0"/>
                    </a:lnTo>
                    <a:lnTo>
                      <a:pt x="256" y="18"/>
                    </a:lnTo>
                    <a:lnTo>
                      <a:pt x="255" y="36"/>
                    </a:lnTo>
                    <a:lnTo>
                      <a:pt x="253" y="55"/>
                    </a:lnTo>
                    <a:lnTo>
                      <a:pt x="249" y="75"/>
                    </a:lnTo>
                    <a:lnTo>
                      <a:pt x="240" y="113"/>
                    </a:lnTo>
                    <a:lnTo>
                      <a:pt x="228" y="153"/>
                    </a:lnTo>
                    <a:lnTo>
                      <a:pt x="213" y="194"/>
                    </a:lnTo>
                    <a:lnTo>
                      <a:pt x="196" y="234"/>
                    </a:lnTo>
                    <a:lnTo>
                      <a:pt x="178" y="275"/>
                    </a:lnTo>
                    <a:lnTo>
                      <a:pt x="158" y="313"/>
                    </a:lnTo>
                    <a:lnTo>
                      <a:pt x="138" y="351"/>
                    </a:lnTo>
                    <a:lnTo>
                      <a:pt x="116" y="386"/>
                    </a:lnTo>
                    <a:lnTo>
                      <a:pt x="94" y="418"/>
                    </a:lnTo>
                    <a:lnTo>
                      <a:pt x="74" y="448"/>
                    </a:lnTo>
                    <a:lnTo>
                      <a:pt x="53" y="475"/>
                    </a:lnTo>
                    <a:lnTo>
                      <a:pt x="34" y="497"/>
                    </a:lnTo>
                    <a:lnTo>
                      <a:pt x="16" y="516"/>
                    </a:lnTo>
                    <a:lnTo>
                      <a:pt x="0" y="529"/>
                    </a:lnTo>
                    <a:lnTo>
                      <a:pt x="302" y="49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01" name="Freeform 37">
                <a:extLst>
                  <a:ext uri="{FF2B5EF4-FFF2-40B4-BE49-F238E27FC236}">
                    <a16:creationId xmlns:a16="http://schemas.microsoft.com/office/drawing/2014/main" id="{91AAE7F6-0C80-4E43-AFEC-4633AF83A151}"/>
                  </a:ext>
                </a:extLst>
              </p:cNvPr>
              <p:cNvSpPr>
                <a:spLocks/>
              </p:cNvSpPr>
              <p:nvPr/>
            </p:nvSpPr>
            <p:spPr bwMode="auto">
              <a:xfrm>
                <a:off x="1225550" y="414338"/>
                <a:ext cx="231775" cy="365125"/>
              </a:xfrm>
              <a:custGeom>
                <a:avLst/>
                <a:gdLst>
                  <a:gd name="T0" fmla="*/ 421 w 437"/>
                  <a:gd name="T1" fmla="*/ 646 h 691"/>
                  <a:gd name="T2" fmla="*/ 421 w 437"/>
                  <a:gd name="T3" fmla="*/ 646 h 691"/>
                  <a:gd name="T4" fmla="*/ 428 w 437"/>
                  <a:gd name="T5" fmla="*/ 626 h 691"/>
                  <a:gd name="T6" fmla="*/ 433 w 437"/>
                  <a:gd name="T7" fmla="*/ 605 h 691"/>
                  <a:gd name="T8" fmla="*/ 435 w 437"/>
                  <a:gd name="T9" fmla="*/ 584 h 691"/>
                  <a:gd name="T10" fmla="*/ 437 w 437"/>
                  <a:gd name="T11" fmla="*/ 562 h 691"/>
                  <a:gd name="T12" fmla="*/ 435 w 437"/>
                  <a:gd name="T13" fmla="*/ 539 h 691"/>
                  <a:gd name="T14" fmla="*/ 432 w 437"/>
                  <a:gd name="T15" fmla="*/ 516 h 691"/>
                  <a:gd name="T16" fmla="*/ 427 w 437"/>
                  <a:gd name="T17" fmla="*/ 493 h 691"/>
                  <a:gd name="T18" fmla="*/ 420 w 437"/>
                  <a:gd name="T19" fmla="*/ 470 h 691"/>
                  <a:gd name="T20" fmla="*/ 411 w 437"/>
                  <a:gd name="T21" fmla="*/ 447 h 691"/>
                  <a:gd name="T22" fmla="*/ 402 w 437"/>
                  <a:gd name="T23" fmla="*/ 423 h 691"/>
                  <a:gd name="T24" fmla="*/ 391 w 437"/>
                  <a:gd name="T25" fmla="*/ 400 h 691"/>
                  <a:gd name="T26" fmla="*/ 378 w 437"/>
                  <a:gd name="T27" fmla="*/ 377 h 691"/>
                  <a:gd name="T28" fmla="*/ 365 w 437"/>
                  <a:gd name="T29" fmla="*/ 355 h 691"/>
                  <a:gd name="T30" fmla="*/ 349 w 437"/>
                  <a:gd name="T31" fmla="*/ 330 h 691"/>
                  <a:gd name="T32" fmla="*/ 333 w 437"/>
                  <a:gd name="T33" fmla="*/ 308 h 691"/>
                  <a:gd name="T34" fmla="*/ 317 w 437"/>
                  <a:gd name="T35" fmla="*/ 286 h 691"/>
                  <a:gd name="T36" fmla="*/ 298 w 437"/>
                  <a:gd name="T37" fmla="*/ 263 h 691"/>
                  <a:gd name="T38" fmla="*/ 280 w 437"/>
                  <a:gd name="T39" fmla="*/ 241 h 691"/>
                  <a:gd name="T40" fmla="*/ 242 w 437"/>
                  <a:gd name="T41" fmla="*/ 199 h 691"/>
                  <a:gd name="T42" fmla="*/ 201 w 437"/>
                  <a:gd name="T43" fmla="*/ 158 h 691"/>
                  <a:gd name="T44" fmla="*/ 160 w 437"/>
                  <a:gd name="T45" fmla="*/ 120 h 691"/>
                  <a:gd name="T46" fmla="*/ 118 w 437"/>
                  <a:gd name="T47" fmla="*/ 85 h 691"/>
                  <a:gd name="T48" fmla="*/ 77 w 437"/>
                  <a:gd name="T49" fmla="*/ 52 h 691"/>
                  <a:gd name="T50" fmla="*/ 38 w 437"/>
                  <a:gd name="T51" fmla="*/ 24 h 691"/>
                  <a:gd name="T52" fmla="*/ 0 w 437"/>
                  <a:gd name="T53" fmla="*/ 0 h 691"/>
                  <a:gd name="T54" fmla="*/ 0 w 437"/>
                  <a:gd name="T55" fmla="*/ 0 h 691"/>
                  <a:gd name="T56" fmla="*/ 40 w 437"/>
                  <a:gd name="T57" fmla="*/ 99 h 691"/>
                  <a:gd name="T58" fmla="*/ 40 w 437"/>
                  <a:gd name="T59" fmla="*/ 99 h 691"/>
                  <a:gd name="T60" fmla="*/ 51 w 437"/>
                  <a:gd name="T61" fmla="*/ 129 h 691"/>
                  <a:gd name="T62" fmla="*/ 62 w 437"/>
                  <a:gd name="T63" fmla="*/ 161 h 691"/>
                  <a:gd name="T64" fmla="*/ 73 w 437"/>
                  <a:gd name="T65" fmla="*/ 194 h 691"/>
                  <a:gd name="T66" fmla="*/ 82 w 437"/>
                  <a:gd name="T67" fmla="*/ 229 h 691"/>
                  <a:gd name="T68" fmla="*/ 91 w 437"/>
                  <a:gd name="T69" fmla="*/ 264 h 691"/>
                  <a:gd name="T70" fmla="*/ 98 w 437"/>
                  <a:gd name="T71" fmla="*/ 302 h 691"/>
                  <a:gd name="T72" fmla="*/ 103 w 437"/>
                  <a:gd name="T73" fmla="*/ 340 h 691"/>
                  <a:gd name="T74" fmla="*/ 106 w 437"/>
                  <a:gd name="T75" fmla="*/ 379 h 691"/>
                  <a:gd name="T76" fmla="*/ 107 w 437"/>
                  <a:gd name="T77" fmla="*/ 417 h 691"/>
                  <a:gd name="T78" fmla="*/ 107 w 437"/>
                  <a:gd name="T79" fmla="*/ 457 h 691"/>
                  <a:gd name="T80" fmla="*/ 104 w 437"/>
                  <a:gd name="T81" fmla="*/ 497 h 691"/>
                  <a:gd name="T82" fmla="*/ 100 w 437"/>
                  <a:gd name="T83" fmla="*/ 516 h 691"/>
                  <a:gd name="T84" fmla="*/ 97 w 437"/>
                  <a:gd name="T85" fmla="*/ 535 h 691"/>
                  <a:gd name="T86" fmla="*/ 92 w 437"/>
                  <a:gd name="T87" fmla="*/ 556 h 691"/>
                  <a:gd name="T88" fmla="*/ 87 w 437"/>
                  <a:gd name="T89" fmla="*/ 575 h 691"/>
                  <a:gd name="T90" fmla="*/ 81 w 437"/>
                  <a:gd name="T91" fmla="*/ 594 h 691"/>
                  <a:gd name="T92" fmla="*/ 74 w 437"/>
                  <a:gd name="T93" fmla="*/ 614 h 691"/>
                  <a:gd name="T94" fmla="*/ 65 w 437"/>
                  <a:gd name="T95" fmla="*/ 633 h 691"/>
                  <a:gd name="T96" fmla="*/ 57 w 437"/>
                  <a:gd name="T97" fmla="*/ 652 h 691"/>
                  <a:gd name="T98" fmla="*/ 46 w 437"/>
                  <a:gd name="T99" fmla="*/ 671 h 691"/>
                  <a:gd name="T100" fmla="*/ 35 w 437"/>
                  <a:gd name="T101" fmla="*/ 691 h 691"/>
                  <a:gd name="T102" fmla="*/ 421 w 437"/>
                  <a:gd name="T103" fmla="*/ 646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37" h="691">
                    <a:moveTo>
                      <a:pt x="421" y="646"/>
                    </a:moveTo>
                    <a:lnTo>
                      <a:pt x="421" y="646"/>
                    </a:lnTo>
                    <a:lnTo>
                      <a:pt x="428" y="626"/>
                    </a:lnTo>
                    <a:lnTo>
                      <a:pt x="433" y="605"/>
                    </a:lnTo>
                    <a:lnTo>
                      <a:pt x="435" y="584"/>
                    </a:lnTo>
                    <a:lnTo>
                      <a:pt x="437" y="562"/>
                    </a:lnTo>
                    <a:lnTo>
                      <a:pt x="435" y="539"/>
                    </a:lnTo>
                    <a:lnTo>
                      <a:pt x="432" y="516"/>
                    </a:lnTo>
                    <a:lnTo>
                      <a:pt x="427" y="493"/>
                    </a:lnTo>
                    <a:lnTo>
                      <a:pt x="420" y="470"/>
                    </a:lnTo>
                    <a:lnTo>
                      <a:pt x="411" y="447"/>
                    </a:lnTo>
                    <a:lnTo>
                      <a:pt x="402" y="423"/>
                    </a:lnTo>
                    <a:lnTo>
                      <a:pt x="391" y="400"/>
                    </a:lnTo>
                    <a:lnTo>
                      <a:pt x="378" y="377"/>
                    </a:lnTo>
                    <a:lnTo>
                      <a:pt x="365" y="355"/>
                    </a:lnTo>
                    <a:lnTo>
                      <a:pt x="349" y="330"/>
                    </a:lnTo>
                    <a:lnTo>
                      <a:pt x="333" y="308"/>
                    </a:lnTo>
                    <a:lnTo>
                      <a:pt x="317" y="286"/>
                    </a:lnTo>
                    <a:lnTo>
                      <a:pt x="298" y="263"/>
                    </a:lnTo>
                    <a:lnTo>
                      <a:pt x="280" y="241"/>
                    </a:lnTo>
                    <a:lnTo>
                      <a:pt x="242" y="199"/>
                    </a:lnTo>
                    <a:lnTo>
                      <a:pt x="201" y="158"/>
                    </a:lnTo>
                    <a:lnTo>
                      <a:pt x="160" y="120"/>
                    </a:lnTo>
                    <a:lnTo>
                      <a:pt x="118" y="85"/>
                    </a:lnTo>
                    <a:lnTo>
                      <a:pt x="77" y="52"/>
                    </a:lnTo>
                    <a:lnTo>
                      <a:pt x="38" y="24"/>
                    </a:lnTo>
                    <a:lnTo>
                      <a:pt x="0" y="0"/>
                    </a:lnTo>
                    <a:lnTo>
                      <a:pt x="0" y="0"/>
                    </a:lnTo>
                    <a:lnTo>
                      <a:pt x="40" y="99"/>
                    </a:lnTo>
                    <a:lnTo>
                      <a:pt x="40" y="99"/>
                    </a:lnTo>
                    <a:lnTo>
                      <a:pt x="51" y="129"/>
                    </a:lnTo>
                    <a:lnTo>
                      <a:pt x="62" y="161"/>
                    </a:lnTo>
                    <a:lnTo>
                      <a:pt x="73" y="194"/>
                    </a:lnTo>
                    <a:lnTo>
                      <a:pt x="82" y="229"/>
                    </a:lnTo>
                    <a:lnTo>
                      <a:pt x="91" y="264"/>
                    </a:lnTo>
                    <a:lnTo>
                      <a:pt x="98" y="302"/>
                    </a:lnTo>
                    <a:lnTo>
                      <a:pt x="103" y="340"/>
                    </a:lnTo>
                    <a:lnTo>
                      <a:pt x="106" y="379"/>
                    </a:lnTo>
                    <a:lnTo>
                      <a:pt x="107" y="417"/>
                    </a:lnTo>
                    <a:lnTo>
                      <a:pt x="107" y="457"/>
                    </a:lnTo>
                    <a:lnTo>
                      <a:pt x="104" y="497"/>
                    </a:lnTo>
                    <a:lnTo>
                      <a:pt x="100" y="516"/>
                    </a:lnTo>
                    <a:lnTo>
                      <a:pt x="97" y="535"/>
                    </a:lnTo>
                    <a:lnTo>
                      <a:pt x="92" y="556"/>
                    </a:lnTo>
                    <a:lnTo>
                      <a:pt x="87" y="575"/>
                    </a:lnTo>
                    <a:lnTo>
                      <a:pt x="81" y="594"/>
                    </a:lnTo>
                    <a:lnTo>
                      <a:pt x="74" y="614"/>
                    </a:lnTo>
                    <a:lnTo>
                      <a:pt x="65" y="633"/>
                    </a:lnTo>
                    <a:lnTo>
                      <a:pt x="57" y="652"/>
                    </a:lnTo>
                    <a:lnTo>
                      <a:pt x="46" y="671"/>
                    </a:lnTo>
                    <a:lnTo>
                      <a:pt x="35" y="691"/>
                    </a:lnTo>
                    <a:lnTo>
                      <a:pt x="421" y="6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02" name="Freeform 38">
                <a:extLst>
                  <a:ext uri="{FF2B5EF4-FFF2-40B4-BE49-F238E27FC236}">
                    <a16:creationId xmlns:a16="http://schemas.microsoft.com/office/drawing/2014/main" id="{565D4977-0A8C-4684-8E18-F4A9A582CBBB}"/>
                  </a:ext>
                </a:extLst>
              </p:cNvPr>
              <p:cNvSpPr>
                <a:spLocks/>
              </p:cNvSpPr>
              <p:nvPr/>
            </p:nvSpPr>
            <p:spPr bwMode="auto">
              <a:xfrm>
                <a:off x="1233488" y="430213"/>
                <a:ext cx="220662" cy="347663"/>
              </a:xfrm>
              <a:custGeom>
                <a:avLst/>
                <a:gdLst>
                  <a:gd name="T0" fmla="*/ 401 w 416"/>
                  <a:gd name="T1" fmla="*/ 616 h 658"/>
                  <a:gd name="T2" fmla="*/ 401 w 416"/>
                  <a:gd name="T3" fmla="*/ 616 h 658"/>
                  <a:gd name="T4" fmla="*/ 408 w 416"/>
                  <a:gd name="T5" fmla="*/ 597 h 658"/>
                  <a:gd name="T6" fmla="*/ 412 w 416"/>
                  <a:gd name="T7" fmla="*/ 576 h 658"/>
                  <a:gd name="T8" fmla="*/ 416 w 416"/>
                  <a:gd name="T9" fmla="*/ 556 h 658"/>
                  <a:gd name="T10" fmla="*/ 416 w 416"/>
                  <a:gd name="T11" fmla="*/ 535 h 658"/>
                  <a:gd name="T12" fmla="*/ 414 w 416"/>
                  <a:gd name="T13" fmla="*/ 514 h 658"/>
                  <a:gd name="T14" fmla="*/ 412 w 416"/>
                  <a:gd name="T15" fmla="*/ 492 h 658"/>
                  <a:gd name="T16" fmla="*/ 407 w 416"/>
                  <a:gd name="T17" fmla="*/ 470 h 658"/>
                  <a:gd name="T18" fmla="*/ 400 w 416"/>
                  <a:gd name="T19" fmla="*/ 449 h 658"/>
                  <a:gd name="T20" fmla="*/ 393 w 416"/>
                  <a:gd name="T21" fmla="*/ 426 h 658"/>
                  <a:gd name="T22" fmla="*/ 383 w 416"/>
                  <a:gd name="T23" fmla="*/ 404 h 658"/>
                  <a:gd name="T24" fmla="*/ 372 w 416"/>
                  <a:gd name="T25" fmla="*/ 382 h 658"/>
                  <a:gd name="T26" fmla="*/ 360 w 416"/>
                  <a:gd name="T27" fmla="*/ 360 h 658"/>
                  <a:gd name="T28" fmla="*/ 347 w 416"/>
                  <a:gd name="T29" fmla="*/ 338 h 658"/>
                  <a:gd name="T30" fmla="*/ 333 w 416"/>
                  <a:gd name="T31" fmla="*/ 316 h 658"/>
                  <a:gd name="T32" fmla="*/ 317 w 416"/>
                  <a:gd name="T33" fmla="*/ 294 h 658"/>
                  <a:gd name="T34" fmla="*/ 302 w 416"/>
                  <a:gd name="T35" fmla="*/ 273 h 658"/>
                  <a:gd name="T36" fmla="*/ 285 w 416"/>
                  <a:gd name="T37" fmla="*/ 251 h 658"/>
                  <a:gd name="T38" fmla="*/ 267 w 416"/>
                  <a:gd name="T39" fmla="*/ 231 h 658"/>
                  <a:gd name="T40" fmla="*/ 231 w 416"/>
                  <a:gd name="T41" fmla="*/ 190 h 658"/>
                  <a:gd name="T42" fmla="*/ 192 w 416"/>
                  <a:gd name="T43" fmla="*/ 151 h 658"/>
                  <a:gd name="T44" fmla="*/ 152 w 416"/>
                  <a:gd name="T45" fmla="*/ 115 h 658"/>
                  <a:gd name="T46" fmla="*/ 113 w 416"/>
                  <a:gd name="T47" fmla="*/ 81 h 658"/>
                  <a:gd name="T48" fmla="*/ 73 w 416"/>
                  <a:gd name="T49" fmla="*/ 51 h 658"/>
                  <a:gd name="T50" fmla="*/ 36 w 416"/>
                  <a:gd name="T51" fmla="*/ 23 h 658"/>
                  <a:gd name="T52" fmla="*/ 0 w 416"/>
                  <a:gd name="T53" fmla="*/ 0 h 658"/>
                  <a:gd name="T54" fmla="*/ 0 w 416"/>
                  <a:gd name="T55" fmla="*/ 0 h 658"/>
                  <a:gd name="T56" fmla="*/ 38 w 416"/>
                  <a:gd name="T57" fmla="*/ 94 h 658"/>
                  <a:gd name="T58" fmla="*/ 38 w 416"/>
                  <a:gd name="T59" fmla="*/ 94 h 658"/>
                  <a:gd name="T60" fmla="*/ 49 w 416"/>
                  <a:gd name="T61" fmla="*/ 123 h 658"/>
                  <a:gd name="T62" fmla="*/ 59 w 416"/>
                  <a:gd name="T63" fmla="*/ 153 h 658"/>
                  <a:gd name="T64" fmla="*/ 70 w 416"/>
                  <a:gd name="T65" fmla="*/ 185 h 658"/>
                  <a:gd name="T66" fmla="*/ 78 w 416"/>
                  <a:gd name="T67" fmla="*/ 219 h 658"/>
                  <a:gd name="T68" fmla="*/ 86 w 416"/>
                  <a:gd name="T69" fmla="*/ 252 h 658"/>
                  <a:gd name="T70" fmla="*/ 94 w 416"/>
                  <a:gd name="T71" fmla="*/ 288 h 658"/>
                  <a:gd name="T72" fmla="*/ 98 w 416"/>
                  <a:gd name="T73" fmla="*/ 323 h 658"/>
                  <a:gd name="T74" fmla="*/ 102 w 416"/>
                  <a:gd name="T75" fmla="*/ 361 h 658"/>
                  <a:gd name="T76" fmla="*/ 103 w 416"/>
                  <a:gd name="T77" fmla="*/ 398 h 658"/>
                  <a:gd name="T78" fmla="*/ 102 w 416"/>
                  <a:gd name="T79" fmla="*/ 435 h 658"/>
                  <a:gd name="T80" fmla="*/ 98 w 416"/>
                  <a:gd name="T81" fmla="*/ 473 h 658"/>
                  <a:gd name="T82" fmla="*/ 96 w 416"/>
                  <a:gd name="T83" fmla="*/ 492 h 658"/>
                  <a:gd name="T84" fmla="*/ 92 w 416"/>
                  <a:gd name="T85" fmla="*/ 511 h 658"/>
                  <a:gd name="T86" fmla="*/ 88 w 416"/>
                  <a:gd name="T87" fmla="*/ 529 h 658"/>
                  <a:gd name="T88" fmla="*/ 83 w 416"/>
                  <a:gd name="T89" fmla="*/ 549 h 658"/>
                  <a:gd name="T90" fmla="*/ 77 w 416"/>
                  <a:gd name="T91" fmla="*/ 567 h 658"/>
                  <a:gd name="T92" fmla="*/ 71 w 416"/>
                  <a:gd name="T93" fmla="*/ 586 h 658"/>
                  <a:gd name="T94" fmla="*/ 62 w 416"/>
                  <a:gd name="T95" fmla="*/ 604 h 658"/>
                  <a:gd name="T96" fmla="*/ 54 w 416"/>
                  <a:gd name="T97" fmla="*/ 622 h 658"/>
                  <a:gd name="T98" fmla="*/ 44 w 416"/>
                  <a:gd name="T99" fmla="*/ 640 h 658"/>
                  <a:gd name="T100" fmla="*/ 35 w 416"/>
                  <a:gd name="T101" fmla="*/ 658 h 658"/>
                  <a:gd name="T102" fmla="*/ 401 w 416"/>
                  <a:gd name="T103" fmla="*/ 616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16" h="658">
                    <a:moveTo>
                      <a:pt x="401" y="616"/>
                    </a:moveTo>
                    <a:lnTo>
                      <a:pt x="401" y="616"/>
                    </a:lnTo>
                    <a:lnTo>
                      <a:pt x="408" y="597"/>
                    </a:lnTo>
                    <a:lnTo>
                      <a:pt x="412" y="576"/>
                    </a:lnTo>
                    <a:lnTo>
                      <a:pt x="416" y="556"/>
                    </a:lnTo>
                    <a:lnTo>
                      <a:pt x="416" y="535"/>
                    </a:lnTo>
                    <a:lnTo>
                      <a:pt x="414" y="514"/>
                    </a:lnTo>
                    <a:lnTo>
                      <a:pt x="412" y="492"/>
                    </a:lnTo>
                    <a:lnTo>
                      <a:pt x="407" y="470"/>
                    </a:lnTo>
                    <a:lnTo>
                      <a:pt x="400" y="449"/>
                    </a:lnTo>
                    <a:lnTo>
                      <a:pt x="393" y="426"/>
                    </a:lnTo>
                    <a:lnTo>
                      <a:pt x="383" y="404"/>
                    </a:lnTo>
                    <a:lnTo>
                      <a:pt x="372" y="382"/>
                    </a:lnTo>
                    <a:lnTo>
                      <a:pt x="360" y="360"/>
                    </a:lnTo>
                    <a:lnTo>
                      <a:pt x="347" y="338"/>
                    </a:lnTo>
                    <a:lnTo>
                      <a:pt x="333" y="316"/>
                    </a:lnTo>
                    <a:lnTo>
                      <a:pt x="317" y="294"/>
                    </a:lnTo>
                    <a:lnTo>
                      <a:pt x="302" y="273"/>
                    </a:lnTo>
                    <a:lnTo>
                      <a:pt x="285" y="251"/>
                    </a:lnTo>
                    <a:lnTo>
                      <a:pt x="267" y="231"/>
                    </a:lnTo>
                    <a:lnTo>
                      <a:pt x="231" y="190"/>
                    </a:lnTo>
                    <a:lnTo>
                      <a:pt x="192" y="151"/>
                    </a:lnTo>
                    <a:lnTo>
                      <a:pt x="152" y="115"/>
                    </a:lnTo>
                    <a:lnTo>
                      <a:pt x="113" y="81"/>
                    </a:lnTo>
                    <a:lnTo>
                      <a:pt x="73" y="51"/>
                    </a:lnTo>
                    <a:lnTo>
                      <a:pt x="36" y="23"/>
                    </a:lnTo>
                    <a:lnTo>
                      <a:pt x="0" y="0"/>
                    </a:lnTo>
                    <a:lnTo>
                      <a:pt x="0" y="0"/>
                    </a:lnTo>
                    <a:lnTo>
                      <a:pt x="38" y="94"/>
                    </a:lnTo>
                    <a:lnTo>
                      <a:pt x="38" y="94"/>
                    </a:lnTo>
                    <a:lnTo>
                      <a:pt x="49" y="123"/>
                    </a:lnTo>
                    <a:lnTo>
                      <a:pt x="59" y="153"/>
                    </a:lnTo>
                    <a:lnTo>
                      <a:pt x="70" y="185"/>
                    </a:lnTo>
                    <a:lnTo>
                      <a:pt x="78" y="219"/>
                    </a:lnTo>
                    <a:lnTo>
                      <a:pt x="86" y="252"/>
                    </a:lnTo>
                    <a:lnTo>
                      <a:pt x="94" y="288"/>
                    </a:lnTo>
                    <a:lnTo>
                      <a:pt x="98" y="323"/>
                    </a:lnTo>
                    <a:lnTo>
                      <a:pt x="102" y="361"/>
                    </a:lnTo>
                    <a:lnTo>
                      <a:pt x="103" y="398"/>
                    </a:lnTo>
                    <a:lnTo>
                      <a:pt x="102" y="435"/>
                    </a:lnTo>
                    <a:lnTo>
                      <a:pt x="98" y="473"/>
                    </a:lnTo>
                    <a:lnTo>
                      <a:pt x="96" y="492"/>
                    </a:lnTo>
                    <a:lnTo>
                      <a:pt x="92" y="511"/>
                    </a:lnTo>
                    <a:lnTo>
                      <a:pt x="88" y="529"/>
                    </a:lnTo>
                    <a:lnTo>
                      <a:pt x="83" y="549"/>
                    </a:lnTo>
                    <a:lnTo>
                      <a:pt x="77" y="567"/>
                    </a:lnTo>
                    <a:lnTo>
                      <a:pt x="71" y="586"/>
                    </a:lnTo>
                    <a:lnTo>
                      <a:pt x="62" y="604"/>
                    </a:lnTo>
                    <a:lnTo>
                      <a:pt x="54" y="622"/>
                    </a:lnTo>
                    <a:lnTo>
                      <a:pt x="44" y="640"/>
                    </a:lnTo>
                    <a:lnTo>
                      <a:pt x="35" y="658"/>
                    </a:lnTo>
                    <a:lnTo>
                      <a:pt x="401" y="6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03" name="Freeform 39">
                <a:extLst>
                  <a:ext uri="{FF2B5EF4-FFF2-40B4-BE49-F238E27FC236}">
                    <a16:creationId xmlns:a16="http://schemas.microsoft.com/office/drawing/2014/main" id="{20D6CB6C-CAA6-4FA0-A823-F3D350B8D775}"/>
                  </a:ext>
                </a:extLst>
              </p:cNvPr>
              <p:cNvSpPr>
                <a:spLocks/>
              </p:cNvSpPr>
              <p:nvPr/>
            </p:nvSpPr>
            <p:spPr bwMode="auto">
              <a:xfrm>
                <a:off x="1077913" y="668338"/>
                <a:ext cx="423862" cy="123825"/>
              </a:xfrm>
              <a:custGeom>
                <a:avLst/>
                <a:gdLst>
                  <a:gd name="T0" fmla="*/ 801 w 801"/>
                  <a:gd name="T1" fmla="*/ 0 h 235"/>
                  <a:gd name="T2" fmla="*/ 801 w 801"/>
                  <a:gd name="T3" fmla="*/ 0 h 235"/>
                  <a:gd name="T4" fmla="*/ 799 w 801"/>
                  <a:gd name="T5" fmla="*/ 15 h 235"/>
                  <a:gd name="T6" fmla="*/ 795 w 801"/>
                  <a:gd name="T7" fmla="*/ 31 h 235"/>
                  <a:gd name="T8" fmla="*/ 789 w 801"/>
                  <a:gd name="T9" fmla="*/ 49 h 235"/>
                  <a:gd name="T10" fmla="*/ 779 w 801"/>
                  <a:gd name="T11" fmla="*/ 68 h 235"/>
                  <a:gd name="T12" fmla="*/ 768 w 801"/>
                  <a:gd name="T13" fmla="*/ 87 h 235"/>
                  <a:gd name="T14" fmla="*/ 756 w 801"/>
                  <a:gd name="T15" fmla="*/ 107 h 235"/>
                  <a:gd name="T16" fmla="*/ 742 w 801"/>
                  <a:gd name="T17" fmla="*/ 127 h 235"/>
                  <a:gd name="T18" fmla="*/ 727 w 801"/>
                  <a:gd name="T19" fmla="*/ 145 h 235"/>
                  <a:gd name="T20" fmla="*/ 710 w 801"/>
                  <a:gd name="T21" fmla="*/ 163 h 235"/>
                  <a:gd name="T22" fmla="*/ 694 w 801"/>
                  <a:gd name="T23" fmla="*/ 180 h 235"/>
                  <a:gd name="T24" fmla="*/ 677 w 801"/>
                  <a:gd name="T25" fmla="*/ 195 h 235"/>
                  <a:gd name="T26" fmla="*/ 659 w 801"/>
                  <a:gd name="T27" fmla="*/ 209 h 235"/>
                  <a:gd name="T28" fmla="*/ 642 w 801"/>
                  <a:gd name="T29" fmla="*/ 219 h 235"/>
                  <a:gd name="T30" fmla="*/ 625 w 801"/>
                  <a:gd name="T31" fmla="*/ 228 h 235"/>
                  <a:gd name="T32" fmla="*/ 617 w 801"/>
                  <a:gd name="T33" fmla="*/ 230 h 235"/>
                  <a:gd name="T34" fmla="*/ 608 w 801"/>
                  <a:gd name="T35" fmla="*/ 233 h 235"/>
                  <a:gd name="T36" fmla="*/ 601 w 801"/>
                  <a:gd name="T37" fmla="*/ 234 h 235"/>
                  <a:gd name="T38" fmla="*/ 593 w 801"/>
                  <a:gd name="T39" fmla="*/ 235 h 235"/>
                  <a:gd name="T40" fmla="*/ 99 w 801"/>
                  <a:gd name="T41" fmla="*/ 235 h 235"/>
                  <a:gd name="T42" fmla="*/ 99 w 801"/>
                  <a:gd name="T43" fmla="*/ 235 h 235"/>
                  <a:gd name="T44" fmla="*/ 89 w 801"/>
                  <a:gd name="T45" fmla="*/ 234 h 235"/>
                  <a:gd name="T46" fmla="*/ 78 w 801"/>
                  <a:gd name="T47" fmla="*/ 231 h 235"/>
                  <a:gd name="T48" fmla="*/ 70 w 801"/>
                  <a:gd name="T49" fmla="*/ 227 h 235"/>
                  <a:gd name="T50" fmla="*/ 60 w 801"/>
                  <a:gd name="T51" fmla="*/ 221 h 235"/>
                  <a:gd name="T52" fmla="*/ 52 w 801"/>
                  <a:gd name="T53" fmla="*/ 213 h 235"/>
                  <a:gd name="T54" fmla="*/ 43 w 801"/>
                  <a:gd name="T55" fmla="*/ 205 h 235"/>
                  <a:gd name="T56" fmla="*/ 36 w 801"/>
                  <a:gd name="T57" fmla="*/ 195 h 235"/>
                  <a:gd name="T58" fmla="*/ 29 w 801"/>
                  <a:gd name="T59" fmla="*/ 184 h 235"/>
                  <a:gd name="T60" fmla="*/ 23 w 801"/>
                  <a:gd name="T61" fmla="*/ 172 h 235"/>
                  <a:gd name="T62" fmla="*/ 17 w 801"/>
                  <a:gd name="T63" fmla="*/ 160 h 235"/>
                  <a:gd name="T64" fmla="*/ 12 w 801"/>
                  <a:gd name="T65" fmla="*/ 147 h 235"/>
                  <a:gd name="T66" fmla="*/ 7 w 801"/>
                  <a:gd name="T67" fmla="*/ 134 h 235"/>
                  <a:gd name="T68" fmla="*/ 4 w 801"/>
                  <a:gd name="T69" fmla="*/ 119 h 235"/>
                  <a:gd name="T70" fmla="*/ 1 w 801"/>
                  <a:gd name="T71" fmla="*/ 106 h 235"/>
                  <a:gd name="T72" fmla="*/ 0 w 801"/>
                  <a:gd name="T73" fmla="*/ 92 h 235"/>
                  <a:gd name="T74" fmla="*/ 0 w 801"/>
                  <a:gd name="T75" fmla="*/ 78 h 235"/>
                  <a:gd name="T76" fmla="*/ 801 w 801"/>
                  <a:gd name="T77"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1" h="235">
                    <a:moveTo>
                      <a:pt x="801" y="0"/>
                    </a:moveTo>
                    <a:lnTo>
                      <a:pt x="801" y="0"/>
                    </a:lnTo>
                    <a:lnTo>
                      <a:pt x="799" y="15"/>
                    </a:lnTo>
                    <a:lnTo>
                      <a:pt x="795" y="31"/>
                    </a:lnTo>
                    <a:lnTo>
                      <a:pt x="789" y="49"/>
                    </a:lnTo>
                    <a:lnTo>
                      <a:pt x="779" y="68"/>
                    </a:lnTo>
                    <a:lnTo>
                      <a:pt x="768" y="87"/>
                    </a:lnTo>
                    <a:lnTo>
                      <a:pt x="756" y="107"/>
                    </a:lnTo>
                    <a:lnTo>
                      <a:pt x="742" y="127"/>
                    </a:lnTo>
                    <a:lnTo>
                      <a:pt x="727" y="145"/>
                    </a:lnTo>
                    <a:lnTo>
                      <a:pt x="710" y="163"/>
                    </a:lnTo>
                    <a:lnTo>
                      <a:pt x="694" y="180"/>
                    </a:lnTo>
                    <a:lnTo>
                      <a:pt x="677" y="195"/>
                    </a:lnTo>
                    <a:lnTo>
                      <a:pt x="659" y="209"/>
                    </a:lnTo>
                    <a:lnTo>
                      <a:pt x="642" y="219"/>
                    </a:lnTo>
                    <a:lnTo>
                      <a:pt x="625" y="228"/>
                    </a:lnTo>
                    <a:lnTo>
                      <a:pt x="617" y="230"/>
                    </a:lnTo>
                    <a:lnTo>
                      <a:pt x="608" y="233"/>
                    </a:lnTo>
                    <a:lnTo>
                      <a:pt x="601" y="234"/>
                    </a:lnTo>
                    <a:lnTo>
                      <a:pt x="593" y="235"/>
                    </a:lnTo>
                    <a:lnTo>
                      <a:pt x="99" y="235"/>
                    </a:lnTo>
                    <a:lnTo>
                      <a:pt x="99" y="235"/>
                    </a:lnTo>
                    <a:lnTo>
                      <a:pt x="89" y="234"/>
                    </a:lnTo>
                    <a:lnTo>
                      <a:pt x="78" y="231"/>
                    </a:lnTo>
                    <a:lnTo>
                      <a:pt x="70" y="227"/>
                    </a:lnTo>
                    <a:lnTo>
                      <a:pt x="60" y="221"/>
                    </a:lnTo>
                    <a:lnTo>
                      <a:pt x="52" y="213"/>
                    </a:lnTo>
                    <a:lnTo>
                      <a:pt x="43" y="205"/>
                    </a:lnTo>
                    <a:lnTo>
                      <a:pt x="36" y="195"/>
                    </a:lnTo>
                    <a:lnTo>
                      <a:pt x="29" y="184"/>
                    </a:lnTo>
                    <a:lnTo>
                      <a:pt x="23" y="172"/>
                    </a:lnTo>
                    <a:lnTo>
                      <a:pt x="17" y="160"/>
                    </a:lnTo>
                    <a:lnTo>
                      <a:pt x="12" y="147"/>
                    </a:lnTo>
                    <a:lnTo>
                      <a:pt x="7" y="134"/>
                    </a:lnTo>
                    <a:lnTo>
                      <a:pt x="4" y="119"/>
                    </a:lnTo>
                    <a:lnTo>
                      <a:pt x="1" y="106"/>
                    </a:lnTo>
                    <a:lnTo>
                      <a:pt x="0" y="92"/>
                    </a:lnTo>
                    <a:lnTo>
                      <a:pt x="0" y="78"/>
                    </a:lnTo>
                    <a:lnTo>
                      <a:pt x="801"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04" name="Freeform 40">
                <a:extLst>
                  <a:ext uri="{FF2B5EF4-FFF2-40B4-BE49-F238E27FC236}">
                    <a16:creationId xmlns:a16="http://schemas.microsoft.com/office/drawing/2014/main" id="{001545F5-6107-4427-A675-79E5DED1E203}"/>
                  </a:ext>
                </a:extLst>
              </p:cNvPr>
              <p:cNvSpPr>
                <a:spLocks/>
              </p:cNvSpPr>
              <p:nvPr/>
            </p:nvSpPr>
            <p:spPr bwMode="auto">
              <a:xfrm>
                <a:off x="1077913" y="677863"/>
                <a:ext cx="423862" cy="123825"/>
              </a:xfrm>
              <a:custGeom>
                <a:avLst/>
                <a:gdLst>
                  <a:gd name="T0" fmla="*/ 801 w 801"/>
                  <a:gd name="T1" fmla="*/ 0 h 234"/>
                  <a:gd name="T2" fmla="*/ 801 w 801"/>
                  <a:gd name="T3" fmla="*/ 0 h 234"/>
                  <a:gd name="T4" fmla="*/ 799 w 801"/>
                  <a:gd name="T5" fmla="*/ 15 h 234"/>
                  <a:gd name="T6" fmla="*/ 795 w 801"/>
                  <a:gd name="T7" fmla="*/ 32 h 234"/>
                  <a:gd name="T8" fmla="*/ 789 w 801"/>
                  <a:gd name="T9" fmla="*/ 49 h 234"/>
                  <a:gd name="T10" fmla="*/ 779 w 801"/>
                  <a:gd name="T11" fmla="*/ 68 h 234"/>
                  <a:gd name="T12" fmla="*/ 768 w 801"/>
                  <a:gd name="T13" fmla="*/ 87 h 234"/>
                  <a:gd name="T14" fmla="*/ 756 w 801"/>
                  <a:gd name="T15" fmla="*/ 106 h 234"/>
                  <a:gd name="T16" fmla="*/ 742 w 801"/>
                  <a:gd name="T17" fmla="*/ 126 h 234"/>
                  <a:gd name="T18" fmla="*/ 727 w 801"/>
                  <a:gd name="T19" fmla="*/ 145 h 234"/>
                  <a:gd name="T20" fmla="*/ 710 w 801"/>
                  <a:gd name="T21" fmla="*/ 163 h 234"/>
                  <a:gd name="T22" fmla="*/ 694 w 801"/>
                  <a:gd name="T23" fmla="*/ 180 h 234"/>
                  <a:gd name="T24" fmla="*/ 677 w 801"/>
                  <a:gd name="T25" fmla="*/ 196 h 234"/>
                  <a:gd name="T26" fmla="*/ 659 w 801"/>
                  <a:gd name="T27" fmla="*/ 209 h 234"/>
                  <a:gd name="T28" fmla="*/ 642 w 801"/>
                  <a:gd name="T29" fmla="*/ 220 h 234"/>
                  <a:gd name="T30" fmla="*/ 625 w 801"/>
                  <a:gd name="T31" fmla="*/ 227 h 234"/>
                  <a:gd name="T32" fmla="*/ 617 w 801"/>
                  <a:gd name="T33" fmla="*/ 231 h 234"/>
                  <a:gd name="T34" fmla="*/ 608 w 801"/>
                  <a:gd name="T35" fmla="*/ 233 h 234"/>
                  <a:gd name="T36" fmla="*/ 601 w 801"/>
                  <a:gd name="T37" fmla="*/ 234 h 234"/>
                  <a:gd name="T38" fmla="*/ 593 w 801"/>
                  <a:gd name="T39" fmla="*/ 234 h 234"/>
                  <a:gd name="T40" fmla="*/ 99 w 801"/>
                  <a:gd name="T41" fmla="*/ 234 h 234"/>
                  <a:gd name="T42" fmla="*/ 99 w 801"/>
                  <a:gd name="T43" fmla="*/ 234 h 234"/>
                  <a:gd name="T44" fmla="*/ 89 w 801"/>
                  <a:gd name="T45" fmla="*/ 234 h 234"/>
                  <a:gd name="T46" fmla="*/ 78 w 801"/>
                  <a:gd name="T47" fmla="*/ 231 h 234"/>
                  <a:gd name="T48" fmla="*/ 70 w 801"/>
                  <a:gd name="T49" fmla="*/ 227 h 234"/>
                  <a:gd name="T50" fmla="*/ 60 w 801"/>
                  <a:gd name="T51" fmla="*/ 221 h 234"/>
                  <a:gd name="T52" fmla="*/ 52 w 801"/>
                  <a:gd name="T53" fmla="*/ 212 h 234"/>
                  <a:gd name="T54" fmla="*/ 43 w 801"/>
                  <a:gd name="T55" fmla="*/ 204 h 234"/>
                  <a:gd name="T56" fmla="*/ 36 w 801"/>
                  <a:gd name="T57" fmla="*/ 194 h 234"/>
                  <a:gd name="T58" fmla="*/ 29 w 801"/>
                  <a:gd name="T59" fmla="*/ 184 h 234"/>
                  <a:gd name="T60" fmla="*/ 23 w 801"/>
                  <a:gd name="T61" fmla="*/ 173 h 234"/>
                  <a:gd name="T62" fmla="*/ 17 w 801"/>
                  <a:gd name="T63" fmla="*/ 159 h 234"/>
                  <a:gd name="T64" fmla="*/ 12 w 801"/>
                  <a:gd name="T65" fmla="*/ 146 h 234"/>
                  <a:gd name="T66" fmla="*/ 7 w 801"/>
                  <a:gd name="T67" fmla="*/ 133 h 234"/>
                  <a:gd name="T68" fmla="*/ 4 w 801"/>
                  <a:gd name="T69" fmla="*/ 120 h 234"/>
                  <a:gd name="T70" fmla="*/ 1 w 801"/>
                  <a:gd name="T71" fmla="*/ 105 h 234"/>
                  <a:gd name="T72" fmla="*/ 0 w 801"/>
                  <a:gd name="T73" fmla="*/ 92 h 234"/>
                  <a:gd name="T74" fmla="*/ 0 w 801"/>
                  <a:gd name="T75" fmla="*/ 77 h 234"/>
                  <a:gd name="T76" fmla="*/ 801 w 801"/>
                  <a:gd name="T77"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801" h="234">
                    <a:moveTo>
                      <a:pt x="801" y="0"/>
                    </a:moveTo>
                    <a:lnTo>
                      <a:pt x="801" y="0"/>
                    </a:lnTo>
                    <a:lnTo>
                      <a:pt x="799" y="15"/>
                    </a:lnTo>
                    <a:lnTo>
                      <a:pt x="795" y="32"/>
                    </a:lnTo>
                    <a:lnTo>
                      <a:pt x="789" y="49"/>
                    </a:lnTo>
                    <a:lnTo>
                      <a:pt x="779" y="68"/>
                    </a:lnTo>
                    <a:lnTo>
                      <a:pt x="768" y="87"/>
                    </a:lnTo>
                    <a:lnTo>
                      <a:pt x="756" y="106"/>
                    </a:lnTo>
                    <a:lnTo>
                      <a:pt x="742" y="126"/>
                    </a:lnTo>
                    <a:lnTo>
                      <a:pt x="727" y="145"/>
                    </a:lnTo>
                    <a:lnTo>
                      <a:pt x="710" y="163"/>
                    </a:lnTo>
                    <a:lnTo>
                      <a:pt x="694" y="180"/>
                    </a:lnTo>
                    <a:lnTo>
                      <a:pt x="677" y="196"/>
                    </a:lnTo>
                    <a:lnTo>
                      <a:pt x="659" y="209"/>
                    </a:lnTo>
                    <a:lnTo>
                      <a:pt x="642" y="220"/>
                    </a:lnTo>
                    <a:lnTo>
                      <a:pt x="625" y="227"/>
                    </a:lnTo>
                    <a:lnTo>
                      <a:pt x="617" y="231"/>
                    </a:lnTo>
                    <a:lnTo>
                      <a:pt x="608" y="233"/>
                    </a:lnTo>
                    <a:lnTo>
                      <a:pt x="601" y="234"/>
                    </a:lnTo>
                    <a:lnTo>
                      <a:pt x="593" y="234"/>
                    </a:lnTo>
                    <a:lnTo>
                      <a:pt x="99" y="234"/>
                    </a:lnTo>
                    <a:lnTo>
                      <a:pt x="99" y="234"/>
                    </a:lnTo>
                    <a:lnTo>
                      <a:pt x="89" y="234"/>
                    </a:lnTo>
                    <a:lnTo>
                      <a:pt x="78" y="231"/>
                    </a:lnTo>
                    <a:lnTo>
                      <a:pt x="70" y="227"/>
                    </a:lnTo>
                    <a:lnTo>
                      <a:pt x="60" y="221"/>
                    </a:lnTo>
                    <a:lnTo>
                      <a:pt x="52" y="212"/>
                    </a:lnTo>
                    <a:lnTo>
                      <a:pt x="43" y="204"/>
                    </a:lnTo>
                    <a:lnTo>
                      <a:pt x="36" y="194"/>
                    </a:lnTo>
                    <a:lnTo>
                      <a:pt x="29" y="184"/>
                    </a:lnTo>
                    <a:lnTo>
                      <a:pt x="23" y="173"/>
                    </a:lnTo>
                    <a:lnTo>
                      <a:pt x="17" y="159"/>
                    </a:lnTo>
                    <a:lnTo>
                      <a:pt x="12" y="146"/>
                    </a:lnTo>
                    <a:lnTo>
                      <a:pt x="7" y="133"/>
                    </a:lnTo>
                    <a:lnTo>
                      <a:pt x="4" y="120"/>
                    </a:lnTo>
                    <a:lnTo>
                      <a:pt x="1" y="105"/>
                    </a:lnTo>
                    <a:lnTo>
                      <a:pt x="0" y="92"/>
                    </a:lnTo>
                    <a:lnTo>
                      <a:pt x="0" y="77"/>
                    </a:lnTo>
                    <a:lnTo>
                      <a:pt x="801"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05" name="Freeform 41">
                <a:extLst>
                  <a:ext uri="{FF2B5EF4-FFF2-40B4-BE49-F238E27FC236}">
                    <a16:creationId xmlns:a16="http://schemas.microsoft.com/office/drawing/2014/main" id="{BBAE0DE7-F4A8-4293-8538-94F438766A01}"/>
                  </a:ext>
                </a:extLst>
              </p:cNvPr>
              <p:cNvSpPr>
                <a:spLocks/>
              </p:cNvSpPr>
              <p:nvPr/>
            </p:nvSpPr>
            <p:spPr bwMode="auto">
              <a:xfrm>
                <a:off x="1035050" y="742951"/>
                <a:ext cx="439737" cy="90488"/>
              </a:xfrm>
              <a:custGeom>
                <a:avLst/>
                <a:gdLst>
                  <a:gd name="T0" fmla="*/ 829 w 829"/>
                  <a:gd name="T1" fmla="*/ 0 h 171"/>
                  <a:gd name="T2" fmla="*/ 815 w 829"/>
                  <a:gd name="T3" fmla="*/ 30 h 171"/>
                  <a:gd name="T4" fmla="*/ 795 w 829"/>
                  <a:gd name="T5" fmla="*/ 60 h 171"/>
                  <a:gd name="T6" fmla="*/ 767 w 829"/>
                  <a:gd name="T7" fmla="*/ 93 h 171"/>
                  <a:gd name="T8" fmla="*/ 727 w 829"/>
                  <a:gd name="T9" fmla="*/ 125 h 171"/>
                  <a:gd name="T10" fmla="*/ 703 w 829"/>
                  <a:gd name="T11" fmla="*/ 140 h 171"/>
                  <a:gd name="T12" fmla="*/ 677 w 829"/>
                  <a:gd name="T13" fmla="*/ 152 h 171"/>
                  <a:gd name="T14" fmla="*/ 646 w 829"/>
                  <a:gd name="T15" fmla="*/ 162 h 171"/>
                  <a:gd name="T16" fmla="*/ 613 w 829"/>
                  <a:gd name="T17" fmla="*/ 169 h 171"/>
                  <a:gd name="T18" fmla="*/ 577 w 829"/>
                  <a:gd name="T19" fmla="*/ 171 h 171"/>
                  <a:gd name="T20" fmla="*/ 537 w 829"/>
                  <a:gd name="T21" fmla="*/ 169 h 171"/>
                  <a:gd name="T22" fmla="*/ 509 w 829"/>
                  <a:gd name="T23" fmla="*/ 165 h 171"/>
                  <a:gd name="T24" fmla="*/ 416 w 829"/>
                  <a:gd name="T25" fmla="*/ 143 h 171"/>
                  <a:gd name="T26" fmla="*/ 308 w 829"/>
                  <a:gd name="T27" fmla="*/ 117 h 171"/>
                  <a:gd name="T28" fmla="*/ 233 w 829"/>
                  <a:gd name="T29" fmla="*/ 104 h 171"/>
                  <a:gd name="T30" fmla="*/ 179 w 829"/>
                  <a:gd name="T31" fmla="*/ 100 h 171"/>
                  <a:gd name="T32" fmla="*/ 143 w 829"/>
                  <a:gd name="T33" fmla="*/ 100 h 171"/>
                  <a:gd name="T34" fmla="*/ 108 w 829"/>
                  <a:gd name="T35" fmla="*/ 105 h 171"/>
                  <a:gd name="T36" fmla="*/ 74 w 829"/>
                  <a:gd name="T37" fmla="*/ 113 h 171"/>
                  <a:gd name="T38" fmla="*/ 43 w 829"/>
                  <a:gd name="T39" fmla="*/ 125 h 171"/>
                  <a:gd name="T40" fmla="*/ 14 w 829"/>
                  <a:gd name="T41" fmla="*/ 143 h 171"/>
                  <a:gd name="T42" fmla="*/ 0 w 829"/>
                  <a:gd name="T43" fmla="*/ 154 h 171"/>
                  <a:gd name="T44" fmla="*/ 17 w 829"/>
                  <a:gd name="T45" fmla="*/ 130 h 171"/>
                  <a:gd name="T46" fmla="*/ 36 w 829"/>
                  <a:gd name="T47" fmla="*/ 109 h 171"/>
                  <a:gd name="T48" fmla="*/ 58 w 829"/>
                  <a:gd name="T49" fmla="*/ 89 h 171"/>
                  <a:gd name="T50" fmla="*/ 82 w 829"/>
                  <a:gd name="T51" fmla="*/ 74 h 171"/>
                  <a:gd name="T52" fmla="*/ 107 w 829"/>
                  <a:gd name="T53" fmla="*/ 60 h 171"/>
                  <a:gd name="T54" fmla="*/ 163 w 829"/>
                  <a:gd name="T55" fmla="*/ 41 h 171"/>
                  <a:gd name="T56" fmla="*/ 223 w 829"/>
                  <a:gd name="T57" fmla="*/ 30 h 171"/>
                  <a:gd name="T58" fmla="*/ 284 w 829"/>
                  <a:gd name="T59" fmla="*/ 27 h 171"/>
                  <a:gd name="T60" fmla="*/ 342 w 829"/>
                  <a:gd name="T61" fmla="*/ 30 h 171"/>
                  <a:gd name="T62" fmla="*/ 396 w 829"/>
                  <a:gd name="T63" fmla="*/ 37 h 171"/>
                  <a:gd name="T64" fmla="*/ 421 w 829"/>
                  <a:gd name="T65" fmla="*/ 43 h 171"/>
                  <a:gd name="T66" fmla="*/ 520 w 829"/>
                  <a:gd name="T67" fmla="*/ 71 h 171"/>
                  <a:gd name="T68" fmla="*/ 571 w 829"/>
                  <a:gd name="T69" fmla="*/ 84 h 171"/>
                  <a:gd name="T70" fmla="*/ 622 w 829"/>
                  <a:gd name="T71" fmla="*/ 92 h 171"/>
                  <a:gd name="T72" fmla="*/ 675 w 829"/>
                  <a:gd name="T73" fmla="*/ 89 h 171"/>
                  <a:gd name="T74" fmla="*/ 701 w 829"/>
                  <a:gd name="T75" fmla="*/ 84 h 171"/>
                  <a:gd name="T76" fmla="*/ 727 w 829"/>
                  <a:gd name="T77" fmla="*/ 76 h 171"/>
                  <a:gd name="T78" fmla="*/ 752 w 829"/>
                  <a:gd name="T79" fmla="*/ 64 h 171"/>
                  <a:gd name="T80" fmla="*/ 779 w 829"/>
                  <a:gd name="T81" fmla="*/ 47 h 171"/>
                  <a:gd name="T82" fmla="*/ 804 w 829"/>
                  <a:gd name="T83" fmla="*/ 27 h 171"/>
                  <a:gd name="T84" fmla="*/ 829 w 829"/>
                  <a:gd name="T85"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29" h="171">
                    <a:moveTo>
                      <a:pt x="829" y="0"/>
                    </a:moveTo>
                    <a:lnTo>
                      <a:pt x="829" y="0"/>
                    </a:lnTo>
                    <a:lnTo>
                      <a:pt x="826" y="9"/>
                    </a:lnTo>
                    <a:lnTo>
                      <a:pt x="815" y="30"/>
                    </a:lnTo>
                    <a:lnTo>
                      <a:pt x="806" y="45"/>
                    </a:lnTo>
                    <a:lnTo>
                      <a:pt x="795" y="60"/>
                    </a:lnTo>
                    <a:lnTo>
                      <a:pt x="782" y="76"/>
                    </a:lnTo>
                    <a:lnTo>
                      <a:pt x="767" y="93"/>
                    </a:lnTo>
                    <a:lnTo>
                      <a:pt x="749" y="110"/>
                    </a:lnTo>
                    <a:lnTo>
                      <a:pt x="727" y="125"/>
                    </a:lnTo>
                    <a:lnTo>
                      <a:pt x="716" y="133"/>
                    </a:lnTo>
                    <a:lnTo>
                      <a:pt x="703" y="140"/>
                    </a:lnTo>
                    <a:lnTo>
                      <a:pt x="690" y="147"/>
                    </a:lnTo>
                    <a:lnTo>
                      <a:pt x="677" y="152"/>
                    </a:lnTo>
                    <a:lnTo>
                      <a:pt x="662" y="158"/>
                    </a:lnTo>
                    <a:lnTo>
                      <a:pt x="646" y="162"/>
                    </a:lnTo>
                    <a:lnTo>
                      <a:pt x="631" y="165"/>
                    </a:lnTo>
                    <a:lnTo>
                      <a:pt x="613" y="169"/>
                    </a:lnTo>
                    <a:lnTo>
                      <a:pt x="596" y="170"/>
                    </a:lnTo>
                    <a:lnTo>
                      <a:pt x="577" y="171"/>
                    </a:lnTo>
                    <a:lnTo>
                      <a:pt x="558" y="171"/>
                    </a:lnTo>
                    <a:lnTo>
                      <a:pt x="537" y="169"/>
                    </a:lnTo>
                    <a:lnTo>
                      <a:pt x="537" y="169"/>
                    </a:lnTo>
                    <a:lnTo>
                      <a:pt x="509" y="165"/>
                    </a:lnTo>
                    <a:lnTo>
                      <a:pt x="481" y="159"/>
                    </a:lnTo>
                    <a:lnTo>
                      <a:pt x="416" y="143"/>
                    </a:lnTo>
                    <a:lnTo>
                      <a:pt x="345" y="125"/>
                    </a:lnTo>
                    <a:lnTo>
                      <a:pt x="308" y="117"/>
                    </a:lnTo>
                    <a:lnTo>
                      <a:pt x="270" y="110"/>
                    </a:lnTo>
                    <a:lnTo>
                      <a:pt x="233" y="104"/>
                    </a:lnTo>
                    <a:lnTo>
                      <a:pt x="197" y="100"/>
                    </a:lnTo>
                    <a:lnTo>
                      <a:pt x="179" y="100"/>
                    </a:lnTo>
                    <a:lnTo>
                      <a:pt x="161" y="100"/>
                    </a:lnTo>
                    <a:lnTo>
                      <a:pt x="143" y="100"/>
                    </a:lnTo>
                    <a:lnTo>
                      <a:pt x="125" y="102"/>
                    </a:lnTo>
                    <a:lnTo>
                      <a:pt x="108" y="105"/>
                    </a:lnTo>
                    <a:lnTo>
                      <a:pt x="91" y="109"/>
                    </a:lnTo>
                    <a:lnTo>
                      <a:pt x="74" y="113"/>
                    </a:lnTo>
                    <a:lnTo>
                      <a:pt x="59" y="118"/>
                    </a:lnTo>
                    <a:lnTo>
                      <a:pt x="43" y="125"/>
                    </a:lnTo>
                    <a:lnTo>
                      <a:pt x="29" y="134"/>
                    </a:lnTo>
                    <a:lnTo>
                      <a:pt x="14" y="143"/>
                    </a:lnTo>
                    <a:lnTo>
                      <a:pt x="0" y="154"/>
                    </a:lnTo>
                    <a:lnTo>
                      <a:pt x="0" y="154"/>
                    </a:lnTo>
                    <a:lnTo>
                      <a:pt x="8" y="142"/>
                    </a:lnTo>
                    <a:lnTo>
                      <a:pt x="17" y="130"/>
                    </a:lnTo>
                    <a:lnTo>
                      <a:pt x="26" y="118"/>
                    </a:lnTo>
                    <a:lnTo>
                      <a:pt x="36" y="109"/>
                    </a:lnTo>
                    <a:lnTo>
                      <a:pt x="47" y="99"/>
                    </a:lnTo>
                    <a:lnTo>
                      <a:pt x="58" y="89"/>
                    </a:lnTo>
                    <a:lnTo>
                      <a:pt x="70" y="81"/>
                    </a:lnTo>
                    <a:lnTo>
                      <a:pt x="82" y="74"/>
                    </a:lnTo>
                    <a:lnTo>
                      <a:pt x="95" y="66"/>
                    </a:lnTo>
                    <a:lnTo>
                      <a:pt x="107" y="60"/>
                    </a:lnTo>
                    <a:lnTo>
                      <a:pt x="134" y="49"/>
                    </a:lnTo>
                    <a:lnTo>
                      <a:pt x="163" y="41"/>
                    </a:lnTo>
                    <a:lnTo>
                      <a:pt x="193" y="35"/>
                    </a:lnTo>
                    <a:lnTo>
                      <a:pt x="223" y="30"/>
                    </a:lnTo>
                    <a:lnTo>
                      <a:pt x="253" y="28"/>
                    </a:lnTo>
                    <a:lnTo>
                      <a:pt x="284" y="27"/>
                    </a:lnTo>
                    <a:lnTo>
                      <a:pt x="314" y="28"/>
                    </a:lnTo>
                    <a:lnTo>
                      <a:pt x="342" y="30"/>
                    </a:lnTo>
                    <a:lnTo>
                      <a:pt x="370" y="33"/>
                    </a:lnTo>
                    <a:lnTo>
                      <a:pt x="396" y="37"/>
                    </a:lnTo>
                    <a:lnTo>
                      <a:pt x="421" y="43"/>
                    </a:lnTo>
                    <a:lnTo>
                      <a:pt x="421" y="43"/>
                    </a:lnTo>
                    <a:lnTo>
                      <a:pt x="470" y="57"/>
                    </a:lnTo>
                    <a:lnTo>
                      <a:pt x="520" y="71"/>
                    </a:lnTo>
                    <a:lnTo>
                      <a:pt x="546" y="78"/>
                    </a:lnTo>
                    <a:lnTo>
                      <a:pt x="571" y="84"/>
                    </a:lnTo>
                    <a:lnTo>
                      <a:pt x="597" y="88"/>
                    </a:lnTo>
                    <a:lnTo>
                      <a:pt x="622" y="92"/>
                    </a:lnTo>
                    <a:lnTo>
                      <a:pt x="649" y="92"/>
                    </a:lnTo>
                    <a:lnTo>
                      <a:pt x="675" y="89"/>
                    </a:lnTo>
                    <a:lnTo>
                      <a:pt x="689" y="88"/>
                    </a:lnTo>
                    <a:lnTo>
                      <a:pt x="701" y="84"/>
                    </a:lnTo>
                    <a:lnTo>
                      <a:pt x="714" y="81"/>
                    </a:lnTo>
                    <a:lnTo>
                      <a:pt x="727" y="76"/>
                    </a:lnTo>
                    <a:lnTo>
                      <a:pt x="740" y="70"/>
                    </a:lnTo>
                    <a:lnTo>
                      <a:pt x="752" y="64"/>
                    </a:lnTo>
                    <a:lnTo>
                      <a:pt x="765" y="57"/>
                    </a:lnTo>
                    <a:lnTo>
                      <a:pt x="779" y="47"/>
                    </a:lnTo>
                    <a:lnTo>
                      <a:pt x="791" y="37"/>
                    </a:lnTo>
                    <a:lnTo>
                      <a:pt x="804" y="27"/>
                    </a:lnTo>
                    <a:lnTo>
                      <a:pt x="817" y="15"/>
                    </a:lnTo>
                    <a:lnTo>
                      <a:pt x="829" y="0"/>
                    </a:lnTo>
                    <a:lnTo>
                      <a:pt x="829" y="0"/>
                    </a:lnTo>
                    <a:close/>
                  </a:path>
                </a:pathLst>
              </a:custGeom>
              <a:solidFill>
                <a:srgbClr val="000000"/>
              </a:solidFill>
              <a:ln w="9525">
                <a:solidFill>
                  <a:sysClr val="window" lastClr="FFFFFF"/>
                </a:solid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06" name="Freeform 42">
                <a:extLst>
                  <a:ext uri="{FF2B5EF4-FFF2-40B4-BE49-F238E27FC236}">
                    <a16:creationId xmlns:a16="http://schemas.microsoft.com/office/drawing/2014/main" id="{B839DF11-A003-48DC-BD23-DB3CF4A687E1}"/>
                  </a:ext>
                </a:extLst>
              </p:cNvPr>
              <p:cNvSpPr>
                <a:spLocks/>
              </p:cNvSpPr>
              <p:nvPr/>
            </p:nvSpPr>
            <p:spPr bwMode="auto">
              <a:xfrm>
                <a:off x="1055688" y="752476"/>
                <a:ext cx="415925" cy="87313"/>
              </a:xfrm>
              <a:custGeom>
                <a:avLst/>
                <a:gdLst>
                  <a:gd name="T0" fmla="*/ 787 w 787"/>
                  <a:gd name="T1" fmla="*/ 0 h 163"/>
                  <a:gd name="T2" fmla="*/ 773 w 787"/>
                  <a:gd name="T3" fmla="*/ 28 h 163"/>
                  <a:gd name="T4" fmla="*/ 755 w 787"/>
                  <a:gd name="T5" fmla="*/ 57 h 163"/>
                  <a:gd name="T6" fmla="*/ 727 w 787"/>
                  <a:gd name="T7" fmla="*/ 88 h 163"/>
                  <a:gd name="T8" fmla="*/ 690 w 787"/>
                  <a:gd name="T9" fmla="*/ 120 h 163"/>
                  <a:gd name="T10" fmla="*/ 667 w 787"/>
                  <a:gd name="T11" fmla="*/ 133 h 163"/>
                  <a:gd name="T12" fmla="*/ 642 w 787"/>
                  <a:gd name="T13" fmla="*/ 145 h 163"/>
                  <a:gd name="T14" fmla="*/ 613 w 787"/>
                  <a:gd name="T15" fmla="*/ 155 h 163"/>
                  <a:gd name="T16" fmla="*/ 582 w 787"/>
                  <a:gd name="T17" fmla="*/ 161 h 163"/>
                  <a:gd name="T18" fmla="*/ 547 w 787"/>
                  <a:gd name="T19" fmla="*/ 163 h 163"/>
                  <a:gd name="T20" fmla="*/ 510 w 787"/>
                  <a:gd name="T21" fmla="*/ 161 h 163"/>
                  <a:gd name="T22" fmla="*/ 483 w 787"/>
                  <a:gd name="T23" fmla="*/ 157 h 163"/>
                  <a:gd name="T24" fmla="*/ 393 w 787"/>
                  <a:gd name="T25" fmla="*/ 137 h 163"/>
                  <a:gd name="T26" fmla="*/ 291 w 787"/>
                  <a:gd name="T27" fmla="*/ 111 h 163"/>
                  <a:gd name="T28" fmla="*/ 221 w 787"/>
                  <a:gd name="T29" fmla="*/ 99 h 163"/>
                  <a:gd name="T30" fmla="*/ 152 w 787"/>
                  <a:gd name="T31" fmla="*/ 94 h 163"/>
                  <a:gd name="T32" fmla="*/ 118 w 787"/>
                  <a:gd name="T33" fmla="*/ 97 h 163"/>
                  <a:gd name="T34" fmla="*/ 85 w 787"/>
                  <a:gd name="T35" fmla="*/ 103 h 163"/>
                  <a:gd name="T36" fmla="*/ 55 w 787"/>
                  <a:gd name="T37" fmla="*/ 112 h 163"/>
                  <a:gd name="T38" fmla="*/ 27 w 787"/>
                  <a:gd name="T39" fmla="*/ 127 h 163"/>
                  <a:gd name="T40" fmla="*/ 0 w 787"/>
                  <a:gd name="T41" fmla="*/ 147 h 163"/>
                  <a:gd name="T42" fmla="*/ 7 w 787"/>
                  <a:gd name="T43" fmla="*/ 135 h 163"/>
                  <a:gd name="T44" fmla="*/ 24 w 787"/>
                  <a:gd name="T45" fmla="*/ 112 h 163"/>
                  <a:gd name="T46" fmla="*/ 43 w 787"/>
                  <a:gd name="T47" fmla="*/ 93 h 163"/>
                  <a:gd name="T48" fmla="*/ 65 w 787"/>
                  <a:gd name="T49" fmla="*/ 77 h 163"/>
                  <a:gd name="T50" fmla="*/ 89 w 787"/>
                  <a:gd name="T51" fmla="*/ 63 h 163"/>
                  <a:gd name="T52" fmla="*/ 128 w 787"/>
                  <a:gd name="T53" fmla="*/ 47 h 163"/>
                  <a:gd name="T54" fmla="*/ 183 w 787"/>
                  <a:gd name="T55" fmla="*/ 33 h 163"/>
                  <a:gd name="T56" fmla="*/ 239 w 787"/>
                  <a:gd name="T57" fmla="*/ 27 h 163"/>
                  <a:gd name="T58" fmla="*/ 297 w 787"/>
                  <a:gd name="T59" fmla="*/ 27 h 163"/>
                  <a:gd name="T60" fmla="*/ 351 w 787"/>
                  <a:gd name="T61" fmla="*/ 32 h 163"/>
                  <a:gd name="T62" fmla="*/ 399 w 787"/>
                  <a:gd name="T63" fmla="*/ 41 h 163"/>
                  <a:gd name="T64" fmla="*/ 446 w 787"/>
                  <a:gd name="T65" fmla="*/ 53 h 163"/>
                  <a:gd name="T66" fmla="*/ 517 w 787"/>
                  <a:gd name="T67" fmla="*/ 74 h 163"/>
                  <a:gd name="T68" fmla="*/ 566 w 787"/>
                  <a:gd name="T69" fmla="*/ 83 h 163"/>
                  <a:gd name="T70" fmla="*/ 615 w 787"/>
                  <a:gd name="T71" fmla="*/ 87 h 163"/>
                  <a:gd name="T72" fmla="*/ 653 w 787"/>
                  <a:gd name="T73" fmla="*/ 83 h 163"/>
                  <a:gd name="T74" fmla="*/ 678 w 787"/>
                  <a:gd name="T75" fmla="*/ 77 h 163"/>
                  <a:gd name="T76" fmla="*/ 702 w 787"/>
                  <a:gd name="T77" fmla="*/ 67 h 163"/>
                  <a:gd name="T78" fmla="*/ 726 w 787"/>
                  <a:gd name="T79" fmla="*/ 53 h 163"/>
                  <a:gd name="T80" fmla="*/ 751 w 787"/>
                  <a:gd name="T81" fmla="*/ 35 h 163"/>
                  <a:gd name="T82" fmla="*/ 775 w 787"/>
                  <a:gd name="T83" fmla="*/ 14 h 163"/>
                  <a:gd name="T84" fmla="*/ 787 w 787"/>
                  <a:gd name="T8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87" h="163">
                    <a:moveTo>
                      <a:pt x="787" y="0"/>
                    </a:moveTo>
                    <a:lnTo>
                      <a:pt x="787" y="0"/>
                    </a:lnTo>
                    <a:lnTo>
                      <a:pt x="784" y="9"/>
                    </a:lnTo>
                    <a:lnTo>
                      <a:pt x="773" y="28"/>
                    </a:lnTo>
                    <a:lnTo>
                      <a:pt x="766" y="43"/>
                    </a:lnTo>
                    <a:lnTo>
                      <a:pt x="755" y="57"/>
                    </a:lnTo>
                    <a:lnTo>
                      <a:pt x="743" y="73"/>
                    </a:lnTo>
                    <a:lnTo>
                      <a:pt x="727" y="88"/>
                    </a:lnTo>
                    <a:lnTo>
                      <a:pt x="710" y="105"/>
                    </a:lnTo>
                    <a:lnTo>
                      <a:pt x="690" y="120"/>
                    </a:lnTo>
                    <a:lnTo>
                      <a:pt x="679" y="127"/>
                    </a:lnTo>
                    <a:lnTo>
                      <a:pt x="667" y="133"/>
                    </a:lnTo>
                    <a:lnTo>
                      <a:pt x="655" y="139"/>
                    </a:lnTo>
                    <a:lnTo>
                      <a:pt x="642" y="145"/>
                    </a:lnTo>
                    <a:lnTo>
                      <a:pt x="627" y="150"/>
                    </a:lnTo>
                    <a:lnTo>
                      <a:pt x="613" y="155"/>
                    </a:lnTo>
                    <a:lnTo>
                      <a:pt x="599" y="157"/>
                    </a:lnTo>
                    <a:lnTo>
                      <a:pt x="582" y="161"/>
                    </a:lnTo>
                    <a:lnTo>
                      <a:pt x="565" y="162"/>
                    </a:lnTo>
                    <a:lnTo>
                      <a:pt x="547" y="163"/>
                    </a:lnTo>
                    <a:lnTo>
                      <a:pt x="529" y="162"/>
                    </a:lnTo>
                    <a:lnTo>
                      <a:pt x="510" y="161"/>
                    </a:lnTo>
                    <a:lnTo>
                      <a:pt x="510" y="161"/>
                    </a:lnTo>
                    <a:lnTo>
                      <a:pt x="483" y="157"/>
                    </a:lnTo>
                    <a:lnTo>
                      <a:pt x="456" y="151"/>
                    </a:lnTo>
                    <a:lnTo>
                      <a:pt x="393" y="137"/>
                    </a:lnTo>
                    <a:lnTo>
                      <a:pt x="326" y="120"/>
                    </a:lnTo>
                    <a:lnTo>
                      <a:pt x="291" y="111"/>
                    </a:lnTo>
                    <a:lnTo>
                      <a:pt x="256" y="104"/>
                    </a:lnTo>
                    <a:lnTo>
                      <a:pt x="221" y="99"/>
                    </a:lnTo>
                    <a:lnTo>
                      <a:pt x="186" y="96"/>
                    </a:lnTo>
                    <a:lnTo>
                      <a:pt x="152" y="94"/>
                    </a:lnTo>
                    <a:lnTo>
                      <a:pt x="135" y="96"/>
                    </a:lnTo>
                    <a:lnTo>
                      <a:pt x="118" y="97"/>
                    </a:lnTo>
                    <a:lnTo>
                      <a:pt x="102" y="99"/>
                    </a:lnTo>
                    <a:lnTo>
                      <a:pt x="85" y="103"/>
                    </a:lnTo>
                    <a:lnTo>
                      <a:pt x="70" y="108"/>
                    </a:lnTo>
                    <a:lnTo>
                      <a:pt x="55" y="112"/>
                    </a:lnTo>
                    <a:lnTo>
                      <a:pt x="40" y="120"/>
                    </a:lnTo>
                    <a:lnTo>
                      <a:pt x="27" y="127"/>
                    </a:lnTo>
                    <a:lnTo>
                      <a:pt x="12" y="137"/>
                    </a:lnTo>
                    <a:lnTo>
                      <a:pt x="0" y="147"/>
                    </a:lnTo>
                    <a:lnTo>
                      <a:pt x="0" y="147"/>
                    </a:lnTo>
                    <a:lnTo>
                      <a:pt x="7" y="135"/>
                    </a:lnTo>
                    <a:lnTo>
                      <a:pt x="15" y="123"/>
                    </a:lnTo>
                    <a:lnTo>
                      <a:pt x="24" y="112"/>
                    </a:lnTo>
                    <a:lnTo>
                      <a:pt x="34" y="103"/>
                    </a:lnTo>
                    <a:lnTo>
                      <a:pt x="43" y="93"/>
                    </a:lnTo>
                    <a:lnTo>
                      <a:pt x="54" y="85"/>
                    </a:lnTo>
                    <a:lnTo>
                      <a:pt x="65" y="77"/>
                    </a:lnTo>
                    <a:lnTo>
                      <a:pt x="77" y="70"/>
                    </a:lnTo>
                    <a:lnTo>
                      <a:pt x="89" y="63"/>
                    </a:lnTo>
                    <a:lnTo>
                      <a:pt x="101" y="57"/>
                    </a:lnTo>
                    <a:lnTo>
                      <a:pt x="128" y="47"/>
                    </a:lnTo>
                    <a:lnTo>
                      <a:pt x="154" y="39"/>
                    </a:lnTo>
                    <a:lnTo>
                      <a:pt x="183" y="33"/>
                    </a:lnTo>
                    <a:lnTo>
                      <a:pt x="212" y="29"/>
                    </a:lnTo>
                    <a:lnTo>
                      <a:pt x="239" y="27"/>
                    </a:lnTo>
                    <a:lnTo>
                      <a:pt x="268" y="26"/>
                    </a:lnTo>
                    <a:lnTo>
                      <a:pt x="297" y="27"/>
                    </a:lnTo>
                    <a:lnTo>
                      <a:pt x="325" y="28"/>
                    </a:lnTo>
                    <a:lnTo>
                      <a:pt x="351" y="32"/>
                    </a:lnTo>
                    <a:lnTo>
                      <a:pt x="376" y="35"/>
                    </a:lnTo>
                    <a:lnTo>
                      <a:pt x="399" y="41"/>
                    </a:lnTo>
                    <a:lnTo>
                      <a:pt x="399" y="41"/>
                    </a:lnTo>
                    <a:lnTo>
                      <a:pt x="446" y="53"/>
                    </a:lnTo>
                    <a:lnTo>
                      <a:pt x="493" y="68"/>
                    </a:lnTo>
                    <a:lnTo>
                      <a:pt x="517" y="74"/>
                    </a:lnTo>
                    <a:lnTo>
                      <a:pt x="542" y="80"/>
                    </a:lnTo>
                    <a:lnTo>
                      <a:pt x="566" y="83"/>
                    </a:lnTo>
                    <a:lnTo>
                      <a:pt x="591" y="87"/>
                    </a:lnTo>
                    <a:lnTo>
                      <a:pt x="615" y="87"/>
                    </a:lnTo>
                    <a:lnTo>
                      <a:pt x="641" y="85"/>
                    </a:lnTo>
                    <a:lnTo>
                      <a:pt x="653" y="83"/>
                    </a:lnTo>
                    <a:lnTo>
                      <a:pt x="665" y="80"/>
                    </a:lnTo>
                    <a:lnTo>
                      <a:pt x="678" y="77"/>
                    </a:lnTo>
                    <a:lnTo>
                      <a:pt x="690" y="73"/>
                    </a:lnTo>
                    <a:lnTo>
                      <a:pt x="702" y="67"/>
                    </a:lnTo>
                    <a:lnTo>
                      <a:pt x="714" y="61"/>
                    </a:lnTo>
                    <a:lnTo>
                      <a:pt x="726" y="53"/>
                    </a:lnTo>
                    <a:lnTo>
                      <a:pt x="739" y="45"/>
                    </a:lnTo>
                    <a:lnTo>
                      <a:pt x="751" y="35"/>
                    </a:lnTo>
                    <a:lnTo>
                      <a:pt x="763" y="26"/>
                    </a:lnTo>
                    <a:lnTo>
                      <a:pt x="775" y="14"/>
                    </a:lnTo>
                    <a:lnTo>
                      <a:pt x="787" y="0"/>
                    </a:lnTo>
                    <a:lnTo>
                      <a:pt x="787"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007" name="Group 2006">
            <a:extLst>
              <a:ext uri="{FF2B5EF4-FFF2-40B4-BE49-F238E27FC236}">
                <a16:creationId xmlns:a16="http://schemas.microsoft.com/office/drawing/2014/main" id="{3B51A7BF-5FAC-467D-B8E5-DC9C195A93BA}"/>
              </a:ext>
            </a:extLst>
          </p:cNvPr>
          <p:cNvGrpSpPr/>
          <p:nvPr/>
        </p:nvGrpSpPr>
        <p:grpSpPr>
          <a:xfrm>
            <a:off x="3153310" y="2430926"/>
            <a:ext cx="612000" cy="612000"/>
            <a:chOff x="1320946" y="3032119"/>
            <a:chExt cx="612000" cy="612000"/>
          </a:xfrm>
        </p:grpSpPr>
        <p:sp>
          <p:nvSpPr>
            <p:cNvPr id="2008" name="Oval 2007">
              <a:extLst>
                <a:ext uri="{FF2B5EF4-FFF2-40B4-BE49-F238E27FC236}">
                  <a16:creationId xmlns:a16="http://schemas.microsoft.com/office/drawing/2014/main" id="{2D6A5FA8-C323-4A05-ADF2-1087C5404683}"/>
                </a:ext>
              </a:extLst>
            </p:cNvPr>
            <p:cNvSpPr/>
            <p:nvPr/>
          </p:nvSpPr>
          <p:spPr bwMode="ltGray">
            <a:xfrm>
              <a:off x="1320946" y="3032119"/>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009" name="Group 2008">
              <a:extLst>
                <a:ext uri="{FF2B5EF4-FFF2-40B4-BE49-F238E27FC236}">
                  <a16:creationId xmlns:a16="http://schemas.microsoft.com/office/drawing/2014/main" id="{377393F5-3403-42FD-A313-D692D230FB71}"/>
                </a:ext>
              </a:extLst>
            </p:cNvPr>
            <p:cNvGrpSpPr/>
            <p:nvPr/>
          </p:nvGrpSpPr>
          <p:grpSpPr>
            <a:xfrm>
              <a:off x="1395566" y="3164991"/>
              <a:ext cx="477838" cy="296862"/>
              <a:chOff x="2705101" y="284163"/>
              <a:chExt cx="477838" cy="296862"/>
            </a:xfrm>
          </p:grpSpPr>
          <p:sp>
            <p:nvSpPr>
              <p:cNvPr id="2010" name="Freeform 47">
                <a:extLst>
                  <a:ext uri="{FF2B5EF4-FFF2-40B4-BE49-F238E27FC236}">
                    <a16:creationId xmlns:a16="http://schemas.microsoft.com/office/drawing/2014/main" id="{C1142236-377A-4065-9C04-411BB6F17B06}"/>
                  </a:ext>
                </a:extLst>
              </p:cNvPr>
              <p:cNvSpPr>
                <a:spLocks/>
              </p:cNvSpPr>
              <p:nvPr/>
            </p:nvSpPr>
            <p:spPr bwMode="auto">
              <a:xfrm>
                <a:off x="2824163" y="284163"/>
                <a:ext cx="92075" cy="39687"/>
              </a:xfrm>
              <a:custGeom>
                <a:avLst/>
                <a:gdLst>
                  <a:gd name="T0" fmla="*/ 131 w 174"/>
                  <a:gd name="T1" fmla="*/ 59 h 77"/>
                  <a:gd name="T2" fmla="*/ 131 w 174"/>
                  <a:gd name="T3" fmla="*/ 59 h 77"/>
                  <a:gd name="T4" fmla="*/ 120 w 174"/>
                  <a:gd name="T5" fmla="*/ 58 h 77"/>
                  <a:gd name="T6" fmla="*/ 110 w 174"/>
                  <a:gd name="T7" fmla="*/ 58 h 77"/>
                  <a:gd name="T8" fmla="*/ 100 w 174"/>
                  <a:gd name="T9" fmla="*/ 59 h 77"/>
                  <a:gd name="T10" fmla="*/ 91 w 174"/>
                  <a:gd name="T11" fmla="*/ 60 h 77"/>
                  <a:gd name="T12" fmla="*/ 74 w 174"/>
                  <a:gd name="T13" fmla="*/ 65 h 77"/>
                  <a:gd name="T14" fmla="*/ 60 w 174"/>
                  <a:gd name="T15" fmla="*/ 70 h 77"/>
                  <a:gd name="T16" fmla="*/ 46 w 174"/>
                  <a:gd name="T17" fmla="*/ 75 h 77"/>
                  <a:gd name="T18" fmla="*/ 35 w 174"/>
                  <a:gd name="T19" fmla="*/ 77 h 77"/>
                  <a:gd name="T20" fmla="*/ 29 w 174"/>
                  <a:gd name="T21" fmla="*/ 77 h 77"/>
                  <a:gd name="T22" fmla="*/ 25 w 174"/>
                  <a:gd name="T23" fmla="*/ 77 h 77"/>
                  <a:gd name="T24" fmla="*/ 20 w 174"/>
                  <a:gd name="T25" fmla="*/ 75 h 77"/>
                  <a:gd name="T26" fmla="*/ 16 w 174"/>
                  <a:gd name="T27" fmla="*/ 71 h 77"/>
                  <a:gd name="T28" fmla="*/ 16 w 174"/>
                  <a:gd name="T29" fmla="*/ 71 h 77"/>
                  <a:gd name="T30" fmla="*/ 8 w 174"/>
                  <a:gd name="T31" fmla="*/ 60 h 77"/>
                  <a:gd name="T32" fmla="*/ 3 w 174"/>
                  <a:gd name="T33" fmla="*/ 51 h 77"/>
                  <a:gd name="T34" fmla="*/ 0 w 174"/>
                  <a:gd name="T35" fmla="*/ 41 h 77"/>
                  <a:gd name="T36" fmla="*/ 0 w 174"/>
                  <a:gd name="T37" fmla="*/ 31 h 77"/>
                  <a:gd name="T38" fmla="*/ 0 w 174"/>
                  <a:gd name="T39" fmla="*/ 31 h 77"/>
                  <a:gd name="T40" fmla="*/ 2 w 174"/>
                  <a:gd name="T41" fmla="*/ 25 h 77"/>
                  <a:gd name="T42" fmla="*/ 5 w 174"/>
                  <a:gd name="T43" fmla="*/ 18 h 77"/>
                  <a:gd name="T44" fmla="*/ 10 w 174"/>
                  <a:gd name="T45" fmla="*/ 13 h 77"/>
                  <a:gd name="T46" fmla="*/ 15 w 174"/>
                  <a:gd name="T47" fmla="*/ 9 h 77"/>
                  <a:gd name="T48" fmla="*/ 22 w 174"/>
                  <a:gd name="T49" fmla="*/ 5 h 77"/>
                  <a:gd name="T50" fmla="*/ 29 w 174"/>
                  <a:gd name="T51" fmla="*/ 1 h 77"/>
                  <a:gd name="T52" fmla="*/ 37 w 174"/>
                  <a:gd name="T53" fmla="*/ 0 h 77"/>
                  <a:gd name="T54" fmla="*/ 44 w 174"/>
                  <a:gd name="T55" fmla="*/ 0 h 77"/>
                  <a:gd name="T56" fmla="*/ 44 w 174"/>
                  <a:gd name="T57" fmla="*/ 0 h 77"/>
                  <a:gd name="T58" fmla="*/ 67 w 174"/>
                  <a:gd name="T59" fmla="*/ 5 h 77"/>
                  <a:gd name="T60" fmla="*/ 93 w 174"/>
                  <a:gd name="T61" fmla="*/ 10 h 77"/>
                  <a:gd name="T62" fmla="*/ 120 w 174"/>
                  <a:gd name="T63" fmla="*/ 16 h 77"/>
                  <a:gd name="T64" fmla="*/ 143 w 174"/>
                  <a:gd name="T65" fmla="*/ 19 h 77"/>
                  <a:gd name="T66" fmla="*/ 143 w 174"/>
                  <a:gd name="T67" fmla="*/ 19 h 77"/>
                  <a:gd name="T68" fmla="*/ 149 w 174"/>
                  <a:gd name="T69" fmla="*/ 22 h 77"/>
                  <a:gd name="T70" fmla="*/ 156 w 174"/>
                  <a:gd name="T71" fmla="*/ 24 h 77"/>
                  <a:gd name="T72" fmla="*/ 161 w 174"/>
                  <a:gd name="T73" fmla="*/ 27 h 77"/>
                  <a:gd name="T74" fmla="*/ 166 w 174"/>
                  <a:gd name="T75" fmla="*/ 30 h 77"/>
                  <a:gd name="T76" fmla="*/ 170 w 174"/>
                  <a:gd name="T77" fmla="*/ 35 h 77"/>
                  <a:gd name="T78" fmla="*/ 173 w 174"/>
                  <a:gd name="T79" fmla="*/ 40 h 77"/>
                  <a:gd name="T80" fmla="*/ 174 w 174"/>
                  <a:gd name="T81" fmla="*/ 45 h 77"/>
                  <a:gd name="T82" fmla="*/ 174 w 174"/>
                  <a:gd name="T83" fmla="*/ 49 h 77"/>
                  <a:gd name="T84" fmla="*/ 174 w 174"/>
                  <a:gd name="T85" fmla="*/ 49 h 77"/>
                  <a:gd name="T86" fmla="*/ 173 w 174"/>
                  <a:gd name="T87" fmla="*/ 52 h 77"/>
                  <a:gd name="T88" fmla="*/ 169 w 174"/>
                  <a:gd name="T89" fmla="*/ 54 h 77"/>
                  <a:gd name="T90" fmla="*/ 166 w 174"/>
                  <a:gd name="T91" fmla="*/ 57 h 77"/>
                  <a:gd name="T92" fmla="*/ 160 w 174"/>
                  <a:gd name="T93" fmla="*/ 58 h 77"/>
                  <a:gd name="T94" fmla="*/ 145 w 174"/>
                  <a:gd name="T95" fmla="*/ 60 h 77"/>
                  <a:gd name="T96" fmla="*/ 131 w 174"/>
                  <a:gd name="T97" fmla="*/ 59 h 77"/>
                  <a:gd name="T98" fmla="*/ 131 w 174"/>
                  <a:gd name="T99" fmla="*/ 5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4" h="77">
                    <a:moveTo>
                      <a:pt x="131" y="59"/>
                    </a:moveTo>
                    <a:lnTo>
                      <a:pt x="131" y="59"/>
                    </a:lnTo>
                    <a:lnTo>
                      <a:pt x="120" y="58"/>
                    </a:lnTo>
                    <a:lnTo>
                      <a:pt x="110" y="58"/>
                    </a:lnTo>
                    <a:lnTo>
                      <a:pt x="100" y="59"/>
                    </a:lnTo>
                    <a:lnTo>
                      <a:pt x="91" y="60"/>
                    </a:lnTo>
                    <a:lnTo>
                      <a:pt x="74" y="65"/>
                    </a:lnTo>
                    <a:lnTo>
                      <a:pt x="60" y="70"/>
                    </a:lnTo>
                    <a:lnTo>
                      <a:pt x="46" y="75"/>
                    </a:lnTo>
                    <a:lnTo>
                      <a:pt x="35" y="77"/>
                    </a:lnTo>
                    <a:lnTo>
                      <a:pt x="29" y="77"/>
                    </a:lnTo>
                    <a:lnTo>
                      <a:pt x="25" y="77"/>
                    </a:lnTo>
                    <a:lnTo>
                      <a:pt x="20" y="75"/>
                    </a:lnTo>
                    <a:lnTo>
                      <a:pt x="16" y="71"/>
                    </a:lnTo>
                    <a:lnTo>
                      <a:pt x="16" y="71"/>
                    </a:lnTo>
                    <a:lnTo>
                      <a:pt x="8" y="60"/>
                    </a:lnTo>
                    <a:lnTo>
                      <a:pt x="3" y="51"/>
                    </a:lnTo>
                    <a:lnTo>
                      <a:pt x="0" y="41"/>
                    </a:lnTo>
                    <a:lnTo>
                      <a:pt x="0" y="31"/>
                    </a:lnTo>
                    <a:lnTo>
                      <a:pt x="0" y="31"/>
                    </a:lnTo>
                    <a:lnTo>
                      <a:pt x="2" y="25"/>
                    </a:lnTo>
                    <a:lnTo>
                      <a:pt x="5" y="18"/>
                    </a:lnTo>
                    <a:lnTo>
                      <a:pt x="10" y="13"/>
                    </a:lnTo>
                    <a:lnTo>
                      <a:pt x="15" y="9"/>
                    </a:lnTo>
                    <a:lnTo>
                      <a:pt x="22" y="5"/>
                    </a:lnTo>
                    <a:lnTo>
                      <a:pt x="29" y="1"/>
                    </a:lnTo>
                    <a:lnTo>
                      <a:pt x="37" y="0"/>
                    </a:lnTo>
                    <a:lnTo>
                      <a:pt x="44" y="0"/>
                    </a:lnTo>
                    <a:lnTo>
                      <a:pt x="44" y="0"/>
                    </a:lnTo>
                    <a:lnTo>
                      <a:pt x="67" y="5"/>
                    </a:lnTo>
                    <a:lnTo>
                      <a:pt x="93" y="10"/>
                    </a:lnTo>
                    <a:lnTo>
                      <a:pt x="120" y="16"/>
                    </a:lnTo>
                    <a:lnTo>
                      <a:pt x="143" y="19"/>
                    </a:lnTo>
                    <a:lnTo>
                      <a:pt x="143" y="19"/>
                    </a:lnTo>
                    <a:lnTo>
                      <a:pt x="149" y="22"/>
                    </a:lnTo>
                    <a:lnTo>
                      <a:pt x="156" y="24"/>
                    </a:lnTo>
                    <a:lnTo>
                      <a:pt x="161" y="27"/>
                    </a:lnTo>
                    <a:lnTo>
                      <a:pt x="166" y="30"/>
                    </a:lnTo>
                    <a:lnTo>
                      <a:pt x="170" y="35"/>
                    </a:lnTo>
                    <a:lnTo>
                      <a:pt x="173" y="40"/>
                    </a:lnTo>
                    <a:lnTo>
                      <a:pt x="174" y="45"/>
                    </a:lnTo>
                    <a:lnTo>
                      <a:pt x="174" y="49"/>
                    </a:lnTo>
                    <a:lnTo>
                      <a:pt x="174" y="49"/>
                    </a:lnTo>
                    <a:lnTo>
                      <a:pt x="173" y="52"/>
                    </a:lnTo>
                    <a:lnTo>
                      <a:pt x="169" y="54"/>
                    </a:lnTo>
                    <a:lnTo>
                      <a:pt x="166" y="57"/>
                    </a:lnTo>
                    <a:lnTo>
                      <a:pt x="160" y="58"/>
                    </a:lnTo>
                    <a:lnTo>
                      <a:pt x="145" y="60"/>
                    </a:lnTo>
                    <a:lnTo>
                      <a:pt x="131" y="59"/>
                    </a:lnTo>
                    <a:lnTo>
                      <a:pt x="131" y="5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11" name="Freeform 48">
                <a:extLst>
                  <a:ext uri="{FF2B5EF4-FFF2-40B4-BE49-F238E27FC236}">
                    <a16:creationId xmlns:a16="http://schemas.microsoft.com/office/drawing/2014/main" id="{BF2A313A-8E46-43FA-8E9F-5727D06CA35C}"/>
                  </a:ext>
                </a:extLst>
              </p:cNvPr>
              <p:cNvSpPr>
                <a:spLocks/>
              </p:cNvSpPr>
              <p:nvPr/>
            </p:nvSpPr>
            <p:spPr bwMode="auto">
              <a:xfrm>
                <a:off x="3005138" y="293688"/>
                <a:ext cx="93663" cy="196850"/>
              </a:xfrm>
              <a:custGeom>
                <a:avLst/>
                <a:gdLst>
                  <a:gd name="T0" fmla="*/ 148 w 179"/>
                  <a:gd name="T1" fmla="*/ 374 h 374"/>
                  <a:gd name="T2" fmla="*/ 0 w 179"/>
                  <a:gd name="T3" fmla="*/ 0 h 374"/>
                  <a:gd name="T4" fmla="*/ 32 w 179"/>
                  <a:gd name="T5" fmla="*/ 0 h 374"/>
                  <a:gd name="T6" fmla="*/ 179 w 179"/>
                  <a:gd name="T7" fmla="*/ 374 h 374"/>
                  <a:gd name="T8" fmla="*/ 148 w 179"/>
                  <a:gd name="T9" fmla="*/ 374 h 374"/>
                </a:gdLst>
                <a:ahLst/>
                <a:cxnLst>
                  <a:cxn ang="0">
                    <a:pos x="T0" y="T1"/>
                  </a:cxn>
                  <a:cxn ang="0">
                    <a:pos x="T2" y="T3"/>
                  </a:cxn>
                  <a:cxn ang="0">
                    <a:pos x="T4" y="T5"/>
                  </a:cxn>
                  <a:cxn ang="0">
                    <a:pos x="T6" y="T7"/>
                  </a:cxn>
                  <a:cxn ang="0">
                    <a:pos x="T8" y="T9"/>
                  </a:cxn>
                </a:cxnLst>
                <a:rect l="0" t="0" r="r" b="b"/>
                <a:pathLst>
                  <a:path w="179" h="374">
                    <a:moveTo>
                      <a:pt x="148" y="374"/>
                    </a:moveTo>
                    <a:lnTo>
                      <a:pt x="0" y="0"/>
                    </a:lnTo>
                    <a:lnTo>
                      <a:pt x="32" y="0"/>
                    </a:lnTo>
                    <a:lnTo>
                      <a:pt x="179" y="374"/>
                    </a:lnTo>
                    <a:lnTo>
                      <a:pt x="148" y="37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12" name="Freeform 49">
                <a:extLst>
                  <a:ext uri="{FF2B5EF4-FFF2-40B4-BE49-F238E27FC236}">
                    <a16:creationId xmlns:a16="http://schemas.microsoft.com/office/drawing/2014/main" id="{EFA1F847-94D1-41AC-A9B9-C65AFBF67037}"/>
                  </a:ext>
                </a:extLst>
              </p:cNvPr>
              <p:cNvSpPr>
                <a:spLocks/>
              </p:cNvSpPr>
              <p:nvPr/>
            </p:nvSpPr>
            <p:spPr bwMode="auto">
              <a:xfrm>
                <a:off x="2841626" y="296863"/>
                <a:ext cx="111125" cy="193675"/>
              </a:xfrm>
              <a:custGeom>
                <a:avLst/>
                <a:gdLst>
                  <a:gd name="T0" fmla="*/ 184 w 208"/>
                  <a:gd name="T1" fmla="*/ 367 h 367"/>
                  <a:gd name="T2" fmla="*/ 0 w 208"/>
                  <a:gd name="T3" fmla="*/ 11 h 367"/>
                  <a:gd name="T4" fmla="*/ 24 w 208"/>
                  <a:gd name="T5" fmla="*/ 0 h 367"/>
                  <a:gd name="T6" fmla="*/ 208 w 208"/>
                  <a:gd name="T7" fmla="*/ 357 h 367"/>
                  <a:gd name="T8" fmla="*/ 184 w 208"/>
                  <a:gd name="T9" fmla="*/ 367 h 367"/>
                </a:gdLst>
                <a:ahLst/>
                <a:cxnLst>
                  <a:cxn ang="0">
                    <a:pos x="T0" y="T1"/>
                  </a:cxn>
                  <a:cxn ang="0">
                    <a:pos x="T2" y="T3"/>
                  </a:cxn>
                  <a:cxn ang="0">
                    <a:pos x="T4" y="T5"/>
                  </a:cxn>
                  <a:cxn ang="0">
                    <a:pos x="T6" y="T7"/>
                  </a:cxn>
                  <a:cxn ang="0">
                    <a:pos x="T8" y="T9"/>
                  </a:cxn>
                </a:cxnLst>
                <a:rect l="0" t="0" r="r" b="b"/>
                <a:pathLst>
                  <a:path w="208" h="367">
                    <a:moveTo>
                      <a:pt x="184" y="367"/>
                    </a:moveTo>
                    <a:lnTo>
                      <a:pt x="0" y="11"/>
                    </a:lnTo>
                    <a:lnTo>
                      <a:pt x="24" y="0"/>
                    </a:lnTo>
                    <a:lnTo>
                      <a:pt x="208" y="357"/>
                    </a:lnTo>
                    <a:lnTo>
                      <a:pt x="184" y="36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13" name="Rectangle 50">
                <a:extLst>
                  <a:ext uri="{FF2B5EF4-FFF2-40B4-BE49-F238E27FC236}">
                    <a16:creationId xmlns:a16="http://schemas.microsoft.com/office/drawing/2014/main" id="{C7B511F3-CF6F-449A-8179-13C08EC3F31E}"/>
                  </a:ext>
                </a:extLst>
              </p:cNvPr>
              <p:cNvSpPr>
                <a:spLocks noChangeArrowheads="1"/>
              </p:cNvSpPr>
              <p:nvPr/>
            </p:nvSpPr>
            <p:spPr bwMode="auto">
              <a:xfrm>
                <a:off x="2867026" y="349250"/>
                <a:ext cx="174625" cy="12700"/>
              </a:xfrm>
              <a:prstGeom prst="rect">
                <a:avLst/>
              </a:prstGeom>
              <a:solidFill>
                <a:srgbClr val="505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14" name="Freeform 51">
                <a:extLst>
                  <a:ext uri="{FF2B5EF4-FFF2-40B4-BE49-F238E27FC236}">
                    <a16:creationId xmlns:a16="http://schemas.microsoft.com/office/drawing/2014/main" id="{004B6560-F195-4E50-B33A-C4C589E0D5B9}"/>
                  </a:ext>
                </a:extLst>
              </p:cNvPr>
              <p:cNvSpPr>
                <a:spLocks/>
              </p:cNvSpPr>
              <p:nvPr/>
            </p:nvSpPr>
            <p:spPr bwMode="auto">
              <a:xfrm>
                <a:off x="2943226" y="349250"/>
                <a:ext cx="98425" cy="138112"/>
              </a:xfrm>
              <a:custGeom>
                <a:avLst/>
                <a:gdLst>
                  <a:gd name="T0" fmla="*/ 23 w 186"/>
                  <a:gd name="T1" fmla="*/ 262 h 262"/>
                  <a:gd name="T2" fmla="*/ 186 w 186"/>
                  <a:gd name="T3" fmla="*/ 18 h 262"/>
                  <a:gd name="T4" fmla="*/ 164 w 186"/>
                  <a:gd name="T5" fmla="*/ 0 h 262"/>
                  <a:gd name="T6" fmla="*/ 0 w 186"/>
                  <a:gd name="T7" fmla="*/ 244 h 262"/>
                  <a:gd name="T8" fmla="*/ 23 w 186"/>
                  <a:gd name="T9" fmla="*/ 262 h 262"/>
                </a:gdLst>
                <a:ahLst/>
                <a:cxnLst>
                  <a:cxn ang="0">
                    <a:pos x="T0" y="T1"/>
                  </a:cxn>
                  <a:cxn ang="0">
                    <a:pos x="T2" y="T3"/>
                  </a:cxn>
                  <a:cxn ang="0">
                    <a:pos x="T4" y="T5"/>
                  </a:cxn>
                  <a:cxn ang="0">
                    <a:pos x="T6" y="T7"/>
                  </a:cxn>
                  <a:cxn ang="0">
                    <a:pos x="T8" y="T9"/>
                  </a:cxn>
                </a:cxnLst>
                <a:rect l="0" t="0" r="r" b="b"/>
                <a:pathLst>
                  <a:path w="186" h="262">
                    <a:moveTo>
                      <a:pt x="23" y="262"/>
                    </a:moveTo>
                    <a:lnTo>
                      <a:pt x="186" y="18"/>
                    </a:lnTo>
                    <a:lnTo>
                      <a:pt x="164" y="0"/>
                    </a:lnTo>
                    <a:lnTo>
                      <a:pt x="0" y="244"/>
                    </a:lnTo>
                    <a:lnTo>
                      <a:pt x="23" y="26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15" name="Freeform 52">
                <a:extLst>
                  <a:ext uri="{FF2B5EF4-FFF2-40B4-BE49-F238E27FC236}">
                    <a16:creationId xmlns:a16="http://schemas.microsoft.com/office/drawing/2014/main" id="{BAA304CD-6C5F-4915-BB2A-8CD1FC0D7C1D}"/>
                  </a:ext>
                </a:extLst>
              </p:cNvPr>
              <p:cNvSpPr>
                <a:spLocks/>
              </p:cNvSpPr>
              <p:nvPr/>
            </p:nvSpPr>
            <p:spPr bwMode="auto">
              <a:xfrm>
                <a:off x="2792413" y="349250"/>
                <a:ext cx="85725" cy="136525"/>
              </a:xfrm>
              <a:custGeom>
                <a:avLst/>
                <a:gdLst>
                  <a:gd name="T0" fmla="*/ 139 w 161"/>
                  <a:gd name="T1" fmla="*/ 0 h 258"/>
                  <a:gd name="T2" fmla="*/ 0 w 161"/>
                  <a:gd name="T3" fmla="*/ 258 h 258"/>
                  <a:gd name="T4" fmla="*/ 33 w 161"/>
                  <a:gd name="T5" fmla="*/ 258 h 258"/>
                  <a:gd name="T6" fmla="*/ 161 w 161"/>
                  <a:gd name="T7" fmla="*/ 18 h 258"/>
                  <a:gd name="T8" fmla="*/ 139 w 161"/>
                  <a:gd name="T9" fmla="*/ 0 h 258"/>
                </a:gdLst>
                <a:ahLst/>
                <a:cxnLst>
                  <a:cxn ang="0">
                    <a:pos x="T0" y="T1"/>
                  </a:cxn>
                  <a:cxn ang="0">
                    <a:pos x="T2" y="T3"/>
                  </a:cxn>
                  <a:cxn ang="0">
                    <a:pos x="T4" y="T5"/>
                  </a:cxn>
                  <a:cxn ang="0">
                    <a:pos x="T6" y="T7"/>
                  </a:cxn>
                  <a:cxn ang="0">
                    <a:pos x="T8" y="T9"/>
                  </a:cxn>
                </a:cxnLst>
                <a:rect l="0" t="0" r="r" b="b"/>
                <a:pathLst>
                  <a:path w="161" h="258">
                    <a:moveTo>
                      <a:pt x="139" y="0"/>
                    </a:moveTo>
                    <a:lnTo>
                      <a:pt x="0" y="258"/>
                    </a:lnTo>
                    <a:lnTo>
                      <a:pt x="33" y="258"/>
                    </a:lnTo>
                    <a:lnTo>
                      <a:pt x="161" y="18"/>
                    </a:lnTo>
                    <a:lnTo>
                      <a:pt x="139"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16" name="Freeform 53">
                <a:extLst>
                  <a:ext uri="{FF2B5EF4-FFF2-40B4-BE49-F238E27FC236}">
                    <a16:creationId xmlns:a16="http://schemas.microsoft.com/office/drawing/2014/main" id="{2317A781-524F-4AE6-8634-E6E0DD79A172}"/>
                  </a:ext>
                </a:extLst>
              </p:cNvPr>
              <p:cNvSpPr>
                <a:spLocks/>
              </p:cNvSpPr>
              <p:nvPr/>
            </p:nvSpPr>
            <p:spPr bwMode="auto">
              <a:xfrm>
                <a:off x="2979738" y="293688"/>
                <a:ext cx="41275" cy="14287"/>
              </a:xfrm>
              <a:custGeom>
                <a:avLst/>
                <a:gdLst>
                  <a:gd name="T0" fmla="*/ 77 w 77"/>
                  <a:gd name="T1" fmla="*/ 16 h 28"/>
                  <a:gd name="T2" fmla="*/ 77 w 77"/>
                  <a:gd name="T3" fmla="*/ 16 h 28"/>
                  <a:gd name="T4" fmla="*/ 76 w 77"/>
                  <a:gd name="T5" fmla="*/ 21 h 28"/>
                  <a:gd name="T6" fmla="*/ 74 w 77"/>
                  <a:gd name="T7" fmla="*/ 24 h 28"/>
                  <a:gd name="T8" fmla="*/ 71 w 77"/>
                  <a:gd name="T9" fmla="*/ 27 h 28"/>
                  <a:gd name="T10" fmla="*/ 68 w 77"/>
                  <a:gd name="T11" fmla="*/ 28 h 28"/>
                  <a:gd name="T12" fmla="*/ 9 w 77"/>
                  <a:gd name="T13" fmla="*/ 28 h 28"/>
                  <a:gd name="T14" fmla="*/ 9 w 77"/>
                  <a:gd name="T15" fmla="*/ 28 h 28"/>
                  <a:gd name="T16" fmla="*/ 5 w 77"/>
                  <a:gd name="T17" fmla="*/ 27 h 28"/>
                  <a:gd name="T18" fmla="*/ 3 w 77"/>
                  <a:gd name="T19" fmla="*/ 24 h 28"/>
                  <a:gd name="T20" fmla="*/ 0 w 77"/>
                  <a:gd name="T21" fmla="*/ 21 h 28"/>
                  <a:gd name="T22" fmla="*/ 0 w 77"/>
                  <a:gd name="T23" fmla="*/ 16 h 28"/>
                  <a:gd name="T24" fmla="*/ 0 w 77"/>
                  <a:gd name="T25" fmla="*/ 12 h 28"/>
                  <a:gd name="T26" fmla="*/ 0 w 77"/>
                  <a:gd name="T27" fmla="*/ 12 h 28"/>
                  <a:gd name="T28" fmla="*/ 0 w 77"/>
                  <a:gd name="T29" fmla="*/ 7 h 28"/>
                  <a:gd name="T30" fmla="*/ 3 w 77"/>
                  <a:gd name="T31" fmla="*/ 4 h 28"/>
                  <a:gd name="T32" fmla="*/ 5 w 77"/>
                  <a:gd name="T33" fmla="*/ 1 h 28"/>
                  <a:gd name="T34" fmla="*/ 9 w 77"/>
                  <a:gd name="T35" fmla="*/ 0 h 28"/>
                  <a:gd name="T36" fmla="*/ 68 w 77"/>
                  <a:gd name="T37" fmla="*/ 0 h 28"/>
                  <a:gd name="T38" fmla="*/ 68 w 77"/>
                  <a:gd name="T39" fmla="*/ 0 h 28"/>
                  <a:gd name="T40" fmla="*/ 71 w 77"/>
                  <a:gd name="T41" fmla="*/ 1 h 28"/>
                  <a:gd name="T42" fmla="*/ 74 w 77"/>
                  <a:gd name="T43" fmla="*/ 4 h 28"/>
                  <a:gd name="T44" fmla="*/ 76 w 77"/>
                  <a:gd name="T45" fmla="*/ 7 h 28"/>
                  <a:gd name="T46" fmla="*/ 77 w 77"/>
                  <a:gd name="T47" fmla="*/ 12 h 28"/>
                  <a:gd name="T48" fmla="*/ 77 w 77"/>
                  <a:gd name="T49"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7" h="28">
                    <a:moveTo>
                      <a:pt x="77" y="16"/>
                    </a:moveTo>
                    <a:lnTo>
                      <a:pt x="77" y="16"/>
                    </a:lnTo>
                    <a:lnTo>
                      <a:pt x="76" y="21"/>
                    </a:lnTo>
                    <a:lnTo>
                      <a:pt x="74" y="24"/>
                    </a:lnTo>
                    <a:lnTo>
                      <a:pt x="71" y="27"/>
                    </a:lnTo>
                    <a:lnTo>
                      <a:pt x="68" y="28"/>
                    </a:lnTo>
                    <a:lnTo>
                      <a:pt x="9" y="28"/>
                    </a:lnTo>
                    <a:lnTo>
                      <a:pt x="9" y="28"/>
                    </a:lnTo>
                    <a:lnTo>
                      <a:pt x="5" y="27"/>
                    </a:lnTo>
                    <a:lnTo>
                      <a:pt x="3" y="24"/>
                    </a:lnTo>
                    <a:lnTo>
                      <a:pt x="0" y="21"/>
                    </a:lnTo>
                    <a:lnTo>
                      <a:pt x="0" y="16"/>
                    </a:lnTo>
                    <a:lnTo>
                      <a:pt x="0" y="12"/>
                    </a:lnTo>
                    <a:lnTo>
                      <a:pt x="0" y="12"/>
                    </a:lnTo>
                    <a:lnTo>
                      <a:pt x="0" y="7"/>
                    </a:lnTo>
                    <a:lnTo>
                      <a:pt x="3" y="4"/>
                    </a:lnTo>
                    <a:lnTo>
                      <a:pt x="5" y="1"/>
                    </a:lnTo>
                    <a:lnTo>
                      <a:pt x="9" y="0"/>
                    </a:lnTo>
                    <a:lnTo>
                      <a:pt x="68" y="0"/>
                    </a:lnTo>
                    <a:lnTo>
                      <a:pt x="68" y="0"/>
                    </a:lnTo>
                    <a:lnTo>
                      <a:pt x="71" y="1"/>
                    </a:lnTo>
                    <a:lnTo>
                      <a:pt x="74" y="4"/>
                    </a:lnTo>
                    <a:lnTo>
                      <a:pt x="76" y="7"/>
                    </a:lnTo>
                    <a:lnTo>
                      <a:pt x="77" y="12"/>
                    </a:lnTo>
                    <a:lnTo>
                      <a:pt x="77" y="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17" name="Freeform 54">
                <a:extLst>
                  <a:ext uri="{FF2B5EF4-FFF2-40B4-BE49-F238E27FC236}">
                    <a16:creationId xmlns:a16="http://schemas.microsoft.com/office/drawing/2014/main" id="{4686B5D2-7D6F-4057-9509-70D128CC867B}"/>
                  </a:ext>
                </a:extLst>
              </p:cNvPr>
              <p:cNvSpPr>
                <a:spLocks noEditPoints="1"/>
              </p:cNvSpPr>
              <p:nvPr/>
            </p:nvSpPr>
            <p:spPr bwMode="auto">
              <a:xfrm>
                <a:off x="2705101" y="392113"/>
                <a:ext cx="190500" cy="188912"/>
              </a:xfrm>
              <a:custGeom>
                <a:avLst/>
                <a:gdLst>
                  <a:gd name="T0" fmla="*/ 162 w 359"/>
                  <a:gd name="T1" fmla="*/ 1 h 356"/>
                  <a:gd name="T2" fmla="*/ 110 w 359"/>
                  <a:gd name="T3" fmla="*/ 14 h 356"/>
                  <a:gd name="T4" fmla="*/ 65 w 359"/>
                  <a:gd name="T5" fmla="*/ 40 h 356"/>
                  <a:gd name="T6" fmla="*/ 31 w 359"/>
                  <a:gd name="T7" fmla="*/ 78 h 356"/>
                  <a:gd name="T8" fmla="*/ 9 w 359"/>
                  <a:gd name="T9" fmla="*/ 125 h 356"/>
                  <a:gd name="T10" fmla="*/ 0 w 359"/>
                  <a:gd name="T11" fmla="*/ 179 h 356"/>
                  <a:gd name="T12" fmla="*/ 4 w 359"/>
                  <a:gd name="T13" fmla="*/ 215 h 356"/>
                  <a:gd name="T14" fmla="*/ 22 w 359"/>
                  <a:gd name="T15" fmla="*/ 263 h 356"/>
                  <a:gd name="T16" fmla="*/ 53 w 359"/>
                  <a:gd name="T17" fmla="*/ 305 h 356"/>
                  <a:gd name="T18" fmla="*/ 94 w 359"/>
                  <a:gd name="T19" fmla="*/ 335 h 356"/>
                  <a:gd name="T20" fmla="*/ 144 w 359"/>
                  <a:gd name="T21" fmla="*/ 353 h 356"/>
                  <a:gd name="T22" fmla="*/ 180 w 359"/>
                  <a:gd name="T23" fmla="*/ 356 h 356"/>
                  <a:gd name="T24" fmla="*/ 233 w 359"/>
                  <a:gd name="T25" fmla="*/ 349 h 356"/>
                  <a:gd name="T26" fmla="*/ 280 w 359"/>
                  <a:gd name="T27" fmla="*/ 326 h 356"/>
                  <a:gd name="T28" fmla="*/ 318 w 359"/>
                  <a:gd name="T29" fmla="*/ 292 h 356"/>
                  <a:gd name="T30" fmla="*/ 345 w 359"/>
                  <a:gd name="T31" fmla="*/ 247 h 356"/>
                  <a:gd name="T32" fmla="*/ 358 w 359"/>
                  <a:gd name="T33" fmla="*/ 197 h 356"/>
                  <a:gd name="T34" fmla="*/ 358 w 359"/>
                  <a:gd name="T35" fmla="*/ 159 h 356"/>
                  <a:gd name="T36" fmla="*/ 345 w 359"/>
                  <a:gd name="T37" fmla="*/ 109 h 356"/>
                  <a:gd name="T38" fmla="*/ 318 w 359"/>
                  <a:gd name="T39" fmla="*/ 64 h 356"/>
                  <a:gd name="T40" fmla="*/ 280 w 359"/>
                  <a:gd name="T41" fmla="*/ 30 h 356"/>
                  <a:gd name="T42" fmla="*/ 233 w 359"/>
                  <a:gd name="T43" fmla="*/ 8 h 356"/>
                  <a:gd name="T44" fmla="*/ 180 w 359"/>
                  <a:gd name="T45" fmla="*/ 0 h 356"/>
                  <a:gd name="T46" fmla="*/ 180 w 359"/>
                  <a:gd name="T47" fmla="*/ 308 h 356"/>
                  <a:gd name="T48" fmla="*/ 141 w 359"/>
                  <a:gd name="T49" fmla="*/ 302 h 356"/>
                  <a:gd name="T50" fmla="*/ 106 w 359"/>
                  <a:gd name="T51" fmla="*/ 286 h 356"/>
                  <a:gd name="T52" fmla="*/ 78 w 359"/>
                  <a:gd name="T53" fmla="*/ 262 h 356"/>
                  <a:gd name="T54" fmla="*/ 59 w 359"/>
                  <a:gd name="T55" fmla="*/ 229 h 356"/>
                  <a:gd name="T56" fmla="*/ 50 w 359"/>
                  <a:gd name="T57" fmla="*/ 192 h 356"/>
                  <a:gd name="T58" fmla="*/ 50 w 359"/>
                  <a:gd name="T59" fmla="*/ 164 h 356"/>
                  <a:gd name="T60" fmla="*/ 59 w 359"/>
                  <a:gd name="T61" fmla="*/ 127 h 356"/>
                  <a:gd name="T62" fmla="*/ 78 w 359"/>
                  <a:gd name="T63" fmla="*/ 96 h 356"/>
                  <a:gd name="T64" fmla="*/ 106 w 359"/>
                  <a:gd name="T65" fmla="*/ 70 h 356"/>
                  <a:gd name="T66" fmla="*/ 141 w 359"/>
                  <a:gd name="T67" fmla="*/ 54 h 356"/>
                  <a:gd name="T68" fmla="*/ 180 w 359"/>
                  <a:gd name="T69" fmla="*/ 48 h 356"/>
                  <a:gd name="T70" fmla="*/ 206 w 359"/>
                  <a:gd name="T71" fmla="*/ 50 h 356"/>
                  <a:gd name="T72" fmla="*/ 242 w 359"/>
                  <a:gd name="T73" fmla="*/ 63 h 356"/>
                  <a:gd name="T74" fmla="*/ 272 w 359"/>
                  <a:gd name="T75" fmla="*/ 86 h 356"/>
                  <a:gd name="T76" fmla="*/ 294 w 359"/>
                  <a:gd name="T77" fmla="*/ 116 h 356"/>
                  <a:gd name="T78" fmla="*/ 307 w 359"/>
                  <a:gd name="T79" fmla="*/ 152 h 356"/>
                  <a:gd name="T80" fmla="*/ 310 w 359"/>
                  <a:gd name="T81" fmla="*/ 179 h 356"/>
                  <a:gd name="T82" fmla="*/ 304 w 359"/>
                  <a:gd name="T83" fmla="*/ 217 h 356"/>
                  <a:gd name="T84" fmla="*/ 288 w 359"/>
                  <a:gd name="T85" fmla="*/ 251 h 356"/>
                  <a:gd name="T86" fmla="*/ 263 w 359"/>
                  <a:gd name="T87" fmla="*/ 278 h 356"/>
                  <a:gd name="T88" fmla="*/ 230 w 359"/>
                  <a:gd name="T89" fmla="*/ 298 h 356"/>
                  <a:gd name="T90" fmla="*/ 193 w 359"/>
                  <a:gd name="T91" fmla="*/ 30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9" h="356">
                    <a:moveTo>
                      <a:pt x="180" y="0"/>
                    </a:moveTo>
                    <a:lnTo>
                      <a:pt x="180" y="0"/>
                    </a:lnTo>
                    <a:lnTo>
                      <a:pt x="162" y="1"/>
                    </a:lnTo>
                    <a:lnTo>
                      <a:pt x="144" y="3"/>
                    </a:lnTo>
                    <a:lnTo>
                      <a:pt x="127" y="8"/>
                    </a:lnTo>
                    <a:lnTo>
                      <a:pt x="110" y="14"/>
                    </a:lnTo>
                    <a:lnTo>
                      <a:pt x="94" y="21"/>
                    </a:lnTo>
                    <a:lnTo>
                      <a:pt x="80" y="30"/>
                    </a:lnTo>
                    <a:lnTo>
                      <a:pt x="65" y="40"/>
                    </a:lnTo>
                    <a:lnTo>
                      <a:pt x="53" y="51"/>
                    </a:lnTo>
                    <a:lnTo>
                      <a:pt x="41" y="64"/>
                    </a:lnTo>
                    <a:lnTo>
                      <a:pt x="31" y="78"/>
                    </a:lnTo>
                    <a:lnTo>
                      <a:pt x="22" y="93"/>
                    </a:lnTo>
                    <a:lnTo>
                      <a:pt x="15" y="109"/>
                    </a:lnTo>
                    <a:lnTo>
                      <a:pt x="9" y="125"/>
                    </a:lnTo>
                    <a:lnTo>
                      <a:pt x="4" y="143"/>
                    </a:lnTo>
                    <a:lnTo>
                      <a:pt x="1" y="159"/>
                    </a:lnTo>
                    <a:lnTo>
                      <a:pt x="0" y="179"/>
                    </a:lnTo>
                    <a:lnTo>
                      <a:pt x="0" y="179"/>
                    </a:lnTo>
                    <a:lnTo>
                      <a:pt x="1" y="197"/>
                    </a:lnTo>
                    <a:lnTo>
                      <a:pt x="4" y="215"/>
                    </a:lnTo>
                    <a:lnTo>
                      <a:pt x="9" y="231"/>
                    </a:lnTo>
                    <a:lnTo>
                      <a:pt x="15" y="247"/>
                    </a:lnTo>
                    <a:lnTo>
                      <a:pt x="22" y="263"/>
                    </a:lnTo>
                    <a:lnTo>
                      <a:pt x="31" y="278"/>
                    </a:lnTo>
                    <a:lnTo>
                      <a:pt x="41" y="292"/>
                    </a:lnTo>
                    <a:lnTo>
                      <a:pt x="53" y="305"/>
                    </a:lnTo>
                    <a:lnTo>
                      <a:pt x="65" y="316"/>
                    </a:lnTo>
                    <a:lnTo>
                      <a:pt x="80" y="326"/>
                    </a:lnTo>
                    <a:lnTo>
                      <a:pt x="94" y="335"/>
                    </a:lnTo>
                    <a:lnTo>
                      <a:pt x="110" y="343"/>
                    </a:lnTo>
                    <a:lnTo>
                      <a:pt x="127" y="349"/>
                    </a:lnTo>
                    <a:lnTo>
                      <a:pt x="144" y="353"/>
                    </a:lnTo>
                    <a:lnTo>
                      <a:pt x="162" y="355"/>
                    </a:lnTo>
                    <a:lnTo>
                      <a:pt x="180" y="356"/>
                    </a:lnTo>
                    <a:lnTo>
                      <a:pt x="180" y="356"/>
                    </a:lnTo>
                    <a:lnTo>
                      <a:pt x="198" y="355"/>
                    </a:lnTo>
                    <a:lnTo>
                      <a:pt x="216" y="353"/>
                    </a:lnTo>
                    <a:lnTo>
                      <a:pt x="233" y="349"/>
                    </a:lnTo>
                    <a:lnTo>
                      <a:pt x="250" y="343"/>
                    </a:lnTo>
                    <a:lnTo>
                      <a:pt x="265" y="335"/>
                    </a:lnTo>
                    <a:lnTo>
                      <a:pt x="280" y="326"/>
                    </a:lnTo>
                    <a:lnTo>
                      <a:pt x="294" y="316"/>
                    </a:lnTo>
                    <a:lnTo>
                      <a:pt x="306" y="305"/>
                    </a:lnTo>
                    <a:lnTo>
                      <a:pt x="318" y="292"/>
                    </a:lnTo>
                    <a:lnTo>
                      <a:pt x="328" y="278"/>
                    </a:lnTo>
                    <a:lnTo>
                      <a:pt x="338" y="263"/>
                    </a:lnTo>
                    <a:lnTo>
                      <a:pt x="345" y="247"/>
                    </a:lnTo>
                    <a:lnTo>
                      <a:pt x="351" y="231"/>
                    </a:lnTo>
                    <a:lnTo>
                      <a:pt x="356" y="215"/>
                    </a:lnTo>
                    <a:lnTo>
                      <a:pt x="358" y="197"/>
                    </a:lnTo>
                    <a:lnTo>
                      <a:pt x="359" y="179"/>
                    </a:lnTo>
                    <a:lnTo>
                      <a:pt x="359" y="179"/>
                    </a:lnTo>
                    <a:lnTo>
                      <a:pt x="358" y="159"/>
                    </a:lnTo>
                    <a:lnTo>
                      <a:pt x="356" y="143"/>
                    </a:lnTo>
                    <a:lnTo>
                      <a:pt x="351" y="125"/>
                    </a:lnTo>
                    <a:lnTo>
                      <a:pt x="345" y="109"/>
                    </a:lnTo>
                    <a:lnTo>
                      <a:pt x="338" y="93"/>
                    </a:lnTo>
                    <a:lnTo>
                      <a:pt x="328" y="78"/>
                    </a:lnTo>
                    <a:lnTo>
                      <a:pt x="318" y="64"/>
                    </a:lnTo>
                    <a:lnTo>
                      <a:pt x="306" y="51"/>
                    </a:lnTo>
                    <a:lnTo>
                      <a:pt x="294" y="40"/>
                    </a:lnTo>
                    <a:lnTo>
                      <a:pt x="280" y="30"/>
                    </a:lnTo>
                    <a:lnTo>
                      <a:pt x="265" y="21"/>
                    </a:lnTo>
                    <a:lnTo>
                      <a:pt x="250" y="14"/>
                    </a:lnTo>
                    <a:lnTo>
                      <a:pt x="233" y="8"/>
                    </a:lnTo>
                    <a:lnTo>
                      <a:pt x="216" y="3"/>
                    </a:lnTo>
                    <a:lnTo>
                      <a:pt x="198" y="1"/>
                    </a:lnTo>
                    <a:lnTo>
                      <a:pt x="180" y="0"/>
                    </a:lnTo>
                    <a:lnTo>
                      <a:pt x="180" y="0"/>
                    </a:lnTo>
                    <a:close/>
                    <a:moveTo>
                      <a:pt x="180" y="308"/>
                    </a:moveTo>
                    <a:lnTo>
                      <a:pt x="180" y="308"/>
                    </a:lnTo>
                    <a:lnTo>
                      <a:pt x="166" y="307"/>
                    </a:lnTo>
                    <a:lnTo>
                      <a:pt x="153" y="306"/>
                    </a:lnTo>
                    <a:lnTo>
                      <a:pt x="141" y="302"/>
                    </a:lnTo>
                    <a:lnTo>
                      <a:pt x="129" y="298"/>
                    </a:lnTo>
                    <a:lnTo>
                      <a:pt x="117" y="293"/>
                    </a:lnTo>
                    <a:lnTo>
                      <a:pt x="106" y="286"/>
                    </a:lnTo>
                    <a:lnTo>
                      <a:pt x="97" y="278"/>
                    </a:lnTo>
                    <a:lnTo>
                      <a:pt x="87" y="270"/>
                    </a:lnTo>
                    <a:lnTo>
                      <a:pt x="78" y="262"/>
                    </a:lnTo>
                    <a:lnTo>
                      <a:pt x="71" y="251"/>
                    </a:lnTo>
                    <a:lnTo>
                      <a:pt x="65" y="240"/>
                    </a:lnTo>
                    <a:lnTo>
                      <a:pt x="59" y="229"/>
                    </a:lnTo>
                    <a:lnTo>
                      <a:pt x="54" y="217"/>
                    </a:lnTo>
                    <a:lnTo>
                      <a:pt x="52" y="204"/>
                    </a:lnTo>
                    <a:lnTo>
                      <a:pt x="50" y="192"/>
                    </a:lnTo>
                    <a:lnTo>
                      <a:pt x="50" y="179"/>
                    </a:lnTo>
                    <a:lnTo>
                      <a:pt x="50" y="179"/>
                    </a:lnTo>
                    <a:lnTo>
                      <a:pt x="50" y="164"/>
                    </a:lnTo>
                    <a:lnTo>
                      <a:pt x="52" y="152"/>
                    </a:lnTo>
                    <a:lnTo>
                      <a:pt x="54" y="139"/>
                    </a:lnTo>
                    <a:lnTo>
                      <a:pt x="59" y="127"/>
                    </a:lnTo>
                    <a:lnTo>
                      <a:pt x="65" y="116"/>
                    </a:lnTo>
                    <a:lnTo>
                      <a:pt x="71" y="105"/>
                    </a:lnTo>
                    <a:lnTo>
                      <a:pt x="78" y="96"/>
                    </a:lnTo>
                    <a:lnTo>
                      <a:pt x="87" y="86"/>
                    </a:lnTo>
                    <a:lnTo>
                      <a:pt x="97" y="78"/>
                    </a:lnTo>
                    <a:lnTo>
                      <a:pt x="106" y="70"/>
                    </a:lnTo>
                    <a:lnTo>
                      <a:pt x="117" y="63"/>
                    </a:lnTo>
                    <a:lnTo>
                      <a:pt x="129" y="58"/>
                    </a:lnTo>
                    <a:lnTo>
                      <a:pt x="141" y="54"/>
                    </a:lnTo>
                    <a:lnTo>
                      <a:pt x="153" y="50"/>
                    </a:lnTo>
                    <a:lnTo>
                      <a:pt x="166" y="49"/>
                    </a:lnTo>
                    <a:lnTo>
                      <a:pt x="180" y="48"/>
                    </a:lnTo>
                    <a:lnTo>
                      <a:pt x="180" y="48"/>
                    </a:lnTo>
                    <a:lnTo>
                      <a:pt x="193" y="49"/>
                    </a:lnTo>
                    <a:lnTo>
                      <a:pt x="206" y="50"/>
                    </a:lnTo>
                    <a:lnTo>
                      <a:pt x="218" y="54"/>
                    </a:lnTo>
                    <a:lnTo>
                      <a:pt x="230" y="58"/>
                    </a:lnTo>
                    <a:lnTo>
                      <a:pt x="242" y="63"/>
                    </a:lnTo>
                    <a:lnTo>
                      <a:pt x="253" y="70"/>
                    </a:lnTo>
                    <a:lnTo>
                      <a:pt x="263" y="78"/>
                    </a:lnTo>
                    <a:lnTo>
                      <a:pt x="272" y="86"/>
                    </a:lnTo>
                    <a:lnTo>
                      <a:pt x="281" y="96"/>
                    </a:lnTo>
                    <a:lnTo>
                      <a:pt x="288" y="105"/>
                    </a:lnTo>
                    <a:lnTo>
                      <a:pt x="294" y="116"/>
                    </a:lnTo>
                    <a:lnTo>
                      <a:pt x="300" y="127"/>
                    </a:lnTo>
                    <a:lnTo>
                      <a:pt x="304" y="139"/>
                    </a:lnTo>
                    <a:lnTo>
                      <a:pt x="307" y="152"/>
                    </a:lnTo>
                    <a:lnTo>
                      <a:pt x="310" y="164"/>
                    </a:lnTo>
                    <a:lnTo>
                      <a:pt x="310" y="179"/>
                    </a:lnTo>
                    <a:lnTo>
                      <a:pt x="310" y="179"/>
                    </a:lnTo>
                    <a:lnTo>
                      <a:pt x="310" y="192"/>
                    </a:lnTo>
                    <a:lnTo>
                      <a:pt x="307" y="204"/>
                    </a:lnTo>
                    <a:lnTo>
                      <a:pt x="304" y="217"/>
                    </a:lnTo>
                    <a:lnTo>
                      <a:pt x="300" y="229"/>
                    </a:lnTo>
                    <a:lnTo>
                      <a:pt x="294" y="240"/>
                    </a:lnTo>
                    <a:lnTo>
                      <a:pt x="288" y="251"/>
                    </a:lnTo>
                    <a:lnTo>
                      <a:pt x="281" y="262"/>
                    </a:lnTo>
                    <a:lnTo>
                      <a:pt x="272" y="270"/>
                    </a:lnTo>
                    <a:lnTo>
                      <a:pt x="263" y="278"/>
                    </a:lnTo>
                    <a:lnTo>
                      <a:pt x="253" y="286"/>
                    </a:lnTo>
                    <a:lnTo>
                      <a:pt x="242" y="293"/>
                    </a:lnTo>
                    <a:lnTo>
                      <a:pt x="230" y="298"/>
                    </a:lnTo>
                    <a:lnTo>
                      <a:pt x="218" y="302"/>
                    </a:lnTo>
                    <a:lnTo>
                      <a:pt x="206" y="306"/>
                    </a:lnTo>
                    <a:lnTo>
                      <a:pt x="193" y="307"/>
                    </a:lnTo>
                    <a:lnTo>
                      <a:pt x="180" y="308"/>
                    </a:lnTo>
                    <a:lnTo>
                      <a:pt x="180" y="30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18" name="Freeform 55">
                <a:extLst>
                  <a:ext uri="{FF2B5EF4-FFF2-40B4-BE49-F238E27FC236}">
                    <a16:creationId xmlns:a16="http://schemas.microsoft.com/office/drawing/2014/main" id="{E782678F-6313-4CFA-BBF1-96A89C39430D}"/>
                  </a:ext>
                </a:extLst>
              </p:cNvPr>
              <p:cNvSpPr>
                <a:spLocks/>
              </p:cNvSpPr>
              <p:nvPr/>
            </p:nvSpPr>
            <p:spPr bwMode="auto">
              <a:xfrm>
                <a:off x="2781301" y="466725"/>
                <a:ext cx="38100" cy="39687"/>
              </a:xfrm>
              <a:custGeom>
                <a:avLst/>
                <a:gdLst>
                  <a:gd name="T0" fmla="*/ 0 w 74"/>
                  <a:gd name="T1" fmla="*/ 38 h 74"/>
                  <a:gd name="T2" fmla="*/ 0 w 74"/>
                  <a:gd name="T3" fmla="*/ 38 h 74"/>
                  <a:gd name="T4" fmla="*/ 2 w 74"/>
                  <a:gd name="T5" fmla="*/ 29 h 74"/>
                  <a:gd name="T6" fmla="*/ 4 w 74"/>
                  <a:gd name="T7" fmla="*/ 23 h 74"/>
                  <a:gd name="T8" fmla="*/ 8 w 74"/>
                  <a:gd name="T9" fmla="*/ 17 h 74"/>
                  <a:gd name="T10" fmla="*/ 11 w 74"/>
                  <a:gd name="T11" fmla="*/ 11 h 74"/>
                  <a:gd name="T12" fmla="*/ 17 w 74"/>
                  <a:gd name="T13" fmla="*/ 6 h 74"/>
                  <a:gd name="T14" fmla="*/ 23 w 74"/>
                  <a:gd name="T15" fmla="*/ 3 h 74"/>
                  <a:gd name="T16" fmla="*/ 30 w 74"/>
                  <a:gd name="T17" fmla="*/ 2 h 74"/>
                  <a:gd name="T18" fmla="*/ 38 w 74"/>
                  <a:gd name="T19" fmla="*/ 0 h 74"/>
                  <a:gd name="T20" fmla="*/ 38 w 74"/>
                  <a:gd name="T21" fmla="*/ 0 h 74"/>
                  <a:gd name="T22" fmla="*/ 45 w 74"/>
                  <a:gd name="T23" fmla="*/ 2 h 74"/>
                  <a:gd name="T24" fmla="*/ 52 w 74"/>
                  <a:gd name="T25" fmla="*/ 3 h 74"/>
                  <a:gd name="T26" fmla="*/ 58 w 74"/>
                  <a:gd name="T27" fmla="*/ 6 h 74"/>
                  <a:gd name="T28" fmla="*/ 63 w 74"/>
                  <a:gd name="T29" fmla="*/ 11 h 74"/>
                  <a:gd name="T30" fmla="*/ 68 w 74"/>
                  <a:gd name="T31" fmla="*/ 17 h 74"/>
                  <a:gd name="T32" fmla="*/ 71 w 74"/>
                  <a:gd name="T33" fmla="*/ 23 h 74"/>
                  <a:gd name="T34" fmla="*/ 74 w 74"/>
                  <a:gd name="T35" fmla="*/ 29 h 74"/>
                  <a:gd name="T36" fmla="*/ 74 w 74"/>
                  <a:gd name="T37" fmla="*/ 38 h 74"/>
                  <a:gd name="T38" fmla="*/ 74 w 74"/>
                  <a:gd name="T39" fmla="*/ 38 h 74"/>
                  <a:gd name="T40" fmla="*/ 74 w 74"/>
                  <a:gd name="T41" fmla="*/ 45 h 74"/>
                  <a:gd name="T42" fmla="*/ 71 w 74"/>
                  <a:gd name="T43" fmla="*/ 51 h 74"/>
                  <a:gd name="T44" fmla="*/ 68 w 74"/>
                  <a:gd name="T45" fmla="*/ 58 h 74"/>
                  <a:gd name="T46" fmla="*/ 63 w 74"/>
                  <a:gd name="T47" fmla="*/ 63 h 74"/>
                  <a:gd name="T48" fmla="*/ 58 w 74"/>
                  <a:gd name="T49" fmla="*/ 68 h 74"/>
                  <a:gd name="T50" fmla="*/ 52 w 74"/>
                  <a:gd name="T51" fmla="*/ 71 h 74"/>
                  <a:gd name="T52" fmla="*/ 45 w 74"/>
                  <a:gd name="T53" fmla="*/ 72 h 74"/>
                  <a:gd name="T54" fmla="*/ 38 w 74"/>
                  <a:gd name="T55" fmla="*/ 74 h 74"/>
                  <a:gd name="T56" fmla="*/ 38 w 74"/>
                  <a:gd name="T57" fmla="*/ 74 h 74"/>
                  <a:gd name="T58" fmla="*/ 30 w 74"/>
                  <a:gd name="T59" fmla="*/ 72 h 74"/>
                  <a:gd name="T60" fmla="*/ 23 w 74"/>
                  <a:gd name="T61" fmla="*/ 71 h 74"/>
                  <a:gd name="T62" fmla="*/ 17 w 74"/>
                  <a:gd name="T63" fmla="*/ 68 h 74"/>
                  <a:gd name="T64" fmla="*/ 11 w 74"/>
                  <a:gd name="T65" fmla="*/ 63 h 74"/>
                  <a:gd name="T66" fmla="*/ 8 w 74"/>
                  <a:gd name="T67" fmla="*/ 58 h 74"/>
                  <a:gd name="T68" fmla="*/ 4 w 74"/>
                  <a:gd name="T69" fmla="*/ 51 h 74"/>
                  <a:gd name="T70" fmla="*/ 2 w 74"/>
                  <a:gd name="T71" fmla="*/ 45 h 74"/>
                  <a:gd name="T72" fmla="*/ 0 w 74"/>
                  <a:gd name="T73" fmla="*/ 38 h 74"/>
                  <a:gd name="T74" fmla="*/ 0 w 74"/>
                  <a:gd name="T75"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 h="74">
                    <a:moveTo>
                      <a:pt x="0" y="38"/>
                    </a:moveTo>
                    <a:lnTo>
                      <a:pt x="0" y="38"/>
                    </a:lnTo>
                    <a:lnTo>
                      <a:pt x="2" y="29"/>
                    </a:lnTo>
                    <a:lnTo>
                      <a:pt x="4" y="23"/>
                    </a:lnTo>
                    <a:lnTo>
                      <a:pt x="8" y="17"/>
                    </a:lnTo>
                    <a:lnTo>
                      <a:pt x="11" y="11"/>
                    </a:lnTo>
                    <a:lnTo>
                      <a:pt x="17" y="6"/>
                    </a:lnTo>
                    <a:lnTo>
                      <a:pt x="23" y="3"/>
                    </a:lnTo>
                    <a:lnTo>
                      <a:pt x="30" y="2"/>
                    </a:lnTo>
                    <a:lnTo>
                      <a:pt x="38" y="0"/>
                    </a:lnTo>
                    <a:lnTo>
                      <a:pt x="38" y="0"/>
                    </a:lnTo>
                    <a:lnTo>
                      <a:pt x="45" y="2"/>
                    </a:lnTo>
                    <a:lnTo>
                      <a:pt x="52" y="3"/>
                    </a:lnTo>
                    <a:lnTo>
                      <a:pt x="58" y="6"/>
                    </a:lnTo>
                    <a:lnTo>
                      <a:pt x="63" y="11"/>
                    </a:lnTo>
                    <a:lnTo>
                      <a:pt x="68" y="17"/>
                    </a:lnTo>
                    <a:lnTo>
                      <a:pt x="71" y="23"/>
                    </a:lnTo>
                    <a:lnTo>
                      <a:pt x="74" y="29"/>
                    </a:lnTo>
                    <a:lnTo>
                      <a:pt x="74" y="38"/>
                    </a:lnTo>
                    <a:lnTo>
                      <a:pt x="74" y="38"/>
                    </a:lnTo>
                    <a:lnTo>
                      <a:pt x="74" y="45"/>
                    </a:lnTo>
                    <a:lnTo>
                      <a:pt x="71" y="51"/>
                    </a:lnTo>
                    <a:lnTo>
                      <a:pt x="68" y="58"/>
                    </a:lnTo>
                    <a:lnTo>
                      <a:pt x="63" y="63"/>
                    </a:lnTo>
                    <a:lnTo>
                      <a:pt x="58" y="68"/>
                    </a:lnTo>
                    <a:lnTo>
                      <a:pt x="52" y="71"/>
                    </a:lnTo>
                    <a:lnTo>
                      <a:pt x="45" y="72"/>
                    </a:lnTo>
                    <a:lnTo>
                      <a:pt x="38" y="74"/>
                    </a:lnTo>
                    <a:lnTo>
                      <a:pt x="38" y="74"/>
                    </a:lnTo>
                    <a:lnTo>
                      <a:pt x="30" y="72"/>
                    </a:lnTo>
                    <a:lnTo>
                      <a:pt x="23" y="71"/>
                    </a:lnTo>
                    <a:lnTo>
                      <a:pt x="17" y="68"/>
                    </a:lnTo>
                    <a:lnTo>
                      <a:pt x="11" y="63"/>
                    </a:lnTo>
                    <a:lnTo>
                      <a:pt x="8" y="58"/>
                    </a:lnTo>
                    <a:lnTo>
                      <a:pt x="4" y="51"/>
                    </a:lnTo>
                    <a:lnTo>
                      <a:pt x="2" y="45"/>
                    </a:lnTo>
                    <a:lnTo>
                      <a:pt x="0" y="38"/>
                    </a:lnTo>
                    <a:lnTo>
                      <a:pt x="0" y="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19" name="Freeform 56">
                <a:extLst>
                  <a:ext uri="{FF2B5EF4-FFF2-40B4-BE49-F238E27FC236}">
                    <a16:creationId xmlns:a16="http://schemas.microsoft.com/office/drawing/2014/main" id="{AF950008-720F-4BA0-ADB1-D69CAFE497DD}"/>
                  </a:ext>
                </a:extLst>
              </p:cNvPr>
              <p:cNvSpPr>
                <a:spLocks/>
              </p:cNvSpPr>
              <p:nvPr/>
            </p:nvSpPr>
            <p:spPr bwMode="auto">
              <a:xfrm>
                <a:off x="3068638" y="466725"/>
                <a:ext cx="39688" cy="39687"/>
              </a:xfrm>
              <a:custGeom>
                <a:avLst/>
                <a:gdLst>
                  <a:gd name="T0" fmla="*/ 0 w 73"/>
                  <a:gd name="T1" fmla="*/ 36 h 74"/>
                  <a:gd name="T2" fmla="*/ 0 w 73"/>
                  <a:gd name="T3" fmla="*/ 36 h 74"/>
                  <a:gd name="T4" fmla="*/ 0 w 73"/>
                  <a:gd name="T5" fmla="*/ 29 h 74"/>
                  <a:gd name="T6" fmla="*/ 2 w 73"/>
                  <a:gd name="T7" fmla="*/ 23 h 74"/>
                  <a:gd name="T8" fmla="*/ 6 w 73"/>
                  <a:gd name="T9" fmla="*/ 16 h 74"/>
                  <a:gd name="T10" fmla="*/ 11 w 73"/>
                  <a:gd name="T11" fmla="*/ 11 h 74"/>
                  <a:gd name="T12" fmla="*/ 16 w 73"/>
                  <a:gd name="T13" fmla="*/ 6 h 74"/>
                  <a:gd name="T14" fmla="*/ 22 w 73"/>
                  <a:gd name="T15" fmla="*/ 3 h 74"/>
                  <a:gd name="T16" fmla="*/ 29 w 73"/>
                  <a:gd name="T17" fmla="*/ 2 h 74"/>
                  <a:gd name="T18" fmla="*/ 36 w 73"/>
                  <a:gd name="T19" fmla="*/ 0 h 74"/>
                  <a:gd name="T20" fmla="*/ 36 w 73"/>
                  <a:gd name="T21" fmla="*/ 0 h 74"/>
                  <a:gd name="T22" fmla="*/ 43 w 73"/>
                  <a:gd name="T23" fmla="*/ 2 h 74"/>
                  <a:gd name="T24" fmla="*/ 51 w 73"/>
                  <a:gd name="T25" fmla="*/ 3 h 74"/>
                  <a:gd name="T26" fmla="*/ 57 w 73"/>
                  <a:gd name="T27" fmla="*/ 6 h 74"/>
                  <a:gd name="T28" fmla="*/ 63 w 73"/>
                  <a:gd name="T29" fmla="*/ 11 h 74"/>
                  <a:gd name="T30" fmla="*/ 66 w 73"/>
                  <a:gd name="T31" fmla="*/ 16 h 74"/>
                  <a:gd name="T32" fmla="*/ 70 w 73"/>
                  <a:gd name="T33" fmla="*/ 23 h 74"/>
                  <a:gd name="T34" fmla="*/ 72 w 73"/>
                  <a:gd name="T35" fmla="*/ 29 h 74"/>
                  <a:gd name="T36" fmla="*/ 73 w 73"/>
                  <a:gd name="T37" fmla="*/ 36 h 74"/>
                  <a:gd name="T38" fmla="*/ 73 w 73"/>
                  <a:gd name="T39" fmla="*/ 36 h 74"/>
                  <a:gd name="T40" fmla="*/ 72 w 73"/>
                  <a:gd name="T41" fmla="*/ 45 h 74"/>
                  <a:gd name="T42" fmla="*/ 70 w 73"/>
                  <a:gd name="T43" fmla="*/ 51 h 74"/>
                  <a:gd name="T44" fmla="*/ 66 w 73"/>
                  <a:gd name="T45" fmla="*/ 57 h 74"/>
                  <a:gd name="T46" fmla="*/ 63 w 73"/>
                  <a:gd name="T47" fmla="*/ 63 h 74"/>
                  <a:gd name="T48" fmla="*/ 57 w 73"/>
                  <a:gd name="T49" fmla="*/ 68 h 74"/>
                  <a:gd name="T50" fmla="*/ 51 w 73"/>
                  <a:gd name="T51" fmla="*/ 71 h 74"/>
                  <a:gd name="T52" fmla="*/ 43 w 73"/>
                  <a:gd name="T53" fmla="*/ 72 h 74"/>
                  <a:gd name="T54" fmla="*/ 36 w 73"/>
                  <a:gd name="T55" fmla="*/ 74 h 74"/>
                  <a:gd name="T56" fmla="*/ 36 w 73"/>
                  <a:gd name="T57" fmla="*/ 74 h 74"/>
                  <a:gd name="T58" fmla="*/ 29 w 73"/>
                  <a:gd name="T59" fmla="*/ 72 h 74"/>
                  <a:gd name="T60" fmla="*/ 22 w 73"/>
                  <a:gd name="T61" fmla="*/ 71 h 74"/>
                  <a:gd name="T62" fmla="*/ 16 w 73"/>
                  <a:gd name="T63" fmla="*/ 68 h 74"/>
                  <a:gd name="T64" fmla="*/ 11 w 73"/>
                  <a:gd name="T65" fmla="*/ 63 h 74"/>
                  <a:gd name="T66" fmla="*/ 6 w 73"/>
                  <a:gd name="T67" fmla="*/ 57 h 74"/>
                  <a:gd name="T68" fmla="*/ 2 w 73"/>
                  <a:gd name="T69" fmla="*/ 51 h 74"/>
                  <a:gd name="T70" fmla="*/ 0 w 73"/>
                  <a:gd name="T71" fmla="*/ 45 h 74"/>
                  <a:gd name="T72" fmla="*/ 0 w 73"/>
                  <a:gd name="T73" fmla="*/ 36 h 74"/>
                  <a:gd name="T74" fmla="*/ 0 w 73"/>
                  <a:gd name="T75" fmla="*/ 36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3" h="74">
                    <a:moveTo>
                      <a:pt x="0" y="36"/>
                    </a:moveTo>
                    <a:lnTo>
                      <a:pt x="0" y="36"/>
                    </a:lnTo>
                    <a:lnTo>
                      <a:pt x="0" y="29"/>
                    </a:lnTo>
                    <a:lnTo>
                      <a:pt x="2" y="23"/>
                    </a:lnTo>
                    <a:lnTo>
                      <a:pt x="6" y="16"/>
                    </a:lnTo>
                    <a:lnTo>
                      <a:pt x="11" y="11"/>
                    </a:lnTo>
                    <a:lnTo>
                      <a:pt x="16" y="6"/>
                    </a:lnTo>
                    <a:lnTo>
                      <a:pt x="22" y="3"/>
                    </a:lnTo>
                    <a:lnTo>
                      <a:pt x="29" y="2"/>
                    </a:lnTo>
                    <a:lnTo>
                      <a:pt x="36" y="0"/>
                    </a:lnTo>
                    <a:lnTo>
                      <a:pt x="36" y="0"/>
                    </a:lnTo>
                    <a:lnTo>
                      <a:pt x="43" y="2"/>
                    </a:lnTo>
                    <a:lnTo>
                      <a:pt x="51" y="3"/>
                    </a:lnTo>
                    <a:lnTo>
                      <a:pt x="57" y="6"/>
                    </a:lnTo>
                    <a:lnTo>
                      <a:pt x="63" y="11"/>
                    </a:lnTo>
                    <a:lnTo>
                      <a:pt x="66" y="16"/>
                    </a:lnTo>
                    <a:lnTo>
                      <a:pt x="70" y="23"/>
                    </a:lnTo>
                    <a:lnTo>
                      <a:pt x="72" y="29"/>
                    </a:lnTo>
                    <a:lnTo>
                      <a:pt x="73" y="36"/>
                    </a:lnTo>
                    <a:lnTo>
                      <a:pt x="73" y="36"/>
                    </a:lnTo>
                    <a:lnTo>
                      <a:pt x="72" y="45"/>
                    </a:lnTo>
                    <a:lnTo>
                      <a:pt x="70" y="51"/>
                    </a:lnTo>
                    <a:lnTo>
                      <a:pt x="66" y="57"/>
                    </a:lnTo>
                    <a:lnTo>
                      <a:pt x="63" y="63"/>
                    </a:lnTo>
                    <a:lnTo>
                      <a:pt x="57" y="68"/>
                    </a:lnTo>
                    <a:lnTo>
                      <a:pt x="51" y="71"/>
                    </a:lnTo>
                    <a:lnTo>
                      <a:pt x="43" y="72"/>
                    </a:lnTo>
                    <a:lnTo>
                      <a:pt x="36" y="74"/>
                    </a:lnTo>
                    <a:lnTo>
                      <a:pt x="36" y="74"/>
                    </a:lnTo>
                    <a:lnTo>
                      <a:pt x="29" y="72"/>
                    </a:lnTo>
                    <a:lnTo>
                      <a:pt x="22" y="71"/>
                    </a:lnTo>
                    <a:lnTo>
                      <a:pt x="16" y="68"/>
                    </a:lnTo>
                    <a:lnTo>
                      <a:pt x="11" y="63"/>
                    </a:lnTo>
                    <a:lnTo>
                      <a:pt x="6" y="57"/>
                    </a:lnTo>
                    <a:lnTo>
                      <a:pt x="2" y="51"/>
                    </a:lnTo>
                    <a:lnTo>
                      <a:pt x="0" y="45"/>
                    </a:lnTo>
                    <a:lnTo>
                      <a:pt x="0" y="36"/>
                    </a:lnTo>
                    <a:lnTo>
                      <a:pt x="0"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20" name="Freeform 57">
                <a:extLst>
                  <a:ext uri="{FF2B5EF4-FFF2-40B4-BE49-F238E27FC236}">
                    <a16:creationId xmlns:a16="http://schemas.microsoft.com/office/drawing/2014/main" id="{CAF0B82B-9C6E-4C9A-B83F-169D752F90C8}"/>
                  </a:ext>
                </a:extLst>
              </p:cNvPr>
              <p:cNvSpPr>
                <a:spLocks noEditPoints="1"/>
              </p:cNvSpPr>
              <p:nvPr/>
            </p:nvSpPr>
            <p:spPr bwMode="auto">
              <a:xfrm>
                <a:off x="2994026" y="392113"/>
                <a:ext cx="188913" cy="188912"/>
              </a:xfrm>
              <a:custGeom>
                <a:avLst/>
                <a:gdLst>
                  <a:gd name="T0" fmla="*/ 160 w 358"/>
                  <a:gd name="T1" fmla="*/ 1 h 356"/>
                  <a:gd name="T2" fmla="*/ 109 w 358"/>
                  <a:gd name="T3" fmla="*/ 14 h 356"/>
                  <a:gd name="T4" fmla="*/ 65 w 358"/>
                  <a:gd name="T5" fmla="*/ 40 h 356"/>
                  <a:gd name="T6" fmla="*/ 30 w 358"/>
                  <a:gd name="T7" fmla="*/ 78 h 356"/>
                  <a:gd name="T8" fmla="*/ 7 w 358"/>
                  <a:gd name="T9" fmla="*/ 125 h 356"/>
                  <a:gd name="T10" fmla="*/ 0 w 358"/>
                  <a:gd name="T11" fmla="*/ 179 h 356"/>
                  <a:gd name="T12" fmla="*/ 3 w 358"/>
                  <a:gd name="T13" fmla="*/ 215 h 356"/>
                  <a:gd name="T14" fmla="*/ 21 w 358"/>
                  <a:gd name="T15" fmla="*/ 263 h 356"/>
                  <a:gd name="T16" fmla="*/ 52 w 358"/>
                  <a:gd name="T17" fmla="*/ 305 h 356"/>
                  <a:gd name="T18" fmla="*/ 94 w 358"/>
                  <a:gd name="T19" fmla="*/ 335 h 356"/>
                  <a:gd name="T20" fmla="*/ 142 w 358"/>
                  <a:gd name="T21" fmla="*/ 353 h 356"/>
                  <a:gd name="T22" fmla="*/ 178 w 358"/>
                  <a:gd name="T23" fmla="*/ 356 h 356"/>
                  <a:gd name="T24" fmla="*/ 232 w 358"/>
                  <a:gd name="T25" fmla="*/ 349 h 356"/>
                  <a:gd name="T26" fmla="*/ 279 w 358"/>
                  <a:gd name="T27" fmla="*/ 326 h 356"/>
                  <a:gd name="T28" fmla="*/ 317 w 358"/>
                  <a:gd name="T29" fmla="*/ 292 h 356"/>
                  <a:gd name="T30" fmla="*/ 343 w 358"/>
                  <a:gd name="T31" fmla="*/ 247 h 356"/>
                  <a:gd name="T32" fmla="*/ 356 w 358"/>
                  <a:gd name="T33" fmla="*/ 197 h 356"/>
                  <a:gd name="T34" fmla="*/ 356 w 358"/>
                  <a:gd name="T35" fmla="*/ 159 h 356"/>
                  <a:gd name="T36" fmla="*/ 343 w 358"/>
                  <a:gd name="T37" fmla="*/ 109 h 356"/>
                  <a:gd name="T38" fmla="*/ 317 w 358"/>
                  <a:gd name="T39" fmla="*/ 64 h 356"/>
                  <a:gd name="T40" fmla="*/ 279 w 358"/>
                  <a:gd name="T41" fmla="*/ 30 h 356"/>
                  <a:gd name="T42" fmla="*/ 232 w 358"/>
                  <a:gd name="T43" fmla="*/ 8 h 356"/>
                  <a:gd name="T44" fmla="*/ 178 w 358"/>
                  <a:gd name="T45" fmla="*/ 0 h 356"/>
                  <a:gd name="T46" fmla="*/ 178 w 358"/>
                  <a:gd name="T47" fmla="*/ 308 h 356"/>
                  <a:gd name="T48" fmla="*/ 140 w 358"/>
                  <a:gd name="T49" fmla="*/ 302 h 356"/>
                  <a:gd name="T50" fmla="*/ 106 w 358"/>
                  <a:gd name="T51" fmla="*/ 286 h 356"/>
                  <a:gd name="T52" fmla="*/ 78 w 358"/>
                  <a:gd name="T53" fmla="*/ 262 h 356"/>
                  <a:gd name="T54" fmla="*/ 59 w 358"/>
                  <a:gd name="T55" fmla="*/ 229 h 356"/>
                  <a:gd name="T56" fmla="*/ 49 w 358"/>
                  <a:gd name="T57" fmla="*/ 192 h 356"/>
                  <a:gd name="T58" fmla="*/ 49 w 358"/>
                  <a:gd name="T59" fmla="*/ 164 h 356"/>
                  <a:gd name="T60" fmla="*/ 59 w 358"/>
                  <a:gd name="T61" fmla="*/ 127 h 356"/>
                  <a:gd name="T62" fmla="*/ 78 w 358"/>
                  <a:gd name="T63" fmla="*/ 96 h 356"/>
                  <a:gd name="T64" fmla="*/ 106 w 358"/>
                  <a:gd name="T65" fmla="*/ 70 h 356"/>
                  <a:gd name="T66" fmla="*/ 140 w 358"/>
                  <a:gd name="T67" fmla="*/ 54 h 356"/>
                  <a:gd name="T68" fmla="*/ 178 w 358"/>
                  <a:gd name="T69" fmla="*/ 48 h 356"/>
                  <a:gd name="T70" fmla="*/ 205 w 358"/>
                  <a:gd name="T71" fmla="*/ 50 h 356"/>
                  <a:gd name="T72" fmla="*/ 241 w 358"/>
                  <a:gd name="T73" fmla="*/ 63 h 356"/>
                  <a:gd name="T74" fmla="*/ 271 w 358"/>
                  <a:gd name="T75" fmla="*/ 86 h 356"/>
                  <a:gd name="T76" fmla="*/ 294 w 358"/>
                  <a:gd name="T77" fmla="*/ 116 h 356"/>
                  <a:gd name="T78" fmla="*/ 307 w 358"/>
                  <a:gd name="T79" fmla="*/ 152 h 356"/>
                  <a:gd name="T80" fmla="*/ 309 w 358"/>
                  <a:gd name="T81" fmla="*/ 179 h 356"/>
                  <a:gd name="T82" fmla="*/ 303 w 358"/>
                  <a:gd name="T83" fmla="*/ 217 h 356"/>
                  <a:gd name="T84" fmla="*/ 287 w 358"/>
                  <a:gd name="T85" fmla="*/ 251 h 356"/>
                  <a:gd name="T86" fmla="*/ 261 w 358"/>
                  <a:gd name="T87" fmla="*/ 278 h 356"/>
                  <a:gd name="T88" fmla="*/ 230 w 358"/>
                  <a:gd name="T89" fmla="*/ 298 h 356"/>
                  <a:gd name="T90" fmla="*/ 193 w 358"/>
                  <a:gd name="T91" fmla="*/ 307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8" h="356">
                    <a:moveTo>
                      <a:pt x="178" y="0"/>
                    </a:moveTo>
                    <a:lnTo>
                      <a:pt x="178" y="0"/>
                    </a:lnTo>
                    <a:lnTo>
                      <a:pt x="160" y="1"/>
                    </a:lnTo>
                    <a:lnTo>
                      <a:pt x="142" y="3"/>
                    </a:lnTo>
                    <a:lnTo>
                      <a:pt x="125" y="8"/>
                    </a:lnTo>
                    <a:lnTo>
                      <a:pt x="109" y="14"/>
                    </a:lnTo>
                    <a:lnTo>
                      <a:pt x="94" y="21"/>
                    </a:lnTo>
                    <a:lnTo>
                      <a:pt x="78" y="30"/>
                    </a:lnTo>
                    <a:lnTo>
                      <a:pt x="65" y="40"/>
                    </a:lnTo>
                    <a:lnTo>
                      <a:pt x="52" y="51"/>
                    </a:lnTo>
                    <a:lnTo>
                      <a:pt x="41" y="64"/>
                    </a:lnTo>
                    <a:lnTo>
                      <a:pt x="30" y="78"/>
                    </a:lnTo>
                    <a:lnTo>
                      <a:pt x="21" y="93"/>
                    </a:lnTo>
                    <a:lnTo>
                      <a:pt x="13" y="109"/>
                    </a:lnTo>
                    <a:lnTo>
                      <a:pt x="7" y="125"/>
                    </a:lnTo>
                    <a:lnTo>
                      <a:pt x="3" y="143"/>
                    </a:lnTo>
                    <a:lnTo>
                      <a:pt x="1" y="159"/>
                    </a:lnTo>
                    <a:lnTo>
                      <a:pt x="0" y="179"/>
                    </a:lnTo>
                    <a:lnTo>
                      <a:pt x="0" y="179"/>
                    </a:lnTo>
                    <a:lnTo>
                      <a:pt x="1" y="197"/>
                    </a:lnTo>
                    <a:lnTo>
                      <a:pt x="3" y="215"/>
                    </a:lnTo>
                    <a:lnTo>
                      <a:pt x="7" y="231"/>
                    </a:lnTo>
                    <a:lnTo>
                      <a:pt x="13" y="247"/>
                    </a:lnTo>
                    <a:lnTo>
                      <a:pt x="21" y="263"/>
                    </a:lnTo>
                    <a:lnTo>
                      <a:pt x="30" y="278"/>
                    </a:lnTo>
                    <a:lnTo>
                      <a:pt x="41" y="292"/>
                    </a:lnTo>
                    <a:lnTo>
                      <a:pt x="52" y="305"/>
                    </a:lnTo>
                    <a:lnTo>
                      <a:pt x="65" y="316"/>
                    </a:lnTo>
                    <a:lnTo>
                      <a:pt x="78" y="326"/>
                    </a:lnTo>
                    <a:lnTo>
                      <a:pt x="94" y="335"/>
                    </a:lnTo>
                    <a:lnTo>
                      <a:pt x="109" y="343"/>
                    </a:lnTo>
                    <a:lnTo>
                      <a:pt x="125" y="349"/>
                    </a:lnTo>
                    <a:lnTo>
                      <a:pt x="142" y="353"/>
                    </a:lnTo>
                    <a:lnTo>
                      <a:pt x="160" y="355"/>
                    </a:lnTo>
                    <a:lnTo>
                      <a:pt x="178" y="356"/>
                    </a:lnTo>
                    <a:lnTo>
                      <a:pt x="178" y="356"/>
                    </a:lnTo>
                    <a:lnTo>
                      <a:pt x="197" y="355"/>
                    </a:lnTo>
                    <a:lnTo>
                      <a:pt x="214" y="353"/>
                    </a:lnTo>
                    <a:lnTo>
                      <a:pt x="232" y="349"/>
                    </a:lnTo>
                    <a:lnTo>
                      <a:pt x="248" y="343"/>
                    </a:lnTo>
                    <a:lnTo>
                      <a:pt x="264" y="335"/>
                    </a:lnTo>
                    <a:lnTo>
                      <a:pt x="279" y="326"/>
                    </a:lnTo>
                    <a:lnTo>
                      <a:pt x="293" y="316"/>
                    </a:lnTo>
                    <a:lnTo>
                      <a:pt x="306" y="305"/>
                    </a:lnTo>
                    <a:lnTo>
                      <a:pt x="317" y="292"/>
                    </a:lnTo>
                    <a:lnTo>
                      <a:pt x="328" y="278"/>
                    </a:lnTo>
                    <a:lnTo>
                      <a:pt x="336" y="263"/>
                    </a:lnTo>
                    <a:lnTo>
                      <a:pt x="343" y="247"/>
                    </a:lnTo>
                    <a:lnTo>
                      <a:pt x="349" y="231"/>
                    </a:lnTo>
                    <a:lnTo>
                      <a:pt x="354" y="215"/>
                    </a:lnTo>
                    <a:lnTo>
                      <a:pt x="356" y="197"/>
                    </a:lnTo>
                    <a:lnTo>
                      <a:pt x="358" y="179"/>
                    </a:lnTo>
                    <a:lnTo>
                      <a:pt x="358" y="179"/>
                    </a:lnTo>
                    <a:lnTo>
                      <a:pt x="356" y="159"/>
                    </a:lnTo>
                    <a:lnTo>
                      <a:pt x="354" y="143"/>
                    </a:lnTo>
                    <a:lnTo>
                      <a:pt x="349" y="125"/>
                    </a:lnTo>
                    <a:lnTo>
                      <a:pt x="343" y="109"/>
                    </a:lnTo>
                    <a:lnTo>
                      <a:pt x="336" y="93"/>
                    </a:lnTo>
                    <a:lnTo>
                      <a:pt x="328" y="78"/>
                    </a:lnTo>
                    <a:lnTo>
                      <a:pt x="317" y="64"/>
                    </a:lnTo>
                    <a:lnTo>
                      <a:pt x="306" y="51"/>
                    </a:lnTo>
                    <a:lnTo>
                      <a:pt x="293" y="40"/>
                    </a:lnTo>
                    <a:lnTo>
                      <a:pt x="279" y="30"/>
                    </a:lnTo>
                    <a:lnTo>
                      <a:pt x="264" y="21"/>
                    </a:lnTo>
                    <a:lnTo>
                      <a:pt x="248" y="14"/>
                    </a:lnTo>
                    <a:lnTo>
                      <a:pt x="232" y="8"/>
                    </a:lnTo>
                    <a:lnTo>
                      <a:pt x="214" y="3"/>
                    </a:lnTo>
                    <a:lnTo>
                      <a:pt x="197" y="1"/>
                    </a:lnTo>
                    <a:lnTo>
                      <a:pt x="178" y="0"/>
                    </a:lnTo>
                    <a:lnTo>
                      <a:pt x="178" y="0"/>
                    </a:lnTo>
                    <a:close/>
                    <a:moveTo>
                      <a:pt x="178" y="308"/>
                    </a:moveTo>
                    <a:lnTo>
                      <a:pt x="178" y="308"/>
                    </a:lnTo>
                    <a:lnTo>
                      <a:pt x="165" y="307"/>
                    </a:lnTo>
                    <a:lnTo>
                      <a:pt x="153" y="306"/>
                    </a:lnTo>
                    <a:lnTo>
                      <a:pt x="140" y="302"/>
                    </a:lnTo>
                    <a:lnTo>
                      <a:pt x="128" y="298"/>
                    </a:lnTo>
                    <a:lnTo>
                      <a:pt x="117" y="293"/>
                    </a:lnTo>
                    <a:lnTo>
                      <a:pt x="106" y="286"/>
                    </a:lnTo>
                    <a:lnTo>
                      <a:pt x="96" y="278"/>
                    </a:lnTo>
                    <a:lnTo>
                      <a:pt x="87" y="270"/>
                    </a:lnTo>
                    <a:lnTo>
                      <a:pt x="78" y="262"/>
                    </a:lnTo>
                    <a:lnTo>
                      <a:pt x="71" y="251"/>
                    </a:lnTo>
                    <a:lnTo>
                      <a:pt x="64" y="240"/>
                    </a:lnTo>
                    <a:lnTo>
                      <a:pt x="59" y="229"/>
                    </a:lnTo>
                    <a:lnTo>
                      <a:pt x="54" y="217"/>
                    </a:lnTo>
                    <a:lnTo>
                      <a:pt x="50" y="204"/>
                    </a:lnTo>
                    <a:lnTo>
                      <a:pt x="49" y="192"/>
                    </a:lnTo>
                    <a:lnTo>
                      <a:pt x="48" y="179"/>
                    </a:lnTo>
                    <a:lnTo>
                      <a:pt x="48" y="179"/>
                    </a:lnTo>
                    <a:lnTo>
                      <a:pt x="49" y="164"/>
                    </a:lnTo>
                    <a:lnTo>
                      <a:pt x="50" y="152"/>
                    </a:lnTo>
                    <a:lnTo>
                      <a:pt x="54" y="139"/>
                    </a:lnTo>
                    <a:lnTo>
                      <a:pt x="59" y="127"/>
                    </a:lnTo>
                    <a:lnTo>
                      <a:pt x="64" y="116"/>
                    </a:lnTo>
                    <a:lnTo>
                      <a:pt x="71" y="105"/>
                    </a:lnTo>
                    <a:lnTo>
                      <a:pt x="78" y="96"/>
                    </a:lnTo>
                    <a:lnTo>
                      <a:pt x="87" y="86"/>
                    </a:lnTo>
                    <a:lnTo>
                      <a:pt x="96" y="78"/>
                    </a:lnTo>
                    <a:lnTo>
                      <a:pt x="106" y="70"/>
                    </a:lnTo>
                    <a:lnTo>
                      <a:pt x="117" y="63"/>
                    </a:lnTo>
                    <a:lnTo>
                      <a:pt x="128" y="58"/>
                    </a:lnTo>
                    <a:lnTo>
                      <a:pt x="140" y="54"/>
                    </a:lnTo>
                    <a:lnTo>
                      <a:pt x="153" y="50"/>
                    </a:lnTo>
                    <a:lnTo>
                      <a:pt x="165" y="49"/>
                    </a:lnTo>
                    <a:lnTo>
                      <a:pt x="178" y="48"/>
                    </a:lnTo>
                    <a:lnTo>
                      <a:pt x="178" y="48"/>
                    </a:lnTo>
                    <a:lnTo>
                      <a:pt x="193" y="49"/>
                    </a:lnTo>
                    <a:lnTo>
                      <a:pt x="205" y="50"/>
                    </a:lnTo>
                    <a:lnTo>
                      <a:pt x="218" y="54"/>
                    </a:lnTo>
                    <a:lnTo>
                      <a:pt x="230" y="58"/>
                    </a:lnTo>
                    <a:lnTo>
                      <a:pt x="241" y="63"/>
                    </a:lnTo>
                    <a:lnTo>
                      <a:pt x="252" y="70"/>
                    </a:lnTo>
                    <a:lnTo>
                      <a:pt x="261" y="78"/>
                    </a:lnTo>
                    <a:lnTo>
                      <a:pt x="271" y="86"/>
                    </a:lnTo>
                    <a:lnTo>
                      <a:pt x="279" y="96"/>
                    </a:lnTo>
                    <a:lnTo>
                      <a:pt x="287" y="105"/>
                    </a:lnTo>
                    <a:lnTo>
                      <a:pt x="294" y="116"/>
                    </a:lnTo>
                    <a:lnTo>
                      <a:pt x="299" y="127"/>
                    </a:lnTo>
                    <a:lnTo>
                      <a:pt x="303" y="139"/>
                    </a:lnTo>
                    <a:lnTo>
                      <a:pt x="307" y="152"/>
                    </a:lnTo>
                    <a:lnTo>
                      <a:pt x="308" y="164"/>
                    </a:lnTo>
                    <a:lnTo>
                      <a:pt x="309" y="179"/>
                    </a:lnTo>
                    <a:lnTo>
                      <a:pt x="309" y="179"/>
                    </a:lnTo>
                    <a:lnTo>
                      <a:pt x="308" y="192"/>
                    </a:lnTo>
                    <a:lnTo>
                      <a:pt x="307" y="204"/>
                    </a:lnTo>
                    <a:lnTo>
                      <a:pt x="303" y="217"/>
                    </a:lnTo>
                    <a:lnTo>
                      <a:pt x="299" y="229"/>
                    </a:lnTo>
                    <a:lnTo>
                      <a:pt x="294" y="240"/>
                    </a:lnTo>
                    <a:lnTo>
                      <a:pt x="287" y="251"/>
                    </a:lnTo>
                    <a:lnTo>
                      <a:pt x="279" y="262"/>
                    </a:lnTo>
                    <a:lnTo>
                      <a:pt x="271" y="270"/>
                    </a:lnTo>
                    <a:lnTo>
                      <a:pt x="261" y="278"/>
                    </a:lnTo>
                    <a:lnTo>
                      <a:pt x="252" y="286"/>
                    </a:lnTo>
                    <a:lnTo>
                      <a:pt x="241" y="293"/>
                    </a:lnTo>
                    <a:lnTo>
                      <a:pt x="230" y="298"/>
                    </a:lnTo>
                    <a:lnTo>
                      <a:pt x="218" y="302"/>
                    </a:lnTo>
                    <a:lnTo>
                      <a:pt x="205" y="306"/>
                    </a:lnTo>
                    <a:lnTo>
                      <a:pt x="193" y="307"/>
                    </a:lnTo>
                    <a:lnTo>
                      <a:pt x="178" y="308"/>
                    </a:lnTo>
                    <a:lnTo>
                      <a:pt x="178" y="30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21" name="Freeform 58">
                <a:extLst>
                  <a:ext uri="{FF2B5EF4-FFF2-40B4-BE49-F238E27FC236}">
                    <a16:creationId xmlns:a16="http://schemas.microsoft.com/office/drawing/2014/main" id="{E0B1D35D-0DB5-4FE9-AEE1-477C2DFF7790}"/>
                  </a:ext>
                </a:extLst>
              </p:cNvPr>
              <p:cNvSpPr>
                <a:spLocks/>
              </p:cNvSpPr>
              <p:nvPr/>
            </p:nvSpPr>
            <p:spPr bwMode="auto">
              <a:xfrm>
                <a:off x="2922588" y="463550"/>
                <a:ext cx="53975" cy="53975"/>
              </a:xfrm>
              <a:custGeom>
                <a:avLst/>
                <a:gdLst>
                  <a:gd name="T0" fmla="*/ 0 w 101"/>
                  <a:gd name="T1" fmla="*/ 52 h 102"/>
                  <a:gd name="T2" fmla="*/ 0 w 101"/>
                  <a:gd name="T3" fmla="*/ 52 h 102"/>
                  <a:gd name="T4" fmla="*/ 0 w 101"/>
                  <a:gd name="T5" fmla="*/ 41 h 102"/>
                  <a:gd name="T6" fmla="*/ 3 w 101"/>
                  <a:gd name="T7" fmla="*/ 32 h 102"/>
                  <a:gd name="T8" fmla="*/ 8 w 101"/>
                  <a:gd name="T9" fmla="*/ 23 h 102"/>
                  <a:gd name="T10" fmla="*/ 14 w 101"/>
                  <a:gd name="T11" fmla="*/ 16 h 102"/>
                  <a:gd name="T12" fmla="*/ 22 w 101"/>
                  <a:gd name="T13" fmla="*/ 9 h 102"/>
                  <a:gd name="T14" fmla="*/ 30 w 101"/>
                  <a:gd name="T15" fmla="*/ 5 h 102"/>
                  <a:gd name="T16" fmla="*/ 40 w 101"/>
                  <a:gd name="T17" fmla="*/ 2 h 102"/>
                  <a:gd name="T18" fmla="*/ 50 w 101"/>
                  <a:gd name="T19" fmla="*/ 0 h 102"/>
                  <a:gd name="T20" fmla="*/ 50 w 101"/>
                  <a:gd name="T21" fmla="*/ 0 h 102"/>
                  <a:gd name="T22" fmla="*/ 60 w 101"/>
                  <a:gd name="T23" fmla="*/ 2 h 102"/>
                  <a:gd name="T24" fmla="*/ 70 w 101"/>
                  <a:gd name="T25" fmla="*/ 5 h 102"/>
                  <a:gd name="T26" fmla="*/ 79 w 101"/>
                  <a:gd name="T27" fmla="*/ 9 h 102"/>
                  <a:gd name="T28" fmla="*/ 87 w 101"/>
                  <a:gd name="T29" fmla="*/ 16 h 102"/>
                  <a:gd name="T30" fmla="*/ 93 w 101"/>
                  <a:gd name="T31" fmla="*/ 23 h 102"/>
                  <a:gd name="T32" fmla="*/ 97 w 101"/>
                  <a:gd name="T33" fmla="*/ 32 h 102"/>
                  <a:gd name="T34" fmla="*/ 100 w 101"/>
                  <a:gd name="T35" fmla="*/ 41 h 102"/>
                  <a:gd name="T36" fmla="*/ 101 w 101"/>
                  <a:gd name="T37" fmla="*/ 52 h 102"/>
                  <a:gd name="T38" fmla="*/ 101 w 101"/>
                  <a:gd name="T39" fmla="*/ 52 h 102"/>
                  <a:gd name="T40" fmla="*/ 100 w 101"/>
                  <a:gd name="T41" fmla="*/ 62 h 102"/>
                  <a:gd name="T42" fmla="*/ 97 w 101"/>
                  <a:gd name="T43" fmla="*/ 71 h 102"/>
                  <a:gd name="T44" fmla="*/ 93 w 101"/>
                  <a:gd name="T45" fmla="*/ 80 h 102"/>
                  <a:gd name="T46" fmla="*/ 87 w 101"/>
                  <a:gd name="T47" fmla="*/ 88 h 102"/>
                  <a:gd name="T48" fmla="*/ 79 w 101"/>
                  <a:gd name="T49" fmla="*/ 94 h 102"/>
                  <a:gd name="T50" fmla="*/ 70 w 101"/>
                  <a:gd name="T51" fmla="*/ 99 h 102"/>
                  <a:gd name="T52" fmla="*/ 60 w 101"/>
                  <a:gd name="T53" fmla="*/ 101 h 102"/>
                  <a:gd name="T54" fmla="*/ 50 w 101"/>
                  <a:gd name="T55" fmla="*/ 102 h 102"/>
                  <a:gd name="T56" fmla="*/ 50 w 101"/>
                  <a:gd name="T57" fmla="*/ 102 h 102"/>
                  <a:gd name="T58" fmla="*/ 40 w 101"/>
                  <a:gd name="T59" fmla="*/ 101 h 102"/>
                  <a:gd name="T60" fmla="*/ 30 w 101"/>
                  <a:gd name="T61" fmla="*/ 99 h 102"/>
                  <a:gd name="T62" fmla="*/ 22 w 101"/>
                  <a:gd name="T63" fmla="*/ 94 h 102"/>
                  <a:gd name="T64" fmla="*/ 14 w 101"/>
                  <a:gd name="T65" fmla="*/ 88 h 102"/>
                  <a:gd name="T66" fmla="*/ 8 w 101"/>
                  <a:gd name="T67" fmla="*/ 80 h 102"/>
                  <a:gd name="T68" fmla="*/ 3 w 101"/>
                  <a:gd name="T69" fmla="*/ 71 h 102"/>
                  <a:gd name="T70" fmla="*/ 0 w 101"/>
                  <a:gd name="T71" fmla="*/ 62 h 102"/>
                  <a:gd name="T72" fmla="*/ 0 w 101"/>
                  <a:gd name="T73" fmla="*/ 52 h 102"/>
                  <a:gd name="T74" fmla="*/ 0 w 101"/>
                  <a:gd name="T75" fmla="*/ 5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1" h="102">
                    <a:moveTo>
                      <a:pt x="0" y="52"/>
                    </a:moveTo>
                    <a:lnTo>
                      <a:pt x="0" y="52"/>
                    </a:lnTo>
                    <a:lnTo>
                      <a:pt x="0" y="41"/>
                    </a:lnTo>
                    <a:lnTo>
                      <a:pt x="3" y="32"/>
                    </a:lnTo>
                    <a:lnTo>
                      <a:pt x="8" y="23"/>
                    </a:lnTo>
                    <a:lnTo>
                      <a:pt x="14" y="16"/>
                    </a:lnTo>
                    <a:lnTo>
                      <a:pt x="22" y="9"/>
                    </a:lnTo>
                    <a:lnTo>
                      <a:pt x="30" y="5"/>
                    </a:lnTo>
                    <a:lnTo>
                      <a:pt x="40" y="2"/>
                    </a:lnTo>
                    <a:lnTo>
                      <a:pt x="50" y="0"/>
                    </a:lnTo>
                    <a:lnTo>
                      <a:pt x="50" y="0"/>
                    </a:lnTo>
                    <a:lnTo>
                      <a:pt x="60" y="2"/>
                    </a:lnTo>
                    <a:lnTo>
                      <a:pt x="70" y="5"/>
                    </a:lnTo>
                    <a:lnTo>
                      <a:pt x="79" y="9"/>
                    </a:lnTo>
                    <a:lnTo>
                      <a:pt x="87" y="16"/>
                    </a:lnTo>
                    <a:lnTo>
                      <a:pt x="93" y="23"/>
                    </a:lnTo>
                    <a:lnTo>
                      <a:pt x="97" y="32"/>
                    </a:lnTo>
                    <a:lnTo>
                      <a:pt x="100" y="41"/>
                    </a:lnTo>
                    <a:lnTo>
                      <a:pt x="101" y="52"/>
                    </a:lnTo>
                    <a:lnTo>
                      <a:pt x="101" y="52"/>
                    </a:lnTo>
                    <a:lnTo>
                      <a:pt x="100" y="62"/>
                    </a:lnTo>
                    <a:lnTo>
                      <a:pt x="97" y="71"/>
                    </a:lnTo>
                    <a:lnTo>
                      <a:pt x="93" y="80"/>
                    </a:lnTo>
                    <a:lnTo>
                      <a:pt x="87" y="88"/>
                    </a:lnTo>
                    <a:lnTo>
                      <a:pt x="79" y="94"/>
                    </a:lnTo>
                    <a:lnTo>
                      <a:pt x="70" y="99"/>
                    </a:lnTo>
                    <a:lnTo>
                      <a:pt x="60" y="101"/>
                    </a:lnTo>
                    <a:lnTo>
                      <a:pt x="50" y="102"/>
                    </a:lnTo>
                    <a:lnTo>
                      <a:pt x="50" y="102"/>
                    </a:lnTo>
                    <a:lnTo>
                      <a:pt x="40" y="101"/>
                    </a:lnTo>
                    <a:lnTo>
                      <a:pt x="30" y="99"/>
                    </a:lnTo>
                    <a:lnTo>
                      <a:pt x="22" y="94"/>
                    </a:lnTo>
                    <a:lnTo>
                      <a:pt x="14" y="88"/>
                    </a:lnTo>
                    <a:lnTo>
                      <a:pt x="8" y="80"/>
                    </a:lnTo>
                    <a:lnTo>
                      <a:pt x="3" y="71"/>
                    </a:lnTo>
                    <a:lnTo>
                      <a:pt x="0" y="62"/>
                    </a:lnTo>
                    <a:lnTo>
                      <a:pt x="0" y="52"/>
                    </a:lnTo>
                    <a:lnTo>
                      <a:pt x="0" y="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22" name="Freeform 59">
                <a:extLst>
                  <a:ext uri="{FF2B5EF4-FFF2-40B4-BE49-F238E27FC236}">
                    <a16:creationId xmlns:a16="http://schemas.microsoft.com/office/drawing/2014/main" id="{6B5D3787-8C8F-4FD4-A38F-A42FD13DA701}"/>
                  </a:ext>
                </a:extLst>
              </p:cNvPr>
              <p:cNvSpPr>
                <a:spLocks/>
              </p:cNvSpPr>
              <p:nvPr/>
            </p:nvSpPr>
            <p:spPr bwMode="auto">
              <a:xfrm>
                <a:off x="2801938" y="469900"/>
                <a:ext cx="141288" cy="39687"/>
              </a:xfrm>
              <a:custGeom>
                <a:avLst/>
                <a:gdLst>
                  <a:gd name="T0" fmla="*/ 264 w 265"/>
                  <a:gd name="T1" fmla="*/ 47 h 76"/>
                  <a:gd name="T2" fmla="*/ 264 w 265"/>
                  <a:gd name="T3" fmla="*/ 47 h 76"/>
                  <a:gd name="T4" fmla="*/ 264 w 265"/>
                  <a:gd name="T5" fmla="*/ 52 h 76"/>
                  <a:gd name="T6" fmla="*/ 262 w 265"/>
                  <a:gd name="T7" fmla="*/ 55 h 76"/>
                  <a:gd name="T8" fmla="*/ 257 w 265"/>
                  <a:gd name="T9" fmla="*/ 65 h 76"/>
                  <a:gd name="T10" fmla="*/ 253 w 265"/>
                  <a:gd name="T11" fmla="*/ 70 h 76"/>
                  <a:gd name="T12" fmla="*/ 250 w 265"/>
                  <a:gd name="T13" fmla="*/ 72 h 76"/>
                  <a:gd name="T14" fmla="*/ 246 w 265"/>
                  <a:gd name="T15" fmla="*/ 75 h 76"/>
                  <a:gd name="T16" fmla="*/ 243 w 265"/>
                  <a:gd name="T17" fmla="*/ 76 h 76"/>
                  <a:gd name="T18" fmla="*/ 16 w 265"/>
                  <a:gd name="T19" fmla="*/ 40 h 76"/>
                  <a:gd name="T20" fmla="*/ 16 w 265"/>
                  <a:gd name="T21" fmla="*/ 40 h 76"/>
                  <a:gd name="T22" fmla="*/ 12 w 265"/>
                  <a:gd name="T23" fmla="*/ 40 h 76"/>
                  <a:gd name="T24" fmla="*/ 9 w 265"/>
                  <a:gd name="T25" fmla="*/ 39 h 76"/>
                  <a:gd name="T26" fmla="*/ 4 w 265"/>
                  <a:gd name="T27" fmla="*/ 34 h 76"/>
                  <a:gd name="T28" fmla="*/ 0 w 265"/>
                  <a:gd name="T29" fmla="*/ 28 h 76"/>
                  <a:gd name="T30" fmla="*/ 0 w 265"/>
                  <a:gd name="T31" fmla="*/ 21 h 76"/>
                  <a:gd name="T32" fmla="*/ 0 w 265"/>
                  <a:gd name="T33" fmla="*/ 17 h 76"/>
                  <a:gd name="T34" fmla="*/ 0 w 265"/>
                  <a:gd name="T35" fmla="*/ 17 h 76"/>
                  <a:gd name="T36" fmla="*/ 2 w 265"/>
                  <a:gd name="T37" fmla="*/ 10 h 76"/>
                  <a:gd name="T38" fmla="*/ 5 w 265"/>
                  <a:gd name="T39" fmla="*/ 5 h 76"/>
                  <a:gd name="T40" fmla="*/ 11 w 265"/>
                  <a:gd name="T41" fmla="*/ 1 h 76"/>
                  <a:gd name="T42" fmla="*/ 14 w 265"/>
                  <a:gd name="T43" fmla="*/ 0 h 76"/>
                  <a:gd name="T44" fmla="*/ 17 w 265"/>
                  <a:gd name="T45" fmla="*/ 0 h 76"/>
                  <a:gd name="T46" fmla="*/ 246 w 265"/>
                  <a:gd name="T47" fmla="*/ 0 h 76"/>
                  <a:gd name="T48" fmla="*/ 246 w 265"/>
                  <a:gd name="T49" fmla="*/ 0 h 76"/>
                  <a:gd name="T50" fmla="*/ 250 w 265"/>
                  <a:gd name="T51" fmla="*/ 1 h 76"/>
                  <a:gd name="T52" fmla="*/ 253 w 265"/>
                  <a:gd name="T53" fmla="*/ 4 h 76"/>
                  <a:gd name="T54" fmla="*/ 256 w 265"/>
                  <a:gd name="T55" fmla="*/ 6 h 76"/>
                  <a:gd name="T56" fmla="*/ 259 w 265"/>
                  <a:gd name="T57" fmla="*/ 11 h 76"/>
                  <a:gd name="T58" fmla="*/ 263 w 265"/>
                  <a:gd name="T59" fmla="*/ 21 h 76"/>
                  <a:gd name="T60" fmla="*/ 264 w 265"/>
                  <a:gd name="T61" fmla="*/ 25 h 76"/>
                  <a:gd name="T62" fmla="*/ 265 w 265"/>
                  <a:gd name="T63" fmla="*/ 29 h 76"/>
                  <a:gd name="T64" fmla="*/ 265 w 265"/>
                  <a:gd name="T65" fmla="*/ 29 h 76"/>
                  <a:gd name="T66" fmla="*/ 264 w 265"/>
                  <a:gd name="T67" fmla="*/ 47 h 76"/>
                  <a:gd name="T68" fmla="*/ 264 w 265"/>
                  <a:gd name="T69" fmla="*/ 4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5" h="76">
                    <a:moveTo>
                      <a:pt x="264" y="47"/>
                    </a:moveTo>
                    <a:lnTo>
                      <a:pt x="264" y="47"/>
                    </a:lnTo>
                    <a:lnTo>
                      <a:pt x="264" y="52"/>
                    </a:lnTo>
                    <a:lnTo>
                      <a:pt x="262" y="55"/>
                    </a:lnTo>
                    <a:lnTo>
                      <a:pt x="257" y="65"/>
                    </a:lnTo>
                    <a:lnTo>
                      <a:pt x="253" y="70"/>
                    </a:lnTo>
                    <a:lnTo>
                      <a:pt x="250" y="72"/>
                    </a:lnTo>
                    <a:lnTo>
                      <a:pt x="246" y="75"/>
                    </a:lnTo>
                    <a:lnTo>
                      <a:pt x="243" y="76"/>
                    </a:lnTo>
                    <a:lnTo>
                      <a:pt x="16" y="40"/>
                    </a:lnTo>
                    <a:lnTo>
                      <a:pt x="16" y="40"/>
                    </a:lnTo>
                    <a:lnTo>
                      <a:pt x="12" y="40"/>
                    </a:lnTo>
                    <a:lnTo>
                      <a:pt x="9" y="39"/>
                    </a:lnTo>
                    <a:lnTo>
                      <a:pt x="4" y="34"/>
                    </a:lnTo>
                    <a:lnTo>
                      <a:pt x="0" y="28"/>
                    </a:lnTo>
                    <a:lnTo>
                      <a:pt x="0" y="21"/>
                    </a:lnTo>
                    <a:lnTo>
                      <a:pt x="0" y="17"/>
                    </a:lnTo>
                    <a:lnTo>
                      <a:pt x="0" y="17"/>
                    </a:lnTo>
                    <a:lnTo>
                      <a:pt x="2" y="10"/>
                    </a:lnTo>
                    <a:lnTo>
                      <a:pt x="5" y="5"/>
                    </a:lnTo>
                    <a:lnTo>
                      <a:pt x="11" y="1"/>
                    </a:lnTo>
                    <a:lnTo>
                      <a:pt x="14" y="0"/>
                    </a:lnTo>
                    <a:lnTo>
                      <a:pt x="17" y="0"/>
                    </a:lnTo>
                    <a:lnTo>
                      <a:pt x="246" y="0"/>
                    </a:lnTo>
                    <a:lnTo>
                      <a:pt x="246" y="0"/>
                    </a:lnTo>
                    <a:lnTo>
                      <a:pt x="250" y="1"/>
                    </a:lnTo>
                    <a:lnTo>
                      <a:pt x="253" y="4"/>
                    </a:lnTo>
                    <a:lnTo>
                      <a:pt x="256" y="6"/>
                    </a:lnTo>
                    <a:lnTo>
                      <a:pt x="259" y="11"/>
                    </a:lnTo>
                    <a:lnTo>
                      <a:pt x="263" y="21"/>
                    </a:lnTo>
                    <a:lnTo>
                      <a:pt x="264" y="25"/>
                    </a:lnTo>
                    <a:lnTo>
                      <a:pt x="265" y="29"/>
                    </a:lnTo>
                    <a:lnTo>
                      <a:pt x="265" y="29"/>
                    </a:lnTo>
                    <a:lnTo>
                      <a:pt x="264" y="47"/>
                    </a:lnTo>
                    <a:lnTo>
                      <a:pt x="264" y="4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023" name="Group 2022">
            <a:extLst>
              <a:ext uri="{FF2B5EF4-FFF2-40B4-BE49-F238E27FC236}">
                <a16:creationId xmlns:a16="http://schemas.microsoft.com/office/drawing/2014/main" id="{A40E3610-79C7-4BE7-AB63-4A6C7FE2733B}"/>
              </a:ext>
            </a:extLst>
          </p:cNvPr>
          <p:cNvGrpSpPr/>
          <p:nvPr/>
        </p:nvGrpSpPr>
        <p:grpSpPr>
          <a:xfrm>
            <a:off x="9711721" y="1656899"/>
            <a:ext cx="612775" cy="612775"/>
            <a:chOff x="7879357" y="2258092"/>
            <a:chExt cx="612775" cy="612775"/>
          </a:xfrm>
        </p:grpSpPr>
        <p:sp>
          <p:nvSpPr>
            <p:cNvPr id="2024" name="Oval 2023">
              <a:extLst>
                <a:ext uri="{FF2B5EF4-FFF2-40B4-BE49-F238E27FC236}">
                  <a16:creationId xmlns:a16="http://schemas.microsoft.com/office/drawing/2014/main" id="{B75A591D-7338-41FE-B061-3829802409C1}"/>
                </a:ext>
              </a:extLst>
            </p:cNvPr>
            <p:cNvSpPr/>
            <p:nvPr/>
          </p:nvSpPr>
          <p:spPr bwMode="ltGray">
            <a:xfrm>
              <a:off x="7879357"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025" name="Group 2024">
              <a:extLst>
                <a:ext uri="{FF2B5EF4-FFF2-40B4-BE49-F238E27FC236}">
                  <a16:creationId xmlns:a16="http://schemas.microsoft.com/office/drawing/2014/main" id="{515EB8F7-2225-4F9B-9A8C-B09F0F531E02}"/>
                </a:ext>
              </a:extLst>
            </p:cNvPr>
            <p:cNvGrpSpPr/>
            <p:nvPr/>
          </p:nvGrpSpPr>
          <p:grpSpPr>
            <a:xfrm>
              <a:off x="7917572" y="2278412"/>
              <a:ext cx="555868" cy="554428"/>
              <a:chOff x="3354388" y="144463"/>
              <a:chExt cx="612775" cy="611187"/>
            </a:xfrm>
          </p:grpSpPr>
          <p:sp>
            <p:nvSpPr>
              <p:cNvPr id="2026" name="AutoShape 61">
                <a:extLst>
                  <a:ext uri="{FF2B5EF4-FFF2-40B4-BE49-F238E27FC236}">
                    <a16:creationId xmlns:a16="http://schemas.microsoft.com/office/drawing/2014/main" id="{AF041E27-00D4-4C24-8BA4-1463E79B1835}"/>
                  </a:ext>
                </a:extLst>
              </p:cNvPr>
              <p:cNvSpPr>
                <a:spLocks noChangeAspect="1" noChangeArrowheads="1" noTextEdit="1"/>
              </p:cNvSpPr>
              <p:nvPr/>
            </p:nvSpPr>
            <p:spPr bwMode="auto">
              <a:xfrm>
                <a:off x="3354388" y="144463"/>
                <a:ext cx="612775"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27" name="Freeform 64">
                <a:extLst>
                  <a:ext uri="{FF2B5EF4-FFF2-40B4-BE49-F238E27FC236}">
                    <a16:creationId xmlns:a16="http://schemas.microsoft.com/office/drawing/2014/main" id="{76F4E368-CC9F-4C84-A465-43EA01DDB61A}"/>
                  </a:ext>
                </a:extLst>
              </p:cNvPr>
              <p:cNvSpPr>
                <a:spLocks/>
              </p:cNvSpPr>
              <p:nvPr/>
            </p:nvSpPr>
            <p:spPr bwMode="auto">
              <a:xfrm>
                <a:off x="3400426" y="355600"/>
                <a:ext cx="522288" cy="182562"/>
              </a:xfrm>
              <a:custGeom>
                <a:avLst/>
                <a:gdLst>
                  <a:gd name="T0" fmla="*/ 987 w 987"/>
                  <a:gd name="T1" fmla="*/ 203 h 345"/>
                  <a:gd name="T2" fmla="*/ 987 w 987"/>
                  <a:gd name="T3" fmla="*/ 308 h 345"/>
                  <a:gd name="T4" fmla="*/ 987 w 987"/>
                  <a:gd name="T5" fmla="*/ 308 h 345"/>
                  <a:gd name="T6" fmla="*/ 986 w 987"/>
                  <a:gd name="T7" fmla="*/ 315 h 345"/>
                  <a:gd name="T8" fmla="*/ 983 w 987"/>
                  <a:gd name="T9" fmla="*/ 322 h 345"/>
                  <a:gd name="T10" fmla="*/ 981 w 987"/>
                  <a:gd name="T11" fmla="*/ 328 h 345"/>
                  <a:gd name="T12" fmla="*/ 976 w 987"/>
                  <a:gd name="T13" fmla="*/ 334 h 345"/>
                  <a:gd name="T14" fmla="*/ 970 w 987"/>
                  <a:gd name="T15" fmla="*/ 339 h 345"/>
                  <a:gd name="T16" fmla="*/ 964 w 987"/>
                  <a:gd name="T17" fmla="*/ 343 h 345"/>
                  <a:gd name="T18" fmla="*/ 957 w 987"/>
                  <a:gd name="T19" fmla="*/ 344 h 345"/>
                  <a:gd name="T20" fmla="*/ 950 w 987"/>
                  <a:gd name="T21" fmla="*/ 345 h 345"/>
                  <a:gd name="T22" fmla="*/ 36 w 987"/>
                  <a:gd name="T23" fmla="*/ 345 h 345"/>
                  <a:gd name="T24" fmla="*/ 36 w 987"/>
                  <a:gd name="T25" fmla="*/ 345 h 345"/>
                  <a:gd name="T26" fmla="*/ 29 w 987"/>
                  <a:gd name="T27" fmla="*/ 344 h 345"/>
                  <a:gd name="T28" fmla="*/ 23 w 987"/>
                  <a:gd name="T29" fmla="*/ 343 h 345"/>
                  <a:gd name="T30" fmla="*/ 16 w 987"/>
                  <a:gd name="T31" fmla="*/ 339 h 345"/>
                  <a:gd name="T32" fmla="*/ 11 w 987"/>
                  <a:gd name="T33" fmla="*/ 334 h 345"/>
                  <a:gd name="T34" fmla="*/ 6 w 987"/>
                  <a:gd name="T35" fmla="*/ 328 h 345"/>
                  <a:gd name="T36" fmla="*/ 2 w 987"/>
                  <a:gd name="T37" fmla="*/ 322 h 345"/>
                  <a:gd name="T38" fmla="*/ 0 w 987"/>
                  <a:gd name="T39" fmla="*/ 315 h 345"/>
                  <a:gd name="T40" fmla="*/ 0 w 987"/>
                  <a:gd name="T41" fmla="*/ 308 h 345"/>
                  <a:gd name="T42" fmla="*/ 0 w 987"/>
                  <a:gd name="T43" fmla="*/ 37 h 345"/>
                  <a:gd name="T44" fmla="*/ 0 w 987"/>
                  <a:gd name="T45" fmla="*/ 37 h 345"/>
                  <a:gd name="T46" fmla="*/ 0 w 987"/>
                  <a:gd name="T47" fmla="*/ 29 h 345"/>
                  <a:gd name="T48" fmla="*/ 2 w 987"/>
                  <a:gd name="T49" fmla="*/ 23 h 345"/>
                  <a:gd name="T50" fmla="*/ 6 w 987"/>
                  <a:gd name="T51" fmla="*/ 16 h 345"/>
                  <a:gd name="T52" fmla="*/ 11 w 987"/>
                  <a:gd name="T53" fmla="*/ 11 h 345"/>
                  <a:gd name="T54" fmla="*/ 16 w 987"/>
                  <a:gd name="T55" fmla="*/ 6 h 345"/>
                  <a:gd name="T56" fmla="*/ 23 w 987"/>
                  <a:gd name="T57" fmla="*/ 3 h 345"/>
                  <a:gd name="T58" fmla="*/ 29 w 987"/>
                  <a:gd name="T59" fmla="*/ 0 h 345"/>
                  <a:gd name="T60" fmla="*/ 36 w 987"/>
                  <a:gd name="T61" fmla="*/ 0 h 345"/>
                  <a:gd name="T62" fmla="*/ 907 w 987"/>
                  <a:gd name="T63" fmla="*/ 0 h 345"/>
                  <a:gd name="T64" fmla="*/ 907 w 987"/>
                  <a:gd name="T65" fmla="*/ 0 h 345"/>
                  <a:gd name="T66" fmla="*/ 915 w 987"/>
                  <a:gd name="T67" fmla="*/ 1 h 345"/>
                  <a:gd name="T68" fmla="*/ 921 w 987"/>
                  <a:gd name="T69" fmla="*/ 3 h 345"/>
                  <a:gd name="T70" fmla="*/ 927 w 987"/>
                  <a:gd name="T71" fmla="*/ 6 h 345"/>
                  <a:gd name="T72" fmla="*/ 933 w 987"/>
                  <a:gd name="T73" fmla="*/ 11 h 345"/>
                  <a:gd name="T74" fmla="*/ 936 w 987"/>
                  <a:gd name="T75" fmla="*/ 17 h 345"/>
                  <a:gd name="T76" fmla="*/ 940 w 987"/>
                  <a:gd name="T77" fmla="*/ 23 h 345"/>
                  <a:gd name="T78" fmla="*/ 942 w 987"/>
                  <a:gd name="T79" fmla="*/ 30 h 345"/>
                  <a:gd name="T80" fmla="*/ 945 w 987"/>
                  <a:gd name="T81" fmla="*/ 37 h 345"/>
                  <a:gd name="T82" fmla="*/ 987 w 987"/>
                  <a:gd name="T83" fmla="*/ 203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987" h="345">
                    <a:moveTo>
                      <a:pt x="987" y="203"/>
                    </a:moveTo>
                    <a:lnTo>
                      <a:pt x="987" y="308"/>
                    </a:lnTo>
                    <a:lnTo>
                      <a:pt x="987" y="308"/>
                    </a:lnTo>
                    <a:lnTo>
                      <a:pt x="986" y="315"/>
                    </a:lnTo>
                    <a:lnTo>
                      <a:pt x="983" y="322"/>
                    </a:lnTo>
                    <a:lnTo>
                      <a:pt x="981" y="328"/>
                    </a:lnTo>
                    <a:lnTo>
                      <a:pt x="976" y="334"/>
                    </a:lnTo>
                    <a:lnTo>
                      <a:pt x="970" y="339"/>
                    </a:lnTo>
                    <a:lnTo>
                      <a:pt x="964" y="343"/>
                    </a:lnTo>
                    <a:lnTo>
                      <a:pt x="957" y="344"/>
                    </a:lnTo>
                    <a:lnTo>
                      <a:pt x="950" y="345"/>
                    </a:lnTo>
                    <a:lnTo>
                      <a:pt x="36" y="345"/>
                    </a:lnTo>
                    <a:lnTo>
                      <a:pt x="36" y="345"/>
                    </a:lnTo>
                    <a:lnTo>
                      <a:pt x="29" y="344"/>
                    </a:lnTo>
                    <a:lnTo>
                      <a:pt x="23" y="343"/>
                    </a:lnTo>
                    <a:lnTo>
                      <a:pt x="16" y="339"/>
                    </a:lnTo>
                    <a:lnTo>
                      <a:pt x="11" y="334"/>
                    </a:lnTo>
                    <a:lnTo>
                      <a:pt x="6" y="328"/>
                    </a:lnTo>
                    <a:lnTo>
                      <a:pt x="2" y="322"/>
                    </a:lnTo>
                    <a:lnTo>
                      <a:pt x="0" y="315"/>
                    </a:lnTo>
                    <a:lnTo>
                      <a:pt x="0" y="308"/>
                    </a:lnTo>
                    <a:lnTo>
                      <a:pt x="0" y="37"/>
                    </a:lnTo>
                    <a:lnTo>
                      <a:pt x="0" y="37"/>
                    </a:lnTo>
                    <a:lnTo>
                      <a:pt x="0" y="29"/>
                    </a:lnTo>
                    <a:lnTo>
                      <a:pt x="2" y="23"/>
                    </a:lnTo>
                    <a:lnTo>
                      <a:pt x="6" y="16"/>
                    </a:lnTo>
                    <a:lnTo>
                      <a:pt x="11" y="11"/>
                    </a:lnTo>
                    <a:lnTo>
                      <a:pt x="16" y="6"/>
                    </a:lnTo>
                    <a:lnTo>
                      <a:pt x="23" y="3"/>
                    </a:lnTo>
                    <a:lnTo>
                      <a:pt x="29" y="0"/>
                    </a:lnTo>
                    <a:lnTo>
                      <a:pt x="36" y="0"/>
                    </a:lnTo>
                    <a:lnTo>
                      <a:pt x="907" y="0"/>
                    </a:lnTo>
                    <a:lnTo>
                      <a:pt x="907" y="0"/>
                    </a:lnTo>
                    <a:lnTo>
                      <a:pt x="915" y="1"/>
                    </a:lnTo>
                    <a:lnTo>
                      <a:pt x="921" y="3"/>
                    </a:lnTo>
                    <a:lnTo>
                      <a:pt x="927" y="6"/>
                    </a:lnTo>
                    <a:lnTo>
                      <a:pt x="933" y="11"/>
                    </a:lnTo>
                    <a:lnTo>
                      <a:pt x="936" y="17"/>
                    </a:lnTo>
                    <a:lnTo>
                      <a:pt x="940" y="23"/>
                    </a:lnTo>
                    <a:lnTo>
                      <a:pt x="942" y="30"/>
                    </a:lnTo>
                    <a:lnTo>
                      <a:pt x="945" y="37"/>
                    </a:lnTo>
                    <a:lnTo>
                      <a:pt x="987" y="20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28" name="Freeform 65">
                <a:extLst>
                  <a:ext uri="{FF2B5EF4-FFF2-40B4-BE49-F238E27FC236}">
                    <a16:creationId xmlns:a16="http://schemas.microsoft.com/office/drawing/2014/main" id="{080F1AA7-7382-4A09-A667-A229772F097A}"/>
                  </a:ext>
                </a:extLst>
              </p:cNvPr>
              <p:cNvSpPr>
                <a:spLocks/>
              </p:cNvSpPr>
              <p:nvPr/>
            </p:nvSpPr>
            <p:spPr bwMode="auto">
              <a:xfrm>
                <a:off x="3527426" y="495300"/>
                <a:ext cx="77788" cy="77787"/>
              </a:xfrm>
              <a:custGeom>
                <a:avLst/>
                <a:gdLst>
                  <a:gd name="T0" fmla="*/ 147 w 147"/>
                  <a:gd name="T1" fmla="*/ 74 h 147"/>
                  <a:gd name="T2" fmla="*/ 147 w 147"/>
                  <a:gd name="T3" fmla="*/ 74 h 147"/>
                  <a:gd name="T4" fmla="*/ 145 w 147"/>
                  <a:gd name="T5" fmla="*/ 81 h 147"/>
                  <a:gd name="T6" fmla="*/ 144 w 147"/>
                  <a:gd name="T7" fmla="*/ 88 h 147"/>
                  <a:gd name="T8" fmla="*/ 143 w 147"/>
                  <a:gd name="T9" fmla="*/ 95 h 147"/>
                  <a:gd name="T10" fmla="*/ 141 w 147"/>
                  <a:gd name="T11" fmla="*/ 103 h 147"/>
                  <a:gd name="T12" fmla="*/ 133 w 147"/>
                  <a:gd name="T13" fmla="*/ 115 h 147"/>
                  <a:gd name="T14" fmla="*/ 125 w 147"/>
                  <a:gd name="T15" fmla="*/ 125 h 147"/>
                  <a:gd name="T16" fmla="*/ 114 w 147"/>
                  <a:gd name="T17" fmla="*/ 134 h 147"/>
                  <a:gd name="T18" fmla="*/ 101 w 147"/>
                  <a:gd name="T19" fmla="*/ 141 h 147"/>
                  <a:gd name="T20" fmla="*/ 95 w 147"/>
                  <a:gd name="T21" fmla="*/ 143 h 147"/>
                  <a:gd name="T22" fmla="*/ 88 w 147"/>
                  <a:gd name="T23" fmla="*/ 146 h 147"/>
                  <a:gd name="T24" fmla="*/ 80 w 147"/>
                  <a:gd name="T25" fmla="*/ 146 h 147"/>
                  <a:gd name="T26" fmla="*/ 73 w 147"/>
                  <a:gd name="T27" fmla="*/ 147 h 147"/>
                  <a:gd name="T28" fmla="*/ 73 w 147"/>
                  <a:gd name="T29" fmla="*/ 147 h 147"/>
                  <a:gd name="T30" fmla="*/ 65 w 147"/>
                  <a:gd name="T31" fmla="*/ 146 h 147"/>
                  <a:gd name="T32" fmla="*/ 57 w 147"/>
                  <a:gd name="T33" fmla="*/ 146 h 147"/>
                  <a:gd name="T34" fmla="*/ 51 w 147"/>
                  <a:gd name="T35" fmla="*/ 143 h 147"/>
                  <a:gd name="T36" fmla="*/ 44 w 147"/>
                  <a:gd name="T37" fmla="*/ 141 h 147"/>
                  <a:gd name="T38" fmla="*/ 32 w 147"/>
                  <a:gd name="T39" fmla="*/ 134 h 147"/>
                  <a:gd name="T40" fmla="*/ 21 w 147"/>
                  <a:gd name="T41" fmla="*/ 125 h 147"/>
                  <a:gd name="T42" fmla="*/ 12 w 147"/>
                  <a:gd name="T43" fmla="*/ 115 h 147"/>
                  <a:gd name="T44" fmla="*/ 6 w 147"/>
                  <a:gd name="T45" fmla="*/ 103 h 147"/>
                  <a:gd name="T46" fmla="*/ 2 w 147"/>
                  <a:gd name="T47" fmla="*/ 95 h 147"/>
                  <a:gd name="T48" fmla="*/ 1 w 147"/>
                  <a:gd name="T49" fmla="*/ 88 h 147"/>
                  <a:gd name="T50" fmla="*/ 0 w 147"/>
                  <a:gd name="T51" fmla="*/ 81 h 147"/>
                  <a:gd name="T52" fmla="*/ 0 w 147"/>
                  <a:gd name="T53" fmla="*/ 74 h 147"/>
                  <a:gd name="T54" fmla="*/ 0 w 147"/>
                  <a:gd name="T55" fmla="*/ 74 h 147"/>
                  <a:gd name="T56" fmla="*/ 0 w 147"/>
                  <a:gd name="T57" fmla="*/ 67 h 147"/>
                  <a:gd name="T58" fmla="*/ 1 w 147"/>
                  <a:gd name="T59" fmla="*/ 59 h 147"/>
                  <a:gd name="T60" fmla="*/ 2 w 147"/>
                  <a:gd name="T61" fmla="*/ 52 h 147"/>
                  <a:gd name="T62" fmla="*/ 6 w 147"/>
                  <a:gd name="T63" fmla="*/ 45 h 147"/>
                  <a:gd name="T64" fmla="*/ 12 w 147"/>
                  <a:gd name="T65" fmla="*/ 33 h 147"/>
                  <a:gd name="T66" fmla="*/ 21 w 147"/>
                  <a:gd name="T67" fmla="*/ 22 h 147"/>
                  <a:gd name="T68" fmla="*/ 32 w 147"/>
                  <a:gd name="T69" fmla="*/ 12 h 147"/>
                  <a:gd name="T70" fmla="*/ 44 w 147"/>
                  <a:gd name="T71" fmla="*/ 6 h 147"/>
                  <a:gd name="T72" fmla="*/ 51 w 147"/>
                  <a:gd name="T73" fmla="*/ 4 h 147"/>
                  <a:gd name="T74" fmla="*/ 57 w 147"/>
                  <a:gd name="T75" fmla="*/ 2 h 147"/>
                  <a:gd name="T76" fmla="*/ 65 w 147"/>
                  <a:gd name="T77" fmla="*/ 0 h 147"/>
                  <a:gd name="T78" fmla="*/ 73 w 147"/>
                  <a:gd name="T79" fmla="*/ 0 h 147"/>
                  <a:gd name="T80" fmla="*/ 73 w 147"/>
                  <a:gd name="T81" fmla="*/ 0 h 147"/>
                  <a:gd name="T82" fmla="*/ 80 w 147"/>
                  <a:gd name="T83" fmla="*/ 0 h 147"/>
                  <a:gd name="T84" fmla="*/ 88 w 147"/>
                  <a:gd name="T85" fmla="*/ 2 h 147"/>
                  <a:gd name="T86" fmla="*/ 95 w 147"/>
                  <a:gd name="T87" fmla="*/ 4 h 147"/>
                  <a:gd name="T88" fmla="*/ 101 w 147"/>
                  <a:gd name="T89" fmla="*/ 6 h 147"/>
                  <a:gd name="T90" fmla="*/ 114 w 147"/>
                  <a:gd name="T91" fmla="*/ 12 h 147"/>
                  <a:gd name="T92" fmla="*/ 125 w 147"/>
                  <a:gd name="T93" fmla="*/ 22 h 147"/>
                  <a:gd name="T94" fmla="*/ 133 w 147"/>
                  <a:gd name="T95" fmla="*/ 33 h 147"/>
                  <a:gd name="T96" fmla="*/ 141 w 147"/>
                  <a:gd name="T97" fmla="*/ 45 h 147"/>
                  <a:gd name="T98" fmla="*/ 143 w 147"/>
                  <a:gd name="T99" fmla="*/ 52 h 147"/>
                  <a:gd name="T100" fmla="*/ 144 w 147"/>
                  <a:gd name="T101" fmla="*/ 59 h 147"/>
                  <a:gd name="T102" fmla="*/ 145 w 147"/>
                  <a:gd name="T103" fmla="*/ 67 h 147"/>
                  <a:gd name="T104" fmla="*/ 147 w 147"/>
                  <a:gd name="T105" fmla="*/ 74 h 147"/>
                  <a:gd name="T106" fmla="*/ 147 w 147"/>
                  <a:gd name="T107" fmla="*/ 7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7" h="147">
                    <a:moveTo>
                      <a:pt x="147" y="74"/>
                    </a:moveTo>
                    <a:lnTo>
                      <a:pt x="147" y="74"/>
                    </a:lnTo>
                    <a:lnTo>
                      <a:pt x="145" y="81"/>
                    </a:lnTo>
                    <a:lnTo>
                      <a:pt x="144" y="88"/>
                    </a:lnTo>
                    <a:lnTo>
                      <a:pt x="143" y="95"/>
                    </a:lnTo>
                    <a:lnTo>
                      <a:pt x="141" y="103"/>
                    </a:lnTo>
                    <a:lnTo>
                      <a:pt x="133" y="115"/>
                    </a:lnTo>
                    <a:lnTo>
                      <a:pt x="125" y="125"/>
                    </a:lnTo>
                    <a:lnTo>
                      <a:pt x="114" y="134"/>
                    </a:lnTo>
                    <a:lnTo>
                      <a:pt x="101" y="141"/>
                    </a:lnTo>
                    <a:lnTo>
                      <a:pt x="95" y="143"/>
                    </a:lnTo>
                    <a:lnTo>
                      <a:pt x="88" y="146"/>
                    </a:lnTo>
                    <a:lnTo>
                      <a:pt x="80" y="146"/>
                    </a:lnTo>
                    <a:lnTo>
                      <a:pt x="73" y="147"/>
                    </a:lnTo>
                    <a:lnTo>
                      <a:pt x="73" y="147"/>
                    </a:lnTo>
                    <a:lnTo>
                      <a:pt x="65" y="146"/>
                    </a:lnTo>
                    <a:lnTo>
                      <a:pt x="57" y="146"/>
                    </a:lnTo>
                    <a:lnTo>
                      <a:pt x="51" y="143"/>
                    </a:lnTo>
                    <a:lnTo>
                      <a:pt x="44" y="141"/>
                    </a:lnTo>
                    <a:lnTo>
                      <a:pt x="32" y="134"/>
                    </a:lnTo>
                    <a:lnTo>
                      <a:pt x="21" y="125"/>
                    </a:lnTo>
                    <a:lnTo>
                      <a:pt x="12" y="115"/>
                    </a:lnTo>
                    <a:lnTo>
                      <a:pt x="6" y="103"/>
                    </a:lnTo>
                    <a:lnTo>
                      <a:pt x="2" y="95"/>
                    </a:lnTo>
                    <a:lnTo>
                      <a:pt x="1" y="88"/>
                    </a:lnTo>
                    <a:lnTo>
                      <a:pt x="0" y="81"/>
                    </a:lnTo>
                    <a:lnTo>
                      <a:pt x="0" y="74"/>
                    </a:lnTo>
                    <a:lnTo>
                      <a:pt x="0" y="74"/>
                    </a:lnTo>
                    <a:lnTo>
                      <a:pt x="0" y="67"/>
                    </a:lnTo>
                    <a:lnTo>
                      <a:pt x="1" y="59"/>
                    </a:lnTo>
                    <a:lnTo>
                      <a:pt x="2" y="52"/>
                    </a:lnTo>
                    <a:lnTo>
                      <a:pt x="6" y="45"/>
                    </a:lnTo>
                    <a:lnTo>
                      <a:pt x="12" y="33"/>
                    </a:lnTo>
                    <a:lnTo>
                      <a:pt x="21" y="22"/>
                    </a:lnTo>
                    <a:lnTo>
                      <a:pt x="32" y="12"/>
                    </a:lnTo>
                    <a:lnTo>
                      <a:pt x="44" y="6"/>
                    </a:lnTo>
                    <a:lnTo>
                      <a:pt x="51" y="4"/>
                    </a:lnTo>
                    <a:lnTo>
                      <a:pt x="57" y="2"/>
                    </a:lnTo>
                    <a:lnTo>
                      <a:pt x="65" y="0"/>
                    </a:lnTo>
                    <a:lnTo>
                      <a:pt x="73" y="0"/>
                    </a:lnTo>
                    <a:lnTo>
                      <a:pt x="73" y="0"/>
                    </a:lnTo>
                    <a:lnTo>
                      <a:pt x="80" y="0"/>
                    </a:lnTo>
                    <a:lnTo>
                      <a:pt x="88" y="2"/>
                    </a:lnTo>
                    <a:lnTo>
                      <a:pt x="95" y="4"/>
                    </a:lnTo>
                    <a:lnTo>
                      <a:pt x="101" y="6"/>
                    </a:lnTo>
                    <a:lnTo>
                      <a:pt x="114" y="12"/>
                    </a:lnTo>
                    <a:lnTo>
                      <a:pt x="125" y="22"/>
                    </a:lnTo>
                    <a:lnTo>
                      <a:pt x="133" y="33"/>
                    </a:lnTo>
                    <a:lnTo>
                      <a:pt x="141" y="45"/>
                    </a:lnTo>
                    <a:lnTo>
                      <a:pt x="143" y="52"/>
                    </a:lnTo>
                    <a:lnTo>
                      <a:pt x="144" y="59"/>
                    </a:lnTo>
                    <a:lnTo>
                      <a:pt x="145" y="67"/>
                    </a:lnTo>
                    <a:lnTo>
                      <a:pt x="147" y="74"/>
                    </a:lnTo>
                    <a:lnTo>
                      <a:pt x="147"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29" name="Freeform 66">
                <a:extLst>
                  <a:ext uri="{FF2B5EF4-FFF2-40B4-BE49-F238E27FC236}">
                    <a16:creationId xmlns:a16="http://schemas.microsoft.com/office/drawing/2014/main" id="{D9F22302-698E-4F99-913D-F4A7A783D034}"/>
                  </a:ext>
                </a:extLst>
              </p:cNvPr>
              <p:cNvSpPr>
                <a:spLocks/>
              </p:cNvSpPr>
              <p:nvPr/>
            </p:nvSpPr>
            <p:spPr bwMode="auto">
              <a:xfrm>
                <a:off x="3532188" y="501650"/>
                <a:ext cx="66675" cy="65087"/>
              </a:xfrm>
              <a:custGeom>
                <a:avLst/>
                <a:gdLst>
                  <a:gd name="T0" fmla="*/ 126 w 126"/>
                  <a:gd name="T1" fmla="*/ 63 h 125"/>
                  <a:gd name="T2" fmla="*/ 126 w 126"/>
                  <a:gd name="T3" fmla="*/ 63 h 125"/>
                  <a:gd name="T4" fmla="*/ 125 w 126"/>
                  <a:gd name="T5" fmla="*/ 75 h 125"/>
                  <a:gd name="T6" fmla="*/ 121 w 126"/>
                  <a:gd name="T7" fmla="*/ 87 h 125"/>
                  <a:gd name="T8" fmla="*/ 115 w 126"/>
                  <a:gd name="T9" fmla="*/ 98 h 125"/>
                  <a:gd name="T10" fmla="*/ 106 w 126"/>
                  <a:gd name="T11" fmla="*/ 107 h 125"/>
                  <a:gd name="T12" fmla="*/ 98 w 126"/>
                  <a:gd name="T13" fmla="*/ 114 h 125"/>
                  <a:gd name="T14" fmla="*/ 87 w 126"/>
                  <a:gd name="T15" fmla="*/ 120 h 125"/>
                  <a:gd name="T16" fmla="*/ 75 w 126"/>
                  <a:gd name="T17" fmla="*/ 124 h 125"/>
                  <a:gd name="T18" fmla="*/ 63 w 126"/>
                  <a:gd name="T19" fmla="*/ 125 h 125"/>
                  <a:gd name="T20" fmla="*/ 63 w 126"/>
                  <a:gd name="T21" fmla="*/ 125 h 125"/>
                  <a:gd name="T22" fmla="*/ 50 w 126"/>
                  <a:gd name="T23" fmla="*/ 124 h 125"/>
                  <a:gd name="T24" fmla="*/ 38 w 126"/>
                  <a:gd name="T25" fmla="*/ 120 h 125"/>
                  <a:gd name="T26" fmla="*/ 28 w 126"/>
                  <a:gd name="T27" fmla="*/ 114 h 125"/>
                  <a:gd name="T28" fmla="*/ 18 w 126"/>
                  <a:gd name="T29" fmla="*/ 107 h 125"/>
                  <a:gd name="T30" fmla="*/ 11 w 126"/>
                  <a:gd name="T31" fmla="*/ 98 h 125"/>
                  <a:gd name="T32" fmla="*/ 5 w 126"/>
                  <a:gd name="T33" fmla="*/ 87 h 125"/>
                  <a:gd name="T34" fmla="*/ 2 w 126"/>
                  <a:gd name="T35" fmla="*/ 75 h 125"/>
                  <a:gd name="T36" fmla="*/ 0 w 126"/>
                  <a:gd name="T37" fmla="*/ 63 h 125"/>
                  <a:gd name="T38" fmla="*/ 0 w 126"/>
                  <a:gd name="T39" fmla="*/ 63 h 125"/>
                  <a:gd name="T40" fmla="*/ 2 w 126"/>
                  <a:gd name="T41" fmla="*/ 50 h 125"/>
                  <a:gd name="T42" fmla="*/ 5 w 126"/>
                  <a:gd name="T43" fmla="*/ 39 h 125"/>
                  <a:gd name="T44" fmla="*/ 11 w 126"/>
                  <a:gd name="T45" fmla="*/ 28 h 125"/>
                  <a:gd name="T46" fmla="*/ 18 w 126"/>
                  <a:gd name="T47" fmla="*/ 18 h 125"/>
                  <a:gd name="T48" fmla="*/ 28 w 126"/>
                  <a:gd name="T49" fmla="*/ 11 h 125"/>
                  <a:gd name="T50" fmla="*/ 38 w 126"/>
                  <a:gd name="T51" fmla="*/ 5 h 125"/>
                  <a:gd name="T52" fmla="*/ 50 w 126"/>
                  <a:gd name="T53" fmla="*/ 1 h 125"/>
                  <a:gd name="T54" fmla="*/ 63 w 126"/>
                  <a:gd name="T55" fmla="*/ 0 h 125"/>
                  <a:gd name="T56" fmla="*/ 63 w 126"/>
                  <a:gd name="T57" fmla="*/ 0 h 125"/>
                  <a:gd name="T58" fmla="*/ 75 w 126"/>
                  <a:gd name="T59" fmla="*/ 1 h 125"/>
                  <a:gd name="T60" fmla="*/ 87 w 126"/>
                  <a:gd name="T61" fmla="*/ 5 h 125"/>
                  <a:gd name="T62" fmla="*/ 98 w 126"/>
                  <a:gd name="T63" fmla="*/ 11 h 125"/>
                  <a:gd name="T64" fmla="*/ 106 w 126"/>
                  <a:gd name="T65" fmla="*/ 18 h 125"/>
                  <a:gd name="T66" fmla="*/ 115 w 126"/>
                  <a:gd name="T67" fmla="*/ 28 h 125"/>
                  <a:gd name="T68" fmla="*/ 121 w 126"/>
                  <a:gd name="T69" fmla="*/ 39 h 125"/>
                  <a:gd name="T70" fmla="*/ 125 w 126"/>
                  <a:gd name="T71" fmla="*/ 50 h 125"/>
                  <a:gd name="T72" fmla="*/ 126 w 126"/>
                  <a:gd name="T73" fmla="*/ 63 h 125"/>
                  <a:gd name="T74" fmla="*/ 126 w 126"/>
                  <a:gd name="T75"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6" h="125">
                    <a:moveTo>
                      <a:pt x="126" y="63"/>
                    </a:moveTo>
                    <a:lnTo>
                      <a:pt x="126" y="63"/>
                    </a:lnTo>
                    <a:lnTo>
                      <a:pt x="125" y="75"/>
                    </a:lnTo>
                    <a:lnTo>
                      <a:pt x="121" y="87"/>
                    </a:lnTo>
                    <a:lnTo>
                      <a:pt x="115" y="98"/>
                    </a:lnTo>
                    <a:lnTo>
                      <a:pt x="106" y="107"/>
                    </a:lnTo>
                    <a:lnTo>
                      <a:pt x="98" y="114"/>
                    </a:lnTo>
                    <a:lnTo>
                      <a:pt x="87" y="120"/>
                    </a:lnTo>
                    <a:lnTo>
                      <a:pt x="75" y="124"/>
                    </a:lnTo>
                    <a:lnTo>
                      <a:pt x="63" y="125"/>
                    </a:lnTo>
                    <a:lnTo>
                      <a:pt x="63" y="125"/>
                    </a:lnTo>
                    <a:lnTo>
                      <a:pt x="50" y="124"/>
                    </a:lnTo>
                    <a:lnTo>
                      <a:pt x="38" y="120"/>
                    </a:lnTo>
                    <a:lnTo>
                      <a:pt x="28" y="114"/>
                    </a:lnTo>
                    <a:lnTo>
                      <a:pt x="18" y="107"/>
                    </a:lnTo>
                    <a:lnTo>
                      <a:pt x="11" y="98"/>
                    </a:lnTo>
                    <a:lnTo>
                      <a:pt x="5" y="87"/>
                    </a:lnTo>
                    <a:lnTo>
                      <a:pt x="2" y="75"/>
                    </a:lnTo>
                    <a:lnTo>
                      <a:pt x="0" y="63"/>
                    </a:lnTo>
                    <a:lnTo>
                      <a:pt x="0" y="63"/>
                    </a:lnTo>
                    <a:lnTo>
                      <a:pt x="2" y="50"/>
                    </a:lnTo>
                    <a:lnTo>
                      <a:pt x="5" y="39"/>
                    </a:lnTo>
                    <a:lnTo>
                      <a:pt x="11" y="28"/>
                    </a:lnTo>
                    <a:lnTo>
                      <a:pt x="18" y="18"/>
                    </a:lnTo>
                    <a:lnTo>
                      <a:pt x="28" y="11"/>
                    </a:lnTo>
                    <a:lnTo>
                      <a:pt x="38" y="5"/>
                    </a:lnTo>
                    <a:lnTo>
                      <a:pt x="50" y="1"/>
                    </a:lnTo>
                    <a:lnTo>
                      <a:pt x="63" y="0"/>
                    </a:lnTo>
                    <a:lnTo>
                      <a:pt x="63" y="0"/>
                    </a:lnTo>
                    <a:lnTo>
                      <a:pt x="75" y="1"/>
                    </a:lnTo>
                    <a:lnTo>
                      <a:pt x="87" y="5"/>
                    </a:lnTo>
                    <a:lnTo>
                      <a:pt x="98" y="11"/>
                    </a:lnTo>
                    <a:lnTo>
                      <a:pt x="106" y="18"/>
                    </a:lnTo>
                    <a:lnTo>
                      <a:pt x="115" y="28"/>
                    </a:lnTo>
                    <a:lnTo>
                      <a:pt x="121" y="39"/>
                    </a:lnTo>
                    <a:lnTo>
                      <a:pt x="125" y="50"/>
                    </a:lnTo>
                    <a:lnTo>
                      <a:pt x="126" y="63"/>
                    </a:lnTo>
                    <a:lnTo>
                      <a:pt x="126" y="6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0" name="Freeform 67">
                <a:extLst>
                  <a:ext uri="{FF2B5EF4-FFF2-40B4-BE49-F238E27FC236}">
                    <a16:creationId xmlns:a16="http://schemas.microsoft.com/office/drawing/2014/main" id="{F92B9134-E3B8-4302-9E4E-A9705E0E3F9E}"/>
                  </a:ext>
                </a:extLst>
              </p:cNvPr>
              <p:cNvSpPr>
                <a:spLocks/>
              </p:cNvSpPr>
              <p:nvPr/>
            </p:nvSpPr>
            <p:spPr bwMode="auto">
              <a:xfrm>
                <a:off x="3549651" y="517525"/>
                <a:ext cx="33338" cy="33337"/>
              </a:xfrm>
              <a:custGeom>
                <a:avLst/>
                <a:gdLst>
                  <a:gd name="T0" fmla="*/ 62 w 62"/>
                  <a:gd name="T1" fmla="*/ 32 h 63"/>
                  <a:gd name="T2" fmla="*/ 62 w 62"/>
                  <a:gd name="T3" fmla="*/ 32 h 63"/>
                  <a:gd name="T4" fmla="*/ 61 w 62"/>
                  <a:gd name="T5" fmla="*/ 38 h 63"/>
                  <a:gd name="T6" fmla="*/ 60 w 62"/>
                  <a:gd name="T7" fmla="*/ 44 h 63"/>
                  <a:gd name="T8" fmla="*/ 56 w 62"/>
                  <a:gd name="T9" fmla="*/ 49 h 63"/>
                  <a:gd name="T10" fmla="*/ 53 w 62"/>
                  <a:gd name="T11" fmla="*/ 53 h 63"/>
                  <a:gd name="T12" fmla="*/ 48 w 62"/>
                  <a:gd name="T13" fmla="*/ 57 h 63"/>
                  <a:gd name="T14" fmla="*/ 43 w 62"/>
                  <a:gd name="T15" fmla="*/ 61 h 63"/>
                  <a:gd name="T16" fmla="*/ 37 w 62"/>
                  <a:gd name="T17" fmla="*/ 62 h 63"/>
                  <a:gd name="T18" fmla="*/ 31 w 62"/>
                  <a:gd name="T19" fmla="*/ 63 h 63"/>
                  <a:gd name="T20" fmla="*/ 31 w 62"/>
                  <a:gd name="T21" fmla="*/ 63 h 63"/>
                  <a:gd name="T22" fmla="*/ 24 w 62"/>
                  <a:gd name="T23" fmla="*/ 62 h 63"/>
                  <a:gd name="T24" fmla="*/ 19 w 62"/>
                  <a:gd name="T25" fmla="*/ 61 h 63"/>
                  <a:gd name="T26" fmla="*/ 13 w 62"/>
                  <a:gd name="T27" fmla="*/ 57 h 63"/>
                  <a:gd name="T28" fmla="*/ 8 w 62"/>
                  <a:gd name="T29" fmla="*/ 53 h 63"/>
                  <a:gd name="T30" fmla="*/ 5 w 62"/>
                  <a:gd name="T31" fmla="*/ 49 h 63"/>
                  <a:gd name="T32" fmla="*/ 2 w 62"/>
                  <a:gd name="T33" fmla="*/ 44 h 63"/>
                  <a:gd name="T34" fmla="*/ 0 w 62"/>
                  <a:gd name="T35" fmla="*/ 38 h 63"/>
                  <a:gd name="T36" fmla="*/ 0 w 62"/>
                  <a:gd name="T37" fmla="*/ 32 h 63"/>
                  <a:gd name="T38" fmla="*/ 0 w 62"/>
                  <a:gd name="T39" fmla="*/ 32 h 63"/>
                  <a:gd name="T40" fmla="*/ 0 w 62"/>
                  <a:gd name="T41" fmla="*/ 26 h 63"/>
                  <a:gd name="T42" fmla="*/ 2 w 62"/>
                  <a:gd name="T43" fmla="*/ 20 h 63"/>
                  <a:gd name="T44" fmla="*/ 5 w 62"/>
                  <a:gd name="T45" fmla="*/ 14 h 63"/>
                  <a:gd name="T46" fmla="*/ 8 w 62"/>
                  <a:gd name="T47" fmla="*/ 9 h 63"/>
                  <a:gd name="T48" fmla="*/ 13 w 62"/>
                  <a:gd name="T49" fmla="*/ 5 h 63"/>
                  <a:gd name="T50" fmla="*/ 19 w 62"/>
                  <a:gd name="T51" fmla="*/ 3 h 63"/>
                  <a:gd name="T52" fmla="*/ 24 w 62"/>
                  <a:gd name="T53" fmla="*/ 0 h 63"/>
                  <a:gd name="T54" fmla="*/ 31 w 62"/>
                  <a:gd name="T55" fmla="*/ 0 h 63"/>
                  <a:gd name="T56" fmla="*/ 31 w 62"/>
                  <a:gd name="T57" fmla="*/ 0 h 63"/>
                  <a:gd name="T58" fmla="*/ 37 w 62"/>
                  <a:gd name="T59" fmla="*/ 0 h 63"/>
                  <a:gd name="T60" fmla="*/ 43 w 62"/>
                  <a:gd name="T61" fmla="*/ 3 h 63"/>
                  <a:gd name="T62" fmla="*/ 48 w 62"/>
                  <a:gd name="T63" fmla="*/ 5 h 63"/>
                  <a:gd name="T64" fmla="*/ 53 w 62"/>
                  <a:gd name="T65" fmla="*/ 9 h 63"/>
                  <a:gd name="T66" fmla="*/ 56 w 62"/>
                  <a:gd name="T67" fmla="*/ 14 h 63"/>
                  <a:gd name="T68" fmla="*/ 60 w 62"/>
                  <a:gd name="T69" fmla="*/ 20 h 63"/>
                  <a:gd name="T70" fmla="*/ 61 w 62"/>
                  <a:gd name="T71" fmla="*/ 26 h 63"/>
                  <a:gd name="T72" fmla="*/ 62 w 62"/>
                  <a:gd name="T73" fmla="*/ 32 h 63"/>
                  <a:gd name="T74" fmla="*/ 62 w 62"/>
                  <a:gd name="T75"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 h="63">
                    <a:moveTo>
                      <a:pt x="62" y="32"/>
                    </a:moveTo>
                    <a:lnTo>
                      <a:pt x="62" y="32"/>
                    </a:lnTo>
                    <a:lnTo>
                      <a:pt x="61" y="38"/>
                    </a:lnTo>
                    <a:lnTo>
                      <a:pt x="60" y="44"/>
                    </a:lnTo>
                    <a:lnTo>
                      <a:pt x="56" y="49"/>
                    </a:lnTo>
                    <a:lnTo>
                      <a:pt x="53" y="53"/>
                    </a:lnTo>
                    <a:lnTo>
                      <a:pt x="48" y="57"/>
                    </a:lnTo>
                    <a:lnTo>
                      <a:pt x="43" y="61"/>
                    </a:lnTo>
                    <a:lnTo>
                      <a:pt x="37" y="62"/>
                    </a:lnTo>
                    <a:lnTo>
                      <a:pt x="31" y="63"/>
                    </a:lnTo>
                    <a:lnTo>
                      <a:pt x="31" y="63"/>
                    </a:lnTo>
                    <a:lnTo>
                      <a:pt x="24" y="62"/>
                    </a:lnTo>
                    <a:lnTo>
                      <a:pt x="19" y="61"/>
                    </a:lnTo>
                    <a:lnTo>
                      <a:pt x="13" y="57"/>
                    </a:lnTo>
                    <a:lnTo>
                      <a:pt x="8" y="53"/>
                    </a:lnTo>
                    <a:lnTo>
                      <a:pt x="5" y="49"/>
                    </a:lnTo>
                    <a:lnTo>
                      <a:pt x="2" y="44"/>
                    </a:lnTo>
                    <a:lnTo>
                      <a:pt x="0" y="38"/>
                    </a:lnTo>
                    <a:lnTo>
                      <a:pt x="0" y="32"/>
                    </a:lnTo>
                    <a:lnTo>
                      <a:pt x="0" y="32"/>
                    </a:lnTo>
                    <a:lnTo>
                      <a:pt x="0" y="26"/>
                    </a:lnTo>
                    <a:lnTo>
                      <a:pt x="2" y="20"/>
                    </a:lnTo>
                    <a:lnTo>
                      <a:pt x="5" y="14"/>
                    </a:lnTo>
                    <a:lnTo>
                      <a:pt x="8" y="9"/>
                    </a:lnTo>
                    <a:lnTo>
                      <a:pt x="13" y="5"/>
                    </a:lnTo>
                    <a:lnTo>
                      <a:pt x="19" y="3"/>
                    </a:lnTo>
                    <a:lnTo>
                      <a:pt x="24" y="0"/>
                    </a:lnTo>
                    <a:lnTo>
                      <a:pt x="31" y="0"/>
                    </a:lnTo>
                    <a:lnTo>
                      <a:pt x="31" y="0"/>
                    </a:lnTo>
                    <a:lnTo>
                      <a:pt x="37" y="0"/>
                    </a:lnTo>
                    <a:lnTo>
                      <a:pt x="43" y="3"/>
                    </a:lnTo>
                    <a:lnTo>
                      <a:pt x="48" y="5"/>
                    </a:lnTo>
                    <a:lnTo>
                      <a:pt x="53" y="9"/>
                    </a:lnTo>
                    <a:lnTo>
                      <a:pt x="56" y="14"/>
                    </a:lnTo>
                    <a:lnTo>
                      <a:pt x="60" y="20"/>
                    </a:lnTo>
                    <a:lnTo>
                      <a:pt x="61" y="26"/>
                    </a:lnTo>
                    <a:lnTo>
                      <a:pt x="62" y="32"/>
                    </a:lnTo>
                    <a:lnTo>
                      <a:pt x="62" y="3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1" name="Freeform 68">
                <a:extLst>
                  <a:ext uri="{FF2B5EF4-FFF2-40B4-BE49-F238E27FC236}">
                    <a16:creationId xmlns:a16="http://schemas.microsoft.com/office/drawing/2014/main" id="{BBA7E564-6B0F-47F1-89D3-74CA0750825A}"/>
                  </a:ext>
                </a:extLst>
              </p:cNvPr>
              <p:cNvSpPr>
                <a:spLocks/>
              </p:cNvSpPr>
              <p:nvPr/>
            </p:nvSpPr>
            <p:spPr bwMode="auto">
              <a:xfrm>
                <a:off x="3438526" y="495300"/>
                <a:ext cx="77788" cy="77787"/>
              </a:xfrm>
              <a:custGeom>
                <a:avLst/>
                <a:gdLst>
                  <a:gd name="T0" fmla="*/ 147 w 147"/>
                  <a:gd name="T1" fmla="*/ 74 h 147"/>
                  <a:gd name="T2" fmla="*/ 147 w 147"/>
                  <a:gd name="T3" fmla="*/ 74 h 147"/>
                  <a:gd name="T4" fmla="*/ 147 w 147"/>
                  <a:gd name="T5" fmla="*/ 81 h 147"/>
                  <a:gd name="T6" fmla="*/ 146 w 147"/>
                  <a:gd name="T7" fmla="*/ 88 h 147"/>
                  <a:gd name="T8" fmla="*/ 143 w 147"/>
                  <a:gd name="T9" fmla="*/ 95 h 147"/>
                  <a:gd name="T10" fmla="*/ 141 w 147"/>
                  <a:gd name="T11" fmla="*/ 103 h 147"/>
                  <a:gd name="T12" fmla="*/ 135 w 147"/>
                  <a:gd name="T13" fmla="*/ 115 h 147"/>
                  <a:gd name="T14" fmla="*/ 125 w 147"/>
                  <a:gd name="T15" fmla="*/ 125 h 147"/>
                  <a:gd name="T16" fmla="*/ 114 w 147"/>
                  <a:gd name="T17" fmla="*/ 134 h 147"/>
                  <a:gd name="T18" fmla="*/ 102 w 147"/>
                  <a:gd name="T19" fmla="*/ 141 h 147"/>
                  <a:gd name="T20" fmla="*/ 95 w 147"/>
                  <a:gd name="T21" fmla="*/ 143 h 147"/>
                  <a:gd name="T22" fmla="*/ 88 w 147"/>
                  <a:gd name="T23" fmla="*/ 146 h 147"/>
                  <a:gd name="T24" fmla="*/ 81 w 147"/>
                  <a:gd name="T25" fmla="*/ 146 h 147"/>
                  <a:gd name="T26" fmla="*/ 73 w 147"/>
                  <a:gd name="T27" fmla="*/ 147 h 147"/>
                  <a:gd name="T28" fmla="*/ 73 w 147"/>
                  <a:gd name="T29" fmla="*/ 147 h 147"/>
                  <a:gd name="T30" fmla="*/ 66 w 147"/>
                  <a:gd name="T31" fmla="*/ 146 h 147"/>
                  <a:gd name="T32" fmla="*/ 59 w 147"/>
                  <a:gd name="T33" fmla="*/ 146 h 147"/>
                  <a:gd name="T34" fmla="*/ 52 w 147"/>
                  <a:gd name="T35" fmla="*/ 143 h 147"/>
                  <a:gd name="T36" fmla="*/ 44 w 147"/>
                  <a:gd name="T37" fmla="*/ 141 h 147"/>
                  <a:gd name="T38" fmla="*/ 32 w 147"/>
                  <a:gd name="T39" fmla="*/ 134 h 147"/>
                  <a:gd name="T40" fmla="*/ 22 w 147"/>
                  <a:gd name="T41" fmla="*/ 125 h 147"/>
                  <a:gd name="T42" fmla="*/ 12 w 147"/>
                  <a:gd name="T43" fmla="*/ 115 h 147"/>
                  <a:gd name="T44" fmla="*/ 6 w 147"/>
                  <a:gd name="T45" fmla="*/ 103 h 147"/>
                  <a:gd name="T46" fmla="*/ 3 w 147"/>
                  <a:gd name="T47" fmla="*/ 95 h 147"/>
                  <a:gd name="T48" fmla="*/ 1 w 147"/>
                  <a:gd name="T49" fmla="*/ 88 h 147"/>
                  <a:gd name="T50" fmla="*/ 0 w 147"/>
                  <a:gd name="T51" fmla="*/ 81 h 147"/>
                  <a:gd name="T52" fmla="*/ 0 w 147"/>
                  <a:gd name="T53" fmla="*/ 74 h 147"/>
                  <a:gd name="T54" fmla="*/ 0 w 147"/>
                  <a:gd name="T55" fmla="*/ 74 h 147"/>
                  <a:gd name="T56" fmla="*/ 0 w 147"/>
                  <a:gd name="T57" fmla="*/ 67 h 147"/>
                  <a:gd name="T58" fmla="*/ 1 w 147"/>
                  <a:gd name="T59" fmla="*/ 59 h 147"/>
                  <a:gd name="T60" fmla="*/ 3 w 147"/>
                  <a:gd name="T61" fmla="*/ 52 h 147"/>
                  <a:gd name="T62" fmla="*/ 6 w 147"/>
                  <a:gd name="T63" fmla="*/ 45 h 147"/>
                  <a:gd name="T64" fmla="*/ 12 w 147"/>
                  <a:gd name="T65" fmla="*/ 33 h 147"/>
                  <a:gd name="T66" fmla="*/ 22 w 147"/>
                  <a:gd name="T67" fmla="*/ 22 h 147"/>
                  <a:gd name="T68" fmla="*/ 32 w 147"/>
                  <a:gd name="T69" fmla="*/ 12 h 147"/>
                  <a:gd name="T70" fmla="*/ 44 w 147"/>
                  <a:gd name="T71" fmla="*/ 6 h 147"/>
                  <a:gd name="T72" fmla="*/ 52 w 147"/>
                  <a:gd name="T73" fmla="*/ 4 h 147"/>
                  <a:gd name="T74" fmla="*/ 59 w 147"/>
                  <a:gd name="T75" fmla="*/ 2 h 147"/>
                  <a:gd name="T76" fmla="*/ 66 w 147"/>
                  <a:gd name="T77" fmla="*/ 0 h 147"/>
                  <a:gd name="T78" fmla="*/ 73 w 147"/>
                  <a:gd name="T79" fmla="*/ 0 h 147"/>
                  <a:gd name="T80" fmla="*/ 73 w 147"/>
                  <a:gd name="T81" fmla="*/ 0 h 147"/>
                  <a:gd name="T82" fmla="*/ 81 w 147"/>
                  <a:gd name="T83" fmla="*/ 0 h 147"/>
                  <a:gd name="T84" fmla="*/ 88 w 147"/>
                  <a:gd name="T85" fmla="*/ 2 h 147"/>
                  <a:gd name="T86" fmla="*/ 95 w 147"/>
                  <a:gd name="T87" fmla="*/ 4 h 147"/>
                  <a:gd name="T88" fmla="*/ 102 w 147"/>
                  <a:gd name="T89" fmla="*/ 6 h 147"/>
                  <a:gd name="T90" fmla="*/ 114 w 147"/>
                  <a:gd name="T91" fmla="*/ 12 h 147"/>
                  <a:gd name="T92" fmla="*/ 125 w 147"/>
                  <a:gd name="T93" fmla="*/ 22 h 147"/>
                  <a:gd name="T94" fmla="*/ 135 w 147"/>
                  <a:gd name="T95" fmla="*/ 33 h 147"/>
                  <a:gd name="T96" fmla="*/ 141 w 147"/>
                  <a:gd name="T97" fmla="*/ 45 h 147"/>
                  <a:gd name="T98" fmla="*/ 143 w 147"/>
                  <a:gd name="T99" fmla="*/ 52 h 147"/>
                  <a:gd name="T100" fmla="*/ 146 w 147"/>
                  <a:gd name="T101" fmla="*/ 59 h 147"/>
                  <a:gd name="T102" fmla="*/ 147 w 147"/>
                  <a:gd name="T103" fmla="*/ 67 h 147"/>
                  <a:gd name="T104" fmla="*/ 147 w 147"/>
                  <a:gd name="T105" fmla="*/ 74 h 147"/>
                  <a:gd name="T106" fmla="*/ 147 w 147"/>
                  <a:gd name="T107" fmla="*/ 7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7" h="147">
                    <a:moveTo>
                      <a:pt x="147" y="74"/>
                    </a:moveTo>
                    <a:lnTo>
                      <a:pt x="147" y="74"/>
                    </a:lnTo>
                    <a:lnTo>
                      <a:pt x="147" y="81"/>
                    </a:lnTo>
                    <a:lnTo>
                      <a:pt x="146" y="88"/>
                    </a:lnTo>
                    <a:lnTo>
                      <a:pt x="143" y="95"/>
                    </a:lnTo>
                    <a:lnTo>
                      <a:pt x="141" y="103"/>
                    </a:lnTo>
                    <a:lnTo>
                      <a:pt x="135" y="115"/>
                    </a:lnTo>
                    <a:lnTo>
                      <a:pt x="125" y="125"/>
                    </a:lnTo>
                    <a:lnTo>
                      <a:pt x="114" y="134"/>
                    </a:lnTo>
                    <a:lnTo>
                      <a:pt x="102" y="141"/>
                    </a:lnTo>
                    <a:lnTo>
                      <a:pt x="95" y="143"/>
                    </a:lnTo>
                    <a:lnTo>
                      <a:pt x="88" y="146"/>
                    </a:lnTo>
                    <a:lnTo>
                      <a:pt x="81" y="146"/>
                    </a:lnTo>
                    <a:lnTo>
                      <a:pt x="73" y="147"/>
                    </a:lnTo>
                    <a:lnTo>
                      <a:pt x="73" y="147"/>
                    </a:lnTo>
                    <a:lnTo>
                      <a:pt x="66" y="146"/>
                    </a:lnTo>
                    <a:lnTo>
                      <a:pt x="59" y="146"/>
                    </a:lnTo>
                    <a:lnTo>
                      <a:pt x="52" y="143"/>
                    </a:lnTo>
                    <a:lnTo>
                      <a:pt x="44" y="141"/>
                    </a:lnTo>
                    <a:lnTo>
                      <a:pt x="32" y="134"/>
                    </a:lnTo>
                    <a:lnTo>
                      <a:pt x="22" y="125"/>
                    </a:lnTo>
                    <a:lnTo>
                      <a:pt x="12" y="115"/>
                    </a:lnTo>
                    <a:lnTo>
                      <a:pt x="6" y="103"/>
                    </a:lnTo>
                    <a:lnTo>
                      <a:pt x="3" y="95"/>
                    </a:lnTo>
                    <a:lnTo>
                      <a:pt x="1" y="88"/>
                    </a:lnTo>
                    <a:lnTo>
                      <a:pt x="0" y="81"/>
                    </a:lnTo>
                    <a:lnTo>
                      <a:pt x="0" y="74"/>
                    </a:lnTo>
                    <a:lnTo>
                      <a:pt x="0" y="74"/>
                    </a:lnTo>
                    <a:lnTo>
                      <a:pt x="0" y="67"/>
                    </a:lnTo>
                    <a:lnTo>
                      <a:pt x="1" y="59"/>
                    </a:lnTo>
                    <a:lnTo>
                      <a:pt x="3" y="52"/>
                    </a:lnTo>
                    <a:lnTo>
                      <a:pt x="6" y="45"/>
                    </a:lnTo>
                    <a:lnTo>
                      <a:pt x="12" y="33"/>
                    </a:lnTo>
                    <a:lnTo>
                      <a:pt x="22" y="22"/>
                    </a:lnTo>
                    <a:lnTo>
                      <a:pt x="32" y="12"/>
                    </a:lnTo>
                    <a:lnTo>
                      <a:pt x="44" y="6"/>
                    </a:lnTo>
                    <a:lnTo>
                      <a:pt x="52" y="4"/>
                    </a:lnTo>
                    <a:lnTo>
                      <a:pt x="59" y="2"/>
                    </a:lnTo>
                    <a:lnTo>
                      <a:pt x="66" y="0"/>
                    </a:lnTo>
                    <a:lnTo>
                      <a:pt x="73" y="0"/>
                    </a:lnTo>
                    <a:lnTo>
                      <a:pt x="73" y="0"/>
                    </a:lnTo>
                    <a:lnTo>
                      <a:pt x="81" y="0"/>
                    </a:lnTo>
                    <a:lnTo>
                      <a:pt x="88" y="2"/>
                    </a:lnTo>
                    <a:lnTo>
                      <a:pt x="95" y="4"/>
                    </a:lnTo>
                    <a:lnTo>
                      <a:pt x="102" y="6"/>
                    </a:lnTo>
                    <a:lnTo>
                      <a:pt x="114" y="12"/>
                    </a:lnTo>
                    <a:lnTo>
                      <a:pt x="125" y="22"/>
                    </a:lnTo>
                    <a:lnTo>
                      <a:pt x="135" y="33"/>
                    </a:lnTo>
                    <a:lnTo>
                      <a:pt x="141" y="45"/>
                    </a:lnTo>
                    <a:lnTo>
                      <a:pt x="143" y="52"/>
                    </a:lnTo>
                    <a:lnTo>
                      <a:pt x="146" y="59"/>
                    </a:lnTo>
                    <a:lnTo>
                      <a:pt x="147" y="67"/>
                    </a:lnTo>
                    <a:lnTo>
                      <a:pt x="147" y="74"/>
                    </a:lnTo>
                    <a:lnTo>
                      <a:pt x="147"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2" name="Freeform 69">
                <a:extLst>
                  <a:ext uri="{FF2B5EF4-FFF2-40B4-BE49-F238E27FC236}">
                    <a16:creationId xmlns:a16="http://schemas.microsoft.com/office/drawing/2014/main" id="{64DC76DB-A95B-4C4B-A6B0-8AC742E3DAFB}"/>
                  </a:ext>
                </a:extLst>
              </p:cNvPr>
              <p:cNvSpPr>
                <a:spLocks/>
              </p:cNvSpPr>
              <p:nvPr/>
            </p:nvSpPr>
            <p:spPr bwMode="auto">
              <a:xfrm>
                <a:off x="3443288" y="501650"/>
                <a:ext cx="66675" cy="65087"/>
              </a:xfrm>
              <a:custGeom>
                <a:avLst/>
                <a:gdLst>
                  <a:gd name="T0" fmla="*/ 125 w 125"/>
                  <a:gd name="T1" fmla="*/ 63 h 125"/>
                  <a:gd name="T2" fmla="*/ 125 w 125"/>
                  <a:gd name="T3" fmla="*/ 63 h 125"/>
                  <a:gd name="T4" fmla="*/ 124 w 125"/>
                  <a:gd name="T5" fmla="*/ 75 h 125"/>
                  <a:gd name="T6" fmla="*/ 120 w 125"/>
                  <a:gd name="T7" fmla="*/ 87 h 125"/>
                  <a:gd name="T8" fmla="*/ 114 w 125"/>
                  <a:gd name="T9" fmla="*/ 98 h 125"/>
                  <a:gd name="T10" fmla="*/ 107 w 125"/>
                  <a:gd name="T11" fmla="*/ 107 h 125"/>
                  <a:gd name="T12" fmla="*/ 97 w 125"/>
                  <a:gd name="T13" fmla="*/ 114 h 125"/>
                  <a:gd name="T14" fmla="*/ 86 w 125"/>
                  <a:gd name="T15" fmla="*/ 120 h 125"/>
                  <a:gd name="T16" fmla="*/ 74 w 125"/>
                  <a:gd name="T17" fmla="*/ 124 h 125"/>
                  <a:gd name="T18" fmla="*/ 62 w 125"/>
                  <a:gd name="T19" fmla="*/ 125 h 125"/>
                  <a:gd name="T20" fmla="*/ 62 w 125"/>
                  <a:gd name="T21" fmla="*/ 125 h 125"/>
                  <a:gd name="T22" fmla="*/ 49 w 125"/>
                  <a:gd name="T23" fmla="*/ 124 h 125"/>
                  <a:gd name="T24" fmla="*/ 38 w 125"/>
                  <a:gd name="T25" fmla="*/ 120 h 125"/>
                  <a:gd name="T26" fmla="*/ 27 w 125"/>
                  <a:gd name="T27" fmla="*/ 114 h 125"/>
                  <a:gd name="T28" fmla="*/ 18 w 125"/>
                  <a:gd name="T29" fmla="*/ 107 h 125"/>
                  <a:gd name="T30" fmla="*/ 11 w 125"/>
                  <a:gd name="T31" fmla="*/ 98 h 125"/>
                  <a:gd name="T32" fmla="*/ 5 w 125"/>
                  <a:gd name="T33" fmla="*/ 87 h 125"/>
                  <a:gd name="T34" fmla="*/ 1 w 125"/>
                  <a:gd name="T35" fmla="*/ 75 h 125"/>
                  <a:gd name="T36" fmla="*/ 0 w 125"/>
                  <a:gd name="T37" fmla="*/ 63 h 125"/>
                  <a:gd name="T38" fmla="*/ 0 w 125"/>
                  <a:gd name="T39" fmla="*/ 63 h 125"/>
                  <a:gd name="T40" fmla="*/ 1 w 125"/>
                  <a:gd name="T41" fmla="*/ 50 h 125"/>
                  <a:gd name="T42" fmla="*/ 5 w 125"/>
                  <a:gd name="T43" fmla="*/ 39 h 125"/>
                  <a:gd name="T44" fmla="*/ 11 w 125"/>
                  <a:gd name="T45" fmla="*/ 28 h 125"/>
                  <a:gd name="T46" fmla="*/ 18 w 125"/>
                  <a:gd name="T47" fmla="*/ 18 h 125"/>
                  <a:gd name="T48" fmla="*/ 27 w 125"/>
                  <a:gd name="T49" fmla="*/ 11 h 125"/>
                  <a:gd name="T50" fmla="*/ 38 w 125"/>
                  <a:gd name="T51" fmla="*/ 5 h 125"/>
                  <a:gd name="T52" fmla="*/ 49 w 125"/>
                  <a:gd name="T53" fmla="*/ 1 h 125"/>
                  <a:gd name="T54" fmla="*/ 62 w 125"/>
                  <a:gd name="T55" fmla="*/ 0 h 125"/>
                  <a:gd name="T56" fmla="*/ 62 w 125"/>
                  <a:gd name="T57" fmla="*/ 0 h 125"/>
                  <a:gd name="T58" fmla="*/ 74 w 125"/>
                  <a:gd name="T59" fmla="*/ 1 h 125"/>
                  <a:gd name="T60" fmla="*/ 86 w 125"/>
                  <a:gd name="T61" fmla="*/ 5 h 125"/>
                  <a:gd name="T62" fmla="*/ 97 w 125"/>
                  <a:gd name="T63" fmla="*/ 11 h 125"/>
                  <a:gd name="T64" fmla="*/ 107 w 125"/>
                  <a:gd name="T65" fmla="*/ 18 h 125"/>
                  <a:gd name="T66" fmla="*/ 114 w 125"/>
                  <a:gd name="T67" fmla="*/ 28 h 125"/>
                  <a:gd name="T68" fmla="*/ 120 w 125"/>
                  <a:gd name="T69" fmla="*/ 39 h 125"/>
                  <a:gd name="T70" fmla="*/ 124 w 125"/>
                  <a:gd name="T71" fmla="*/ 50 h 125"/>
                  <a:gd name="T72" fmla="*/ 125 w 125"/>
                  <a:gd name="T73" fmla="*/ 63 h 125"/>
                  <a:gd name="T74" fmla="*/ 125 w 125"/>
                  <a:gd name="T75"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 h="125">
                    <a:moveTo>
                      <a:pt x="125" y="63"/>
                    </a:moveTo>
                    <a:lnTo>
                      <a:pt x="125" y="63"/>
                    </a:lnTo>
                    <a:lnTo>
                      <a:pt x="124" y="75"/>
                    </a:lnTo>
                    <a:lnTo>
                      <a:pt x="120" y="87"/>
                    </a:lnTo>
                    <a:lnTo>
                      <a:pt x="114" y="98"/>
                    </a:lnTo>
                    <a:lnTo>
                      <a:pt x="107" y="107"/>
                    </a:lnTo>
                    <a:lnTo>
                      <a:pt x="97" y="114"/>
                    </a:lnTo>
                    <a:lnTo>
                      <a:pt x="86" y="120"/>
                    </a:lnTo>
                    <a:lnTo>
                      <a:pt x="74" y="124"/>
                    </a:lnTo>
                    <a:lnTo>
                      <a:pt x="62" y="125"/>
                    </a:lnTo>
                    <a:lnTo>
                      <a:pt x="62" y="125"/>
                    </a:lnTo>
                    <a:lnTo>
                      <a:pt x="49" y="124"/>
                    </a:lnTo>
                    <a:lnTo>
                      <a:pt x="38" y="120"/>
                    </a:lnTo>
                    <a:lnTo>
                      <a:pt x="27" y="114"/>
                    </a:lnTo>
                    <a:lnTo>
                      <a:pt x="18" y="107"/>
                    </a:lnTo>
                    <a:lnTo>
                      <a:pt x="11" y="98"/>
                    </a:lnTo>
                    <a:lnTo>
                      <a:pt x="5" y="87"/>
                    </a:lnTo>
                    <a:lnTo>
                      <a:pt x="1" y="75"/>
                    </a:lnTo>
                    <a:lnTo>
                      <a:pt x="0" y="63"/>
                    </a:lnTo>
                    <a:lnTo>
                      <a:pt x="0" y="63"/>
                    </a:lnTo>
                    <a:lnTo>
                      <a:pt x="1" y="50"/>
                    </a:lnTo>
                    <a:lnTo>
                      <a:pt x="5" y="39"/>
                    </a:lnTo>
                    <a:lnTo>
                      <a:pt x="11" y="28"/>
                    </a:lnTo>
                    <a:lnTo>
                      <a:pt x="18" y="18"/>
                    </a:lnTo>
                    <a:lnTo>
                      <a:pt x="27" y="11"/>
                    </a:lnTo>
                    <a:lnTo>
                      <a:pt x="38" y="5"/>
                    </a:lnTo>
                    <a:lnTo>
                      <a:pt x="49" y="1"/>
                    </a:lnTo>
                    <a:lnTo>
                      <a:pt x="62" y="0"/>
                    </a:lnTo>
                    <a:lnTo>
                      <a:pt x="62" y="0"/>
                    </a:lnTo>
                    <a:lnTo>
                      <a:pt x="74" y="1"/>
                    </a:lnTo>
                    <a:lnTo>
                      <a:pt x="86" y="5"/>
                    </a:lnTo>
                    <a:lnTo>
                      <a:pt x="97" y="11"/>
                    </a:lnTo>
                    <a:lnTo>
                      <a:pt x="107" y="18"/>
                    </a:lnTo>
                    <a:lnTo>
                      <a:pt x="114" y="28"/>
                    </a:lnTo>
                    <a:lnTo>
                      <a:pt x="120" y="39"/>
                    </a:lnTo>
                    <a:lnTo>
                      <a:pt x="124" y="50"/>
                    </a:lnTo>
                    <a:lnTo>
                      <a:pt x="125" y="63"/>
                    </a:lnTo>
                    <a:lnTo>
                      <a:pt x="125" y="6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3" name="Freeform 70">
                <a:extLst>
                  <a:ext uri="{FF2B5EF4-FFF2-40B4-BE49-F238E27FC236}">
                    <a16:creationId xmlns:a16="http://schemas.microsoft.com/office/drawing/2014/main" id="{4EEC08E1-BA8B-4760-A543-0BD8B6279063}"/>
                  </a:ext>
                </a:extLst>
              </p:cNvPr>
              <p:cNvSpPr>
                <a:spLocks/>
              </p:cNvSpPr>
              <p:nvPr/>
            </p:nvSpPr>
            <p:spPr bwMode="auto">
              <a:xfrm>
                <a:off x="3460751" y="517525"/>
                <a:ext cx="33338" cy="33337"/>
              </a:xfrm>
              <a:custGeom>
                <a:avLst/>
                <a:gdLst>
                  <a:gd name="T0" fmla="*/ 63 w 63"/>
                  <a:gd name="T1" fmla="*/ 32 h 63"/>
                  <a:gd name="T2" fmla="*/ 63 w 63"/>
                  <a:gd name="T3" fmla="*/ 32 h 63"/>
                  <a:gd name="T4" fmla="*/ 61 w 63"/>
                  <a:gd name="T5" fmla="*/ 38 h 63"/>
                  <a:gd name="T6" fmla="*/ 60 w 63"/>
                  <a:gd name="T7" fmla="*/ 44 h 63"/>
                  <a:gd name="T8" fmla="*/ 57 w 63"/>
                  <a:gd name="T9" fmla="*/ 49 h 63"/>
                  <a:gd name="T10" fmla="*/ 53 w 63"/>
                  <a:gd name="T11" fmla="*/ 53 h 63"/>
                  <a:gd name="T12" fmla="*/ 48 w 63"/>
                  <a:gd name="T13" fmla="*/ 57 h 63"/>
                  <a:gd name="T14" fmla="*/ 43 w 63"/>
                  <a:gd name="T15" fmla="*/ 61 h 63"/>
                  <a:gd name="T16" fmla="*/ 37 w 63"/>
                  <a:gd name="T17" fmla="*/ 62 h 63"/>
                  <a:gd name="T18" fmla="*/ 31 w 63"/>
                  <a:gd name="T19" fmla="*/ 63 h 63"/>
                  <a:gd name="T20" fmla="*/ 31 w 63"/>
                  <a:gd name="T21" fmla="*/ 63 h 63"/>
                  <a:gd name="T22" fmla="*/ 25 w 63"/>
                  <a:gd name="T23" fmla="*/ 62 h 63"/>
                  <a:gd name="T24" fmla="*/ 19 w 63"/>
                  <a:gd name="T25" fmla="*/ 61 h 63"/>
                  <a:gd name="T26" fmla="*/ 13 w 63"/>
                  <a:gd name="T27" fmla="*/ 57 h 63"/>
                  <a:gd name="T28" fmla="*/ 10 w 63"/>
                  <a:gd name="T29" fmla="*/ 53 h 63"/>
                  <a:gd name="T30" fmla="*/ 5 w 63"/>
                  <a:gd name="T31" fmla="*/ 49 h 63"/>
                  <a:gd name="T32" fmla="*/ 2 w 63"/>
                  <a:gd name="T33" fmla="*/ 44 h 63"/>
                  <a:gd name="T34" fmla="*/ 1 w 63"/>
                  <a:gd name="T35" fmla="*/ 38 h 63"/>
                  <a:gd name="T36" fmla="*/ 0 w 63"/>
                  <a:gd name="T37" fmla="*/ 32 h 63"/>
                  <a:gd name="T38" fmla="*/ 0 w 63"/>
                  <a:gd name="T39" fmla="*/ 32 h 63"/>
                  <a:gd name="T40" fmla="*/ 1 w 63"/>
                  <a:gd name="T41" fmla="*/ 26 h 63"/>
                  <a:gd name="T42" fmla="*/ 2 w 63"/>
                  <a:gd name="T43" fmla="*/ 20 h 63"/>
                  <a:gd name="T44" fmla="*/ 5 w 63"/>
                  <a:gd name="T45" fmla="*/ 14 h 63"/>
                  <a:gd name="T46" fmla="*/ 10 w 63"/>
                  <a:gd name="T47" fmla="*/ 9 h 63"/>
                  <a:gd name="T48" fmla="*/ 13 w 63"/>
                  <a:gd name="T49" fmla="*/ 5 h 63"/>
                  <a:gd name="T50" fmla="*/ 19 w 63"/>
                  <a:gd name="T51" fmla="*/ 3 h 63"/>
                  <a:gd name="T52" fmla="*/ 25 w 63"/>
                  <a:gd name="T53" fmla="*/ 0 h 63"/>
                  <a:gd name="T54" fmla="*/ 31 w 63"/>
                  <a:gd name="T55" fmla="*/ 0 h 63"/>
                  <a:gd name="T56" fmla="*/ 31 w 63"/>
                  <a:gd name="T57" fmla="*/ 0 h 63"/>
                  <a:gd name="T58" fmla="*/ 37 w 63"/>
                  <a:gd name="T59" fmla="*/ 0 h 63"/>
                  <a:gd name="T60" fmla="*/ 43 w 63"/>
                  <a:gd name="T61" fmla="*/ 3 h 63"/>
                  <a:gd name="T62" fmla="*/ 48 w 63"/>
                  <a:gd name="T63" fmla="*/ 5 h 63"/>
                  <a:gd name="T64" fmla="*/ 53 w 63"/>
                  <a:gd name="T65" fmla="*/ 9 h 63"/>
                  <a:gd name="T66" fmla="*/ 57 w 63"/>
                  <a:gd name="T67" fmla="*/ 14 h 63"/>
                  <a:gd name="T68" fmla="*/ 60 w 63"/>
                  <a:gd name="T69" fmla="*/ 20 h 63"/>
                  <a:gd name="T70" fmla="*/ 61 w 63"/>
                  <a:gd name="T71" fmla="*/ 26 h 63"/>
                  <a:gd name="T72" fmla="*/ 63 w 63"/>
                  <a:gd name="T73" fmla="*/ 32 h 63"/>
                  <a:gd name="T74" fmla="*/ 63 w 63"/>
                  <a:gd name="T75"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 h="63">
                    <a:moveTo>
                      <a:pt x="63" y="32"/>
                    </a:moveTo>
                    <a:lnTo>
                      <a:pt x="63" y="32"/>
                    </a:lnTo>
                    <a:lnTo>
                      <a:pt x="61" y="38"/>
                    </a:lnTo>
                    <a:lnTo>
                      <a:pt x="60" y="44"/>
                    </a:lnTo>
                    <a:lnTo>
                      <a:pt x="57" y="49"/>
                    </a:lnTo>
                    <a:lnTo>
                      <a:pt x="53" y="53"/>
                    </a:lnTo>
                    <a:lnTo>
                      <a:pt x="48" y="57"/>
                    </a:lnTo>
                    <a:lnTo>
                      <a:pt x="43" y="61"/>
                    </a:lnTo>
                    <a:lnTo>
                      <a:pt x="37" y="62"/>
                    </a:lnTo>
                    <a:lnTo>
                      <a:pt x="31" y="63"/>
                    </a:lnTo>
                    <a:lnTo>
                      <a:pt x="31" y="63"/>
                    </a:lnTo>
                    <a:lnTo>
                      <a:pt x="25" y="62"/>
                    </a:lnTo>
                    <a:lnTo>
                      <a:pt x="19" y="61"/>
                    </a:lnTo>
                    <a:lnTo>
                      <a:pt x="13" y="57"/>
                    </a:lnTo>
                    <a:lnTo>
                      <a:pt x="10" y="53"/>
                    </a:lnTo>
                    <a:lnTo>
                      <a:pt x="5" y="49"/>
                    </a:lnTo>
                    <a:lnTo>
                      <a:pt x="2" y="44"/>
                    </a:lnTo>
                    <a:lnTo>
                      <a:pt x="1" y="38"/>
                    </a:lnTo>
                    <a:lnTo>
                      <a:pt x="0" y="32"/>
                    </a:lnTo>
                    <a:lnTo>
                      <a:pt x="0" y="32"/>
                    </a:lnTo>
                    <a:lnTo>
                      <a:pt x="1" y="26"/>
                    </a:lnTo>
                    <a:lnTo>
                      <a:pt x="2" y="20"/>
                    </a:lnTo>
                    <a:lnTo>
                      <a:pt x="5" y="14"/>
                    </a:lnTo>
                    <a:lnTo>
                      <a:pt x="10" y="9"/>
                    </a:lnTo>
                    <a:lnTo>
                      <a:pt x="13" y="5"/>
                    </a:lnTo>
                    <a:lnTo>
                      <a:pt x="19" y="3"/>
                    </a:lnTo>
                    <a:lnTo>
                      <a:pt x="25" y="0"/>
                    </a:lnTo>
                    <a:lnTo>
                      <a:pt x="31" y="0"/>
                    </a:lnTo>
                    <a:lnTo>
                      <a:pt x="31" y="0"/>
                    </a:lnTo>
                    <a:lnTo>
                      <a:pt x="37" y="0"/>
                    </a:lnTo>
                    <a:lnTo>
                      <a:pt x="43" y="3"/>
                    </a:lnTo>
                    <a:lnTo>
                      <a:pt x="48" y="5"/>
                    </a:lnTo>
                    <a:lnTo>
                      <a:pt x="53" y="9"/>
                    </a:lnTo>
                    <a:lnTo>
                      <a:pt x="57" y="14"/>
                    </a:lnTo>
                    <a:lnTo>
                      <a:pt x="60" y="20"/>
                    </a:lnTo>
                    <a:lnTo>
                      <a:pt x="61" y="26"/>
                    </a:lnTo>
                    <a:lnTo>
                      <a:pt x="63" y="32"/>
                    </a:lnTo>
                    <a:lnTo>
                      <a:pt x="63" y="3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4" name="Freeform 71">
                <a:extLst>
                  <a:ext uri="{FF2B5EF4-FFF2-40B4-BE49-F238E27FC236}">
                    <a16:creationId xmlns:a16="http://schemas.microsoft.com/office/drawing/2014/main" id="{16960BB2-D43F-4CA5-8815-C0754D4A5B61}"/>
                  </a:ext>
                </a:extLst>
              </p:cNvPr>
              <p:cNvSpPr>
                <a:spLocks/>
              </p:cNvSpPr>
              <p:nvPr/>
            </p:nvSpPr>
            <p:spPr bwMode="auto">
              <a:xfrm>
                <a:off x="3814763" y="495300"/>
                <a:ext cx="77788" cy="77787"/>
              </a:xfrm>
              <a:custGeom>
                <a:avLst/>
                <a:gdLst>
                  <a:gd name="T0" fmla="*/ 147 w 147"/>
                  <a:gd name="T1" fmla="*/ 74 h 147"/>
                  <a:gd name="T2" fmla="*/ 147 w 147"/>
                  <a:gd name="T3" fmla="*/ 74 h 147"/>
                  <a:gd name="T4" fmla="*/ 147 w 147"/>
                  <a:gd name="T5" fmla="*/ 81 h 147"/>
                  <a:gd name="T6" fmla="*/ 146 w 147"/>
                  <a:gd name="T7" fmla="*/ 88 h 147"/>
                  <a:gd name="T8" fmla="*/ 143 w 147"/>
                  <a:gd name="T9" fmla="*/ 95 h 147"/>
                  <a:gd name="T10" fmla="*/ 141 w 147"/>
                  <a:gd name="T11" fmla="*/ 103 h 147"/>
                  <a:gd name="T12" fmla="*/ 134 w 147"/>
                  <a:gd name="T13" fmla="*/ 115 h 147"/>
                  <a:gd name="T14" fmla="*/ 125 w 147"/>
                  <a:gd name="T15" fmla="*/ 125 h 147"/>
                  <a:gd name="T16" fmla="*/ 114 w 147"/>
                  <a:gd name="T17" fmla="*/ 134 h 147"/>
                  <a:gd name="T18" fmla="*/ 102 w 147"/>
                  <a:gd name="T19" fmla="*/ 141 h 147"/>
                  <a:gd name="T20" fmla="*/ 95 w 147"/>
                  <a:gd name="T21" fmla="*/ 143 h 147"/>
                  <a:gd name="T22" fmla="*/ 88 w 147"/>
                  <a:gd name="T23" fmla="*/ 146 h 147"/>
                  <a:gd name="T24" fmla="*/ 81 w 147"/>
                  <a:gd name="T25" fmla="*/ 146 h 147"/>
                  <a:gd name="T26" fmla="*/ 73 w 147"/>
                  <a:gd name="T27" fmla="*/ 147 h 147"/>
                  <a:gd name="T28" fmla="*/ 73 w 147"/>
                  <a:gd name="T29" fmla="*/ 147 h 147"/>
                  <a:gd name="T30" fmla="*/ 66 w 147"/>
                  <a:gd name="T31" fmla="*/ 146 h 147"/>
                  <a:gd name="T32" fmla="*/ 59 w 147"/>
                  <a:gd name="T33" fmla="*/ 146 h 147"/>
                  <a:gd name="T34" fmla="*/ 52 w 147"/>
                  <a:gd name="T35" fmla="*/ 143 h 147"/>
                  <a:gd name="T36" fmla="*/ 44 w 147"/>
                  <a:gd name="T37" fmla="*/ 141 h 147"/>
                  <a:gd name="T38" fmla="*/ 32 w 147"/>
                  <a:gd name="T39" fmla="*/ 134 h 147"/>
                  <a:gd name="T40" fmla="*/ 21 w 147"/>
                  <a:gd name="T41" fmla="*/ 125 h 147"/>
                  <a:gd name="T42" fmla="*/ 12 w 147"/>
                  <a:gd name="T43" fmla="*/ 115 h 147"/>
                  <a:gd name="T44" fmla="*/ 6 w 147"/>
                  <a:gd name="T45" fmla="*/ 103 h 147"/>
                  <a:gd name="T46" fmla="*/ 3 w 147"/>
                  <a:gd name="T47" fmla="*/ 95 h 147"/>
                  <a:gd name="T48" fmla="*/ 1 w 147"/>
                  <a:gd name="T49" fmla="*/ 88 h 147"/>
                  <a:gd name="T50" fmla="*/ 0 w 147"/>
                  <a:gd name="T51" fmla="*/ 81 h 147"/>
                  <a:gd name="T52" fmla="*/ 0 w 147"/>
                  <a:gd name="T53" fmla="*/ 74 h 147"/>
                  <a:gd name="T54" fmla="*/ 0 w 147"/>
                  <a:gd name="T55" fmla="*/ 74 h 147"/>
                  <a:gd name="T56" fmla="*/ 0 w 147"/>
                  <a:gd name="T57" fmla="*/ 67 h 147"/>
                  <a:gd name="T58" fmla="*/ 1 w 147"/>
                  <a:gd name="T59" fmla="*/ 59 h 147"/>
                  <a:gd name="T60" fmla="*/ 3 w 147"/>
                  <a:gd name="T61" fmla="*/ 52 h 147"/>
                  <a:gd name="T62" fmla="*/ 6 w 147"/>
                  <a:gd name="T63" fmla="*/ 45 h 147"/>
                  <a:gd name="T64" fmla="*/ 12 w 147"/>
                  <a:gd name="T65" fmla="*/ 33 h 147"/>
                  <a:gd name="T66" fmla="*/ 21 w 147"/>
                  <a:gd name="T67" fmla="*/ 22 h 147"/>
                  <a:gd name="T68" fmla="*/ 32 w 147"/>
                  <a:gd name="T69" fmla="*/ 12 h 147"/>
                  <a:gd name="T70" fmla="*/ 44 w 147"/>
                  <a:gd name="T71" fmla="*/ 6 h 147"/>
                  <a:gd name="T72" fmla="*/ 52 w 147"/>
                  <a:gd name="T73" fmla="*/ 4 h 147"/>
                  <a:gd name="T74" fmla="*/ 59 w 147"/>
                  <a:gd name="T75" fmla="*/ 2 h 147"/>
                  <a:gd name="T76" fmla="*/ 66 w 147"/>
                  <a:gd name="T77" fmla="*/ 0 h 147"/>
                  <a:gd name="T78" fmla="*/ 73 w 147"/>
                  <a:gd name="T79" fmla="*/ 0 h 147"/>
                  <a:gd name="T80" fmla="*/ 73 w 147"/>
                  <a:gd name="T81" fmla="*/ 0 h 147"/>
                  <a:gd name="T82" fmla="*/ 81 w 147"/>
                  <a:gd name="T83" fmla="*/ 0 h 147"/>
                  <a:gd name="T84" fmla="*/ 88 w 147"/>
                  <a:gd name="T85" fmla="*/ 2 h 147"/>
                  <a:gd name="T86" fmla="*/ 95 w 147"/>
                  <a:gd name="T87" fmla="*/ 4 h 147"/>
                  <a:gd name="T88" fmla="*/ 102 w 147"/>
                  <a:gd name="T89" fmla="*/ 6 h 147"/>
                  <a:gd name="T90" fmla="*/ 114 w 147"/>
                  <a:gd name="T91" fmla="*/ 12 h 147"/>
                  <a:gd name="T92" fmla="*/ 125 w 147"/>
                  <a:gd name="T93" fmla="*/ 22 h 147"/>
                  <a:gd name="T94" fmla="*/ 134 w 147"/>
                  <a:gd name="T95" fmla="*/ 33 h 147"/>
                  <a:gd name="T96" fmla="*/ 141 w 147"/>
                  <a:gd name="T97" fmla="*/ 45 h 147"/>
                  <a:gd name="T98" fmla="*/ 143 w 147"/>
                  <a:gd name="T99" fmla="*/ 52 h 147"/>
                  <a:gd name="T100" fmla="*/ 146 w 147"/>
                  <a:gd name="T101" fmla="*/ 59 h 147"/>
                  <a:gd name="T102" fmla="*/ 147 w 147"/>
                  <a:gd name="T103" fmla="*/ 67 h 147"/>
                  <a:gd name="T104" fmla="*/ 147 w 147"/>
                  <a:gd name="T105" fmla="*/ 74 h 147"/>
                  <a:gd name="T106" fmla="*/ 147 w 147"/>
                  <a:gd name="T107" fmla="*/ 7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7" h="147">
                    <a:moveTo>
                      <a:pt x="147" y="74"/>
                    </a:moveTo>
                    <a:lnTo>
                      <a:pt x="147" y="74"/>
                    </a:lnTo>
                    <a:lnTo>
                      <a:pt x="147" y="81"/>
                    </a:lnTo>
                    <a:lnTo>
                      <a:pt x="146" y="88"/>
                    </a:lnTo>
                    <a:lnTo>
                      <a:pt x="143" y="95"/>
                    </a:lnTo>
                    <a:lnTo>
                      <a:pt x="141" y="103"/>
                    </a:lnTo>
                    <a:lnTo>
                      <a:pt x="134" y="115"/>
                    </a:lnTo>
                    <a:lnTo>
                      <a:pt x="125" y="125"/>
                    </a:lnTo>
                    <a:lnTo>
                      <a:pt x="114" y="134"/>
                    </a:lnTo>
                    <a:lnTo>
                      <a:pt x="102" y="141"/>
                    </a:lnTo>
                    <a:lnTo>
                      <a:pt x="95" y="143"/>
                    </a:lnTo>
                    <a:lnTo>
                      <a:pt x="88" y="146"/>
                    </a:lnTo>
                    <a:lnTo>
                      <a:pt x="81" y="146"/>
                    </a:lnTo>
                    <a:lnTo>
                      <a:pt x="73" y="147"/>
                    </a:lnTo>
                    <a:lnTo>
                      <a:pt x="73" y="147"/>
                    </a:lnTo>
                    <a:lnTo>
                      <a:pt x="66" y="146"/>
                    </a:lnTo>
                    <a:lnTo>
                      <a:pt x="59" y="146"/>
                    </a:lnTo>
                    <a:lnTo>
                      <a:pt x="52" y="143"/>
                    </a:lnTo>
                    <a:lnTo>
                      <a:pt x="44" y="141"/>
                    </a:lnTo>
                    <a:lnTo>
                      <a:pt x="32" y="134"/>
                    </a:lnTo>
                    <a:lnTo>
                      <a:pt x="21" y="125"/>
                    </a:lnTo>
                    <a:lnTo>
                      <a:pt x="12" y="115"/>
                    </a:lnTo>
                    <a:lnTo>
                      <a:pt x="6" y="103"/>
                    </a:lnTo>
                    <a:lnTo>
                      <a:pt x="3" y="95"/>
                    </a:lnTo>
                    <a:lnTo>
                      <a:pt x="1" y="88"/>
                    </a:lnTo>
                    <a:lnTo>
                      <a:pt x="0" y="81"/>
                    </a:lnTo>
                    <a:lnTo>
                      <a:pt x="0" y="74"/>
                    </a:lnTo>
                    <a:lnTo>
                      <a:pt x="0" y="74"/>
                    </a:lnTo>
                    <a:lnTo>
                      <a:pt x="0" y="67"/>
                    </a:lnTo>
                    <a:lnTo>
                      <a:pt x="1" y="59"/>
                    </a:lnTo>
                    <a:lnTo>
                      <a:pt x="3" y="52"/>
                    </a:lnTo>
                    <a:lnTo>
                      <a:pt x="6" y="45"/>
                    </a:lnTo>
                    <a:lnTo>
                      <a:pt x="12" y="33"/>
                    </a:lnTo>
                    <a:lnTo>
                      <a:pt x="21" y="22"/>
                    </a:lnTo>
                    <a:lnTo>
                      <a:pt x="32" y="12"/>
                    </a:lnTo>
                    <a:lnTo>
                      <a:pt x="44" y="6"/>
                    </a:lnTo>
                    <a:lnTo>
                      <a:pt x="52" y="4"/>
                    </a:lnTo>
                    <a:lnTo>
                      <a:pt x="59" y="2"/>
                    </a:lnTo>
                    <a:lnTo>
                      <a:pt x="66" y="0"/>
                    </a:lnTo>
                    <a:lnTo>
                      <a:pt x="73" y="0"/>
                    </a:lnTo>
                    <a:lnTo>
                      <a:pt x="73" y="0"/>
                    </a:lnTo>
                    <a:lnTo>
                      <a:pt x="81" y="0"/>
                    </a:lnTo>
                    <a:lnTo>
                      <a:pt x="88" y="2"/>
                    </a:lnTo>
                    <a:lnTo>
                      <a:pt x="95" y="4"/>
                    </a:lnTo>
                    <a:lnTo>
                      <a:pt x="102" y="6"/>
                    </a:lnTo>
                    <a:lnTo>
                      <a:pt x="114" y="12"/>
                    </a:lnTo>
                    <a:lnTo>
                      <a:pt x="125" y="22"/>
                    </a:lnTo>
                    <a:lnTo>
                      <a:pt x="134" y="33"/>
                    </a:lnTo>
                    <a:lnTo>
                      <a:pt x="141" y="45"/>
                    </a:lnTo>
                    <a:lnTo>
                      <a:pt x="143" y="52"/>
                    </a:lnTo>
                    <a:lnTo>
                      <a:pt x="146" y="59"/>
                    </a:lnTo>
                    <a:lnTo>
                      <a:pt x="147" y="67"/>
                    </a:lnTo>
                    <a:lnTo>
                      <a:pt x="147" y="74"/>
                    </a:lnTo>
                    <a:lnTo>
                      <a:pt x="147"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5" name="Freeform 72">
                <a:extLst>
                  <a:ext uri="{FF2B5EF4-FFF2-40B4-BE49-F238E27FC236}">
                    <a16:creationId xmlns:a16="http://schemas.microsoft.com/office/drawing/2014/main" id="{3B65452F-394A-4DC4-A476-522238BDD435}"/>
                  </a:ext>
                </a:extLst>
              </p:cNvPr>
              <p:cNvSpPr>
                <a:spLocks/>
              </p:cNvSpPr>
              <p:nvPr/>
            </p:nvSpPr>
            <p:spPr bwMode="auto">
              <a:xfrm>
                <a:off x="3819526" y="501650"/>
                <a:ext cx="66675" cy="65087"/>
              </a:xfrm>
              <a:custGeom>
                <a:avLst/>
                <a:gdLst>
                  <a:gd name="T0" fmla="*/ 125 w 125"/>
                  <a:gd name="T1" fmla="*/ 63 h 125"/>
                  <a:gd name="T2" fmla="*/ 125 w 125"/>
                  <a:gd name="T3" fmla="*/ 63 h 125"/>
                  <a:gd name="T4" fmla="*/ 124 w 125"/>
                  <a:gd name="T5" fmla="*/ 75 h 125"/>
                  <a:gd name="T6" fmla="*/ 120 w 125"/>
                  <a:gd name="T7" fmla="*/ 87 h 125"/>
                  <a:gd name="T8" fmla="*/ 114 w 125"/>
                  <a:gd name="T9" fmla="*/ 98 h 125"/>
                  <a:gd name="T10" fmla="*/ 107 w 125"/>
                  <a:gd name="T11" fmla="*/ 107 h 125"/>
                  <a:gd name="T12" fmla="*/ 97 w 125"/>
                  <a:gd name="T13" fmla="*/ 114 h 125"/>
                  <a:gd name="T14" fmla="*/ 86 w 125"/>
                  <a:gd name="T15" fmla="*/ 120 h 125"/>
                  <a:gd name="T16" fmla="*/ 74 w 125"/>
                  <a:gd name="T17" fmla="*/ 124 h 125"/>
                  <a:gd name="T18" fmla="*/ 62 w 125"/>
                  <a:gd name="T19" fmla="*/ 125 h 125"/>
                  <a:gd name="T20" fmla="*/ 62 w 125"/>
                  <a:gd name="T21" fmla="*/ 125 h 125"/>
                  <a:gd name="T22" fmla="*/ 49 w 125"/>
                  <a:gd name="T23" fmla="*/ 124 h 125"/>
                  <a:gd name="T24" fmla="*/ 38 w 125"/>
                  <a:gd name="T25" fmla="*/ 120 h 125"/>
                  <a:gd name="T26" fmla="*/ 27 w 125"/>
                  <a:gd name="T27" fmla="*/ 114 h 125"/>
                  <a:gd name="T28" fmla="*/ 18 w 125"/>
                  <a:gd name="T29" fmla="*/ 107 h 125"/>
                  <a:gd name="T30" fmla="*/ 10 w 125"/>
                  <a:gd name="T31" fmla="*/ 98 h 125"/>
                  <a:gd name="T32" fmla="*/ 4 w 125"/>
                  <a:gd name="T33" fmla="*/ 87 h 125"/>
                  <a:gd name="T34" fmla="*/ 1 w 125"/>
                  <a:gd name="T35" fmla="*/ 75 h 125"/>
                  <a:gd name="T36" fmla="*/ 0 w 125"/>
                  <a:gd name="T37" fmla="*/ 63 h 125"/>
                  <a:gd name="T38" fmla="*/ 0 w 125"/>
                  <a:gd name="T39" fmla="*/ 63 h 125"/>
                  <a:gd name="T40" fmla="*/ 1 w 125"/>
                  <a:gd name="T41" fmla="*/ 50 h 125"/>
                  <a:gd name="T42" fmla="*/ 4 w 125"/>
                  <a:gd name="T43" fmla="*/ 39 h 125"/>
                  <a:gd name="T44" fmla="*/ 10 w 125"/>
                  <a:gd name="T45" fmla="*/ 28 h 125"/>
                  <a:gd name="T46" fmla="*/ 18 w 125"/>
                  <a:gd name="T47" fmla="*/ 18 h 125"/>
                  <a:gd name="T48" fmla="*/ 27 w 125"/>
                  <a:gd name="T49" fmla="*/ 11 h 125"/>
                  <a:gd name="T50" fmla="*/ 38 w 125"/>
                  <a:gd name="T51" fmla="*/ 5 h 125"/>
                  <a:gd name="T52" fmla="*/ 49 w 125"/>
                  <a:gd name="T53" fmla="*/ 1 h 125"/>
                  <a:gd name="T54" fmla="*/ 62 w 125"/>
                  <a:gd name="T55" fmla="*/ 0 h 125"/>
                  <a:gd name="T56" fmla="*/ 62 w 125"/>
                  <a:gd name="T57" fmla="*/ 0 h 125"/>
                  <a:gd name="T58" fmla="*/ 74 w 125"/>
                  <a:gd name="T59" fmla="*/ 1 h 125"/>
                  <a:gd name="T60" fmla="*/ 86 w 125"/>
                  <a:gd name="T61" fmla="*/ 5 h 125"/>
                  <a:gd name="T62" fmla="*/ 97 w 125"/>
                  <a:gd name="T63" fmla="*/ 11 h 125"/>
                  <a:gd name="T64" fmla="*/ 107 w 125"/>
                  <a:gd name="T65" fmla="*/ 18 h 125"/>
                  <a:gd name="T66" fmla="*/ 114 w 125"/>
                  <a:gd name="T67" fmla="*/ 28 h 125"/>
                  <a:gd name="T68" fmla="*/ 120 w 125"/>
                  <a:gd name="T69" fmla="*/ 39 h 125"/>
                  <a:gd name="T70" fmla="*/ 124 w 125"/>
                  <a:gd name="T71" fmla="*/ 50 h 125"/>
                  <a:gd name="T72" fmla="*/ 125 w 125"/>
                  <a:gd name="T73" fmla="*/ 63 h 125"/>
                  <a:gd name="T74" fmla="*/ 125 w 125"/>
                  <a:gd name="T75"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 h="125">
                    <a:moveTo>
                      <a:pt x="125" y="63"/>
                    </a:moveTo>
                    <a:lnTo>
                      <a:pt x="125" y="63"/>
                    </a:lnTo>
                    <a:lnTo>
                      <a:pt x="124" y="75"/>
                    </a:lnTo>
                    <a:lnTo>
                      <a:pt x="120" y="87"/>
                    </a:lnTo>
                    <a:lnTo>
                      <a:pt x="114" y="98"/>
                    </a:lnTo>
                    <a:lnTo>
                      <a:pt x="107" y="107"/>
                    </a:lnTo>
                    <a:lnTo>
                      <a:pt x="97" y="114"/>
                    </a:lnTo>
                    <a:lnTo>
                      <a:pt x="86" y="120"/>
                    </a:lnTo>
                    <a:lnTo>
                      <a:pt x="74" y="124"/>
                    </a:lnTo>
                    <a:lnTo>
                      <a:pt x="62" y="125"/>
                    </a:lnTo>
                    <a:lnTo>
                      <a:pt x="62" y="125"/>
                    </a:lnTo>
                    <a:lnTo>
                      <a:pt x="49" y="124"/>
                    </a:lnTo>
                    <a:lnTo>
                      <a:pt x="38" y="120"/>
                    </a:lnTo>
                    <a:lnTo>
                      <a:pt x="27" y="114"/>
                    </a:lnTo>
                    <a:lnTo>
                      <a:pt x="18" y="107"/>
                    </a:lnTo>
                    <a:lnTo>
                      <a:pt x="10" y="98"/>
                    </a:lnTo>
                    <a:lnTo>
                      <a:pt x="4" y="87"/>
                    </a:lnTo>
                    <a:lnTo>
                      <a:pt x="1" y="75"/>
                    </a:lnTo>
                    <a:lnTo>
                      <a:pt x="0" y="63"/>
                    </a:lnTo>
                    <a:lnTo>
                      <a:pt x="0" y="63"/>
                    </a:lnTo>
                    <a:lnTo>
                      <a:pt x="1" y="50"/>
                    </a:lnTo>
                    <a:lnTo>
                      <a:pt x="4" y="39"/>
                    </a:lnTo>
                    <a:lnTo>
                      <a:pt x="10" y="28"/>
                    </a:lnTo>
                    <a:lnTo>
                      <a:pt x="18" y="18"/>
                    </a:lnTo>
                    <a:lnTo>
                      <a:pt x="27" y="11"/>
                    </a:lnTo>
                    <a:lnTo>
                      <a:pt x="38" y="5"/>
                    </a:lnTo>
                    <a:lnTo>
                      <a:pt x="49" y="1"/>
                    </a:lnTo>
                    <a:lnTo>
                      <a:pt x="62" y="0"/>
                    </a:lnTo>
                    <a:lnTo>
                      <a:pt x="62" y="0"/>
                    </a:lnTo>
                    <a:lnTo>
                      <a:pt x="74" y="1"/>
                    </a:lnTo>
                    <a:lnTo>
                      <a:pt x="86" y="5"/>
                    </a:lnTo>
                    <a:lnTo>
                      <a:pt x="97" y="11"/>
                    </a:lnTo>
                    <a:lnTo>
                      <a:pt x="107" y="18"/>
                    </a:lnTo>
                    <a:lnTo>
                      <a:pt x="114" y="28"/>
                    </a:lnTo>
                    <a:lnTo>
                      <a:pt x="120" y="39"/>
                    </a:lnTo>
                    <a:lnTo>
                      <a:pt x="124" y="50"/>
                    </a:lnTo>
                    <a:lnTo>
                      <a:pt x="125" y="63"/>
                    </a:lnTo>
                    <a:lnTo>
                      <a:pt x="125" y="6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6" name="Freeform 73">
                <a:extLst>
                  <a:ext uri="{FF2B5EF4-FFF2-40B4-BE49-F238E27FC236}">
                    <a16:creationId xmlns:a16="http://schemas.microsoft.com/office/drawing/2014/main" id="{57BA4D58-FABA-424C-86D7-6BF96B695CBD}"/>
                  </a:ext>
                </a:extLst>
              </p:cNvPr>
              <p:cNvSpPr>
                <a:spLocks/>
              </p:cNvSpPr>
              <p:nvPr/>
            </p:nvSpPr>
            <p:spPr bwMode="auto">
              <a:xfrm>
                <a:off x="3836988" y="517525"/>
                <a:ext cx="33338" cy="33337"/>
              </a:xfrm>
              <a:custGeom>
                <a:avLst/>
                <a:gdLst>
                  <a:gd name="T0" fmla="*/ 63 w 63"/>
                  <a:gd name="T1" fmla="*/ 32 h 63"/>
                  <a:gd name="T2" fmla="*/ 63 w 63"/>
                  <a:gd name="T3" fmla="*/ 32 h 63"/>
                  <a:gd name="T4" fmla="*/ 61 w 63"/>
                  <a:gd name="T5" fmla="*/ 38 h 63"/>
                  <a:gd name="T6" fmla="*/ 60 w 63"/>
                  <a:gd name="T7" fmla="*/ 44 h 63"/>
                  <a:gd name="T8" fmla="*/ 57 w 63"/>
                  <a:gd name="T9" fmla="*/ 49 h 63"/>
                  <a:gd name="T10" fmla="*/ 53 w 63"/>
                  <a:gd name="T11" fmla="*/ 53 h 63"/>
                  <a:gd name="T12" fmla="*/ 48 w 63"/>
                  <a:gd name="T13" fmla="*/ 57 h 63"/>
                  <a:gd name="T14" fmla="*/ 43 w 63"/>
                  <a:gd name="T15" fmla="*/ 61 h 63"/>
                  <a:gd name="T16" fmla="*/ 37 w 63"/>
                  <a:gd name="T17" fmla="*/ 62 h 63"/>
                  <a:gd name="T18" fmla="*/ 31 w 63"/>
                  <a:gd name="T19" fmla="*/ 63 h 63"/>
                  <a:gd name="T20" fmla="*/ 31 w 63"/>
                  <a:gd name="T21" fmla="*/ 63 h 63"/>
                  <a:gd name="T22" fmla="*/ 25 w 63"/>
                  <a:gd name="T23" fmla="*/ 62 h 63"/>
                  <a:gd name="T24" fmla="*/ 19 w 63"/>
                  <a:gd name="T25" fmla="*/ 61 h 63"/>
                  <a:gd name="T26" fmla="*/ 13 w 63"/>
                  <a:gd name="T27" fmla="*/ 57 h 63"/>
                  <a:gd name="T28" fmla="*/ 10 w 63"/>
                  <a:gd name="T29" fmla="*/ 53 h 63"/>
                  <a:gd name="T30" fmla="*/ 5 w 63"/>
                  <a:gd name="T31" fmla="*/ 49 h 63"/>
                  <a:gd name="T32" fmla="*/ 2 w 63"/>
                  <a:gd name="T33" fmla="*/ 44 h 63"/>
                  <a:gd name="T34" fmla="*/ 0 w 63"/>
                  <a:gd name="T35" fmla="*/ 38 h 63"/>
                  <a:gd name="T36" fmla="*/ 0 w 63"/>
                  <a:gd name="T37" fmla="*/ 32 h 63"/>
                  <a:gd name="T38" fmla="*/ 0 w 63"/>
                  <a:gd name="T39" fmla="*/ 32 h 63"/>
                  <a:gd name="T40" fmla="*/ 0 w 63"/>
                  <a:gd name="T41" fmla="*/ 26 h 63"/>
                  <a:gd name="T42" fmla="*/ 2 w 63"/>
                  <a:gd name="T43" fmla="*/ 20 h 63"/>
                  <a:gd name="T44" fmla="*/ 5 w 63"/>
                  <a:gd name="T45" fmla="*/ 14 h 63"/>
                  <a:gd name="T46" fmla="*/ 10 w 63"/>
                  <a:gd name="T47" fmla="*/ 9 h 63"/>
                  <a:gd name="T48" fmla="*/ 13 w 63"/>
                  <a:gd name="T49" fmla="*/ 5 h 63"/>
                  <a:gd name="T50" fmla="*/ 19 w 63"/>
                  <a:gd name="T51" fmla="*/ 3 h 63"/>
                  <a:gd name="T52" fmla="*/ 25 w 63"/>
                  <a:gd name="T53" fmla="*/ 0 h 63"/>
                  <a:gd name="T54" fmla="*/ 31 w 63"/>
                  <a:gd name="T55" fmla="*/ 0 h 63"/>
                  <a:gd name="T56" fmla="*/ 31 w 63"/>
                  <a:gd name="T57" fmla="*/ 0 h 63"/>
                  <a:gd name="T58" fmla="*/ 37 w 63"/>
                  <a:gd name="T59" fmla="*/ 0 h 63"/>
                  <a:gd name="T60" fmla="*/ 43 w 63"/>
                  <a:gd name="T61" fmla="*/ 3 h 63"/>
                  <a:gd name="T62" fmla="*/ 48 w 63"/>
                  <a:gd name="T63" fmla="*/ 5 h 63"/>
                  <a:gd name="T64" fmla="*/ 53 w 63"/>
                  <a:gd name="T65" fmla="*/ 9 h 63"/>
                  <a:gd name="T66" fmla="*/ 57 w 63"/>
                  <a:gd name="T67" fmla="*/ 14 h 63"/>
                  <a:gd name="T68" fmla="*/ 60 w 63"/>
                  <a:gd name="T69" fmla="*/ 20 h 63"/>
                  <a:gd name="T70" fmla="*/ 61 w 63"/>
                  <a:gd name="T71" fmla="*/ 26 h 63"/>
                  <a:gd name="T72" fmla="*/ 63 w 63"/>
                  <a:gd name="T73" fmla="*/ 32 h 63"/>
                  <a:gd name="T74" fmla="*/ 63 w 63"/>
                  <a:gd name="T75"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 h="63">
                    <a:moveTo>
                      <a:pt x="63" y="32"/>
                    </a:moveTo>
                    <a:lnTo>
                      <a:pt x="63" y="32"/>
                    </a:lnTo>
                    <a:lnTo>
                      <a:pt x="61" y="38"/>
                    </a:lnTo>
                    <a:lnTo>
                      <a:pt x="60" y="44"/>
                    </a:lnTo>
                    <a:lnTo>
                      <a:pt x="57" y="49"/>
                    </a:lnTo>
                    <a:lnTo>
                      <a:pt x="53" y="53"/>
                    </a:lnTo>
                    <a:lnTo>
                      <a:pt x="48" y="57"/>
                    </a:lnTo>
                    <a:lnTo>
                      <a:pt x="43" y="61"/>
                    </a:lnTo>
                    <a:lnTo>
                      <a:pt x="37" y="62"/>
                    </a:lnTo>
                    <a:lnTo>
                      <a:pt x="31" y="63"/>
                    </a:lnTo>
                    <a:lnTo>
                      <a:pt x="31" y="63"/>
                    </a:lnTo>
                    <a:lnTo>
                      <a:pt x="25" y="62"/>
                    </a:lnTo>
                    <a:lnTo>
                      <a:pt x="19" y="61"/>
                    </a:lnTo>
                    <a:lnTo>
                      <a:pt x="13" y="57"/>
                    </a:lnTo>
                    <a:lnTo>
                      <a:pt x="10" y="53"/>
                    </a:lnTo>
                    <a:lnTo>
                      <a:pt x="5" y="49"/>
                    </a:lnTo>
                    <a:lnTo>
                      <a:pt x="2" y="44"/>
                    </a:lnTo>
                    <a:lnTo>
                      <a:pt x="0" y="38"/>
                    </a:lnTo>
                    <a:lnTo>
                      <a:pt x="0" y="32"/>
                    </a:lnTo>
                    <a:lnTo>
                      <a:pt x="0" y="32"/>
                    </a:lnTo>
                    <a:lnTo>
                      <a:pt x="0" y="26"/>
                    </a:lnTo>
                    <a:lnTo>
                      <a:pt x="2" y="20"/>
                    </a:lnTo>
                    <a:lnTo>
                      <a:pt x="5" y="14"/>
                    </a:lnTo>
                    <a:lnTo>
                      <a:pt x="10" y="9"/>
                    </a:lnTo>
                    <a:lnTo>
                      <a:pt x="13" y="5"/>
                    </a:lnTo>
                    <a:lnTo>
                      <a:pt x="19" y="3"/>
                    </a:lnTo>
                    <a:lnTo>
                      <a:pt x="25" y="0"/>
                    </a:lnTo>
                    <a:lnTo>
                      <a:pt x="31" y="0"/>
                    </a:lnTo>
                    <a:lnTo>
                      <a:pt x="31" y="0"/>
                    </a:lnTo>
                    <a:lnTo>
                      <a:pt x="37" y="0"/>
                    </a:lnTo>
                    <a:lnTo>
                      <a:pt x="43" y="3"/>
                    </a:lnTo>
                    <a:lnTo>
                      <a:pt x="48" y="5"/>
                    </a:lnTo>
                    <a:lnTo>
                      <a:pt x="53" y="9"/>
                    </a:lnTo>
                    <a:lnTo>
                      <a:pt x="57" y="14"/>
                    </a:lnTo>
                    <a:lnTo>
                      <a:pt x="60" y="20"/>
                    </a:lnTo>
                    <a:lnTo>
                      <a:pt x="61" y="26"/>
                    </a:lnTo>
                    <a:lnTo>
                      <a:pt x="63" y="32"/>
                    </a:lnTo>
                    <a:lnTo>
                      <a:pt x="63" y="3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7" name="Freeform 74">
                <a:extLst>
                  <a:ext uri="{FF2B5EF4-FFF2-40B4-BE49-F238E27FC236}">
                    <a16:creationId xmlns:a16="http://schemas.microsoft.com/office/drawing/2014/main" id="{408FA046-A970-45D9-8BCF-CE7D623AA106}"/>
                  </a:ext>
                </a:extLst>
              </p:cNvPr>
              <p:cNvSpPr>
                <a:spLocks/>
              </p:cNvSpPr>
              <p:nvPr/>
            </p:nvSpPr>
            <p:spPr bwMode="auto">
              <a:xfrm>
                <a:off x="3727451" y="495300"/>
                <a:ext cx="77788" cy="77787"/>
              </a:xfrm>
              <a:custGeom>
                <a:avLst/>
                <a:gdLst>
                  <a:gd name="T0" fmla="*/ 147 w 147"/>
                  <a:gd name="T1" fmla="*/ 74 h 147"/>
                  <a:gd name="T2" fmla="*/ 147 w 147"/>
                  <a:gd name="T3" fmla="*/ 74 h 147"/>
                  <a:gd name="T4" fmla="*/ 146 w 147"/>
                  <a:gd name="T5" fmla="*/ 81 h 147"/>
                  <a:gd name="T6" fmla="*/ 144 w 147"/>
                  <a:gd name="T7" fmla="*/ 88 h 147"/>
                  <a:gd name="T8" fmla="*/ 143 w 147"/>
                  <a:gd name="T9" fmla="*/ 95 h 147"/>
                  <a:gd name="T10" fmla="*/ 141 w 147"/>
                  <a:gd name="T11" fmla="*/ 103 h 147"/>
                  <a:gd name="T12" fmla="*/ 133 w 147"/>
                  <a:gd name="T13" fmla="*/ 115 h 147"/>
                  <a:gd name="T14" fmla="*/ 125 w 147"/>
                  <a:gd name="T15" fmla="*/ 125 h 147"/>
                  <a:gd name="T16" fmla="*/ 114 w 147"/>
                  <a:gd name="T17" fmla="*/ 134 h 147"/>
                  <a:gd name="T18" fmla="*/ 101 w 147"/>
                  <a:gd name="T19" fmla="*/ 141 h 147"/>
                  <a:gd name="T20" fmla="*/ 95 w 147"/>
                  <a:gd name="T21" fmla="*/ 143 h 147"/>
                  <a:gd name="T22" fmla="*/ 88 w 147"/>
                  <a:gd name="T23" fmla="*/ 146 h 147"/>
                  <a:gd name="T24" fmla="*/ 80 w 147"/>
                  <a:gd name="T25" fmla="*/ 146 h 147"/>
                  <a:gd name="T26" fmla="*/ 73 w 147"/>
                  <a:gd name="T27" fmla="*/ 147 h 147"/>
                  <a:gd name="T28" fmla="*/ 73 w 147"/>
                  <a:gd name="T29" fmla="*/ 147 h 147"/>
                  <a:gd name="T30" fmla="*/ 65 w 147"/>
                  <a:gd name="T31" fmla="*/ 146 h 147"/>
                  <a:gd name="T32" fmla="*/ 58 w 147"/>
                  <a:gd name="T33" fmla="*/ 146 h 147"/>
                  <a:gd name="T34" fmla="*/ 52 w 147"/>
                  <a:gd name="T35" fmla="*/ 143 h 147"/>
                  <a:gd name="T36" fmla="*/ 44 w 147"/>
                  <a:gd name="T37" fmla="*/ 141 h 147"/>
                  <a:gd name="T38" fmla="*/ 32 w 147"/>
                  <a:gd name="T39" fmla="*/ 134 h 147"/>
                  <a:gd name="T40" fmla="*/ 21 w 147"/>
                  <a:gd name="T41" fmla="*/ 125 h 147"/>
                  <a:gd name="T42" fmla="*/ 12 w 147"/>
                  <a:gd name="T43" fmla="*/ 115 h 147"/>
                  <a:gd name="T44" fmla="*/ 6 w 147"/>
                  <a:gd name="T45" fmla="*/ 103 h 147"/>
                  <a:gd name="T46" fmla="*/ 2 w 147"/>
                  <a:gd name="T47" fmla="*/ 95 h 147"/>
                  <a:gd name="T48" fmla="*/ 1 w 147"/>
                  <a:gd name="T49" fmla="*/ 88 h 147"/>
                  <a:gd name="T50" fmla="*/ 0 w 147"/>
                  <a:gd name="T51" fmla="*/ 81 h 147"/>
                  <a:gd name="T52" fmla="*/ 0 w 147"/>
                  <a:gd name="T53" fmla="*/ 74 h 147"/>
                  <a:gd name="T54" fmla="*/ 0 w 147"/>
                  <a:gd name="T55" fmla="*/ 74 h 147"/>
                  <a:gd name="T56" fmla="*/ 0 w 147"/>
                  <a:gd name="T57" fmla="*/ 67 h 147"/>
                  <a:gd name="T58" fmla="*/ 1 w 147"/>
                  <a:gd name="T59" fmla="*/ 59 h 147"/>
                  <a:gd name="T60" fmla="*/ 2 w 147"/>
                  <a:gd name="T61" fmla="*/ 52 h 147"/>
                  <a:gd name="T62" fmla="*/ 6 w 147"/>
                  <a:gd name="T63" fmla="*/ 45 h 147"/>
                  <a:gd name="T64" fmla="*/ 12 w 147"/>
                  <a:gd name="T65" fmla="*/ 33 h 147"/>
                  <a:gd name="T66" fmla="*/ 21 w 147"/>
                  <a:gd name="T67" fmla="*/ 22 h 147"/>
                  <a:gd name="T68" fmla="*/ 32 w 147"/>
                  <a:gd name="T69" fmla="*/ 12 h 147"/>
                  <a:gd name="T70" fmla="*/ 44 w 147"/>
                  <a:gd name="T71" fmla="*/ 6 h 147"/>
                  <a:gd name="T72" fmla="*/ 52 w 147"/>
                  <a:gd name="T73" fmla="*/ 4 h 147"/>
                  <a:gd name="T74" fmla="*/ 58 w 147"/>
                  <a:gd name="T75" fmla="*/ 2 h 147"/>
                  <a:gd name="T76" fmla="*/ 65 w 147"/>
                  <a:gd name="T77" fmla="*/ 0 h 147"/>
                  <a:gd name="T78" fmla="*/ 73 w 147"/>
                  <a:gd name="T79" fmla="*/ 0 h 147"/>
                  <a:gd name="T80" fmla="*/ 73 w 147"/>
                  <a:gd name="T81" fmla="*/ 0 h 147"/>
                  <a:gd name="T82" fmla="*/ 80 w 147"/>
                  <a:gd name="T83" fmla="*/ 0 h 147"/>
                  <a:gd name="T84" fmla="*/ 88 w 147"/>
                  <a:gd name="T85" fmla="*/ 2 h 147"/>
                  <a:gd name="T86" fmla="*/ 95 w 147"/>
                  <a:gd name="T87" fmla="*/ 4 h 147"/>
                  <a:gd name="T88" fmla="*/ 101 w 147"/>
                  <a:gd name="T89" fmla="*/ 6 h 147"/>
                  <a:gd name="T90" fmla="*/ 114 w 147"/>
                  <a:gd name="T91" fmla="*/ 12 h 147"/>
                  <a:gd name="T92" fmla="*/ 125 w 147"/>
                  <a:gd name="T93" fmla="*/ 22 h 147"/>
                  <a:gd name="T94" fmla="*/ 133 w 147"/>
                  <a:gd name="T95" fmla="*/ 33 h 147"/>
                  <a:gd name="T96" fmla="*/ 141 w 147"/>
                  <a:gd name="T97" fmla="*/ 45 h 147"/>
                  <a:gd name="T98" fmla="*/ 143 w 147"/>
                  <a:gd name="T99" fmla="*/ 52 h 147"/>
                  <a:gd name="T100" fmla="*/ 144 w 147"/>
                  <a:gd name="T101" fmla="*/ 59 h 147"/>
                  <a:gd name="T102" fmla="*/ 146 w 147"/>
                  <a:gd name="T103" fmla="*/ 67 h 147"/>
                  <a:gd name="T104" fmla="*/ 147 w 147"/>
                  <a:gd name="T105" fmla="*/ 74 h 147"/>
                  <a:gd name="T106" fmla="*/ 147 w 147"/>
                  <a:gd name="T107" fmla="*/ 7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7" h="147">
                    <a:moveTo>
                      <a:pt x="147" y="74"/>
                    </a:moveTo>
                    <a:lnTo>
                      <a:pt x="147" y="74"/>
                    </a:lnTo>
                    <a:lnTo>
                      <a:pt x="146" y="81"/>
                    </a:lnTo>
                    <a:lnTo>
                      <a:pt x="144" y="88"/>
                    </a:lnTo>
                    <a:lnTo>
                      <a:pt x="143" y="95"/>
                    </a:lnTo>
                    <a:lnTo>
                      <a:pt x="141" y="103"/>
                    </a:lnTo>
                    <a:lnTo>
                      <a:pt x="133" y="115"/>
                    </a:lnTo>
                    <a:lnTo>
                      <a:pt x="125" y="125"/>
                    </a:lnTo>
                    <a:lnTo>
                      <a:pt x="114" y="134"/>
                    </a:lnTo>
                    <a:lnTo>
                      <a:pt x="101" y="141"/>
                    </a:lnTo>
                    <a:lnTo>
                      <a:pt x="95" y="143"/>
                    </a:lnTo>
                    <a:lnTo>
                      <a:pt x="88" y="146"/>
                    </a:lnTo>
                    <a:lnTo>
                      <a:pt x="80" y="146"/>
                    </a:lnTo>
                    <a:lnTo>
                      <a:pt x="73" y="147"/>
                    </a:lnTo>
                    <a:lnTo>
                      <a:pt x="73" y="147"/>
                    </a:lnTo>
                    <a:lnTo>
                      <a:pt x="65" y="146"/>
                    </a:lnTo>
                    <a:lnTo>
                      <a:pt x="58" y="146"/>
                    </a:lnTo>
                    <a:lnTo>
                      <a:pt x="52" y="143"/>
                    </a:lnTo>
                    <a:lnTo>
                      <a:pt x="44" y="141"/>
                    </a:lnTo>
                    <a:lnTo>
                      <a:pt x="32" y="134"/>
                    </a:lnTo>
                    <a:lnTo>
                      <a:pt x="21" y="125"/>
                    </a:lnTo>
                    <a:lnTo>
                      <a:pt x="12" y="115"/>
                    </a:lnTo>
                    <a:lnTo>
                      <a:pt x="6" y="103"/>
                    </a:lnTo>
                    <a:lnTo>
                      <a:pt x="2" y="95"/>
                    </a:lnTo>
                    <a:lnTo>
                      <a:pt x="1" y="88"/>
                    </a:lnTo>
                    <a:lnTo>
                      <a:pt x="0" y="81"/>
                    </a:lnTo>
                    <a:lnTo>
                      <a:pt x="0" y="74"/>
                    </a:lnTo>
                    <a:lnTo>
                      <a:pt x="0" y="74"/>
                    </a:lnTo>
                    <a:lnTo>
                      <a:pt x="0" y="67"/>
                    </a:lnTo>
                    <a:lnTo>
                      <a:pt x="1" y="59"/>
                    </a:lnTo>
                    <a:lnTo>
                      <a:pt x="2" y="52"/>
                    </a:lnTo>
                    <a:lnTo>
                      <a:pt x="6" y="45"/>
                    </a:lnTo>
                    <a:lnTo>
                      <a:pt x="12" y="33"/>
                    </a:lnTo>
                    <a:lnTo>
                      <a:pt x="21" y="22"/>
                    </a:lnTo>
                    <a:lnTo>
                      <a:pt x="32" y="12"/>
                    </a:lnTo>
                    <a:lnTo>
                      <a:pt x="44" y="6"/>
                    </a:lnTo>
                    <a:lnTo>
                      <a:pt x="52" y="4"/>
                    </a:lnTo>
                    <a:lnTo>
                      <a:pt x="58" y="2"/>
                    </a:lnTo>
                    <a:lnTo>
                      <a:pt x="65" y="0"/>
                    </a:lnTo>
                    <a:lnTo>
                      <a:pt x="73" y="0"/>
                    </a:lnTo>
                    <a:lnTo>
                      <a:pt x="73" y="0"/>
                    </a:lnTo>
                    <a:lnTo>
                      <a:pt x="80" y="0"/>
                    </a:lnTo>
                    <a:lnTo>
                      <a:pt x="88" y="2"/>
                    </a:lnTo>
                    <a:lnTo>
                      <a:pt x="95" y="4"/>
                    </a:lnTo>
                    <a:lnTo>
                      <a:pt x="101" y="6"/>
                    </a:lnTo>
                    <a:lnTo>
                      <a:pt x="114" y="12"/>
                    </a:lnTo>
                    <a:lnTo>
                      <a:pt x="125" y="22"/>
                    </a:lnTo>
                    <a:lnTo>
                      <a:pt x="133" y="33"/>
                    </a:lnTo>
                    <a:lnTo>
                      <a:pt x="141" y="45"/>
                    </a:lnTo>
                    <a:lnTo>
                      <a:pt x="143" y="52"/>
                    </a:lnTo>
                    <a:lnTo>
                      <a:pt x="144" y="59"/>
                    </a:lnTo>
                    <a:lnTo>
                      <a:pt x="146" y="67"/>
                    </a:lnTo>
                    <a:lnTo>
                      <a:pt x="147" y="74"/>
                    </a:lnTo>
                    <a:lnTo>
                      <a:pt x="147" y="7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8" name="Freeform 75">
                <a:extLst>
                  <a:ext uri="{FF2B5EF4-FFF2-40B4-BE49-F238E27FC236}">
                    <a16:creationId xmlns:a16="http://schemas.microsoft.com/office/drawing/2014/main" id="{FE6D2280-A3C4-457D-9FE1-7B10B8CAB1F5}"/>
                  </a:ext>
                </a:extLst>
              </p:cNvPr>
              <p:cNvSpPr>
                <a:spLocks/>
              </p:cNvSpPr>
              <p:nvPr/>
            </p:nvSpPr>
            <p:spPr bwMode="auto">
              <a:xfrm>
                <a:off x="3732213" y="501650"/>
                <a:ext cx="66675" cy="65087"/>
              </a:xfrm>
              <a:custGeom>
                <a:avLst/>
                <a:gdLst>
                  <a:gd name="T0" fmla="*/ 125 w 125"/>
                  <a:gd name="T1" fmla="*/ 63 h 125"/>
                  <a:gd name="T2" fmla="*/ 125 w 125"/>
                  <a:gd name="T3" fmla="*/ 63 h 125"/>
                  <a:gd name="T4" fmla="*/ 124 w 125"/>
                  <a:gd name="T5" fmla="*/ 75 h 125"/>
                  <a:gd name="T6" fmla="*/ 120 w 125"/>
                  <a:gd name="T7" fmla="*/ 87 h 125"/>
                  <a:gd name="T8" fmla="*/ 114 w 125"/>
                  <a:gd name="T9" fmla="*/ 98 h 125"/>
                  <a:gd name="T10" fmla="*/ 106 w 125"/>
                  <a:gd name="T11" fmla="*/ 107 h 125"/>
                  <a:gd name="T12" fmla="*/ 97 w 125"/>
                  <a:gd name="T13" fmla="*/ 114 h 125"/>
                  <a:gd name="T14" fmla="*/ 86 w 125"/>
                  <a:gd name="T15" fmla="*/ 120 h 125"/>
                  <a:gd name="T16" fmla="*/ 74 w 125"/>
                  <a:gd name="T17" fmla="*/ 124 h 125"/>
                  <a:gd name="T18" fmla="*/ 62 w 125"/>
                  <a:gd name="T19" fmla="*/ 125 h 125"/>
                  <a:gd name="T20" fmla="*/ 62 w 125"/>
                  <a:gd name="T21" fmla="*/ 125 h 125"/>
                  <a:gd name="T22" fmla="*/ 49 w 125"/>
                  <a:gd name="T23" fmla="*/ 124 h 125"/>
                  <a:gd name="T24" fmla="*/ 37 w 125"/>
                  <a:gd name="T25" fmla="*/ 120 h 125"/>
                  <a:gd name="T26" fmla="*/ 27 w 125"/>
                  <a:gd name="T27" fmla="*/ 114 h 125"/>
                  <a:gd name="T28" fmla="*/ 18 w 125"/>
                  <a:gd name="T29" fmla="*/ 107 h 125"/>
                  <a:gd name="T30" fmla="*/ 10 w 125"/>
                  <a:gd name="T31" fmla="*/ 98 h 125"/>
                  <a:gd name="T32" fmla="*/ 4 w 125"/>
                  <a:gd name="T33" fmla="*/ 87 h 125"/>
                  <a:gd name="T34" fmla="*/ 1 w 125"/>
                  <a:gd name="T35" fmla="*/ 75 h 125"/>
                  <a:gd name="T36" fmla="*/ 0 w 125"/>
                  <a:gd name="T37" fmla="*/ 63 h 125"/>
                  <a:gd name="T38" fmla="*/ 0 w 125"/>
                  <a:gd name="T39" fmla="*/ 63 h 125"/>
                  <a:gd name="T40" fmla="*/ 1 w 125"/>
                  <a:gd name="T41" fmla="*/ 50 h 125"/>
                  <a:gd name="T42" fmla="*/ 4 w 125"/>
                  <a:gd name="T43" fmla="*/ 39 h 125"/>
                  <a:gd name="T44" fmla="*/ 10 w 125"/>
                  <a:gd name="T45" fmla="*/ 28 h 125"/>
                  <a:gd name="T46" fmla="*/ 18 w 125"/>
                  <a:gd name="T47" fmla="*/ 18 h 125"/>
                  <a:gd name="T48" fmla="*/ 27 w 125"/>
                  <a:gd name="T49" fmla="*/ 11 h 125"/>
                  <a:gd name="T50" fmla="*/ 37 w 125"/>
                  <a:gd name="T51" fmla="*/ 5 h 125"/>
                  <a:gd name="T52" fmla="*/ 49 w 125"/>
                  <a:gd name="T53" fmla="*/ 1 h 125"/>
                  <a:gd name="T54" fmla="*/ 62 w 125"/>
                  <a:gd name="T55" fmla="*/ 0 h 125"/>
                  <a:gd name="T56" fmla="*/ 62 w 125"/>
                  <a:gd name="T57" fmla="*/ 0 h 125"/>
                  <a:gd name="T58" fmla="*/ 74 w 125"/>
                  <a:gd name="T59" fmla="*/ 1 h 125"/>
                  <a:gd name="T60" fmla="*/ 86 w 125"/>
                  <a:gd name="T61" fmla="*/ 5 h 125"/>
                  <a:gd name="T62" fmla="*/ 97 w 125"/>
                  <a:gd name="T63" fmla="*/ 11 h 125"/>
                  <a:gd name="T64" fmla="*/ 106 w 125"/>
                  <a:gd name="T65" fmla="*/ 18 h 125"/>
                  <a:gd name="T66" fmla="*/ 114 w 125"/>
                  <a:gd name="T67" fmla="*/ 28 h 125"/>
                  <a:gd name="T68" fmla="*/ 120 w 125"/>
                  <a:gd name="T69" fmla="*/ 39 h 125"/>
                  <a:gd name="T70" fmla="*/ 124 w 125"/>
                  <a:gd name="T71" fmla="*/ 50 h 125"/>
                  <a:gd name="T72" fmla="*/ 125 w 125"/>
                  <a:gd name="T73" fmla="*/ 63 h 125"/>
                  <a:gd name="T74" fmla="*/ 125 w 125"/>
                  <a:gd name="T75" fmla="*/ 6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5" h="125">
                    <a:moveTo>
                      <a:pt x="125" y="63"/>
                    </a:moveTo>
                    <a:lnTo>
                      <a:pt x="125" y="63"/>
                    </a:lnTo>
                    <a:lnTo>
                      <a:pt x="124" y="75"/>
                    </a:lnTo>
                    <a:lnTo>
                      <a:pt x="120" y="87"/>
                    </a:lnTo>
                    <a:lnTo>
                      <a:pt x="114" y="98"/>
                    </a:lnTo>
                    <a:lnTo>
                      <a:pt x="106" y="107"/>
                    </a:lnTo>
                    <a:lnTo>
                      <a:pt x="97" y="114"/>
                    </a:lnTo>
                    <a:lnTo>
                      <a:pt x="86" y="120"/>
                    </a:lnTo>
                    <a:lnTo>
                      <a:pt x="74" y="124"/>
                    </a:lnTo>
                    <a:lnTo>
                      <a:pt x="62" y="125"/>
                    </a:lnTo>
                    <a:lnTo>
                      <a:pt x="62" y="125"/>
                    </a:lnTo>
                    <a:lnTo>
                      <a:pt x="49" y="124"/>
                    </a:lnTo>
                    <a:lnTo>
                      <a:pt x="37" y="120"/>
                    </a:lnTo>
                    <a:lnTo>
                      <a:pt x="27" y="114"/>
                    </a:lnTo>
                    <a:lnTo>
                      <a:pt x="18" y="107"/>
                    </a:lnTo>
                    <a:lnTo>
                      <a:pt x="10" y="98"/>
                    </a:lnTo>
                    <a:lnTo>
                      <a:pt x="4" y="87"/>
                    </a:lnTo>
                    <a:lnTo>
                      <a:pt x="1" y="75"/>
                    </a:lnTo>
                    <a:lnTo>
                      <a:pt x="0" y="63"/>
                    </a:lnTo>
                    <a:lnTo>
                      <a:pt x="0" y="63"/>
                    </a:lnTo>
                    <a:lnTo>
                      <a:pt x="1" y="50"/>
                    </a:lnTo>
                    <a:lnTo>
                      <a:pt x="4" y="39"/>
                    </a:lnTo>
                    <a:lnTo>
                      <a:pt x="10" y="28"/>
                    </a:lnTo>
                    <a:lnTo>
                      <a:pt x="18" y="18"/>
                    </a:lnTo>
                    <a:lnTo>
                      <a:pt x="27" y="11"/>
                    </a:lnTo>
                    <a:lnTo>
                      <a:pt x="37" y="5"/>
                    </a:lnTo>
                    <a:lnTo>
                      <a:pt x="49" y="1"/>
                    </a:lnTo>
                    <a:lnTo>
                      <a:pt x="62" y="0"/>
                    </a:lnTo>
                    <a:lnTo>
                      <a:pt x="62" y="0"/>
                    </a:lnTo>
                    <a:lnTo>
                      <a:pt x="74" y="1"/>
                    </a:lnTo>
                    <a:lnTo>
                      <a:pt x="86" y="5"/>
                    </a:lnTo>
                    <a:lnTo>
                      <a:pt x="97" y="11"/>
                    </a:lnTo>
                    <a:lnTo>
                      <a:pt x="106" y="18"/>
                    </a:lnTo>
                    <a:lnTo>
                      <a:pt x="114" y="28"/>
                    </a:lnTo>
                    <a:lnTo>
                      <a:pt x="120" y="39"/>
                    </a:lnTo>
                    <a:lnTo>
                      <a:pt x="124" y="50"/>
                    </a:lnTo>
                    <a:lnTo>
                      <a:pt x="125" y="63"/>
                    </a:lnTo>
                    <a:lnTo>
                      <a:pt x="125" y="63"/>
                    </a:lnTo>
                    <a:close/>
                  </a:path>
                </a:pathLst>
              </a:custGeom>
              <a:solidFill>
                <a:srgbClr val="50505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39" name="Freeform 76">
                <a:extLst>
                  <a:ext uri="{FF2B5EF4-FFF2-40B4-BE49-F238E27FC236}">
                    <a16:creationId xmlns:a16="http://schemas.microsoft.com/office/drawing/2014/main" id="{E604EB49-C1E8-4696-9FD6-CBE39A5BBF24}"/>
                  </a:ext>
                </a:extLst>
              </p:cNvPr>
              <p:cNvSpPr>
                <a:spLocks/>
              </p:cNvSpPr>
              <p:nvPr/>
            </p:nvSpPr>
            <p:spPr bwMode="auto">
              <a:xfrm>
                <a:off x="3749676" y="517525"/>
                <a:ext cx="33338" cy="33337"/>
              </a:xfrm>
              <a:custGeom>
                <a:avLst/>
                <a:gdLst>
                  <a:gd name="T0" fmla="*/ 63 w 63"/>
                  <a:gd name="T1" fmla="*/ 32 h 63"/>
                  <a:gd name="T2" fmla="*/ 63 w 63"/>
                  <a:gd name="T3" fmla="*/ 32 h 63"/>
                  <a:gd name="T4" fmla="*/ 61 w 63"/>
                  <a:gd name="T5" fmla="*/ 38 h 63"/>
                  <a:gd name="T6" fmla="*/ 60 w 63"/>
                  <a:gd name="T7" fmla="*/ 44 h 63"/>
                  <a:gd name="T8" fmla="*/ 57 w 63"/>
                  <a:gd name="T9" fmla="*/ 49 h 63"/>
                  <a:gd name="T10" fmla="*/ 53 w 63"/>
                  <a:gd name="T11" fmla="*/ 53 h 63"/>
                  <a:gd name="T12" fmla="*/ 48 w 63"/>
                  <a:gd name="T13" fmla="*/ 57 h 63"/>
                  <a:gd name="T14" fmla="*/ 43 w 63"/>
                  <a:gd name="T15" fmla="*/ 61 h 63"/>
                  <a:gd name="T16" fmla="*/ 37 w 63"/>
                  <a:gd name="T17" fmla="*/ 62 h 63"/>
                  <a:gd name="T18" fmla="*/ 31 w 63"/>
                  <a:gd name="T19" fmla="*/ 63 h 63"/>
                  <a:gd name="T20" fmla="*/ 31 w 63"/>
                  <a:gd name="T21" fmla="*/ 63 h 63"/>
                  <a:gd name="T22" fmla="*/ 24 w 63"/>
                  <a:gd name="T23" fmla="*/ 62 h 63"/>
                  <a:gd name="T24" fmla="*/ 19 w 63"/>
                  <a:gd name="T25" fmla="*/ 61 h 63"/>
                  <a:gd name="T26" fmla="*/ 13 w 63"/>
                  <a:gd name="T27" fmla="*/ 57 h 63"/>
                  <a:gd name="T28" fmla="*/ 8 w 63"/>
                  <a:gd name="T29" fmla="*/ 53 h 63"/>
                  <a:gd name="T30" fmla="*/ 5 w 63"/>
                  <a:gd name="T31" fmla="*/ 49 h 63"/>
                  <a:gd name="T32" fmla="*/ 2 w 63"/>
                  <a:gd name="T33" fmla="*/ 44 h 63"/>
                  <a:gd name="T34" fmla="*/ 0 w 63"/>
                  <a:gd name="T35" fmla="*/ 38 h 63"/>
                  <a:gd name="T36" fmla="*/ 0 w 63"/>
                  <a:gd name="T37" fmla="*/ 32 h 63"/>
                  <a:gd name="T38" fmla="*/ 0 w 63"/>
                  <a:gd name="T39" fmla="*/ 32 h 63"/>
                  <a:gd name="T40" fmla="*/ 0 w 63"/>
                  <a:gd name="T41" fmla="*/ 26 h 63"/>
                  <a:gd name="T42" fmla="*/ 2 w 63"/>
                  <a:gd name="T43" fmla="*/ 20 h 63"/>
                  <a:gd name="T44" fmla="*/ 5 w 63"/>
                  <a:gd name="T45" fmla="*/ 14 h 63"/>
                  <a:gd name="T46" fmla="*/ 8 w 63"/>
                  <a:gd name="T47" fmla="*/ 9 h 63"/>
                  <a:gd name="T48" fmla="*/ 13 w 63"/>
                  <a:gd name="T49" fmla="*/ 5 h 63"/>
                  <a:gd name="T50" fmla="*/ 19 w 63"/>
                  <a:gd name="T51" fmla="*/ 3 h 63"/>
                  <a:gd name="T52" fmla="*/ 24 w 63"/>
                  <a:gd name="T53" fmla="*/ 0 h 63"/>
                  <a:gd name="T54" fmla="*/ 31 w 63"/>
                  <a:gd name="T55" fmla="*/ 0 h 63"/>
                  <a:gd name="T56" fmla="*/ 31 w 63"/>
                  <a:gd name="T57" fmla="*/ 0 h 63"/>
                  <a:gd name="T58" fmla="*/ 37 w 63"/>
                  <a:gd name="T59" fmla="*/ 0 h 63"/>
                  <a:gd name="T60" fmla="*/ 43 w 63"/>
                  <a:gd name="T61" fmla="*/ 3 h 63"/>
                  <a:gd name="T62" fmla="*/ 48 w 63"/>
                  <a:gd name="T63" fmla="*/ 5 h 63"/>
                  <a:gd name="T64" fmla="*/ 53 w 63"/>
                  <a:gd name="T65" fmla="*/ 9 h 63"/>
                  <a:gd name="T66" fmla="*/ 57 w 63"/>
                  <a:gd name="T67" fmla="*/ 14 h 63"/>
                  <a:gd name="T68" fmla="*/ 60 w 63"/>
                  <a:gd name="T69" fmla="*/ 20 h 63"/>
                  <a:gd name="T70" fmla="*/ 61 w 63"/>
                  <a:gd name="T71" fmla="*/ 26 h 63"/>
                  <a:gd name="T72" fmla="*/ 63 w 63"/>
                  <a:gd name="T73" fmla="*/ 32 h 63"/>
                  <a:gd name="T74" fmla="*/ 63 w 63"/>
                  <a:gd name="T75" fmla="*/ 3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3" h="63">
                    <a:moveTo>
                      <a:pt x="63" y="32"/>
                    </a:moveTo>
                    <a:lnTo>
                      <a:pt x="63" y="32"/>
                    </a:lnTo>
                    <a:lnTo>
                      <a:pt x="61" y="38"/>
                    </a:lnTo>
                    <a:lnTo>
                      <a:pt x="60" y="44"/>
                    </a:lnTo>
                    <a:lnTo>
                      <a:pt x="57" y="49"/>
                    </a:lnTo>
                    <a:lnTo>
                      <a:pt x="53" y="53"/>
                    </a:lnTo>
                    <a:lnTo>
                      <a:pt x="48" y="57"/>
                    </a:lnTo>
                    <a:lnTo>
                      <a:pt x="43" y="61"/>
                    </a:lnTo>
                    <a:lnTo>
                      <a:pt x="37" y="62"/>
                    </a:lnTo>
                    <a:lnTo>
                      <a:pt x="31" y="63"/>
                    </a:lnTo>
                    <a:lnTo>
                      <a:pt x="31" y="63"/>
                    </a:lnTo>
                    <a:lnTo>
                      <a:pt x="24" y="62"/>
                    </a:lnTo>
                    <a:lnTo>
                      <a:pt x="19" y="61"/>
                    </a:lnTo>
                    <a:lnTo>
                      <a:pt x="13" y="57"/>
                    </a:lnTo>
                    <a:lnTo>
                      <a:pt x="8" y="53"/>
                    </a:lnTo>
                    <a:lnTo>
                      <a:pt x="5" y="49"/>
                    </a:lnTo>
                    <a:lnTo>
                      <a:pt x="2" y="44"/>
                    </a:lnTo>
                    <a:lnTo>
                      <a:pt x="0" y="38"/>
                    </a:lnTo>
                    <a:lnTo>
                      <a:pt x="0" y="32"/>
                    </a:lnTo>
                    <a:lnTo>
                      <a:pt x="0" y="32"/>
                    </a:lnTo>
                    <a:lnTo>
                      <a:pt x="0" y="26"/>
                    </a:lnTo>
                    <a:lnTo>
                      <a:pt x="2" y="20"/>
                    </a:lnTo>
                    <a:lnTo>
                      <a:pt x="5" y="14"/>
                    </a:lnTo>
                    <a:lnTo>
                      <a:pt x="8" y="9"/>
                    </a:lnTo>
                    <a:lnTo>
                      <a:pt x="13" y="5"/>
                    </a:lnTo>
                    <a:lnTo>
                      <a:pt x="19" y="3"/>
                    </a:lnTo>
                    <a:lnTo>
                      <a:pt x="24" y="0"/>
                    </a:lnTo>
                    <a:lnTo>
                      <a:pt x="31" y="0"/>
                    </a:lnTo>
                    <a:lnTo>
                      <a:pt x="31" y="0"/>
                    </a:lnTo>
                    <a:lnTo>
                      <a:pt x="37" y="0"/>
                    </a:lnTo>
                    <a:lnTo>
                      <a:pt x="43" y="3"/>
                    </a:lnTo>
                    <a:lnTo>
                      <a:pt x="48" y="5"/>
                    </a:lnTo>
                    <a:lnTo>
                      <a:pt x="53" y="9"/>
                    </a:lnTo>
                    <a:lnTo>
                      <a:pt x="57" y="14"/>
                    </a:lnTo>
                    <a:lnTo>
                      <a:pt x="60" y="20"/>
                    </a:lnTo>
                    <a:lnTo>
                      <a:pt x="61" y="26"/>
                    </a:lnTo>
                    <a:lnTo>
                      <a:pt x="63" y="32"/>
                    </a:lnTo>
                    <a:lnTo>
                      <a:pt x="63" y="3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0" name="Freeform 77">
                <a:extLst>
                  <a:ext uri="{FF2B5EF4-FFF2-40B4-BE49-F238E27FC236}">
                    <a16:creationId xmlns:a16="http://schemas.microsoft.com/office/drawing/2014/main" id="{D7330E98-E983-45A7-9AD1-7068259B955C}"/>
                  </a:ext>
                </a:extLst>
              </p:cNvPr>
              <p:cNvSpPr>
                <a:spLocks/>
              </p:cNvSpPr>
              <p:nvPr/>
            </p:nvSpPr>
            <p:spPr bwMode="auto">
              <a:xfrm>
                <a:off x="3775076" y="339725"/>
                <a:ext cx="71438" cy="14287"/>
              </a:xfrm>
              <a:custGeom>
                <a:avLst/>
                <a:gdLst>
                  <a:gd name="T0" fmla="*/ 0 w 137"/>
                  <a:gd name="T1" fmla="*/ 28 h 28"/>
                  <a:gd name="T2" fmla="*/ 0 w 137"/>
                  <a:gd name="T3" fmla="*/ 28 h 28"/>
                  <a:gd name="T4" fmla="*/ 1 w 137"/>
                  <a:gd name="T5" fmla="*/ 22 h 28"/>
                  <a:gd name="T6" fmla="*/ 5 w 137"/>
                  <a:gd name="T7" fmla="*/ 17 h 28"/>
                  <a:gd name="T8" fmla="*/ 12 w 137"/>
                  <a:gd name="T9" fmla="*/ 12 h 28"/>
                  <a:gd name="T10" fmla="*/ 21 w 137"/>
                  <a:gd name="T11" fmla="*/ 7 h 28"/>
                  <a:gd name="T12" fmla="*/ 30 w 137"/>
                  <a:gd name="T13" fmla="*/ 5 h 28"/>
                  <a:gd name="T14" fmla="*/ 42 w 137"/>
                  <a:gd name="T15" fmla="*/ 2 h 28"/>
                  <a:gd name="T16" fmla="*/ 56 w 137"/>
                  <a:gd name="T17" fmla="*/ 0 h 28"/>
                  <a:gd name="T18" fmla="*/ 69 w 137"/>
                  <a:gd name="T19" fmla="*/ 0 h 28"/>
                  <a:gd name="T20" fmla="*/ 69 w 137"/>
                  <a:gd name="T21" fmla="*/ 0 h 28"/>
                  <a:gd name="T22" fmla="*/ 83 w 137"/>
                  <a:gd name="T23" fmla="*/ 0 h 28"/>
                  <a:gd name="T24" fmla="*/ 95 w 137"/>
                  <a:gd name="T25" fmla="*/ 2 h 28"/>
                  <a:gd name="T26" fmla="*/ 107 w 137"/>
                  <a:gd name="T27" fmla="*/ 5 h 28"/>
                  <a:gd name="T28" fmla="*/ 118 w 137"/>
                  <a:gd name="T29" fmla="*/ 7 h 28"/>
                  <a:gd name="T30" fmla="*/ 127 w 137"/>
                  <a:gd name="T31" fmla="*/ 12 h 28"/>
                  <a:gd name="T32" fmla="*/ 133 w 137"/>
                  <a:gd name="T33" fmla="*/ 17 h 28"/>
                  <a:gd name="T34" fmla="*/ 136 w 137"/>
                  <a:gd name="T35" fmla="*/ 22 h 28"/>
                  <a:gd name="T36" fmla="*/ 137 w 137"/>
                  <a:gd name="T37" fmla="*/ 28 h 28"/>
                  <a:gd name="T38" fmla="*/ 0 w 137"/>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7" h="28">
                    <a:moveTo>
                      <a:pt x="0" y="28"/>
                    </a:moveTo>
                    <a:lnTo>
                      <a:pt x="0" y="28"/>
                    </a:lnTo>
                    <a:lnTo>
                      <a:pt x="1" y="22"/>
                    </a:lnTo>
                    <a:lnTo>
                      <a:pt x="5" y="17"/>
                    </a:lnTo>
                    <a:lnTo>
                      <a:pt x="12" y="12"/>
                    </a:lnTo>
                    <a:lnTo>
                      <a:pt x="21" y="7"/>
                    </a:lnTo>
                    <a:lnTo>
                      <a:pt x="30" y="5"/>
                    </a:lnTo>
                    <a:lnTo>
                      <a:pt x="42" y="2"/>
                    </a:lnTo>
                    <a:lnTo>
                      <a:pt x="56" y="0"/>
                    </a:lnTo>
                    <a:lnTo>
                      <a:pt x="69" y="0"/>
                    </a:lnTo>
                    <a:lnTo>
                      <a:pt x="69" y="0"/>
                    </a:lnTo>
                    <a:lnTo>
                      <a:pt x="83" y="0"/>
                    </a:lnTo>
                    <a:lnTo>
                      <a:pt x="95" y="2"/>
                    </a:lnTo>
                    <a:lnTo>
                      <a:pt x="107" y="5"/>
                    </a:lnTo>
                    <a:lnTo>
                      <a:pt x="118" y="7"/>
                    </a:lnTo>
                    <a:lnTo>
                      <a:pt x="127" y="12"/>
                    </a:lnTo>
                    <a:lnTo>
                      <a:pt x="133" y="17"/>
                    </a:lnTo>
                    <a:lnTo>
                      <a:pt x="136" y="22"/>
                    </a:lnTo>
                    <a:lnTo>
                      <a:pt x="137" y="28"/>
                    </a:lnTo>
                    <a:lnTo>
                      <a:pt x="0" y="2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1" name="Freeform 78">
                <a:extLst>
                  <a:ext uri="{FF2B5EF4-FFF2-40B4-BE49-F238E27FC236}">
                    <a16:creationId xmlns:a16="http://schemas.microsoft.com/office/drawing/2014/main" id="{8BC46FDD-2519-4A93-BA2B-ECADE8A829E2}"/>
                  </a:ext>
                </a:extLst>
              </p:cNvPr>
              <p:cNvSpPr>
                <a:spLocks/>
              </p:cNvSpPr>
              <p:nvPr/>
            </p:nvSpPr>
            <p:spPr bwMode="auto">
              <a:xfrm>
                <a:off x="3484563" y="339725"/>
                <a:ext cx="73025" cy="14287"/>
              </a:xfrm>
              <a:custGeom>
                <a:avLst/>
                <a:gdLst>
                  <a:gd name="T0" fmla="*/ 0 w 137"/>
                  <a:gd name="T1" fmla="*/ 28 h 28"/>
                  <a:gd name="T2" fmla="*/ 0 w 137"/>
                  <a:gd name="T3" fmla="*/ 28 h 28"/>
                  <a:gd name="T4" fmla="*/ 1 w 137"/>
                  <a:gd name="T5" fmla="*/ 22 h 28"/>
                  <a:gd name="T6" fmla="*/ 5 w 137"/>
                  <a:gd name="T7" fmla="*/ 17 h 28"/>
                  <a:gd name="T8" fmla="*/ 11 w 137"/>
                  <a:gd name="T9" fmla="*/ 12 h 28"/>
                  <a:gd name="T10" fmla="*/ 19 w 137"/>
                  <a:gd name="T11" fmla="*/ 7 h 28"/>
                  <a:gd name="T12" fmla="*/ 30 w 137"/>
                  <a:gd name="T13" fmla="*/ 5 h 28"/>
                  <a:gd name="T14" fmla="*/ 41 w 137"/>
                  <a:gd name="T15" fmla="*/ 2 h 28"/>
                  <a:gd name="T16" fmla="*/ 54 w 137"/>
                  <a:gd name="T17" fmla="*/ 0 h 28"/>
                  <a:gd name="T18" fmla="*/ 69 w 137"/>
                  <a:gd name="T19" fmla="*/ 0 h 28"/>
                  <a:gd name="T20" fmla="*/ 69 w 137"/>
                  <a:gd name="T21" fmla="*/ 0 h 28"/>
                  <a:gd name="T22" fmla="*/ 82 w 137"/>
                  <a:gd name="T23" fmla="*/ 0 h 28"/>
                  <a:gd name="T24" fmla="*/ 95 w 137"/>
                  <a:gd name="T25" fmla="*/ 2 h 28"/>
                  <a:gd name="T26" fmla="*/ 107 w 137"/>
                  <a:gd name="T27" fmla="*/ 5 h 28"/>
                  <a:gd name="T28" fmla="*/ 117 w 137"/>
                  <a:gd name="T29" fmla="*/ 7 h 28"/>
                  <a:gd name="T30" fmla="*/ 125 w 137"/>
                  <a:gd name="T31" fmla="*/ 12 h 28"/>
                  <a:gd name="T32" fmla="*/ 131 w 137"/>
                  <a:gd name="T33" fmla="*/ 17 h 28"/>
                  <a:gd name="T34" fmla="*/ 136 w 137"/>
                  <a:gd name="T35" fmla="*/ 22 h 28"/>
                  <a:gd name="T36" fmla="*/ 137 w 137"/>
                  <a:gd name="T37" fmla="*/ 28 h 28"/>
                  <a:gd name="T38" fmla="*/ 0 w 137"/>
                  <a:gd name="T39"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7" h="28">
                    <a:moveTo>
                      <a:pt x="0" y="28"/>
                    </a:moveTo>
                    <a:lnTo>
                      <a:pt x="0" y="28"/>
                    </a:lnTo>
                    <a:lnTo>
                      <a:pt x="1" y="22"/>
                    </a:lnTo>
                    <a:lnTo>
                      <a:pt x="5" y="17"/>
                    </a:lnTo>
                    <a:lnTo>
                      <a:pt x="11" y="12"/>
                    </a:lnTo>
                    <a:lnTo>
                      <a:pt x="19" y="7"/>
                    </a:lnTo>
                    <a:lnTo>
                      <a:pt x="30" y="5"/>
                    </a:lnTo>
                    <a:lnTo>
                      <a:pt x="41" y="2"/>
                    </a:lnTo>
                    <a:lnTo>
                      <a:pt x="54" y="0"/>
                    </a:lnTo>
                    <a:lnTo>
                      <a:pt x="69" y="0"/>
                    </a:lnTo>
                    <a:lnTo>
                      <a:pt x="69" y="0"/>
                    </a:lnTo>
                    <a:lnTo>
                      <a:pt x="82" y="0"/>
                    </a:lnTo>
                    <a:lnTo>
                      <a:pt x="95" y="2"/>
                    </a:lnTo>
                    <a:lnTo>
                      <a:pt x="107" y="5"/>
                    </a:lnTo>
                    <a:lnTo>
                      <a:pt x="117" y="7"/>
                    </a:lnTo>
                    <a:lnTo>
                      <a:pt x="125" y="12"/>
                    </a:lnTo>
                    <a:lnTo>
                      <a:pt x="131" y="17"/>
                    </a:lnTo>
                    <a:lnTo>
                      <a:pt x="136" y="22"/>
                    </a:lnTo>
                    <a:lnTo>
                      <a:pt x="137" y="28"/>
                    </a:lnTo>
                    <a:lnTo>
                      <a:pt x="0" y="2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2" name="Freeform 79">
                <a:extLst>
                  <a:ext uri="{FF2B5EF4-FFF2-40B4-BE49-F238E27FC236}">
                    <a16:creationId xmlns:a16="http://schemas.microsoft.com/office/drawing/2014/main" id="{32D18107-A5BA-409C-8A24-E8D563DF193B}"/>
                  </a:ext>
                </a:extLst>
              </p:cNvPr>
              <p:cNvSpPr>
                <a:spLocks/>
              </p:cNvSpPr>
              <p:nvPr/>
            </p:nvSpPr>
            <p:spPr bwMode="auto">
              <a:xfrm>
                <a:off x="3416301" y="373063"/>
                <a:ext cx="98425" cy="73025"/>
              </a:xfrm>
              <a:custGeom>
                <a:avLst/>
                <a:gdLst>
                  <a:gd name="T0" fmla="*/ 184 w 184"/>
                  <a:gd name="T1" fmla="*/ 131 h 137"/>
                  <a:gd name="T2" fmla="*/ 184 w 184"/>
                  <a:gd name="T3" fmla="*/ 131 h 137"/>
                  <a:gd name="T4" fmla="*/ 184 w 184"/>
                  <a:gd name="T5" fmla="*/ 133 h 137"/>
                  <a:gd name="T6" fmla="*/ 183 w 184"/>
                  <a:gd name="T7" fmla="*/ 135 h 137"/>
                  <a:gd name="T8" fmla="*/ 181 w 184"/>
                  <a:gd name="T9" fmla="*/ 137 h 137"/>
                  <a:gd name="T10" fmla="*/ 180 w 184"/>
                  <a:gd name="T11" fmla="*/ 137 h 137"/>
                  <a:gd name="T12" fmla="*/ 6 w 184"/>
                  <a:gd name="T13" fmla="*/ 137 h 137"/>
                  <a:gd name="T14" fmla="*/ 6 w 184"/>
                  <a:gd name="T15" fmla="*/ 137 h 137"/>
                  <a:gd name="T16" fmla="*/ 4 w 184"/>
                  <a:gd name="T17" fmla="*/ 137 h 137"/>
                  <a:gd name="T18" fmla="*/ 2 w 184"/>
                  <a:gd name="T19" fmla="*/ 135 h 137"/>
                  <a:gd name="T20" fmla="*/ 1 w 184"/>
                  <a:gd name="T21" fmla="*/ 133 h 137"/>
                  <a:gd name="T22" fmla="*/ 0 w 184"/>
                  <a:gd name="T23" fmla="*/ 131 h 137"/>
                  <a:gd name="T24" fmla="*/ 0 w 184"/>
                  <a:gd name="T25" fmla="*/ 6 h 137"/>
                  <a:gd name="T26" fmla="*/ 0 w 184"/>
                  <a:gd name="T27" fmla="*/ 6 h 137"/>
                  <a:gd name="T28" fmla="*/ 1 w 184"/>
                  <a:gd name="T29" fmla="*/ 3 h 137"/>
                  <a:gd name="T30" fmla="*/ 2 w 184"/>
                  <a:gd name="T31" fmla="*/ 2 h 137"/>
                  <a:gd name="T32" fmla="*/ 4 w 184"/>
                  <a:gd name="T33" fmla="*/ 1 h 137"/>
                  <a:gd name="T34" fmla="*/ 6 w 184"/>
                  <a:gd name="T35" fmla="*/ 0 h 137"/>
                  <a:gd name="T36" fmla="*/ 180 w 184"/>
                  <a:gd name="T37" fmla="*/ 0 h 137"/>
                  <a:gd name="T38" fmla="*/ 180 w 184"/>
                  <a:gd name="T39" fmla="*/ 0 h 137"/>
                  <a:gd name="T40" fmla="*/ 181 w 184"/>
                  <a:gd name="T41" fmla="*/ 1 h 137"/>
                  <a:gd name="T42" fmla="*/ 183 w 184"/>
                  <a:gd name="T43" fmla="*/ 2 h 137"/>
                  <a:gd name="T44" fmla="*/ 184 w 184"/>
                  <a:gd name="T45" fmla="*/ 3 h 137"/>
                  <a:gd name="T46" fmla="*/ 184 w 184"/>
                  <a:gd name="T47" fmla="*/ 6 h 137"/>
                  <a:gd name="T48" fmla="*/ 184 w 184"/>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4" h="137">
                    <a:moveTo>
                      <a:pt x="184" y="131"/>
                    </a:moveTo>
                    <a:lnTo>
                      <a:pt x="184" y="131"/>
                    </a:lnTo>
                    <a:lnTo>
                      <a:pt x="184" y="133"/>
                    </a:lnTo>
                    <a:lnTo>
                      <a:pt x="183" y="135"/>
                    </a:lnTo>
                    <a:lnTo>
                      <a:pt x="181" y="137"/>
                    </a:lnTo>
                    <a:lnTo>
                      <a:pt x="180" y="137"/>
                    </a:lnTo>
                    <a:lnTo>
                      <a:pt x="6" y="137"/>
                    </a:lnTo>
                    <a:lnTo>
                      <a:pt x="6" y="137"/>
                    </a:lnTo>
                    <a:lnTo>
                      <a:pt x="4" y="137"/>
                    </a:lnTo>
                    <a:lnTo>
                      <a:pt x="2" y="135"/>
                    </a:lnTo>
                    <a:lnTo>
                      <a:pt x="1" y="133"/>
                    </a:lnTo>
                    <a:lnTo>
                      <a:pt x="0" y="131"/>
                    </a:lnTo>
                    <a:lnTo>
                      <a:pt x="0" y="6"/>
                    </a:lnTo>
                    <a:lnTo>
                      <a:pt x="0" y="6"/>
                    </a:lnTo>
                    <a:lnTo>
                      <a:pt x="1" y="3"/>
                    </a:lnTo>
                    <a:lnTo>
                      <a:pt x="2" y="2"/>
                    </a:lnTo>
                    <a:lnTo>
                      <a:pt x="4" y="1"/>
                    </a:lnTo>
                    <a:lnTo>
                      <a:pt x="6" y="0"/>
                    </a:lnTo>
                    <a:lnTo>
                      <a:pt x="180" y="0"/>
                    </a:lnTo>
                    <a:lnTo>
                      <a:pt x="180" y="0"/>
                    </a:lnTo>
                    <a:lnTo>
                      <a:pt x="181" y="1"/>
                    </a:lnTo>
                    <a:lnTo>
                      <a:pt x="183" y="2"/>
                    </a:lnTo>
                    <a:lnTo>
                      <a:pt x="184" y="3"/>
                    </a:lnTo>
                    <a:lnTo>
                      <a:pt x="184" y="6"/>
                    </a:lnTo>
                    <a:lnTo>
                      <a:pt x="184" y="131"/>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3" name="Freeform 80">
                <a:extLst>
                  <a:ext uri="{FF2B5EF4-FFF2-40B4-BE49-F238E27FC236}">
                    <a16:creationId xmlns:a16="http://schemas.microsoft.com/office/drawing/2014/main" id="{9815B993-2CA4-450D-9966-87B496EC507E}"/>
                  </a:ext>
                </a:extLst>
              </p:cNvPr>
              <p:cNvSpPr>
                <a:spLocks/>
              </p:cNvSpPr>
              <p:nvPr/>
            </p:nvSpPr>
            <p:spPr bwMode="auto">
              <a:xfrm>
                <a:off x="3525838" y="373063"/>
                <a:ext cx="98425" cy="73025"/>
              </a:xfrm>
              <a:custGeom>
                <a:avLst/>
                <a:gdLst>
                  <a:gd name="T0" fmla="*/ 185 w 185"/>
                  <a:gd name="T1" fmla="*/ 131 h 137"/>
                  <a:gd name="T2" fmla="*/ 185 w 185"/>
                  <a:gd name="T3" fmla="*/ 131 h 137"/>
                  <a:gd name="T4" fmla="*/ 183 w 185"/>
                  <a:gd name="T5" fmla="*/ 133 h 137"/>
                  <a:gd name="T6" fmla="*/ 182 w 185"/>
                  <a:gd name="T7" fmla="*/ 135 h 137"/>
                  <a:gd name="T8" fmla="*/ 181 w 185"/>
                  <a:gd name="T9" fmla="*/ 137 h 137"/>
                  <a:gd name="T10" fmla="*/ 178 w 185"/>
                  <a:gd name="T11" fmla="*/ 137 h 137"/>
                  <a:gd name="T12" fmla="*/ 6 w 185"/>
                  <a:gd name="T13" fmla="*/ 137 h 137"/>
                  <a:gd name="T14" fmla="*/ 6 w 185"/>
                  <a:gd name="T15" fmla="*/ 137 h 137"/>
                  <a:gd name="T16" fmla="*/ 4 w 185"/>
                  <a:gd name="T17" fmla="*/ 137 h 137"/>
                  <a:gd name="T18" fmla="*/ 3 w 185"/>
                  <a:gd name="T19" fmla="*/ 135 h 137"/>
                  <a:gd name="T20" fmla="*/ 1 w 185"/>
                  <a:gd name="T21" fmla="*/ 133 h 137"/>
                  <a:gd name="T22" fmla="*/ 0 w 185"/>
                  <a:gd name="T23" fmla="*/ 131 h 137"/>
                  <a:gd name="T24" fmla="*/ 0 w 185"/>
                  <a:gd name="T25" fmla="*/ 6 h 137"/>
                  <a:gd name="T26" fmla="*/ 0 w 185"/>
                  <a:gd name="T27" fmla="*/ 6 h 137"/>
                  <a:gd name="T28" fmla="*/ 1 w 185"/>
                  <a:gd name="T29" fmla="*/ 3 h 137"/>
                  <a:gd name="T30" fmla="*/ 3 w 185"/>
                  <a:gd name="T31" fmla="*/ 2 h 137"/>
                  <a:gd name="T32" fmla="*/ 4 w 185"/>
                  <a:gd name="T33" fmla="*/ 1 h 137"/>
                  <a:gd name="T34" fmla="*/ 6 w 185"/>
                  <a:gd name="T35" fmla="*/ 0 h 137"/>
                  <a:gd name="T36" fmla="*/ 178 w 185"/>
                  <a:gd name="T37" fmla="*/ 0 h 137"/>
                  <a:gd name="T38" fmla="*/ 178 w 185"/>
                  <a:gd name="T39" fmla="*/ 0 h 137"/>
                  <a:gd name="T40" fmla="*/ 181 w 185"/>
                  <a:gd name="T41" fmla="*/ 1 h 137"/>
                  <a:gd name="T42" fmla="*/ 182 w 185"/>
                  <a:gd name="T43" fmla="*/ 2 h 137"/>
                  <a:gd name="T44" fmla="*/ 183 w 185"/>
                  <a:gd name="T45" fmla="*/ 3 h 137"/>
                  <a:gd name="T46" fmla="*/ 185 w 185"/>
                  <a:gd name="T47" fmla="*/ 6 h 137"/>
                  <a:gd name="T48" fmla="*/ 185 w 185"/>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 h="137">
                    <a:moveTo>
                      <a:pt x="185" y="131"/>
                    </a:moveTo>
                    <a:lnTo>
                      <a:pt x="185" y="131"/>
                    </a:lnTo>
                    <a:lnTo>
                      <a:pt x="183" y="133"/>
                    </a:lnTo>
                    <a:lnTo>
                      <a:pt x="182" y="135"/>
                    </a:lnTo>
                    <a:lnTo>
                      <a:pt x="181" y="137"/>
                    </a:lnTo>
                    <a:lnTo>
                      <a:pt x="178" y="137"/>
                    </a:lnTo>
                    <a:lnTo>
                      <a:pt x="6" y="137"/>
                    </a:lnTo>
                    <a:lnTo>
                      <a:pt x="6" y="137"/>
                    </a:lnTo>
                    <a:lnTo>
                      <a:pt x="4" y="137"/>
                    </a:lnTo>
                    <a:lnTo>
                      <a:pt x="3" y="135"/>
                    </a:lnTo>
                    <a:lnTo>
                      <a:pt x="1" y="133"/>
                    </a:lnTo>
                    <a:lnTo>
                      <a:pt x="0" y="131"/>
                    </a:lnTo>
                    <a:lnTo>
                      <a:pt x="0" y="6"/>
                    </a:lnTo>
                    <a:lnTo>
                      <a:pt x="0" y="6"/>
                    </a:lnTo>
                    <a:lnTo>
                      <a:pt x="1" y="3"/>
                    </a:lnTo>
                    <a:lnTo>
                      <a:pt x="3" y="2"/>
                    </a:lnTo>
                    <a:lnTo>
                      <a:pt x="4" y="1"/>
                    </a:lnTo>
                    <a:lnTo>
                      <a:pt x="6" y="0"/>
                    </a:lnTo>
                    <a:lnTo>
                      <a:pt x="178" y="0"/>
                    </a:lnTo>
                    <a:lnTo>
                      <a:pt x="178" y="0"/>
                    </a:lnTo>
                    <a:lnTo>
                      <a:pt x="181" y="1"/>
                    </a:lnTo>
                    <a:lnTo>
                      <a:pt x="182" y="2"/>
                    </a:lnTo>
                    <a:lnTo>
                      <a:pt x="183" y="3"/>
                    </a:lnTo>
                    <a:lnTo>
                      <a:pt x="185" y="6"/>
                    </a:lnTo>
                    <a:lnTo>
                      <a:pt x="185" y="131"/>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4" name="Freeform 81">
                <a:extLst>
                  <a:ext uri="{FF2B5EF4-FFF2-40B4-BE49-F238E27FC236}">
                    <a16:creationId xmlns:a16="http://schemas.microsoft.com/office/drawing/2014/main" id="{2AC4A2DE-270B-4566-A90C-B3C1B5C23059}"/>
                  </a:ext>
                </a:extLst>
              </p:cNvPr>
              <p:cNvSpPr>
                <a:spLocks/>
              </p:cNvSpPr>
              <p:nvPr/>
            </p:nvSpPr>
            <p:spPr bwMode="auto">
              <a:xfrm>
                <a:off x="3717926" y="373063"/>
                <a:ext cx="88900" cy="73025"/>
              </a:xfrm>
              <a:custGeom>
                <a:avLst/>
                <a:gdLst>
                  <a:gd name="T0" fmla="*/ 168 w 168"/>
                  <a:gd name="T1" fmla="*/ 131 h 137"/>
                  <a:gd name="T2" fmla="*/ 168 w 168"/>
                  <a:gd name="T3" fmla="*/ 131 h 137"/>
                  <a:gd name="T4" fmla="*/ 168 w 168"/>
                  <a:gd name="T5" fmla="*/ 133 h 137"/>
                  <a:gd name="T6" fmla="*/ 167 w 168"/>
                  <a:gd name="T7" fmla="*/ 135 h 137"/>
                  <a:gd name="T8" fmla="*/ 165 w 168"/>
                  <a:gd name="T9" fmla="*/ 137 h 137"/>
                  <a:gd name="T10" fmla="*/ 164 w 168"/>
                  <a:gd name="T11" fmla="*/ 137 h 137"/>
                  <a:gd name="T12" fmla="*/ 4 w 168"/>
                  <a:gd name="T13" fmla="*/ 137 h 137"/>
                  <a:gd name="T14" fmla="*/ 4 w 168"/>
                  <a:gd name="T15" fmla="*/ 137 h 137"/>
                  <a:gd name="T16" fmla="*/ 3 w 168"/>
                  <a:gd name="T17" fmla="*/ 137 h 137"/>
                  <a:gd name="T18" fmla="*/ 1 w 168"/>
                  <a:gd name="T19" fmla="*/ 135 h 137"/>
                  <a:gd name="T20" fmla="*/ 0 w 168"/>
                  <a:gd name="T21" fmla="*/ 133 h 137"/>
                  <a:gd name="T22" fmla="*/ 0 w 168"/>
                  <a:gd name="T23" fmla="*/ 131 h 137"/>
                  <a:gd name="T24" fmla="*/ 0 w 168"/>
                  <a:gd name="T25" fmla="*/ 6 h 137"/>
                  <a:gd name="T26" fmla="*/ 0 w 168"/>
                  <a:gd name="T27" fmla="*/ 6 h 137"/>
                  <a:gd name="T28" fmla="*/ 0 w 168"/>
                  <a:gd name="T29" fmla="*/ 3 h 137"/>
                  <a:gd name="T30" fmla="*/ 1 w 168"/>
                  <a:gd name="T31" fmla="*/ 2 h 137"/>
                  <a:gd name="T32" fmla="*/ 3 w 168"/>
                  <a:gd name="T33" fmla="*/ 1 h 137"/>
                  <a:gd name="T34" fmla="*/ 4 w 168"/>
                  <a:gd name="T35" fmla="*/ 0 h 137"/>
                  <a:gd name="T36" fmla="*/ 164 w 168"/>
                  <a:gd name="T37" fmla="*/ 0 h 137"/>
                  <a:gd name="T38" fmla="*/ 164 w 168"/>
                  <a:gd name="T39" fmla="*/ 0 h 137"/>
                  <a:gd name="T40" fmla="*/ 165 w 168"/>
                  <a:gd name="T41" fmla="*/ 1 h 137"/>
                  <a:gd name="T42" fmla="*/ 167 w 168"/>
                  <a:gd name="T43" fmla="*/ 2 h 137"/>
                  <a:gd name="T44" fmla="*/ 168 w 168"/>
                  <a:gd name="T45" fmla="*/ 3 h 137"/>
                  <a:gd name="T46" fmla="*/ 168 w 168"/>
                  <a:gd name="T47" fmla="*/ 6 h 137"/>
                  <a:gd name="T48" fmla="*/ 168 w 168"/>
                  <a:gd name="T49"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8" h="137">
                    <a:moveTo>
                      <a:pt x="168" y="131"/>
                    </a:moveTo>
                    <a:lnTo>
                      <a:pt x="168" y="131"/>
                    </a:lnTo>
                    <a:lnTo>
                      <a:pt x="168" y="133"/>
                    </a:lnTo>
                    <a:lnTo>
                      <a:pt x="167" y="135"/>
                    </a:lnTo>
                    <a:lnTo>
                      <a:pt x="165" y="137"/>
                    </a:lnTo>
                    <a:lnTo>
                      <a:pt x="164" y="137"/>
                    </a:lnTo>
                    <a:lnTo>
                      <a:pt x="4" y="137"/>
                    </a:lnTo>
                    <a:lnTo>
                      <a:pt x="4" y="137"/>
                    </a:lnTo>
                    <a:lnTo>
                      <a:pt x="3" y="137"/>
                    </a:lnTo>
                    <a:lnTo>
                      <a:pt x="1" y="135"/>
                    </a:lnTo>
                    <a:lnTo>
                      <a:pt x="0" y="133"/>
                    </a:lnTo>
                    <a:lnTo>
                      <a:pt x="0" y="131"/>
                    </a:lnTo>
                    <a:lnTo>
                      <a:pt x="0" y="6"/>
                    </a:lnTo>
                    <a:lnTo>
                      <a:pt x="0" y="6"/>
                    </a:lnTo>
                    <a:lnTo>
                      <a:pt x="0" y="3"/>
                    </a:lnTo>
                    <a:lnTo>
                      <a:pt x="1" y="2"/>
                    </a:lnTo>
                    <a:lnTo>
                      <a:pt x="3" y="1"/>
                    </a:lnTo>
                    <a:lnTo>
                      <a:pt x="4" y="0"/>
                    </a:lnTo>
                    <a:lnTo>
                      <a:pt x="164" y="0"/>
                    </a:lnTo>
                    <a:lnTo>
                      <a:pt x="164" y="0"/>
                    </a:lnTo>
                    <a:lnTo>
                      <a:pt x="165" y="1"/>
                    </a:lnTo>
                    <a:lnTo>
                      <a:pt x="167" y="2"/>
                    </a:lnTo>
                    <a:lnTo>
                      <a:pt x="168" y="3"/>
                    </a:lnTo>
                    <a:lnTo>
                      <a:pt x="168" y="6"/>
                    </a:lnTo>
                    <a:lnTo>
                      <a:pt x="168" y="131"/>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5" name="Freeform 82">
                <a:extLst>
                  <a:ext uri="{FF2B5EF4-FFF2-40B4-BE49-F238E27FC236}">
                    <a16:creationId xmlns:a16="http://schemas.microsoft.com/office/drawing/2014/main" id="{CAF28DBC-9532-495C-9F1A-3D40CD35202B}"/>
                  </a:ext>
                </a:extLst>
              </p:cNvPr>
              <p:cNvSpPr>
                <a:spLocks/>
              </p:cNvSpPr>
              <p:nvPr/>
            </p:nvSpPr>
            <p:spPr bwMode="auto">
              <a:xfrm>
                <a:off x="3817938" y="373063"/>
                <a:ext cx="82550" cy="73025"/>
              </a:xfrm>
              <a:custGeom>
                <a:avLst/>
                <a:gdLst>
                  <a:gd name="T0" fmla="*/ 156 w 156"/>
                  <a:gd name="T1" fmla="*/ 131 h 137"/>
                  <a:gd name="T2" fmla="*/ 156 w 156"/>
                  <a:gd name="T3" fmla="*/ 131 h 137"/>
                  <a:gd name="T4" fmla="*/ 155 w 156"/>
                  <a:gd name="T5" fmla="*/ 133 h 137"/>
                  <a:gd name="T6" fmla="*/ 154 w 156"/>
                  <a:gd name="T7" fmla="*/ 135 h 137"/>
                  <a:gd name="T8" fmla="*/ 153 w 156"/>
                  <a:gd name="T9" fmla="*/ 137 h 137"/>
                  <a:gd name="T10" fmla="*/ 150 w 156"/>
                  <a:gd name="T11" fmla="*/ 137 h 137"/>
                  <a:gd name="T12" fmla="*/ 6 w 156"/>
                  <a:gd name="T13" fmla="*/ 137 h 137"/>
                  <a:gd name="T14" fmla="*/ 6 w 156"/>
                  <a:gd name="T15" fmla="*/ 137 h 137"/>
                  <a:gd name="T16" fmla="*/ 3 w 156"/>
                  <a:gd name="T17" fmla="*/ 137 h 137"/>
                  <a:gd name="T18" fmla="*/ 1 w 156"/>
                  <a:gd name="T19" fmla="*/ 135 h 137"/>
                  <a:gd name="T20" fmla="*/ 0 w 156"/>
                  <a:gd name="T21" fmla="*/ 133 h 137"/>
                  <a:gd name="T22" fmla="*/ 0 w 156"/>
                  <a:gd name="T23" fmla="*/ 131 h 137"/>
                  <a:gd name="T24" fmla="*/ 0 w 156"/>
                  <a:gd name="T25" fmla="*/ 6 h 137"/>
                  <a:gd name="T26" fmla="*/ 0 w 156"/>
                  <a:gd name="T27" fmla="*/ 6 h 137"/>
                  <a:gd name="T28" fmla="*/ 0 w 156"/>
                  <a:gd name="T29" fmla="*/ 3 h 137"/>
                  <a:gd name="T30" fmla="*/ 1 w 156"/>
                  <a:gd name="T31" fmla="*/ 2 h 137"/>
                  <a:gd name="T32" fmla="*/ 3 w 156"/>
                  <a:gd name="T33" fmla="*/ 1 h 137"/>
                  <a:gd name="T34" fmla="*/ 6 w 156"/>
                  <a:gd name="T35" fmla="*/ 0 h 137"/>
                  <a:gd name="T36" fmla="*/ 125 w 156"/>
                  <a:gd name="T37" fmla="*/ 0 h 137"/>
                  <a:gd name="T38" fmla="*/ 125 w 156"/>
                  <a:gd name="T39" fmla="*/ 0 h 137"/>
                  <a:gd name="T40" fmla="*/ 128 w 156"/>
                  <a:gd name="T41" fmla="*/ 1 h 137"/>
                  <a:gd name="T42" fmla="*/ 130 w 156"/>
                  <a:gd name="T43" fmla="*/ 2 h 137"/>
                  <a:gd name="T44" fmla="*/ 131 w 156"/>
                  <a:gd name="T45" fmla="*/ 6 h 137"/>
                  <a:gd name="T46" fmla="*/ 156 w 156"/>
                  <a:gd name="T47" fmla="*/ 13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6" h="137">
                    <a:moveTo>
                      <a:pt x="156" y="131"/>
                    </a:moveTo>
                    <a:lnTo>
                      <a:pt x="156" y="131"/>
                    </a:lnTo>
                    <a:lnTo>
                      <a:pt x="155" y="133"/>
                    </a:lnTo>
                    <a:lnTo>
                      <a:pt x="154" y="135"/>
                    </a:lnTo>
                    <a:lnTo>
                      <a:pt x="153" y="137"/>
                    </a:lnTo>
                    <a:lnTo>
                      <a:pt x="150" y="137"/>
                    </a:lnTo>
                    <a:lnTo>
                      <a:pt x="6" y="137"/>
                    </a:lnTo>
                    <a:lnTo>
                      <a:pt x="6" y="137"/>
                    </a:lnTo>
                    <a:lnTo>
                      <a:pt x="3" y="137"/>
                    </a:lnTo>
                    <a:lnTo>
                      <a:pt x="1" y="135"/>
                    </a:lnTo>
                    <a:lnTo>
                      <a:pt x="0" y="133"/>
                    </a:lnTo>
                    <a:lnTo>
                      <a:pt x="0" y="131"/>
                    </a:lnTo>
                    <a:lnTo>
                      <a:pt x="0" y="6"/>
                    </a:lnTo>
                    <a:lnTo>
                      <a:pt x="0" y="6"/>
                    </a:lnTo>
                    <a:lnTo>
                      <a:pt x="0" y="3"/>
                    </a:lnTo>
                    <a:lnTo>
                      <a:pt x="1" y="2"/>
                    </a:lnTo>
                    <a:lnTo>
                      <a:pt x="3" y="1"/>
                    </a:lnTo>
                    <a:lnTo>
                      <a:pt x="6" y="0"/>
                    </a:lnTo>
                    <a:lnTo>
                      <a:pt x="125" y="0"/>
                    </a:lnTo>
                    <a:lnTo>
                      <a:pt x="125" y="0"/>
                    </a:lnTo>
                    <a:lnTo>
                      <a:pt x="128" y="1"/>
                    </a:lnTo>
                    <a:lnTo>
                      <a:pt x="130" y="2"/>
                    </a:lnTo>
                    <a:lnTo>
                      <a:pt x="131" y="6"/>
                    </a:lnTo>
                    <a:lnTo>
                      <a:pt x="156" y="131"/>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6" name="Freeform 83">
                <a:extLst>
                  <a:ext uri="{FF2B5EF4-FFF2-40B4-BE49-F238E27FC236}">
                    <a16:creationId xmlns:a16="http://schemas.microsoft.com/office/drawing/2014/main" id="{241F2442-DCBB-4A6F-8701-ED5BD069EC53}"/>
                  </a:ext>
                </a:extLst>
              </p:cNvPr>
              <p:cNvSpPr>
                <a:spLocks/>
              </p:cNvSpPr>
              <p:nvPr/>
            </p:nvSpPr>
            <p:spPr bwMode="auto">
              <a:xfrm>
                <a:off x="3632201" y="369888"/>
                <a:ext cx="77788" cy="161925"/>
              </a:xfrm>
              <a:custGeom>
                <a:avLst/>
                <a:gdLst>
                  <a:gd name="T0" fmla="*/ 148 w 148"/>
                  <a:gd name="T1" fmla="*/ 287 h 305"/>
                  <a:gd name="T2" fmla="*/ 148 w 148"/>
                  <a:gd name="T3" fmla="*/ 287 h 305"/>
                  <a:gd name="T4" fmla="*/ 147 w 148"/>
                  <a:gd name="T5" fmla="*/ 293 h 305"/>
                  <a:gd name="T6" fmla="*/ 145 w 148"/>
                  <a:gd name="T7" fmla="*/ 299 h 305"/>
                  <a:gd name="T8" fmla="*/ 140 w 148"/>
                  <a:gd name="T9" fmla="*/ 303 h 305"/>
                  <a:gd name="T10" fmla="*/ 138 w 148"/>
                  <a:gd name="T11" fmla="*/ 304 h 305"/>
                  <a:gd name="T12" fmla="*/ 135 w 148"/>
                  <a:gd name="T13" fmla="*/ 305 h 305"/>
                  <a:gd name="T14" fmla="*/ 13 w 148"/>
                  <a:gd name="T15" fmla="*/ 305 h 305"/>
                  <a:gd name="T16" fmla="*/ 13 w 148"/>
                  <a:gd name="T17" fmla="*/ 305 h 305"/>
                  <a:gd name="T18" fmla="*/ 10 w 148"/>
                  <a:gd name="T19" fmla="*/ 304 h 305"/>
                  <a:gd name="T20" fmla="*/ 7 w 148"/>
                  <a:gd name="T21" fmla="*/ 303 h 305"/>
                  <a:gd name="T22" fmla="*/ 4 w 148"/>
                  <a:gd name="T23" fmla="*/ 299 h 305"/>
                  <a:gd name="T24" fmla="*/ 1 w 148"/>
                  <a:gd name="T25" fmla="*/ 293 h 305"/>
                  <a:gd name="T26" fmla="*/ 0 w 148"/>
                  <a:gd name="T27" fmla="*/ 287 h 305"/>
                  <a:gd name="T28" fmla="*/ 0 w 148"/>
                  <a:gd name="T29" fmla="*/ 18 h 305"/>
                  <a:gd name="T30" fmla="*/ 0 w 148"/>
                  <a:gd name="T31" fmla="*/ 18 h 305"/>
                  <a:gd name="T32" fmla="*/ 1 w 148"/>
                  <a:gd name="T33" fmla="*/ 10 h 305"/>
                  <a:gd name="T34" fmla="*/ 4 w 148"/>
                  <a:gd name="T35" fmla="*/ 4 h 305"/>
                  <a:gd name="T36" fmla="*/ 7 w 148"/>
                  <a:gd name="T37" fmla="*/ 1 h 305"/>
                  <a:gd name="T38" fmla="*/ 10 w 148"/>
                  <a:gd name="T39" fmla="*/ 0 h 305"/>
                  <a:gd name="T40" fmla="*/ 13 w 148"/>
                  <a:gd name="T41" fmla="*/ 0 h 305"/>
                  <a:gd name="T42" fmla="*/ 135 w 148"/>
                  <a:gd name="T43" fmla="*/ 0 h 305"/>
                  <a:gd name="T44" fmla="*/ 135 w 148"/>
                  <a:gd name="T45" fmla="*/ 0 h 305"/>
                  <a:gd name="T46" fmla="*/ 138 w 148"/>
                  <a:gd name="T47" fmla="*/ 0 h 305"/>
                  <a:gd name="T48" fmla="*/ 140 w 148"/>
                  <a:gd name="T49" fmla="*/ 1 h 305"/>
                  <a:gd name="T50" fmla="*/ 145 w 148"/>
                  <a:gd name="T51" fmla="*/ 4 h 305"/>
                  <a:gd name="T52" fmla="*/ 147 w 148"/>
                  <a:gd name="T53" fmla="*/ 10 h 305"/>
                  <a:gd name="T54" fmla="*/ 148 w 148"/>
                  <a:gd name="T55" fmla="*/ 18 h 305"/>
                  <a:gd name="T56" fmla="*/ 148 w 148"/>
                  <a:gd name="T57" fmla="*/ 287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305">
                    <a:moveTo>
                      <a:pt x="148" y="287"/>
                    </a:moveTo>
                    <a:lnTo>
                      <a:pt x="148" y="287"/>
                    </a:lnTo>
                    <a:lnTo>
                      <a:pt x="147" y="293"/>
                    </a:lnTo>
                    <a:lnTo>
                      <a:pt x="145" y="299"/>
                    </a:lnTo>
                    <a:lnTo>
                      <a:pt x="140" y="303"/>
                    </a:lnTo>
                    <a:lnTo>
                      <a:pt x="138" y="304"/>
                    </a:lnTo>
                    <a:lnTo>
                      <a:pt x="135" y="305"/>
                    </a:lnTo>
                    <a:lnTo>
                      <a:pt x="13" y="305"/>
                    </a:lnTo>
                    <a:lnTo>
                      <a:pt x="13" y="305"/>
                    </a:lnTo>
                    <a:lnTo>
                      <a:pt x="10" y="304"/>
                    </a:lnTo>
                    <a:lnTo>
                      <a:pt x="7" y="303"/>
                    </a:lnTo>
                    <a:lnTo>
                      <a:pt x="4" y="299"/>
                    </a:lnTo>
                    <a:lnTo>
                      <a:pt x="1" y="293"/>
                    </a:lnTo>
                    <a:lnTo>
                      <a:pt x="0" y="287"/>
                    </a:lnTo>
                    <a:lnTo>
                      <a:pt x="0" y="18"/>
                    </a:lnTo>
                    <a:lnTo>
                      <a:pt x="0" y="18"/>
                    </a:lnTo>
                    <a:lnTo>
                      <a:pt x="1" y="10"/>
                    </a:lnTo>
                    <a:lnTo>
                      <a:pt x="4" y="4"/>
                    </a:lnTo>
                    <a:lnTo>
                      <a:pt x="7" y="1"/>
                    </a:lnTo>
                    <a:lnTo>
                      <a:pt x="10" y="0"/>
                    </a:lnTo>
                    <a:lnTo>
                      <a:pt x="13" y="0"/>
                    </a:lnTo>
                    <a:lnTo>
                      <a:pt x="135" y="0"/>
                    </a:lnTo>
                    <a:lnTo>
                      <a:pt x="135" y="0"/>
                    </a:lnTo>
                    <a:lnTo>
                      <a:pt x="138" y="0"/>
                    </a:lnTo>
                    <a:lnTo>
                      <a:pt x="140" y="1"/>
                    </a:lnTo>
                    <a:lnTo>
                      <a:pt x="145" y="4"/>
                    </a:lnTo>
                    <a:lnTo>
                      <a:pt x="147" y="10"/>
                    </a:lnTo>
                    <a:lnTo>
                      <a:pt x="148" y="18"/>
                    </a:lnTo>
                    <a:lnTo>
                      <a:pt x="148" y="28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7" name="Freeform 84">
                <a:extLst>
                  <a:ext uri="{FF2B5EF4-FFF2-40B4-BE49-F238E27FC236}">
                    <a16:creationId xmlns:a16="http://schemas.microsoft.com/office/drawing/2014/main" id="{C760977F-FABF-4FC1-A130-0BDEFE9C24C8}"/>
                  </a:ext>
                </a:extLst>
              </p:cNvPr>
              <p:cNvSpPr>
                <a:spLocks/>
              </p:cNvSpPr>
              <p:nvPr/>
            </p:nvSpPr>
            <p:spPr bwMode="auto">
              <a:xfrm>
                <a:off x="3635376" y="373063"/>
                <a:ext cx="71438" cy="155575"/>
              </a:xfrm>
              <a:custGeom>
                <a:avLst/>
                <a:gdLst>
                  <a:gd name="T0" fmla="*/ 134 w 134"/>
                  <a:gd name="T1" fmla="*/ 278 h 295"/>
                  <a:gd name="T2" fmla="*/ 134 w 134"/>
                  <a:gd name="T3" fmla="*/ 278 h 295"/>
                  <a:gd name="T4" fmla="*/ 133 w 134"/>
                  <a:gd name="T5" fmla="*/ 284 h 295"/>
                  <a:gd name="T6" fmla="*/ 131 w 134"/>
                  <a:gd name="T7" fmla="*/ 290 h 295"/>
                  <a:gd name="T8" fmla="*/ 127 w 134"/>
                  <a:gd name="T9" fmla="*/ 294 h 295"/>
                  <a:gd name="T10" fmla="*/ 122 w 134"/>
                  <a:gd name="T11" fmla="*/ 295 h 295"/>
                  <a:gd name="T12" fmla="*/ 12 w 134"/>
                  <a:gd name="T13" fmla="*/ 295 h 295"/>
                  <a:gd name="T14" fmla="*/ 12 w 134"/>
                  <a:gd name="T15" fmla="*/ 295 h 295"/>
                  <a:gd name="T16" fmla="*/ 8 w 134"/>
                  <a:gd name="T17" fmla="*/ 294 h 295"/>
                  <a:gd name="T18" fmla="*/ 4 w 134"/>
                  <a:gd name="T19" fmla="*/ 290 h 295"/>
                  <a:gd name="T20" fmla="*/ 2 w 134"/>
                  <a:gd name="T21" fmla="*/ 284 h 295"/>
                  <a:gd name="T22" fmla="*/ 0 w 134"/>
                  <a:gd name="T23" fmla="*/ 278 h 295"/>
                  <a:gd name="T24" fmla="*/ 0 w 134"/>
                  <a:gd name="T25" fmla="*/ 19 h 295"/>
                  <a:gd name="T26" fmla="*/ 0 w 134"/>
                  <a:gd name="T27" fmla="*/ 19 h 295"/>
                  <a:gd name="T28" fmla="*/ 2 w 134"/>
                  <a:gd name="T29" fmla="*/ 11 h 295"/>
                  <a:gd name="T30" fmla="*/ 4 w 134"/>
                  <a:gd name="T31" fmla="*/ 5 h 295"/>
                  <a:gd name="T32" fmla="*/ 8 w 134"/>
                  <a:gd name="T33" fmla="*/ 2 h 295"/>
                  <a:gd name="T34" fmla="*/ 12 w 134"/>
                  <a:gd name="T35" fmla="*/ 0 h 295"/>
                  <a:gd name="T36" fmla="*/ 122 w 134"/>
                  <a:gd name="T37" fmla="*/ 0 h 295"/>
                  <a:gd name="T38" fmla="*/ 122 w 134"/>
                  <a:gd name="T39" fmla="*/ 0 h 295"/>
                  <a:gd name="T40" fmla="*/ 127 w 134"/>
                  <a:gd name="T41" fmla="*/ 2 h 295"/>
                  <a:gd name="T42" fmla="*/ 131 w 134"/>
                  <a:gd name="T43" fmla="*/ 5 h 295"/>
                  <a:gd name="T44" fmla="*/ 133 w 134"/>
                  <a:gd name="T45" fmla="*/ 11 h 295"/>
                  <a:gd name="T46" fmla="*/ 134 w 134"/>
                  <a:gd name="T47" fmla="*/ 19 h 295"/>
                  <a:gd name="T48" fmla="*/ 134 w 134"/>
                  <a:gd name="T49" fmla="*/ 278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4" h="295">
                    <a:moveTo>
                      <a:pt x="134" y="278"/>
                    </a:moveTo>
                    <a:lnTo>
                      <a:pt x="134" y="278"/>
                    </a:lnTo>
                    <a:lnTo>
                      <a:pt x="133" y="284"/>
                    </a:lnTo>
                    <a:lnTo>
                      <a:pt x="131" y="290"/>
                    </a:lnTo>
                    <a:lnTo>
                      <a:pt x="127" y="294"/>
                    </a:lnTo>
                    <a:lnTo>
                      <a:pt x="122" y="295"/>
                    </a:lnTo>
                    <a:lnTo>
                      <a:pt x="12" y="295"/>
                    </a:lnTo>
                    <a:lnTo>
                      <a:pt x="12" y="295"/>
                    </a:lnTo>
                    <a:lnTo>
                      <a:pt x="8" y="294"/>
                    </a:lnTo>
                    <a:lnTo>
                      <a:pt x="4" y="290"/>
                    </a:lnTo>
                    <a:lnTo>
                      <a:pt x="2" y="284"/>
                    </a:lnTo>
                    <a:lnTo>
                      <a:pt x="0" y="278"/>
                    </a:lnTo>
                    <a:lnTo>
                      <a:pt x="0" y="19"/>
                    </a:lnTo>
                    <a:lnTo>
                      <a:pt x="0" y="19"/>
                    </a:lnTo>
                    <a:lnTo>
                      <a:pt x="2" y="11"/>
                    </a:lnTo>
                    <a:lnTo>
                      <a:pt x="4" y="5"/>
                    </a:lnTo>
                    <a:lnTo>
                      <a:pt x="8" y="2"/>
                    </a:lnTo>
                    <a:lnTo>
                      <a:pt x="12" y="0"/>
                    </a:lnTo>
                    <a:lnTo>
                      <a:pt x="122" y="0"/>
                    </a:lnTo>
                    <a:lnTo>
                      <a:pt x="122" y="0"/>
                    </a:lnTo>
                    <a:lnTo>
                      <a:pt x="127" y="2"/>
                    </a:lnTo>
                    <a:lnTo>
                      <a:pt x="131" y="5"/>
                    </a:lnTo>
                    <a:lnTo>
                      <a:pt x="133" y="11"/>
                    </a:lnTo>
                    <a:lnTo>
                      <a:pt x="134" y="19"/>
                    </a:lnTo>
                    <a:lnTo>
                      <a:pt x="134" y="27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8" name="Freeform 85">
                <a:extLst>
                  <a:ext uri="{FF2B5EF4-FFF2-40B4-BE49-F238E27FC236}">
                    <a16:creationId xmlns:a16="http://schemas.microsoft.com/office/drawing/2014/main" id="{BDABAFEE-06DB-4956-998B-C32576218E63}"/>
                  </a:ext>
                </a:extLst>
              </p:cNvPr>
              <p:cNvSpPr>
                <a:spLocks/>
              </p:cNvSpPr>
              <p:nvPr/>
            </p:nvSpPr>
            <p:spPr bwMode="auto">
              <a:xfrm>
                <a:off x="3641726" y="385763"/>
                <a:ext cx="26988" cy="119062"/>
              </a:xfrm>
              <a:custGeom>
                <a:avLst/>
                <a:gdLst>
                  <a:gd name="T0" fmla="*/ 52 w 52"/>
                  <a:gd name="T1" fmla="*/ 217 h 224"/>
                  <a:gd name="T2" fmla="*/ 52 w 52"/>
                  <a:gd name="T3" fmla="*/ 217 h 224"/>
                  <a:gd name="T4" fmla="*/ 51 w 52"/>
                  <a:gd name="T5" fmla="*/ 219 h 224"/>
                  <a:gd name="T6" fmla="*/ 50 w 52"/>
                  <a:gd name="T7" fmla="*/ 222 h 224"/>
                  <a:gd name="T8" fmla="*/ 47 w 52"/>
                  <a:gd name="T9" fmla="*/ 223 h 224"/>
                  <a:gd name="T10" fmla="*/ 45 w 52"/>
                  <a:gd name="T11" fmla="*/ 224 h 224"/>
                  <a:gd name="T12" fmla="*/ 7 w 52"/>
                  <a:gd name="T13" fmla="*/ 224 h 224"/>
                  <a:gd name="T14" fmla="*/ 7 w 52"/>
                  <a:gd name="T15" fmla="*/ 224 h 224"/>
                  <a:gd name="T16" fmla="*/ 4 w 52"/>
                  <a:gd name="T17" fmla="*/ 223 h 224"/>
                  <a:gd name="T18" fmla="*/ 1 w 52"/>
                  <a:gd name="T19" fmla="*/ 222 h 224"/>
                  <a:gd name="T20" fmla="*/ 0 w 52"/>
                  <a:gd name="T21" fmla="*/ 219 h 224"/>
                  <a:gd name="T22" fmla="*/ 0 w 52"/>
                  <a:gd name="T23" fmla="*/ 217 h 224"/>
                  <a:gd name="T24" fmla="*/ 0 w 52"/>
                  <a:gd name="T25" fmla="*/ 6 h 224"/>
                  <a:gd name="T26" fmla="*/ 0 w 52"/>
                  <a:gd name="T27" fmla="*/ 6 h 224"/>
                  <a:gd name="T28" fmla="*/ 0 w 52"/>
                  <a:gd name="T29" fmla="*/ 3 h 224"/>
                  <a:gd name="T30" fmla="*/ 1 w 52"/>
                  <a:gd name="T31" fmla="*/ 1 h 224"/>
                  <a:gd name="T32" fmla="*/ 4 w 52"/>
                  <a:gd name="T33" fmla="*/ 0 h 224"/>
                  <a:gd name="T34" fmla="*/ 7 w 52"/>
                  <a:gd name="T35" fmla="*/ 0 h 224"/>
                  <a:gd name="T36" fmla="*/ 45 w 52"/>
                  <a:gd name="T37" fmla="*/ 0 h 224"/>
                  <a:gd name="T38" fmla="*/ 45 w 52"/>
                  <a:gd name="T39" fmla="*/ 0 h 224"/>
                  <a:gd name="T40" fmla="*/ 47 w 52"/>
                  <a:gd name="T41" fmla="*/ 0 h 224"/>
                  <a:gd name="T42" fmla="*/ 50 w 52"/>
                  <a:gd name="T43" fmla="*/ 1 h 224"/>
                  <a:gd name="T44" fmla="*/ 51 w 52"/>
                  <a:gd name="T45" fmla="*/ 3 h 224"/>
                  <a:gd name="T46" fmla="*/ 52 w 52"/>
                  <a:gd name="T47" fmla="*/ 6 h 224"/>
                  <a:gd name="T48" fmla="*/ 52 w 52"/>
                  <a:gd name="T49" fmla="*/ 2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224">
                    <a:moveTo>
                      <a:pt x="52" y="217"/>
                    </a:moveTo>
                    <a:lnTo>
                      <a:pt x="52" y="217"/>
                    </a:lnTo>
                    <a:lnTo>
                      <a:pt x="51" y="219"/>
                    </a:lnTo>
                    <a:lnTo>
                      <a:pt x="50" y="222"/>
                    </a:lnTo>
                    <a:lnTo>
                      <a:pt x="47" y="223"/>
                    </a:lnTo>
                    <a:lnTo>
                      <a:pt x="45" y="224"/>
                    </a:lnTo>
                    <a:lnTo>
                      <a:pt x="7" y="224"/>
                    </a:lnTo>
                    <a:lnTo>
                      <a:pt x="7" y="224"/>
                    </a:lnTo>
                    <a:lnTo>
                      <a:pt x="4" y="223"/>
                    </a:lnTo>
                    <a:lnTo>
                      <a:pt x="1" y="222"/>
                    </a:lnTo>
                    <a:lnTo>
                      <a:pt x="0" y="219"/>
                    </a:lnTo>
                    <a:lnTo>
                      <a:pt x="0" y="217"/>
                    </a:lnTo>
                    <a:lnTo>
                      <a:pt x="0" y="6"/>
                    </a:lnTo>
                    <a:lnTo>
                      <a:pt x="0" y="6"/>
                    </a:lnTo>
                    <a:lnTo>
                      <a:pt x="0" y="3"/>
                    </a:lnTo>
                    <a:lnTo>
                      <a:pt x="1" y="1"/>
                    </a:lnTo>
                    <a:lnTo>
                      <a:pt x="4" y="0"/>
                    </a:lnTo>
                    <a:lnTo>
                      <a:pt x="7" y="0"/>
                    </a:lnTo>
                    <a:lnTo>
                      <a:pt x="45" y="0"/>
                    </a:lnTo>
                    <a:lnTo>
                      <a:pt x="45" y="0"/>
                    </a:lnTo>
                    <a:lnTo>
                      <a:pt x="47" y="0"/>
                    </a:lnTo>
                    <a:lnTo>
                      <a:pt x="50" y="1"/>
                    </a:lnTo>
                    <a:lnTo>
                      <a:pt x="51" y="3"/>
                    </a:lnTo>
                    <a:lnTo>
                      <a:pt x="52" y="6"/>
                    </a:lnTo>
                    <a:lnTo>
                      <a:pt x="52" y="21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49" name="Freeform 86">
                <a:extLst>
                  <a:ext uri="{FF2B5EF4-FFF2-40B4-BE49-F238E27FC236}">
                    <a16:creationId xmlns:a16="http://schemas.microsoft.com/office/drawing/2014/main" id="{654B495A-2BBF-4E93-943A-D56DD80F8E09}"/>
                  </a:ext>
                </a:extLst>
              </p:cNvPr>
              <p:cNvSpPr>
                <a:spLocks/>
              </p:cNvSpPr>
              <p:nvPr/>
            </p:nvSpPr>
            <p:spPr bwMode="auto">
              <a:xfrm>
                <a:off x="3671888" y="385763"/>
                <a:ext cx="28575" cy="119062"/>
              </a:xfrm>
              <a:custGeom>
                <a:avLst/>
                <a:gdLst>
                  <a:gd name="T0" fmla="*/ 52 w 52"/>
                  <a:gd name="T1" fmla="*/ 217 h 224"/>
                  <a:gd name="T2" fmla="*/ 52 w 52"/>
                  <a:gd name="T3" fmla="*/ 217 h 224"/>
                  <a:gd name="T4" fmla="*/ 52 w 52"/>
                  <a:gd name="T5" fmla="*/ 219 h 224"/>
                  <a:gd name="T6" fmla="*/ 50 w 52"/>
                  <a:gd name="T7" fmla="*/ 222 h 224"/>
                  <a:gd name="T8" fmla="*/ 48 w 52"/>
                  <a:gd name="T9" fmla="*/ 223 h 224"/>
                  <a:gd name="T10" fmla="*/ 45 w 52"/>
                  <a:gd name="T11" fmla="*/ 224 h 224"/>
                  <a:gd name="T12" fmla="*/ 8 w 52"/>
                  <a:gd name="T13" fmla="*/ 224 h 224"/>
                  <a:gd name="T14" fmla="*/ 8 w 52"/>
                  <a:gd name="T15" fmla="*/ 224 h 224"/>
                  <a:gd name="T16" fmla="*/ 5 w 52"/>
                  <a:gd name="T17" fmla="*/ 223 h 224"/>
                  <a:gd name="T18" fmla="*/ 3 w 52"/>
                  <a:gd name="T19" fmla="*/ 222 h 224"/>
                  <a:gd name="T20" fmla="*/ 0 w 52"/>
                  <a:gd name="T21" fmla="*/ 219 h 224"/>
                  <a:gd name="T22" fmla="*/ 0 w 52"/>
                  <a:gd name="T23" fmla="*/ 217 h 224"/>
                  <a:gd name="T24" fmla="*/ 0 w 52"/>
                  <a:gd name="T25" fmla="*/ 6 h 224"/>
                  <a:gd name="T26" fmla="*/ 0 w 52"/>
                  <a:gd name="T27" fmla="*/ 6 h 224"/>
                  <a:gd name="T28" fmla="*/ 0 w 52"/>
                  <a:gd name="T29" fmla="*/ 3 h 224"/>
                  <a:gd name="T30" fmla="*/ 3 w 52"/>
                  <a:gd name="T31" fmla="*/ 1 h 224"/>
                  <a:gd name="T32" fmla="*/ 5 w 52"/>
                  <a:gd name="T33" fmla="*/ 0 h 224"/>
                  <a:gd name="T34" fmla="*/ 8 w 52"/>
                  <a:gd name="T35" fmla="*/ 0 h 224"/>
                  <a:gd name="T36" fmla="*/ 45 w 52"/>
                  <a:gd name="T37" fmla="*/ 0 h 224"/>
                  <a:gd name="T38" fmla="*/ 45 w 52"/>
                  <a:gd name="T39" fmla="*/ 0 h 224"/>
                  <a:gd name="T40" fmla="*/ 48 w 52"/>
                  <a:gd name="T41" fmla="*/ 0 h 224"/>
                  <a:gd name="T42" fmla="*/ 50 w 52"/>
                  <a:gd name="T43" fmla="*/ 1 h 224"/>
                  <a:gd name="T44" fmla="*/ 52 w 52"/>
                  <a:gd name="T45" fmla="*/ 3 h 224"/>
                  <a:gd name="T46" fmla="*/ 52 w 52"/>
                  <a:gd name="T47" fmla="*/ 6 h 224"/>
                  <a:gd name="T48" fmla="*/ 52 w 52"/>
                  <a:gd name="T49" fmla="*/ 217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 h="224">
                    <a:moveTo>
                      <a:pt x="52" y="217"/>
                    </a:moveTo>
                    <a:lnTo>
                      <a:pt x="52" y="217"/>
                    </a:lnTo>
                    <a:lnTo>
                      <a:pt x="52" y="219"/>
                    </a:lnTo>
                    <a:lnTo>
                      <a:pt x="50" y="222"/>
                    </a:lnTo>
                    <a:lnTo>
                      <a:pt x="48" y="223"/>
                    </a:lnTo>
                    <a:lnTo>
                      <a:pt x="45" y="224"/>
                    </a:lnTo>
                    <a:lnTo>
                      <a:pt x="8" y="224"/>
                    </a:lnTo>
                    <a:lnTo>
                      <a:pt x="8" y="224"/>
                    </a:lnTo>
                    <a:lnTo>
                      <a:pt x="5" y="223"/>
                    </a:lnTo>
                    <a:lnTo>
                      <a:pt x="3" y="222"/>
                    </a:lnTo>
                    <a:lnTo>
                      <a:pt x="0" y="219"/>
                    </a:lnTo>
                    <a:lnTo>
                      <a:pt x="0" y="217"/>
                    </a:lnTo>
                    <a:lnTo>
                      <a:pt x="0" y="6"/>
                    </a:lnTo>
                    <a:lnTo>
                      <a:pt x="0" y="6"/>
                    </a:lnTo>
                    <a:lnTo>
                      <a:pt x="0" y="3"/>
                    </a:lnTo>
                    <a:lnTo>
                      <a:pt x="3" y="1"/>
                    </a:lnTo>
                    <a:lnTo>
                      <a:pt x="5" y="0"/>
                    </a:lnTo>
                    <a:lnTo>
                      <a:pt x="8" y="0"/>
                    </a:lnTo>
                    <a:lnTo>
                      <a:pt x="45" y="0"/>
                    </a:lnTo>
                    <a:lnTo>
                      <a:pt x="45" y="0"/>
                    </a:lnTo>
                    <a:lnTo>
                      <a:pt x="48" y="0"/>
                    </a:lnTo>
                    <a:lnTo>
                      <a:pt x="50" y="1"/>
                    </a:lnTo>
                    <a:lnTo>
                      <a:pt x="52" y="3"/>
                    </a:lnTo>
                    <a:lnTo>
                      <a:pt x="52" y="6"/>
                    </a:lnTo>
                    <a:lnTo>
                      <a:pt x="52" y="21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050" name="Group 2049">
            <a:extLst>
              <a:ext uri="{FF2B5EF4-FFF2-40B4-BE49-F238E27FC236}">
                <a16:creationId xmlns:a16="http://schemas.microsoft.com/office/drawing/2014/main" id="{EA6CC194-F0BF-48F1-8152-6253444A849F}"/>
              </a:ext>
            </a:extLst>
          </p:cNvPr>
          <p:cNvGrpSpPr/>
          <p:nvPr/>
        </p:nvGrpSpPr>
        <p:grpSpPr>
          <a:xfrm>
            <a:off x="4611331" y="2430926"/>
            <a:ext cx="612000" cy="612000"/>
            <a:chOff x="2778967" y="3032119"/>
            <a:chExt cx="612000" cy="612000"/>
          </a:xfrm>
        </p:grpSpPr>
        <p:sp>
          <p:nvSpPr>
            <p:cNvPr id="2051" name="Oval 2050">
              <a:extLst>
                <a:ext uri="{FF2B5EF4-FFF2-40B4-BE49-F238E27FC236}">
                  <a16:creationId xmlns:a16="http://schemas.microsoft.com/office/drawing/2014/main" id="{8BCB4BBB-6498-49F8-B975-6D63C3FABE69}"/>
                </a:ext>
              </a:extLst>
            </p:cNvPr>
            <p:cNvSpPr/>
            <p:nvPr/>
          </p:nvSpPr>
          <p:spPr bwMode="ltGray">
            <a:xfrm>
              <a:off x="2778967" y="3032119"/>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52" name="Freeform 91">
              <a:extLst>
                <a:ext uri="{FF2B5EF4-FFF2-40B4-BE49-F238E27FC236}">
                  <a16:creationId xmlns:a16="http://schemas.microsoft.com/office/drawing/2014/main" id="{D7ED44C3-9260-4488-8B69-1F7335462977}"/>
                </a:ext>
              </a:extLst>
            </p:cNvPr>
            <p:cNvSpPr>
              <a:spLocks noEditPoints="1"/>
            </p:cNvSpPr>
            <p:nvPr/>
          </p:nvSpPr>
          <p:spPr bwMode="auto">
            <a:xfrm>
              <a:off x="2930669" y="3123848"/>
              <a:ext cx="292100" cy="461962"/>
            </a:xfrm>
            <a:custGeom>
              <a:avLst/>
              <a:gdLst>
                <a:gd name="T0" fmla="*/ 154 w 552"/>
                <a:gd name="T1" fmla="*/ 357 h 873"/>
                <a:gd name="T2" fmla="*/ 163 w 552"/>
                <a:gd name="T3" fmla="*/ 334 h 873"/>
                <a:gd name="T4" fmla="*/ 235 w 552"/>
                <a:gd name="T5" fmla="*/ 175 h 873"/>
                <a:gd name="T6" fmla="*/ 208 w 552"/>
                <a:gd name="T7" fmla="*/ 120 h 873"/>
                <a:gd name="T8" fmla="*/ 257 w 552"/>
                <a:gd name="T9" fmla="*/ 120 h 873"/>
                <a:gd name="T10" fmla="*/ 124 w 552"/>
                <a:gd name="T11" fmla="*/ 67 h 873"/>
                <a:gd name="T12" fmla="*/ 134 w 552"/>
                <a:gd name="T13" fmla="*/ 149 h 873"/>
                <a:gd name="T14" fmla="*/ 110 w 552"/>
                <a:gd name="T15" fmla="*/ 149 h 873"/>
                <a:gd name="T16" fmla="*/ 91 w 552"/>
                <a:gd name="T17" fmla="*/ 127 h 873"/>
                <a:gd name="T18" fmla="*/ 77 w 552"/>
                <a:gd name="T19" fmla="*/ 99 h 873"/>
                <a:gd name="T20" fmla="*/ 70 w 552"/>
                <a:gd name="T21" fmla="*/ 66 h 873"/>
                <a:gd name="T22" fmla="*/ 70 w 552"/>
                <a:gd name="T23" fmla="*/ 24 h 873"/>
                <a:gd name="T24" fmla="*/ 118 w 552"/>
                <a:gd name="T25" fmla="*/ 24 h 873"/>
                <a:gd name="T26" fmla="*/ 257 w 552"/>
                <a:gd name="T27" fmla="*/ 0 h 873"/>
                <a:gd name="T28" fmla="*/ 322 w 552"/>
                <a:gd name="T29" fmla="*/ 24 h 873"/>
                <a:gd name="T30" fmla="*/ 471 w 552"/>
                <a:gd name="T31" fmla="*/ 24 h 873"/>
                <a:gd name="T32" fmla="*/ 512 w 552"/>
                <a:gd name="T33" fmla="*/ 24 h 873"/>
                <a:gd name="T34" fmla="*/ 512 w 552"/>
                <a:gd name="T35" fmla="*/ 66 h 873"/>
                <a:gd name="T36" fmla="*/ 505 w 552"/>
                <a:gd name="T37" fmla="*/ 99 h 873"/>
                <a:gd name="T38" fmla="*/ 490 w 552"/>
                <a:gd name="T39" fmla="*/ 127 h 873"/>
                <a:gd name="T40" fmla="*/ 471 w 552"/>
                <a:gd name="T41" fmla="*/ 149 h 873"/>
                <a:gd name="T42" fmla="*/ 447 w 552"/>
                <a:gd name="T43" fmla="*/ 149 h 873"/>
                <a:gd name="T44" fmla="*/ 322 w 552"/>
                <a:gd name="T45" fmla="*/ 67 h 873"/>
                <a:gd name="T46" fmla="*/ 346 w 552"/>
                <a:gd name="T47" fmla="*/ 120 h 873"/>
                <a:gd name="T48" fmla="*/ 374 w 552"/>
                <a:gd name="T49" fmla="*/ 175 h 873"/>
                <a:gd name="T50" fmla="*/ 346 w 552"/>
                <a:gd name="T51" fmla="*/ 256 h 873"/>
                <a:gd name="T52" fmla="*/ 431 w 552"/>
                <a:gd name="T53" fmla="*/ 343 h 873"/>
                <a:gd name="T54" fmla="*/ 431 w 552"/>
                <a:gd name="T55" fmla="*/ 615 h 873"/>
                <a:gd name="T56" fmla="*/ 364 w 552"/>
                <a:gd name="T57" fmla="*/ 370 h 873"/>
                <a:gd name="T58" fmla="*/ 282 w 552"/>
                <a:gd name="T59" fmla="*/ 307 h 873"/>
                <a:gd name="T60" fmla="*/ 221 w 552"/>
                <a:gd name="T61" fmla="*/ 615 h 873"/>
                <a:gd name="T62" fmla="*/ 154 w 552"/>
                <a:gd name="T63" fmla="*/ 615 h 873"/>
                <a:gd name="T64" fmla="*/ 552 w 552"/>
                <a:gd name="T65" fmla="*/ 702 h 873"/>
                <a:gd name="T66" fmla="*/ 429 w 552"/>
                <a:gd name="T67" fmla="*/ 751 h 873"/>
                <a:gd name="T68" fmla="*/ 429 w 552"/>
                <a:gd name="T69" fmla="*/ 702 h 873"/>
                <a:gd name="T70" fmla="*/ 0 w 552"/>
                <a:gd name="T71" fmla="*/ 566 h 873"/>
                <a:gd name="T72" fmla="*/ 124 w 552"/>
                <a:gd name="T73" fmla="*/ 516 h 873"/>
                <a:gd name="T74" fmla="*/ 0 w 552"/>
                <a:gd name="T75" fmla="*/ 516 h 873"/>
                <a:gd name="T76" fmla="*/ 293 w 552"/>
                <a:gd name="T77" fmla="*/ 363 h 873"/>
                <a:gd name="T78" fmla="*/ 274 w 552"/>
                <a:gd name="T79" fmla="*/ 367 h 873"/>
                <a:gd name="T80" fmla="*/ 258 w 552"/>
                <a:gd name="T81" fmla="*/ 377 h 873"/>
                <a:gd name="T82" fmla="*/ 247 w 552"/>
                <a:gd name="T83" fmla="*/ 393 h 873"/>
                <a:gd name="T84" fmla="*/ 244 w 552"/>
                <a:gd name="T85" fmla="*/ 412 h 873"/>
                <a:gd name="T86" fmla="*/ 244 w 552"/>
                <a:gd name="T87" fmla="*/ 824 h 873"/>
                <a:gd name="T88" fmla="*/ 247 w 552"/>
                <a:gd name="T89" fmla="*/ 843 h 873"/>
                <a:gd name="T90" fmla="*/ 258 w 552"/>
                <a:gd name="T91" fmla="*/ 859 h 873"/>
                <a:gd name="T92" fmla="*/ 274 w 552"/>
                <a:gd name="T93" fmla="*/ 870 h 873"/>
                <a:gd name="T94" fmla="*/ 293 w 552"/>
                <a:gd name="T95" fmla="*/ 873 h 873"/>
                <a:gd name="T96" fmla="*/ 293 w 552"/>
                <a:gd name="T97" fmla="*/ 873 h 873"/>
                <a:gd name="T98" fmla="*/ 312 w 552"/>
                <a:gd name="T99" fmla="*/ 870 h 873"/>
                <a:gd name="T100" fmla="*/ 328 w 552"/>
                <a:gd name="T101" fmla="*/ 859 h 873"/>
                <a:gd name="T102" fmla="*/ 338 w 552"/>
                <a:gd name="T103" fmla="*/ 843 h 873"/>
                <a:gd name="T104" fmla="*/ 342 w 552"/>
                <a:gd name="T105" fmla="*/ 824 h 873"/>
                <a:gd name="T106" fmla="*/ 342 w 552"/>
                <a:gd name="T107" fmla="*/ 412 h 873"/>
                <a:gd name="T108" fmla="*/ 338 w 552"/>
                <a:gd name="T109" fmla="*/ 393 h 873"/>
                <a:gd name="T110" fmla="*/ 328 w 552"/>
                <a:gd name="T111" fmla="*/ 377 h 873"/>
                <a:gd name="T112" fmla="*/ 312 w 552"/>
                <a:gd name="T113" fmla="*/ 367 h 873"/>
                <a:gd name="T114" fmla="*/ 293 w 552"/>
                <a:gd name="T115" fmla="*/ 363 h 8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52" h="873">
                  <a:moveTo>
                    <a:pt x="154" y="615"/>
                  </a:moveTo>
                  <a:lnTo>
                    <a:pt x="154" y="357"/>
                  </a:lnTo>
                  <a:lnTo>
                    <a:pt x="154" y="343"/>
                  </a:lnTo>
                  <a:lnTo>
                    <a:pt x="163" y="334"/>
                  </a:lnTo>
                  <a:lnTo>
                    <a:pt x="235" y="259"/>
                  </a:lnTo>
                  <a:lnTo>
                    <a:pt x="235" y="175"/>
                  </a:lnTo>
                  <a:lnTo>
                    <a:pt x="208" y="175"/>
                  </a:lnTo>
                  <a:lnTo>
                    <a:pt x="208" y="120"/>
                  </a:lnTo>
                  <a:lnTo>
                    <a:pt x="235" y="120"/>
                  </a:lnTo>
                  <a:lnTo>
                    <a:pt x="257" y="120"/>
                  </a:lnTo>
                  <a:lnTo>
                    <a:pt x="257" y="67"/>
                  </a:lnTo>
                  <a:lnTo>
                    <a:pt x="124" y="67"/>
                  </a:lnTo>
                  <a:lnTo>
                    <a:pt x="134" y="149"/>
                  </a:lnTo>
                  <a:lnTo>
                    <a:pt x="134" y="149"/>
                  </a:lnTo>
                  <a:lnTo>
                    <a:pt x="110" y="149"/>
                  </a:lnTo>
                  <a:lnTo>
                    <a:pt x="110" y="149"/>
                  </a:lnTo>
                  <a:lnTo>
                    <a:pt x="100" y="139"/>
                  </a:lnTo>
                  <a:lnTo>
                    <a:pt x="91" y="127"/>
                  </a:lnTo>
                  <a:lnTo>
                    <a:pt x="83" y="114"/>
                  </a:lnTo>
                  <a:lnTo>
                    <a:pt x="77" y="99"/>
                  </a:lnTo>
                  <a:lnTo>
                    <a:pt x="72" y="84"/>
                  </a:lnTo>
                  <a:lnTo>
                    <a:pt x="70" y="66"/>
                  </a:lnTo>
                  <a:lnTo>
                    <a:pt x="68" y="45"/>
                  </a:lnTo>
                  <a:lnTo>
                    <a:pt x="70" y="24"/>
                  </a:lnTo>
                  <a:lnTo>
                    <a:pt x="112" y="24"/>
                  </a:lnTo>
                  <a:lnTo>
                    <a:pt x="118" y="24"/>
                  </a:lnTo>
                  <a:lnTo>
                    <a:pt x="257" y="24"/>
                  </a:lnTo>
                  <a:lnTo>
                    <a:pt x="257" y="0"/>
                  </a:lnTo>
                  <a:lnTo>
                    <a:pt x="322" y="0"/>
                  </a:lnTo>
                  <a:lnTo>
                    <a:pt x="322" y="24"/>
                  </a:lnTo>
                  <a:lnTo>
                    <a:pt x="464" y="24"/>
                  </a:lnTo>
                  <a:lnTo>
                    <a:pt x="471" y="24"/>
                  </a:lnTo>
                  <a:lnTo>
                    <a:pt x="512" y="24"/>
                  </a:lnTo>
                  <a:lnTo>
                    <a:pt x="512" y="24"/>
                  </a:lnTo>
                  <a:lnTo>
                    <a:pt x="513" y="45"/>
                  </a:lnTo>
                  <a:lnTo>
                    <a:pt x="512" y="66"/>
                  </a:lnTo>
                  <a:lnTo>
                    <a:pt x="509" y="84"/>
                  </a:lnTo>
                  <a:lnTo>
                    <a:pt x="505" y="99"/>
                  </a:lnTo>
                  <a:lnTo>
                    <a:pt x="499" y="114"/>
                  </a:lnTo>
                  <a:lnTo>
                    <a:pt x="490" y="127"/>
                  </a:lnTo>
                  <a:lnTo>
                    <a:pt x="482" y="139"/>
                  </a:lnTo>
                  <a:lnTo>
                    <a:pt x="471" y="149"/>
                  </a:lnTo>
                  <a:lnTo>
                    <a:pt x="471" y="149"/>
                  </a:lnTo>
                  <a:lnTo>
                    <a:pt x="447" y="149"/>
                  </a:lnTo>
                  <a:lnTo>
                    <a:pt x="458" y="67"/>
                  </a:lnTo>
                  <a:lnTo>
                    <a:pt x="322" y="67"/>
                  </a:lnTo>
                  <a:lnTo>
                    <a:pt x="322" y="120"/>
                  </a:lnTo>
                  <a:lnTo>
                    <a:pt x="346" y="120"/>
                  </a:lnTo>
                  <a:lnTo>
                    <a:pt x="374" y="120"/>
                  </a:lnTo>
                  <a:lnTo>
                    <a:pt x="374" y="175"/>
                  </a:lnTo>
                  <a:lnTo>
                    <a:pt x="346" y="175"/>
                  </a:lnTo>
                  <a:lnTo>
                    <a:pt x="346" y="256"/>
                  </a:lnTo>
                  <a:lnTo>
                    <a:pt x="422" y="334"/>
                  </a:lnTo>
                  <a:lnTo>
                    <a:pt x="431" y="343"/>
                  </a:lnTo>
                  <a:lnTo>
                    <a:pt x="431" y="357"/>
                  </a:lnTo>
                  <a:lnTo>
                    <a:pt x="431" y="615"/>
                  </a:lnTo>
                  <a:lnTo>
                    <a:pt x="364" y="615"/>
                  </a:lnTo>
                  <a:lnTo>
                    <a:pt x="364" y="370"/>
                  </a:lnTo>
                  <a:lnTo>
                    <a:pt x="303" y="307"/>
                  </a:lnTo>
                  <a:lnTo>
                    <a:pt x="282" y="307"/>
                  </a:lnTo>
                  <a:lnTo>
                    <a:pt x="221" y="370"/>
                  </a:lnTo>
                  <a:lnTo>
                    <a:pt x="221" y="615"/>
                  </a:lnTo>
                  <a:lnTo>
                    <a:pt x="154" y="615"/>
                  </a:lnTo>
                  <a:lnTo>
                    <a:pt x="154" y="615"/>
                  </a:lnTo>
                  <a:close/>
                  <a:moveTo>
                    <a:pt x="429" y="702"/>
                  </a:moveTo>
                  <a:lnTo>
                    <a:pt x="552" y="702"/>
                  </a:lnTo>
                  <a:lnTo>
                    <a:pt x="552" y="751"/>
                  </a:lnTo>
                  <a:lnTo>
                    <a:pt x="429" y="751"/>
                  </a:lnTo>
                  <a:lnTo>
                    <a:pt x="429" y="702"/>
                  </a:lnTo>
                  <a:lnTo>
                    <a:pt x="429" y="702"/>
                  </a:lnTo>
                  <a:close/>
                  <a:moveTo>
                    <a:pt x="0" y="516"/>
                  </a:moveTo>
                  <a:lnTo>
                    <a:pt x="0" y="566"/>
                  </a:lnTo>
                  <a:lnTo>
                    <a:pt x="124" y="566"/>
                  </a:lnTo>
                  <a:lnTo>
                    <a:pt x="124" y="516"/>
                  </a:lnTo>
                  <a:lnTo>
                    <a:pt x="0" y="516"/>
                  </a:lnTo>
                  <a:lnTo>
                    <a:pt x="0" y="516"/>
                  </a:lnTo>
                  <a:close/>
                  <a:moveTo>
                    <a:pt x="293" y="363"/>
                  </a:moveTo>
                  <a:lnTo>
                    <a:pt x="293" y="363"/>
                  </a:lnTo>
                  <a:lnTo>
                    <a:pt x="283" y="364"/>
                  </a:lnTo>
                  <a:lnTo>
                    <a:pt x="274" y="367"/>
                  </a:lnTo>
                  <a:lnTo>
                    <a:pt x="265" y="371"/>
                  </a:lnTo>
                  <a:lnTo>
                    <a:pt x="258" y="377"/>
                  </a:lnTo>
                  <a:lnTo>
                    <a:pt x="252" y="384"/>
                  </a:lnTo>
                  <a:lnTo>
                    <a:pt x="247" y="393"/>
                  </a:lnTo>
                  <a:lnTo>
                    <a:pt x="245" y="402"/>
                  </a:lnTo>
                  <a:lnTo>
                    <a:pt x="244" y="412"/>
                  </a:lnTo>
                  <a:lnTo>
                    <a:pt x="244" y="824"/>
                  </a:lnTo>
                  <a:lnTo>
                    <a:pt x="244" y="824"/>
                  </a:lnTo>
                  <a:lnTo>
                    <a:pt x="245" y="835"/>
                  </a:lnTo>
                  <a:lnTo>
                    <a:pt x="247" y="843"/>
                  </a:lnTo>
                  <a:lnTo>
                    <a:pt x="252" y="852"/>
                  </a:lnTo>
                  <a:lnTo>
                    <a:pt x="258" y="859"/>
                  </a:lnTo>
                  <a:lnTo>
                    <a:pt x="265" y="865"/>
                  </a:lnTo>
                  <a:lnTo>
                    <a:pt x="274" y="870"/>
                  </a:lnTo>
                  <a:lnTo>
                    <a:pt x="283" y="872"/>
                  </a:lnTo>
                  <a:lnTo>
                    <a:pt x="293" y="873"/>
                  </a:lnTo>
                  <a:lnTo>
                    <a:pt x="293" y="873"/>
                  </a:lnTo>
                  <a:lnTo>
                    <a:pt x="293" y="873"/>
                  </a:lnTo>
                  <a:lnTo>
                    <a:pt x="303" y="872"/>
                  </a:lnTo>
                  <a:lnTo>
                    <a:pt x="312" y="870"/>
                  </a:lnTo>
                  <a:lnTo>
                    <a:pt x="321" y="865"/>
                  </a:lnTo>
                  <a:lnTo>
                    <a:pt x="328" y="859"/>
                  </a:lnTo>
                  <a:lnTo>
                    <a:pt x="334" y="852"/>
                  </a:lnTo>
                  <a:lnTo>
                    <a:pt x="338" y="843"/>
                  </a:lnTo>
                  <a:lnTo>
                    <a:pt x="341" y="835"/>
                  </a:lnTo>
                  <a:lnTo>
                    <a:pt x="342" y="824"/>
                  </a:lnTo>
                  <a:lnTo>
                    <a:pt x="342" y="412"/>
                  </a:lnTo>
                  <a:lnTo>
                    <a:pt x="342" y="412"/>
                  </a:lnTo>
                  <a:lnTo>
                    <a:pt x="341" y="402"/>
                  </a:lnTo>
                  <a:lnTo>
                    <a:pt x="338" y="393"/>
                  </a:lnTo>
                  <a:lnTo>
                    <a:pt x="334" y="384"/>
                  </a:lnTo>
                  <a:lnTo>
                    <a:pt x="328" y="377"/>
                  </a:lnTo>
                  <a:lnTo>
                    <a:pt x="321" y="371"/>
                  </a:lnTo>
                  <a:lnTo>
                    <a:pt x="312" y="367"/>
                  </a:lnTo>
                  <a:lnTo>
                    <a:pt x="303" y="364"/>
                  </a:lnTo>
                  <a:lnTo>
                    <a:pt x="293" y="363"/>
                  </a:lnTo>
                  <a:lnTo>
                    <a:pt x="293" y="36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053" name="Group 2052">
            <a:extLst>
              <a:ext uri="{FF2B5EF4-FFF2-40B4-BE49-F238E27FC236}">
                <a16:creationId xmlns:a16="http://schemas.microsoft.com/office/drawing/2014/main" id="{B02F1969-417A-48CB-A4E9-7100AD5A39A5}"/>
              </a:ext>
            </a:extLst>
          </p:cNvPr>
          <p:cNvGrpSpPr/>
          <p:nvPr/>
        </p:nvGrpSpPr>
        <p:grpSpPr>
          <a:xfrm>
            <a:off x="6068446" y="1656899"/>
            <a:ext cx="612775" cy="612775"/>
            <a:chOff x="4236082" y="2258092"/>
            <a:chExt cx="612775" cy="612775"/>
          </a:xfrm>
        </p:grpSpPr>
        <p:sp>
          <p:nvSpPr>
            <p:cNvPr id="2054" name="Oval 2053">
              <a:extLst>
                <a:ext uri="{FF2B5EF4-FFF2-40B4-BE49-F238E27FC236}">
                  <a16:creationId xmlns:a16="http://schemas.microsoft.com/office/drawing/2014/main" id="{32A4305D-8199-4E2D-8010-163EDC8E64E0}"/>
                </a:ext>
              </a:extLst>
            </p:cNvPr>
            <p:cNvSpPr/>
            <p:nvPr/>
          </p:nvSpPr>
          <p:spPr bwMode="ltGray">
            <a:xfrm>
              <a:off x="4236082"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055" name="Group 2054">
              <a:extLst>
                <a:ext uri="{FF2B5EF4-FFF2-40B4-BE49-F238E27FC236}">
                  <a16:creationId xmlns:a16="http://schemas.microsoft.com/office/drawing/2014/main" id="{3128666C-DBFE-4877-B613-2B08CC94FFC3}"/>
                </a:ext>
              </a:extLst>
            </p:cNvPr>
            <p:cNvGrpSpPr/>
            <p:nvPr/>
          </p:nvGrpSpPr>
          <p:grpSpPr>
            <a:xfrm>
              <a:off x="4295423" y="2449988"/>
              <a:ext cx="503237" cy="241300"/>
              <a:chOff x="8412163" y="323850"/>
              <a:chExt cx="503237" cy="241300"/>
            </a:xfrm>
          </p:grpSpPr>
          <p:sp>
            <p:nvSpPr>
              <p:cNvPr id="2056" name="Freeform 192">
                <a:extLst>
                  <a:ext uri="{FF2B5EF4-FFF2-40B4-BE49-F238E27FC236}">
                    <a16:creationId xmlns:a16="http://schemas.microsoft.com/office/drawing/2014/main" id="{B769521A-F135-4778-A1ED-6CF294CBA9E1}"/>
                  </a:ext>
                </a:extLst>
              </p:cNvPr>
              <p:cNvSpPr>
                <a:spLocks/>
              </p:cNvSpPr>
              <p:nvPr/>
            </p:nvSpPr>
            <p:spPr bwMode="auto">
              <a:xfrm>
                <a:off x="8474075" y="406400"/>
                <a:ext cx="152400" cy="63500"/>
              </a:xfrm>
              <a:custGeom>
                <a:avLst/>
                <a:gdLst>
                  <a:gd name="T0" fmla="*/ 0 w 288"/>
                  <a:gd name="T1" fmla="*/ 3 h 119"/>
                  <a:gd name="T2" fmla="*/ 0 w 288"/>
                  <a:gd name="T3" fmla="*/ 3 h 119"/>
                  <a:gd name="T4" fmla="*/ 288 w 288"/>
                  <a:gd name="T5" fmla="*/ 0 h 119"/>
                  <a:gd name="T6" fmla="*/ 288 w 288"/>
                  <a:gd name="T7" fmla="*/ 119 h 119"/>
                  <a:gd name="T8" fmla="*/ 288 w 288"/>
                  <a:gd name="T9" fmla="*/ 119 h 119"/>
                  <a:gd name="T10" fmla="*/ 0 w 288"/>
                  <a:gd name="T11" fmla="*/ 74 h 119"/>
                  <a:gd name="T12" fmla="*/ 0 w 288"/>
                  <a:gd name="T13" fmla="*/ 3 h 119"/>
                </a:gdLst>
                <a:ahLst/>
                <a:cxnLst>
                  <a:cxn ang="0">
                    <a:pos x="T0" y="T1"/>
                  </a:cxn>
                  <a:cxn ang="0">
                    <a:pos x="T2" y="T3"/>
                  </a:cxn>
                  <a:cxn ang="0">
                    <a:pos x="T4" y="T5"/>
                  </a:cxn>
                  <a:cxn ang="0">
                    <a:pos x="T6" y="T7"/>
                  </a:cxn>
                  <a:cxn ang="0">
                    <a:pos x="T8" y="T9"/>
                  </a:cxn>
                  <a:cxn ang="0">
                    <a:pos x="T10" y="T11"/>
                  </a:cxn>
                  <a:cxn ang="0">
                    <a:pos x="T12" y="T13"/>
                  </a:cxn>
                </a:cxnLst>
                <a:rect l="0" t="0" r="r" b="b"/>
                <a:pathLst>
                  <a:path w="288" h="119">
                    <a:moveTo>
                      <a:pt x="0" y="3"/>
                    </a:moveTo>
                    <a:lnTo>
                      <a:pt x="0" y="3"/>
                    </a:lnTo>
                    <a:lnTo>
                      <a:pt x="288" y="0"/>
                    </a:lnTo>
                    <a:lnTo>
                      <a:pt x="288" y="119"/>
                    </a:lnTo>
                    <a:lnTo>
                      <a:pt x="288" y="119"/>
                    </a:lnTo>
                    <a:lnTo>
                      <a:pt x="0" y="74"/>
                    </a:lnTo>
                    <a:lnTo>
                      <a:pt x="0" y="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57" name="Freeform 193">
                <a:extLst>
                  <a:ext uri="{FF2B5EF4-FFF2-40B4-BE49-F238E27FC236}">
                    <a16:creationId xmlns:a16="http://schemas.microsoft.com/office/drawing/2014/main" id="{5968EBDF-7900-4747-B073-4AB07ADB632A}"/>
                  </a:ext>
                </a:extLst>
              </p:cNvPr>
              <p:cNvSpPr>
                <a:spLocks/>
              </p:cNvSpPr>
              <p:nvPr/>
            </p:nvSpPr>
            <p:spPr bwMode="auto">
              <a:xfrm>
                <a:off x="8616950" y="368300"/>
                <a:ext cx="298450" cy="150812"/>
              </a:xfrm>
              <a:custGeom>
                <a:avLst/>
                <a:gdLst>
                  <a:gd name="T0" fmla="*/ 407 w 564"/>
                  <a:gd name="T1" fmla="*/ 273 h 285"/>
                  <a:gd name="T2" fmla="*/ 346 w 564"/>
                  <a:gd name="T3" fmla="*/ 281 h 285"/>
                  <a:gd name="T4" fmla="*/ 266 w 564"/>
                  <a:gd name="T5" fmla="*/ 285 h 285"/>
                  <a:gd name="T6" fmla="*/ 183 w 564"/>
                  <a:gd name="T7" fmla="*/ 285 h 285"/>
                  <a:gd name="T8" fmla="*/ 112 w 564"/>
                  <a:gd name="T9" fmla="*/ 281 h 285"/>
                  <a:gd name="T10" fmla="*/ 100 w 564"/>
                  <a:gd name="T11" fmla="*/ 280 h 285"/>
                  <a:gd name="T12" fmla="*/ 78 w 564"/>
                  <a:gd name="T13" fmla="*/ 274 h 285"/>
                  <a:gd name="T14" fmla="*/ 57 w 564"/>
                  <a:gd name="T15" fmla="*/ 265 h 285"/>
                  <a:gd name="T16" fmla="*/ 39 w 564"/>
                  <a:gd name="T17" fmla="*/ 253 h 285"/>
                  <a:gd name="T18" fmla="*/ 25 w 564"/>
                  <a:gd name="T19" fmla="*/ 240 h 285"/>
                  <a:gd name="T20" fmla="*/ 13 w 564"/>
                  <a:gd name="T21" fmla="*/ 225 h 285"/>
                  <a:gd name="T22" fmla="*/ 4 w 564"/>
                  <a:gd name="T23" fmla="*/ 210 h 285"/>
                  <a:gd name="T24" fmla="*/ 0 w 564"/>
                  <a:gd name="T25" fmla="*/ 196 h 285"/>
                  <a:gd name="T26" fmla="*/ 0 w 564"/>
                  <a:gd name="T27" fmla="*/ 189 h 285"/>
                  <a:gd name="T28" fmla="*/ 0 w 564"/>
                  <a:gd name="T29" fmla="*/ 96 h 285"/>
                  <a:gd name="T30" fmla="*/ 0 w 564"/>
                  <a:gd name="T31" fmla="*/ 88 h 285"/>
                  <a:gd name="T32" fmla="*/ 3 w 564"/>
                  <a:gd name="T33" fmla="*/ 70 h 285"/>
                  <a:gd name="T34" fmla="*/ 10 w 564"/>
                  <a:gd name="T35" fmla="*/ 53 h 285"/>
                  <a:gd name="T36" fmla="*/ 26 w 564"/>
                  <a:gd name="T37" fmla="*/ 30 h 285"/>
                  <a:gd name="T38" fmla="*/ 46 w 564"/>
                  <a:gd name="T39" fmla="*/ 13 h 285"/>
                  <a:gd name="T40" fmla="*/ 60 w 564"/>
                  <a:gd name="T41" fmla="*/ 5 h 285"/>
                  <a:gd name="T42" fmla="*/ 74 w 564"/>
                  <a:gd name="T43" fmla="*/ 1 h 285"/>
                  <a:gd name="T44" fmla="*/ 80 w 564"/>
                  <a:gd name="T45" fmla="*/ 0 h 285"/>
                  <a:gd name="T46" fmla="*/ 338 w 564"/>
                  <a:gd name="T47" fmla="*/ 0 h 285"/>
                  <a:gd name="T48" fmla="*/ 372 w 564"/>
                  <a:gd name="T49" fmla="*/ 5 h 285"/>
                  <a:gd name="T50" fmla="*/ 409 w 564"/>
                  <a:gd name="T51" fmla="*/ 17 h 285"/>
                  <a:gd name="T52" fmla="*/ 447 w 564"/>
                  <a:gd name="T53" fmla="*/ 35 h 285"/>
                  <a:gd name="T54" fmla="*/ 483 w 564"/>
                  <a:gd name="T55" fmla="*/ 58 h 285"/>
                  <a:gd name="T56" fmla="*/ 514 w 564"/>
                  <a:gd name="T57" fmla="*/ 82 h 285"/>
                  <a:gd name="T58" fmla="*/ 540 w 564"/>
                  <a:gd name="T59" fmla="*/ 107 h 285"/>
                  <a:gd name="T60" fmla="*/ 557 w 564"/>
                  <a:gd name="T61" fmla="*/ 130 h 285"/>
                  <a:gd name="T62" fmla="*/ 564 w 564"/>
                  <a:gd name="T63" fmla="*/ 150 h 285"/>
                  <a:gd name="T64" fmla="*/ 563 w 564"/>
                  <a:gd name="T65" fmla="*/ 161 h 285"/>
                  <a:gd name="T66" fmla="*/ 556 w 564"/>
                  <a:gd name="T67" fmla="*/ 181 h 285"/>
                  <a:gd name="T68" fmla="*/ 542 w 564"/>
                  <a:gd name="T69" fmla="*/ 202 h 285"/>
                  <a:gd name="T70" fmla="*/ 522 w 564"/>
                  <a:gd name="T71" fmla="*/ 220 h 285"/>
                  <a:gd name="T72" fmla="*/ 498 w 564"/>
                  <a:gd name="T73" fmla="*/ 235 h 285"/>
                  <a:gd name="T74" fmla="*/ 459 w 564"/>
                  <a:gd name="T75" fmla="*/ 256 h 285"/>
                  <a:gd name="T76" fmla="*/ 407 w 564"/>
                  <a:gd name="T77" fmla="*/ 273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64" h="285">
                    <a:moveTo>
                      <a:pt x="407" y="273"/>
                    </a:moveTo>
                    <a:lnTo>
                      <a:pt x="407" y="273"/>
                    </a:lnTo>
                    <a:lnTo>
                      <a:pt x="379" y="277"/>
                    </a:lnTo>
                    <a:lnTo>
                      <a:pt x="346" y="281"/>
                    </a:lnTo>
                    <a:lnTo>
                      <a:pt x="307" y="283"/>
                    </a:lnTo>
                    <a:lnTo>
                      <a:pt x="266" y="285"/>
                    </a:lnTo>
                    <a:lnTo>
                      <a:pt x="224" y="285"/>
                    </a:lnTo>
                    <a:lnTo>
                      <a:pt x="183" y="285"/>
                    </a:lnTo>
                    <a:lnTo>
                      <a:pt x="146" y="283"/>
                    </a:lnTo>
                    <a:lnTo>
                      <a:pt x="112" y="281"/>
                    </a:lnTo>
                    <a:lnTo>
                      <a:pt x="112" y="281"/>
                    </a:lnTo>
                    <a:lnTo>
                      <a:pt x="100" y="280"/>
                    </a:lnTo>
                    <a:lnTo>
                      <a:pt x="88" y="277"/>
                    </a:lnTo>
                    <a:lnTo>
                      <a:pt x="78" y="274"/>
                    </a:lnTo>
                    <a:lnTo>
                      <a:pt x="67" y="270"/>
                    </a:lnTo>
                    <a:lnTo>
                      <a:pt x="57" y="265"/>
                    </a:lnTo>
                    <a:lnTo>
                      <a:pt x="48" y="259"/>
                    </a:lnTo>
                    <a:lnTo>
                      <a:pt x="39" y="253"/>
                    </a:lnTo>
                    <a:lnTo>
                      <a:pt x="32" y="246"/>
                    </a:lnTo>
                    <a:lnTo>
                      <a:pt x="25" y="240"/>
                    </a:lnTo>
                    <a:lnTo>
                      <a:pt x="19" y="233"/>
                    </a:lnTo>
                    <a:lnTo>
                      <a:pt x="13" y="225"/>
                    </a:lnTo>
                    <a:lnTo>
                      <a:pt x="8" y="217"/>
                    </a:lnTo>
                    <a:lnTo>
                      <a:pt x="4" y="210"/>
                    </a:lnTo>
                    <a:lnTo>
                      <a:pt x="2" y="203"/>
                    </a:lnTo>
                    <a:lnTo>
                      <a:pt x="0" y="196"/>
                    </a:lnTo>
                    <a:lnTo>
                      <a:pt x="0" y="189"/>
                    </a:lnTo>
                    <a:lnTo>
                      <a:pt x="0" y="189"/>
                    </a:lnTo>
                    <a:lnTo>
                      <a:pt x="0" y="143"/>
                    </a:lnTo>
                    <a:lnTo>
                      <a:pt x="0" y="96"/>
                    </a:lnTo>
                    <a:lnTo>
                      <a:pt x="0" y="96"/>
                    </a:lnTo>
                    <a:lnTo>
                      <a:pt x="0" y="88"/>
                    </a:lnTo>
                    <a:lnTo>
                      <a:pt x="1" y="78"/>
                    </a:lnTo>
                    <a:lnTo>
                      <a:pt x="3" y="70"/>
                    </a:lnTo>
                    <a:lnTo>
                      <a:pt x="7" y="61"/>
                    </a:lnTo>
                    <a:lnTo>
                      <a:pt x="10" y="53"/>
                    </a:lnTo>
                    <a:lnTo>
                      <a:pt x="15" y="44"/>
                    </a:lnTo>
                    <a:lnTo>
                      <a:pt x="26" y="30"/>
                    </a:lnTo>
                    <a:lnTo>
                      <a:pt x="39" y="18"/>
                    </a:lnTo>
                    <a:lnTo>
                      <a:pt x="46" y="13"/>
                    </a:lnTo>
                    <a:lnTo>
                      <a:pt x="52" y="8"/>
                    </a:lnTo>
                    <a:lnTo>
                      <a:pt x="60" y="5"/>
                    </a:lnTo>
                    <a:lnTo>
                      <a:pt x="67" y="2"/>
                    </a:lnTo>
                    <a:lnTo>
                      <a:pt x="74" y="1"/>
                    </a:lnTo>
                    <a:lnTo>
                      <a:pt x="80" y="0"/>
                    </a:lnTo>
                    <a:lnTo>
                      <a:pt x="80" y="0"/>
                    </a:lnTo>
                    <a:lnTo>
                      <a:pt x="338" y="0"/>
                    </a:lnTo>
                    <a:lnTo>
                      <a:pt x="338" y="0"/>
                    </a:lnTo>
                    <a:lnTo>
                      <a:pt x="355" y="1"/>
                    </a:lnTo>
                    <a:lnTo>
                      <a:pt x="372" y="5"/>
                    </a:lnTo>
                    <a:lnTo>
                      <a:pt x="391" y="9"/>
                    </a:lnTo>
                    <a:lnTo>
                      <a:pt x="409" y="17"/>
                    </a:lnTo>
                    <a:lnTo>
                      <a:pt x="429" y="25"/>
                    </a:lnTo>
                    <a:lnTo>
                      <a:pt x="447" y="35"/>
                    </a:lnTo>
                    <a:lnTo>
                      <a:pt x="465" y="46"/>
                    </a:lnTo>
                    <a:lnTo>
                      <a:pt x="483" y="58"/>
                    </a:lnTo>
                    <a:lnTo>
                      <a:pt x="499" y="70"/>
                    </a:lnTo>
                    <a:lnTo>
                      <a:pt x="514" y="82"/>
                    </a:lnTo>
                    <a:lnTo>
                      <a:pt x="528" y="94"/>
                    </a:lnTo>
                    <a:lnTo>
                      <a:pt x="540" y="107"/>
                    </a:lnTo>
                    <a:lnTo>
                      <a:pt x="550" y="119"/>
                    </a:lnTo>
                    <a:lnTo>
                      <a:pt x="557" y="130"/>
                    </a:lnTo>
                    <a:lnTo>
                      <a:pt x="562" y="140"/>
                    </a:lnTo>
                    <a:lnTo>
                      <a:pt x="564" y="150"/>
                    </a:lnTo>
                    <a:lnTo>
                      <a:pt x="564" y="150"/>
                    </a:lnTo>
                    <a:lnTo>
                      <a:pt x="563" y="161"/>
                    </a:lnTo>
                    <a:lnTo>
                      <a:pt x="561" y="172"/>
                    </a:lnTo>
                    <a:lnTo>
                      <a:pt x="556" y="181"/>
                    </a:lnTo>
                    <a:lnTo>
                      <a:pt x="549" y="192"/>
                    </a:lnTo>
                    <a:lnTo>
                      <a:pt x="542" y="202"/>
                    </a:lnTo>
                    <a:lnTo>
                      <a:pt x="532" y="210"/>
                    </a:lnTo>
                    <a:lnTo>
                      <a:pt x="522" y="220"/>
                    </a:lnTo>
                    <a:lnTo>
                      <a:pt x="510" y="228"/>
                    </a:lnTo>
                    <a:lnTo>
                      <a:pt x="498" y="235"/>
                    </a:lnTo>
                    <a:lnTo>
                      <a:pt x="485" y="243"/>
                    </a:lnTo>
                    <a:lnTo>
                      <a:pt x="459" y="256"/>
                    </a:lnTo>
                    <a:lnTo>
                      <a:pt x="432" y="265"/>
                    </a:lnTo>
                    <a:lnTo>
                      <a:pt x="407" y="273"/>
                    </a:lnTo>
                    <a:lnTo>
                      <a:pt x="407" y="273"/>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58" name="Freeform 194">
                <a:extLst>
                  <a:ext uri="{FF2B5EF4-FFF2-40B4-BE49-F238E27FC236}">
                    <a16:creationId xmlns:a16="http://schemas.microsoft.com/office/drawing/2014/main" id="{097910C8-1336-4F5D-83F4-0657B5710726}"/>
                  </a:ext>
                </a:extLst>
              </p:cNvPr>
              <p:cNvSpPr>
                <a:spLocks/>
              </p:cNvSpPr>
              <p:nvPr/>
            </p:nvSpPr>
            <p:spPr bwMode="auto">
              <a:xfrm>
                <a:off x="8572500" y="331788"/>
                <a:ext cx="149225" cy="14287"/>
              </a:xfrm>
              <a:custGeom>
                <a:avLst/>
                <a:gdLst>
                  <a:gd name="T0" fmla="*/ 281 w 281"/>
                  <a:gd name="T1" fmla="*/ 20 h 28"/>
                  <a:gd name="T2" fmla="*/ 0 w 281"/>
                  <a:gd name="T3" fmla="*/ 28 h 28"/>
                  <a:gd name="T4" fmla="*/ 0 w 281"/>
                  <a:gd name="T5" fmla="*/ 0 h 28"/>
                  <a:gd name="T6" fmla="*/ 281 w 281"/>
                  <a:gd name="T7" fmla="*/ 9 h 28"/>
                  <a:gd name="T8" fmla="*/ 281 w 281"/>
                  <a:gd name="T9" fmla="*/ 20 h 28"/>
                </a:gdLst>
                <a:ahLst/>
                <a:cxnLst>
                  <a:cxn ang="0">
                    <a:pos x="T0" y="T1"/>
                  </a:cxn>
                  <a:cxn ang="0">
                    <a:pos x="T2" y="T3"/>
                  </a:cxn>
                  <a:cxn ang="0">
                    <a:pos x="T4" y="T5"/>
                  </a:cxn>
                  <a:cxn ang="0">
                    <a:pos x="T6" y="T7"/>
                  </a:cxn>
                  <a:cxn ang="0">
                    <a:pos x="T8" y="T9"/>
                  </a:cxn>
                </a:cxnLst>
                <a:rect l="0" t="0" r="r" b="b"/>
                <a:pathLst>
                  <a:path w="281" h="28">
                    <a:moveTo>
                      <a:pt x="281" y="20"/>
                    </a:moveTo>
                    <a:lnTo>
                      <a:pt x="0" y="28"/>
                    </a:lnTo>
                    <a:lnTo>
                      <a:pt x="0" y="0"/>
                    </a:lnTo>
                    <a:lnTo>
                      <a:pt x="281" y="9"/>
                    </a:lnTo>
                    <a:lnTo>
                      <a:pt x="281" y="2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59" name="Freeform 195">
                <a:extLst>
                  <a:ext uri="{FF2B5EF4-FFF2-40B4-BE49-F238E27FC236}">
                    <a16:creationId xmlns:a16="http://schemas.microsoft.com/office/drawing/2014/main" id="{1B6178F7-C9AA-436D-A3D7-10BBDD71D29C}"/>
                  </a:ext>
                </a:extLst>
              </p:cNvPr>
              <p:cNvSpPr>
                <a:spLocks/>
              </p:cNvSpPr>
              <p:nvPr/>
            </p:nvSpPr>
            <p:spPr bwMode="auto">
              <a:xfrm>
                <a:off x="8736013" y="331788"/>
                <a:ext cx="149225" cy="14287"/>
              </a:xfrm>
              <a:custGeom>
                <a:avLst/>
                <a:gdLst>
                  <a:gd name="T0" fmla="*/ 0 w 282"/>
                  <a:gd name="T1" fmla="*/ 20 h 28"/>
                  <a:gd name="T2" fmla="*/ 282 w 282"/>
                  <a:gd name="T3" fmla="*/ 28 h 28"/>
                  <a:gd name="T4" fmla="*/ 282 w 282"/>
                  <a:gd name="T5" fmla="*/ 0 h 28"/>
                  <a:gd name="T6" fmla="*/ 0 w 282"/>
                  <a:gd name="T7" fmla="*/ 9 h 28"/>
                  <a:gd name="T8" fmla="*/ 0 w 282"/>
                  <a:gd name="T9" fmla="*/ 20 h 28"/>
                </a:gdLst>
                <a:ahLst/>
                <a:cxnLst>
                  <a:cxn ang="0">
                    <a:pos x="T0" y="T1"/>
                  </a:cxn>
                  <a:cxn ang="0">
                    <a:pos x="T2" y="T3"/>
                  </a:cxn>
                  <a:cxn ang="0">
                    <a:pos x="T4" y="T5"/>
                  </a:cxn>
                  <a:cxn ang="0">
                    <a:pos x="T6" y="T7"/>
                  </a:cxn>
                  <a:cxn ang="0">
                    <a:pos x="T8" y="T9"/>
                  </a:cxn>
                </a:cxnLst>
                <a:rect l="0" t="0" r="r" b="b"/>
                <a:pathLst>
                  <a:path w="282" h="28">
                    <a:moveTo>
                      <a:pt x="0" y="20"/>
                    </a:moveTo>
                    <a:lnTo>
                      <a:pt x="282" y="28"/>
                    </a:lnTo>
                    <a:lnTo>
                      <a:pt x="282" y="0"/>
                    </a:lnTo>
                    <a:lnTo>
                      <a:pt x="0" y="9"/>
                    </a:lnTo>
                    <a:lnTo>
                      <a:pt x="0" y="2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60" name="Freeform 196">
                <a:extLst>
                  <a:ext uri="{FF2B5EF4-FFF2-40B4-BE49-F238E27FC236}">
                    <a16:creationId xmlns:a16="http://schemas.microsoft.com/office/drawing/2014/main" id="{4587A336-CCB4-46B8-A362-94CC1F1E24C2}"/>
                  </a:ext>
                </a:extLst>
              </p:cNvPr>
              <p:cNvSpPr>
                <a:spLocks/>
              </p:cNvSpPr>
              <p:nvPr/>
            </p:nvSpPr>
            <p:spPr bwMode="auto">
              <a:xfrm>
                <a:off x="8718550" y="387350"/>
                <a:ext cx="74613" cy="44450"/>
              </a:xfrm>
              <a:custGeom>
                <a:avLst/>
                <a:gdLst>
                  <a:gd name="T0" fmla="*/ 141 w 141"/>
                  <a:gd name="T1" fmla="*/ 77 h 84"/>
                  <a:gd name="T2" fmla="*/ 141 w 141"/>
                  <a:gd name="T3" fmla="*/ 77 h 84"/>
                  <a:gd name="T4" fmla="*/ 141 w 141"/>
                  <a:gd name="T5" fmla="*/ 79 h 84"/>
                  <a:gd name="T6" fmla="*/ 139 w 141"/>
                  <a:gd name="T7" fmla="*/ 82 h 84"/>
                  <a:gd name="T8" fmla="*/ 138 w 141"/>
                  <a:gd name="T9" fmla="*/ 83 h 84"/>
                  <a:gd name="T10" fmla="*/ 136 w 141"/>
                  <a:gd name="T11" fmla="*/ 84 h 84"/>
                  <a:gd name="T12" fmla="*/ 22 w 141"/>
                  <a:gd name="T13" fmla="*/ 84 h 84"/>
                  <a:gd name="T14" fmla="*/ 22 w 141"/>
                  <a:gd name="T15" fmla="*/ 84 h 84"/>
                  <a:gd name="T16" fmla="*/ 19 w 141"/>
                  <a:gd name="T17" fmla="*/ 83 h 84"/>
                  <a:gd name="T18" fmla="*/ 17 w 141"/>
                  <a:gd name="T19" fmla="*/ 82 h 84"/>
                  <a:gd name="T20" fmla="*/ 16 w 141"/>
                  <a:gd name="T21" fmla="*/ 79 h 84"/>
                  <a:gd name="T22" fmla="*/ 14 w 141"/>
                  <a:gd name="T23" fmla="*/ 77 h 84"/>
                  <a:gd name="T24" fmla="*/ 0 w 141"/>
                  <a:gd name="T25" fmla="*/ 6 h 84"/>
                  <a:gd name="T26" fmla="*/ 0 w 141"/>
                  <a:gd name="T27" fmla="*/ 6 h 84"/>
                  <a:gd name="T28" fmla="*/ 0 w 141"/>
                  <a:gd name="T29" fmla="*/ 4 h 84"/>
                  <a:gd name="T30" fmla="*/ 1 w 141"/>
                  <a:gd name="T31" fmla="*/ 1 h 84"/>
                  <a:gd name="T32" fmla="*/ 2 w 141"/>
                  <a:gd name="T33" fmla="*/ 0 h 84"/>
                  <a:gd name="T34" fmla="*/ 5 w 141"/>
                  <a:gd name="T35" fmla="*/ 0 h 84"/>
                  <a:gd name="T36" fmla="*/ 119 w 141"/>
                  <a:gd name="T37" fmla="*/ 0 h 84"/>
                  <a:gd name="T38" fmla="*/ 119 w 141"/>
                  <a:gd name="T39" fmla="*/ 0 h 84"/>
                  <a:gd name="T40" fmla="*/ 121 w 141"/>
                  <a:gd name="T41" fmla="*/ 0 h 84"/>
                  <a:gd name="T42" fmla="*/ 124 w 141"/>
                  <a:gd name="T43" fmla="*/ 1 h 84"/>
                  <a:gd name="T44" fmla="*/ 125 w 141"/>
                  <a:gd name="T45" fmla="*/ 4 h 84"/>
                  <a:gd name="T46" fmla="*/ 126 w 141"/>
                  <a:gd name="T47" fmla="*/ 6 h 84"/>
                  <a:gd name="T48" fmla="*/ 141 w 141"/>
                  <a:gd name="T49" fmla="*/ 7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1" h="84">
                    <a:moveTo>
                      <a:pt x="141" y="77"/>
                    </a:moveTo>
                    <a:lnTo>
                      <a:pt x="141" y="77"/>
                    </a:lnTo>
                    <a:lnTo>
                      <a:pt x="141" y="79"/>
                    </a:lnTo>
                    <a:lnTo>
                      <a:pt x="139" y="82"/>
                    </a:lnTo>
                    <a:lnTo>
                      <a:pt x="138" y="83"/>
                    </a:lnTo>
                    <a:lnTo>
                      <a:pt x="136" y="84"/>
                    </a:lnTo>
                    <a:lnTo>
                      <a:pt x="22" y="84"/>
                    </a:lnTo>
                    <a:lnTo>
                      <a:pt x="22" y="84"/>
                    </a:lnTo>
                    <a:lnTo>
                      <a:pt x="19" y="83"/>
                    </a:lnTo>
                    <a:lnTo>
                      <a:pt x="17" y="82"/>
                    </a:lnTo>
                    <a:lnTo>
                      <a:pt x="16" y="79"/>
                    </a:lnTo>
                    <a:lnTo>
                      <a:pt x="14" y="77"/>
                    </a:lnTo>
                    <a:lnTo>
                      <a:pt x="0" y="6"/>
                    </a:lnTo>
                    <a:lnTo>
                      <a:pt x="0" y="6"/>
                    </a:lnTo>
                    <a:lnTo>
                      <a:pt x="0" y="4"/>
                    </a:lnTo>
                    <a:lnTo>
                      <a:pt x="1" y="1"/>
                    </a:lnTo>
                    <a:lnTo>
                      <a:pt x="2" y="0"/>
                    </a:lnTo>
                    <a:lnTo>
                      <a:pt x="5" y="0"/>
                    </a:lnTo>
                    <a:lnTo>
                      <a:pt x="119" y="0"/>
                    </a:lnTo>
                    <a:lnTo>
                      <a:pt x="119" y="0"/>
                    </a:lnTo>
                    <a:lnTo>
                      <a:pt x="121" y="0"/>
                    </a:lnTo>
                    <a:lnTo>
                      <a:pt x="124" y="1"/>
                    </a:lnTo>
                    <a:lnTo>
                      <a:pt x="125" y="4"/>
                    </a:lnTo>
                    <a:lnTo>
                      <a:pt x="126" y="6"/>
                    </a:lnTo>
                    <a:lnTo>
                      <a:pt x="141" y="7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61" name="Freeform 197">
                <a:extLst>
                  <a:ext uri="{FF2B5EF4-FFF2-40B4-BE49-F238E27FC236}">
                    <a16:creationId xmlns:a16="http://schemas.microsoft.com/office/drawing/2014/main" id="{C7C9197E-D0F4-4F23-8BC2-4AA45CCBF7E5}"/>
                  </a:ext>
                </a:extLst>
              </p:cNvPr>
              <p:cNvSpPr>
                <a:spLocks/>
              </p:cNvSpPr>
              <p:nvPr/>
            </p:nvSpPr>
            <p:spPr bwMode="auto">
              <a:xfrm>
                <a:off x="8780463" y="515938"/>
                <a:ext cx="39688" cy="39687"/>
              </a:xfrm>
              <a:custGeom>
                <a:avLst/>
                <a:gdLst>
                  <a:gd name="T0" fmla="*/ 75 w 75"/>
                  <a:gd name="T1" fmla="*/ 74 h 74"/>
                  <a:gd name="T2" fmla="*/ 30 w 75"/>
                  <a:gd name="T3" fmla="*/ 74 h 74"/>
                  <a:gd name="T4" fmla="*/ 0 w 75"/>
                  <a:gd name="T5" fmla="*/ 0 h 74"/>
                  <a:gd name="T6" fmla="*/ 23 w 75"/>
                  <a:gd name="T7" fmla="*/ 0 h 74"/>
                  <a:gd name="T8" fmla="*/ 75 w 75"/>
                  <a:gd name="T9" fmla="*/ 74 h 74"/>
                </a:gdLst>
                <a:ahLst/>
                <a:cxnLst>
                  <a:cxn ang="0">
                    <a:pos x="T0" y="T1"/>
                  </a:cxn>
                  <a:cxn ang="0">
                    <a:pos x="T2" y="T3"/>
                  </a:cxn>
                  <a:cxn ang="0">
                    <a:pos x="T4" y="T5"/>
                  </a:cxn>
                  <a:cxn ang="0">
                    <a:pos x="T6" y="T7"/>
                  </a:cxn>
                  <a:cxn ang="0">
                    <a:pos x="T8" y="T9"/>
                  </a:cxn>
                </a:cxnLst>
                <a:rect l="0" t="0" r="r" b="b"/>
                <a:pathLst>
                  <a:path w="75" h="74">
                    <a:moveTo>
                      <a:pt x="75" y="74"/>
                    </a:moveTo>
                    <a:lnTo>
                      <a:pt x="30" y="74"/>
                    </a:lnTo>
                    <a:lnTo>
                      <a:pt x="0" y="0"/>
                    </a:lnTo>
                    <a:lnTo>
                      <a:pt x="23" y="0"/>
                    </a:lnTo>
                    <a:lnTo>
                      <a:pt x="75" y="7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62" name="Freeform 198">
                <a:extLst>
                  <a:ext uri="{FF2B5EF4-FFF2-40B4-BE49-F238E27FC236}">
                    <a16:creationId xmlns:a16="http://schemas.microsoft.com/office/drawing/2014/main" id="{6D6F3848-C24D-41C1-8E0D-DA3D064A71F8}"/>
                  </a:ext>
                </a:extLst>
              </p:cNvPr>
              <p:cNvSpPr>
                <a:spLocks/>
              </p:cNvSpPr>
              <p:nvPr/>
            </p:nvSpPr>
            <p:spPr bwMode="auto">
              <a:xfrm>
                <a:off x="8666163" y="515938"/>
                <a:ext cx="39688" cy="39687"/>
              </a:xfrm>
              <a:custGeom>
                <a:avLst/>
                <a:gdLst>
                  <a:gd name="T0" fmla="*/ 0 w 75"/>
                  <a:gd name="T1" fmla="*/ 74 h 74"/>
                  <a:gd name="T2" fmla="*/ 46 w 75"/>
                  <a:gd name="T3" fmla="*/ 74 h 74"/>
                  <a:gd name="T4" fmla="*/ 75 w 75"/>
                  <a:gd name="T5" fmla="*/ 0 h 74"/>
                  <a:gd name="T6" fmla="*/ 52 w 75"/>
                  <a:gd name="T7" fmla="*/ 0 h 74"/>
                  <a:gd name="T8" fmla="*/ 0 w 75"/>
                  <a:gd name="T9" fmla="*/ 74 h 74"/>
                </a:gdLst>
                <a:ahLst/>
                <a:cxnLst>
                  <a:cxn ang="0">
                    <a:pos x="T0" y="T1"/>
                  </a:cxn>
                  <a:cxn ang="0">
                    <a:pos x="T2" y="T3"/>
                  </a:cxn>
                  <a:cxn ang="0">
                    <a:pos x="T4" y="T5"/>
                  </a:cxn>
                  <a:cxn ang="0">
                    <a:pos x="T6" y="T7"/>
                  </a:cxn>
                  <a:cxn ang="0">
                    <a:pos x="T8" y="T9"/>
                  </a:cxn>
                </a:cxnLst>
                <a:rect l="0" t="0" r="r" b="b"/>
                <a:pathLst>
                  <a:path w="75" h="74">
                    <a:moveTo>
                      <a:pt x="0" y="74"/>
                    </a:moveTo>
                    <a:lnTo>
                      <a:pt x="46" y="74"/>
                    </a:lnTo>
                    <a:lnTo>
                      <a:pt x="75" y="0"/>
                    </a:lnTo>
                    <a:lnTo>
                      <a:pt x="52" y="0"/>
                    </a:lnTo>
                    <a:lnTo>
                      <a:pt x="0" y="7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63" name="Freeform 199">
                <a:extLst>
                  <a:ext uri="{FF2B5EF4-FFF2-40B4-BE49-F238E27FC236}">
                    <a16:creationId xmlns:a16="http://schemas.microsoft.com/office/drawing/2014/main" id="{C361D05D-D7E0-49AE-B5FB-3E4585B989EC}"/>
                  </a:ext>
                </a:extLst>
              </p:cNvPr>
              <p:cNvSpPr>
                <a:spLocks/>
              </p:cNvSpPr>
              <p:nvPr/>
            </p:nvSpPr>
            <p:spPr bwMode="auto">
              <a:xfrm>
                <a:off x="8628063" y="549275"/>
                <a:ext cx="228600" cy="15875"/>
              </a:xfrm>
              <a:custGeom>
                <a:avLst/>
                <a:gdLst>
                  <a:gd name="T0" fmla="*/ 432 w 432"/>
                  <a:gd name="T1" fmla="*/ 15 h 30"/>
                  <a:gd name="T2" fmla="*/ 432 w 432"/>
                  <a:gd name="T3" fmla="*/ 15 h 30"/>
                  <a:gd name="T4" fmla="*/ 431 w 432"/>
                  <a:gd name="T5" fmla="*/ 21 h 30"/>
                  <a:gd name="T6" fmla="*/ 427 w 432"/>
                  <a:gd name="T7" fmla="*/ 26 h 30"/>
                  <a:gd name="T8" fmla="*/ 422 w 432"/>
                  <a:gd name="T9" fmla="*/ 29 h 30"/>
                  <a:gd name="T10" fmla="*/ 416 w 432"/>
                  <a:gd name="T11" fmla="*/ 30 h 30"/>
                  <a:gd name="T12" fmla="*/ 16 w 432"/>
                  <a:gd name="T13" fmla="*/ 30 h 30"/>
                  <a:gd name="T14" fmla="*/ 16 w 432"/>
                  <a:gd name="T15" fmla="*/ 30 h 30"/>
                  <a:gd name="T16" fmla="*/ 10 w 432"/>
                  <a:gd name="T17" fmla="*/ 29 h 30"/>
                  <a:gd name="T18" fmla="*/ 5 w 432"/>
                  <a:gd name="T19" fmla="*/ 26 h 30"/>
                  <a:gd name="T20" fmla="*/ 2 w 432"/>
                  <a:gd name="T21" fmla="*/ 21 h 30"/>
                  <a:gd name="T22" fmla="*/ 0 w 432"/>
                  <a:gd name="T23" fmla="*/ 15 h 30"/>
                  <a:gd name="T24" fmla="*/ 0 w 432"/>
                  <a:gd name="T25" fmla="*/ 15 h 30"/>
                  <a:gd name="T26" fmla="*/ 0 w 432"/>
                  <a:gd name="T27" fmla="*/ 15 h 30"/>
                  <a:gd name="T28" fmla="*/ 2 w 432"/>
                  <a:gd name="T29" fmla="*/ 9 h 30"/>
                  <a:gd name="T30" fmla="*/ 5 w 432"/>
                  <a:gd name="T31" fmla="*/ 4 h 30"/>
                  <a:gd name="T32" fmla="*/ 10 w 432"/>
                  <a:gd name="T33" fmla="*/ 2 h 30"/>
                  <a:gd name="T34" fmla="*/ 16 w 432"/>
                  <a:gd name="T35" fmla="*/ 0 h 30"/>
                  <a:gd name="T36" fmla="*/ 416 w 432"/>
                  <a:gd name="T37" fmla="*/ 0 h 30"/>
                  <a:gd name="T38" fmla="*/ 416 w 432"/>
                  <a:gd name="T39" fmla="*/ 0 h 30"/>
                  <a:gd name="T40" fmla="*/ 422 w 432"/>
                  <a:gd name="T41" fmla="*/ 2 h 30"/>
                  <a:gd name="T42" fmla="*/ 427 w 432"/>
                  <a:gd name="T43" fmla="*/ 4 h 30"/>
                  <a:gd name="T44" fmla="*/ 431 w 432"/>
                  <a:gd name="T45" fmla="*/ 9 h 30"/>
                  <a:gd name="T46" fmla="*/ 432 w 432"/>
                  <a:gd name="T47" fmla="*/ 15 h 30"/>
                  <a:gd name="T48" fmla="*/ 432 w 432"/>
                  <a:gd name="T4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32" h="30">
                    <a:moveTo>
                      <a:pt x="432" y="15"/>
                    </a:moveTo>
                    <a:lnTo>
                      <a:pt x="432" y="15"/>
                    </a:lnTo>
                    <a:lnTo>
                      <a:pt x="431" y="21"/>
                    </a:lnTo>
                    <a:lnTo>
                      <a:pt x="427" y="26"/>
                    </a:lnTo>
                    <a:lnTo>
                      <a:pt x="422" y="29"/>
                    </a:lnTo>
                    <a:lnTo>
                      <a:pt x="416" y="30"/>
                    </a:lnTo>
                    <a:lnTo>
                      <a:pt x="16" y="30"/>
                    </a:lnTo>
                    <a:lnTo>
                      <a:pt x="16" y="30"/>
                    </a:lnTo>
                    <a:lnTo>
                      <a:pt x="10" y="29"/>
                    </a:lnTo>
                    <a:lnTo>
                      <a:pt x="5" y="26"/>
                    </a:lnTo>
                    <a:lnTo>
                      <a:pt x="2" y="21"/>
                    </a:lnTo>
                    <a:lnTo>
                      <a:pt x="0" y="15"/>
                    </a:lnTo>
                    <a:lnTo>
                      <a:pt x="0" y="15"/>
                    </a:lnTo>
                    <a:lnTo>
                      <a:pt x="0" y="15"/>
                    </a:lnTo>
                    <a:lnTo>
                      <a:pt x="2" y="9"/>
                    </a:lnTo>
                    <a:lnTo>
                      <a:pt x="5" y="4"/>
                    </a:lnTo>
                    <a:lnTo>
                      <a:pt x="10" y="2"/>
                    </a:lnTo>
                    <a:lnTo>
                      <a:pt x="16" y="0"/>
                    </a:lnTo>
                    <a:lnTo>
                      <a:pt x="416" y="0"/>
                    </a:lnTo>
                    <a:lnTo>
                      <a:pt x="416" y="0"/>
                    </a:lnTo>
                    <a:lnTo>
                      <a:pt x="422" y="2"/>
                    </a:lnTo>
                    <a:lnTo>
                      <a:pt x="427" y="4"/>
                    </a:lnTo>
                    <a:lnTo>
                      <a:pt x="431" y="9"/>
                    </a:lnTo>
                    <a:lnTo>
                      <a:pt x="432" y="15"/>
                    </a:lnTo>
                    <a:lnTo>
                      <a:pt x="432" y="1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64" name="Freeform 200">
                <a:extLst>
                  <a:ext uri="{FF2B5EF4-FFF2-40B4-BE49-F238E27FC236}">
                    <a16:creationId xmlns:a16="http://schemas.microsoft.com/office/drawing/2014/main" id="{E53A4B86-BDB9-4A58-A818-93FF71A2C793}"/>
                  </a:ext>
                </a:extLst>
              </p:cNvPr>
              <p:cNvSpPr>
                <a:spLocks/>
              </p:cNvSpPr>
              <p:nvPr/>
            </p:nvSpPr>
            <p:spPr bwMode="auto">
              <a:xfrm>
                <a:off x="8412163" y="385763"/>
                <a:ext cx="85725" cy="85725"/>
              </a:xfrm>
              <a:custGeom>
                <a:avLst/>
                <a:gdLst>
                  <a:gd name="T0" fmla="*/ 161 w 161"/>
                  <a:gd name="T1" fmla="*/ 81 h 162"/>
                  <a:gd name="T2" fmla="*/ 160 w 161"/>
                  <a:gd name="T3" fmla="*/ 97 h 162"/>
                  <a:gd name="T4" fmla="*/ 155 w 161"/>
                  <a:gd name="T5" fmla="*/ 112 h 162"/>
                  <a:gd name="T6" fmla="*/ 148 w 161"/>
                  <a:gd name="T7" fmla="*/ 127 h 162"/>
                  <a:gd name="T8" fmla="*/ 138 w 161"/>
                  <a:gd name="T9" fmla="*/ 138 h 162"/>
                  <a:gd name="T10" fmla="*/ 126 w 161"/>
                  <a:gd name="T11" fmla="*/ 149 h 162"/>
                  <a:gd name="T12" fmla="*/ 111 w 161"/>
                  <a:gd name="T13" fmla="*/ 156 h 162"/>
                  <a:gd name="T14" fmla="*/ 96 w 161"/>
                  <a:gd name="T15" fmla="*/ 161 h 162"/>
                  <a:gd name="T16" fmla="*/ 80 w 161"/>
                  <a:gd name="T17" fmla="*/ 162 h 162"/>
                  <a:gd name="T18" fmla="*/ 72 w 161"/>
                  <a:gd name="T19" fmla="*/ 162 h 162"/>
                  <a:gd name="T20" fmla="*/ 56 w 161"/>
                  <a:gd name="T21" fmla="*/ 158 h 162"/>
                  <a:gd name="T22" fmla="*/ 42 w 161"/>
                  <a:gd name="T23" fmla="*/ 152 h 162"/>
                  <a:gd name="T24" fmla="*/ 29 w 161"/>
                  <a:gd name="T25" fmla="*/ 144 h 162"/>
                  <a:gd name="T26" fmla="*/ 18 w 161"/>
                  <a:gd name="T27" fmla="*/ 133 h 162"/>
                  <a:gd name="T28" fmla="*/ 9 w 161"/>
                  <a:gd name="T29" fmla="*/ 120 h 162"/>
                  <a:gd name="T30" fmla="*/ 3 w 161"/>
                  <a:gd name="T31" fmla="*/ 105 h 162"/>
                  <a:gd name="T32" fmla="*/ 0 w 161"/>
                  <a:gd name="T33" fmla="*/ 90 h 162"/>
                  <a:gd name="T34" fmla="*/ 0 w 161"/>
                  <a:gd name="T35" fmla="*/ 81 h 162"/>
                  <a:gd name="T36" fmla="*/ 1 w 161"/>
                  <a:gd name="T37" fmla="*/ 64 h 162"/>
                  <a:gd name="T38" fmla="*/ 6 w 161"/>
                  <a:gd name="T39" fmla="*/ 50 h 162"/>
                  <a:gd name="T40" fmla="*/ 13 w 161"/>
                  <a:gd name="T41" fmla="*/ 36 h 162"/>
                  <a:gd name="T42" fmla="*/ 23 w 161"/>
                  <a:gd name="T43" fmla="*/ 24 h 162"/>
                  <a:gd name="T44" fmla="*/ 35 w 161"/>
                  <a:gd name="T45" fmla="*/ 14 h 162"/>
                  <a:gd name="T46" fmla="*/ 49 w 161"/>
                  <a:gd name="T47" fmla="*/ 7 h 162"/>
                  <a:gd name="T48" fmla="*/ 63 w 161"/>
                  <a:gd name="T49" fmla="*/ 2 h 162"/>
                  <a:gd name="T50" fmla="*/ 80 w 161"/>
                  <a:gd name="T51" fmla="*/ 0 h 162"/>
                  <a:gd name="T52" fmla="*/ 89 w 161"/>
                  <a:gd name="T53" fmla="*/ 1 h 162"/>
                  <a:gd name="T54" fmla="*/ 104 w 161"/>
                  <a:gd name="T55" fmla="*/ 4 h 162"/>
                  <a:gd name="T56" fmla="*/ 119 w 161"/>
                  <a:gd name="T57" fmla="*/ 10 h 162"/>
                  <a:gd name="T58" fmla="*/ 132 w 161"/>
                  <a:gd name="T59" fmla="*/ 19 h 162"/>
                  <a:gd name="T60" fmla="*/ 143 w 161"/>
                  <a:gd name="T61" fmla="*/ 30 h 162"/>
                  <a:gd name="T62" fmla="*/ 151 w 161"/>
                  <a:gd name="T63" fmla="*/ 43 h 162"/>
                  <a:gd name="T64" fmla="*/ 157 w 161"/>
                  <a:gd name="T65" fmla="*/ 57 h 162"/>
                  <a:gd name="T66" fmla="*/ 161 w 161"/>
                  <a:gd name="T67" fmla="*/ 73 h 162"/>
                  <a:gd name="T68" fmla="*/ 161 w 161"/>
                  <a:gd name="T69" fmla="*/ 8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1" h="162">
                    <a:moveTo>
                      <a:pt x="161" y="81"/>
                    </a:moveTo>
                    <a:lnTo>
                      <a:pt x="161" y="81"/>
                    </a:lnTo>
                    <a:lnTo>
                      <a:pt x="161" y="90"/>
                    </a:lnTo>
                    <a:lnTo>
                      <a:pt x="160" y="97"/>
                    </a:lnTo>
                    <a:lnTo>
                      <a:pt x="157" y="105"/>
                    </a:lnTo>
                    <a:lnTo>
                      <a:pt x="155" y="112"/>
                    </a:lnTo>
                    <a:lnTo>
                      <a:pt x="151" y="120"/>
                    </a:lnTo>
                    <a:lnTo>
                      <a:pt x="148" y="127"/>
                    </a:lnTo>
                    <a:lnTo>
                      <a:pt x="143" y="133"/>
                    </a:lnTo>
                    <a:lnTo>
                      <a:pt x="138" y="138"/>
                    </a:lnTo>
                    <a:lnTo>
                      <a:pt x="132" y="144"/>
                    </a:lnTo>
                    <a:lnTo>
                      <a:pt x="126" y="149"/>
                    </a:lnTo>
                    <a:lnTo>
                      <a:pt x="119" y="152"/>
                    </a:lnTo>
                    <a:lnTo>
                      <a:pt x="111" y="156"/>
                    </a:lnTo>
                    <a:lnTo>
                      <a:pt x="104" y="158"/>
                    </a:lnTo>
                    <a:lnTo>
                      <a:pt x="96" y="161"/>
                    </a:lnTo>
                    <a:lnTo>
                      <a:pt x="89" y="162"/>
                    </a:lnTo>
                    <a:lnTo>
                      <a:pt x="80" y="162"/>
                    </a:lnTo>
                    <a:lnTo>
                      <a:pt x="80" y="162"/>
                    </a:lnTo>
                    <a:lnTo>
                      <a:pt x="72" y="162"/>
                    </a:lnTo>
                    <a:lnTo>
                      <a:pt x="63" y="161"/>
                    </a:lnTo>
                    <a:lnTo>
                      <a:pt x="56" y="158"/>
                    </a:lnTo>
                    <a:lnTo>
                      <a:pt x="49" y="156"/>
                    </a:lnTo>
                    <a:lnTo>
                      <a:pt x="42" y="152"/>
                    </a:lnTo>
                    <a:lnTo>
                      <a:pt x="35" y="149"/>
                    </a:lnTo>
                    <a:lnTo>
                      <a:pt x="29" y="144"/>
                    </a:lnTo>
                    <a:lnTo>
                      <a:pt x="23" y="138"/>
                    </a:lnTo>
                    <a:lnTo>
                      <a:pt x="18" y="133"/>
                    </a:lnTo>
                    <a:lnTo>
                      <a:pt x="13" y="127"/>
                    </a:lnTo>
                    <a:lnTo>
                      <a:pt x="9" y="120"/>
                    </a:lnTo>
                    <a:lnTo>
                      <a:pt x="6" y="112"/>
                    </a:lnTo>
                    <a:lnTo>
                      <a:pt x="3" y="105"/>
                    </a:lnTo>
                    <a:lnTo>
                      <a:pt x="1" y="97"/>
                    </a:lnTo>
                    <a:lnTo>
                      <a:pt x="0" y="90"/>
                    </a:lnTo>
                    <a:lnTo>
                      <a:pt x="0" y="81"/>
                    </a:lnTo>
                    <a:lnTo>
                      <a:pt x="0" y="81"/>
                    </a:lnTo>
                    <a:lnTo>
                      <a:pt x="0" y="73"/>
                    </a:lnTo>
                    <a:lnTo>
                      <a:pt x="1" y="64"/>
                    </a:lnTo>
                    <a:lnTo>
                      <a:pt x="3" y="57"/>
                    </a:lnTo>
                    <a:lnTo>
                      <a:pt x="6" y="50"/>
                    </a:lnTo>
                    <a:lnTo>
                      <a:pt x="9" y="43"/>
                    </a:lnTo>
                    <a:lnTo>
                      <a:pt x="13" y="36"/>
                    </a:lnTo>
                    <a:lnTo>
                      <a:pt x="18" y="30"/>
                    </a:lnTo>
                    <a:lnTo>
                      <a:pt x="23" y="24"/>
                    </a:lnTo>
                    <a:lnTo>
                      <a:pt x="29" y="19"/>
                    </a:lnTo>
                    <a:lnTo>
                      <a:pt x="35" y="14"/>
                    </a:lnTo>
                    <a:lnTo>
                      <a:pt x="42" y="10"/>
                    </a:lnTo>
                    <a:lnTo>
                      <a:pt x="49" y="7"/>
                    </a:lnTo>
                    <a:lnTo>
                      <a:pt x="56" y="4"/>
                    </a:lnTo>
                    <a:lnTo>
                      <a:pt x="63" y="2"/>
                    </a:lnTo>
                    <a:lnTo>
                      <a:pt x="72" y="1"/>
                    </a:lnTo>
                    <a:lnTo>
                      <a:pt x="80" y="0"/>
                    </a:lnTo>
                    <a:lnTo>
                      <a:pt x="80" y="0"/>
                    </a:lnTo>
                    <a:lnTo>
                      <a:pt x="89" y="1"/>
                    </a:lnTo>
                    <a:lnTo>
                      <a:pt x="96" y="2"/>
                    </a:lnTo>
                    <a:lnTo>
                      <a:pt x="104" y="4"/>
                    </a:lnTo>
                    <a:lnTo>
                      <a:pt x="111" y="7"/>
                    </a:lnTo>
                    <a:lnTo>
                      <a:pt x="119" y="10"/>
                    </a:lnTo>
                    <a:lnTo>
                      <a:pt x="126" y="14"/>
                    </a:lnTo>
                    <a:lnTo>
                      <a:pt x="132" y="19"/>
                    </a:lnTo>
                    <a:lnTo>
                      <a:pt x="138" y="24"/>
                    </a:lnTo>
                    <a:lnTo>
                      <a:pt x="143" y="30"/>
                    </a:lnTo>
                    <a:lnTo>
                      <a:pt x="148" y="36"/>
                    </a:lnTo>
                    <a:lnTo>
                      <a:pt x="151" y="43"/>
                    </a:lnTo>
                    <a:lnTo>
                      <a:pt x="155" y="50"/>
                    </a:lnTo>
                    <a:lnTo>
                      <a:pt x="157" y="57"/>
                    </a:lnTo>
                    <a:lnTo>
                      <a:pt x="160" y="64"/>
                    </a:lnTo>
                    <a:lnTo>
                      <a:pt x="161" y="73"/>
                    </a:lnTo>
                    <a:lnTo>
                      <a:pt x="161" y="81"/>
                    </a:lnTo>
                    <a:lnTo>
                      <a:pt x="161" y="8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65" name="Freeform 201">
                <a:extLst>
                  <a:ext uri="{FF2B5EF4-FFF2-40B4-BE49-F238E27FC236}">
                    <a16:creationId xmlns:a16="http://schemas.microsoft.com/office/drawing/2014/main" id="{20A2F421-27B9-4DF0-92E1-82F13A7E36C2}"/>
                  </a:ext>
                </a:extLst>
              </p:cNvPr>
              <p:cNvSpPr>
                <a:spLocks/>
              </p:cNvSpPr>
              <p:nvPr/>
            </p:nvSpPr>
            <p:spPr bwMode="auto">
              <a:xfrm>
                <a:off x="8432800" y="406400"/>
                <a:ext cx="46038" cy="46037"/>
              </a:xfrm>
              <a:custGeom>
                <a:avLst/>
                <a:gdLst>
                  <a:gd name="T0" fmla="*/ 87 w 87"/>
                  <a:gd name="T1" fmla="*/ 43 h 87"/>
                  <a:gd name="T2" fmla="*/ 87 w 87"/>
                  <a:gd name="T3" fmla="*/ 43 h 87"/>
                  <a:gd name="T4" fmla="*/ 85 w 87"/>
                  <a:gd name="T5" fmla="*/ 52 h 87"/>
                  <a:gd name="T6" fmla="*/ 83 w 87"/>
                  <a:gd name="T7" fmla="*/ 60 h 87"/>
                  <a:gd name="T8" fmla="*/ 79 w 87"/>
                  <a:gd name="T9" fmla="*/ 67 h 87"/>
                  <a:gd name="T10" fmla="*/ 73 w 87"/>
                  <a:gd name="T11" fmla="*/ 73 h 87"/>
                  <a:gd name="T12" fmla="*/ 67 w 87"/>
                  <a:gd name="T13" fmla="*/ 79 h 87"/>
                  <a:gd name="T14" fmla="*/ 60 w 87"/>
                  <a:gd name="T15" fmla="*/ 83 h 87"/>
                  <a:gd name="T16" fmla="*/ 52 w 87"/>
                  <a:gd name="T17" fmla="*/ 85 h 87"/>
                  <a:gd name="T18" fmla="*/ 43 w 87"/>
                  <a:gd name="T19" fmla="*/ 87 h 87"/>
                  <a:gd name="T20" fmla="*/ 43 w 87"/>
                  <a:gd name="T21" fmla="*/ 87 h 87"/>
                  <a:gd name="T22" fmla="*/ 35 w 87"/>
                  <a:gd name="T23" fmla="*/ 85 h 87"/>
                  <a:gd name="T24" fmla="*/ 26 w 87"/>
                  <a:gd name="T25" fmla="*/ 83 h 87"/>
                  <a:gd name="T26" fmla="*/ 19 w 87"/>
                  <a:gd name="T27" fmla="*/ 79 h 87"/>
                  <a:gd name="T28" fmla="*/ 12 w 87"/>
                  <a:gd name="T29" fmla="*/ 73 h 87"/>
                  <a:gd name="T30" fmla="*/ 7 w 87"/>
                  <a:gd name="T31" fmla="*/ 67 h 87"/>
                  <a:gd name="T32" fmla="*/ 4 w 87"/>
                  <a:gd name="T33" fmla="*/ 60 h 87"/>
                  <a:gd name="T34" fmla="*/ 1 w 87"/>
                  <a:gd name="T35" fmla="*/ 52 h 87"/>
                  <a:gd name="T36" fmla="*/ 0 w 87"/>
                  <a:gd name="T37" fmla="*/ 43 h 87"/>
                  <a:gd name="T38" fmla="*/ 0 w 87"/>
                  <a:gd name="T39" fmla="*/ 43 h 87"/>
                  <a:gd name="T40" fmla="*/ 1 w 87"/>
                  <a:gd name="T41" fmla="*/ 35 h 87"/>
                  <a:gd name="T42" fmla="*/ 4 w 87"/>
                  <a:gd name="T43" fmla="*/ 26 h 87"/>
                  <a:gd name="T44" fmla="*/ 7 w 87"/>
                  <a:gd name="T45" fmla="*/ 19 h 87"/>
                  <a:gd name="T46" fmla="*/ 12 w 87"/>
                  <a:gd name="T47" fmla="*/ 12 h 87"/>
                  <a:gd name="T48" fmla="*/ 19 w 87"/>
                  <a:gd name="T49" fmla="*/ 7 h 87"/>
                  <a:gd name="T50" fmla="*/ 26 w 87"/>
                  <a:gd name="T51" fmla="*/ 4 h 87"/>
                  <a:gd name="T52" fmla="*/ 35 w 87"/>
                  <a:gd name="T53" fmla="*/ 1 h 87"/>
                  <a:gd name="T54" fmla="*/ 43 w 87"/>
                  <a:gd name="T55" fmla="*/ 0 h 87"/>
                  <a:gd name="T56" fmla="*/ 43 w 87"/>
                  <a:gd name="T57" fmla="*/ 0 h 87"/>
                  <a:gd name="T58" fmla="*/ 52 w 87"/>
                  <a:gd name="T59" fmla="*/ 1 h 87"/>
                  <a:gd name="T60" fmla="*/ 60 w 87"/>
                  <a:gd name="T61" fmla="*/ 4 h 87"/>
                  <a:gd name="T62" fmla="*/ 67 w 87"/>
                  <a:gd name="T63" fmla="*/ 7 h 87"/>
                  <a:gd name="T64" fmla="*/ 73 w 87"/>
                  <a:gd name="T65" fmla="*/ 12 h 87"/>
                  <a:gd name="T66" fmla="*/ 79 w 87"/>
                  <a:gd name="T67" fmla="*/ 19 h 87"/>
                  <a:gd name="T68" fmla="*/ 83 w 87"/>
                  <a:gd name="T69" fmla="*/ 26 h 87"/>
                  <a:gd name="T70" fmla="*/ 85 w 87"/>
                  <a:gd name="T71" fmla="*/ 35 h 87"/>
                  <a:gd name="T72" fmla="*/ 87 w 87"/>
                  <a:gd name="T73" fmla="*/ 43 h 87"/>
                  <a:gd name="T74" fmla="*/ 87 w 87"/>
                  <a:gd name="T75" fmla="*/ 43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7" h="87">
                    <a:moveTo>
                      <a:pt x="87" y="43"/>
                    </a:moveTo>
                    <a:lnTo>
                      <a:pt x="87" y="43"/>
                    </a:lnTo>
                    <a:lnTo>
                      <a:pt x="85" y="52"/>
                    </a:lnTo>
                    <a:lnTo>
                      <a:pt x="83" y="60"/>
                    </a:lnTo>
                    <a:lnTo>
                      <a:pt x="79" y="67"/>
                    </a:lnTo>
                    <a:lnTo>
                      <a:pt x="73" y="73"/>
                    </a:lnTo>
                    <a:lnTo>
                      <a:pt x="67" y="79"/>
                    </a:lnTo>
                    <a:lnTo>
                      <a:pt x="60" y="83"/>
                    </a:lnTo>
                    <a:lnTo>
                      <a:pt x="52" y="85"/>
                    </a:lnTo>
                    <a:lnTo>
                      <a:pt x="43" y="87"/>
                    </a:lnTo>
                    <a:lnTo>
                      <a:pt x="43" y="87"/>
                    </a:lnTo>
                    <a:lnTo>
                      <a:pt x="35" y="85"/>
                    </a:lnTo>
                    <a:lnTo>
                      <a:pt x="26" y="83"/>
                    </a:lnTo>
                    <a:lnTo>
                      <a:pt x="19" y="79"/>
                    </a:lnTo>
                    <a:lnTo>
                      <a:pt x="12" y="73"/>
                    </a:lnTo>
                    <a:lnTo>
                      <a:pt x="7" y="67"/>
                    </a:lnTo>
                    <a:lnTo>
                      <a:pt x="4" y="60"/>
                    </a:lnTo>
                    <a:lnTo>
                      <a:pt x="1" y="52"/>
                    </a:lnTo>
                    <a:lnTo>
                      <a:pt x="0" y="43"/>
                    </a:lnTo>
                    <a:lnTo>
                      <a:pt x="0" y="43"/>
                    </a:lnTo>
                    <a:lnTo>
                      <a:pt x="1" y="35"/>
                    </a:lnTo>
                    <a:lnTo>
                      <a:pt x="4" y="26"/>
                    </a:lnTo>
                    <a:lnTo>
                      <a:pt x="7" y="19"/>
                    </a:lnTo>
                    <a:lnTo>
                      <a:pt x="12" y="12"/>
                    </a:lnTo>
                    <a:lnTo>
                      <a:pt x="19" y="7"/>
                    </a:lnTo>
                    <a:lnTo>
                      <a:pt x="26" y="4"/>
                    </a:lnTo>
                    <a:lnTo>
                      <a:pt x="35" y="1"/>
                    </a:lnTo>
                    <a:lnTo>
                      <a:pt x="43" y="0"/>
                    </a:lnTo>
                    <a:lnTo>
                      <a:pt x="43" y="0"/>
                    </a:lnTo>
                    <a:lnTo>
                      <a:pt x="52" y="1"/>
                    </a:lnTo>
                    <a:lnTo>
                      <a:pt x="60" y="4"/>
                    </a:lnTo>
                    <a:lnTo>
                      <a:pt x="67" y="7"/>
                    </a:lnTo>
                    <a:lnTo>
                      <a:pt x="73" y="12"/>
                    </a:lnTo>
                    <a:lnTo>
                      <a:pt x="79" y="19"/>
                    </a:lnTo>
                    <a:lnTo>
                      <a:pt x="83" y="26"/>
                    </a:lnTo>
                    <a:lnTo>
                      <a:pt x="85" y="35"/>
                    </a:lnTo>
                    <a:lnTo>
                      <a:pt x="87" y="43"/>
                    </a:lnTo>
                    <a:lnTo>
                      <a:pt x="87" y="4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66" name="Freeform 202">
                <a:extLst>
                  <a:ext uri="{FF2B5EF4-FFF2-40B4-BE49-F238E27FC236}">
                    <a16:creationId xmlns:a16="http://schemas.microsoft.com/office/drawing/2014/main" id="{3EAF01F6-2763-4046-AAB3-9C25C550B049}"/>
                  </a:ext>
                </a:extLst>
              </p:cNvPr>
              <p:cNvSpPr>
                <a:spLocks/>
              </p:cNvSpPr>
              <p:nvPr/>
            </p:nvSpPr>
            <p:spPr bwMode="auto">
              <a:xfrm>
                <a:off x="8715375" y="323850"/>
                <a:ext cx="28575" cy="49212"/>
              </a:xfrm>
              <a:custGeom>
                <a:avLst/>
                <a:gdLst>
                  <a:gd name="T0" fmla="*/ 0 w 54"/>
                  <a:gd name="T1" fmla="*/ 92 h 92"/>
                  <a:gd name="T2" fmla="*/ 0 w 54"/>
                  <a:gd name="T3" fmla="*/ 92 h 92"/>
                  <a:gd name="T4" fmla="*/ 1 w 54"/>
                  <a:gd name="T5" fmla="*/ 74 h 92"/>
                  <a:gd name="T6" fmla="*/ 2 w 54"/>
                  <a:gd name="T7" fmla="*/ 56 h 92"/>
                  <a:gd name="T8" fmla="*/ 4 w 54"/>
                  <a:gd name="T9" fmla="*/ 41 h 92"/>
                  <a:gd name="T10" fmla="*/ 8 w 54"/>
                  <a:gd name="T11" fmla="*/ 26 h 92"/>
                  <a:gd name="T12" fmla="*/ 12 w 54"/>
                  <a:gd name="T13" fmla="*/ 16 h 92"/>
                  <a:gd name="T14" fmla="*/ 16 w 54"/>
                  <a:gd name="T15" fmla="*/ 7 h 92"/>
                  <a:gd name="T16" fmla="*/ 21 w 54"/>
                  <a:gd name="T17" fmla="*/ 1 h 92"/>
                  <a:gd name="T18" fmla="*/ 24 w 54"/>
                  <a:gd name="T19" fmla="*/ 0 h 92"/>
                  <a:gd name="T20" fmla="*/ 27 w 54"/>
                  <a:gd name="T21" fmla="*/ 0 h 92"/>
                  <a:gd name="T22" fmla="*/ 27 w 54"/>
                  <a:gd name="T23" fmla="*/ 0 h 92"/>
                  <a:gd name="T24" fmla="*/ 30 w 54"/>
                  <a:gd name="T25" fmla="*/ 0 h 92"/>
                  <a:gd name="T26" fmla="*/ 32 w 54"/>
                  <a:gd name="T27" fmla="*/ 1 h 92"/>
                  <a:gd name="T28" fmla="*/ 37 w 54"/>
                  <a:gd name="T29" fmla="*/ 7 h 92"/>
                  <a:gd name="T30" fmla="*/ 42 w 54"/>
                  <a:gd name="T31" fmla="*/ 16 h 92"/>
                  <a:gd name="T32" fmla="*/ 45 w 54"/>
                  <a:gd name="T33" fmla="*/ 26 h 92"/>
                  <a:gd name="T34" fmla="*/ 49 w 54"/>
                  <a:gd name="T35" fmla="*/ 41 h 92"/>
                  <a:gd name="T36" fmla="*/ 51 w 54"/>
                  <a:gd name="T37" fmla="*/ 56 h 92"/>
                  <a:gd name="T38" fmla="*/ 54 w 54"/>
                  <a:gd name="T39" fmla="*/ 74 h 92"/>
                  <a:gd name="T40" fmla="*/ 54 w 54"/>
                  <a:gd name="T41" fmla="*/ 92 h 92"/>
                  <a:gd name="T42" fmla="*/ 0 w 54"/>
                  <a:gd name="T43" fmla="*/ 92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92">
                    <a:moveTo>
                      <a:pt x="0" y="92"/>
                    </a:moveTo>
                    <a:lnTo>
                      <a:pt x="0" y="92"/>
                    </a:lnTo>
                    <a:lnTo>
                      <a:pt x="1" y="74"/>
                    </a:lnTo>
                    <a:lnTo>
                      <a:pt x="2" y="56"/>
                    </a:lnTo>
                    <a:lnTo>
                      <a:pt x="4" y="41"/>
                    </a:lnTo>
                    <a:lnTo>
                      <a:pt x="8" y="26"/>
                    </a:lnTo>
                    <a:lnTo>
                      <a:pt x="12" y="16"/>
                    </a:lnTo>
                    <a:lnTo>
                      <a:pt x="16" y="7"/>
                    </a:lnTo>
                    <a:lnTo>
                      <a:pt x="21" y="1"/>
                    </a:lnTo>
                    <a:lnTo>
                      <a:pt x="24" y="0"/>
                    </a:lnTo>
                    <a:lnTo>
                      <a:pt x="27" y="0"/>
                    </a:lnTo>
                    <a:lnTo>
                      <a:pt x="27" y="0"/>
                    </a:lnTo>
                    <a:lnTo>
                      <a:pt x="30" y="0"/>
                    </a:lnTo>
                    <a:lnTo>
                      <a:pt x="32" y="1"/>
                    </a:lnTo>
                    <a:lnTo>
                      <a:pt x="37" y="7"/>
                    </a:lnTo>
                    <a:lnTo>
                      <a:pt x="42" y="16"/>
                    </a:lnTo>
                    <a:lnTo>
                      <a:pt x="45" y="26"/>
                    </a:lnTo>
                    <a:lnTo>
                      <a:pt x="49" y="41"/>
                    </a:lnTo>
                    <a:lnTo>
                      <a:pt x="51" y="56"/>
                    </a:lnTo>
                    <a:lnTo>
                      <a:pt x="54" y="74"/>
                    </a:lnTo>
                    <a:lnTo>
                      <a:pt x="54" y="92"/>
                    </a:lnTo>
                    <a:lnTo>
                      <a:pt x="0" y="9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67" name="Freeform 203">
                <a:extLst>
                  <a:ext uri="{FF2B5EF4-FFF2-40B4-BE49-F238E27FC236}">
                    <a16:creationId xmlns:a16="http://schemas.microsoft.com/office/drawing/2014/main" id="{CFFDB3B4-A693-4701-9881-0C004B778EF2}"/>
                  </a:ext>
                </a:extLst>
              </p:cNvPr>
              <p:cNvSpPr>
                <a:spLocks/>
              </p:cNvSpPr>
              <p:nvPr/>
            </p:nvSpPr>
            <p:spPr bwMode="auto">
              <a:xfrm>
                <a:off x="8794750" y="385763"/>
                <a:ext cx="92075" cy="46037"/>
              </a:xfrm>
              <a:custGeom>
                <a:avLst/>
                <a:gdLst>
                  <a:gd name="T0" fmla="*/ 168 w 172"/>
                  <a:gd name="T1" fmla="*/ 74 h 87"/>
                  <a:gd name="T2" fmla="*/ 168 w 172"/>
                  <a:gd name="T3" fmla="*/ 74 h 87"/>
                  <a:gd name="T4" fmla="*/ 171 w 172"/>
                  <a:gd name="T5" fmla="*/ 79 h 87"/>
                  <a:gd name="T6" fmla="*/ 172 w 172"/>
                  <a:gd name="T7" fmla="*/ 83 h 87"/>
                  <a:gd name="T8" fmla="*/ 171 w 172"/>
                  <a:gd name="T9" fmla="*/ 85 h 87"/>
                  <a:gd name="T10" fmla="*/ 168 w 172"/>
                  <a:gd name="T11" fmla="*/ 86 h 87"/>
                  <a:gd name="T12" fmla="*/ 164 w 172"/>
                  <a:gd name="T13" fmla="*/ 87 h 87"/>
                  <a:gd name="T14" fmla="*/ 158 w 172"/>
                  <a:gd name="T15" fmla="*/ 87 h 87"/>
                  <a:gd name="T16" fmla="*/ 142 w 172"/>
                  <a:gd name="T17" fmla="*/ 87 h 87"/>
                  <a:gd name="T18" fmla="*/ 142 w 172"/>
                  <a:gd name="T19" fmla="*/ 87 h 87"/>
                  <a:gd name="T20" fmla="*/ 40 w 172"/>
                  <a:gd name="T21" fmla="*/ 87 h 87"/>
                  <a:gd name="T22" fmla="*/ 40 w 172"/>
                  <a:gd name="T23" fmla="*/ 87 h 87"/>
                  <a:gd name="T24" fmla="*/ 28 w 172"/>
                  <a:gd name="T25" fmla="*/ 87 h 87"/>
                  <a:gd name="T26" fmla="*/ 21 w 172"/>
                  <a:gd name="T27" fmla="*/ 85 h 87"/>
                  <a:gd name="T28" fmla="*/ 16 w 172"/>
                  <a:gd name="T29" fmla="*/ 81 h 87"/>
                  <a:gd name="T30" fmla="*/ 13 w 172"/>
                  <a:gd name="T31" fmla="*/ 77 h 87"/>
                  <a:gd name="T32" fmla="*/ 13 w 172"/>
                  <a:gd name="T33" fmla="*/ 77 h 87"/>
                  <a:gd name="T34" fmla="*/ 0 w 172"/>
                  <a:gd name="T35" fmla="*/ 17 h 87"/>
                  <a:gd name="T36" fmla="*/ 0 w 172"/>
                  <a:gd name="T37" fmla="*/ 17 h 87"/>
                  <a:gd name="T38" fmla="*/ 0 w 172"/>
                  <a:gd name="T39" fmla="*/ 11 h 87"/>
                  <a:gd name="T40" fmla="*/ 1 w 172"/>
                  <a:gd name="T41" fmla="*/ 6 h 87"/>
                  <a:gd name="T42" fmla="*/ 4 w 172"/>
                  <a:gd name="T43" fmla="*/ 3 h 87"/>
                  <a:gd name="T44" fmla="*/ 9 w 172"/>
                  <a:gd name="T45" fmla="*/ 1 h 87"/>
                  <a:gd name="T46" fmla="*/ 15 w 172"/>
                  <a:gd name="T47" fmla="*/ 0 h 87"/>
                  <a:gd name="T48" fmla="*/ 21 w 172"/>
                  <a:gd name="T49" fmla="*/ 0 h 87"/>
                  <a:gd name="T50" fmla="*/ 39 w 172"/>
                  <a:gd name="T51" fmla="*/ 2 h 87"/>
                  <a:gd name="T52" fmla="*/ 39 w 172"/>
                  <a:gd name="T53" fmla="*/ 2 h 87"/>
                  <a:gd name="T54" fmla="*/ 54 w 172"/>
                  <a:gd name="T55" fmla="*/ 5 h 87"/>
                  <a:gd name="T56" fmla="*/ 68 w 172"/>
                  <a:gd name="T57" fmla="*/ 8 h 87"/>
                  <a:gd name="T58" fmla="*/ 80 w 172"/>
                  <a:gd name="T59" fmla="*/ 13 h 87"/>
                  <a:gd name="T60" fmla="*/ 94 w 172"/>
                  <a:gd name="T61" fmla="*/ 19 h 87"/>
                  <a:gd name="T62" fmla="*/ 94 w 172"/>
                  <a:gd name="T63" fmla="*/ 19 h 87"/>
                  <a:gd name="T64" fmla="*/ 112 w 172"/>
                  <a:gd name="T65" fmla="*/ 27 h 87"/>
                  <a:gd name="T66" fmla="*/ 126 w 172"/>
                  <a:gd name="T67" fmla="*/ 36 h 87"/>
                  <a:gd name="T68" fmla="*/ 140 w 172"/>
                  <a:gd name="T69" fmla="*/ 45 h 87"/>
                  <a:gd name="T70" fmla="*/ 152 w 172"/>
                  <a:gd name="T71" fmla="*/ 55 h 87"/>
                  <a:gd name="T72" fmla="*/ 152 w 172"/>
                  <a:gd name="T73" fmla="*/ 55 h 87"/>
                  <a:gd name="T74" fmla="*/ 160 w 172"/>
                  <a:gd name="T75" fmla="*/ 65 h 87"/>
                  <a:gd name="T76" fmla="*/ 168 w 172"/>
                  <a:gd name="T77" fmla="*/ 74 h 87"/>
                  <a:gd name="T78" fmla="*/ 168 w 172"/>
                  <a:gd name="T79" fmla="*/ 7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2" h="87">
                    <a:moveTo>
                      <a:pt x="168" y="74"/>
                    </a:moveTo>
                    <a:lnTo>
                      <a:pt x="168" y="74"/>
                    </a:lnTo>
                    <a:lnTo>
                      <a:pt x="171" y="79"/>
                    </a:lnTo>
                    <a:lnTo>
                      <a:pt x="172" y="83"/>
                    </a:lnTo>
                    <a:lnTo>
                      <a:pt x="171" y="85"/>
                    </a:lnTo>
                    <a:lnTo>
                      <a:pt x="168" y="86"/>
                    </a:lnTo>
                    <a:lnTo>
                      <a:pt x="164" y="87"/>
                    </a:lnTo>
                    <a:lnTo>
                      <a:pt x="158" y="87"/>
                    </a:lnTo>
                    <a:lnTo>
                      <a:pt x="142" y="87"/>
                    </a:lnTo>
                    <a:lnTo>
                      <a:pt x="142" y="87"/>
                    </a:lnTo>
                    <a:lnTo>
                      <a:pt x="40" y="87"/>
                    </a:lnTo>
                    <a:lnTo>
                      <a:pt x="40" y="87"/>
                    </a:lnTo>
                    <a:lnTo>
                      <a:pt x="28" y="87"/>
                    </a:lnTo>
                    <a:lnTo>
                      <a:pt x="21" y="85"/>
                    </a:lnTo>
                    <a:lnTo>
                      <a:pt x="16" y="81"/>
                    </a:lnTo>
                    <a:lnTo>
                      <a:pt x="13" y="77"/>
                    </a:lnTo>
                    <a:lnTo>
                      <a:pt x="13" y="77"/>
                    </a:lnTo>
                    <a:lnTo>
                      <a:pt x="0" y="17"/>
                    </a:lnTo>
                    <a:lnTo>
                      <a:pt x="0" y="17"/>
                    </a:lnTo>
                    <a:lnTo>
                      <a:pt x="0" y="11"/>
                    </a:lnTo>
                    <a:lnTo>
                      <a:pt x="1" y="6"/>
                    </a:lnTo>
                    <a:lnTo>
                      <a:pt x="4" y="3"/>
                    </a:lnTo>
                    <a:lnTo>
                      <a:pt x="9" y="1"/>
                    </a:lnTo>
                    <a:lnTo>
                      <a:pt x="15" y="0"/>
                    </a:lnTo>
                    <a:lnTo>
                      <a:pt x="21" y="0"/>
                    </a:lnTo>
                    <a:lnTo>
                      <a:pt x="39" y="2"/>
                    </a:lnTo>
                    <a:lnTo>
                      <a:pt x="39" y="2"/>
                    </a:lnTo>
                    <a:lnTo>
                      <a:pt x="54" y="5"/>
                    </a:lnTo>
                    <a:lnTo>
                      <a:pt x="68" y="8"/>
                    </a:lnTo>
                    <a:lnTo>
                      <a:pt x="80" y="13"/>
                    </a:lnTo>
                    <a:lnTo>
                      <a:pt x="94" y="19"/>
                    </a:lnTo>
                    <a:lnTo>
                      <a:pt x="94" y="19"/>
                    </a:lnTo>
                    <a:lnTo>
                      <a:pt x="112" y="27"/>
                    </a:lnTo>
                    <a:lnTo>
                      <a:pt x="126" y="36"/>
                    </a:lnTo>
                    <a:lnTo>
                      <a:pt x="140" y="45"/>
                    </a:lnTo>
                    <a:lnTo>
                      <a:pt x="152" y="55"/>
                    </a:lnTo>
                    <a:lnTo>
                      <a:pt x="152" y="55"/>
                    </a:lnTo>
                    <a:lnTo>
                      <a:pt x="160" y="65"/>
                    </a:lnTo>
                    <a:lnTo>
                      <a:pt x="168" y="74"/>
                    </a:lnTo>
                    <a:lnTo>
                      <a:pt x="168" y="74"/>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068" name="Group 2067">
            <a:extLst>
              <a:ext uri="{FF2B5EF4-FFF2-40B4-BE49-F238E27FC236}">
                <a16:creationId xmlns:a16="http://schemas.microsoft.com/office/drawing/2014/main" id="{5066E6C1-C197-46CF-A42A-591E46B9BB32}"/>
              </a:ext>
            </a:extLst>
          </p:cNvPr>
          <p:cNvGrpSpPr/>
          <p:nvPr/>
        </p:nvGrpSpPr>
        <p:grpSpPr>
          <a:xfrm>
            <a:off x="5337727" y="3980530"/>
            <a:ext cx="612775" cy="612775"/>
            <a:chOff x="3505363" y="4581723"/>
            <a:chExt cx="612775" cy="612775"/>
          </a:xfrm>
        </p:grpSpPr>
        <p:sp>
          <p:nvSpPr>
            <p:cNvPr id="2069" name="Oval 2068">
              <a:extLst>
                <a:ext uri="{FF2B5EF4-FFF2-40B4-BE49-F238E27FC236}">
                  <a16:creationId xmlns:a16="http://schemas.microsoft.com/office/drawing/2014/main" id="{8752FC6E-F605-48DF-AB8D-062BEEE02C86}"/>
                </a:ext>
              </a:extLst>
            </p:cNvPr>
            <p:cNvSpPr/>
            <p:nvPr/>
          </p:nvSpPr>
          <p:spPr bwMode="ltGray">
            <a:xfrm>
              <a:off x="3505363"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70" name="Freeform 208">
              <a:extLst>
                <a:ext uri="{FF2B5EF4-FFF2-40B4-BE49-F238E27FC236}">
                  <a16:creationId xmlns:a16="http://schemas.microsoft.com/office/drawing/2014/main" id="{18F66393-1793-4045-B377-EA8A743FDBD4}"/>
                </a:ext>
              </a:extLst>
            </p:cNvPr>
            <p:cNvSpPr>
              <a:spLocks noEditPoints="1"/>
            </p:cNvSpPr>
            <p:nvPr/>
          </p:nvSpPr>
          <p:spPr bwMode="auto">
            <a:xfrm>
              <a:off x="3575098" y="4650390"/>
              <a:ext cx="479425" cy="474662"/>
            </a:xfrm>
            <a:custGeom>
              <a:avLst/>
              <a:gdLst>
                <a:gd name="T0" fmla="*/ 900 w 904"/>
                <a:gd name="T1" fmla="*/ 504 h 897"/>
                <a:gd name="T2" fmla="*/ 852 w 904"/>
                <a:gd name="T3" fmla="*/ 650 h 897"/>
                <a:gd name="T4" fmla="*/ 785 w 904"/>
                <a:gd name="T5" fmla="*/ 752 h 897"/>
                <a:gd name="T6" fmla="*/ 835 w 904"/>
                <a:gd name="T7" fmla="*/ 532 h 897"/>
                <a:gd name="T8" fmla="*/ 657 w 904"/>
                <a:gd name="T9" fmla="*/ 718 h 897"/>
                <a:gd name="T10" fmla="*/ 429 w 904"/>
                <a:gd name="T11" fmla="*/ 888 h 897"/>
                <a:gd name="T12" fmla="*/ 527 w 904"/>
                <a:gd name="T13" fmla="*/ 837 h 897"/>
                <a:gd name="T14" fmla="*/ 651 w 904"/>
                <a:gd name="T15" fmla="*/ 852 h 897"/>
                <a:gd name="T16" fmla="*/ 618 w 904"/>
                <a:gd name="T17" fmla="*/ 775 h 897"/>
                <a:gd name="T18" fmla="*/ 892 w 904"/>
                <a:gd name="T19" fmla="*/ 341 h 897"/>
                <a:gd name="T20" fmla="*/ 749 w 904"/>
                <a:gd name="T21" fmla="*/ 110 h 897"/>
                <a:gd name="T22" fmla="*/ 782 w 904"/>
                <a:gd name="T23" fmla="*/ 306 h 897"/>
                <a:gd name="T24" fmla="*/ 876 w 904"/>
                <a:gd name="T25" fmla="*/ 449 h 897"/>
                <a:gd name="T26" fmla="*/ 33 w 904"/>
                <a:gd name="T27" fmla="*/ 483 h 897"/>
                <a:gd name="T28" fmla="*/ 158 w 904"/>
                <a:gd name="T29" fmla="*/ 502 h 897"/>
                <a:gd name="T30" fmla="*/ 8 w 904"/>
                <a:gd name="T31" fmla="*/ 382 h 897"/>
                <a:gd name="T32" fmla="*/ 72 w 904"/>
                <a:gd name="T33" fmla="*/ 232 h 897"/>
                <a:gd name="T34" fmla="*/ 6 w 904"/>
                <a:gd name="T35" fmla="*/ 379 h 897"/>
                <a:gd name="T36" fmla="*/ 276 w 904"/>
                <a:gd name="T37" fmla="*/ 33 h 897"/>
                <a:gd name="T38" fmla="*/ 342 w 904"/>
                <a:gd name="T39" fmla="*/ 119 h 897"/>
                <a:gd name="T40" fmla="*/ 318 w 904"/>
                <a:gd name="T41" fmla="*/ 115 h 897"/>
                <a:gd name="T42" fmla="*/ 96 w 904"/>
                <a:gd name="T43" fmla="*/ 167 h 897"/>
                <a:gd name="T44" fmla="*/ 133 w 904"/>
                <a:gd name="T45" fmla="*/ 379 h 897"/>
                <a:gd name="T46" fmla="*/ 311 w 904"/>
                <a:gd name="T47" fmla="*/ 150 h 897"/>
                <a:gd name="T48" fmla="*/ 499 w 904"/>
                <a:gd name="T49" fmla="*/ 0 h 897"/>
                <a:gd name="T50" fmla="*/ 383 w 904"/>
                <a:gd name="T51" fmla="*/ 25 h 897"/>
                <a:gd name="T52" fmla="*/ 704 w 904"/>
                <a:gd name="T53" fmla="*/ 69 h 897"/>
                <a:gd name="T54" fmla="*/ 648 w 904"/>
                <a:gd name="T55" fmla="*/ 44 h 897"/>
                <a:gd name="T56" fmla="*/ 523 w 904"/>
                <a:gd name="T57" fmla="*/ 68 h 897"/>
                <a:gd name="T58" fmla="*/ 201 w 904"/>
                <a:gd name="T59" fmla="*/ 496 h 897"/>
                <a:gd name="T60" fmla="*/ 448 w 904"/>
                <a:gd name="T61" fmla="*/ 616 h 897"/>
                <a:gd name="T62" fmla="*/ 484 w 904"/>
                <a:gd name="T63" fmla="*/ 397 h 897"/>
                <a:gd name="T64" fmla="*/ 253 w 904"/>
                <a:gd name="T65" fmla="*/ 393 h 897"/>
                <a:gd name="T66" fmla="*/ 479 w 904"/>
                <a:gd name="T67" fmla="*/ 312 h 897"/>
                <a:gd name="T68" fmla="*/ 555 w 904"/>
                <a:gd name="T69" fmla="*/ 610 h 897"/>
                <a:gd name="T70" fmla="*/ 744 w 904"/>
                <a:gd name="T71" fmla="*/ 460 h 897"/>
                <a:gd name="T72" fmla="*/ 667 w 904"/>
                <a:gd name="T73" fmla="*/ 214 h 897"/>
                <a:gd name="T74" fmla="*/ 579 w 904"/>
                <a:gd name="T75" fmla="*/ 760 h 897"/>
                <a:gd name="T76" fmla="*/ 589 w 904"/>
                <a:gd name="T77" fmla="*/ 760 h 897"/>
                <a:gd name="T78" fmla="*/ 662 w 904"/>
                <a:gd name="T79" fmla="*/ 616 h 897"/>
                <a:gd name="T80" fmla="*/ 167 w 904"/>
                <a:gd name="T81" fmla="*/ 443 h 897"/>
                <a:gd name="T82" fmla="*/ 276 w 904"/>
                <a:gd name="T83" fmla="*/ 861 h 897"/>
                <a:gd name="T84" fmla="*/ 452 w 904"/>
                <a:gd name="T85" fmla="*/ 870 h 897"/>
                <a:gd name="T86" fmla="*/ 392 w 904"/>
                <a:gd name="T87" fmla="*/ 701 h 897"/>
                <a:gd name="T88" fmla="*/ 197 w 904"/>
                <a:gd name="T89" fmla="*/ 647 h 897"/>
                <a:gd name="T90" fmla="*/ 431 w 904"/>
                <a:gd name="T91" fmla="*/ 662 h 897"/>
                <a:gd name="T92" fmla="*/ 527 w 904"/>
                <a:gd name="T93" fmla="*/ 729 h 897"/>
                <a:gd name="T94" fmla="*/ 197 w 904"/>
                <a:gd name="T95" fmla="*/ 526 h 897"/>
                <a:gd name="T96" fmla="*/ 786 w 904"/>
                <a:gd name="T97" fmla="*/ 382 h 897"/>
                <a:gd name="T98" fmla="*/ 831 w 904"/>
                <a:gd name="T99" fmla="*/ 494 h 897"/>
                <a:gd name="T100" fmla="*/ 37 w 904"/>
                <a:gd name="T101" fmla="*/ 614 h 897"/>
                <a:gd name="T102" fmla="*/ 258 w 904"/>
                <a:gd name="T103" fmla="*/ 854 h 897"/>
                <a:gd name="T104" fmla="*/ 88 w 904"/>
                <a:gd name="T105" fmla="*/ 564 h 897"/>
                <a:gd name="T106" fmla="*/ 752 w 904"/>
                <a:gd name="T107" fmla="*/ 253 h 897"/>
                <a:gd name="T108" fmla="*/ 669 w 904"/>
                <a:gd name="T109" fmla="*/ 162 h 897"/>
                <a:gd name="T110" fmla="*/ 431 w 904"/>
                <a:gd name="T111" fmla="*/ 269 h 897"/>
                <a:gd name="T112" fmla="*/ 245 w 904"/>
                <a:gd name="T113" fmla="*/ 334 h 897"/>
                <a:gd name="T114" fmla="*/ 466 w 904"/>
                <a:gd name="T115" fmla="*/ 281 h 897"/>
                <a:gd name="T116" fmla="*/ 563 w 904"/>
                <a:gd name="T117" fmla="*/ 122 h 897"/>
                <a:gd name="T118" fmla="*/ 365 w 904"/>
                <a:gd name="T119" fmla="*/ 139 h 8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04" h="897">
                  <a:moveTo>
                    <a:pt x="856" y="497"/>
                  </a:moveTo>
                  <a:lnTo>
                    <a:pt x="856" y="497"/>
                  </a:lnTo>
                  <a:lnTo>
                    <a:pt x="869" y="484"/>
                  </a:lnTo>
                  <a:lnTo>
                    <a:pt x="881" y="473"/>
                  </a:lnTo>
                  <a:lnTo>
                    <a:pt x="893" y="461"/>
                  </a:lnTo>
                  <a:lnTo>
                    <a:pt x="899" y="454"/>
                  </a:lnTo>
                  <a:lnTo>
                    <a:pt x="904" y="445"/>
                  </a:lnTo>
                  <a:lnTo>
                    <a:pt x="904" y="445"/>
                  </a:lnTo>
                  <a:lnTo>
                    <a:pt x="904" y="452"/>
                  </a:lnTo>
                  <a:lnTo>
                    <a:pt x="904" y="452"/>
                  </a:lnTo>
                  <a:lnTo>
                    <a:pt x="902" y="478"/>
                  </a:lnTo>
                  <a:lnTo>
                    <a:pt x="900" y="504"/>
                  </a:lnTo>
                  <a:lnTo>
                    <a:pt x="896" y="530"/>
                  </a:lnTo>
                  <a:lnTo>
                    <a:pt x="890" y="554"/>
                  </a:lnTo>
                  <a:lnTo>
                    <a:pt x="884" y="578"/>
                  </a:lnTo>
                  <a:lnTo>
                    <a:pt x="876" y="602"/>
                  </a:lnTo>
                  <a:lnTo>
                    <a:pt x="866" y="626"/>
                  </a:lnTo>
                  <a:lnTo>
                    <a:pt x="857" y="649"/>
                  </a:lnTo>
                  <a:lnTo>
                    <a:pt x="857" y="649"/>
                  </a:lnTo>
                  <a:lnTo>
                    <a:pt x="856" y="649"/>
                  </a:lnTo>
                  <a:lnTo>
                    <a:pt x="854" y="649"/>
                  </a:lnTo>
                  <a:lnTo>
                    <a:pt x="853" y="649"/>
                  </a:lnTo>
                  <a:lnTo>
                    <a:pt x="852" y="650"/>
                  </a:lnTo>
                  <a:lnTo>
                    <a:pt x="852" y="650"/>
                  </a:lnTo>
                  <a:lnTo>
                    <a:pt x="857" y="613"/>
                  </a:lnTo>
                  <a:lnTo>
                    <a:pt x="859" y="574"/>
                  </a:lnTo>
                  <a:lnTo>
                    <a:pt x="859" y="555"/>
                  </a:lnTo>
                  <a:lnTo>
                    <a:pt x="859" y="536"/>
                  </a:lnTo>
                  <a:lnTo>
                    <a:pt x="858" y="516"/>
                  </a:lnTo>
                  <a:lnTo>
                    <a:pt x="856" y="497"/>
                  </a:lnTo>
                  <a:lnTo>
                    <a:pt x="856" y="497"/>
                  </a:lnTo>
                  <a:close/>
                  <a:moveTo>
                    <a:pt x="774" y="759"/>
                  </a:moveTo>
                  <a:lnTo>
                    <a:pt x="774" y="759"/>
                  </a:lnTo>
                  <a:lnTo>
                    <a:pt x="779" y="756"/>
                  </a:lnTo>
                  <a:lnTo>
                    <a:pt x="785" y="752"/>
                  </a:lnTo>
                  <a:lnTo>
                    <a:pt x="785" y="752"/>
                  </a:lnTo>
                  <a:lnTo>
                    <a:pt x="798" y="735"/>
                  </a:lnTo>
                  <a:lnTo>
                    <a:pt x="812" y="717"/>
                  </a:lnTo>
                  <a:lnTo>
                    <a:pt x="824" y="699"/>
                  </a:lnTo>
                  <a:lnTo>
                    <a:pt x="836" y="682"/>
                  </a:lnTo>
                  <a:lnTo>
                    <a:pt x="836" y="682"/>
                  </a:lnTo>
                  <a:lnTo>
                    <a:pt x="841" y="645"/>
                  </a:lnTo>
                  <a:lnTo>
                    <a:pt x="842" y="627"/>
                  </a:lnTo>
                  <a:lnTo>
                    <a:pt x="842" y="609"/>
                  </a:lnTo>
                  <a:lnTo>
                    <a:pt x="842" y="590"/>
                  </a:lnTo>
                  <a:lnTo>
                    <a:pt x="841" y="570"/>
                  </a:lnTo>
                  <a:lnTo>
                    <a:pt x="839" y="551"/>
                  </a:lnTo>
                  <a:lnTo>
                    <a:pt x="835" y="532"/>
                  </a:lnTo>
                  <a:lnTo>
                    <a:pt x="835" y="532"/>
                  </a:lnTo>
                  <a:lnTo>
                    <a:pt x="812" y="552"/>
                  </a:lnTo>
                  <a:lnTo>
                    <a:pt x="788" y="572"/>
                  </a:lnTo>
                  <a:lnTo>
                    <a:pt x="762" y="589"/>
                  </a:lnTo>
                  <a:lnTo>
                    <a:pt x="733" y="604"/>
                  </a:lnTo>
                  <a:lnTo>
                    <a:pt x="733" y="604"/>
                  </a:lnTo>
                  <a:lnTo>
                    <a:pt x="723" y="626"/>
                  </a:lnTo>
                  <a:lnTo>
                    <a:pt x="711" y="645"/>
                  </a:lnTo>
                  <a:lnTo>
                    <a:pt x="699" y="664"/>
                  </a:lnTo>
                  <a:lnTo>
                    <a:pt x="686" y="683"/>
                  </a:lnTo>
                  <a:lnTo>
                    <a:pt x="672" y="701"/>
                  </a:lnTo>
                  <a:lnTo>
                    <a:pt x="657" y="718"/>
                  </a:lnTo>
                  <a:lnTo>
                    <a:pt x="628" y="752"/>
                  </a:lnTo>
                  <a:lnTo>
                    <a:pt x="628" y="752"/>
                  </a:lnTo>
                  <a:lnTo>
                    <a:pt x="664" y="757"/>
                  </a:lnTo>
                  <a:lnTo>
                    <a:pt x="700" y="759"/>
                  </a:lnTo>
                  <a:lnTo>
                    <a:pt x="737" y="760"/>
                  </a:lnTo>
                  <a:lnTo>
                    <a:pt x="774" y="759"/>
                  </a:lnTo>
                  <a:lnTo>
                    <a:pt x="774" y="759"/>
                  </a:lnTo>
                  <a:close/>
                  <a:moveTo>
                    <a:pt x="502" y="857"/>
                  </a:moveTo>
                  <a:lnTo>
                    <a:pt x="502" y="857"/>
                  </a:lnTo>
                  <a:lnTo>
                    <a:pt x="477" y="869"/>
                  </a:lnTo>
                  <a:lnTo>
                    <a:pt x="453" y="878"/>
                  </a:lnTo>
                  <a:lnTo>
                    <a:pt x="429" y="888"/>
                  </a:lnTo>
                  <a:lnTo>
                    <a:pt x="404" y="894"/>
                  </a:lnTo>
                  <a:lnTo>
                    <a:pt x="404" y="894"/>
                  </a:lnTo>
                  <a:lnTo>
                    <a:pt x="428" y="896"/>
                  </a:lnTo>
                  <a:lnTo>
                    <a:pt x="453" y="897"/>
                  </a:lnTo>
                  <a:lnTo>
                    <a:pt x="453" y="897"/>
                  </a:lnTo>
                  <a:lnTo>
                    <a:pt x="472" y="896"/>
                  </a:lnTo>
                  <a:lnTo>
                    <a:pt x="490" y="896"/>
                  </a:lnTo>
                  <a:lnTo>
                    <a:pt x="490" y="896"/>
                  </a:lnTo>
                  <a:lnTo>
                    <a:pt x="502" y="857"/>
                  </a:lnTo>
                  <a:lnTo>
                    <a:pt x="502" y="857"/>
                  </a:lnTo>
                  <a:close/>
                  <a:moveTo>
                    <a:pt x="527" y="837"/>
                  </a:moveTo>
                  <a:lnTo>
                    <a:pt x="527" y="837"/>
                  </a:lnTo>
                  <a:lnTo>
                    <a:pt x="519" y="864"/>
                  </a:lnTo>
                  <a:lnTo>
                    <a:pt x="509" y="890"/>
                  </a:lnTo>
                  <a:lnTo>
                    <a:pt x="509" y="890"/>
                  </a:lnTo>
                  <a:lnTo>
                    <a:pt x="511" y="893"/>
                  </a:lnTo>
                  <a:lnTo>
                    <a:pt x="512" y="894"/>
                  </a:lnTo>
                  <a:lnTo>
                    <a:pt x="512" y="894"/>
                  </a:lnTo>
                  <a:lnTo>
                    <a:pt x="531" y="890"/>
                  </a:lnTo>
                  <a:lnTo>
                    <a:pt x="548" y="887"/>
                  </a:lnTo>
                  <a:lnTo>
                    <a:pt x="566" y="883"/>
                  </a:lnTo>
                  <a:lnTo>
                    <a:pt x="584" y="878"/>
                  </a:lnTo>
                  <a:lnTo>
                    <a:pt x="618" y="866"/>
                  </a:lnTo>
                  <a:lnTo>
                    <a:pt x="651" y="852"/>
                  </a:lnTo>
                  <a:lnTo>
                    <a:pt x="682" y="834"/>
                  </a:lnTo>
                  <a:lnTo>
                    <a:pt x="713" y="814"/>
                  </a:lnTo>
                  <a:lnTo>
                    <a:pt x="740" y="794"/>
                  </a:lnTo>
                  <a:lnTo>
                    <a:pt x="767" y="770"/>
                  </a:lnTo>
                  <a:lnTo>
                    <a:pt x="767" y="770"/>
                  </a:lnTo>
                  <a:lnTo>
                    <a:pt x="729" y="774"/>
                  </a:lnTo>
                  <a:lnTo>
                    <a:pt x="692" y="777"/>
                  </a:lnTo>
                  <a:lnTo>
                    <a:pt x="673" y="777"/>
                  </a:lnTo>
                  <a:lnTo>
                    <a:pt x="655" y="778"/>
                  </a:lnTo>
                  <a:lnTo>
                    <a:pt x="637" y="777"/>
                  </a:lnTo>
                  <a:lnTo>
                    <a:pt x="618" y="775"/>
                  </a:lnTo>
                  <a:lnTo>
                    <a:pt x="618" y="775"/>
                  </a:lnTo>
                  <a:lnTo>
                    <a:pt x="608" y="784"/>
                  </a:lnTo>
                  <a:lnTo>
                    <a:pt x="597" y="794"/>
                  </a:lnTo>
                  <a:lnTo>
                    <a:pt x="574" y="810"/>
                  </a:lnTo>
                  <a:lnTo>
                    <a:pt x="527" y="837"/>
                  </a:lnTo>
                  <a:lnTo>
                    <a:pt x="527" y="837"/>
                  </a:lnTo>
                  <a:close/>
                  <a:moveTo>
                    <a:pt x="900" y="420"/>
                  </a:moveTo>
                  <a:lnTo>
                    <a:pt x="900" y="420"/>
                  </a:lnTo>
                  <a:lnTo>
                    <a:pt x="902" y="411"/>
                  </a:lnTo>
                  <a:lnTo>
                    <a:pt x="902" y="411"/>
                  </a:lnTo>
                  <a:lnTo>
                    <a:pt x="900" y="387"/>
                  </a:lnTo>
                  <a:lnTo>
                    <a:pt x="896" y="364"/>
                  </a:lnTo>
                  <a:lnTo>
                    <a:pt x="892" y="341"/>
                  </a:lnTo>
                  <a:lnTo>
                    <a:pt x="884" y="318"/>
                  </a:lnTo>
                  <a:lnTo>
                    <a:pt x="877" y="296"/>
                  </a:lnTo>
                  <a:lnTo>
                    <a:pt x="869" y="275"/>
                  </a:lnTo>
                  <a:lnTo>
                    <a:pt x="859" y="254"/>
                  </a:lnTo>
                  <a:lnTo>
                    <a:pt x="848" y="234"/>
                  </a:lnTo>
                  <a:lnTo>
                    <a:pt x="836" y="215"/>
                  </a:lnTo>
                  <a:lnTo>
                    <a:pt x="823" y="196"/>
                  </a:lnTo>
                  <a:lnTo>
                    <a:pt x="810" y="176"/>
                  </a:lnTo>
                  <a:lnTo>
                    <a:pt x="795" y="159"/>
                  </a:lnTo>
                  <a:lnTo>
                    <a:pt x="781" y="143"/>
                  </a:lnTo>
                  <a:lnTo>
                    <a:pt x="764" y="126"/>
                  </a:lnTo>
                  <a:lnTo>
                    <a:pt x="749" y="110"/>
                  </a:lnTo>
                  <a:lnTo>
                    <a:pt x="731" y="96"/>
                  </a:lnTo>
                  <a:lnTo>
                    <a:pt x="731" y="96"/>
                  </a:lnTo>
                  <a:lnTo>
                    <a:pt x="723" y="105"/>
                  </a:lnTo>
                  <a:lnTo>
                    <a:pt x="723" y="105"/>
                  </a:lnTo>
                  <a:lnTo>
                    <a:pt x="734" y="127"/>
                  </a:lnTo>
                  <a:lnTo>
                    <a:pt x="745" y="151"/>
                  </a:lnTo>
                  <a:lnTo>
                    <a:pt x="755" y="175"/>
                  </a:lnTo>
                  <a:lnTo>
                    <a:pt x="763" y="200"/>
                  </a:lnTo>
                  <a:lnTo>
                    <a:pt x="770" y="226"/>
                  </a:lnTo>
                  <a:lnTo>
                    <a:pt x="775" y="252"/>
                  </a:lnTo>
                  <a:lnTo>
                    <a:pt x="780" y="280"/>
                  </a:lnTo>
                  <a:lnTo>
                    <a:pt x="782" y="306"/>
                  </a:lnTo>
                  <a:lnTo>
                    <a:pt x="782" y="306"/>
                  </a:lnTo>
                  <a:lnTo>
                    <a:pt x="794" y="327"/>
                  </a:lnTo>
                  <a:lnTo>
                    <a:pt x="804" y="347"/>
                  </a:lnTo>
                  <a:lnTo>
                    <a:pt x="813" y="369"/>
                  </a:lnTo>
                  <a:lnTo>
                    <a:pt x="822" y="390"/>
                  </a:lnTo>
                  <a:lnTo>
                    <a:pt x="830" y="412"/>
                  </a:lnTo>
                  <a:lnTo>
                    <a:pt x="838" y="433"/>
                  </a:lnTo>
                  <a:lnTo>
                    <a:pt x="844" y="455"/>
                  </a:lnTo>
                  <a:lnTo>
                    <a:pt x="848" y="477"/>
                  </a:lnTo>
                  <a:lnTo>
                    <a:pt x="848" y="477"/>
                  </a:lnTo>
                  <a:lnTo>
                    <a:pt x="863" y="462"/>
                  </a:lnTo>
                  <a:lnTo>
                    <a:pt x="876" y="449"/>
                  </a:lnTo>
                  <a:lnTo>
                    <a:pt x="888" y="435"/>
                  </a:lnTo>
                  <a:lnTo>
                    <a:pt x="900" y="420"/>
                  </a:lnTo>
                  <a:lnTo>
                    <a:pt x="900" y="420"/>
                  </a:lnTo>
                  <a:close/>
                  <a:moveTo>
                    <a:pt x="2" y="405"/>
                  </a:moveTo>
                  <a:lnTo>
                    <a:pt x="2" y="405"/>
                  </a:lnTo>
                  <a:lnTo>
                    <a:pt x="1" y="421"/>
                  </a:lnTo>
                  <a:lnTo>
                    <a:pt x="0" y="437"/>
                  </a:lnTo>
                  <a:lnTo>
                    <a:pt x="0" y="437"/>
                  </a:lnTo>
                  <a:lnTo>
                    <a:pt x="3" y="448"/>
                  </a:lnTo>
                  <a:lnTo>
                    <a:pt x="3" y="448"/>
                  </a:lnTo>
                  <a:lnTo>
                    <a:pt x="18" y="466"/>
                  </a:lnTo>
                  <a:lnTo>
                    <a:pt x="33" y="483"/>
                  </a:lnTo>
                  <a:lnTo>
                    <a:pt x="51" y="500"/>
                  </a:lnTo>
                  <a:lnTo>
                    <a:pt x="71" y="515"/>
                  </a:lnTo>
                  <a:lnTo>
                    <a:pt x="91" y="530"/>
                  </a:lnTo>
                  <a:lnTo>
                    <a:pt x="113" y="543"/>
                  </a:lnTo>
                  <a:lnTo>
                    <a:pt x="134" y="555"/>
                  </a:lnTo>
                  <a:lnTo>
                    <a:pt x="158" y="566"/>
                  </a:lnTo>
                  <a:lnTo>
                    <a:pt x="158" y="566"/>
                  </a:lnTo>
                  <a:lnTo>
                    <a:pt x="157" y="561"/>
                  </a:lnTo>
                  <a:lnTo>
                    <a:pt x="155" y="557"/>
                  </a:lnTo>
                  <a:lnTo>
                    <a:pt x="155" y="557"/>
                  </a:lnTo>
                  <a:lnTo>
                    <a:pt x="157" y="520"/>
                  </a:lnTo>
                  <a:lnTo>
                    <a:pt x="158" y="502"/>
                  </a:lnTo>
                  <a:lnTo>
                    <a:pt x="160" y="483"/>
                  </a:lnTo>
                  <a:lnTo>
                    <a:pt x="160" y="483"/>
                  </a:lnTo>
                  <a:lnTo>
                    <a:pt x="149" y="465"/>
                  </a:lnTo>
                  <a:lnTo>
                    <a:pt x="139" y="447"/>
                  </a:lnTo>
                  <a:lnTo>
                    <a:pt x="121" y="408"/>
                  </a:lnTo>
                  <a:lnTo>
                    <a:pt x="121" y="408"/>
                  </a:lnTo>
                  <a:lnTo>
                    <a:pt x="91" y="409"/>
                  </a:lnTo>
                  <a:lnTo>
                    <a:pt x="61" y="408"/>
                  </a:lnTo>
                  <a:lnTo>
                    <a:pt x="31" y="407"/>
                  </a:lnTo>
                  <a:lnTo>
                    <a:pt x="2" y="405"/>
                  </a:lnTo>
                  <a:lnTo>
                    <a:pt x="2" y="405"/>
                  </a:lnTo>
                  <a:close/>
                  <a:moveTo>
                    <a:pt x="8" y="382"/>
                  </a:moveTo>
                  <a:lnTo>
                    <a:pt x="8" y="382"/>
                  </a:lnTo>
                  <a:lnTo>
                    <a:pt x="33" y="383"/>
                  </a:lnTo>
                  <a:lnTo>
                    <a:pt x="61" y="383"/>
                  </a:lnTo>
                  <a:lnTo>
                    <a:pt x="89" y="382"/>
                  </a:lnTo>
                  <a:lnTo>
                    <a:pt x="115" y="381"/>
                  </a:lnTo>
                  <a:lnTo>
                    <a:pt x="109" y="375"/>
                  </a:lnTo>
                  <a:lnTo>
                    <a:pt x="109" y="375"/>
                  </a:lnTo>
                  <a:lnTo>
                    <a:pt x="96" y="335"/>
                  </a:lnTo>
                  <a:lnTo>
                    <a:pt x="84" y="294"/>
                  </a:lnTo>
                  <a:lnTo>
                    <a:pt x="79" y="274"/>
                  </a:lnTo>
                  <a:lnTo>
                    <a:pt x="76" y="252"/>
                  </a:lnTo>
                  <a:lnTo>
                    <a:pt x="72" y="232"/>
                  </a:lnTo>
                  <a:lnTo>
                    <a:pt x="70" y="210"/>
                  </a:lnTo>
                  <a:lnTo>
                    <a:pt x="70" y="210"/>
                  </a:lnTo>
                  <a:lnTo>
                    <a:pt x="57" y="229"/>
                  </a:lnTo>
                  <a:lnTo>
                    <a:pt x="47" y="250"/>
                  </a:lnTo>
                  <a:lnTo>
                    <a:pt x="37" y="269"/>
                  </a:lnTo>
                  <a:lnTo>
                    <a:pt x="29" y="289"/>
                  </a:lnTo>
                  <a:lnTo>
                    <a:pt x="21" y="310"/>
                  </a:lnTo>
                  <a:lnTo>
                    <a:pt x="14" y="331"/>
                  </a:lnTo>
                  <a:lnTo>
                    <a:pt x="9" y="353"/>
                  </a:lnTo>
                  <a:lnTo>
                    <a:pt x="5" y="376"/>
                  </a:lnTo>
                  <a:lnTo>
                    <a:pt x="5" y="376"/>
                  </a:lnTo>
                  <a:lnTo>
                    <a:pt x="6" y="379"/>
                  </a:lnTo>
                  <a:lnTo>
                    <a:pt x="8" y="382"/>
                  </a:lnTo>
                  <a:lnTo>
                    <a:pt x="8" y="382"/>
                  </a:lnTo>
                  <a:close/>
                  <a:moveTo>
                    <a:pt x="425" y="50"/>
                  </a:moveTo>
                  <a:lnTo>
                    <a:pt x="425" y="50"/>
                  </a:lnTo>
                  <a:lnTo>
                    <a:pt x="408" y="45"/>
                  </a:lnTo>
                  <a:lnTo>
                    <a:pt x="390" y="42"/>
                  </a:lnTo>
                  <a:lnTo>
                    <a:pt x="372" y="38"/>
                  </a:lnTo>
                  <a:lnTo>
                    <a:pt x="356" y="36"/>
                  </a:lnTo>
                  <a:lnTo>
                    <a:pt x="320" y="32"/>
                  </a:lnTo>
                  <a:lnTo>
                    <a:pt x="286" y="31"/>
                  </a:lnTo>
                  <a:lnTo>
                    <a:pt x="286" y="31"/>
                  </a:lnTo>
                  <a:lnTo>
                    <a:pt x="276" y="33"/>
                  </a:lnTo>
                  <a:lnTo>
                    <a:pt x="268" y="36"/>
                  </a:lnTo>
                  <a:lnTo>
                    <a:pt x="258" y="38"/>
                  </a:lnTo>
                  <a:lnTo>
                    <a:pt x="250" y="40"/>
                  </a:lnTo>
                  <a:lnTo>
                    <a:pt x="250" y="40"/>
                  </a:lnTo>
                  <a:lnTo>
                    <a:pt x="250" y="43"/>
                  </a:lnTo>
                  <a:lnTo>
                    <a:pt x="249" y="45"/>
                  </a:lnTo>
                  <a:lnTo>
                    <a:pt x="249" y="45"/>
                  </a:lnTo>
                  <a:lnTo>
                    <a:pt x="273" y="61"/>
                  </a:lnTo>
                  <a:lnTo>
                    <a:pt x="297" y="79"/>
                  </a:lnTo>
                  <a:lnTo>
                    <a:pt x="321" y="98"/>
                  </a:lnTo>
                  <a:lnTo>
                    <a:pt x="342" y="119"/>
                  </a:lnTo>
                  <a:lnTo>
                    <a:pt x="342" y="119"/>
                  </a:lnTo>
                  <a:lnTo>
                    <a:pt x="363" y="101"/>
                  </a:lnTo>
                  <a:lnTo>
                    <a:pt x="384" y="85"/>
                  </a:lnTo>
                  <a:lnTo>
                    <a:pt x="406" y="69"/>
                  </a:lnTo>
                  <a:lnTo>
                    <a:pt x="428" y="56"/>
                  </a:lnTo>
                  <a:lnTo>
                    <a:pt x="428" y="56"/>
                  </a:lnTo>
                  <a:lnTo>
                    <a:pt x="426" y="55"/>
                  </a:lnTo>
                  <a:lnTo>
                    <a:pt x="425" y="52"/>
                  </a:lnTo>
                  <a:lnTo>
                    <a:pt x="425" y="50"/>
                  </a:lnTo>
                  <a:lnTo>
                    <a:pt x="425" y="50"/>
                  </a:lnTo>
                  <a:close/>
                  <a:moveTo>
                    <a:pt x="329" y="126"/>
                  </a:moveTo>
                  <a:lnTo>
                    <a:pt x="329" y="126"/>
                  </a:lnTo>
                  <a:lnTo>
                    <a:pt x="318" y="115"/>
                  </a:lnTo>
                  <a:lnTo>
                    <a:pt x="307" y="105"/>
                  </a:lnTo>
                  <a:lnTo>
                    <a:pt x="285" y="86"/>
                  </a:lnTo>
                  <a:lnTo>
                    <a:pt x="261" y="69"/>
                  </a:lnTo>
                  <a:lnTo>
                    <a:pt x="238" y="54"/>
                  </a:lnTo>
                  <a:lnTo>
                    <a:pt x="238" y="54"/>
                  </a:lnTo>
                  <a:lnTo>
                    <a:pt x="215" y="67"/>
                  </a:lnTo>
                  <a:lnTo>
                    <a:pt x="192" y="80"/>
                  </a:lnTo>
                  <a:lnTo>
                    <a:pt x="170" y="96"/>
                  </a:lnTo>
                  <a:lnTo>
                    <a:pt x="151" y="111"/>
                  </a:lnTo>
                  <a:lnTo>
                    <a:pt x="132" y="128"/>
                  </a:lnTo>
                  <a:lnTo>
                    <a:pt x="114" y="146"/>
                  </a:lnTo>
                  <a:lnTo>
                    <a:pt x="96" y="167"/>
                  </a:lnTo>
                  <a:lnTo>
                    <a:pt x="80" y="187"/>
                  </a:lnTo>
                  <a:lnTo>
                    <a:pt x="80" y="187"/>
                  </a:lnTo>
                  <a:lnTo>
                    <a:pt x="80" y="193"/>
                  </a:lnTo>
                  <a:lnTo>
                    <a:pt x="80" y="193"/>
                  </a:lnTo>
                  <a:lnTo>
                    <a:pt x="84" y="216"/>
                  </a:lnTo>
                  <a:lnTo>
                    <a:pt x="89" y="240"/>
                  </a:lnTo>
                  <a:lnTo>
                    <a:pt x="95" y="264"/>
                  </a:lnTo>
                  <a:lnTo>
                    <a:pt x="101" y="287"/>
                  </a:lnTo>
                  <a:lnTo>
                    <a:pt x="107" y="311"/>
                  </a:lnTo>
                  <a:lnTo>
                    <a:pt x="115" y="334"/>
                  </a:lnTo>
                  <a:lnTo>
                    <a:pt x="124" y="357"/>
                  </a:lnTo>
                  <a:lnTo>
                    <a:pt x="133" y="379"/>
                  </a:lnTo>
                  <a:lnTo>
                    <a:pt x="133" y="379"/>
                  </a:lnTo>
                  <a:lnTo>
                    <a:pt x="182" y="372"/>
                  </a:lnTo>
                  <a:lnTo>
                    <a:pt x="182" y="372"/>
                  </a:lnTo>
                  <a:lnTo>
                    <a:pt x="186" y="361"/>
                  </a:lnTo>
                  <a:lnTo>
                    <a:pt x="186" y="361"/>
                  </a:lnTo>
                  <a:lnTo>
                    <a:pt x="199" y="328"/>
                  </a:lnTo>
                  <a:lnTo>
                    <a:pt x="214" y="294"/>
                  </a:lnTo>
                  <a:lnTo>
                    <a:pt x="231" y="263"/>
                  </a:lnTo>
                  <a:lnTo>
                    <a:pt x="249" y="233"/>
                  </a:lnTo>
                  <a:lnTo>
                    <a:pt x="269" y="203"/>
                  </a:lnTo>
                  <a:lnTo>
                    <a:pt x="289" y="176"/>
                  </a:lnTo>
                  <a:lnTo>
                    <a:pt x="311" y="150"/>
                  </a:lnTo>
                  <a:lnTo>
                    <a:pt x="334" y="127"/>
                  </a:lnTo>
                  <a:lnTo>
                    <a:pt x="329" y="126"/>
                  </a:lnTo>
                  <a:close/>
                  <a:moveTo>
                    <a:pt x="453" y="42"/>
                  </a:moveTo>
                  <a:lnTo>
                    <a:pt x="453" y="42"/>
                  </a:lnTo>
                  <a:lnTo>
                    <a:pt x="476" y="31"/>
                  </a:lnTo>
                  <a:lnTo>
                    <a:pt x="499" y="21"/>
                  </a:lnTo>
                  <a:lnTo>
                    <a:pt x="521" y="12"/>
                  </a:lnTo>
                  <a:lnTo>
                    <a:pt x="545" y="6"/>
                  </a:lnTo>
                  <a:lnTo>
                    <a:pt x="544" y="2"/>
                  </a:lnTo>
                  <a:lnTo>
                    <a:pt x="544" y="2"/>
                  </a:lnTo>
                  <a:lnTo>
                    <a:pt x="523" y="0"/>
                  </a:lnTo>
                  <a:lnTo>
                    <a:pt x="499" y="0"/>
                  </a:lnTo>
                  <a:lnTo>
                    <a:pt x="452" y="0"/>
                  </a:lnTo>
                  <a:lnTo>
                    <a:pt x="452" y="0"/>
                  </a:lnTo>
                  <a:lnTo>
                    <a:pt x="418" y="0"/>
                  </a:lnTo>
                  <a:lnTo>
                    <a:pt x="383" y="2"/>
                  </a:lnTo>
                  <a:lnTo>
                    <a:pt x="348" y="7"/>
                  </a:lnTo>
                  <a:lnTo>
                    <a:pt x="333" y="9"/>
                  </a:lnTo>
                  <a:lnTo>
                    <a:pt x="317" y="14"/>
                  </a:lnTo>
                  <a:lnTo>
                    <a:pt x="313" y="18"/>
                  </a:lnTo>
                  <a:lnTo>
                    <a:pt x="313" y="18"/>
                  </a:lnTo>
                  <a:lnTo>
                    <a:pt x="330" y="19"/>
                  </a:lnTo>
                  <a:lnTo>
                    <a:pt x="348" y="20"/>
                  </a:lnTo>
                  <a:lnTo>
                    <a:pt x="383" y="25"/>
                  </a:lnTo>
                  <a:lnTo>
                    <a:pt x="418" y="32"/>
                  </a:lnTo>
                  <a:lnTo>
                    <a:pt x="453" y="42"/>
                  </a:lnTo>
                  <a:lnTo>
                    <a:pt x="453" y="42"/>
                  </a:lnTo>
                  <a:close/>
                  <a:moveTo>
                    <a:pt x="715" y="92"/>
                  </a:moveTo>
                  <a:lnTo>
                    <a:pt x="715" y="92"/>
                  </a:lnTo>
                  <a:lnTo>
                    <a:pt x="721" y="85"/>
                  </a:lnTo>
                  <a:lnTo>
                    <a:pt x="721" y="85"/>
                  </a:lnTo>
                  <a:lnTo>
                    <a:pt x="720" y="83"/>
                  </a:lnTo>
                  <a:lnTo>
                    <a:pt x="719" y="80"/>
                  </a:lnTo>
                  <a:lnTo>
                    <a:pt x="719" y="80"/>
                  </a:lnTo>
                  <a:lnTo>
                    <a:pt x="704" y="69"/>
                  </a:lnTo>
                  <a:lnTo>
                    <a:pt x="704" y="69"/>
                  </a:lnTo>
                  <a:lnTo>
                    <a:pt x="702" y="73"/>
                  </a:lnTo>
                  <a:lnTo>
                    <a:pt x="702" y="73"/>
                  </a:lnTo>
                  <a:lnTo>
                    <a:pt x="715" y="92"/>
                  </a:lnTo>
                  <a:lnTo>
                    <a:pt x="715" y="92"/>
                  </a:lnTo>
                  <a:close/>
                  <a:moveTo>
                    <a:pt x="708" y="99"/>
                  </a:moveTo>
                  <a:lnTo>
                    <a:pt x="704" y="98"/>
                  </a:lnTo>
                  <a:lnTo>
                    <a:pt x="704" y="98"/>
                  </a:lnTo>
                  <a:lnTo>
                    <a:pt x="697" y="87"/>
                  </a:lnTo>
                  <a:lnTo>
                    <a:pt x="690" y="78"/>
                  </a:lnTo>
                  <a:lnTo>
                    <a:pt x="675" y="58"/>
                  </a:lnTo>
                  <a:lnTo>
                    <a:pt x="675" y="58"/>
                  </a:lnTo>
                  <a:lnTo>
                    <a:pt x="648" y="44"/>
                  </a:lnTo>
                  <a:lnTo>
                    <a:pt x="619" y="31"/>
                  </a:lnTo>
                  <a:lnTo>
                    <a:pt x="589" y="20"/>
                  </a:lnTo>
                  <a:lnTo>
                    <a:pt x="559" y="12"/>
                  </a:lnTo>
                  <a:lnTo>
                    <a:pt x="559" y="12"/>
                  </a:lnTo>
                  <a:lnTo>
                    <a:pt x="517" y="25"/>
                  </a:lnTo>
                  <a:lnTo>
                    <a:pt x="496" y="33"/>
                  </a:lnTo>
                  <a:lnTo>
                    <a:pt x="476" y="43"/>
                  </a:lnTo>
                  <a:lnTo>
                    <a:pt x="476" y="43"/>
                  </a:lnTo>
                  <a:lnTo>
                    <a:pt x="476" y="50"/>
                  </a:lnTo>
                  <a:lnTo>
                    <a:pt x="476" y="50"/>
                  </a:lnTo>
                  <a:lnTo>
                    <a:pt x="499" y="58"/>
                  </a:lnTo>
                  <a:lnTo>
                    <a:pt x="523" y="68"/>
                  </a:lnTo>
                  <a:lnTo>
                    <a:pt x="545" y="80"/>
                  </a:lnTo>
                  <a:lnTo>
                    <a:pt x="567" y="92"/>
                  </a:lnTo>
                  <a:lnTo>
                    <a:pt x="590" y="105"/>
                  </a:lnTo>
                  <a:lnTo>
                    <a:pt x="612" y="121"/>
                  </a:lnTo>
                  <a:lnTo>
                    <a:pt x="633" y="137"/>
                  </a:lnTo>
                  <a:lnTo>
                    <a:pt x="654" y="153"/>
                  </a:lnTo>
                  <a:lnTo>
                    <a:pt x="654" y="153"/>
                  </a:lnTo>
                  <a:lnTo>
                    <a:pt x="681" y="127"/>
                  </a:lnTo>
                  <a:lnTo>
                    <a:pt x="708" y="99"/>
                  </a:lnTo>
                  <a:lnTo>
                    <a:pt x="708" y="99"/>
                  </a:lnTo>
                  <a:close/>
                  <a:moveTo>
                    <a:pt x="201" y="496"/>
                  </a:moveTo>
                  <a:lnTo>
                    <a:pt x="201" y="496"/>
                  </a:lnTo>
                  <a:lnTo>
                    <a:pt x="220" y="520"/>
                  </a:lnTo>
                  <a:lnTo>
                    <a:pt x="240" y="544"/>
                  </a:lnTo>
                  <a:lnTo>
                    <a:pt x="262" y="567"/>
                  </a:lnTo>
                  <a:lnTo>
                    <a:pt x="285" y="589"/>
                  </a:lnTo>
                  <a:lnTo>
                    <a:pt x="285" y="589"/>
                  </a:lnTo>
                  <a:lnTo>
                    <a:pt x="305" y="607"/>
                  </a:lnTo>
                  <a:lnTo>
                    <a:pt x="305" y="607"/>
                  </a:lnTo>
                  <a:lnTo>
                    <a:pt x="339" y="610"/>
                  </a:lnTo>
                  <a:lnTo>
                    <a:pt x="374" y="614"/>
                  </a:lnTo>
                  <a:lnTo>
                    <a:pt x="410" y="616"/>
                  </a:lnTo>
                  <a:lnTo>
                    <a:pt x="448" y="616"/>
                  </a:lnTo>
                  <a:lnTo>
                    <a:pt x="448" y="616"/>
                  </a:lnTo>
                  <a:lnTo>
                    <a:pt x="489" y="616"/>
                  </a:lnTo>
                  <a:lnTo>
                    <a:pt x="530" y="613"/>
                  </a:lnTo>
                  <a:lnTo>
                    <a:pt x="526" y="607"/>
                  </a:lnTo>
                  <a:lnTo>
                    <a:pt x="526" y="607"/>
                  </a:lnTo>
                  <a:lnTo>
                    <a:pt x="523" y="568"/>
                  </a:lnTo>
                  <a:lnTo>
                    <a:pt x="517" y="530"/>
                  </a:lnTo>
                  <a:lnTo>
                    <a:pt x="517" y="530"/>
                  </a:lnTo>
                  <a:lnTo>
                    <a:pt x="512" y="502"/>
                  </a:lnTo>
                  <a:lnTo>
                    <a:pt x="506" y="476"/>
                  </a:lnTo>
                  <a:lnTo>
                    <a:pt x="500" y="449"/>
                  </a:lnTo>
                  <a:lnTo>
                    <a:pt x="493" y="423"/>
                  </a:lnTo>
                  <a:lnTo>
                    <a:pt x="484" y="397"/>
                  </a:lnTo>
                  <a:lnTo>
                    <a:pt x="475" y="372"/>
                  </a:lnTo>
                  <a:lnTo>
                    <a:pt x="465" y="348"/>
                  </a:lnTo>
                  <a:lnTo>
                    <a:pt x="455" y="324"/>
                  </a:lnTo>
                  <a:lnTo>
                    <a:pt x="455" y="324"/>
                  </a:lnTo>
                  <a:lnTo>
                    <a:pt x="428" y="337"/>
                  </a:lnTo>
                  <a:lnTo>
                    <a:pt x="399" y="349"/>
                  </a:lnTo>
                  <a:lnTo>
                    <a:pt x="370" y="360"/>
                  </a:lnTo>
                  <a:lnTo>
                    <a:pt x="340" y="370"/>
                  </a:lnTo>
                  <a:lnTo>
                    <a:pt x="340" y="370"/>
                  </a:lnTo>
                  <a:lnTo>
                    <a:pt x="311" y="378"/>
                  </a:lnTo>
                  <a:lnTo>
                    <a:pt x="282" y="385"/>
                  </a:lnTo>
                  <a:lnTo>
                    <a:pt x="253" y="393"/>
                  </a:lnTo>
                  <a:lnTo>
                    <a:pt x="225" y="397"/>
                  </a:lnTo>
                  <a:lnTo>
                    <a:pt x="225" y="397"/>
                  </a:lnTo>
                  <a:lnTo>
                    <a:pt x="217" y="423"/>
                  </a:lnTo>
                  <a:lnTo>
                    <a:pt x="210" y="447"/>
                  </a:lnTo>
                  <a:lnTo>
                    <a:pt x="205" y="471"/>
                  </a:lnTo>
                  <a:lnTo>
                    <a:pt x="201" y="496"/>
                  </a:lnTo>
                  <a:lnTo>
                    <a:pt x="201" y="496"/>
                  </a:lnTo>
                  <a:close/>
                  <a:moveTo>
                    <a:pt x="481" y="301"/>
                  </a:moveTo>
                  <a:lnTo>
                    <a:pt x="481" y="301"/>
                  </a:lnTo>
                  <a:lnTo>
                    <a:pt x="479" y="307"/>
                  </a:lnTo>
                  <a:lnTo>
                    <a:pt x="479" y="312"/>
                  </a:lnTo>
                  <a:lnTo>
                    <a:pt x="479" y="312"/>
                  </a:lnTo>
                  <a:lnTo>
                    <a:pt x="490" y="336"/>
                  </a:lnTo>
                  <a:lnTo>
                    <a:pt x="501" y="360"/>
                  </a:lnTo>
                  <a:lnTo>
                    <a:pt x="511" y="385"/>
                  </a:lnTo>
                  <a:lnTo>
                    <a:pt x="520" y="412"/>
                  </a:lnTo>
                  <a:lnTo>
                    <a:pt x="527" y="438"/>
                  </a:lnTo>
                  <a:lnTo>
                    <a:pt x="535" y="465"/>
                  </a:lnTo>
                  <a:lnTo>
                    <a:pt x="542" y="492"/>
                  </a:lnTo>
                  <a:lnTo>
                    <a:pt x="547" y="520"/>
                  </a:lnTo>
                  <a:lnTo>
                    <a:pt x="547" y="520"/>
                  </a:lnTo>
                  <a:lnTo>
                    <a:pt x="550" y="543"/>
                  </a:lnTo>
                  <a:lnTo>
                    <a:pt x="553" y="566"/>
                  </a:lnTo>
                  <a:lnTo>
                    <a:pt x="555" y="610"/>
                  </a:lnTo>
                  <a:lnTo>
                    <a:pt x="555" y="610"/>
                  </a:lnTo>
                  <a:lnTo>
                    <a:pt x="597" y="603"/>
                  </a:lnTo>
                  <a:lnTo>
                    <a:pt x="638" y="592"/>
                  </a:lnTo>
                  <a:lnTo>
                    <a:pt x="678" y="580"/>
                  </a:lnTo>
                  <a:lnTo>
                    <a:pt x="696" y="573"/>
                  </a:lnTo>
                  <a:lnTo>
                    <a:pt x="714" y="564"/>
                  </a:lnTo>
                  <a:lnTo>
                    <a:pt x="714" y="564"/>
                  </a:lnTo>
                  <a:lnTo>
                    <a:pt x="722" y="540"/>
                  </a:lnTo>
                  <a:lnTo>
                    <a:pt x="722" y="540"/>
                  </a:lnTo>
                  <a:lnTo>
                    <a:pt x="731" y="514"/>
                  </a:lnTo>
                  <a:lnTo>
                    <a:pt x="738" y="486"/>
                  </a:lnTo>
                  <a:lnTo>
                    <a:pt x="744" y="460"/>
                  </a:lnTo>
                  <a:lnTo>
                    <a:pt x="749" y="433"/>
                  </a:lnTo>
                  <a:lnTo>
                    <a:pt x="752" y="407"/>
                  </a:lnTo>
                  <a:lnTo>
                    <a:pt x="755" y="381"/>
                  </a:lnTo>
                  <a:lnTo>
                    <a:pt x="757" y="354"/>
                  </a:lnTo>
                  <a:lnTo>
                    <a:pt x="757" y="329"/>
                  </a:lnTo>
                  <a:lnTo>
                    <a:pt x="757" y="329"/>
                  </a:lnTo>
                  <a:lnTo>
                    <a:pt x="741" y="304"/>
                  </a:lnTo>
                  <a:lnTo>
                    <a:pt x="723" y="280"/>
                  </a:lnTo>
                  <a:lnTo>
                    <a:pt x="705" y="256"/>
                  </a:lnTo>
                  <a:lnTo>
                    <a:pt x="685" y="233"/>
                  </a:lnTo>
                  <a:lnTo>
                    <a:pt x="685" y="233"/>
                  </a:lnTo>
                  <a:lnTo>
                    <a:pt x="667" y="214"/>
                  </a:lnTo>
                  <a:lnTo>
                    <a:pt x="649" y="194"/>
                  </a:lnTo>
                  <a:lnTo>
                    <a:pt x="649" y="194"/>
                  </a:lnTo>
                  <a:lnTo>
                    <a:pt x="630" y="210"/>
                  </a:lnTo>
                  <a:lnTo>
                    <a:pt x="610" y="226"/>
                  </a:lnTo>
                  <a:lnTo>
                    <a:pt x="590" y="239"/>
                  </a:lnTo>
                  <a:lnTo>
                    <a:pt x="569" y="252"/>
                  </a:lnTo>
                  <a:lnTo>
                    <a:pt x="526" y="277"/>
                  </a:lnTo>
                  <a:lnTo>
                    <a:pt x="481" y="301"/>
                  </a:lnTo>
                  <a:lnTo>
                    <a:pt x="481" y="301"/>
                  </a:lnTo>
                  <a:close/>
                  <a:moveTo>
                    <a:pt x="589" y="760"/>
                  </a:moveTo>
                  <a:lnTo>
                    <a:pt x="589" y="760"/>
                  </a:lnTo>
                  <a:lnTo>
                    <a:pt x="579" y="760"/>
                  </a:lnTo>
                  <a:lnTo>
                    <a:pt x="568" y="762"/>
                  </a:lnTo>
                  <a:lnTo>
                    <a:pt x="559" y="763"/>
                  </a:lnTo>
                  <a:lnTo>
                    <a:pt x="554" y="763"/>
                  </a:lnTo>
                  <a:lnTo>
                    <a:pt x="549" y="763"/>
                  </a:lnTo>
                  <a:lnTo>
                    <a:pt x="549" y="763"/>
                  </a:lnTo>
                  <a:lnTo>
                    <a:pt x="544" y="784"/>
                  </a:lnTo>
                  <a:lnTo>
                    <a:pt x="539" y="807"/>
                  </a:lnTo>
                  <a:lnTo>
                    <a:pt x="536" y="814"/>
                  </a:lnTo>
                  <a:lnTo>
                    <a:pt x="536" y="814"/>
                  </a:lnTo>
                  <a:lnTo>
                    <a:pt x="561" y="794"/>
                  </a:lnTo>
                  <a:lnTo>
                    <a:pt x="585" y="770"/>
                  </a:lnTo>
                  <a:lnTo>
                    <a:pt x="589" y="760"/>
                  </a:lnTo>
                  <a:close/>
                  <a:moveTo>
                    <a:pt x="551" y="735"/>
                  </a:moveTo>
                  <a:lnTo>
                    <a:pt x="551" y="735"/>
                  </a:lnTo>
                  <a:lnTo>
                    <a:pt x="578" y="742"/>
                  </a:lnTo>
                  <a:lnTo>
                    <a:pt x="604" y="748"/>
                  </a:lnTo>
                  <a:lnTo>
                    <a:pt x="604" y="748"/>
                  </a:lnTo>
                  <a:lnTo>
                    <a:pt x="616" y="734"/>
                  </a:lnTo>
                  <a:lnTo>
                    <a:pt x="628" y="717"/>
                  </a:lnTo>
                  <a:lnTo>
                    <a:pt x="651" y="681"/>
                  </a:lnTo>
                  <a:lnTo>
                    <a:pt x="674" y="643"/>
                  </a:lnTo>
                  <a:lnTo>
                    <a:pt x="692" y="607"/>
                  </a:lnTo>
                  <a:lnTo>
                    <a:pt x="692" y="607"/>
                  </a:lnTo>
                  <a:lnTo>
                    <a:pt x="662" y="616"/>
                  </a:lnTo>
                  <a:lnTo>
                    <a:pt x="628" y="626"/>
                  </a:lnTo>
                  <a:lnTo>
                    <a:pt x="594" y="633"/>
                  </a:lnTo>
                  <a:lnTo>
                    <a:pt x="557" y="638"/>
                  </a:lnTo>
                  <a:lnTo>
                    <a:pt x="557" y="638"/>
                  </a:lnTo>
                  <a:lnTo>
                    <a:pt x="556" y="687"/>
                  </a:lnTo>
                  <a:lnTo>
                    <a:pt x="555" y="714"/>
                  </a:lnTo>
                  <a:lnTo>
                    <a:pt x="551" y="735"/>
                  </a:lnTo>
                  <a:lnTo>
                    <a:pt x="551" y="735"/>
                  </a:lnTo>
                  <a:close/>
                  <a:moveTo>
                    <a:pt x="146" y="399"/>
                  </a:moveTo>
                  <a:lnTo>
                    <a:pt x="148" y="407"/>
                  </a:lnTo>
                  <a:lnTo>
                    <a:pt x="148" y="407"/>
                  </a:lnTo>
                  <a:lnTo>
                    <a:pt x="167" y="443"/>
                  </a:lnTo>
                  <a:lnTo>
                    <a:pt x="167" y="443"/>
                  </a:lnTo>
                  <a:lnTo>
                    <a:pt x="169" y="424"/>
                  </a:lnTo>
                  <a:lnTo>
                    <a:pt x="172" y="414"/>
                  </a:lnTo>
                  <a:lnTo>
                    <a:pt x="173" y="405"/>
                  </a:lnTo>
                  <a:lnTo>
                    <a:pt x="173" y="405"/>
                  </a:lnTo>
                  <a:lnTo>
                    <a:pt x="167" y="403"/>
                  </a:lnTo>
                  <a:lnTo>
                    <a:pt x="160" y="401"/>
                  </a:lnTo>
                  <a:lnTo>
                    <a:pt x="152" y="399"/>
                  </a:lnTo>
                  <a:lnTo>
                    <a:pt x="146" y="399"/>
                  </a:lnTo>
                  <a:lnTo>
                    <a:pt x="146" y="399"/>
                  </a:lnTo>
                  <a:close/>
                  <a:moveTo>
                    <a:pt x="276" y="861"/>
                  </a:moveTo>
                  <a:lnTo>
                    <a:pt x="276" y="861"/>
                  </a:lnTo>
                  <a:lnTo>
                    <a:pt x="299" y="871"/>
                  </a:lnTo>
                  <a:lnTo>
                    <a:pt x="324" y="879"/>
                  </a:lnTo>
                  <a:lnTo>
                    <a:pt x="351" y="887"/>
                  </a:lnTo>
                  <a:lnTo>
                    <a:pt x="377" y="891"/>
                  </a:lnTo>
                  <a:lnTo>
                    <a:pt x="377" y="891"/>
                  </a:lnTo>
                  <a:lnTo>
                    <a:pt x="384" y="891"/>
                  </a:lnTo>
                  <a:lnTo>
                    <a:pt x="388" y="890"/>
                  </a:lnTo>
                  <a:lnTo>
                    <a:pt x="392" y="890"/>
                  </a:lnTo>
                  <a:lnTo>
                    <a:pt x="392" y="890"/>
                  </a:lnTo>
                  <a:lnTo>
                    <a:pt x="423" y="882"/>
                  </a:lnTo>
                  <a:lnTo>
                    <a:pt x="437" y="876"/>
                  </a:lnTo>
                  <a:lnTo>
                    <a:pt x="452" y="870"/>
                  </a:lnTo>
                  <a:lnTo>
                    <a:pt x="465" y="864"/>
                  </a:lnTo>
                  <a:lnTo>
                    <a:pt x="478" y="855"/>
                  </a:lnTo>
                  <a:lnTo>
                    <a:pt x="508" y="837"/>
                  </a:lnTo>
                  <a:lnTo>
                    <a:pt x="508" y="837"/>
                  </a:lnTo>
                  <a:lnTo>
                    <a:pt x="515" y="796"/>
                  </a:lnTo>
                  <a:lnTo>
                    <a:pt x="521" y="756"/>
                  </a:lnTo>
                  <a:lnTo>
                    <a:pt x="521" y="756"/>
                  </a:lnTo>
                  <a:lnTo>
                    <a:pt x="495" y="747"/>
                  </a:lnTo>
                  <a:lnTo>
                    <a:pt x="469" y="738"/>
                  </a:lnTo>
                  <a:lnTo>
                    <a:pt x="442" y="727"/>
                  </a:lnTo>
                  <a:lnTo>
                    <a:pt x="417" y="715"/>
                  </a:lnTo>
                  <a:lnTo>
                    <a:pt x="392" y="701"/>
                  </a:lnTo>
                  <a:lnTo>
                    <a:pt x="366" y="687"/>
                  </a:lnTo>
                  <a:lnTo>
                    <a:pt x="342" y="673"/>
                  </a:lnTo>
                  <a:lnTo>
                    <a:pt x="320" y="656"/>
                  </a:lnTo>
                  <a:lnTo>
                    <a:pt x="320" y="656"/>
                  </a:lnTo>
                  <a:lnTo>
                    <a:pt x="301" y="652"/>
                  </a:lnTo>
                  <a:lnTo>
                    <a:pt x="286" y="647"/>
                  </a:lnTo>
                  <a:lnTo>
                    <a:pt x="269" y="643"/>
                  </a:lnTo>
                  <a:lnTo>
                    <a:pt x="253" y="637"/>
                  </a:lnTo>
                  <a:lnTo>
                    <a:pt x="222" y="622"/>
                  </a:lnTo>
                  <a:lnTo>
                    <a:pt x="195" y="610"/>
                  </a:lnTo>
                  <a:lnTo>
                    <a:pt x="195" y="610"/>
                  </a:lnTo>
                  <a:lnTo>
                    <a:pt x="197" y="647"/>
                  </a:lnTo>
                  <a:lnTo>
                    <a:pt x="202" y="685"/>
                  </a:lnTo>
                  <a:lnTo>
                    <a:pt x="209" y="718"/>
                  </a:lnTo>
                  <a:lnTo>
                    <a:pt x="219" y="751"/>
                  </a:lnTo>
                  <a:lnTo>
                    <a:pt x="231" y="782"/>
                  </a:lnTo>
                  <a:lnTo>
                    <a:pt x="244" y="811"/>
                  </a:lnTo>
                  <a:lnTo>
                    <a:pt x="258" y="837"/>
                  </a:lnTo>
                  <a:lnTo>
                    <a:pt x="276" y="861"/>
                  </a:lnTo>
                  <a:lnTo>
                    <a:pt x="276" y="861"/>
                  </a:lnTo>
                  <a:close/>
                  <a:moveTo>
                    <a:pt x="452" y="664"/>
                  </a:moveTo>
                  <a:lnTo>
                    <a:pt x="452" y="664"/>
                  </a:lnTo>
                  <a:lnTo>
                    <a:pt x="442" y="664"/>
                  </a:lnTo>
                  <a:lnTo>
                    <a:pt x="431" y="662"/>
                  </a:lnTo>
                  <a:lnTo>
                    <a:pt x="408" y="657"/>
                  </a:lnTo>
                  <a:lnTo>
                    <a:pt x="368" y="646"/>
                  </a:lnTo>
                  <a:lnTo>
                    <a:pt x="368" y="646"/>
                  </a:lnTo>
                  <a:lnTo>
                    <a:pt x="382" y="657"/>
                  </a:lnTo>
                  <a:lnTo>
                    <a:pt x="399" y="669"/>
                  </a:lnTo>
                  <a:lnTo>
                    <a:pt x="419" y="680"/>
                  </a:lnTo>
                  <a:lnTo>
                    <a:pt x="441" y="692"/>
                  </a:lnTo>
                  <a:lnTo>
                    <a:pt x="464" y="703"/>
                  </a:lnTo>
                  <a:lnTo>
                    <a:pt x="487" y="714"/>
                  </a:lnTo>
                  <a:lnTo>
                    <a:pt x="507" y="722"/>
                  </a:lnTo>
                  <a:lnTo>
                    <a:pt x="527" y="729"/>
                  </a:lnTo>
                  <a:lnTo>
                    <a:pt x="527" y="729"/>
                  </a:lnTo>
                  <a:lnTo>
                    <a:pt x="529" y="712"/>
                  </a:lnTo>
                  <a:lnTo>
                    <a:pt x="527" y="695"/>
                  </a:lnTo>
                  <a:lnTo>
                    <a:pt x="527" y="661"/>
                  </a:lnTo>
                  <a:lnTo>
                    <a:pt x="527" y="661"/>
                  </a:lnTo>
                  <a:lnTo>
                    <a:pt x="490" y="663"/>
                  </a:lnTo>
                  <a:lnTo>
                    <a:pt x="452" y="664"/>
                  </a:lnTo>
                  <a:lnTo>
                    <a:pt x="452" y="664"/>
                  </a:lnTo>
                  <a:close/>
                  <a:moveTo>
                    <a:pt x="249" y="589"/>
                  </a:moveTo>
                  <a:lnTo>
                    <a:pt x="249" y="589"/>
                  </a:lnTo>
                  <a:lnTo>
                    <a:pt x="222" y="557"/>
                  </a:lnTo>
                  <a:lnTo>
                    <a:pt x="197" y="526"/>
                  </a:lnTo>
                  <a:lnTo>
                    <a:pt x="197" y="526"/>
                  </a:lnTo>
                  <a:lnTo>
                    <a:pt x="196" y="552"/>
                  </a:lnTo>
                  <a:lnTo>
                    <a:pt x="193" y="579"/>
                  </a:lnTo>
                  <a:lnTo>
                    <a:pt x="193" y="579"/>
                  </a:lnTo>
                  <a:lnTo>
                    <a:pt x="209" y="583"/>
                  </a:lnTo>
                  <a:lnTo>
                    <a:pt x="227" y="587"/>
                  </a:lnTo>
                  <a:lnTo>
                    <a:pt x="262" y="596"/>
                  </a:lnTo>
                  <a:lnTo>
                    <a:pt x="262" y="596"/>
                  </a:lnTo>
                  <a:lnTo>
                    <a:pt x="255" y="591"/>
                  </a:lnTo>
                  <a:lnTo>
                    <a:pt x="249" y="589"/>
                  </a:lnTo>
                  <a:lnTo>
                    <a:pt x="249" y="589"/>
                  </a:lnTo>
                  <a:close/>
                  <a:moveTo>
                    <a:pt x="786" y="382"/>
                  </a:moveTo>
                  <a:lnTo>
                    <a:pt x="786" y="382"/>
                  </a:lnTo>
                  <a:lnTo>
                    <a:pt x="785" y="402"/>
                  </a:lnTo>
                  <a:lnTo>
                    <a:pt x="782" y="421"/>
                  </a:lnTo>
                  <a:lnTo>
                    <a:pt x="779" y="442"/>
                  </a:lnTo>
                  <a:lnTo>
                    <a:pt x="775" y="462"/>
                  </a:lnTo>
                  <a:lnTo>
                    <a:pt x="765" y="503"/>
                  </a:lnTo>
                  <a:lnTo>
                    <a:pt x="753" y="544"/>
                  </a:lnTo>
                  <a:lnTo>
                    <a:pt x="753" y="544"/>
                  </a:lnTo>
                  <a:lnTo>
                    <a:pt x="774" y="532"/>
                  </a:lnTo>
                  <a:lnTo>
                    <a:pt x="794" y="520"/>
                  </a:lnTo>
                  <a:lnTo>
                    <a:pt x="813" y="507"/>
                  </a:lnTo>
                  <a:lnTo>
                    <a:pt x="831" y="494"/>
                  </a:lnTo>
                  <a:lnTo>
                    <a:pt x="831" y="494"/>
                  </a:lnTo>
                  <a:lnTo>
                    <a:pt x="823" y="465"/>
                  </a:lnTo>
                  <a:lnTo>
                    <a:pt x="811" y="437"/>
                  </a:lnTo>
                  <a:lnTo>
                    <a:pt x="799" y="409"/>
                  </a:lnTo>
                  <a:lnTo>
                    <a:pt x="786" y="382"/>
                  </a:lnTo>
                  <a:lnTo>
                    <a:pt x="786" y="382"/>
                  </a:lnTo>
                  <a:close/>
                  <a:moveTo>
                    <a:pt x="2" y="465"/>
                  </a:moveTo>
                  <a:lnTo>
                    <a:pt x="2" y="465"/>
                  </a:lnTo>
                  <a:lnTo>
                    <a:pt x="5" y="495"/>
                  </a:lnTo>
                  <a:lnTo>
                    <a:pt x="11" y="526"/>
                  </a:lnTo>
                  <a:lnTo>
                    <a:pt x="17" y="556"/>
                  </a:lnTo>
                  <a:lnTo>
                    <a:pt x="26" y="585"/>
                  </a:lnTo>
                  <a:lnTo>
                    <a:pt x="37" y="614"/>
                  </a:lnTo>
                  <a:lnTo>
                    <a:pt x="49" y="641"/>
                  </a:lnTo>
                  <a:lnTo>
                    <a:pt x="64" y="669"/>
                  </a:lnTo>
                  <a:lnTo>
                    <a:pt x="79" y="694"/>
                  </a:lnTo>
                  <a:lnTo>
                    <a:pt x="96" y="720"/>
                  </a:lnTo>
                  <a:lnTo>
                    <a:pt x="115" y="744"/>
                  </a:lnTo>
                  <a:lnTo>
                    <a:pt x="136" y="765"/>
                  </a:lnTo>
                  <a:lnTo>
                    <a:pt x="157" y="787"/>
                  </a:lnTo>
                  <a:lnTo>
                    <a:pt x="180" y="806"/>
                  </a:lnTo>
                  <a:lnTo>
                    <a:pt x="205" y="824"/>
                  </a:lnTo>
                  <a:lnTo>
                    <a:pt x="231" y="840"/>
                  </a:lnTo>
                  <a:lnTo>
                    <a:pt x="258" y="854"/>
                  </a:lnTo>
                  <a:lnTo>
                    <a:pt x="258" y="854"/>
                  </a:lnTo>
                  <a:lnTo>
                    <a:pt x="239" y="829"/>
                  </a:lnTo>
                  <a:lnTo>
                    <a:pt x="221" y="801"/>
                  </a:lnTo>
                  <a:lnTo>
                    <a:pt x="204" y="774"/>
                  </a:lnTo>
                  <a:lnTo>
                    <a:pt x="191" y="744"/>
                  </a:lnTo>
                  <a:lnTo>
                    <a:pt x="179" y="711"/>
                  </a:lnTo>
                  <a:lnTo>
                    <a:pt x="169" y="679"/>
                  </a:lnTo>
                  <a:lnTo>
                    <a:pt x="162" y="645"/>
                  </a:lnTo>
                  <a:lnTo>
                    <a:pt x="157" y="609"/>
                  </a:lnTo>
                  <a:lnTo>
                    <a:pt x="157" y="609"/>
                  </a:lnTo>
                  <a:lnTo>
                    <a:pt x="132" y="596"/>
                  </a:lnTo>
                  <a:lnTo>
                    <a:pt x="109" y="580"/>
                  </a:lnTo>
                  <a:lnTo>
                    <a:pt x="88" y="564"/>
                  </a:lnTo>
                  <a:lnTo>
                    <a:pt x="67" y="548"/>
                  </a:lnTo>
                  <a:lnTo>
                    <a:pt x="49" y="528"/>
                  </a:lnTo>
                  <a:lnTo>
                    <a:pt x="32" y="508"/>
                  </a:lnTo>
                  <a:lnTo>
                    <a:pt x="17" y="488"/>
                  </a:lnTo>
                  <a:lnTo>
                    <a:pt x="2" y="465"/>
                  </a:lnTo>
                  <a:lnTo>
                    <a:pt x="2" y="465"/>
                  </a:lnTo>
                  <a:close/>
                  <a:moveTo>
                    <a:pt x="714" y="212"/>
                  </a:moveTo>
                  <a:lnTo>
                    <a:pt x="714" y="212"/>
                  </a:lnTo>
                  <a:lnTo>
                    <a:pt x="733" y="235"/>
                  </a:lnTo>
                  <a:lnTo>
                    <a:pt x="752" y="259"/>
                  </a:lnTo>
                  <a:lnTo>
                    <a:pt x="752" y="259"/>
                  </a:lnTo>
                  <a:lnTo>
                    <a:pt x="752" y="253"/>
                  </a:lnTo>
                  <a:lnTo>
                    <a:pt x="752" y="253"/>
                  </a:lnTo>
                  <a:lnTo>
                    <a:pt x="746" y="220"/>
                  </a:lnTo>
                  <a:lnTo>
                    <a:pt x="738" y="187"/>
                  </a:lnTo>
                  <a:lnTo>
                    <a:pt x="727" y="156"/>
                  </a:lnTo>
                  <a:lnTo>
                    <a:pt x="715" y="126"/>
                  </a:lnTo>
                  <a:lnTo>
                    <a:pt x="715" y="126"/>
                  </a:lnTo>
                  <a:lnTo>
                    <a:pt x="710" y="131"/>
                  </a:lnTo>
                  <a:lnTo>
                    <a:pt x="704" y="135"/>
                  </a:lnTo>
                  <a:lnTo>
                    <a:pt x="692" y="144"/>
                  </a:lnTo>
                  <a:lnTo>
                    <a:pt x="680" y="152"/>
                  </a:lnTo>
                  <a:lnTo>
                    <a:pt x="669" y="162"/>
                  </a:lnTo>
                  <a:lnTo>
                    <a:pt x="669" y="162"/>
                  </a:lnTo>
                  <a:lnTo>
                    <a:pt x="669" y="164"/>
                  </a:lnTo>
                  <a:lnTo>
                    <a:pt x="672" y="167"/>
                  </a:lnTo>
                  <a:lnTo>
                    <a:pt x="673" y="171"/>
                  </a:lnTo>
                  <a:lnTo>
                    <a:pt x="673" y="171"/>
                  </a:lnTo>
                  <a:lnTo>
                    <a:pt x="693" y="191"/>
                  </a:lnTo>
                  <a:lnTo>
                    <a:pt x="714" y="212"/>
                  </a:lnTo>
                  <a:lnTo>
                    <a:pt x="714" y="212"/>
                  </a:lnTo>
                  <a:close/>
                  <a:moveTo>
                    <a:pt x="444" y="292"/>
                  </a:moveTo>
                  <a:lnTo>
                    <a:pt x="444" y="292"/>
                  </a:lnTo>
                  <a:lnTo>
                    <a:pt x="441" y="287"/>
                  </a:lnTo>
                  <a:lnTo>
                    <a:pt x="441" y="287"/>
                  </a:lnTo>
                  <a:lnTo>
                    <a:pt x="431" y="269"/>
                  </a:lnTo>
                  <a:lnTo>
                    <a:pt x="420" y="252"/>
                  </a:lnTo>
                  <a:lnTo>
                    <a:pt x="399" y="218"/>
                  </a:lnTo>
                  <a:lnTo>
                    <a:pt x="376" y="187"/>
                  </a:lnTo>
                  <a:lnTo>
                    <a:pt x="352" y="158"/>
                  </a:lnTo>
                  <a:lnTo>
                    <a:pt x="352" y="158"/>
                  </a:lnTo>
                  <a:lnTo>
                    <a:pt x="334" y="180"/>
                  </a:lnTo>
                  <a:lnTo>
                    <a:pt x="317" y="203"/>
                  </a:lnTo>
                  <a:lnTo>
                    <a:pt x="301" y="227"/>
                  </a:lnTo>
                  <a:lnTo>
                    <a:pt x="286" y="252"/>
                  </a:lnTo>
                  <a:lnTo>
                    <a:pt x="271" y="278"/>
                  </a:lnTo>
                  <a:lnTo>
                    <a:pt x="257" y="305"/>
                  </a:lnTo>
                  <a:lnTo>
                    <a:pt x="245" y="334"/>
                  </a:lnTo>
                  <a:lnTo>
                    <a:pt x="234" y="363"/>
                  </a:lnTo>
                  <a:lnTo>
                    <a:pt x="234" y="363"/>
                  </a:lnTo>
                  <a:lnTo>
                    <a:pt x="276" y="353"/>
                  </a:lnTo>
                  <a:lnTo>
                    <a:pt x="320" y="341"/>
                  </a:lnTo>
                  <a:lnTo>
                    <a:pt x="320" y="341"/>
                  </a:lnTo>
                  <a:lnTo>
                    <a:pt x="351" y="330"/>
                  </a:lnTo>
                  <a:lnTo>
                    <a:pt x="383" y="318"/>
                  </a:lnTo>
                  <a:lnTo>
                    <a:pt x="414" y="305"/>
                  </a:lnTo>
                  <a:lnTo>
                    <a:pt x="444" y="292"/>
                  </a:lnTo>
                  <a:lnTo>
                    <a:pt x="444" y="292"/>
                  </a:lnTo>
                  <a:close/>
                  <a:moveTo>
                    <a:pt x="466" y="281"/>
                  </a:moveTo>
                  <a:lnTo>
                    <a:pt x="466" y="281"/>
                  </a:lnTo>
                  <a:lnTo>
                    <a:pt x="489" y="269"/>
                  </a:lnTo>
                  <a:lnTo>
                    <a:pt x="511" y="257"/>
                  </a:lnTo>
                  <a:lnTo>
                    <a:pt x="555" y="229"/>
                  </a:lnTo>
                  <a:lnTo>
                    <a:pt x="596" y="200"/>
                  </a:lnTo>
                  <a:lnTo>
                    <a:pt x="634" y="170"/>
                  </a:lnTo>
                  <a:lnTo>
                    <a:pt x="634" y="170"/>
                  </a:lnTo>
                  <a:lnTo>
                    <a:pt x="631" y="170"/>
                  </a:lnTo>
                  <a:lnTo>
                    <a:pt x="627" y="169"/>
                  </a:lnTo>
                  <a:lnTo>
                    <a:pt x="627" y="169"/>
                  </a:lnTo>
                  <a:lnTo>
                    <a:pt x="607" y="152"/>
                  </a:lnTo>
                  <a:lnTo>
                    <a:pt x="585" y="137"/>
                  </a:lnTo>
                  <a:lnTo>
                    <a:pt x="563" y="122"/>
                  </a:lnTo>
                  <a:lnTo>
                    <a:pt x="542" y="109"/>
                  </a:lnTo>
                  <a:lnTo>
                    <a:pt x="519" y="97"/>
                  </a:lnTo>
                  <a:lnTo>
                    <a:pt x="496" y="86"/>
                  </a:lnTo>
                  <a:lnTo>
                    <a:pt x="473" y="75"/>
                  </a:lnTo>
                  <a:lnTo>
                    <a:pt x="451" y="66"/>
                  </a:lnTo>
                  <a:lnTo>
                    <a:pt x="451" y="66"/>
                  </a:lnTo>
                  <a:lnTo>
                    <a:pt x="429" y="81"/>
                  </a:lnTo>
                  <a:lnTo>
                    <a:pt x="407" y="98"/>
                  </a:lnTo>
                  <a:lnTo>
                    <a:pt x="386" y="115"/>
                  </a:lnTo>
                  <a:lnTo>
                    <a:pt x="366" y="135"/>
                  </a:lnTo>
                  <a:lnTo>
                    <a:pt x="366" y="135"/>
                  </a:lnTo>
                  <a:lnTo>
                    <a:pt x="365" y="139"/>
                  </a:lnTo>
                  <a:lnTo>
                    <a:pt x="366" y="141"/>
                  </a:lnTo>
                  <a:lnTo>
                    <a:pt x="366" y="141"/>
                  </a:lnTo>
                  <a:lnTo>
                    <a:pt x="394" y="173"/>
                  </a:lnTo>
                  <a:lnTo>
                    <a:pt x="419" y="206"/>
                  </a:lnTo>
                  <a:lnTo>
                    <a:pt x="444" y="242"/>
                  </a:lnTo>
                  <a:lnTo>
                    <a:pt x="466" y="281"/>
                  </a:lnTo>
                  <a:lnTo>
                    <a:pt x="466" y="28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071" name="Group 2070">
            <a:extLst>
              <a:ext uri="{FF2B5EF4-FFF2-40B4-BE49-F238E27FC236}">
                <a16:creationId xmlns:a16="http://schemas.microsoft.com/office/drawing/2014/main" id="{A17C83CA-76A2-4B59-9181-2B10F9AA9D9E}"/>
              </a:ext>
            </a:extLst>
          </p:cNvPr>
          <p:cNvGrpSpPr/>
          <p:nvPr/>
        </p:nvGrpSpPr>
        <p:grpSpPr>
          <a:xfrm>
            <a:off x="7525436" y="2430926"/>
            <a:ext cx="612775" cy="612775"/>
            <a:chOff x="5693072" y="3032119"/>
            <a:chExt cx="612775" cy="612775"/>
          </a:xfrm>
        </p:grpSpPr>
        <p:sp>
          <p:nvSpPr>
            <p:cNvPr id="2072" name="Oval 2071">
              <a:extLst>
                <a:ext uri="{FF2B5EF4-FFF2-40B4-BE49-F238E27FC236}">
                  <a16:creationId xmlns:a16="http://schemas.microsoft.com/office/drawing/2014/main" id="{E85A3439-36F1-492E-A411-64F87A1F73D9}"/>
                </a:ext>
              </a:extLst>
            </p:cNvPr>
            <p:cNvSpPr/>
            <p:nvPr/>
          </p:nvSpPr>
          <p:spPr bwMode="ltGray">
            <a:xfrm>
              <a:off x="569307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73" name="Freeform 114">
              <a:extLst>
                <a:ext uri="{FF2B5EF4-FFF2-40B4-BE49-F238E27FC236}">
                  <a16:creationId xmlns:a16="http://schemas.microsoft.com/office/drawing/2014/main" id="{A764018B-3669-4CEF-B16D-3EB563708E99}"/>
                </a:ext>
              </a:extLst>
            </p:cNvPr>
            <p:cNvSpPr>
              <a:spLocks noEditPoints="1"/>
            </p:cNvSpPr>
            <p:nvPr/>
          </p:nvSpPr>
          <p:spPr bwMode="auto">
            <a:xfrm>
              <a:off x="5825687" y="3111071"/>
              <a:ext cx="366713" cy="441325"/>
            </a:xfrm>
            <a:custGeom>
              <a:avLst/>
              <a:gdLst>
                <a:gd name="T0" fmla="*/ 957 w 1157"/>
                <a:gd name="T1" fmla="*/ 1224 h 1391"/>
                <a:gd name="T2" fmla="*/ 1040 w 1157"/>
                <a:gd name="T3" fmla="*/ 951 h 1391"/>
                <a:gd name="T4" fmla="*/ 1141 w 1157"/>
                <a:gd name="T5" fmla="*/ 671 h 1391"/>
                <a:gd name="T6" fmla="*/ 1150 w 1157"/>
                <a:gd name="T7" fmla="*/ 419 h 1391"/>
                <a:gd name="T8" fmla="*/ 1082 w 1157"/>
                <a:gd name="T9" fmla="*/ 248 h 1391"/>
                <a:gd name="T10" fmla="*/ 766 w 1157"/>
                <a:gd name="T11" fmla="*/ 400 h 1391"/>
                <a:gd name="T12" fmla="*/ 444 w 1157"/>
                <a:gd name="T13" fmla="*/ 602 h 1391"/>
                <a:gd name="T14" fmla="*/ 152 w 1157"/>
                <a:gd name="T15" fmla="*/ 856 h 1391"/>
                <a:gd name="T16" fmla="*/ 37 w 1157"/>
                <a:gd name="T17" fmla="*/ 1014 h 1391"/>
                <a:gd name="T18" fmla="*/ 75 w 1157"/>
                <a:gd name="T19" fmla="*/ 845 h 1391"/>
                <a:gd name="T20" fmla="*/ 96 w 1157"/>
                <a:gd name="T21" fmla="*/ 536 h 1391"/>
                <a:gd name="T22" fmla="*/ 130 w 1157"/>
                <a:gd name="T23" fmla="*/ 376 h 1391"/>
                <a:gd name="T24" fmla="*/ 198 w 1157"/>
                <a:gd name="T25" fmla="*/ 263 h 1391"/>
                <a:gd name="T26" fmla="*/ 326 w 1157"/>
                <a:gd name="T27" fmla="*/ 155 h 1391"/>
                <a:gd name="T28" fmla="*/ 622 w 1157"/>
                <a:gd name="T29" fmla="*/ 14 h 1391"/>
                <a:gd name="T30" fmla="*/ 812 w 1157"/>
                <a:gd name="T31" fmla="*/ 60 h 1391"/>
                <a:gd name="T32" fmla="*/ 781 w 1157"/>
                <a:gd name="T33" fmla="*/ 283 h 1391"/>
                <a:gd name="T34" fmla="*/ 366 w 1157"/>
                <a:gd name="T35" fmla="*/ 553 h 1391"/>
                <a:gd name="T36" fmla="*/ 156 w 1157"/>
                <a:gd name="T37" fmla="*/ 743 h 1391"/>
                <a:gd name="T38" fmla="*/ 703 w 1157"/>
                <a:gd name="T39" fmla="*/ 173 h 1391"/>
                <a:gd name="T40" fmla="*/ 741 w 1157"/>
                <a:gd name="T41" fmla="*/ 205 h 1391"/>
                <a:gd name="T42" fmla="*/ 725 w 1157"/>
                <a:gd name="T43" fmla="*/ 246 h 1391"/>
                <a:gd name="T44" fmla="*/ 681 w 1157"/>
                <a:gd name="T45" fmla="*/ 246 h 1391"/>
                <a:gd name="T46" fmla="*/ 664 w 1157"/>
                <a:gd name="T47" fmla="*/ 205 h 1391"/>
                <a:gd name="T48" fmla="*/ 703 w 1157"/>
                <a:gd name="T49" fmla="*/ 173 h 1391"/>
                <a:gd name="T50" fmla="*/ 277 w 1157"/>
                <a:gd name="T51" fmla="*/ 477 h 1391"/>
                <a:gd name="T52" fmla="*/ 285 w 1157"/>
                <a:gd name="T53" fmla="*/ 520 h 1391"/>
                <a:gd name="T54" fmla="*/ 250 w 1157"/>
                <a:gd name="T55" fmla="*/ 544 h 1391"/>
                <a:gd name="T56" fmla="*/ 211 w 1157"/>
                <a:gd name="T57" fmla="*/ 512 h 1391"/>
                <a:gd name="T58" fmla="*/ 228 w 1157"/>
                <a:gd name="T59" fmla="*/ 472 h 1391"/>
                <a:gd name="T60" fmla="*/ 362 w 1157"/>
                <a:gd name="T61" fmla="*/ 383 h 1391"/>
                <a:gd name="T62" fmla="*/ 394 w 1157"/>
                <a:gd name="T63" fmla="*/ 422 h 1391"/>
                <a:gd name="T64" fmla="*/ 370 w 1157"/>
                <a:gd name="T65" fmla="*/ 458 h 1391"/>
                <a:gd name="T66" fmla="*/ 327 w 1157"/>
                <a:gd name="T67" fmla="*/ 451 h 1391"/>
                <a:gd name="T68" fmla="*/ 318 w 1157"/>
                <a:gd name="T69" fmla="*/ 407 h 1391"/>
                <a:gd name="T70" fmla="*/ 355 w 1157"/>
                <a:gd name="T71" fmla="*/ 383 h 1391"/>
                <a:gd name="T72" fmla="*/ 503 w 1157"/>
                <a:gd name="T73" fmla="*/ 322 h 1391"/>
                <a:gd name="T74" fmla="*/ 503 w 1157"/>
                <a:gd name="T75" fmla="*/ 366 h 1391"/>
                <a:gd name="T76" fmla="*/ 462 w 1157"/>
                <a:gd name="T77" fmla="*/ 382 h 1391"/>
                <a:gd name="T78" fmla="*/ 431 w 1157"/>
                <a:gd name="T79" fmla="*/ 344 h 1391"/>
                <a:gd name="T80" fmla="*/ 456 w 1157"/>
                <a:gd name="T81" fmla="*/ 308 h 1391"/>
                <a:gd name="T82" fmla="*/ 601 w 1157"/>
                <a:gd name="T83" fmla="*/ 236 h 1391"/>
                <a:gd name="T84" fmla="*/ 625 w 1157"/>
                <a:gd name="T85" fmla="*/ 272 h 1391"/>
                <a:gd name="T86" fmla="*/ 593 w 1157"/>
                <a:gd name="T87" fmla="*/ 311 h 1391"/>
                <a:gd name="T88" fmla="*/ 553 w 1157"/>
                <a:gd name="T89" fmla="*/ 295 h 1391"/>
                <a:gd name="T90" fmla="*/ 553 w 1157"/>
                <a:gd name="T91" fmla="*/ 250 h 1391"/>
                <a:gd name="T92" fmla="*/ 923 w 1157"/>
                <a:gd name="T93" fmla="*/ 441 h 1391"/>
                <a:gd name="T94" fmla="*/ 964 w 1157"/>
                <a:gd name="T95" fmla="*/ 454 h 1391"/>
                <a:gd name="T96" fmla="*/ 992 w 1157"/>
                <a:gd name="T97" fmla="*/ 492 h 1391"/>
                <a:gd name="T98" fmla="*/ 992 w 1157"/>
                <a:gd name="T99" fmla="*/ 535 h 1391"/>
                <a:gd name="T100" fmla="*/ 964 w 1157"/>
                <a:gd name="T101" fmla="*/ 574 h 1391"/>
                <a:gd name="T102" fmla="*/ 923 w 1157"/>
                <a:gd name="T103" fmla="*/ 587 h 1391"/>
                <a:gd name="T104" fmla="*/ 876 w 1157"/>
                <a:gd name="T105" fmla="*/ 570 h 1391"/>
                <a:gd name="T106" fmla="*/ 851 w 1157"/>
                <a:gd name="T107" fmla="*/ 529 h 1391"/>
                <a:gd name="T108" fmla="*/ 856 w 1157"/>
                <a:gd name="T109" fmla="*/ 485 h 1391"/>
                <a:gd name="T110" fmla="*/ 888 w 1157"/>
                <a:gd name="T111" fmla="*/ 450 h 1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7" h="1391">
                  <a:moveTo>
                    <a:pt x="73" y="1391"/>
                  </a:moveTo>
                  <a:lnTo>
                    <a:pt x="945" y="1391"/>
                  </a:lnTo>
                  <a:lnTo>
                    <a:pt x="945" y="1391"/>
                  </a:lnTo>
                  <a:lnTo>
                    <a:pt x="945" y="1346"/>
                  </a:lnTo>
                  <a:lnTo>
                    <a:pt x="947" y="1304"/>
                  </a:lnTo>
                  <a:lnTo>
                    <a:pt x="951" y="1263"/>
                  </a:lnTo>
                  <a:lnTo>
                    <a:pt x="957" y="1224"/>
                  </a:lnTo>
                  <a:lnTo>
                    <a:pt x="963" y="1186"/>
                  </a:lnTo>
                  <a:lnTo>
                    <a:pt x="972" y="1149"/>
                  </a:lnTo>
                  <a:lnTo>
                    <a:pt x="981" y="1114"/>
                  </a:lnTo>
                  <a:lnTo>
                    <a:pt x="991" y="1080"/>
                  </a:lnTo>
                  <a:lnTo>
                    <a:pt x="1003" y="1046"/>
                  </a:lnTo>
                  <a:lnTo>
                    <a:pt x="1015" y="1013"/>
                  </a:lnTo>
                  <a:lnTo>
                    <a:pt x="1040" y="951"/>
                  </a:lnTo>
                  <a:lnTo>
                    <a:pt x="1065" y="888"/>
                  </a:lnTo>
                  <a:lnTo>
                    <a:pt x="1090" y="827"/>
                  </a:lnTo>
                  <a:lnTo>
                    <a:pt x="1102" y="797"/>
                  </a:lnTo>
                  <a:lnTo>
                    <a:pt x="1113" y="765"/>
                  </a:lnTo>
                  <a:lnTo>
                    <a:pt x="1124" y="735"/>
                  </a:lnTo>
                  <a:lnTo>
                    <a:pt x="1132" y="702"/>
                  </a:lnTo>
                  <a:lnTo>
                    <a:pt x="1141" y="671"/>
                  </a:lnTo>
                  <a:lnTo>
                    <a:pt x="1147" y="637"/>
                  </a:lnTo>
                  <a:lnTo>
                    <a:pt x="1153" y="604"/>
                  </a:lnTo>
                  <a:lnTo>
                    <a:pt x="1156" y="569"/>
                  </a:lnTo>
                  <a:lnTo>
                    <a:pt x="1157" y="533"/>
                  </a:lnTo>
                  <a:lnTo>
                    <a:pt x="1157" y="496"/>
                  </a:lnTo>
                  <a:lnTo>
                    <a:pt x="1155" y="458"/>
                  </a:lnTo>
                  <a:lnTo>
                    <a:pt x="1150" y="419"/>
                  </a:lnTo>
                  <a:lnTo>
                    <a:pt x="1142" y="377"/>
                  </a:lnTo>
                  <a:lnTo>
                    <a:pt x="1132" y="335"/>
                  </a:lnTo>
                  <a:lnTo>
                    <a:pt x="1119" y="290"/>
                  </a:lnTo>
                  <a:lnTo>
                    <a:pt x="1103" y="244"/>
                  </a:lnTo>
                  <a:lnTo>
                    <a:pt x="1103" y="244"/>
                  </a:lnTo>
                  <a:lnTo>
                    <a:pt x="1095" y="245"/>
                  </a:lnTo>
                  <a:lnTo>
                    <a:pt x="1082" y="248"/>
                  </a:lnTo>
                  <a:lnTo>
                    <a:pt x="1065" y="254"/>
                  </a:lnTo>
                  <a:lnTo>
                    <a:pt x="1044" y="262"/>
                  </a:lnTo>
                  <a:lnTo>
                    <a:pt x="991" y="286"/>
                  </a:lnTo>
                  <a:lnTo>
                    <a:pt x="925" y="316"/>
                  </a:lnTo>
                  <a:lnTo>
                    <a:pt x="849" y="354"/>
                  </a:lnTo>
                  <a:lnTo>
                    <a:pt x="808" y="376"/>
                  </a:lnTo>
                  <a:lnTo>
                    <a:pt x="766" y="400"/>
                  </a:lnTo>
                  <a:lnTo>
                    <a:pt x="721" y="425"/>
                  </a:lnTo>
                  <a:lnTo>
                    <a:pt x="676" y="451"/>
                  </a:lnTo>
                  <a:lnTo>
                    <a:pt x="630" y="479"/>
                  </a:lnTo>
                  <a:lnTo>
                    <a:pt x="584" y="508"/>
                  </a:lnTo>
                  <a:lnTo>
                    <a:pt x="537" y="538"/>
                  </a:lnTo>
                  <a:lnTo>
                    <a:pt x="490" y="570"/>
                  </a:lnTo>
                  <a:lnTo>
                    <a:pt x="444" y="602"/>
                  </a:lnTo>
                  <a:lnTo>
                    <a:pt x="398" y="636"/>
                  </a:lnTo>
                  <a:lnTo>
                    <a:pt x="353" y="671"/>
                  </a:lnTo>
                  <a:lnTo>
                    <a:pt x="309" y="707"/>
                  </a:lnTo>
                  <a:lnTo>
                    <a:pt x="267" y="742"/>
                  </a:lnTo>
                  <a:lnTo>
                    <a:pt x="227" y="780"/>
                  </a:lnTo>
                  <a:lnTo>
                    <a:pt x="188" y="818"/>
                  </a:lnTo>
                  <a:lnTo>
                    <a:pt x="152" y="856"/>
                  </a:lnTo>
                  <a:lnTo>
                    <a:pt x="118" y="895"/>
                  </a:lnTo>
                  <a:lnTo>
                    <a:pt x="103" y="915"/>
                  </a:lnTo>
                  <a:lnTo>
                    <a:pt x="88" y="934"/>
                  </a:lnTo>
                  <a:lnTo>
                    <a:pt x="74" y="955"/>
                  </a:lnTo>
                  <a:lnTo>
                    <a:pt x="61" y="974"/>
                  </a:lnTo>
                  <a:lnTo>
                    <a:pt x="48" y="994"/>
                  </a:lnTo>
                  <a:lnTo>
                    <a:pt x="37" y="1014"/>
                  </a:lnTo>
                  <a:lnTo>
                    <a:pt x="26" y="1035"/>
                  </a:lnTo>
                  <a:lnTo>
                    <a:pt x="17" y="1055"/>
                  </a:lnTo>
                  <a:lnTo>
                    <a:pt x="8" y="1075"/>
                  </a:lnTo>
                  <a:lnTo>
                    <a:pt x="0" y="1095"/>
                  </a:lnTo>
                  <a:lnTo>
                    <a:pt x="73" y="1391"/>
                  </a:lnTo>
                  <a:lnTo>
                    <a:pt x="73" y="1391"/>
                  </a:lnTo>
                  <a:close/>
                  <a:moveTo>
                    <a:pt x="75" y="845"/>
                  </a:moveTo>
                  <a:lnTo>
                    <a:pt x="75" y="625"/>
                  </a:lnTo>
                  <a:lnTo>
                    <a:pt x="75" y="625"/>
                  </a:lnTo>
                  <a:lnTo>
                    <a:pt x="75" y="608"/>
                  </a:lnTo>
                  <a:lnTo>
                    <a:pt x="78" y="591"/>
                  </a:lnTo>
                  <a:lnTo>
                    <a:pt x="83" y="572"/>
                  </a:lnTo>
                  <a:lnTo>
                    <a:pt x="88" y="555"/>
                  </a:lnTo>
                  <a:lnTo>
                    <a:pt x="96" y="536"/>
                  </a:lnTo>
                  <a:lnTo>
                    <a:pt x="104" y="519"/>
                  </a:lnTo>
                  <a:lnTo>
                    <a:pt x="115" y="501"/>
                  </a:lnTo>
                  <a:lnTo>
                    <a:pt x="126" y="483"/>
                  </a:lnTo>
                  <a:lnTo>
                    <a:pt x="126" y="407"/>
                  </a:lnTo>
                  <a:lnTo>
                    <a:pt x="126" y="407"/>
                  </a:lnTo>
                  <a:lnTo>
                    <a:pt x="127" y="391"/>
                  </a:lnTo>
                  <a:lnTo>
                    <a:pt x="130" y="376"/>
                  </a:lnTo>
                  <a:lnTo>
                    <a:pt x="135" y="360"/>
                  </a:lnTo>
                  <a:lnTo>
                    <a:pt x="141" y="343"/>
                  </a:lnTo>
                  <a:lnTo>
                    <a:pt x="150" y="327"/>
                  </a:lnTo>
                  <a:lnTo>
                    <a:pt x="160" y="311"/>
                  </a:lnTo>
                  <a:lnTo>
                    <a:pt x="172" y="295"/>
                  </a:lnTo>
                  <a:lnTo>
                    <a:pt x="183" y="278"/>
                  </a:lnTo>
                  <a:lnTo>
                    <a:pt x="198" y="263"/>
                  </a:lnTo>
                  <a:lnTo>
                    <a:pt x="213" y="247"/>
                  </a:lnTo>
                  <a:lnTo>
                    <a:pt x="229" y="231"/>
                  </a:lnTo>
                  <a:lnTo>
                    <a:pt x="247" y="215"/>
                  </a:lnTo>
                  <a:lnTo>
                    <a:pt x="266" y="200"/>
                  </a:lnTo>
                  <a:lnTo>
                    <a:pt x="284" y="185"/>
                  </a:lnTo>
                  <a:lnTo>
                    <a:pt x="305" y="170"/>
                  </a:lnTo>
                  <a:lnTo>
                    <a:pt x="326" y="155"/>
                  </a:lnTo>
                  <a:lnTo>
                    <a:pt x="369" y="128"/>
                  </a:lnTo>
                  <a:lnTo>
                    <a:pt x="414" y="102"/>
                  </a:lnTo>
                  <a:lnTo>
                    <a:pt x="461" y="78"/>
                  </a:lnTo>
                  <a:lnTo>
                    <a:pt x="508" y="56"/>
                  </a:lnTo>
                  <a:lnTo>
                    <a:pt x="554" y="36"/>
                  </a:lnTo>
                  <a:lnTo>
                    <a:pt x="600" y="21"/>
                  </a:lnTo>
                  <a:lnTo>
                    <a:pt x="622" y="14"/>
                  </a:lnTo>
                  <a:lnTo>
                    <a:pt x="643" y="8"/>
                  </a:lnTo>
                  <a:lnTo>
                    <a:pt x="664" y="3"/>
                  </a:lnTo>
                  <a:lnTo>
                    <a:pt x="684" y="0"/>
                  </a:lnTo>
                  <a:lnTo>
                    <a:pt x="761" y="76"/>
                  </a:lnTo>
                  <a:lnTo>
                    <a:pt x="761" y="76"/>
                  </a:lnTo>
                  <a:lnTo>
                    <a:pt x="791" y="66"/>
                  </a:lnTo>
                  <a:lnTo>
                    <a:pt x="812" y="60"/>
                  </a:lnTo>
                  <a:lnTo>
                    <a:pt x="834" y="56"/>
                  </a:lnTo>
                  <a:lnTo>
                    <a:pt x="860" y="52"/>
                  </a:lnTo>
                  <a:lnTo>
                    <a:pt x="934" y="203"/>
                  </a:lnTo>
                  <a:lnTo>
                    <a:pt x="934" y="203"/>
                  </a:lnTo>
                  <a:lnTo>
                    <a:pt x="887" y="227"/>
                  </a:lnTo>
                  <a:lnTo>
                    <a:pt x="835" y="253"/>
                  </a:lnTo>
                  <a:lnTo>
                    <a:pt x="781" y="283"/>
                  </a:lnTo>
                  <a:lnTo>
                    <a:pt x="725" y="315"/>
                  </a:lnTo>
                  <a:lnTo>
                    <a:pt x="666" y="349"/>
                  </a:lnTo>
                  <a:lnTo>
                    <a:pt x="606" y="386"/>
                  </a:lnTo>
                  <a:lnTo>
                    <a:pt x="546" y="425"/>
                  </a:lnTo>
                  <a:lnTo>
                    <a:pt x="485" y="465"/>
                  </a:lnTo>
                  <a:lnTo>
                    <a:pt x="425" y="508"/>
                  </a:lnTo>
                  <a:lnTo>
                    <a:pt x="366" y="553"/>
                  </a:lnTo>
                  <a:lnTo>
                    <a:pt x="309" y="598"/>
                  </a:lnTo>
                  <a:lnTo>
                    <a:pt x="282" y="622"/>
                  </a:lnTo>
                  <a:lnTo>
                    <a:pt x="255" y="646"/>
                  </a:lnTo>
                  <a:lnTo>
                    <a:pt x="229" y="670"/>
                  </a:lnTo>
                  <a:lnTo>
                    <a:pt x="204" y="695"/>
                  </a:lnTo>
                  <a:lnTo>
                    <a:pt x="179" y="718"/>
                  </a:lnTo>
                  <a:lnTo>
                    <a:pt x="156" y="743"/>
                  </a:lnTo>
                  <a:lnTo>
                    <a:pt x="134" y="768"/>
                  </a:lnTo>
                  <a:lnTo>
                    <a:pt x="113" y="794"/>
                  </a:lnTo>
                  <a:lnTo>
                    <a:pt x="93" y="819"/>
                  </a:lnTo>
                  <a:lnTo>
                    <a:pt x="75" y="845"/>
                  </a:lnTo>
                  <a:lnTo>
                    <a:pt x="75" y="845"/>
                  </a:lnTo>
                  <a:close/>
                  <a:moveTo>
                    <a:pt x="703" y="173"/>
                  </a:moveTo>
                  <a:lnTo>
                    <a:pt x="703" y="173"/>
                  </a:lnTo>
                  <a:lnTo>
                    <a:pt x="710" y="174"/>
                  </a:lnTo>
                  <a:lnTo>
                    <a:pt x="718" y="176"/>
                  </a:lnTo>
                  <a:lnTo>
                    <a:pt x="725" y="181"/>
                  </a:lnTo>
                  <a:lnTo>
                    <a:pt x="731" y="185"/>
                  </a:lnTo>
                  <a:lnTo>
                    <a:pt x="735" y="190"/>
                  </a:lnTo>
                  <a:lnTo>
                    <a:pt x="739" y="198"/>
                  </a:lnTo>
                  <a:lnTo>
                    <a:pt x="741" y="205"/>
                  </a:lnTo>
                  <a:lnTo>
                    <a:pt x="742" y="213"/>
                  </a:lnTo>
                  <a:lnTo>
                    <a:pt x="742" y="213"/>
                  </a:lnTo>
                  <a:lnTo>
                    <a:pt x="741" y="221"/>
                  </a:lnTo>
                  <a:lnTo>
                    <a:pt x="739" y="228"/>
                  </a:lnTo>
                  <a:lnTo>
                    <a:pt x="735" y="235"/>
                  </a:lnTo>
                  <a:lnTo>
                    <a:pt x="731" y="240"/>
                  </a:lnTo>
                  <a:lnTo>
                    <a:pt x="725" y="246"/>
                  </a:lnTo>
                  <a:lnTo>
                    <a:pt x="718" y="249"/>
                  </a:lnTo>
                  <a:lnTo>
                    <a:pt x="710" y="251"/>
                  </a:lnTo>
                  <a:lnTo>
                    <a:pt x="703" y="252"/>
                  </a:lnTo>
                  <a:lnTo>
                    <a:pt x="703" y="252"/>
                  </a:lnTo>
                  <a:lnTo>
                    <a:pt x="695" y="251"/>
                  </a:lnTo>
                  <a:lnTo>
                    <a:pt x="688" y="249"/>
                  </a:lnTo>
                  <a:lnTo>
                    <a:pt x="681" y="246"/>
                  </a:lnTo>
                  <a:lnTo>
                    <a:pt x="675" y="240"/>
                  </a:lnTo>
                  <a:lnTo>
                    <a:pt x="670" y="235"/>
                  </a:lnTo>
                  <a:lnTo>
                    <a:pt x="667" y="228"/>
                  </a:lnTo>
                  <a:lnTo>
                    <a:pt x="664" y="221"/>
                  </a:lnTo>
                  <a:lnTo>
                    <a:pt x="664" y="213"/>
                  </a:lnTo>
                  <a:lnTo>
                    <a:pt x="664" y="213"/>
                  </a:lnTo>
                  <a:lnTo>
                    <a:pt x="664" y="205"/>
                  </a:lnTo>
                  <a:lnTo>
                    <a:pt x="667" y="198"/>
                  </a:lnTo>
                  <a:lnTo>
                    <a:pt x="670" y="190"/>
                  </a:lnTo>
                  <a:lnTo>
                    <a:pt x="675" y="185"/>
                  </a:lnTo>
                  <a:lnTo>
                    <a:pt x="681" y="181"/>
                  </a:lnTo>
                  <a:lnTo>
                    <a:pt x="688" y="176"/>
                  </a:lnTo>
                  <a:lnTo>
                    <a:pt x="695" y="174"/>
                  </a:lnTo>
                  <a:lnTo>
                    <a:pt x="703" y="173"/>
                  </a:lnTo>
                  <a:lnTo>
                    <a:pt x="703" y="173"/>
                  </a:lnTo>
                  <a:close/>
                  <a:moveTo>
                    <a:pt x="250" y="465"/>
                  </a:moveTo>
                  <a:lnTo>
                    <a:pt x="250" y="465"/>
                  </a:lnTo>
                  <a:lnTo>
                    <a:pt x="257" y="466"/>
                  </a:lnTo>
                  <a:lnTo>
                    <a:pt x="265" y="468"/>
                  </a:lnTo>
                  <a:lnTo>
                    <a:pt x="271" y="472"/>
                  </a:lnTo>
                  <a:lnTo>
                    <a:pt x="277" y="477"/>
                  </a:lnTo>
                  <a:lnTo>
                    <a:pt x="282" y="482"/>
                  </a:lnTo>
                  <a:lnTo>
                    <a:pt x="285" y="489"/>
                  </a:lnTo>
                  <a:lnTo>
                    <a:pt x="288" y="496"/>
                  </a:lnTo>
                  <a:lnTo>
                    <a:pt x="289" y="505"/>
                  </a:lnTo>
                  <a:lnTo>
                    <a:pt x="289" y="505"/>
                  </a:lnTo>
                  <a:lnTo>
                    <a:pt x="288" y="512"/>
                  </a:lnTo>
                  <a:lnTo>
                    <a:pt x="285" y="520"/>
                  </a:lnTo>
                  <a:lnTo>
                    <a:pt x="282" y="527"/>
                  </a:lnTo>
                  <a:lnTo>
                    <a:pt x="277" y="532"/>
                  </a:lnTo>
                  <a:lnTo>
                    <a:pt x="271" y="537"/>
                  </a:lnTo>
                  <a:lnTo>
                    <a:pt x="265" y="541"/>
                  </a:lnTo>
                  <a:lnTo>
                    <a:pt x="257" y="543"/>
                  </a:lnTo>
                  <a:lnTo>
                    <a:pt x="250" y="544"/>
                  </a:lnTo>
                  <a:lnTo>
                    <a:pt x="250" y="544"/>
                  </a:lnTo>
                  <a:lnTo>
                    <a:pt x="242" y="543"/>
                  </a:lnTo>
                  <a:lnTo>
                    <a:pt x="234" y="541"/>
                  </a:lnTo>
                  <a:lnTo>
                    <a:pt x="228" y="537"/>
                  </a:lnTo>
                  <a:lnTo>
                    <a:pt x="221" y="532"/>
                  </a:lnTo>
                  <a:lnTo>
                    <a:pt x="217" y="527"/>
                  </a:lnTo>
                  <a:lnTo>
                    <a:pt x="213" y="520"/>
                  </a:lnTo>
                  <a:lnTo>
                    <a:pt x="211" y="512"/>
                  </a:lnTo>
                  <a:lnTo>
                    <a:pt x="211" y="505"/>
                  </a:lnTo>
                  <a:lnTo>
                    <a:pt x="211" y="505"/>
                  </a:lnTo>
                  <a:lnTo>
                    <a:pt x="211" y="496"/>
                  </a:lnTo>
                  <a:lnTo>
                    <a:pt x="213" y="489"/>
                  </a:lnTo>
                  <a:lnTo>
                    <a:pt x="217" y="482"/>
                  </a:lnTo>
                  <a:lnTo>
                    <a:pt x="221" y="477"/>
                  </a:lnTo>
                  <a:lnTo>
                    <a:pt x="228" y="472"/>
                  </a:lnTo>
                  <a:lnTo>
                    <a:pt x="234" y="468"/>
                  </a:lnTo>
                  <a:lnTo>
                    <a:pt x="242" y="466"/>
                  </a:lnTo>
                  <a:lnTo>
                    <a:pt x="250" y="465"/>
                  </a:lnTo>
                  <a:lnTo>
                    <a:pt x="250" y="465"/>
                  </a:lnTo>
                  <a:close/>
                  <a:moveTo>
                    <a:pt x="355" y="383"/>
                  </a:moveTo>
                  <a:lnTo>
                    <a:pt x="355" y="383"/>
                  </a:lnTo>
                  <a:lnTo>
                    <a:pt x="362" y="383"/>
                  </a:lnTo>
                  <a:lnTo>
                    <a:pt x="370" y="387"/>
                  </a:lnTo>
                  <a:lnTo>
                    <a:pt x="376" y="390"/>
                  </a:lnTo>
                  <a:lnTo>
                    <a:pt x="382" y="394"/>
                  </a:lnTo>
                  <a:lnTo>
                    <a:pt x="387" y="401"/>
                  </a:lnTo>
                  <a:lnTo>
                    <a:pt x="391" y="407"/>
                  </a:lnTo>
                  <a:lnTo>
                    <a:pt x="393" y="415"/>
                  </a:lnTo>
                  <a:lnTo>
                    <a:pt x="394" y="422"/>
                  </a:lnTo>
                  <a:lnTo>
                    <a:pt x="394" y="422"/>
                  </a:lnTo>
                  <a:lnTo>
                    <a:pt x="393" y="430"/>
                  </a:lnTo>
                  <a:lnTo>
                    <a:pt x="391" y="438"/>
                  </a:lnTo>
                  <a:lnTo>
                    <a:pt x="387" y="444"/>
                  </a:lnTo>
                  <a:lnTo>
                    <a:pt x="382" y="451"/>
                  </a:lnTo>
                  <a:lnTo>
                    <a:pt x="376" y="455"/>
                  </a:lnTo>
                  <a:lnTo>
                    <a:pt x="370" y="458"/>
                  </a:lnTo>
                  <a:lnTo>
                    <a:pt x="362" y="460"/>
                  </a:lnTo>
                  <a:lnTo>
                    <a:pt x="355" y="462"/>
                  </a:lnTo>
                  <a:lnTo>
                    <a:pt x="355" y="462"/>
                  </a:lnTo>
                  <a:lnTo>
                    <a:pt x="346" y="460"/>
                  </a:lnTo>
                  <a:lnTo>
                    <a:pt x="339" y="458"/>
                  </a:lnTo>
                  <a:lnTo>
                    <a:pt x="332" y="455"/>
                  </a:lnTo>
                  <a:lnTo>
                    <a:pt x="327" y="451"/>
                  </a:lnTo>
                  <a:lnTo>
                    <a:pt x="321" y="444"/>
                  </a:lnTo>
                  <a:lnTo>
                    <a:pt x="318" y="438"/>
                  </a:lnTo>
                  <a:lnTo>
                    <a:pt x="316" y="430"/>
                  </a:lnTo>
                  <a:lnTo>
                    <a:pt x="315" y="422"/>
                  </a:lnTo>
                  <a:lnTo>
                    <a:pt x="315" y="422"/>
                  </a:lnTo>
                  <a:lnTo>
                    <a:pt x="316" y="415"/>
                  </a:lnTo>
                  <a:lnTo>
                    <a:pt x="318" y="407"/>
                  </a:lnTo>
                  <a:lnTo>
                    <a:pt x="321" y="401"/>
                  </a:lnTo>
                  <a:lnTo>
                    <a:pt x="327" y="394"/>
                  </a:lnTo>
                  <a:lnTo>
                    <a:pt x="332" y="390"/>
                  </a:lnTo>
                  <a:lnTo>
                    <a:pt x="339" y="387"/>
                  </a:lnTo>
                  <a:lnTo>
                    <a:pt x="346" y="383"/>
                  </a:lnTo>
                  <a:lnTo>
                    <a:pt x="355" y="383"/>
                  </a:lnTo>
                  <a:lnTo>
                    <a:pt x="355" y="383"/>
                  </a:lnTo>
                  <a:close/>
                  <a:moveTo>
                    <a:pt x="471" y="304"/>
                  </a:moveTo>
                  <a:lnTo>
                    <a:pt x="471" y="304"/>
                  </a:lnTo>
                  <a:lnTo>
                    <a:pt x="478" y="305"/>
                  </a:lnTo>
                  <a:lnTo>
                    <a:pt x="486" y="308"/>
                  </a:lnTo>
                  <a:lnTo>
                    <a:pt x="492" y="312"/>
                  </a:lnTo>
                  <a:lnTo>
                    <a:pt x="498" y="316"/>
                  </a:lnTo>
                  <a:lnTo>
                    <a:pt x="503" y="322"/>
                  </a:lnTo>
                  <a:lnTo>
                    <a:pt x="507" y="328"/>
                  </a:lnTo>
                  <a:lnTo>
                    <a:pt x="509" y="336"/>
                  </a:lnTo>
                  <a:lnTo>
                    <a:pt x="510" y="344"/>
                  </a:lnTo>
                  <a:lnTo>
                    <a:pt x="510" y="344"/>
                  </a:lnTo>
                  <a:lnTo>
                    <a:pt x="509" y="352"/>
                  </a:lnTo>
                  <a:lnTo>
                    <a:pt x="507" y="360"/>
                  </a:lnTo>
                  <a:lnTo>
                    <a:pt x="503" y="366"/>
                  </a:lnTo>
                  <a:lnTo>
                    <a:pt x="498" y="372"/>
                  </a:lnTo>
                  <a:lnTo>
                    <a:pt x="492" y="377"/>
                  </a:lnTo>
                  <a:lnTo>
                    <a:pt x="486" y="380"/>
                  </a:lnTo>
                  <a:lnTo>
                    <a:pt x="478" y="382"/>
                  </a:lnTo>
                  <a:lnTo>
                    <a:pt x="471" y="383"/>
                  </a:lnTo>
                  <a:lnTo>
                    <a:pt x="471" y="383"/>
                  </a:lnTo>
                  <a:lnTo>
                    <a:pt x="462" y="382"/>
                  </a:lnTo>
                  <a:lnTo>
                    <a:pt x="456" y="380"/>
                  </a:lnTo>
                  <a:lnTo>
                    <a:pt x="448" y="377"/>
                  </a:lnTo>
                  <a:lnTo>
                    <a:pt x="443" y="372"/>
                  </a:lnTo>
                  <a:lnTo>
                    <a:pt x="438" y="366"/>
                  </a:lnTo>
                  <a:lnTo>
                    <a:pt x="434" y="360"/>
                  </a:lnTo>
                  <a:lnTo>
                    <a:pt x="432" y="352"/>
                  </a:lnTo>
                  <a:lnTo>
                    <a:pt x="431" y="344"/>
                  </a:lnTo>
                  <a:lnTo>
                    <a:pt x="431" y="344"/>
                  </a:lnTo>
                  <a:lnTo>
                    <a:pt x="432" y="336"/>
                  </a:lnTo>
                  <a:lnTo>
                    <a:pt x="434" y="328"/>
                  </a:lnTo>
                  <a:lnTo>
                    <a:pt x="438" y="322"/>
                  </a:lnTo>
                  <a:lnTo>
                    <a:pt x="443" y="316"/>
                  </a:lnTo>
                  <a:lnTo>
                    <a:pt x="448" y="312"/>
                  </a:lnTo>
                  <a:lnTo>
                    <a:pt x="456" y="308"/>
                  </a:lnTo>
                  <a:lnTo>
                    <a:pt x="462" y="305"/>
                  </a:lnTo>
                  <a:lnTo>
                    <a:pt x="471" y="304"/>
                  </a:lnTo>
                  <a:lnTo>
                    <a:pt x="471" y="304"/>
                  </a:lnTo>
                  <a:close/>
                  <a:moveTo>
                    <a:pt x="586" y="233"/>
                  </a:moveTo>
                  <a:lnTo>
                    <a:pt x="586" y="233"/>
                  </a:lnTo>
                  <a:lnTo>
                    <a:pt x="593" y="234"/>
                  </a:lnTo>
                  <a:lnTo>
                    <a:pt x="601" y="236"/>
                  </a:lnTo>
                  <a:lnTo>
                    <a:pt x="607" y="239"/>
                  </a:lnTo>
                  <a:lnTo>
                    <a:pt x="613" y="245"/>
                  </a:lnTo>
                  <a:lnTo>
                    <a:pt x="618" y="250"/>
                  </a:lnTo>
                  <a:lnTo>
                    <a:pt x="622" y="257"/>
                  </a:lnTo>
                  <a:lnTo>
                    <a:pt x="624" y="264"/>
                  </a:lnTo>
                  <a:lnTo>
                    <a:pt x="625" y="272"/>
                  </a:lnTo>
                  <a:lnTo>
                    <a:pt x="625" y="272"/>
                  </a:lnTo>
                  <a:lnTo>
                    <a:pt x="624" y="280"/>
                  </a:lnTo>
                  <a:lnTo>
                    <a:pt x="622" y="287"/>
                  </a:lnTo>
                  <a:lnTo>
                    <a:pt x="618" y="295"/>
                  </a:lnTo>
                  <a:lnTo>
                    <a:pt x="613" y="300"/>
                  </a:lnTo>
                  <a:lnTo>
                    <a:pt x="607" y="304"/>
                  </a:lnTo>
                  <a:lnTo>
                    <a:pt x="601" y="309"/>
                  </a:lnTo>
                  <a:lnTo>
                    <a:pt x="593" y="311"/>
                  </a:lnTo>
                  <a:lnTo>
                    <a:pt x="586" y="312"/>
                  </a:lnTo>
                  <a:lnTo>
                    <a:pt x="586" y="312"/>
                  </a:lnTo>
                  <a:lnTo>
                    <a:pt x="577" y="311"/>
                  </a:lnTo>
                  <a:lnTo>
                    <a:pt x="571" y="309"/>
                  </a:lnTo>
                  <a:lnTo>
                    <a:pt x="563" y="304"/>
                  </a:lnTo>
                  <a:lnTo>
                    <a:pt x="558" y="300"/>
                  </a:lnTo>
                  <a:lnTo>
                    <a:pt x="553" y="295"/>
                  </a:lnTo>
                  <a:lnTo>
                    <a:pt x="549" y="287"/>
                  </a:lnTo>
                  <a:lnTo>
                    <a:pt x="547" y="280"/>
                  </a:lnTo>
                  <a:lnTo>
                    <a:pt x="547" y="272"/>
                  </a:lnTo>
                  <a:lnTo>
                    <a:pt x="547" y="272"/>
                  </a:lnTo>
                  <a:lnTo>
                    <a:pt x="547" y="264"/>
                  </a:lnTo>
                  <a:lnTo>
                    <a:pt x="549" y="257"/>
                  </a:lnTo>
                  <a:lnTo>
                    <a:pt x="553" y="250"/>
                  </a:lnTo>
                  <a:lnTo>
                    <a:pt x="558" y="245"/>
                  </a:lnTo>
                  <a:lnTo>
                    <a:pt x="563" y="239"/>
                  </a:lnTo>
                  <a:lnTo>
                    <a:pt x="571" y="236"/>
                  </a:lnTo>
                  <a:lnTo>
                    <a:pt x="577" y="234"/>
                  </a:lnTo>
                  <a:lnTo>
                    <a:pt x="586" y="233"/>
                  </a:lnTo>
                  <a:lnTo>
                    <a:pt x="586" y="233"/>
                  </a:lnTo>
                  <a:close/>
                  <a:moveTo>
                    <a:pt x="923" y="441"/>
                  </a:moveTo>
                  <a:lnTo>
                    <a:pt x="923" y="441"/>
                  </a:lnTo>
                  <a:lnTo>
                    <a:pt x="931" y="442"/>
                  </a:lnTo>
                  <a:lnTo>
                    <a:pt x="938" y="443"/>
                  </a:lnTo>
                  <a:lnTo>
                    <a:pt x="945" y="444"/>
                  </a:lnTo>
                  <a:lnTo>
                    <a:pt x="951" y="447"/>
                  </a:lnTo>
                  <a:lnTo>
                    <a:pt x="958" y="450"/>
                  </a:lnTo>
                  <a:lnTo>
                    <a:pt x="964" y="454"/>
                  </a:lnTo>
                  <a:lnTo>
                    <a:pt x="970" y="458"/>
                  </a:lnTo>
                  <a:lnTo>
                    <a:pt x="975" y="463"/>
                  </a:lnTo>
                  <a:lnTo>
                    <a:pt x="979" y="468"/>
                  </a:lnTo>
                  <a:lnTo>
                    <a:pt x="984" y="473"/>
                  </a:lnTo>
                  <a:lnTo>
                    <a:pt x="987" y="479"/>
                  </a:lnTo>
                  <a:lnTo>
                    <a:pt x="990" y="485"/>
                  </a:lnTo>
                  <a:lnTo>
                    <a:pt x="992" y="492"/>
                  </a:lnTo>
                  <a:lnTo>
                    <a:pt x="994" y="499"/>
                  </a:lnTo>
                  <a:lnTo>
                    <a:pt x="996" y="507"/>
                  </a:lnTo>
                  <a:lnTo>
                    <a:pt x="996" y="514"/>
                  </a:lnTo>
                  <a:lnTo>
                    <a:pt x="996" y="514"/>
                  </a:lnTo>
                  <a:lnTo>
                    <a:pt x="996" y="521"/>
                  </a:lnTo>
                  <a:lnTo>
                    <a:pt x="994" y="529"/>
                  </a:lnTo>
                  <a:lnTo>
                    <a:pt x="992" y="535"/>
                  </a:lnTo>
                  <a:lnTo>
                    <a:pt x="990" y="543"/>
                  </a:lnTo>
                  <a:lnTo>
                    <a:pt x="987" y="549"/>
                  </a:lnTo>
                  <a:lnTo>
                    <a:pt x="984" y="555"/>
                  </a:lnTo>
                  <a:lnTo>
                    <a:pt x="979" y="560"/>
                  </a:lnTo>
                  <a:lnTo>
                    <a:pt x="975" y="566"/>
                  </a:lnTo>
                  <a:lnTo>
                    <a:pt x="970" y="570"/>
                  </a:lnTo>
                  <a:lnTo>
                    <a:pt x="964" y="574"/>
                  </a:lnTo>
                  <a:lnTo>
                    <a:pt x="958" y="579"/>
                  </a:lnTo>
                  <a:lnTo>
                    <a:pt x="951" y="581"/>
                  </a:lnTo>
                  <a:lnTo>
                    <a:pt x="945" y="584"/>
                  </a:lnTo>
                  <a:lnTo>
                    <a:pt x="938" y="585"/>
                  </a:lnTo>
                  <a:lnTo>
                    <a:pt x="931" y="586"/>
                  </a:lnTo>
                  <a:lnTo>
                    <a:pt x="923" y="587"/>
                  </a:lnTo>
                  <a:lnTo>
                    <a:pt x="923" y="587"/>
                  </a:lnTo>
                  <a:lnTo>
                    <a:pt x="915" y="586"/>
                  </a:lnTo>
                  <a:lnTo>
                    <a:pt x="909" y="585"/>
                  </a:lnTo>
                  <a:lnTo>
                    <a:pt x="901" y="584"/>
                  </a:lnTo>
                  <a:lnTo>
                    <a:pt x="895" y="581"/>
                  </a:lnTo>
                  <a:lnTo>
                    <a:pt x="888" y="579"/>
                  </a:lnTo>
                  <a:lnTo>
                    <a:pt x="883" y="574"/>
                  </a:lnTo>
                  <a:lnTo>
                    <a:pt x="876" y="570"/>
                  </a:lnTo>
                  <a:lnTo>
                    <a:pt x="872" y="566"/>
                  </a:lnTo>
                  <a:lnTo>
                    <a:pt x="867" y="560"/>
                  </a:lnTo>
                  <a:lnTo>
                    <a:pt x="862" y="555"/>
                  </a:lnTo>
                  <a:lnTo>
                    <a:pt x="859" y="549"/>
                  </a:lnTo>
                  <a:lnTo>
                    <a:pt x="856" y="543"/>
                  </a:lnTo>
                  <a:lnTo>
                    <a:pt x="854" y="535"/>
                  </a:lnTo>
                  <a:lnTo>
                    <a:pt x="851" y="529"/>
                  </a:lnTo>
                  <a:lnTo>
                    <a:pt x="850" y="521"/>
                  </a:lnTo>
                  <a:lnTo>
                    <a:pt x="850" y="514"/>
                  </a:lnTo>
                  <a:lnTo>
                    <a:pt x="850" y="514"/>
                  </a:lnTo>
                  <a:lnTo>
                    <a:pt x="850" y="507"/>
                  </a:lnTo>
                  <a:lnTo>
                    <a:pt x="851" y="499"/>
                  </a:lnTo>
                  <a:lnTo>
                    <a:pt x="854" y="492"/>
                  </a:lnTo>
                  <a:lnTo>
                    <a:pt x="856" y="485"/>
                  </a:lnTo>
                  <a:lnTo>
                    <a:pt x="859" y="479"/>
                  </a:lnTo>
                  <a:lnTo>
                    <a:pt x="862" y="473"/>
                  </a:lnTo>
                  <a:lnTo>
                    <a:pt x="867" y="468"/>
                  </a:lnTo>
                  <a:lnTo>
                    <a:pt x="872" y="463"/>
                  </a:lnTo>
                  <a:lnTo>
                    <a:pt x="876" y="458"/>
                  </a:lnTo>
                  <a:lnTo>
                    <a:pt x="883" y="454"/>
                  </a:lnTo>
                  <a:lnTo>
                    <a:pt x="888" y="450"/>
                  </a:lnTo>
                  <a:lnTo>
                    <a:pt x="895" y="447"/>
                  </a:lnTo>
                  <a:lnTo>
                    <a:pt x="901" y="444"/>
                  </a:lnTo>
                  <a:lnTo>
                    <a:pt x="909" y="443"/>
                  </a:lnTo>
                  <a:lnTo>
                    <a:pt x="915" y="442"/>
                  </a:lnTo>
                  <a:lnTo>
                    <a:pt x="923" y="441"/>
                  </a:lnTo>
                  <a:lnTo>
                    <a:pt x="923" y="44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074" name="Group 2073">
            <a:extLst>
              <a:ext uri="{FF2B5EF4-FFF2-40B4-BE49-F238E27FC236}">
                <a16:creationId xmlns:a16="http://schemas.microsoft.com/office/drawing/2014/main" id="{54E2186A-24D4-43C1-9686-9561ECFEE4F7}"/>
              </a:ext>
            </a:extLst>
          </p:cNvPr>
          <p:cNvGrpSpPr/>
          <p:nvPr/>
        </p:nvGrpSpPr>
        <p:grpSpPr>
          <a:xfrm>
            <a:off x="2425171" y="3205728"/>
            <a:ext cx="612000" cy="612000"/>
            <a:chOff x="592807" y="3806921"/>
            <a:chExt cx="612000" cy="612000"/>
          </a:xfrm>
        </p:grpSpPr>
        <p:sp>
          <p:nvSpPr>
            <p:cNvPr id="2075" name="Oval 2074">
              <a:extLst>
                <a:ext uri="{FF2B5EF4-FFF2-40B4-BE49-F238E27FC236}">
                  <a16:creationId xmlns:a16="http://schemas.microsoft.com/office/drawing/2014/main" id="{7228B6F3-DD3F-4227-91A6-579CE107AD7B}"/>
                </a:ext>
              </a:extLst>
            </p:cNvPr>
            <p:cNvSpPr/>
            <p:nvPr/>
          </p:nvSpPr>
          <p:spPr bwMode="ltGray">
            <a:xfrm>
              <a:off x="592807" y="3806921"/>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076" name="Group 2075">
              <a:extLst>
                <a:ext uri="{FF2B5EF4-FFF2-40B4-BE49-F238E27FC236}">
                  <a16:creationId xmlns:a16="http://schemas.microsoft.com/office/drawing/2014/main" id="{FCDFE0F6-BD4C-4B0D-BFB4-9ACA7C9BEE26}"/>
                </a:ext>
              </a:extLst>
            </p:cNvPr>
            <p:cNvGrpSpPr/>
            <p:nvPr/>
          </p:nvGrpSpPr>
          <p:grpSpPr>
            <a:xfrm>
              <a:off x="709893" y="3922015"/>
              <a:ext cx="377825" cy="342900"/>
              <a:chOff x="7270996" y="3108992"/>
              <a:chExt cx="377825" cy="342900"/>
            </a:xfrm>
          </p:grpSpPr>
          <p:sp>
            <p:nvSpPr>
              <p:cNvPr id="2077" name="Freeform 197">
                <a:extLst>
                  <a:ext uri="{FF2B5EF4-FFF2-40B4-BE49-F238E27FC236}">
                    <a16:creationId xmlns:a16="http://schemas.microsoft.com/office/drawing/2014/main" id="{6AB6BA58-264A-46AB-93EC-B664336F697E}"/>
                  </a:ext>
                </a:extLst>
              </p:cNvPr>
              <p:cNvSpPr>
                <a:spLocks noEditPoints="1"/>
              </p:cNvSpPr>
              <p:nvPr/>
            </p:nvSpPr>
            <p:spPr bwMode="auto">
              <a:xfrm>
                <a:off x="7270996" y="3108992"/>
                <a:ext cx="358775" cy="342900"/>
              </a:xfrm>
              <a:custGeom>
                <a:avLst/>
                <a:gdLst>
                  <a:gd name="T0" fmla="*/ 795 w 1131"/>
                  <a:gd name="T1" fmla="*/ 28 h 1081"/>
                  <a:gd name="T2" fmla="*/ 774 w 1131"/>
                  <a:gd name="T3" fmla="*/ 32 h 1081"/>
                  <a:gd name="T4" fmla="*/ 735 w 1131"/>
                  <a:gd name="T5" fmla="*/ 39 h 1081"/>
                  <a:gd name="T6" fmla="*/ 699 w 1131"/>
                  <a:gd name="T7" fmla="*/ 51 h 1081"/>
                  <a:gd name="T8" fmla="*/ 666 w 1131"/>
                  <a:gd name="T9" fmla="*/ 66 h 1081"/>
                  <a:gd name="T10" fmla="*/ 649 w 1131"/>
                  <a:gd name="T11" fmla="*/ 75 h 1081"/>
                  <a:gd name="T12" fmla="*/ 620 w 1131"/>
                  <a:gd name="T13" fmla="*/ 95 h 1081"/>
                  <a:gd name="T14" fmla="*/ 593 w 1131"/>
                  <a:gd name="T15" fmla="*/ 116 h 1081"/>
                  <a:gd name="T16" fmla="*/ 568 w 1131"/>
                  <a:gd name="T17" fmla="*/ 140 h 1081"/>
                  <a:gd name="T18" fmla="*/ 544 w 1131"/>
                  <a:gd name="T19" fmla="*/ 166 h 1081"/>
                  <a:gd name="T20" fmla="*/ 444 w 1131"/>
                  <a:gd name="T21" fmla="*/ 226 h 1081"/>
                  <a:gd name="T22" fmla="*/ 62 w 1131"/>
                  <a:gd name="T23" fmla="*/ 697 h 1081"/>
                  <a:gd name="T24" fmla="*/ 55 w 1131"/>
                  <a:gd name="T25" fmla="*/ 765 h 1081"/>
                  <a:gd name="T26" fmla="*/ 93 w 1131"/>
                  <a:gd name="T27" fmla="*/ 795 h 1081"/>
                  <a:gd name="T28" fmla="*/ 66 w 1131"/>
                  <a:gd name="T29" fmla="*/ 827 h 1081"/>
                  <a:gd name="T30" fmla="*/ 45 w 1131"/>
                  <a:gd name="T31" fmla="*/ 859 h 1081"/>
                  <a:gd name="T32" fmla="*/ 29 w 1131"/>
                  <a:gd name="T33" fmla="*/ 891 h 1081"/>
                  <a:gd name="T34" fmla="*/ 17 w 1131"/>
                  <a:gd name="T35" fmla="*/ 924 h 1081"/>
                  <a:gd name="T36" fmla="*/ 10 w 1131"/>
                  <a:gd name="T37" fmla="*/ 959 h 1081"/>
                  <a:gd name="T38" fmla="*/ 4 w 1131"/>
                  <a:gd name="T39" fmla="*/ 996 h 1081"/>
                  <a:gd name="T40" fmla="*/ 0 w 1131"/>
                  <a:gd name="T41" fmla="*/ 1077 h 1081"/>
                  <a:gd name="T42" fmla="*/ 178 w 1131"/>
                  <a:gd name="T43" fmla="*/ 1081 h 1081"/>
                  <a:gd name="T44" fmla="*/ 179 w 1131"/>
                  <a:gd name="T45" fmla="*/ 1029 h 1081"/>
                  <a:gd name="T46" fmla="*/ 184 w 1131"/>
                  <a:gd name="T47" fmla="*/ 985 h 1081"/>
                  <a:gd name="T48" fmla="*/ 191 w 1131"/>
                  <a:gd name="T49" fmla="*/ 964 h 1081"/>
                  <a:gd name="T50" fmla="*/ 200 w 1131"/>
                  <a:gd name="T51" fmla="*/ 945 h 1081"/>
                  <a:gd name="T52" fmla="*/ 215 w 1131"/>
                  <a:gd name="T53" fmla="*/ 925 h 1081"/>
                  <a:gd name="T54" fmla="*/ 233 w 1131"/>
                  <a:gd name="T55" fmla="*/ 904 h 1081"/>
                  <a:gd name="T56" fmla="*/ 324 w 1131"/>
                  <a:gd name="T57" fmla="*/ 906 h 1081"/>
                  <a:gd name="T58" fmla="*/ 382 w 1131"/>
                  <a:gd name="T59" fmla="*/ 902 h 1081"/>
                  <a:gd name="T60" fmla="*/ 739 w 1131"/>
                  <a:gd name="T61" fmla="*/ 573 h 1081"/>
                  <a:gd name="T62" fmla="*/ 691 w 1131"/>
                  <a:gd name="T63" fmla="*/ 396 h 1081"/>
                  <a:gd name="T64" fmla="*/ 672 w 1131"/>
                  <a:gd name="T65" fmla="*/ 371 h 1081"/>
                  <a:gd name="T66" fmla="*/ 679 w 1131"/>
                  <a:gd name="T67" fmla="*/ 282 h 1081"/>
                  <a:gd name="T68" fmla="*/ 680 w 1131"/>
                  <a:gd name="T69" fmla="*/ 281 h 1081"/>
                  <a:gd name="T70" fmla="*/ 708 w 1131"/>
                  <a:gd name="T71" fmla="*/ 252 h 1081"/>
                  <a:gd name="T72" fmla="*/ 739 w 1131"/>
                  <a:gd name="T73" fmla="*/ 228 h 1081"/>
                  <a:gd name="T74" fmla="*/ 756 w 1131"/>
                  <a:gd name="T75" fmla="*/ 219 h 1081"/>
                  <a:gd name="T76" fmla="*/ 791 w 1131"/>
                  <a:gd name="T77" fmla="*/ 208 h 1081"/>
                  <a:gd name="T78" fmla="*/ 1023 w 1131"/>
                  <a:gd name="T79" fmla="*/ 180 h 1081"/>
                  <a:gd name="T80" fmla="*/ 349 w 1131"/>
                  <a:gd name="T81" fmla="*/ 812 h 1081"/>
                  <a:gd name="T82" fmla="*/ 496 w 1131"/>
                  <a:gd name="T83" fmla="*/ 428 h 1081"/>
                  <a:gd name="T84" fmla="*/ 386 w 1131"/>
                  <a:gd name="T85" fmla="*/ 600 h 1081"/>
                  <a:gd name="T86" fmla="*/ 375 w 1131"/>
                  <a:gd name="T87" fmla="*/ 614 h 1081"/>
                  <a:gd name="T88" fmla="*/ 360 w 1131"/>
                  <a:gd name="T89" fmla="*/ 677 h 1081"/>
                  <a:gd name="T90" fmla="*/ 397 w 1131"/>
                  <a:gd name="T91" fmla="*/ 768 h 1081"/>
                  <a:gd name="T92" fmla="*/ 431 w 1131"/>
                  <a:gd name="T93" fmla="*/ 736 h 1081"/>
                  <a:gd name="T94" fmla="*/ 416 w 1131"/>
                  <a:gd name="T95" fmla="*/ 633 h 1081"/>
                  <a:gd name="T96" fmla="*/ 633 w 1131"/>
                  <a:gd name="T97" fmla="*/ 550 h 10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1" h="1081">
                    <a:moveTo>
                      <a:pt x="1131" y="0"/>
                    </a:moveTo>
                    <a:lnTo>
                      <a:pt x="795" y="28"/>
                    </a:lnTo>
                    <a:lnTo>
                      <a:pt x="795" y="28"/>
                    </a:lnTo>
                    <a:lnTo>
                      <a:pt x="774" y="32"/>
                    </a:lnTo>
                    <a:lnTo>
                      <a:pt x="754" y="35"/>
                    </a:lnTo>
                    <a:lnTo>
                      <a:pt x="735" y="39"/>
                    </a:lnTo>
                    <a:lnTo>
                      <a:pt x="717" y="45"/>
                    </a:lnTo>
                    <a:lnTo>
                      <a:pt x="699" y="51"/>
                    </a:lnTo>
                    <a:lnTo>
                      <a:pt x="682" y="58"/>
                    </a:lnTo>
                    <a:lnTo>
                      <a:pt x="666" y="66"/>
                    </a:lnTo>
                    <a:lnTo>
                      <a:pt x="649" y="75"/>
                    </a:lnTo>
                    <a:lnTo>
                      <a:pt x="649" y="75"/>
                    </a:lnTo>
                    <a:lnTo>
                      <a:pt x="634" y="85"/>
                    </a:lnTo>
                    <a:lnTo>
                      <a:pt x="620" y="95"/>
                    </a:lnTo>
                    <a:lnTo>
                      <a:pt x="607" y="104"/>
                    </a:lnTo>
                    <a:lnTo>
                      <a:pt x="593" y="116"/>
                    </a:lnTo>
                    <a:lnTo>
                      <a:pt x="580" y="128"/>
                    </a:lnTo>
                    <a:lnTo>
                      <a:pt x="568" y="140"/>
                    </a:lnTo>
                    <a:lnTo>
                      <a:pt x="544" y="166"/>
                    </a:lnTo>
                    <a:lnTo>
                      <a:pt x="544" y="166"/>
                    </a:lnTo>
                    <a:lnTo>
                      <a:pt x="476" y="246"/>
                    </a:lnTo>
                    <a:lnTo>
                      <a:pt x="444" y="226"/>
                    </a:lnTo>
                    <a:lnTo>
                      <a:pt x="419" y="257"/>
                    </a:lnTo>
                    <a:lnTo>
                      <a:pt x="62" y="697"/>
                    </a:lnTo>
                    <a:lnTo>
                      <a:pt x="92" y="721"/>
                    </a:lnTo>
                    <a:lnTo>
                      <a:pt x="55" y="765"/>
                    </a:lnTo>
                    <a:lnTo>
                      <a:pt x="93" y="795"/>
                    </a:lnTo>
                    <a:lnTo>
                      <a:pt x="93" y="795"/>
                    </a:lnTo>
                    <a:lnTo>
                      <a:pt x="79" y="811"/>
                    </a:lnTo>
                    <a:lnTo>
                      <a:pt x="66" y="827"/>
                    </a:lnTo>
                    <a:lnTo>
                      <a:pt x="55" y="843"/>
                    </a:lnTo>
                    <a:lnTo>
                      <a:pt x="45" y="859"/>
                    </a:lnTo>
                    <a:lnTo>
                      <a:pt x="37" y="875"/>
                    </a:lnTo>
                    <a:lnTo>
                      <a:pt x="29" y="891"/>
                    </a:lnTo>
                    <a:lnTo>
                      <a:pt x="23" y="908"/>
                    </a:lnTo>
                    <a:lnTo>
                      <a:pt x="17" y="924"/>
                    </a:lnTo>
                    <a:lnTo>
                      <a:pt x="13" y="941"/>
                    </a:lnTo>
                    <a:lnTo>
                      <a:pt x="10" y="959"/>
                    </a:lnTo>
                    <a:lnTo>
                      <a:pt x="6" y="977"/>
                    </a:lnTo>
                    <a:lnTo>
                      <a:pt x="4" y="996"/>
                    </a:lnTo>
                    <a:lnTo>
                      <a:pt x="1" y="1035"/>
                    </a:lnTo>
                    <a:lnTo>
                      <a:pt x="0" y="1077"/>
                    </a:lnTo>
                    <a:lnTo>
                      <a:pt x="178" y="1081"/>
                    </a:lnTo>
                    <a:lnTo>
                      <a:pt x="178" y="1081"/>
                    </a:lnTo>
                    <a:lnTo>
                      <a:pt x="178" y="1054"/>
                    </a:lnTo>
                    <a:lnTo>
                      <a:pt x="179" y="1029"/>
                    </a:lnTo>
                    <a:lnTo>
                      <a:pt x="181" y="1006"/>
                    </a:lnTo>
                    <a:lnTo>
                      <a:pt x="184" y="985"/>
                    </a:lnTo>
                    <a:lnTo>
                      <a:pt x="187" y="974"/>
                    </a:lnTo>
                    <a:lnTo>
                      <a:pt x="191" y="964"/>
                    </a:lnTo>
                    <a:lnTo>
                      <a:pt x="195" y="954"/>
                    </a:lnTo>
                    <a:lnTo>
                      <a:pt x="200" y="945"/>
                    </a:lnTo>
                    <a:lnTo>
                      <a:pt x="207" y="935"/>
                    </a:lnTo>
                    <a:lnTo>
                      <a:pt x="215" y="925"/>
                    </a:lnTo>
                    <a:lnTo>
                      <a:pt x="223" y="915"/>
                    </a:lnTo>
                    <a:lnTo>
                      <a:pt x="233" y="904"/>
                    </a:lnTo>
                    <a:lnTo>
                      <a:pt x="286" y="948"/>
                    </a:lnTo>
                    <a:lnTo>
                      <a:pt x="324" y="906"/>
                    </a:lnTo>
                    <a:lnTo>
                      <a:pt x="353" y="928"/>
                    </a:lnTo>
                    <a:lnTo>
                      <a:pt x="382" y="902"/>
                    </a:lnTo>
                    <a:lnTo>
                      <a:pt x="720" y="591"/>
                    </a:lnTo>
                    <a:lnTo>
                      <a:pt x="739" y="573"/>
                    </a:lnTo>
                    <a:lnTo>
                      <a:pt x="733" y="547"/>
                    </a:lnTo>
                    <a:lnTo>
                      <a:pt x="691" y="396"/>
                    </a:lnTo>
                    <a:lnTo>
                      <a:pt x="686" y="380"/>
                    </a:lnTo>
                    <a:lnTo>
                      <a:pt x="672" y="371"/>
                    </a:lnTo>
                    <a:lnTo>
                      <a:pt x="627" y="342"/>
                    </a:lnTo>
                    <a:lnTo>
                      <a:pt x="679" y="282"/>
                    </a:lnTo>
                    <a:lnTo>
                      <a:pt x="680" y="281"/>
                    </a:lnTo>
                    <a:lnTo>
                      <a:pt x="680" y="281"/>
                    </a:lnTo>
                    <a:lnTo>
                      <a:pt x="694" y="266"/>
                    </a:lnTo>
                    <a:lnTo>
                      <a:pt x="708" y="252"/>
                    </a:lnTo>
                    <a:lnTo>
                      <a:pt x="723" y="239"/>
                    </a:lnTo>
                    <a:lnTo>
                      <a:pt x="739" y="228"/>
                    </a:lnTo>
                    <a:lnTo>
                      <a:pt x="739" y="228"/>
                    </a:lnTo>
                    <a:lnTo>
                      <a:pt x="756" y="219"/>
                    </a:lnTo>
                    <a:lnTo>
                      <a:pt x="773" y="213"/>
                    </a:lnTo>
                    <a:lnTo>
                      <a:pt x="791" y="208"/>
                    </a:lnTo>
                    <a:lnTo>
                      <a:pt x="811" y="205"/>
                    </a:lnTo>
                    <a:lnTo>
                      <a:pt x="1023" y="180"/>
                    </a:lnTo>
                    <a:lnTo>
                      <a:pt x="1131" y="0"/>
                    </a:lnTo>
                    <a:close/>
                    <a:moveTo>
                      <a:pt x="349" y="812"/>
                    </a:moveTo>
                    <a:lnTo>
                      <a:pt x="242" y="727"/>
                    </a:lnTo>
                    <a:lnTo>
                      <a:pt x="496" y="428"/>
                    </a:lnTo>
                    <a:lnTo>
                      <a:pt x="571" y="495"/>
                    </a:lnTo>
                    <a:lnTo>
                      <a:pt x="386" y="600"/>
                    </a:lnTo>
                    <a:lnTo>
                      <a:pt x="377" y="605"/>
                    </a:lnTo>
                    <a:lnTo>
                      <a:pt x="375" y="614"/>
                    </a:lnTo>
                    <a:lnTo>
                      <a:pt x="362" y="670"/>
                    </a:lnTo>
                    <a:lnTo>
                      <a:pt x="360" y="677"/>
                    </a:lnTo>
                    <a:lnTo>
                      <a:pt x="363" y="683"/>
                    </a:lnTo>
                    <a:lnTo>
                      <a:pt x="397" y="768"/>
                    </a:lnTo>
                    <a:lnTo>
                      <a:pt x="349" y="812"/>
                    </a:lnTo>
                    <a:close/>
                    <a:moveTo>
                      <a:pt x="431" y="736"/>
                    </a:moveTo>
                    <a:lnTo>
                      <a:pt x="406" y="674"/>
                    </a:lnTo>
                    <a:lnTo>
                      <a:pt x="416" y="633"/>
                    </a:lnTo>
                    <a:lnTo>
                      <a:pt x="606" y="526"/>
                    </a:lnTo>
                    <a:lnTo>
                      <a:pt x="633" y="550"/>
                    </a:lnTo>
                    <a:lnTo>
                      <a:pt x="431" y="7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078" name="Freeform 198">
                <a:extLst>
                  <a:ext uri="{FF2B5EF4-FFF2-40B4-BE49-F238E27FC236}">
                    <a16:creationId xmlns:a16="http://schemas.microsoft.com/office/drawing/2014/main" id="{A598FEB5-9481-4C89-A405-D37F8AC6279F}"/>
                  </a:ext>
                </a:extLst>
              </p:cNvPr>
              <p:cNvSpPr>
                <a:spLocks noEditPoints="1"/>
              </p:cNvSpPr>
              <p:nvPr/>
            </p:nvSpPr>
            <p:spPr bwMode="auto">
              <a:xfrm>
                <a:off x="7569446" y="3166142"/>
                <a:ext cx="79375" cy="120650"/>
              </a:xfrm>
              <a:custGeom>
                <a:avLst/>
                <a:gdLst>
                  <a:gd name="T0" fmla="*/ 129 w 252"/>
                  <a:gd name="T1" fmla="*/ 0 h 383"/>
                  <a:gd name="T2" fmla="*/ 104 w 252"/>
                  <a:gd name="T3" fmla="*/ 29 h 383"/>
                  <a:gd name="T4" fmla="*/ 66 w 252"/>
                  <a:gd name="T5" fmla="*/ 84 h 383"/>
                  <a:gd name="T6" fmla="*/ 39 w 252"/>
                  <a:gd name="T7" fmla="*/ 128 h 383"/>
                  <a:gd name="T8" fmla="*/ 16 w 252"/>
                  <a:gd name="T9" fmla="*/ 177 h 383"/>
                  <a:gd name="T10" fmla="*/ 5 w 252"/>
                  <a:gd name="T11" fmla="*/ 215 h 383"/>
                  <a:gd name="T12" fmla="*/ 1 w 252"/>
                  <a:gd name="T13" fmla="*/ 240 h 383"/>
                  <a:gd name="T14" fmla="*/ 0 w 252"/>
                  <a:gd name="T15" fmla="*/ 265 h 383"/>
                  <a:gd name="T16" fmla="*/ 3 w 252"/>
                  <a:gd name="T17" fmla="*/ 289 h 383"/>
                  <a:gd name="T18" fmla="*/ 7 w 252"/>
                  <a:gd name="T19" fmla="*/ 299 h 383"/>
                  <a:gd name="T20" fmla="*/ 16 w 252"/>
                  <a:gd name="T21" fmla="*/ 320 h 383"/>
                  <a:gd name="T22" fmla="*/ 28 w 252"/>
                  <a:gd name="T23" fmla="*/ 338 h 383"/>
                  <a:gd name="T24" fmla="*/ 42 w 252"/>
                  <a:gd name="T25" fmla="*/ 353 h 383"/>
                  <a:gd name="T26" fmla="*/ 60 w 252"/>
                  <a:gd name="T27" fmla="*/ 365 h 383"/>
                  <a:gd name="T28" fmla="*/ 77 w 252"/>
                  <a:gd name="T29" fmla="*/ 373 h 383"/>
                  <a:gd name="T30" fmla="*/ 97 w 252"/>
                  <a:gd name="T31" fmla="*/ 380 h 383"/>
                  <a:gd name="T32" fmla="*/ 116 w 252"/>
                  <a:gd name="T33" fmla="*/ 383 h 383"/>
                  <a:gd name="T34" fmla="*/ 136 w 252"/>
                  <a:gd name="T35" fmla="*/ 383 h 383"/>
                  <a:gd name="T36" fmla="*/ 155 w 252"/>
                  <a:gd name="T37" fmla="*/ 380 h 383"/>
                  <a:gd name="T38" fmla="*/ 175 w 252"/>
                  <a:gd name="T39" fmla="*/ 374 h 383"/>
                  <a:gd name="T40" fmla="*/ 192 w 252"/>
                  <a:gd name="T41" fmla="*/ 366 h 383"/>
                  <a:gd name="T42" fmla="*/ 208 w 252"/>
                  <a:gd name="T43" fmla="*/ 355 h 383"/>
                  <a:gd name="T44" fmla="*/ 223 w 252"/>
                  <a:gd name="T45" fmla="*/ 340 h 383"/>
                  <a:gd name="T46" fmla="*/ 234 w 252"/>
                  <a:gd name="T47" fmla="*/ 323 h 383"/>
                  <a:gd name="T48" fmla="*/ 244 w 252"/>
                  <a:gd name="T49" fmla="*/ 303 h 383"/>
                  <a:gd name="T50" fmla="*/ 249 w 252"/>
                  <a:gd name="T51" fmla="*/ 280 h 383"/>
                  <a:gd name="T52" fmla="*/ 251 w 252"/>
                  <a:gd name="T53" fmla="*/ 268 h 383"/>
                  <a:gd name="T54" fmla="*/ 251 w 252"/>
                  <a:gd name="T55" fmla="*/ 243 h 383"/>
                  <a:gd name="T56" fmla="*/ 248 w 252"/>
                  <a:gd name="T57" fmla="*/ 219 h 383"/>
                  <a:gd name="T58" fmla="*/ 239 w 252"/>
                  <a:gd name="T59" fmla="*/ 182 h 383"/>
                  <a:gd name="T60" fmla="*/ 220 w 252"/>
                  <a:gd name="T61" fmla="*/ 135 h 383"/>
                  <a:gd name="T62" fmla="*/ 196 w 252"/>
                  <a:gd name="T63" fmla="*/ 91 h 383"/>
                  <a:gd name="T64" fmla="*/ 172 w 252"/>
                  <a:gd name="T65" fmla="*/ 54 h 383"/>
                  <a:gd name="T66" fmla="*/ 134 w 252"/>
                  <a:gd name="T67" fmla="*/ 7 h 383"/>
                  <a:gd name="T68" fmla="*/ 129 w 252"/>
                  <a:gd name="T69" fmla="*/ 0 h 383"/>
                  <a:gd name="T70" fmla="*/ 51 w 252"/>
                  <a:gd name="T71" fmla="*/ 178 h 383"/>
                  <a:gd name="T72" fmla="*/ 68 w 252"/>
                  <a:gd name="T73" fmla="*/ 239 h 383"/>
                  <a:gd name="T74" fmla="*/ 87 w 252"/>
                  <a:gd name="T75" fmla="*/ 285 h 383"/>
                  <a:gd name="T76" fmla="*/ 111 w 252"/>
                  <a:gd name="T77" fmla="*/ 323 h 383"/>
                  <a:gd name="T78" fmla="*/ 143 w 252"/>
                  <a:gd name="T79" fmla="*/ 358 h 383"/>
                  <a:gd name="T80" fmla="*/ 124 w 252"/>
                  <a:gd name="T81" fmla="*/ 357 h 383"/>
                  <a:gd name="T82" fmla="*/ 90 w 252"/>
                  <a:gd name="T83" fmla="*/ 349 h 383"/>
                  <a:gd name="T84" fmla="*/ 64 w 252"/>
                  <a:gd name="T85" fmla="*/ 334 h 383"/>
                  <a:gd name="T86" fmla="*/ 46 w 252"/>
                  <a:gd name="T87" fmla="*/ 314 h 383"/>
                  <a:gd name="T88" fmla="*/ 35 w 252"/>
                  <a:gd name="T89" fmla="*/ 288 h 383"/>
                  <a:gd name="T90" fmla="*/ 31 w 252"/>
                  <a:gd name="T91" fmla="*/ 258 h 383"/>
                  <a:gd name="T92" fmla="*/ 35 w 252"/>
                  <a:gd name="T93" fmla="*/ 227 h 383"/>
                  <a:gd name="T94" fmla="*/ 45 w 252"/>
                  <a:gd name="T95" fmla="*/ 194 h 383"/>
                  <a:gd name="T96" fmla="*/ 51 w 252"/>
                  <a:gd name="T97" fmla="*/ 178 h 383"/>
                  <a:gd name="T98" fmla="*/ 211 w 252"/>
                  <a:gd name="T99" fmla="*/ 314 h 383"/>
                  <a:gd name="T100" fmla="*/ 192 w 252"/>
                  <a:gd name="T101" fmla="*/ 242 h 383"/>
                  <a:gd name="T102" fmla="*/ 150 w 252"/>
                  <a:gd name="T103" fmla="*/ 105 h 383"/>
                  <a:gd name="T104" fmla="*/ 132 w 252"/>
                  <a:gd name="T105" fmla="*/ 55 h 383"/>
                  <a:gd name="T106" fmla="*/ 166 w 252"/>
                  <a:gd name="T107" fmla="*/ 93 h 383"/>
                  <a:gd name="T108" fmla="*/ 190 w 252"/>
                  <a:gd name="T109" fmla="*/ 129 h 383"/>
                  <a:gd name="T110" fmla="*/ 207 w 252"/>
                  <a:gd name="T111" fmla="*/ 164 h 383"/>
                  <a:gd name="T112" fmla="*/ 218 w 252"/>
                  <a:gd name="T113" fmla="*/ 198 h 383"/>
                  <a:gd name="T114" fmla="*/ 222 w 252"/>
                  <a:gd name="T115" fmla="*/ 229 h 383"/>
                  <a:gd name="T116" fmla="*/ 222 w 252"/>
                  <a:gd name="T117" fmla="*/ 259 h 383"/>
                  <a:gd name="T118" fmla="*/ 218 w 252"/>
                  <a:gd name="T119" fmla="*/ 288 h 383"/>
                  <a:gd name="T120" fmla="*/ 211 w 252"/>
                  <a:gd name="T121" fmla="*/ 314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2" h="383">
                    <a:moveTo>
                      <a:pt x="129" y="0"/>
                    </a:moveTo>
                    <a:lnTo>
                      <a:pt x="129" y="0"/>
                    </a:lnTo>
                    <a:lnTo>
                      <a:pt x="123" y="8"/>
                    </a:lnTo>
                    <a:lnTo>
                      <a:pt x="104" y="29"/>
                    </a:lnTo>
                    <a:lnTo>
                      <a:pt x="79" y="63"/>
                    </a:lnTo>
                    <a:lnTo>
                      <a:pt x="66" y="84"/>
                    </a:lnTo>
                    <a:lnTo>
                      <a:pt x="52" y="105"/>
                    </a:lnTo>
                    <a:lnTo>
                      <a:pt x="39" y="128"/>
                    </a:lnTo>
                    <a:lnTo>
                      <a:pt x="27" y="152"/>
                    </a:lnTo>
                    <a:lnTo>
                      <a:pt x="16" y="177"/>
                    </a:lnTo>
                    <a:lnTo>
                      <a:pt x="9" y="203"/>
                    </a:lnTo>
                    <a:lnTo>
                      <a:pt x="5" y="215"/>
                    </a:lnTo>
                    <a:lnTo>
                      <a:pt x="2" y="228"/>
                    </a:lnTo>
                    <a:lnTo>
                      <a:pt x="1" y="240"/>
                    </a:lnTo>
                    <a:lnTo>
                      <a:pt x="0" y="253"/>
                    </a:lnTo>
                    <a:lnTo>
                      <a:pt x="0" y="265"/>
                    </a:lnTo>
                    <a:lnTo>
                      <a:pt x="1" y="277"/>
                    </a:lnTo>
                    <a:lnTo>
                      <a:pt x="3" y="289"/>
                    </a:lnTo>
                    <a:lnTo>
                      <a:pt x="7" y="299"/>
                    </a:lnTo>
                    <a:lnTo>
                      <a:pt x="7" y="299"/>
                    </a:lnTo>
                    <a:lnTo>
                      <a:pt x="11" y="310"/>
                    </a:lnTo>
                    <a:lnTo>
                      <a:pt x="16" y="320"/>
                    </a:lnTo>
                    <a:lnTo>
                      <a:pt x="22" y="330"/>
                    </a:lnTo>
                    <a:lnTo>
                      <a:pt x="28" y="338"/>
                    </a:lnTo>
                    <a:lnTo>
                      <a:pt x="35" y="346"/>
                    </a:lnTo>
                    <a:lnTo>
                      <a:pt x="42" y="353"/>
                    </a:lnTo>
                    <a:lnTo>
                      <a:pt x="51" y="359"/>
                    </a:lnTo>
                    <a:lnTo>
                      <a:pt x="60" y="365"/>
                    </a:lnTo>
                    <a:lnTo>
                      <a:pt x="68" y="370"/>
                    </a:lnTo>
                    <a:lnTo>
                      <a:pt x="77" y="373"/>
                    </a:lnTo>
                    <a:lnTo>
                      <a:pt x="87" y="378"/>
                    </a:lnTo>
                    <a:lnTo>
                      <a:pt x="97" y="380"/>
                    </a:lnTo>
                    <a:lnTo>
                      <a:pt x="106" y="382"/>
                    </a:lnTo>
                    <a:lnTo>
                      <a:pt x="116" y="383"/>
                    </a:lnTo>
                    <a:lnTo>
                      <a:pt x="126" y="383"/>
                    </a:lnTo>
                    <a:lnTo>
                      <a:pt x="136" y="383"/>
                    </a:lnTo>
                    <a:lnTo>
                      <a:pt x="145" y="382"/>
                    </a:lnTo>
                    <a:lnTo>
                      <a:pt x="155" y="380"/>
                    </a:lnTo>
                    <a:lnTo>
                      <a:pt x="165" y="378"/>
                    </a:lnTo>
                    <a:lnTo>
                      <a:pt x="175" y="374"/>
                    </a:lnTo>
                    <a:lnTo>
                      <a:pt x="183" y="370"/>
                    </a:lnTo>
                    <a:lnTo>
                      <a:pt x="192" y="366"/>
                    </a:lnTo>
                    <a:lnTo>
                      <a:pt x="201" y="360"/>
                    </a:lnTo>
                    <a:lnTo>
                      <a:pt x="208" y="355"/>
                    </a:lnTo>
                    <a:lnTo>
                      <a:pt x="216" y="347"/>
                    </a:lnTo>
                    <a:lnTo>
                      <a:pt x="223" y="340"/>
                    </a:lnTo>
                    <a:lnTo>
                      <a:pt x="229" y="332"/>
                    </a:lnTo>
                    <a:lnTo>
                      <a:pt x="234" y="323"/>
                    </a:lnTo>
                    <a:lnTo>
                      <a:pt x="240" y="314"/>
                    </a:lnTo>
                    <a:lnTo>
                      <a:pt x="244" y="303"/>
                    </a:lnTo>
                    <a:lnTo>
                      <a:pt x="247" y="292"/>
                    </a:lnTo>
                    <a:lnTo>
                      <a:pt x="249" y="280"/>
                    </a:lnTo>
                    <a:lnTo>
                      <a:pt x="249" y="280"/>
                    </a:lnTo>
                    <a:lnTo>
                      <a:pt x="251" y="268"/>
                    </a:lnTo>
                    <a:lnTo>
                      <a:pt x="252" y="256"/>
                    </a:lnTo>
                    <a:lnTo>
                      <a:pt x="251" y="243"/>
                    </a:lnTo>
                    <a:lnTo>
                      <a:pt x="249" y="231"/>
                    </a:lnTo>
                    <a:lnTo>
                      <a:pt x="248" y="219"/>
                    </a:lnTo>
                    <a:lnTo>
                      <a:pt x="246" y="206"/>
                    </a:lnTo>
                    <a:lnTo>
                      <a:pt x="239" y="182"/>
                    </a:lnTo>
                    <a:lnTo>
                      <a:pt x="230" y="158"/>
                    </a:lnTo>
                    <a:lnTo>
                      <a:pt x="220" y="135"/>
                    </a:lnTo>
                    <a:lnTo>
                      <a:pt x="209" y="113"/>
                    </a:lnTo>
                    <a:lnTo>
                      <a:pt x="196" y="91"/>
                    </a:lnTo>
                    <a:lnTo>
                      <a:pt x="184" y="73"/>
                    </a:lnTo>
                    <a:lnTo>
                      <a:pt x="172" y="54"/>
                    </a:lnTo>
                    <a:lnTo>
                      <a:pt x="151" y="25"/>
                    </a:lnTo>
                    <a:lnTo>
                      <a:pt x="134" y="7"/>
                    </a:lnTo>
                    <a:lnTo>
                      <a:pt x="129" y="0"/>
                    </a:lnTo>
                    <a:lnTo>
                      <a:pt x="129" y="0"/>
                    </a:lnTo>
                    <a:close/>
                    <a:moveTo>
                      <a:pt x="51" y="178"/>
                    </a:moveTo>
                    <a:lnTo>
                      <a:pt x="51" y="178"/>
                    </a:lnTo>
                    <a:lnTo>
                      <a:pt x="60" y="211"/>
                    </a:lnTo>
                    <a:lnTo>
                      <a:pt x="68" y="239"/>
                    </a:lnTo>
                    <a:lnTo>
                      <a:pt x="77" y="264"/>
                    </a:lnTo>
                    <a:lnTo>
                      <a:pt x="87" y="285"/>
                    </a:lnTo>
                    <a:lnTo>
                      <a:pt x="99" y="305"/>
                    </a:lnTo>
                    <a:lnTo>
                      <a:pt x="111" y="323"/>
                    </a:lnTo>
                    <a:lnTo>
                      <a:pt x="126" y="341"/>
                    </a:lnTo>
                    <a:lnTo>
                      <a:pt x="143" y="358"/>
                    </a:lnTo>
                    <a:lnTo>
                      <a:pt x="143" y="358"/>
                    </a:lnTo>
                    <a:lnTo>
                      <a:pt x="124" y="357"/>
                    </a:lnTo>
                    <a:lnTo>
                      <a:pt x="106" y="355"/>
                    </a:lnTo>
                    <a:lnTo>
                      <a:pt x="90" y="349"/>
                    </a:lnTo>
                    <a:lnTo>
                      <a:pt x="76" y="343"/>
                    </a:lnTo>
                    <a:lnTo>
                      <a:pt x="64" y="334"/>
                    </a:lnTo>
                    <a:lnTo>
                      <a:pt x="54" y="324"/>
                    </a:lnTo>
                    <a:lnTo>
                      <a:pt x="46" y="314"/>
                    </a:lnTo>
                    <a:lnTo>
                      <a:pt x="40" y="301"/>
                    </a:lnTo>
                    <a:lnTo>
                      <a:pt x="35" y="288"/>
                    </a:lnTo>
                    <a:lnTo>
                      <a:pt x="33" y="273"/>
                    </a:lnTo>
                    <a:lnTo>
                      <a:pt x="31" y="258"/>
                    </a:lnTo>
                    <a:lnTo>
                      <a:pt x="31" y="243"/>
                    </a:lnTo>
                    <a:lnTo>
                      <a:pt x="35" y="227"/>
                    </a:lnTo>
                    <a:lnTo>
                      <a:pt x="38" y="211"/>
                    </a:lnTo>
                    <a:lnTo>
                      <a:pt x="45" y="194"/>
                    </a:lnTo>
                    <a:lnTo>
                      <a:pt x="51" y="178"/>
                    </a:lnTo>
                    <a:lnTo>
                      <a:pt x="51" y="178"/>
                    </a:lnTo>
                    <a:close/>
                    <a:moveTo>
                      <a:pt x="211" y="314"/>
                    </a:moveTo>
                    <a:lnTo>
                      <a:pt x="211" y="314"/>
                    </a:lnTo>
                    <a:lnTo>
                      <a:pt x="203" y="279"/>
                    </a:lnTo>
                    <a:lnTo>
                      <a:pt x="192" y="242"/>
                    </a:lnTo>
                    <a:lnTo>
                      <a:pt x="171" y="170"/>
                    </a:lnTo>
                    <a:lnTo>
                      <a:pt x="150" y="105"/>
                    </a:lnTo>
                    <a:lnTo>
                      <a:pt x="132" y="55"/>
                    </a:lnTo>
                    <a:lnTo>
                      <a:pt x="132" y="55"/>
                    </a:lnTo>
                    <a:lnTo>
                      <a:pt x="150" y="75"/>
                    </a:lnTo>
                    <a:lnTo>
                      <a:pt x="166" y="93"/>
                    </a:lnTo>
                    <a:lnTo>
                      <a:pt x="179" y="112"/>
                    </a:lnTo>
                    <a:lnTo>
                      <a:pt x="190" y="129"/>
                    </a:lnTo>
                    <a:lnTo>
                      <a:pt x="200" y="147"/>
                    </a:lnTo>
                    <a:lnTo>
                      <a:pt x="207" y="164"/>
                    </a:lnTo>
                    <a:lnTo>
                      <a:pt x="213" y="181"/>
                    </a:lnTo>
                    <a:lnTo>
                      <a:pt x="218" y="198"/>
                    </a:lnTo>
                    <a:lnTo>
                      <a:pt x="220" y="214"/>
                    </a:lnTo>
                    <a:lnTo>
                      <a:pt x="222" y="229"/>
                    </a:lnTo>
                    <a:lnTo>
                      <a:pt x="222" y="244"/>
                    </a:lnTo>
                    <a:lnTo>
                      <a:pt x="222" y="259"/>
                    </a:lnTo>
                    <a:lnTo>
                      <a:pt x="221" y="273"/>
                    </a:lnTo>
                    <a:lnTo>
                      <a:pt x="218" y="288"/>
                    </a:lnTo>
                    <a:lnTo>
                      <a:pt x="216" y="301"/>
                    </a:lnTo>
                    <a:lnTo>
                      <a:pt x="211" y="314"/>
                    </a:lnTo>
                    <a:lnTo>
                      <a:pt x="211" y="31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079" name="Group 2078">
            <a:extLst>
              <a:ext uri="{FF2B5EF4-FFF2-40B4-BE49-F238E27FC236}">
                <a16:creationId xmlns:a16="http://schemas.microsoft.com/office/drawing/2014/main" id="{A1E67926-890F-415A-8902-36AEEA08EA10}"/>
              </a:ext>
            </a:extLst>
          </p:cNvPr>
          <p:cNvGrpSpPr/>
          <p:nvPr/>
        </p:nvGrpSpPr>
        <p:grpSpPr>
          <a:xfrm>
            <a:off x="3881449" y="3205728"/>
            <a:ext cx="612000" cy="612000"/>
            <a:chOff x="2049085" y="3806921"/>
            <a:chExt cx="612000" cy="612000"/>
          </a:xfrm>
        </p:grpSpPr>
        <p:sp>
          <p:nvSpPr>
            <p:cNvPr id="2080" name="Oval 2079">
              <a:extLst>
                <a:ext uri="{FF2B5EF4-FFF2-40B4-BE49-F238E27FC236}">
                  <a16:creationId xmlns:a16="http://schemas.microsoft.com/office/drawing/2014/main" id="{F4B5B4A4-8D99-41F0-ACCA-408FFAFA72AD}"/>
                </a:ext>
              </a:extLst>
            </p:cNvPr>
            <p:cNvSpPr/>
            <p:nvPr/>
          </p:nvSpPr>
          <p:spPr bwMode="ltGray">
            <a:xfrm>
              <a:off x="2049085" y="3806921"/>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81" name="Freeform 203">
              <a:extLst>
                <a:ext uri="{FF2B5EF4-FFF2-40B4-BE49-F238E27FC236}">
                  <a16:creationId xmlns:a16="http://schemas.microsoft.com/office/drawing/2014/main" id="{8B183A11-C524-49E9-8752-5E3635678F3B}"/>
                </a:ext>
              </a:extLst>
            </p:cNvPr>
            <p:cNvSpPr>
              <a:spLocks noEditPoints="1"/>
            </p:cNvSpPr>
            <p:nvPr/>
          </p:nvSpPr>
          <p:spPr bwMode="auto">
            <a:xfrm>
              <a:off x="2181548" y="3931540"/>
              <a:ext cx="398463" cy="354013"/>
            </a:xfrm>
            <a:custGeom>
              <a:avLst/>
              <a:gdLst>
                <a:gd name="T0" fmla="*/ 107 w 1254"/>
                <a:gd name="T1" fmla="*/ 104 h 1111"/>
                <a:gd name="T2" fmla="*/ 83 w 1254"/>
                <a:gd name="T3" fmla="*/ 97 h 1111"/>
                <a:gd name="T4" fmla="*/ 65 w 1254"/>
                <a:gd name="T5" fmla="*/ 69 h 1111"/>
                <a:gd name="T6" fmla="*/ 65 w 1254"/>
                <a:gd name="T7" fmla="*/ 36 h 1111"/>
                <a:gd name="T8" fmla="*/ 83 w 1254"/>
                <a:gd name="T9" fmla="*/ 8 h 1111"/>
                <a:gd name="T10" fmla="*/ 333 w 1254"/>
                <a:gd name="T11" fmla="*/ 0 h 1111"/>
                <a:gd name="T12" fmla="*/ 356 w 1254"/>
                <a:gd name="T13" fmla="*/ 8 h 1111"/>
                <a:gd name="T14" fmla="*/ 375 w 1254"/>
                <a:gd name="T15" fmla="*/ 36 h 1111"/>
                <a:gd name="T16" fmla="*/ 375 w 1254"/>
                <a:gd name="T17" fmla="*/ 69 h 1111"/>
                <a:gd name="T18" fmla="*/ 356 w 1254"/>
                <a:gd name="T19" fmla="*/ 97 h 1111"/>
                <a:gd name="T20" fmla="*/ 274 w 1254"/>
                <a:gd name="T21" fmla="*/ 104 h 1111"/>
                <a:gd name="T22" fmla="*/ 713 w 1254"/>
                <a:gd name="T23" fmla="*/ 174 h 1111"/>
                <a:gd name="T24" fmla="*/ 1151 w 1254"/>
                <a:gd name="T25" fmla="*/ 177 h 1111"/>
                <a:gd name="T26" fmla="*/ 1178 w 1254"/>
                <a:gd name="T27" fmla="*/ 186 h 1111"/>
                <a:gd name="T28" fmla="*/ 1197 w 1254"/>
                <a:gd name="T29" fmla="*/ 206 h 1111"/>
                <a:gd name="T30" fmla="*/ 1252 w 1254"/>
                <a:gd name="T31" fmla="*/ 326 h 1111"/>
                <a:gd name="T32" fmla="*/ 1128 w 1254"/>
                <a:gd name="T33" fmla="*/ 863 h 1111"/>
                <a:gd name="T34" fmla="*/ 1118 w 1254"/>
                <a:gd name="T35" fmla="*/ 885 h 1111"/>
                <a:gd name="T36" fmla="*/ 1093 w 1254"/>
                <a:gd name="T37" fmla="*/ 901 h 1111"/>
                <a:gd name="T38" fmla="*/ 994 w 1254"/>
                <a:gd name="T39" fmla="*/ 1012 h 1111"/>
                <a:gd name="T40" fmla="*/ 987 w 1254"/>
                <a:gd name="T41" fmla="*/ 1050 h 1111"/>
                <a:gd name="T42" fmla="*/ 965 w 1254"/>
                <a:gd name="T43" fmla="*/ 1081 h 1111"/>
                <a:gd name="T44" fmla="*/ 934 w 1254"/>
                <a:gd name="T45" fmla="*/ 1103 h 1111"/>
                <a:gd name="T46" fmla="*/ 895 w 1254"/>
                <a:gd name="T47" fmla="*/ 1111 h 1111"/>
                <a:gd name="T48" fmla="*/ 79 w 1254"/>
                <a:gd name="T49" fmla="*/ 1108 h 1111"/>
                <a:gd name="T50" fmla="*/ 43 w 1254"/>
                <a:gd name="T51" fmla="*/ 1094 h 1111"/>
                <a:gd name="T52" fmla="*/ 17 w 1254"/>
                <a:gd name="T53" fmla="*/ 1067 h 1111"/>
                <a:gd name="T54" fmla="*/ 2 w 1254"/>
                <a:gd name="T55" fmla="*/ 1031 h 1111"/>
                <a:gd name="T56" fmla="*/ 0 w 1254"/>
                <a:gd name="T57" fmla="*/ 275 h 1111"/>
                <a:gd name="T58" fmla="*/ 7 w 1254"/>
                <a:gd name="T59" fmla="*/ 236 h 1111"/>
                <a:gd name="T60" fmla="*/ 29 w 1254"/>
                <a:gd name="T61" fmla="*/ 204 h 1111"/>
                <a:gd name="T62" fmla="*/ 60 w 1254"/>
                <a:gd name="T63" fmla="*/ 183 h 1111"/>
                <a:gd name="T64" fmla="*/ 98 w 1254"/>
                <a:gd name="T65" fmla="*/ 175 h 1111"/>
                <a:gd name="T66" fmla="*/ 236 w 1254"/>
                <a:gd name="T67" fmla="*/ 888 h 1111"/>
                <a:gd name="T68" fmla="*/ 227 w 1254"/>
                <a:gd name="T69" fmla="*/ 907 h 1111"/>
                <a:gd name="T70" fmla="*/ 233 w 1254"/>
                <a:gd name="T71" fmla="*/ 935 h 1111"/>
                <a:gd name="T72" fmla="*/ 250 w 1254"/>
                <a:gd name="T73" fmla="*/ 948 h 1111"/>
                <a:gd name="T74" fmla="*/ 278 w 1254"/>
                <a:gd name="T75" fmla="*/ 947 h 1111"/>
                <a:gd name="T76" fmla="*/ 729 w 1254"/>
                <a:gd name="T77" fmla="*/ 926 h 1111"/>
                <a:gd name="T78" fmla="*/ 749 w 1254"/>
                <a:gd name="T79" fmla="*/ 936 h 1111"/>
                <a:gd name="T80" fmla="*/ 776 w 1254"/>
                <a:gd name="T81" fmla="*/ 930 h 1111"/>
                <a:gd name="T82" fmla="*/ 789 w 1254"/>
                <a:gd name="T83" fmla="*/ 912 h 1111"/>
                <a:gd name="T84" fmla="*/ 788 w 1254"/>
                <a:gd name="T85" fmla="*/ 885 h 1111"/>
                <a:gd name="T86" fmla="*/ 767 w 1254"/>
                <a:gd name="T87" fmla="*/ 432 h 1111"/>
                <a:gd name="T88" fmla="*/ 777 w 1254"/>
                <a:gd name="T89" fmla="*/ 412 h 1111"/>
                <a:gd name="T90" fmla="*/ 771 w 1254"/>
                <a:gd name="T91" fmla="*/ 385 h 1111"/>
                <a:gd name="T92" fmla="*/ 753 w 1254"/>
                <a:gd name="T93" fmla="*/ 372 h 1111"/>
                <a:gd name="T94" fmla="*/ 726 w 1254"/>
                <a:gd name="T95" fmla="*/ 373 h 1111"/>
                <a:gd name="T96" fmla="*/ 274 w 1254"/>
                <a:gd name="T97" fmla="*/ 394 h 1111"/>
                <a:gd name="T98" fmla="*/ 256 w 1254"/>
                <a:gd name="T99" fmla="*/ 384 h 1111"/>
                <a:gd name="T100" fmla="*/ 228 w 1254"/>
                <a:gd name="T101" fmla="*/ 391 h 1111"/>
                <a:gd name="T102" fmla="*/ 215 w 1254"/>
                <a:gd name="T103" fmla="*/ 408 h 1111"/>
                <a:gd name="T104" fmla="*/ 216 w 1254"/>
                <a:gd name="T105" fmla="*/ 435 h 1111"/>
                <a:gd name="T106" fmla="*/ 994 w 1254"/>
                <a:gd name="T107" fmla="*/ 276 h 1111"/>
                <a:gd name="T108" fmla="*/ 1118 w 1254"/>
                <a:gd name="T109" fmla="*/ 279 h 1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54" h="1111">
                  <a:moveTo>
                    <a:pt x="98" y="175"/>
                  </a:moveTo>
                  <a:lnTo>
                    <a:pt x="163" y="175"/>
                  </a:lnTo>
                  <a:lnTo>
                    <a:pt x="163" y="104"/>
                  </a:lnTo>
                  <a:lnTo>
                    <a:pt x="107" y="104"/>
                  </a:lnTo>
                  <a:lnTo>
                    <a:pt x="107" y="104"/>
                  </a:lnTo>
                  <a:lnTo>
                    <a:pt x="98" y="103"/>
                  </a:lnTo>
                  <a:lnTo>
                    <a:pt x="89" y="101"/>
                  </a:lnTo>
                  <a:lnTo>
                    <a:pt x="83" y="97"/>
                  </a:lnTo>
                  <a:lnTo>
                    <a:pt x="76" y="91"/>
                  </a:lnTo>
                  <a:lnTo>
                    <a:pt x="71" y="85"/>
                  </a:lnTo>
                  <a:lnTo>
                    <a:pt x="67" y="77"/>
                  </a:lnTo>
                  <a:lnTo>
                    <a:pt x="65" y="69"/>
                  </a:lnTo>
                  <a:lnTo>
                    <a:pt x="63" y="60"/>
                  </a:lnTo>
                  <a:lnTo>
                    <a:pt x="63" y="45"/>
                  </a:lnTo>
                  <a:lnTo>
                    <a:pt x="63" y="45"/>
                  </a:lnTo>
                  <a:lnTo>
                    <a:pt x="65" y="36"/>
                  </a:lnTo>
                  <a:lnTo>
                    <a:pt x="67" y="27"/>
                  </a:lnTo>
                  <a:lnTo>
                    <a:pt x="71" y="20"/>
                  </a:lnTo>
                  <a:lnTo>
                    <a:pt x="76" y="13"/>
                  </a:lnTo>
                  <a:lnTo>
                    <a:pt x="83" y="8"/>
                  </a:lnTo>
                  <a:lnTo>
                    <a:pt x="89" y="4"/>
                  </a:lnTo>
                  <a:lnTo>
                    <a:pt x="98" y="1"/>
                  </a:lnTo>
                  <a:lnTo>
                    <a:pt x="107" y="0"/>
                  </a:lnTo>
                  <a:lnTo>
                    <a:pt x="333" y="0"/>
                  </a:lnTo>
                  <a:lnTo>
                    <a:pt x="333" y="0"/>
                  </a:lnTo>
                  <a:lnTo>
                    <a:pt x="341" y="1"/>
                  </a:lnTo>
                  <a:lnTo>
                    <a:pt x="349" y="4"/>
                  </a:lnTo>
                  <a:lnTo>
                    <a:pt x="356" y="8"/>
                  </a:lnTo>
                  <a:lnTo>
                    <a:pt x="363" y="13"/>
                  </a:lnTo>
                  <a:lnTo>
                    <a:pt x="368" y="20"/>
                  </a:lnTo>
                  <a:lnTo>
                    <a:pt x="373" y="27"/>
                  </a:lnTo>
                  <a:lnTo>
                    <a:pt x="375" y="36"/>
                  </a:lnTo>
                  <a:lnTo>
                    <a:pt x="376" y="45"/>
                  </a:lnTo>
                  <a:lnTo>
                    <a:pt x="376" y="60"/>
                  </a:lnTo>
                  <a:lnTo>
                    <a:pt x="376" y="60"/>
                  </a:lnTo>
                  <a:lnTo>
                    <a:pt x="375" y="69"/>
                  </a:lnTo>
                  <a:lnTo>
                    <a:pt x="373" y="77"/>
                  </a:lnTo>
                  <a:lnTo>
                    <a:pt x="368" y="85"/>
                  </a:lnTo>
                  <a:lnTo>
                    <a:pt x="363" y="91"/>
                  </a:lnTo>
                  <a:lnTo>
                    <a:pt x="356" y="97"/>
                  </a:lnTo>
                  <a:lnTo>
                    <a:pt x="349" y="101"/>
                  </a:lnTo>
                  <a:lnTo>
                    <a:pt x="341" y="103"/>
                  </a:lnTo>
                  <a:lnTo>
                    <a:pt x="333" y="104"/>
                  </a:lnTo>
                  <a:lnTo>
                    <a:pt x="274" y="104"/>
                  </a:lnTo>
                  <a:lnTo>
                    <a:pt x="274" y="175"/>
                  </a:lnTo>
                  <a:lnTo>
                    <a:pt x="274" y="175"/>
                  </a:lnTo>
                  <a:lnTo>
                    <a:pt x="494" y="175"/>
                  </a:lnTo>
                  <a:lnTo>
                    <a:pt x="713" y="174"/>
                  </a:lnTo>
                  <a:lnTo>
                    <a:pt x="932" y="174"/>
                  </a:lnTo>
                  <a:lnTo>
                    <a:pt x="1042" y="175"/>
                  </a:lnTo>
                  <a:lnTo>
                    <a:pt x="1151" y="177"/>
                  </a:lnTo>
                  <a:lnTo>
                    <a:pt x="1151" y="177"/>
                  </a:lnTo>
                  <a:lnTo>
                    <a:pt x="1159" y="178"/>
                  </a:lnTo>
                  <a:lnTo>
                    <a:pt x="1166" y="179"/>
                  </a:lnTo>
                  <a:lnTo>
                    <a:pt x="1173" y="183"/>
                  </a:lnTo>
                  <a:lnTo>
                    <a:pt x="1178" y="186"/>
                  </a:lnTo>
                  <a:lnTo>
                    <a:pt x="1185" y="190"/>
                  </a:lnTo>
                  <a:lnTo>
                    <a:pt x="1189" y="194"/>
                  </a:lnTo>
                  <a:lnTo>
                    <a:pt x="1193" y="200"/>
                  </a:lnTo>
                  <a:lnTo>
                    <a:pt x="1197" y="206"/>
                  </a:lnTo>
                  <a:lnTo>
                    <a:pt x="1197" y="206"/>
                  </a:lnTo>
                  <a:lnTo>
                    <a:pt x="1248" y="317"/>
                  </a:lnTo>
                  <a:lnTo>
                    <a:pt x="1248" y="317"/>
                  </a:lnTo>
                  <a:lnTo>
                    <a:pt x="1252" y="326"/>
                  </a:lnTo>
                  <a:lnTo>
                    <a:pt x="1254" y="335"/>
                  </a:lnTo>
                  <a:lnTo>
                    <a:pt x="1253" y="344"/>
                  </a:lnTo>
                  <a:lnTo>
                    <a:pt x="1252" y="353"/>
                  </a:lnTo>
                  <a:lnTo>
                    <a:pt x="1128" y="863"/>
                  </a:lnTo>
                  <a:lnTo>
                    <a:pt x="1128" y="863"/>
                  </a:lnTo>
                  <a:lnTo>
                    <a:pt x="1125" y="871"/>
                  </a:lnTo>
                  <a:lnTo>
                    <a:pt x="1122" y="879"/>
                  </a:lnTo>
                  <a:lnTo>
                    <a:pt x="1118" y="885"/>
                  </a:lnTo>
                  <a:lnTo>
                    <a:pt x="1112" y="891"/>
                  </a:lnTo>
                  <a:lnTo>
                    <a:pt x="1106" y="895"/>
                  </a:lnTo>
                  <a:lnTo>
                    <a:pt x="1099" y="898"/>
                  </a:lnTo>
                  <a:lnTo>
                    <a:pt x="1093" y="901"/>
                  </a:lnTo>
                  <a:lnTo>
                    <a:pt x="1085" y="902"/>
                  </a:lnTo>
                  <a:lnTo>
                    <a:pt x="994" y="918"/>
                  </a:lnTo>
                  <a:lnTo>
                    <a:pt x="994" y="1012"/>
                  </a:lnTo>
                  <a:lnTo>
                    <a:pt x="994" y="1012"/>
                  </a:lnTo>
                  <a:lnTo>
                    <a:pt x="993" y="1022"/>
                  </a:lnTo>
                  <a:lnTo>
                    <a:pt x="992" y="1031"/>
                  </a:lnTo>
                  <a:lnTo>
                    <a:pt x="990" y="1041"/>
                  </a:lnTo>
                  <a:lnTo>
                    <a:pt x="987" y="1050"/>
                  </a:lnTo>
                  <a:lnTo>
                    <a:pt x="982" y="1059"/>
                  </a:lnTo>
                  <a:lnTo>
                    <a:pt x="977" y="1067"/>
                  </a:lnTo>
                  <a:lnTo>
                    <a:pt x="972" y="1075"/>
                  </a:lnTo>
                  <a:lnTo>
                    <a:pt x="965" y="1081"/>
                  </a:lnTo>
                  <a:lnTo>
                    <a:pt x="958" y="1088"/>
                  </a:lnTo>
                  <a:lnTo>
                    <a:pt x="950" y="1094"/>
                  </a:lnTo>
                  <a:lnTo>
                    <a:pt x="942" y="1099"/>
                  </a:lnTo>
                  <a:lnTo>
                    <a:pt x="934" y="1103"/>
                  </a:lnTo>
                  <a:lnTo>
                    <a:pt x="924" y="1106"/>
                  </a:lnTo>
                  <a:lnTo>
                    <a:pt x="915" y="1108"/>
                  </a:lnTo>
                  <a:lnTo>
                    <a:pt x="906" y="1111"/>
                  </a:lnTo>
                  <a:lnTo>
                    <a:pt x="895" y="1111"/>
                  </a:lnTo>
                  <a:lnTo>
                    <a:pt x="98" y="1111"/>
                  </a:lnTo>
                  <a:lnTo>
                    <a:pt x="98" y="1111"/>
                  </a:lnTo>
                  <a:lnTo>
                    <a:pt x="88" y="1111"/>
                  </a:lnTo>
                  <a:lnTo>
                    <a:pt x="79" y="1108"/>
                  </a:lnTo>
                  <a:lnTo>
                    <a:pt x="69" y="1106"/>
                  </a:lnTo>
                  <a:lnTo>
                    <a:pt x="60" y="1103"/>
                  </a:lnTo>
                  <a:lnTo>
                    <a:pt x="52" y="1099"/>
                  </a:lnTo>
                  <a:lnTo>
                    <a:pt x="43" y="1094"/>
                  </a:lnTo>
                  <a:lnTo>
                    <a:pt x="35" y="1088"/>
                  </a:lnTo>
                  <a:lnTo>
                    <a:pt x="29" y="1081"/>
                  </a:lnTo>
                  <a:lnTo>
                    <a:pt x="22" y="1075"/>
                  </a:lnTo>
                  <a:lnTo>
                    <a:pt x="17" y="1067"/>
                  </a:lnTo>
                  <a:lnTo>
                    <a:pt x="12" y="1059"/>
                  </a:lnTo>
                  <a:lnTo>
                    <a:pt x="7" y="1050"/>
                  </a:lnTo>
                  <a:lnTo>
                    <a:pt x="4" y="1041"/>
                  </a:lnTo>
                  <a:lnTo>
                    <a:pt x="2" y="1031"/>
                  </a:lnTo>
                  <a:lnTo>
                    <a:pt x="0" y="1022"/>
                  </a:lnTo>
                  <a:lnTo>
                    <a:pt x="0" y="1012"/>
                  </a:lnTo>
                  <a:lnTo>
                    <a:pt x="0" y="275"/>
                  </a:lnTo>
                  <a:lnTo>
                    <a:pt x="0" y="275"/>
                  </a:lnTo>
                  <a:lnTo>
                    <a:pt x="0" y="264"/>
                  </a:lnTo>
                  <a:lnTo>
                    <a:pt x="2" y="254"/>
                  </a:lnTo>
                  <a:lnTo>
                    <a:pt x="4" y="244"/>
                  </a:lnTo>
                  <a:lnTo>
                    <a:pt x="7" y="236"/>
                  </a:lnTo>
                  <a:lnTo>
                    <a:pt x="12" y="227"/>
                  </a:lnTo>
                  <a:lnTo>
                    <a:pt x="17" y="219"/>
                  </a:lnTo>
                  <a:lnTo>
                    <a:pt x="22" y="212"/>
                  </a:lnTo>
                  <a:lnTo>
                    <a:pt x="29" y="204"/>
                  </a:lnTo>
                  <a:lnTo>
                    <a:pt x="35" y="198"/>
                  </a:lnTo>
                  <a:lnTo>
                    <a:pt x="43" y="192"/>
                  </a:lnTo>
                  <a:lnTo>
                    <a:pt x="52" y="187"/>
                  </a:lnTo>
                  <a:lnTo>
                    <a:pt x="60" y="183"/>
                  </a:lnTo>
                  <a:lnTo>
                    <a:pt x="69" y="179"/>
                  </a:lnTo>
                  <a:lnTo>
                    <a:pt x="79" y="177"/>
                  </a:lnTo>
                  <a:lnTo>
                    <a:pt x="88" y="176"/>
                  </a:lnTo>
                  <a:lnTo>
                    <a:pt x="98" y="175"/>
                  </a:lnTo>
                  <a:lnTo>
                    <a:pt x="98" y="175"/>
                  </a:lnTo>
                  <a:close/>
                  <a:moveTo>
                    <a:pt x="225" y="447"/>
                  </a:moveTo>
                  <a:lnTo>
                    <a:pt x="449" y="662"/>
                  </a:lnTo>
                  <a:lnTo>
                    <a:pt x="236" y="888"/>
                  </a:lnTo>
                  <a:lnTo>
                    <a:pt x="236" y="888"/>
                  </a:lnTo>
                  <a:lnTo>
                    <a:pt x="232" y="894"/>
                  </a:lnTo>
                  <a:lnTo>
                    <a:pt x="229" y="900"/>
                  </a:lnTo>
                  <a:lnTo>
                    <a:pt x="227" y="907"/>
                  </a:lnTo>
                  <a:lnTo>
                    <a:pt x="226" y="914"/>
                  </a:lnTo>
                  <a:lnTo>
                    <a:pt x="227" y="922"/>
                  </a:lnTo>
                  <a:lnTo>
                    <a:pt x="229" y="928"/>
                  </a:lnTo>
                  <a:lnTo>
                    <a:pt x="233" y="935"/>
                  </a:lnTo>
                  <a:lnTo>
                    <a:pt x="238" y="940"/>
                  </a:lnTo>
                  <a:lnTo>
                    <a:pt x="238" y="940"/>
                  </a:lnTo>
                  <a:lnTo>
                    <a:pt x="244" y="945"/>
                  </a:lnTo>
                  <a:lnTo>
                    <a:pt x="250" y="948"/>
                  </a:lnTo>
                  <a:lnTo>
                    <a:pt x="257" y="950"/>
                  </a:lnTo>
                  <a:lnTo>
                    <a:pt x="265" y="950"/>
                  </a:lnTo>
                  <a:lnTo>
                    <a:pt x="271" y="949"/>
                  </a:lnTo>
                  <a:lnTo>
                    <a:pt x="278" y="947"/>
                  </a:lnTo>
                  <a:lnTo>
                    <a:pt x="284" y="944"/>
                  </a:lnTo>
                  <a:lnTo>
                    <a:pt x="291" y="939"/>
                  </a:lnTo>
                  <a:lnTo>
                    <a:pt x="504" y="713"/>
                  </a:lnTo>
                  <a:lnTo>
                    <a:pt x="729" y="926"/>
                  </a:lnTo>
                  <a:lnTo>
                    <a:pt x="729" y="926"/>
                  </a:lnTo>
                  <a:lnTo>
                    <a:pt x="735" y="931"/>
                  </a:lnTo>
                  <a:lnTo>
                    <a:pt x="741" y="934"/>
                  </a:lnTo>
                  <a:lnTo>
                    <a:pt x="749" y="936"/>
                  </a:lnTo>
                  <a:lnTo>
                    <a:pt x="755" y="937"/>
                  </a:lnTo>
                  <a:lnTo>
                    <a:pt x="763" y="936"/>
                  </a:lnTo>
                  <a:lnTo>
                    <a:pt x="769" y="934"/>
                  </a:lnTo>
                  <a:lnTo>
                    <a:pt x="776" y="930"/>
                  </a:lnTo>
                  <a:lnTo>
                    <a:pt x="781" y="925"/>
                  </a:lnTo>
                  <a:lnTo>
                    <a:pt x="781" y="925"/>
                  </a:lnTo>
                  <a:lnTo>
                    <a:pt x="786" y="919"/>
                  </a:lnTo>
                  <a:lnTo>
                    <a:pt x="789" y="912"/>
                  </a:lnTo>
                  <a:lnTo>
                    <a:pt x="791" y="906"/>
                  </a:lnTo>
                  <a:lnTo>
                    <a:pt x="791" y="898"/>
                  </a:lnTo>
                  <a:lnTo>
                    <a:pt x="791" y="892"/>
                  </a:lnTo>
                  <a:lnTo>
                    <a:pt x="788" y="885"/>
                  </a:lnTo>
                  <a:lnTo>
                    <a:pt x="785" y="879"/>
                  </a:lnTo>
                  <a:lnTo>
                    <a:pt x="780" y="873"/>
                  </a:lnTo>
                  <a:lnTo>
                    <a:pt x="554" y="659"/>
                  </a:lnTo>
                  <a:lnTo>
                    <a:pt x="767" y="432"/>
                  </a:lnTo>
                  <a:lnTo>
                    <a:pt x="767" y="432"/>
                  </a:lnTo>
                  <a:lnTo>
                    <a:pt x="773" y="426"/>
                  </a:lnTo>
                  <a:lnTo>
                    <a:pt x="776" y="420"/>
                  </a:lnTo>
                  <a:lnTo>
                    <a:pt x="777" y="412"/>
                  </a:lnTo>
                  <a:lnTo>
                    <a:pt x="778" y="406"/>
                  </a:lnTo>
                  <a:lnTo>
                    <a:pt x="777" y="398"/>
                  </a:lnTo>
                  <a:lnTo>
                    <a:pt x="775" y="392"/>
                  </a:lnTo>
                  <a:lnTo>
                    <a:pt x="771" y="385"/>
                  </a:lnTo>
                  <a:lnTo>
                    <a:pt x="766" y="380"/>
                  </a:lnTo>
                  <a:lnTo>
                    <a:pt x="766" y="380"/>
                  </a:lnTo>
                  <a:lnTo>
                    <a:pt x="760" y="376"/>
                  </a:lnTo>
                  <a:lnTo>
                    <a:pt x="753" y="372"/>
                  </a:lnTo>
                  <a:lnTo>
                    <a:pt x="747" y="370"/>
                  </a:lnTo>
                  <a:lnTo>
                    <a:pt x="740" y="370"/>
                  </a:lnTo>
                  <a:lnTo>
                    <a:pt x="733" y="370"/>
                  </a:lnTo>
                  <a:lnTo>
                    <a:pt x="726" y="373"/>
                  </a:lnTo>
                  <a:lnTo>
                    <a:pt x="720" y="377"/>
                  </a:lnTo>
                  <a:lnTo>
                    <a:pt x="714" y="381"/>
                  </a:lnTo>
                  <a:lnTo>
                    <a:pt x="500" y="608"/>
                  </a:lnTo>
                  <a:lnTo>
                    <a:pt x="274" y="394"/>
                  </a:lnTo>
                  <a:lnTo>
                    <a:pt x="274" y="394"/>
                  </a:lnTo>
                  <a:lnTo>
                    <a:pt x="269" y="389"/>
                  </a:lnTo>
                  <a:lnTo>
                    <a:pt x="262" y="385"/>
                  </a:lnTo>
                  <a:lnTo>
                    <a:pt x="256" y="384"/>
                  </a:lnTo>
                  <a:lnTo>
                    <a:pt x="248" y="383"/>
                  </a:lnTo>
                  <a:lnTo>
                    <a:pt x="242" y="384"/>
                  </a:lnTo>
                  <a:lnTo>
                    <a:pt x="234" y="386"/>
                  </a:lnTo>
                  <a:lnTo>
                    <a:pt x="228" y="391"/>
                  </a:lnTo>
                  <a:lnTo>
                    <a:pt x="222" y="395"/>
                  </a:lnTo>
                  <a:lnTo>
                    <a:pt x="222" y="395"/>
                  </a:lnTo>
                  <a:lnTo>
                    <a:pt x="218" y="402"/>
                  </a:lnTo>
                  <a:lnTo>
                    <a:pt x="215" y="408"/>
                  </a:lnTo>
                  <a:lnTo>
                    <a:pt x="213" y="415"/>
                  </a:lnTo>
                  <a:lnTo>
                    <a:pt x="213" y="421"/>
                  </a:lnTo>
                  <a:lnTo>
                    <a:pt x="214" y="429"/>
                  </a:lnTo>
                  <a:lnTo>
                    <a:pt x="216" y="435"/>
                  </a:lnTo>
                  <a:lnTo>
                    <a:pt x="219" y="442"/>
                  </a:lnTo>
                  <a:lnTo>
                    <a:pt x="225" y="447"/>
                  </a:lnTo>
                  <a:lnTo>
                    <a:pt x="225" y="447"/>
                  </a:lnTo>
                  <a:close/>
                  <a:moveTo>
                    <a:pt x="994" y="276"/>
                  </a:moveTo>
                  <a:lnTo>
                    <a:pt x="994" y="814"/>
                  </a:lnTo>
                  <a:lnTo>
                    <a:pt x="1037" y="806"/>
                  </a:lnTo>
                  <a:lnTo>
                    <a:pt x="1148" y="344"/>
                  </a:lnTo>
                  <a:lnTo>
                    <a:pt x="1118" y="279"/>
                  </a:lnTo>
                  <a:lnTo>
                    <a:pt x="994" y="2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082" name="Group 2081">
            <a:extLst>
              <a:ext uri="{FF2B5EF4-FFF2-40B4-BE49-F238E27FC236}">
                <a16:creationId xmlns:a16="http://schemas.microsoft.com/office/drawing/2014/main" id="{1A80E048-CDC4-4BE8-9DAE-AF51B58F191B}"/>
              </a:ext>
            </a:extLst>
          </p:cNvPr>
          <p:cNvGrpSpPr/>
          <p:nvPr/>
        </p:nvGrpSpPr>
        <p:grpSpPr>
          <a:xfrm>
            <a:off x="3153310" y="3205728"/>
            <a:ext cx="612000" cy="612000"/>
            <a:chOff x="1320946" y="3806921"/>
            <a:chExt cx="612000" cy="612000"/>
          </a:xfrm>
        </p:grpSpPr>
        <p:sp>
          <p:nvSpPr>
            <p:cNvPr id="2083" name="Oval 2082">
              <a:extLst>
                <a:ext uri="{FF2B5EF4-FFF2-40B4-BE49-F238E27FC236}">
                  <a16:creationId xmlns:a16="http://schemas.microsoft.com/office/drawing/2014/main" id="{4CBCA4BF-AB36-47BE-97D4-DC02E5ED2899}"/>
                </a:ext>
              </a:extLst>
            </p:cNvPr>
            <p:cNvSpPr/>
            <p:nvPr/>
          </p:nvSpPr>
          <p:spPr bwMode="ltGray">
            <a:xfrm>
              <a:off x="1320946" y="3806921"/>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84" name="Freeform 208">
              <a:extLst>
                <a:ext uri="{FF2B5EF4-FFF2-40B4-BE49-F238E27FC236}">
                  <a16:creationId xmlns:a16="http://schemas.microsoft.com/office/drawing/2014/main" id="{966022AC-42B3-49C8-B8EC-F359B784B8C6}"/>
                </a:ext>
              </a:extLst>
            </p:cNvPr>
            <p:cNvSpPr>
              <a:spLocks noEditPoints="1"/>
            </p:cNvSpPr>
            <p:nvPr/>
          </p:nvSpPr>
          <p:spPr bwMode="auto">
            <a:xfrm>
              <a:off x="1413792" y="3931540"/>
              <a:ext cx="461963" cy="336550"/>
            </a:xfrm>
            <a:custGeom>
              <a:avLst/>
              <a:gdLst>
                <a:gd name="T0" fmla="*/ 7 w 1458"/>
                <a:gd name="T1" fmla="*/ 858 h 1058"/>
                <a:gd name="T2" fmla="*/ 1 w 1458"/>
                <a:gd name="T3" fmla="*/ 834 h 1058"/>
                <a:gd name="T4" fmla="*/ 1 w 1458"/>
                <a:gd name="T5" fmla="*/ 805 h 1058"/>
                <a:gd name="T6" fmla="*/ 4 w 1458"/>
                <a:gd name="T7" fmla="*/ 773 h 1058"/>
                <a:gd name="T8" fmla="*/ 13 w 1458"/>
                <a:gd name="T9" fmla="*/ 737 h 1058"/>
                <a:gd name="T10" fmla="*/ 39 w 1458"/>
                <a:gd name="T11" fmla="*/ 661 h 1058"/>
                <a:gd name="T12" fmla="*/ 72 w 1458"/>
                <a:gd name="T13" fmla="*/ 585 h 1058"/>
                <a:gd name="T14" fmla="*/ 109 w 1458"/>
                <a:gd name="T15" fmla="*/ 513 h 1058"/>
                <a:gd name="T16" fmla="*/ 166 w 1458"/>
                <a:gd name="T17" fmla="*/ 414 h 1058"/>
                <a:gd name="T18" fmla="*/ 175 w 1458"/>
                <a:gd name="T19" fmla="*/ 399 h 1058"/>
                <a:gd name="T20" fmla="*/ 208 w 1458"/>
                <a:gd name="T21" fmla="*/ 454 h 1058"/>
                <a:gd name="T22" fmla="*/ 259 w 1458"/>
                <a:gd name="T23" fmla="*/ 548 h 1058"/>
                <a:gd name="T24" fmla="*/ 296 w 1458"/>
                <a:gd name="T25" fmla="*/ 622 h 1058"/>
                <a:gd name="T26" fmla="*/ 326 w 1458"/>
                <a:gd name="T27" fmla="*/ 699 h 1058"/>
                <a:gd name="T28" fmla="*/ 342 w 1458"/>
                <a:gd name="T29" fmla="*/ 754 h 1058"/>
                <a:gd name="T30" fmla="*/ 348 w 1458"/>
                <a:gd name="T31" fmla="*/ 789 h 1058"/>
                <a:gd name="T32" fmla="*/ 350 w 1458"/>
                <a:gd name="T33" fmla="*/ 820 h 1058"/>
                <a:gd name="T34" fmla="*/ 347 w 1458"/>
                <a:gd name="T35" fmla="*/ 847 h 1058"/>
                <a:gd name="T36" fmla="*/ 342 w 1458"/>
                <a:gd name="T37" fmla="*/ 858 h 1058"/>
                <a:gd name="T38" fmla="*/ 330 w 1458"/>
                <a:gd name="T39" fmla="*/ 881 h 1058"/>
                <a:gd name="T40" fmla="*/ 315 w 1458"/>
                <a:gd name="T41" fmla="*/ 900 h 1058"/>
                <a:gd name="T42" fmla="*/ 297 w 1458"/>
                <a:gd name="T43" fmla="*/ 917 h 1058"/>
                <a:gd name="T44" fmla="*/ 275 w 1458"/>
                <a:gd name="T45" fmla="*/ 930 h 1058"/>
                <a:gd name="T46" fmla="*/ 252 w 1458"/>
                <a:gd name="T47" fmla="*/ 940 h 1058"/>
                <a:gd name="T48" fmla="*/ 227 w 1458"/>
                <a:gd name="T49" fmla="*/ 947 h 1058"/>
                <a:gd name="T50" fmla="*/ 201 w 1458"/>
                <a:gd name="T51" fmla="*/ 951 h 1058"/>
                <a:gd name="T52" fmla="*/ 175 w 1458"/>
                <a:gd name="T53" fmla="*/ 953 h 1058"/>
                <a:gd name="T54" fmla="*/ 148 w 1458"/>
                <a:gd name="T55" fmla="*/ 951 h 1058"/>
                <a:gd name="T56" fmla="*/ 123 w 1458"/>
                <a:gd name="T57" fmla="*/ 947 h 1058"/>
                <a:gd name="T58" fmla="*/ 98 w 1458"/>
                <a:gd name="T59" fmla="*/ 940 h 1058"/>
                <a:gd name="T60" fmla="*/ 75 w 1458"/>
                <a:gd name="T61" fmla="*/ 930 h 1058"/>
                <a:gd name="T62" fmla="*/ 54 w 1458"/>
                <a:gd name="T63" fmla="*/ 917 h 1058"/>
                <a:gd name="T64" fmla="*/ 34 w 1458"/>
                <a:gd name="T65" fmla="*/ 900 h 1058"/>
                <a:gd name="T66" fmla="*/ 19 w 1458"/>
                <a:gd name="T67" fmla="*/ 881 h 1058"/>
                <a:gd name="T68" fmla="*/ 7 w 1458"/>
                <a:gd name="T69" fmla="*/ 858 h 1058"/>
                <a:gd name="T70" fmla="*/ 231 w 1458"/>
                <a:gd name="T71" fmla="*/ 348 h 1058"/>
                <a:gd name="T72" fmla="*/ 361 w 1458"/>
                <a:gd name="T73" fmla="*/ 598 h 1058"/>
                <a:gd name="T74" fmla="*/ 1458 w 1458"/>
                <a:gd name="T75" fmla="*/ 436 h 1058"/>
                <a:gd name="T76" fmla="*/ 494 w 1458"/>
                <a:gd name="T77" fmla="*/ 214 h 1058"/>
                <a:gd name="T78" fmla="*/ 231 w 1458"/>
                <a:gd name="T79" fmla="*/ 348 h 1058"/>
                <a:gd name="T80" fmla="*/ 681 w 1458"/>
                <a:gd name="T81" fmla="*/ 232 h 1058"/>
                <a:gd name="T82" fmla="*/ 1098 w 1458"/>
                <a:gd name="T83" fmla="*/ 321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58" h="1058">
                  <a:moveTo>
                    <a:pt x="7" y="858"/>
                  </a:moveTo>
                  <a:lnTo>
                    <a:pt x="7" y="858"/>
                  </a:lnTo>
                  <a:lnTo>
                    <a:pt x="4" y="847"/>
                  </a:lnTo>
                  <a:lnTo>
                    <a:pt x="1" y="834"/>
                  </a:lnTo>
                  <a:lnTo>
                    <a:pt x="0" y="820"/>
                  </a:lnTo>
                  <a:lnTo>
                    <a:pt x="1" y="805"/>
                  </a:lnTo>
                  <a:lnTo>
                    <a:pt x="2" y="789"/>
                  </a:lnTo>
                  <a:lnTo>
                    <a:pt x="4" y="773"/>
                  </a:lnTo>
                  <a:lnTo>
                    <a:pt x="8" y="754"/>
                  </a:lnTo>
                  <a:lnTo>
                    <a:pt x="13" y="737"/>
                  </a:lnTo>
                  <a:lnTo>
                    <a:pt x="25" y="699"/>
                  </a:lnTo>
                  <a:lnTo>
                    <a:pt x="39" y="661"/>
                  </a:lnTo>
                  <a:lnTo>
                    <a:pt x="55" y="622"/>
                  </a:lnTo>
                  <a:lnTo>
                    <a:pt x="72" y="585"/>
                  </a:lnTo>
                  <a:lnTo>
                    <a:pt x="91" y="548"/>
                  </a:lnTo>
                  <a:lnTo>
                    <a:pt x="109" y="513"/>
                  </a:lnTo>
                  <a:lnTo>
                    <a:pt x="142" y="454"/>
                  </a:lnTo>
                  <a:lnTo>
                    <a:pt x="166" y="414"/>
                  </a:lnTo>
                  <a:lnTo>
                    <a:pt x="175" y="399"/>
                  </a:lnTo>
                  <a:lnTo>
                    <a:pt x="175" y="399"/>
                  </a:lnTo>
                  <a:lnTo>
                    <a:pt x="184" y="414"/>
                  </a:lnTo>
                  <a:lnTo>
                    <a:pt x="208" y="454"/>
                  </a:lnTo>
                  <a:lnTo>
                    <a:pt x="242" y="513"/>
                  </a:lnTo>
                  <a:lnTo>
                    <a:pt x="259" y="548"/>
                  </a:lnTo>
                  <a:lnTo>
                    <a:pt x="277" y="585"/>
                  </a:lnTo>
                  <a:lnTo>
                    <a:pt x="296" y="622"/>
                  </a:lnTo>
                  <a:lnTo>
                    <a:pt x="312" y="661"/>
                  </a:lnTo>
                  <a:lnTo>
                    <a:pt x="326" y="699"/>
                  </a:lnTo>
                  <a:lnTo>
                    <a:pt x="338" y="737"/>
                  </a:lnTo>
                  <a:lnTo>
                    <a:pt x="342" y="754"/>
                  </a:lnTo>
                  <a:lnTo>
                    <a:pt x="346" y="773"/>
                  </a:lnTo>
                  <a:lnTo>
                    <a:pt x="348" y="789"/>
                  </a:lnTo>
                  <a:lnTo>
                    <a:pt x="350" y="805"/>
                  </a:lnTo>
                  <a:lnTo>
                    <a:pt x="350" y="820"/>
                  </a:lnTo>
                  <a:lnTo>
                    <a:pt x="349" y="834"/>
                  </a:lnTo>
                  <a:lnTo>
                    <a:pt x="347" y="847"/>
                  </a:lnTo>
                  <a:lnTo>
                    <a:pt x="342" y="858"/>
                  </a:lnTo>
                  <a:lnTo>
                    <a:pt x="342" y="858"/>
                  </a:lnTo>
                  <a:lnTo>
                    <a:pt x="337" y="870"/>
                  </a:lnTo>
                  <a:lnTo>
                    <a:pt x="330" y="881"/>
                  </a:lnTo>
                  <a:lnTo>
                    <a:pt x="323" y="891"/>
                  </a:lnTo>
                  <a:lnTo>
                    <a:pt x="315" y="900"/>
                  </a:lnTo>
                  <a:lnTo>
                    <a:pt x="307" y="908"/>
                  </a:lnTo>
                  <a:lnTo>
                    <a:pt x="297" y="917"/>
                  </a:lnTo>
                  <a:lnTo>
                    <a:pt x="286" y="923"/>
                  </a:lnTo>
                  <a:lnTo>
                    <a:pt x="275" y="930"/>
                  </a:lnTo>
                  <a:lnTo>
                    <a:pt x="264" y="935"/>
                  </a:lnTo>
                  <a:lnTo>
                    <a:pt x="252" y="940"/>
                  </a:lnTo>
                  <a:lnTo>
                    <a:pt x="239" y="944"/>
                  </a:lnTo>
                  <a:lnTo>
                    <a:pt x="227" y="947"/>
                  </a:lnTo>
                  <a:lnTo>
                    <a:pt x="214" y="950"/>
                  </a:lnTo>
                  <a:lnTo>
                    <a:pt x="201" y="951"/>
                  </a:lnTo>
                  <a:lnTo>
                    <a:pt x="188" y="953"/>
                  </a:lnTo>
                  <a:lnTo>
                    <a:pt x="175" y="953"/>
                  </a:lnTo>
                  <a:lnTo>
                    <a:pt x="161" y="953"/>
                  </a:lnTo>
                  <a:lnTo>
                    <a:pt x="148" y="951"/>
                  </a:lnTo>
                  <a:lnTo>
                    <a:pt x="135" y="950"/>
                  </a:lnTo>
                  <a:lnTo>
                    <a:pt x="123" y="947"/>
                  </a:lnTo>
                  <a:lnTo>
                    <a:pt x="110" y="944"/>
                  </a:lnTo>
                  <a:lnTo>
                    <a:pt x="98" y="940"/>
                  </a:lnTo>
                  <a:lnTo>
                    <a:pt x="86" y="935"/>
                  </a:lnTo>
                  <a:lnTo>
                    <a:pt x="75" y="930"/>
                  </a:lnTo>
                  <a:lnTo>
                    <a:pt x="64" y="923"/>
                  </a:lnTo>
                  <a:lnTo>
                    <a:pt x="54" y="917"/>
                  </a:lnTo>
                  <a:lnTo>
                    <a:pt x="44" y="908"/>
                  </a:lnTo>
                  <a:lnTo>
                    <a:pt x="34" y="900"/>
                  </a:lnTo>
                  <a:lnTo>
                    <a:pt x="27" y="891"/>
                  </a:lnTo>
                  <a:lnTo>
                    <a:pt x="19" y="881"/>
                  </a:lnTo>
                  <a:lnTo>
                    <a:pt x="13" y="870"/>
                  </a:lnTo>
                  <a:lnTo>
                    <a:pt x="7" y="858"/>
                  </a:lnTo>
                  <a:lnTo>
                    <a:pt x="7" y="858"/>
                  </a:lnTo>
                  <a:close/>
                  <a:moveTo>
                    <a:pt x="231" y="348"/>
                  </a:moveTo>
                  <a:lnTo>
                    <a:pt x="347" y="428"/>
                  </a:lnTo>
                  <a:lnTo>
                    <a:pt x="361" y="598"/>
                  </a:lnTo>
                  <a:lnTo>
                    <a:pt x="1024" y="1058"/>
                  </a:lnTo>
                  <a:lnTo>
                    <a:pt x="1458" y="436"/>
                  </a:lnTo>
                  <a:lnTo>
                    <a:pt x="829" y="0"/>
                  </a:lnTo>
                  <a:lnTo>
                    <a:pt x="494" y="214"/>
                  </a:lnTo>
                  <a:lnTo>
                    <a:pt x="380" y="134"/>
                  </a:lnTo>
                  <a:lnTo>
                    <a:pt x="231" y="348"/>
                  </a:lnTo>
                  <a:lnTo>
                    <a:pt x="231" y="348"/>
                  </a:lnTo>
                  <a:close/>
                  <a:moveTo>
                    <a:pt x="681" y="232"/>
                  </a:moveTo>
                  <a:lnTo>
                    <a:pt x="832" y="136"/>
                  </a:lnTo>
                  <a:lnTo>
                    <a:pt x="1098" y="321"/>
                  </a:lnTo>
                  <a:lnTo>
                    <a:pt x="681" y="23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085" name="Group 2084">
            <a:extLst>
              <a:ext uri="{FF2B5EF4-FFF2-40B4-BE49-F238E27FC236}">
                <a16:creationId xmlns:a16="http://schemas.microsoft.com/office/drawing/2014/main" id="{C1AE0147-0BDE-49DD-9791-1682A43B4F20}"/>
              </a:ext>
            </a:extLst>
          </p:cNvPr>
          <p:cNvGrpSpPr/>
          <p:nvPr/>
        </p:nvGrpSpPr>
        <p:grpSpPr>
          <a:xfrm>
            <a:off x="3881449" y="3981305"/>
            <a:ext cx="612000" cy="612000"/>
            <a:chOff x="2049085" y="4582498"/>
            <a:chExt cx="612000" cy="612000"/>
          </a:xfrm>
        </p:grpSpPr>
        <p:sp>
          <p:nvSpPr>
            <p:cNvPr id="2086" name="Oval 2085">
              <a:extLst>
                <a:ext uri="{FF2B5EF4-FFF2-40B4-BE49-F238E27FC236}">
                  <a16:creationId xmlns:a16="http://schemas.microsoft.com/office/drawing/2014/main" id="{692C6A09-EF99-4417-8614-C80CF96A7E92}"/>
                </a:ext>
              </a:extLst>
            </p:cNvPr>
            <p:cNvSpPr/>
            <p:nvPr/>
          </p:nvSpPr>
          <p:spPr bwMode="ltGray">
            <a:xfrm>
              <a:off x="2049085" y="4582498"/>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87" name="Freeform 262">
              <a:extLst>
                <a:ext uri="{FF2B5EF4-FFF2-40B4-BE49-F238E27FC236}">
                  <a16:creationId xmlns:a16="http://schemas.microsoft.com/office/drawing/2014/main" id="{751674BC-CF45-4CAD-9F1F-A48FCCB636B8}"/>
                </a:ext>
              </a:extLst>
            </p:cNvPr>
            <p:cNvSpPr>
              <a:spLocks noEditPoints="1"/>
            </p:cNvSpPr>
            <p:nvPr/>
          </p:nvSpPr>
          <p:spPr bwMode="auto">
            <a:xfrm>
              <a:off x="2119115" y="4646404"/>
              <a:ext cx="484187" cy="484188"/>
            </a:xfrm>
            <a:custGeom>
              <a:avLst/>
              <a:gdLst>
                <a:gd name="T0" fmla="*/ 499 w 1521"/>
                <a:gd name="T1" fmla="*/ 1475 h 1521"/>
                <a:gd name="T2" fmla="*/ 1215 w 1521"/>
                <a:gd name="T3" fmla="*/ 152 h 1521"/>
                <a:gd name="T4" fmla="*/ 1281 w 1521"/>
                <a:gd name="T5" fmla="*/ 1077 h 1521"/>
                <a:gd name="T6" fmla="*/ 225 w 1521"/>
                <a:gd name="T7" fmla="*/ 318 h 1521"/>
                <a:gd name="T8" fmla="*/ 293 w 1521"/>
                <a:gd name="T9" fmla="*/ 302 h 1521"/>
                <a:gd name="T10" fmla="*/ 417 w 1521"/>
                <a:gd name="T11" fmla="*/ 341 h 1521"/>
                <a:gd name="T12" fmla="*/ 348 w 1521"/>
                <a:gd name="T13" fmla="*/ 308 h 1521"/>
                <a:gd name="T14" fmla="*/ 288 w 1521"/>
                <a:gd name="T15" fmla="*/ 445 h 1521"/>
                <a:gd name="T16" fmla="*/ 370 w 1521"/>
                <a:gd name="T17" fmla="*/ 414 h 1521"/>
                <a:gd name="T18" fmla="*/ 423 w 1521"/>
                <a:gd name="T19" fmla="*/ 525 h 1521"/>
                <a:gd name="T20" fmla="*/ 326 w 1521"/>
                <a:gd name="T21" fmla="*/ 585 h 1521"/>
                <a:gd name="T22" fmla="*/ 217 w 1521"/>
                <a:gd name="T23" fmla="*/ 675 h 1521"/>
                <a:gd name="T24" fmla="*/ 304 w 1521"/>
                <a:gd name="T25" fmla="*/ 806 h 1521"/>
                <a:gd name="T26" fmla="*/ 451 w 1521"/>
                <a:gd name="T27" fmla="*/ 892 h 1521"/>
                <a:gd name="T28" fmla="*/ 491 w 1521"/>
                <a:gd name="T29" fmla="*/ 1063 h 1521"/>
                <a:gd name="T30" fmla="*/ 380 w 1521"/>
                <a:gd name="T31" fmla="*/ 1258 h 1521"/>
                <a:gd name="T32" fmla="*/ 325 w 1521"/>
                <a:gd name="T33" fmla="*/ 1233 h 1521"/>
                <a:gd name="T34" fmla="*/ 313 w 1521"/>
                <a:gd name="T35" fmla="*/ 1015 h 1521"/>
                <a:gd name="T36" fmla="*/ 250 w 1521"/>
                <a:gd name="T37" fmla="*/ 822 h 1521"/>
                <a:gd name="T38" fmla="*/ 92 w 1521"/>
                <a:gd name="T39" fmla="*/ 672 h 1521"/>
                <a:gd name="T40" fmla="*/ 385 w 1521"/>
                <a:gd name="T41" fmla="*/ 192 h 1521"/>
                <a:gd name="T42" fmla="*/ 1372 w 1521"/>
                <a:gd name="T43" fmla="*/ 459 h 1521"/>
                <a:gd name="T44" fmla="*/ 1323 w 1521"/>
                <a:gd name="T45" fmla="*/ 639 h 1521"/>
                <a:gd name="T46" fmla="*/ 1218 w 1521"/>
                <a:gd name="T47" fmla="*/ 806 h 1521"/>
                <a:gd name="T48" fmla="*/ 1151 w 1521"/>
                <a:gd name="T49" fmla="*/ 739 h 1521"/>
                <a:gd name="T50" fmla="*/ 1032 w 1521"/>
                <a:gd name="T51" fmla="*/ 713 h 1521"/>
                <a:gd name="T52" fmla="*/ 998 w 1521"/>
                <a:gd name="T53" fmla="*/ 734 h 1521"/>
                <a:gd name="T54" fmla="*/ 890 w 1521"/>
                <a:gd name="T55" fmla="*/ 772 h 1521"/>
                <a:gd name="T56" fmla="*/ 827 w 1521"/>
                <a:gd name="T57" fmla="*/ 1136 h 1521"/>
                <a:gd name="T58" fmla="*/ 680 w 1521"/>
                <a:gd name="T59" fmla="*/ 848 h 1521"/>
                <a:gd name="T60" fmla="*/ 706 w 1521"/>
                <a:gd name="T61" fmla="*/ 614 h 1521"/>
                <a:gd name="T62" fmla="*/ 831 w 1521"/>
                <a:gd name="T63" fmla="*/ 622 h 1521"/>
                <a:gd name="T64" fmla="*/ 747 w 1521"/>
                <a:gd name="T65" fmla="*/ 547 h 1521"/>
                <a:gd name="T66" fmla="*/ 719 w 1521"/>
                <a:gd name="T67" fmla="*/ 585 h 1521"/>
                <a:gd name="T68" fmla="*/ 666 w 1521"/>
                <a:gd name="T69" fmla="*/ 553 h 1521"/>
                <a:gd name="T70" fmla="*/ 648 w 1521"/>
                <a:gd name="T71" fmla="*/ 414 h 1521"/>
                <a:gd name="T72" fmla="*/ 712 w 1521"/>
                <a:gd name="T73" fmla="*/ 430 h 1521"/>
                <a:gd name="T74" fmla="*/ 881 w 1521"/>
                <a:gd name="T75" fmla="*/ 337 h 1521"/>
                <a:gd name="T76" fmla="*/ 1038 w 1521"/>
                <a:gd name="T77" fmla="*/ 289 h 1521"/>
                <a:gd name="T78" fmla="*/ 1143 w 1521"/>
                <a:gd name="T79" fmla="*/ 217 h 1521"/>
                <a:gd name="T80" fmla="*/ 1413 w 1521"/>
                <a:gd name="T81" fmla="*/ 559 h 1521"/>
                <a:gd name="T82" fmla="*/ 1351 w 1521"/>
                <a:gd name="T83" fmla="*/ 919 h 1521"/>
                <a:gd name="T84" fmla="*/ 1307 w 1521"/>
                <a:gd name="T85" fmla="*/ 924 h 1521"/>
                <a:gd name="T86" fmla="*/ 1249 w 1521"/>
                <a:gd name="T87" fmla="*/ 933 h 1521"/>
                <a:gd name="T88" fmla="*/ 1395 w 1521"/>
                <a:gd name="T89" fmla="*/ 891 h 1521"/>
                <a:gd name="T90" fmla="*/ 1421 w 1521"/>
                <a:gd name="T91" fmla="*/ 581 h 1521"/>
                <a:gd name="T92" fmla="*/ 1228 w 1521"/>
                <a:gd name="T93" fmla="*/ 914 h 1521"/>
                <a:gd name="T94" fmla="*/ 905 w 1521"/>
                <a:gd name="T95" fmla="*/ 1059 h 1521"/>
                <a:gd name="T96" fmla="*/ 486 w 1521"/>
                <a:gd name="T97" fmla="*/ 401 h 1521"/>
                <a:gd name="T98" fmla="*/ 427 w 1521"/>
                <a:gd name="T99" fmla="*/ 239 h 1521"/>
                <a:gd name="T100" fmla="*/ 419 w 1521"/>
                <a:gd name="T101" fmla="*/ 186 h 1521"/>
                <a:gd name="T102" fmla="*/ 620 w 1521"/>
                <a:gd name="T103" fmla="*/ 158 h 1521"/>
                <a:gd name="T104" fmla="*/ 630 w 1521"/>
                <a:gd name="T105" fmla="*/ 224 h 1521"/>
                <a:gd name="T106" fmla="*/ 556 w 1521"/>
                <a:gd name="T107" fmla="*/ 335 h 1521"/>
                <a:gd name="T108" fmla="*/ 747 w 1521"/>
                <a:gd name="T109" fmla="*/ 232 h 1521"/>
                <a:gd name="T110" fmla="*/ 754 w 1521"/>
                <a:gd name="T111" fmla="*/ 186 h 1521"/>
                <a:gd name="T112" fmla="*/ 613 w 1521"/>
                <a:gd name="T113" fmla="*/ 359 h 1521"/>
                <a:gd name="T114" fmla="*/ 980 w 1521"/>
                <a:gd name="T115" fmla="*/ 227 h 1521"/>
                <a:gd name="T116" fmla="*/ 952 w 1521"/>
                <a:gd name="T117" fmla="*/ 172 h 1521"/>
                <a:gd name="T118" fmla="*/ 298 w 1521"/>
                <a:gd name="T119" fmla="*/ 364 h 1521"/>
                <a:gd name="T120" fmla="*/ 313 w 1521"/>
                <a:gd name="T121" fmla="*/ 737 h 1521"/>
                <a:gd name="T122" fmla="*/ 289 w 1521"/>
                <a:gd name="T123" fmla="*/ 715 h 1521"/>
                <a:gd name="T124" fmla="*/ 1392 w 1521"/>
                <a:gd name="T125" fmla="*/ 898 h 1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21" h="1521">
                  <a:moveTo>
                    <a:pt x="761" y="0"/>
                  </a:moveTo>
                  <a:lnTo>
                    <a:pt x="761" y="0"/>
                  </a:lnTo>
                  <a:lnTo>
                    <a:pt x="721" y="2"/>
                  </a:lnTo>
                  <a:lnTo>
                    <a:pt x="682" y="5"/>
                  </a:lnTo>
                  <a:lnTo>
                    <a:pt x="644" y="9"/>
                  </a:lnTo>
                  <a:lnTo>
                    <a:pt x="608" y="16"/>
                  </a:lnTo>
                  <a:lnTo>
                    <a:pt x="571" y="24"/>
                  </a:lnTo>
                  <a:lnTo>
                    <a:pt x="535" y="35"/>
                  </a:lnTo>
                  <a:lnTo>
                    <a:pt x="499" y="47"/>
                  </a:lnTo>
                  <a:lnTo>
                    <a:pt x="465" y="60"/>
                  </a:lnTo>
                  <a:lnTo>
                    <a:pt x="431" y="75"/>
                  </a:lnTo>
                  <a:lnTo>
                    <a:pt x="398" y="93"/>
                  </a:lnTo>
                  <a:lnTo>
                    <a:pt x="367" y="111"/>
                  </a:lnTo>
                  <a:lnTo>
                    <a:pt x="335" y="131"/>
                  </a:lnTo>
                  <a:lnTo>
                    <a:pt x="306" y="152"/>
                  </a:lnTo>
                  <a:lnTo>
                    <a:pt x="277" y="174"/>
                  </a:lnTo>
                  <a:lnTo>
                    <a:pt x="250" y="198"/>
                  </a:lnTo>
                  <a:lnTo>
                    <a:pt x="223" y="224"/>
                  </a:lnTo>
                  <a:lnTo>
                    <a:pt x="198" y="250"/>
                  </a:lnTo>
                  <a:lnTo>
                    <a:pt x="174" y="278"/>
                  </a:lnTo>
                  <a:lnTo>
                    <a:pt x="151" y="306"/>
                  </a:lnTo>
                  <a:lnTo>
                    <a:pt x="131" y="337"/>
                  </a:lnTo>
                  <a:lnTo>
                    <a:pt x="111" y="367"/>
                  </a:lnTo>
                  <a:lnTo>
                    <a:pt x="93" y="398"/>
                  </a:lnTo>
                  <a:lnTo>
                    <a:pt x="75" y="432"/>
                  </a:lnTo>
                  <a:lnTo>
                    <a:pt x="60" y="466"/>
                  </a:lnTo>
                  <a:lnTo>
                    <a:pt x="46" y="499"/>
                  </a:lnTo>
                  <a:lnTo>
                    <a:pt x="34" y="535"/>
                  </a:lnTo>
                  <a:lnTo>
                    <a:pt x="24" y="571"/>
                  </a:lnTo>
                  <a:lnTo>
                    <a:pt x="16" y="608"/>
                  </a:lnTo>
                  <a:lnTo>
                    <a:pt x="9" y="646"/>
                  </a:lnTo>
                  <a:lnTo>
                    <a:pt x="4" y="684"/>
                  </a:lnTo>
                  <a:lnTo>
                    <a:pt x="2" y="721"/>
                  </a:lnTo>
                  <a:lnTo>
                    <a:pt x="0" y="761"/>
                  </a:lnTo>
                  <a:lnTo>
                    <a:pt x="0" y="761"/>
                  </a:lnTo>
                  <a:lnTo>
                    <a:pt x="2" y="800"/>
                  </a:lnTo>
                  <a:lnTo>
                    <a:pt x="4" y="839"/>
                  </a:lnTo>
                  <a:lnTo>
                    <a:pt x="9" y="877"/>
                  </a:lnTo>
                  <a:lnTo>
                    <a:pt x="16" y="913"/>
                  </a:lnTo>
                  <a:lnTo>
                    <a:pt x="24" y="950"/>
                  </a:lnTo>
                  <a:lnTo>
                    <a:pt x="34" y="986"/>
                  </a:lnTo>
                  <a:lnTo>
                    <a:pt x="46" y="1022"/>
                  </a:lnTo>
                  <a:lnTo>
                    <a:pt x="60" y="1056"/>
                  </a:lnTo>
                  <a:lnTo>
                    <a:pt x="75" y="1090"/>
                  </a:lnTo>
                  <a:lnTo>
                    <a:pt x="93" y="1123"/>
                  </a:lnTo>
                  <a:lnTo>
                    <a:pt x="111" y="1155"/>
                  </a:lnTo>
                  <a:lnTo>
                    <a:pt x="131" y="1186"/>
                  </a:lnTo>
                  <a:lnTo>
                    <a:pt x="151" y="1215"/>
                  </a:lnTo>
                  <a:lnTo>
                    <a:pt x="174" y="1244"/>
                  </a:lnTo>
                  <a:lnTo>
                    <a:pt x="198" y="1271"/>
                  </a:lnTo>
                  <a:lnTo>
                    <a:pt x="223" y="1298"/>
                  </a:lnTo>
                  <a:lnTo>
                    <a:pt x="250" y="1323"/>
                  </a:lnTo>
                  <a:lnTo>
                    <a:pt x="277" y="1347"/>
                  </a:lnTo>
                  <a:lnTo>
                    <a:pt x="306" y="1370"/>
                  </a:lnTo>
                  <a:lnTo>
                    <a:pt x="335" y="1390"/>
                  </a:lnTo>
                  <a:lnTo>
                    <a:pt x="367" y="1411"/>
                  </a:lnTo>
                  <a:lnTo>
                    <a:pt x="398" y="1429"/>
                  </a:lnTo>
                  <a:lnTo>
                    <a:pt x="431" y="1446"/>
                  </a:lnTo>
                  <a:lnTo>
                    <a:pt x="465" y="1461"/>
                  </a:lnTo>
                  <a:lnTo>
                    <a:pt x="499" y="1475"/>
                  </a:lnTo>
                  <a:lnTo>
                    <a:pt x="535" y="1487"/>
                  </a:lnTo>
                  <a:lnTo>
                    <a:pt x="571" y="1497"/>
                  </a:lnTo>
                  <a:lnTo>
                    <a:pt x="608" y="1505"/>
                  </a:lnTo>
                  <a:lnTo>
                    <a:pt x="644" y="1512"/>
                  </a:lnTo>
                  <a:lnTo>
                    <a:pt x="682" y="1517"/>
                  </a:lnTo>
                  <a:lnTo>
                    <a:pt x="721" y="1519"/>
                  </a:lnTo>
                  <a:lnTo>
                    <a:pt x="761" y="1521"/>
                  </a:lnTo>
                  <a:lnTo>
                    <a:pt x="761" y="1521"/>
                  </a:lnTo>
                  <a:lnTo>
                    <a:pt x="800" y="1519"/>
                  </a:lnTo>
                  <a:lnTo>
                    <a:pt x="839" y="1517"/>
                  </a:lnTo>
                  <a:lnTo>
                    <a:pt x="877" y="1512"/>
                  </a:lnTo>
                  <a:lnTo>
                    <a:pt x="913" y="1505"/>
                  </a:lnTo>
                  <a:lnTo>
                    <a:pt x="950" y="1497"/>
                  </a:lnTo>
                  <a:lnTo>
                    <a:pt x="986" y="1487"/>
                  </a:lnTo>
                  <a:lnTo>
                    <a:pt x="1022" y="1475"/>
                  </a:lnTo>
                  <a:lnTo>
                    <a:pt x="1056" y="1461"/>
                  </a:lnTo>
                  <a:lnTo>
                    <a:pt x="1090" y="1446"/>
                  </a:lnTo>
                  <a:lnTo>
                    <a:pt x="1123" y="1429"/>
                  </a:lnTo>
                  <a:lnTo>
                    <a:pt x="1154" y="1411"/>
                  </a:lnTo>
                  <a:lnTo>
                    <a:pt x="1186" y="1390"/>
                  </a:lnTo>
                  <a:lnTo>
                    <a:pt x="1215" y="1370"/>
                  </a:lnTo>
                  <a:lnTo>
                    <a:pt x="1244" y="1347"/>
                  </a:lnTo>
                  <a:lnTo>
                    <a:pt x="1271" y="1323"/>
                  </a:lnTo>
                  <a:lnTo>
                    <a:pt x="1298" y="1298"/>
                  </a:lnTo>
                  <a:lnTo>
                    <a:pt x="1323" y="1271"/>
                  </a:lnTo>
                  <a:lnTo>
                    <a:pt x="1347" y="1244"/>
                  </a:lnTo>
                  <a:lnTo>
                    <a:pt x="1370" y="1215"/>
                  </a:lnTo>
                  <a:lnTo>
                    <a:pt x="1390" y="1186"/>
                  </a:lnTo>
                  <a:lnTo>
                    <a:pt x="1411" y="1155"/>
                  </a:lnTo>
                  <a:lnTo>
                    <a:pt x="1428" y="1123"/>
                  </a:lnTo>
                  <a:lnTo>
                    <a:pt x="1446" y="1090"/>
                  </a:lnTo>
                  <a:lnTo>
                    <a:pt x="1461" y="1056"/>
                  </a:lnTo>
                  <a:lnTo>
                    <a:pt x="1475" y="1022"/>
                  </a:lnTo>
                  <a:lnTo>
                    <a:pt x="1487" y="986"/>
                  </a:lnTo>
                  <a:lnTo>
                    <a:pt x="1497" y="950"/>
                  </a:lnTo>
                  <a:lnTo>
                    <a:pt x="1505" y="913"/>
                  </a:lnTo>
                  <a:lnTo>
                    <a:pt x="1512" y="877"/>
                  </a:lnTo>
                  <a:lnTo>
                    <a:pt x="1517" y="839"/>
                  </a:lnTo>
                  <a:lnTo>
                    <a:pt x="1519" y="800"/>
                  </a:lnTo>
                  <a:lnTo>
                    <a:pt x="1521" y="761"/>
                  </a:lnTo>
                  <a:lnTo>
                    <a:pt x="1521" y="761"/>
                  </a:lnTo>
                  <a:lnTo>
                    <a:pt x="1519" y="721"/>
                  </a:lnTo>
                  <a:lnTo>
                    <a:pt x="1517" y="684"/>
                  </a:lnTo>
                  <a:lnTo>
                    <a:pt x="1512" y="646"/>
                  </a:lnTo>
                  <a:lnTo>
                    <a:pt x="1505" y="608"/>
                  </a:lnTo>
                  <a:lnTo>
                    <a:pt x="1497" y="571"/>
                  </a:lnTo>
                  <a:lnTo>
                    <a:pt x="1487" y="535"/>
                  </a:lnTo>
                  <a:lnTo>
                    <a:pt x="1475" y="499"/>
                  </a:lnTo>
                  <a:lnTo>
                    <a:pt x="1461" y="466"/>
                  </a:lnTo>
                  <a:lnTo>
                    <a:pt x="1446" y="432"/>
                  </a:lnTo>
                  <a:lnTo>
                    <a:pt x="1428" y="398"/>
                  </a:lnTo>
                  <a:lnTo>
                    <a:pt x="1411" y="367"/>
                  </a:lnTo>
                  <a:lnTo>
                    <a:pt x="1390" y="337"/>
                  </a:lnTo>
                  <a:lnTo>
                    <a:pt x="1370" y="306"/>
                  </a:lnTo>
                  <a:lnTo>
                    <a:pt x="1347" y="278"/>
                  </a:lnTo>
                  <a:lnTo>
                    <a:pt x="1323" y="250"/>
                  </a:lnTo>
                  <a:lnTo>
                    <a:pt x="1298" y="224"/>
                  </a:lnTo>
                  <a:lnTo>
                    <a:pt x="1271" y="198"/>
                  </a:lnTo>
                  <a:lnTo>
                    <a:pt x="1244" y="174"/>
                  </a:lnTo>
                  <a:lnTo>
                    <a:pt x="1215" y="152"/>
                  </a:lnTo>
                  <a:lnTo>
                    <a:pt x="1186" y="131"/>
                  </a:lnTo>
                  <a:lnTo>
                    <a:pt x="1154" y="111"/>
                  </a:lnTo>
                  <a:lnTo>
                    <a:pt x="1123" y="93"/>
                  </a:lnTo>
                  <a:lnTo>
                    <a:pt x="1090" y="75"/>
                  </a:lnTo>
                  <a:lnTo>
                    <a:pt x="1056" y="60"/>
                  </a:lnTo>
                  <a:lnTo>
                    <a:pt x="1022" y="47"/>
                  </a:lnTo>
                  <a:lnTo>
                    <a:pt x="986" y="35"/>
                  </a:lnTo>
                  <a:lnTo>
                    <a:pt x="950" y="24"/>
                  </a:lnTo>
                  <a:lnTo>
                    <a:pt x="913" y="16"/>
                  </a:lnTo>
                  <a:lnTo>
                    <a:pt x="877" y="9"/>
                  </a:lnTo>
                  <a:lnTo>
                    <a:pt x="839" y="5"/>
                  </a:lnTo>
                  <a:lnTo>
                    <a:pt x="800" y="2"/>
                  </a:lnTo>
                  <a:lnTo>
                    <a:pt x="761" y="0"/>
                  </a:lnTo>
                  <a:lnTo>
                    <a:pt x="761" y="0"/>
                  </a:lnTo>
                  <a:close/>
                  <a:moveTo>
                    <a:pt x="1418" y="987"/>
                  </a:moveTo>
                  <a:lnTo>
                    <a:pt x="1418" y="987"/>
                  </a:lnTo>
                  <a:lnTo>
                    <a:pt x="1414" y="988"/>
                  </a:lnTo>
                  <a:lnTo>
                    <a:pt x="1413" y="989"/>
                  </a:lnTo>
                  <a:lnTo>
                    <a:pt x="1413" y="991"/>
                  </a:lnTo>
                  <a:lnTo>
                    <a:pt x="1413" y="991"/>
                  </a:lnTo>
                  <a:lnTo>
                    <a:pt x="1413" y="995"/>
                  </a:lnTo>
                  <a:lnTo>
                    <a:pt x="1414" y="997"/>
                  </a:lnTo>
                  <a:lnTo>
                    <a:pt x="1414" y="997"/>
                  </a:lnTo>
                  <a:lnTo>
                    <a:pt x="1399" y="1034"/>
                  </a:lnTo>
                  <a:lnTo>
                    <a:pt x="1383" y="1070"/>
                  </a:lnTo>
                  <a:lnTo>
                    <a:pt x="1364" y="1104"/>
                  </a:lnTo>
                  <a:lnTo>
                    <a:pt x="1344" y="1138"/>
                  </a:lnTo>
                  <a:lnTo>
                    <a:pt x="1344" y="1138"/>
                  </a:lnTo>
                  <a:lnTo>
                    <a:pt x="1337" y="1141"/>
                  </a:lnTo>
                  <a:lnTo>
                    <a:pt x="1335" y="1143"/>
                  </a:lnTo>
                  <a:lnTo>
                    <a:pt x="1332" y="1146"/>
                  </a:lnTo>
                  <a:lnTo>
                    <a:pt x="1332" y="1146"/>
                  </a:lnTo>
                  <a:lnTo>
                    <a:pt x="1326" y="1145"/>
                  </a:lnTo>
                  <a:lnTo>
                    <a:pt x="1321" y="1146"/>
                  </a:lnTo>
                  <a:lnTo>
                    <a:pt x="1317" y="1148"/>
                  </a:lnTo>
                  <a:lnTo>
                    <a:pt x="1313" y="1149"/>
                  </a:lnTo>
                  <a:lnTo>
                    <a:pt x="1307" y="1153"/>
                  </a:lnTo>
                  <a:lnTo>
                    <a:pt x="1299" y="1157"/>
                  </a:lnTo>
                  <a:lnTo>
                    <a:pt x="1299" y="1157"/>
                  </a:lnTo>
                  <a:lnTo>
                    <a:pt x="1297" y="1157"/>
                  </a:lnTo>
                  <a:lnTo>
                    <a:pt x="1296" y="1157"/>
                  </a:lnTo>
                  <a:lnTo>
                    <a:pt x="1293" y="1155"/>
                  </a:lnTo>
                  <a:lnTo>
                    <a:pt x="1290" y="1153"/>
                  </a:lnTo>
                  <a:lnTo>
                    <a:pt x="1289" y="1152"/>
                  </a:lnTo>
                  <a:lnTo>
                    <a:pt x="1286" y="1152"/>
                  </a:lnTo>
                  <a:lnTo>
                    <a:pt x="1286" y="1152"/>
                  </a:lnTo>
                  <a:lnTo>
                    <a:pt x="1285" y="1143"/>
                  </a:lnTo>
                  <a:lnTo>
                    <a:pt x="1286" y="1137"/>
                  </a:lnTo>
                  <a:lnTo>
                    <a:pt x="1289" y="1130"/>
                  </a:lnTo>
                  <a:lnTo>
                    <a:pt x="1289" y="1123"/>
                  </a:lnTo>
                  <a:lnTo>
                    <a:pt x="1289" y="1123"/>
                  </a:lnTo>
                  <a:lnTo>
                    <a:pt x="1287" y="1117"/>
                  </a:lnTo>
                  <a:lnTo>
                    <a:pt x="1286" y="1114"/>
                  </a:lnTo>
                  <a:lnTo>
                    <a:pt x="1284" y="1111"/>
                  </a:lnTo>
                  <a:lnTo>
                    <a:pt x="1281" y="1109"/>
                  </a:lnTo>
                  <a:lnTo>
                    <a:pt x="1281" y="1109"/>
                  </a:lnTo>
                  <a:lnTo>
                    <a:pt x="1283" y="1103"/>
                  </a:lnTo>
                  <a:lnTo>
                    <a:pt x="1284" y="1099"/>
                  </a:lnTo>
                  <a:lnTo>
                    <a:pt x="1283" y="1088"/>
                  </a:lnTo>
                  <a:lnTo>
                    <a:pt x="1281" y="1077"/>
                  </a:lnTo>
                  <a:lnTo>
                    <a:pt x="1279" y="1068"/>
                  </a:lnTo>
                  <a:lnTo>
                    <a:pt x="1279" y="1068"/>
                  </a:lnTo>
                  <a:lnTo>
                    <a:pt x="1281" y="1066"/>
                  </a:lnTo>
                  <a:lnTo>
                    <a:pt x="1282" y="1064"/>
                  </a:lnTo>
                  <a:lnTo>
                    <a:pt x="1287" y="1063"/>
                  </a:lnTo>
                  <a:lnTo>
                    <a:pt x="1293" y="1062"/>
                  </a:lnTo>
                  <a:lnTo>
                    <a:pt x="1297" y="1060"/>
                  </a:lnTo>
                  <a:lnTo>
                    <a:pt x="1297" y="1060"/>
                  </a:lnTo>
                  <a:lnTo>
                    <a:pt x="1300" y="1058"/>
                  </a:lnTo>
                  <a:lnTo>
                    <a:pt x="1303" y="1055"/>
                  </a:lnTo>
                  <a:lnTo>
                    <a:pt x="1305" y="1048"/>
                  </a:lnTo>
                  <a:lnTo>
                    <a:pt x="1306" y="1039"/>
                  </a:lnTo>
                  <a:lnTo>
                    <a:pt x="1307" y="1036"/>
                  </a:lnTo>
                  <a:lnTo>
                    <a:pt x="1309" y="1033"/>
                  </a:lnTo>
                  <a:lnTo>
                    <a:pt x="1309" y="1033"/>
                  </a:lnTo>
                  <a:lnTo>
                    <a:pt x="1312" y="1030"/>
                  </a:lnTo>
                  <a:lnTo>
                    <a:pt x="1313" y="1032"/>
                  </a:lnTo>
                  <a:lnTo>
                    <a:pt x="1316" y="1034"/>
                  </a:lnTo>
                  <a:lnTo>
                    <a:pt x="1319" y="1036"/>
                  </a:lnTo>
                  <a:lnTo>
                    <a:pt x="1319" y="1036"/>
                  </a:lnTo>
                  <a:lnTo>
                    <a:pt x="1320" y="1035"/>
                  </a:lnTo>
                  <a:lnTo>
                    <a:pt x="1321" y="1033"/>
                  </a:lnTo>
                  <a:lnTo>
                    <a:pt x="1321" y="1027"/>
                  </a:lnTo>
                  <a:lnTo>
                    <a:pt x="1321" y="1022"/>
                  </a:lnTo>
                  <a:lnTo>
                    <a:pt x="1322" y="1021"/>
                  </a:lnTo>
                  <a:lnTo>
                    <a:pt x="1323" y="1020"/>
                  </a:lnTo>
                  <a:lnTo>
                    <a:pt x="1323" y="1020"/>
                  </a:lnTo>
                  <a:lnTo>
                    <a:pt x="1329" y="1019"/>
                  </a:lnTo>
                  <a:lnTo>
                    <a:pt x="1333" y="1016"/>
                  </a:lnTo>
                  <a:lnTo>
                    <a:pt x="1337" y="1016"/>
                  </a:lnTo>
                  <a:lnTo>
                    <a:pt x="1339" y="1017"/>
                  </a:lnTo>
                  <a:lnTo>
                    <a:pt x="1342" y="1020"/>
                  </a:lnTo>
                  <a:lnTo>
                    <a:pt x="1342" y="1020"/>
                  </a:lnTo>
                  <a:lnTo>
                    <a:pt x="1345" y="1017"/>
                  </a:lnTo>
                  <a:lnTo>
                    <a:pt x="1346" y="1015"/>
                  </a:lnTo>
                  <a:lnTo>
                    <a:pt x="1347" y="1013"/>
                  </a:lnTo>
                  <a:lnTo>
                    <a:pt x="1348" y="1010"/>
                  </a:lnTo>
                  <a:lnTo>
                    <a:pt x="1349" y="1001"/>
                  </a:lnTo>
                  <a:lnTo>
                    <a:pt x="1351" y="995"/>
                  </a:lnTo>
                  <a:lnTo>
                    <a:pt x="1351" y="995"/>
                  </a:lnTo>
                  <a:lnTo>
                    <a:pt x="1362" y="989"/>
                  </a:lnTo>
                  <a:lnTo>
                    <a:pt x="1374" y="986"/>
                  </a:lnTo>
                  <a:lnTo>
                    <a:pt x="1374" y="986"/>
                  </a:lnTo>
                  <a:lnTo>
                    <a:pt x="1375" y="986"/>
                  </a:lnTo>
                  <a:lnTo>
                    <a:pt x="1376" y="984"/>
                  </a:lnTo>
                  <a:lnTo>
                    <a:pt x="1376" y="981"/>
                  </a:lnTo>
                  <a:lnTo>
                    <a:pt x="1377" y="976"/>
                  </a:lnTo>
                  <a:lnTo>
                    <a:pt x="1377" y="974"/>
                  </a:lnTo>
                  <a:lnTo>
                    <a:pt x="1379" y="973"/>
                  </a:lnTo>
                  <a:lnTo>
                    <a:pt x="1379" y="973"/>
                  </a:lnTo>
                  <a:lnTo>
                    <a:pt x="1384" y="974"/>
                  </a:lnTo>
                  <a:lnTo>
                    <a:pt x="1388" y="975"/>
                  </a:lnTo>
                  <a:lnTo>
                    <a:pt x="1400" y="975"/>
                  </a:lnTo>
                  <a:lnTo>
                    <a:pt x="1411" y="976"/>
                  </a:lnTo>
                  <a:lnTo>
                    <a:pt x="1416" y="977"/>
                  </a:lnTo>
                  <a:lnTo>
                    <a:pt x="1421" y="980"/>
                  </a:lnTo>
                  <a:lnTo>
                    <a:pt x="1421" y="980"/>
                  </a:lnTo>
                  <a:lnTo>
                    <a:pt x="1418" y="987"/>
                  </a:lnTo>
                  <a:lnTo>
                    <a:pt x="1418" y="987"/>
                  </a:lnTo>
                  <a:close/>
                  <a:moveTo>
                    <a:pt x="225" y="318"/>
                  </a:moveTo>
                  <a:lnTo>
                    <a:pt x="225" y="318"/>
                  </a:lnTo>
                  <a:lnTo>
                    <a:pt x="234" y="321"/>
                  </a:lnTo>
                  <a:lnTo>
                    <a:pt x="234" y="321"/>
                  </a:lnTo>
                  <a:lnTo>
                    <a:pt x="237" y="320"/>
                  </a:lnTo>
                  <a:lnTo>
                    <a:pt x="239" y="319"/>
                  </a:lnTo>
                  <a:lnTo>
                    <a:pt x="243" y="315"/>
                  </a:lnTo>
                  <a:lnTo>
                    <a:pt x="244" y="313"/>
                  </a:lnTo>
                  <a:lnTo>
                    <a:pt x="248" y="312"/>
                  </a:lnTo>
                  <a:lnTo>
                    <a:pt x="250" y="311"/>
                  </a:lnTo>
                  <a:lnTo>
                    <a:pt x="254" y="311"/>
                  </a:lnTo>
                  <a:lnTo>
                    <a:pt x="254" y="311"/>
                  </a:lnTo>
                  <a:lnTo>
                    <a:pt x="254" y="315"/>
                  </a:lnTo>
                  <a:lnTo>
                    <a:pt x="255" y="319"/>
                  </a:lnTo>
                  <a:lnTo>
                    <a:pt x="256" y="322"/>
                  </a:lnTo>
                  <a:lnTo>
                    <a:pt x="259" y="325"/>
                  </a:lnTo>
                  <a:lnTo>
                    <a:pt x="259" y="325"/>
                  </a:lnTo>
                  <a:lnTo>
                    <a:pt x="261" y="321"/>
                  </a:lnTo>
                  <a:lnTo>
                    <a:pt x="262" y="318"/>
                  </a:lnTo>
                  <a:lnTo>
                    <a:pt x="264" y="309"/>
                  </a:lnTo>
                  <a:lnTo>
                    <a:pt x="264" y="304"/>
                  </a:lnTo>
                  <a:lnTo>
                    <a:pt x="263" y="300"/>
                  </a:lnTo>
                  <a:lnTo>
                    <a:pt x="262" y="296"/>
                  </a:lnTo>
                  <a:lnTo>
                    <a:pt x="259" y="294"/>
                  </a:lnTo>
                  <a:lnTo>
                    <a:pt x="259" y="294"/>
                  </a:lnTo>
                  <a:lnTo>
                    <a:pt x="259" y="290"/>
                  </a:lnTo>
                  <a:lnTo>
                    <a:pt x="260" y="287"/>
                  </a:lnTo>
                  <a:lnTo>
                    <a:pt x="261" y="285"/>
                  </a:lnTo>
                  <a:lnTo>
                    <a:pt x="261" y="281"/>
                  </a:lnTo>
                  <a:lnTo>
                    <a:pt x="261" y="281"/>
                  </a:lnTo>
                  <a:lnTo>
                    <a:pt x="265" y="280"/>
                  </a:lnTo>
                  <a:lnTo>
                    <a:pt x="267" y="280"/>
                  </a:lnTo>
                  <a:lnTo>
                    <a:pt x="269" y="281"/>
                  </a:lnTo>
                  <a:lnTo>
                    <a:pt x="272" y="282"/>
                  </a:lnTo>
                  <a:lnTo>
                    <a:pt x="275" y="286"/>
                  </a:lnTo>
                  <a:lnTo>
                    <a:pt x="277" y="287"/>
                  </a:lnTo>
                  <a:lnTo>
                    <a:pt x="280" y="287"/>
                  </a:lnTo>
                  <a:lnTo>
                    <a:pt x="280" y="287"/>
                  </a:lnTo>
                  <a:lnTo>
                    <a:pt x="282" y="294"/>
                  </a:lnTo>
                  <a:lnTo>
                    <a:pt x="287" y="301"/>
                  </a:lnTo>
                  <a:lnTo>
                    <a:pt x="292" y="306"/>
                  </a:lnTo>
                  <a:lnTo>
                    <a:pt x="299" y="311"/>
                  </a:lnTo>
                  <a:lnTo>
                    <a:pt x="299" y="311"/>
                  </a:lnTo>
                  <a:lnTo>
                    <a:pt x="299" y="314"/>
                  </a:lnTo>
                  <a:lnTo>
                    <a:pt x="299" y="317"/>
                  </a:lnTo>
                  <a:lnTo>
                    <a:pt x="295" y="320"/>
                  </a:lnTo>
                  <a:lnTo>
                    <a:pt x="294" y="324"/>
                  </a:lnTo>
                  <a:lnTo>
                    <a:pt x="294" y="325"/>
                  </a:lnTo>
                  <a:lnTo>
                    <a:pt x="295" y="327"/>
                  </a:lnTo>
                  <a:lnTo>
                    <a:pt x="295" y="327"/>
                  </a:lnTo>
                  <a:lnTo>
                    <a:pt x="302" y="318"/>
                  </a:lnTo>
                  <a:lnTo>
                    <a:pt x="305" y="314"/>
                  </a:lnTo>
                  <a:lnTo>
                    <a:pt x="307" y="308"/>
                  </a:lnTo>
                  <a:lnTo>
                    <a:pt x="307" y="308"/>
                  </a:lnTo>
                  <a:lnTo>
                    <a:pt x="307" y="306"/>
                  </a:lnTo>
                  <a:lnTo>
                    <a:pt x="306" y="305"/>
                  </a:lnTo>
                  <a:lnTo>
                    <a:pt x="303" y="305"/>
                  </a:lnTo>
                  <a:lnTo>
                    <a:pt x="300" y="305"/>
                  </a:lnTo>
                  <a:lnTo>
                    <a:pt x="295" y="305"/>
                  </a:lnTo>
                  <a:lnTo>
                    <a:pt x="295" y="305"/>
                  </a:lnTo>
                  <a:lnTo>
                    <a:pt x="293" y="302"/>
                  </a:lnTo>
                  <a:lnTo>
                    <a:pt x="292" y="299"/>
                  </a:lnTo>
                  <a:lnTo>
                    <a:pt x="290" y="292"/>
                  </a:lnTo>
                  <a:lnTo>
                    <a:pt x="290" y="285"/>
                  </a:lnTo>
                  <a:lnTo>
                    <a:pt x="292" y="277"/>
                  </a:lnTo>
                  <a:lnTo>
                    <a:pt x="294" y="269"/>
                  </a:lnTo>
                  <a:lnTo>
                    <a:pt x="299" y="263"/>
                  </a:lnTo>
                  <a:lnTo>
                    <a:pt x="303" y="257"/>
                  </a:lnTo>
                  <a:lnTo>
                    <a:pt x="307" y="254"/>
                  </a:lnTo>
                  <a:lnTo>
                    <a:pt x="307" y="254"/>
                  </a:lnTo>
                  <a:lnTo>
                    <a:pt x="313" y="255"/>
                  </a:lnTo>
                  <a:lnTo>
                    <a:pt x="315" y="259"/>
                  </a:lnTo>
                  <a:lnTo>
                    <a:pt x="317" y="263"/>
                  </a:lnTo>
                  <a:lnTo>
                    <a:pt x="317" y="270"/>
                  </a:lnTo>
                  <a:lnTo>
                    <a:pt x="317" y="270"/>
                  </a:lnTo>
                  <a:lnTo>
                    <a:pt x="318" y="267"/>
                  </a:lnTo>
                  <a:lnTo>
                    <a:pt x="321" y="264"/>
                  </a:lnTo>
                  <a:lnTo>
                    <a:pt x="325" y="263"/>
                  </a:lnTo>
                  <a:lnTo>
                    <a:pt x="329" y="262"/>
                  </a:lnTo>
                  <a:lnTo>
                    <a:pt x="332" y="262"/>
                  </a:lnTo>
                  <a:lnTo>
                    <a:pt x="335" y="264"/>
                  </a:lnTo>
                  <a:lnTo>
                    <a:pt x="338" y="267"/>
                  </a:lnTo>
                  <a:lnTo>
                    <a:pt x="338" y="273"/>
                  </a:lnTo>
                  <a:lnTo>
                    <a:pt x="338" y="273"/>
                  </a:lnTo>
                  <a:lnTo>
                    <a:pt x="348" y="270"/>
                  </a:lnTo>
                  <a:lnTo>
                    <a:pt x="354" y="269"/>
                  </a:lnTo>
                  <a:lnTo>
                    <a:pt x="362" y="270"/>
                  </a:lnTo>
                  <a:lnTo>
                    <a:pt x="362" y="270"/>
                  </a:lnTo>
                  <a:lnTo>
                    <a:pt x="362" y="273"/>
                  </a:lnTo>
                  <a:lnTo>
                    <a:pt x="363" y="274"/>
                  </a:lnTo>
                  <a:lnTo>
                    <a:pt x="365" y="276"/>
                  </a:lnTo>
                  <a:lnTo>
                    <a:pt x="367" y="279"/>
                  </a:lnTo>
                  <a:lnTo>
                    <a:pt x="368" y="281"/>
                  </a:lnTo>
                  <a:lnTo>
                    <a:pt x="368" y="283"/>
                  </a:lnTo>
                  <a:lnTo>
                    <a:pt x="368" y="283"/>
                  </a:lnTo>
                  <a:lnTo>
                    <a:pt x="389" y="283"/>
                  </a:lnTo>
                  <a:lnTo>
                    <a:pt x="389" y="283"/>
                  </a:lnTo>
                  <a:lnTo>
                    <a:pt x="389" y="288"/>
                  </a:lnTo>
                  <a:lnTo>
                    <a:pt x="390" y="290"/>
                  </a:lnTo>
                  <a:lnTo>
                    <a:pt x="392" y="294"/>
                  </a:lnTo>
                  <a:lnTo>
                    <a:pt x="395" y="299"/>
                  </a:lnTo>
                  <a:lnTo>
                    <a:pt x="398" y="303"/>
                  </a:lnTo>
                  <a:lnTo>
                    <a:pt x="398" y="303"/>
                  </a:lnTo>
                  <a:lnTo>
                    <a:pt x="397" y="306"/>
                  </a:lnTo>
                  <a:lnTo>
                    <a:pt x="395" y="308"/>
                  </a:lnTo>
                  <a:lnTo>
                    <a:pt x="392" y="311"/>
                  </a:lnTo>
                  <a:lnTo>
                    <a:pt x="391" y="314"/>
                  </a:lnTo>
                  <a:lnTo>
                    <a:pt x="391" y="314"/>
                  </a:lnTo>
                  <a:lnTo>
                    <a:pt x="402" y="318"/>
                  </a:lnTo>
                  <a:lnTo>
                    <a:pt x="406" y="320"/>
                  </a:lnTo>
                  <a:lnTo>
                    <a:pt x="412" y="321"/>
                  </a:lnTo>
                  <a:lnTo>
                    <a:pt x="412" y="321"/>
                  </a:lnTo>
                  <a:lnTo>
                    <a:pt x="414" y="325"/>
                  </a:lnTo>
                  <a:lnTo>
                    <a:pt x="414" y="327"/>
                  </a:lnTo>
                  <a:lnTo>
                    <a:pt x="416" y="330"/>
                  </a:lnTo>
                  <a:lnTo>
                    <a:pt x="417" y="330"/>
                  </a:lnTo>
                  <a:lnTo>
                    <a:pt x="419" y="330"/>
                  </a:lnTo>
                  <a:lnTo>
                    <a:pt x="419" y="330"/>
                  </a:lnTo>
                  <a:lnTo>
                    <a:pt x="419" y="333"/>
                  </a:lnTo>
                  <a:lnTo>
                    <a:pt x="417" y="338"/>
                  </a:lnTo>
                  <a:lnTo>
                    <a:pt x="417" y="341"/>
                  </a:lnTo>
                  <a:lnTo>
                    <a:pt x="417" y="346"/>
                  </a:lnTo>
                  <a:lnTo>
                    <a:pt x="417" y="346"/>
                  </a:lnTo>
                  <a:lnTo>
                    <a:pt x="414" y="345"/>
                  </a:lnTo>
                  <a:lnTo>
                    <a:pt x="412" y="345"/>
                  </a:lnTo>
                  <a:lnTo>
                    <a:pt x="411" y="346"/>
                  </a:lnTo>
                  <a:lnTo>
                    <a:pt x="410" y="347"/>
                  </a:lnTo>
                  <a:lnTo>
                    <a:pt x="409" y="352"/>
                  </a:lnTo>
                  <a:lnTo>
                    <a:pt x="409" y="357"/>
                  </a:lnTo>
                  <a:lnTo>
                    <a:pt x="409" y="357"/>
                  </a:lnTo>
                  <a:lnTo>
                    <a:pt x="405" y="354"/>
                  </a:lnTo>
                  <a:lnTo>
                    <a:pt x="401" y="351"/>
                  </a:lnTo>
                  <a:lnTo>
                    <a:pt x="396" y="347"/>
                  </a:lnTo>
                  <a:lnTo>
                    <a:pt x="394" y="346"/>
                  </a:lnTo>
                  <a:lnTo>
                    <a:pt x="391" y="346"/>
                  </a:lnTo>
                  <a:lnTo>
                    <a:pt x="391" y="346"/>
                  </a:lnTo>
                  <a:lnTo>
                    <a:pt x="392" y="351"/>
                  </a:lnTo>
                  <a:lnTo>
                    <a:pt x="394" y="355"/>
                  </a:lnTo>
                  <a:lnTo>
                    <a:pt x="396" y="358"/>
                  </a:lnTo>
                  <a:lnTo>
                    <a:pt x="398" y="363"/>
                  </a:lnTo>
                  <a:lnTo>
                    <a:pt x="398" y="363"/>
                  </a:lnTo>
                  <a:lnTo>
                    <a:pt x="398" y="368"/>
                  </a:lnTo>
                  <a:lnTo>
                    <a:pt x="397" y="372"/>
                  </a:lnTo>
                  <a:lnTo>
                    <a:pt x="395" y="378"/>
                  </a:lnTo>
                  <a:lnTo>
                    <a:pt x="394" y="384"/>
                  </a:lnTo>
                  <a:lnTo>
                    <a:pt x="394" y="388"/>
                  </a:lnTo>
                  <a:lnTo>
                    <a:pt x="396" y="392"/>
                  </a:lnTo>
                  <a:lnTo>
                    <a:pt x="396" y="392"/>
                  </a:lnTo>
                  <a:lnTo>
                    <a:pt x="389" y="391"/>
                  </a:lnTo>
                  <a:lnTo>
                    <a:pt x="383" y="389"/>
                  </a:lnTo>
                  <a:lnTo>
                    <a:pt x="379" y="384"/>
                  </a:lnTo>
                  <a:lnTo>
                    <a:pt x="375" y="381"/>
                  </a:lnTo>
                  <a:lnTo>
                    <a:pt x="366" y="372"/>
                  </a:lnTo>
                  <a:lnTo>
                    <a:pt x="362" y="368"/>
                  </a:lnTo>
                  <a:lnTo>
                    <a:pt x="356" y="365"/>
                  </a:lnTo>
                  <a:lnTo>
                    <a:pt x="356" y="365"/>
                  </a:lnTo>
                  <a:lnTo>
                    <a:pt x="350" y="365"/>
                  </a:lnTo>
                  <a:lnTo>
                    <a:pt x="343" y="365"/>
                  </a:lnTo>
                  <a:lnTo>
                    <a:pt x="337" y="363"/>
                  </a:lnTo>
                  <a:lnTo>
                    <a:pt x="334" y="362"/>
                  </a:lnTo>
                  <a:lnTo>
                    <a:pt x="333" y="359"/>
                  </a:lnTo>
                  <a:lnTo>
                    <a:pt x="333" y="359"/>
                  </a:lnTo>
                  <a:lnTo>
                    <a:pt x="335" y="353"/>
                  </a:lnTo>
                  <a:lnTo>
                    <a:pt x="339" y="348"/>
                  </a:lnTo>
                  <a:lnTo>
                    <a:pt x="343" y="346"/>
                  </a:lnTo>
                  <a:lnTo>
                    <a:pt x="348" y="343"/>
                  </a:lnTo>
                  <a:lnTo>
                    <a:pt x="354" y="341"/>
                  </a:lnTo>
                  <a:lnTo>
                    <a:pt x="358" y="338"/>
                  </a:lnTo>
                  <a:lnTo>
                    <a:pt x="362" y="333"/>
                  </a:lnTo>
                  <a:lnTo>
                    <a:pt x="364" y="327"/>
                  </a:lnTo>
                  <a:lnTo>
                    <a:pt x="364" y="327"/>
                  </a:lnTo>
                  <a:lnTo>
                    <a:pt x="363" y="324"/>
                  </a:lnTo>
                  <a:lnTo>
                    <a:pt x="362" y="321"/>
                  </a:lnTo>
                  <a:lnTo>
                    <a:pt x="358" y="318"/>
                  </a:lnTo>
                  <a:lnTo>
                    <a:pt x="356" y="317"/>
                  </a:lnTo>
                  <a:lnTo>
                    <a:pt x="354" y="315"/>
                  </a:lnTo>
                  <a:lnTo>
                    <a:pt x="354" y="313"/>
                  </a:lnTo>
                  <a:lnTo>
                    <a:pt x="354" y="308"/>
                  </a:lnTo>
                  <a:lnTo>
                    <a:pt x="354" y="308"/>
                  </a:lnTo>
                  <a:lnTo>
                    <a:pt x="351" y="308"/>
                  </a:lnTo>
                  <a:lnTo>
                    <a:pt x="348" y="308"/>
                  </a:lnTo>
                  <a:lnTo>
                    <a:pt x="343" y="306"/>
                  </a:lnTo>
                  <a:lnTo>
                    <a:pt x="341" y="305"/>
                  </a:lnTo>
                  <a:lnTo>
                    <a:pt x="339" y="305"/>
                  </a:lnTo>
                  <a:lnTo>
                    <a:pt x="338" y="306"/>
                  </a:lnTo>
                  <a:lnTo>
                    <a:pt x="335" y="308"/>
                  </a:lnTo>
                  <a:lnTo>
                    <a:pt x="335" y="308"/>
                  </a:lnTo>
                  <a:lnTo>
                    <a:pt x="332" y="305"/>
                  </a:lnTo>
                  <a:lnTo>
                    <a:pt x="327" y="303"/>
                  </a:lnTo>
                  <a:lnTo>
                    <a:pt x="321" y="302"/>
                  </a:lnTo>
                  <a:lnTo>
                    <a:pt x="315" y="303"/>
                  </a:lnTo>
                  <a:lnTo>
                    <a:pt x="315" y="303"/>
                  </a:lnTo>
                  <a:lnTo>
                    <a:pt x="317" y="305"/>
                  </a:lnTo>
                  <a:lnTo>
                    <a:pt x="320" y="306"/>
                  </a:lnTo>
                  <a:lnTo>
                    <a:pt x="324" y="308"/>
                  </a:lnTo>
                  <a:lnTo>
                    <a:pt x="326" y="311"/>
                  </a:lnTo>
                  <a:lnTo>
                    <a:pt x="326" y="311"/>
                  </a:lnTo>
                  <a:lnTo>
                    <a:pt x="325" y="317"/>
                  </a:lnTo>
                  <a:lnTo>
                    <a:pt x="324" y="324"/>
                  </a:lnTo>
                  <a:lnTo>
                    <a:pt x="324" y="338"/>
                  </a:lnTo>
                  <a:lnTo>
                    <a:pt x="324" y="338"/>
                  </a:lnTo>
                  <a:lnTo>
                    <a:pt x="308" y="344"/>
                  </a:lnTo>
                  <a:lnTo>
                    <a:pt x="289" y="348"/>
                  </a:lnTo>
                  <a:lnTo>
                    <a:pt x="289" y="348"/>
                  </a:lnTo>
                  <a:lnTo>
                    <a:pt x="289" y="352"/>
                  </a:lnTo>
                  <a:lnTo>
                    <a:pt x="290" y="354"/>
                  </a:lnTo>
                  <a:lnTo>
                    <a:pt x="291" y="356"/>
                  </a:lnTo>
                  <a:lnTo>
                    <a:pt x="291" y="359"/>
                  </a:lnTo>
                  <a:lnTo>
                    <a:pt x="291" y="359"/>
                  </a:lnTo>
                  <a:lnTo>
                    <a:pt x="287" y="360"/>
                  </a:lnTo>
                  <a:lnTo>
                    <a:pt x="283" y="362"/>
                  </a:lnTo>
                  <a:lnTo>
                    <a:pt x="280" y="365"/>
                  </a:lnTo>
                  <a:lnTo>
                    <a:pt x="278" y="367"/>
                  </a:lnTo>
                  <a:lnTo>
                    <a:pt x="274" y="375"/>
                  </a:lnTo>
                  <a:lnTo>
                    <a:pt x="270" y="381"/>
                  </a:lnTo>
                  <a:lnTo>
                    <a:pt x="270" y="381"/>
                  </a:lnTo>
                  <a:lnTo>
                    <a:pt x="265" y="385"/>
                  </a:lnTo>
                  <a:lnTo>
                    <a:pt x="261" y="391"/>
                  </a:lnTo>
                  <a:lnTo>
                    <a:pt x="257" y="396"/>
                  </a:lnTo>
                  <a:lnTo>
                    <a:pt x="252" y="401"/>
                  </a:lnTo>
                  <a:lnTo>
                    <a:pt x="252" y="401"/>
                  </a:lnTo>
                  <a:lnTo>
                    <a:pt x="251" y="406"/>
                  </a:lnTo>
                  <a:lnTo>
                    <a:pt x="250" y="408"/>
                  </a:lnTo>
                  <a:lnTo>
                    <a:pt x="248" y="408"/>
                  </a:lnTo>
                  <a:lnTo>
                    <a:pt x="248" y="408"/>
                  </a:lnTo>
                  <a:lnTo>
                    <a:pt x="248" y="411"/>
                  </a:lnTo>
                  <a:lnTo>
                    <a:pt x="249" y="414"/>
                  </a:lnTo>
                  <a:lnTo>
                    <a:pt x="252" y="417"/>
                  </a:lnTo>
                  <a:lnTo>
                    <a:pt x="253" y="418"/>
                  </a:lnTo>
                  <a:lnTo>
                    <a:pt x="254" y="420"/>
                  </a:lnTo>
                  <a:lnTo>
                    <a:pt x="255" y="423"/>
                  </a:lnTo>
                  <a:lnTo>
                    <a:pt x="254" y="428"/>
                  </a:lnTo>
                  <a:lnTo>
                    <a:pt x="254" y="428"/>
                  </a:lnTo>
                  <a:lnTo>
                    <a:pt x="262" y="431"/>
                  </a:lnTo>
                  <a:lnTo>
                    <a:pt x="268" y="435"/>
                  </a:lnTo>
                  <a:lnTo>
                    <a:pt x="275" y="441"/>
                  </a:lnTo>
                  <a:lnTo>
                    <a:pt x="280" y="446"/>
                  </a:lnTo>
                  <a:lnTo>
                    <a:pt x="280" y="446"/>
                  </a:lnTo>
                  <a:lnTo>
                    <a:pt x="283" y="446"/>
                  </a:lnTo>
                  <a:lnTo>
                    <a:pt x="286" y="445"/>
                  </a:lnTo>
                  <a:lnTo>
                    <a:pt x="288" y="445"/>
                  </a:lnTo>
                  <a:lnTo>
                    <a:pt x="289" y="449"/>
                  </a:lnTo>
                  <a:lnTo>
                    <a:pt x="289" y="449"/>
                  </a:lnTo>
                  <a:lnTo>
                    <a:pt x="292" y="447"/>
                  </a:lnTo>
                  <a:lnTo>
                    <a:pt x="293" y="445"/>
                  </a:lnTo>
                  <a:lnTo>
                    <a:pt x="295" y="444"/>
                  </a:lnTo>
                  <a:lnTo>
                    <a:pt x="299" y="446"/>
                  </a:lnTo>
                  <a:lnTo>
                    <a:pt x="299" y="446"/>
                  </a:lnTo>
                  <a:lnTo>
                    <a:pt x="302" y="463"/>
                  </a:lnTo>
                  <a:lnTo>
                    <a:pt x="304" y="472"/>
                  </a:lnTo>
                  <a:lnTo>
                    <a:pt x="307" y="479"/>
                  </a:lnTo>
                  <a:lnTo>
                    <a:pt x="307" y="479"/>
                  </a:lnTo>
                  <a:lnTo>
                    <a:pt x="312" y="460"/>
                  </a:lnTo>
                  <a:lnTo>
                    <a:pt x="315" y="453"/>
                  </a:lnTo>
                  <a:lnTo>
                    <a:pt x="316" y="449"/>
                  </a:lnTo>
                  <a:lnTo>
                    <a:pt x="319" y="446"/>
                  </a:lnTo>
                  <a:lnTo>
                    <a:pt x="319" y="446"/>
                  </a:lnTo>
                  <a:lnTo>
                    <a:pt x="318" y="445"/>
                  </a:lnTo>
                  <a:lnTo>
                    <a:pt x="317" y="445"/>
                  </a:lnTo>
                  <a:lnTo>
                    <a:pt x="315" y="445"/>
                  </a:lnTo>
                  <a:lnTo>
                    <a:pt x="312" y="445"/>
                  </a:lnTo>
                  <a:lnTo>
                    <a:pt x="311" y="443"/>
                  </a:lnTo>
                  <a:lnTo>
                    <a:pt x="309" y="441"/>
                  </a:lnTo>
                  <a:lnTo>
                    <a:pt x="309" y="441"/>
                  </a:lnTo>
                  <a:lnTo>
                    <a:pt x="311" y="438"/>
                  </a:lnTo>
                  <a:lnTo>
                    <a:pt x="313" y="437"/>
                  </a:lnTo>
                  <a:lnTo>
                    <a:pt x="314" y="437"/>
                  </a:lnTo>
                  <a:lnTo>
                    <a:pt x="316" y="438"/>
                  </a:lnTo>
                  <a:lnTo>
                    <a:pt x="320" y="441"/>
                  </a:lnTo>
                  <a:lnTo>
                    <a:pt x="324" y="441"/>
                  </a:lnTo>
                  <a:lnTo>
                    <a:pt x="324" y="441"/>
                  </a:lnTo>
                  <a:lnTo>
                    <a:pt x="322" y="434"/>
                  </a:lnTo>
                  <a:lnTo>
                    <a:pt x="322" y="427"/>
                  </a:lnTo>
                  <a:lnTo>
                    <a:pt x="325" y="412"/>
                  </a:lnTo>
                  <a:lnTo>
                    <a:pt x="327" y="397"/>
                  </a:lnTo>
                  <a:lnTo>
                    <a:pt x="327" y="389"/>
                  </a:lnTo>
                  <a:lnTo>
                    <a:pt x="326" y="379"/>
                  </a:lnTo>
                  <a:lnTo>
                    <a:pt x="326" y="379"/>
                  </a:lnTo>
                  <a:lnTo>
                    <a:pt x="330" y="379"/>
                  </a:lnTo>
                  <a:lnTo>
                    <a:pt x="332" y="378"/>
                  </a:lnTo>
                  <a:lnTo>
                    <a:pt x="334" y="376"/>
                  </a:lnTo>
                  <a:lnTo>
                    <a:pt x="338" y="376"/>
                  </a:lnTo>
                  <a:lnTo>
                    <a:pt x="338" y="376"/>
                  </a:lnTo>
                  <a:lnTo>
                    <a:pt x="340" y="377"/>
                  </a:lnTo>
                  <a:lnTo>
                    <a:pt x="342" y="377"/>
                  </a:lnTo>
                  <a:lnTo>
                    <a:pt x="344" y="380"/>
                  </a:lnTo>
                  <a:lnTo>
                    <a:pt x="344" y="381"/>
                  </a:lnTo>
                  <a:lnTo>
                    <a:pt x="346" y="381"/>
                  </a:lnTo>
                  <a:lnTo>
                    <a:pt x="347" y="381"/>
                  </a:lnTo>
                  <a:lnTo>
                    <a:pt x="350" y="379"/>
                  </a:lnTo>
                  <a:lnTo>
                    <a:pt x="350" y="379"/>
                  </a:lnTo>
                  <a:lnTo>
                    <a:pt x="353" y="380"/>
                  </a:lnTo>
                  <a:lnTo>
                    <a:pt x="355" y="382"/>
                  </a:lnTo>
                  <a:lnTo>
                    <a:pt x="359" y="385"/>
                  </a:lnTo>
                  <a:lnTo>
                    <a:pt x="360" y="388"/>
                  </a:lnTo>
                  <a:lnTo>
                    <a:pt x="364" y="389"/>
                  </a:lnTo>
                  <a:lnTo>
                    <a:pt x="366" y="389"/>
                  </a:lnTo>
                  <a:lnTo>
                    <a:pt x="370" y="386"/>
                  </a:lnTo>
                  <a:lnTo>
                    <a:pt x="370" y="386"/>
                  </a:lnTo>
                  <a:lnTo>
                    <a:pt x="370" y="414"/>
                  </a:lnTo>
                  <a:lnTo>
                    <a:pt x="370" y="414"/>
                  </a:lnTo>
                  <a:lnTo>
                    <a:pt x="371" y="416"/>
                  </a:lnTo>
                  <a:lnTo>
                    <a:pt x="372" y="417"/>
                  </a:lnTo>
                  <a:lnTo>
                    <a:pt x="377" y="417"/>
                  </a:lnTo>
                  <a:lnTo>
                    <a:pt x="382" y="417"/>
                  </a:lnTo>
                  <a:lnTo>
                    <a:pt x="386" y="417"/>
                  </a:lnTo>
                  <a:lnTo>
                    <a:pt x="386" y="417"/>
                  </a:lnTo>
                  <a:lnTo>
                    <a:pt x="388" y="417"/>
                  </a:lnTo>
                  <a:lnTo>
                    <a:pt x="389" y="416"/>
                  </a:lnTo>
                  <a:lnTo>
                    <a:pt x="389" y="411"/>
                  </a:lnTo>
                  <a:lnTo>
                    <a:pt x="389" y="407"/>
                  </a:lnTo>
                  <a:lnTo>
                    <a:pt x="389" y="403"/>
                  </a:lnTo>
                  <a:lnTo>
                    <a:pt x="389" y="403"/>
                  </a:lnTo>
                  <a:lnTo>
                    <a:pt x="393" y="404"/>
                  </a:lnTo>
                  <a:lnTo>
                    <a:pt x="396" y="407"/>
                  </a:lnTo>
                  <a:lnTo>
                    <a:pt x="398" y="410"/>
                  </a:lnTo>
                  <a:lnTo>
                    <a:pt x="399" y="415"/>
                  </a:lnTo>
                  <a:lnTo>
                    <a:pt x="403" y="423"/>
                  </a:lnTo>
                  <a:lnTo>
                    <a:pt x="405" y="428"/>
                  </a:lnTo>
                  <a:lnTo>
                    <a:pt x="407" y="430"/>
                  </a:lnTo>
                  <a:lnTo>
                    <a:pt x="407" y="430"/>
                  </a:lnTo>
                  <a:lnTo>
                    <a:pt x="407" y="436"/>
                  </a:lnTo>
                  <a:lnTo>
                    <a:pt x="405" y="441"/>
                  </a:lnTo>
                  <a:lnTo>
                    <a:pt x="405" y="441"/>
                  </a:lnTo>
                  <a:lnTo>
                    <a:pt x="406" y="445"/>
                  </a:lnTo>
                  <a:lnTo>
                    <a:pt x="407" y="448"/>
                  </a:lnTo>
                  <a:lnTo>
                    <a:pt x="411" y="453"/>
                  </a:lnTo>
                  <a:lnTo>
                    <a:pt x="415" y="458"/>
                  </a:lnTo>
                  <a:lnTo>
                    <a:pt x="416" y="461"/>
                  </a:lnTo>
                  <a:lnTo>
                    <a:pt x="417" y="466"/>
                  </a:lnTo>
                  <a:lnTo>
                    <a:pt x="417" y="466"/>
                  </a:lnTo>
                  <a:lnTo>
                    <a:pt x="420" y="465"/>
                  </a:lnTo>
                  <a:lnTo>
                    <a:pt x="423" y="463"/>
                  </a:lnTo>
                  <a:lnTo>
                    <a:pt x="425" y="463"/>
                  </a:lnTo>
                  <a:lnTo>
                    <a:pt x="429" y="466"/>
                  </a:lnTo>
                  <a:lnTo>
                    <a:pt x="429" y="466"/>
                  </a:lnTo>
                  <a:lnTo>
                    <a:pt x="429" y="483"/>
                  </a:lnTo>
                  <a:lnTo>
                    <a:pt x="429" y="500"/>
                  </a:lnTo>
                  <a:lnTo>
                    <a:pt x="429" y="500"/>
                  </a:lnTo>
                  <a:lnTo>
                    <a:pt x="431" y="506"/>
                  </a:lnTo>
                  <a:lnTo>
                    <a:pt x="433" y="511"/>
                  </a:lnTo>
                  <a:lnTo>
                    <a:pt x="437" y="515"/>
                  </a:lnTo>
                  <a:lnTo>
                    <a:pt x="440" y="517"/>
                  </a:lnTo>
                  <a:lnTo>
                    <a:pt x="442" y="517"/>
                  </a:lnTo>
                  <a:lnTo>
                    <a:pt x="442" y="517"/>
                  </a:lnTo>
                  <a:lnTo>
                    <a:pt x="441" y="519"/>
                  </a:lnTo>
                  <a:lnTo>
                    <a:pt x="440" y="521"/>
                  </a:lnTo>
                  <a:lnTo>
                    <a:pt x="440" y="526"/>
                  </a:lnTo>
                  <a:lnTo>
                    <a:pt x="442" y="536"/>
                  </a:lnTo>
                  <a:lnTo>
                    <a:pt x="442" y="536"/>
                  </a:lnTo>
                  <a:lnTo>
                    <a:pt x="440" y="537"/>
                  </a:lnTo>
                  <a:lnTo>
                    <a:pt x="436" y="536"/>
                  </a:lnTo>
                  <a:lnTo>
                    <a:pt x="432" y="535"/>
                  </a:lnTo>
                  <a:lnTo>
                    <a:pt x="429" y="534"/>
                  </a:lnTo>
                  <a:lnTo>
                    <a:pt x="427" y="534"/>
                  </a:lnTo>
                  <a:lnTo>
                    <a:pt x="425" y="536"/>
                  </a:lnTo>
                  <a:lnTo>
                    <a:pt x="425" y="536"/>
                  </a:lnTo>
                  <a:lnTo>
                    <a:pt x="424" y="535"/>
                  </a:lnTo>
                  <a:lnTo>
                    <a:pt x="423" y="532"/>
                  </a:lnTo>
                  <a:lnTo>
                    <a:pt x="423" y="525"/>
                  </a:lnTo>
                  <a:lnTo>
                    <a:pt x="423" y="525"/>
                  </a:lnTo>
                  <a:lnTo>
                    <a:pt x="421" y="525"/>
                  </a:lnTo>
                  <a:lnTo>
                    <a:pt x="418" y="525"/>
                  </a:lnTo>
                  <a:lnTo>
                    <a:pt x="415" y="526"/>
                  </a:lnTo>
                  <a:lnTo>
                    <a:pt x="410" y="528"/>
                  </a:lnTo>
                  <a:lnTo>
                    <a:pt x="408" y="528"/>
                  </a:lnTo>
                  <a:lnTo>
                    <a:pt x="405" y="527"/>
                  </a:lnTo>
                  <a:lnTo>
                    <a:pt x="405" y="527"/>
                  </a:lnTo>
                  <a:lnTo>
                    <a:pt x="407" y="522"/>
                  </a:lnTo>
                  <a:lnTo>
                    <a:pt x="409" y="518"/>
                  </a:lnTo>
                  <a:lnTo>
                    <a:pt x="415" y="509"/>
                  </a:lnTo>
                  <a:lnTo>
                    <a:pt x="421" y="499"/>
                  </a:lnTo>
                  <a:lnTo>
                    <a:pt x="425" y="489"/>
                  </a:lnTo>
                  <a:lnTo>
                    <a:pt x="425" y="489"/>
                  </a:lnTo>
                  <a:lnTo>
                    <a:pt x="422" y="489"/>
                  </a:lnTo>
                  <a:lnTo>
                    <a:pt x="419" y="491"/>
                  </a:lnTo>
                  <a:lnTo>
                    <a:pt x="411" y="495"/>
                  </a:lnTo>
                  <a:lnTo>
                    <a:pt x="407" y="498"/>
                  </a:lnTo>
                  <a:lnTo>
                    <a:pt x="403" y="500"/>
                  </a:lnTo>
                  <a:lnTo>
                    <a:pt x="397" y="500"/>
                  </a:lnTo>
                  <a:lnTo>
                    <a:pt x="393" y="498"/>
                  </a:lnTo>
                  <a:lnTo>
                    <a:pt x="393" y="498"/>
                  </a:lnTo>
                  <a:lnTo>
                    <a:pt x="393" y="502"/>
                  </a:lnTo>
                  <a:lnTo>
                    <a:pt x="394" y="506"/>
                  </a:lnTo>
                  <a:lnTo>
                    <a:pt x="395" y="508"/>
                  </a:lnTo>
                  <a:lnTo>
                    <a:pt x="396" y="511"/>
                  </a:lnTo>
                  <a:lnTo>
                    <a:pt x="396" y="511"/>
                  </a:lnTo>
                  <a:lnTo>
                    <a:pt x="388" y="515"/>
                  </a:lnTo>
                  <a:lnTo>
                    <a:pt x="384" y="518"/>
                  </a:lnTo>
                  <a:lnTo>
                    <a:pt x="383" y="520"/>
                  </a:lnTo>
                  <a:lnTo>
                    <a:pt x="382" y="522"/>
                  </a:lnTo>
                  <a:lnTo>
                    <a:pt x="382" y="522"/>
                  </a:lnTo>
                  <a:lnTo>
                    <a:pt x="382" y="526"/>
                  </a:lnTo>
                  <a:lnTo>
                    <a:pt x="383" y="528"/>
                  </a:lnTo>
                  <a:lnTo>
                    <a:pt x="385" y="531"/>
                  </a:lnTo>
                  <a:lnTo>
                    <a:pt x="388" y="532"/>
                  </a:lnTo>
                  <a:lnTo>
                    <a:pt x="393" y="534"/>
                  </a:lnTo>
                  <a:lnTo>
                    <a:pt x="398" y="536"/>
                  </a:lnTo>
                  <a:lnTo>
                    <a:pt x="398" y="536"/>
                  </a:lnTo>
                  <a:lnTo>
                    <a:pt x="393" y="541"/>
                  </a:lnTo>
                  <a:lnTo>
                    <a:pt x="386" y="546"/>
                  </a:lnTo>
                  <a:lnTo>
                    <a:pt x="372" y="552"/>
                  </a:lnTo>
                  <a:lnTo>
                    <a:pt x="372" y="552"/>
                  </a:lnTo>
                  <a:lnTo>
                    <a:pt x="373" y="549"/>
                  </a:lnTo>
                  <a:lnTo>
                    <a:pt x="376" y="548"/>
                  </a:lnTo>
                  <a:lnTo>
                    <a:pt x="378" y="546"/>
                  </a:lnTo>
                  <a:lnTo>
                    <a:pt x="377" y="541"/>
                  </a:lnTo>
                  <a:lnTo>
                    <a:pt x="377" y="541"/>
                  </a:lnTo>
                  <a:lnTo>
                    <a:pt x="360" y="548"/>
                  </a:lnTo>
                  <a:lnTo>
                    <a:pt x="352" y="552"/>
                  </a:lnTo>
                  <a:lnTo>
                    <a:pt x="345" y="558"/>
                  </a:lnTo>
                  <a:lnTo>
                    <a:pt x="345" y="558"/>
                  </a:lnTo>
                  <a:lnTo>
                    <a:pt x="344" y="561"/>
                  </a:lnTo>
                  <a:lnTo>
                    <a:pt x="344" y="563"/>
                  </a:lnTo>
                  <a:lnTo>
                    <a:pt x="346" y="566"/>
                  </a:lnTo>
                  <a:lnTo>
                    <a:pt x="348" y="570"/>
                  </a:lnTo>
                  <a:lnTo>
                    <a:pt x="350" y="571"/>
                  </a:lnTo>
                  <a:lnTo>
                    <a:pt x="350" y="574"/>
                  </a:lnTo>
                  <a:lnTo>
                    <a:pt x="350" y="574"/>
                  </a:lnTo>
                  <a:lnTo>
                    <a:pt x="338" y="579"/>
                  </a:lnTo>
                  <a:lnTo>
                    <a:pt x="326" y="585"/>
                  </a:lnTo>
                  <a:lnTo>
                    <a:pt x="326" y="585"/>
                  </a:lnTo>
                  <a:lnTo>
                    <a:pt x="327" y="590"/>
                  </a:lnTo>
                  <a:lnTo>
                    <a:pt x="326" y="595"/>
                  </a:lnTo>
                  <a:lnTo>
                    <a:pt x="325" y="598"/>
                  </a:lnTo>
                  <a:lnTo>
                    <a:pt x="322" y="601"/>
                  </a:lnTo>
                  <a:lnTo>
                    <a:pt x="321" y="603"/>
                  </a:lnTo>
                  <a:lnTo>
                    <a:pt x="320" y="607"/>
                  </a:lnTo>
                  <a:lnTo>
                    <a:pt x="320" y="610"/>
                  </a:lnTo>
                  <a:lnTo>
                    <a:pt x="321" y="615"/>
                  </a:lnTo>
                  <a:lnTo>
                    <a:pt x="321" y="615"/>
                  </a:lnTo>
                  <a:lnTo>
                    <a:pt x="319" y="616"/>
                  </a:lnTo>
                  <a:lnTo>
                    <a:pt x="317" y="617"/>
                  </a:lnTo>
                  <a:lnTo>
                    <a:pt x="314" y="617"/>
                  </a:lnTo>
                  <a:lnTo>
                    <a:pt x="309" y="617"/>
                  </a:lnTo>
                  <a:lnTo>
                    <a:pt x="309" y="617"/>
                  </a:lnTo>
                  <a:lnTo>
                    <a:pt x="312" y="626"/>
                  </a:lnTo>
                  <a:lnTo>
                    <a:pt x="309" y="634"/>
                  </a:lnTo>
                  <a:lnTo>
                    <a:pt x="309" y="634"/>
                  </a:lnTo>
                  <a:lnTo>
                    <a:pt x="304" y="636"/>
                  </a:lnTo>
                  <a:lnTo>
                    <a:pt x="299" y="638"/>
                  </a:lnTo>
                  <a:lnTo>
                    <a:pt x="294" y="641"/>
                  </a:lnTo>
                  <a:lnTo>
                    <a:pt x="290" y="644"/>
                  </a:lnTo>
                  <a:lnTo>
                    <a:pt x="287" y="649"/>
                  </a:lnTo>
                  <a:lnTo>
                    <a:pt x="283" y="654"/>
                  </a:lnTo>
                  <a:lnTo>
                    <a:pt x="281" y="660"/>
                  </a:lnTo>
                  <a:lnTo>
                    <a:pt x="280" y="666"/>
                  </a:lnTo>
                  <a:lnTo>
                    <a:pt x="280" y="666"/>
                  </a:lnTo>
                  <a:lnTo>
                    <a:pt x="280" y="671"/>
                  </a:lnTo>
                  <a:lnTo>
                    <a:pt x="282" y="674"/>
                  </a:lnTo>
                  <a:lnTo>
                    <a:pt x="287" y="680"/>
                  </a:lnTo>
                  <a:lnTo>
                    <a:pt x="287" y="680"/>
                  </a:lnTo>
                  <a:lnTo>
                    <a:pt x="285" y="691"/>
                  </a:lnTo>
                  <a:lnTo>
                    <a:pt x="286" y="698"/>
                  </a:lnTo>
                  <a:lnTo>
                    <a:pt x="287" y="707"/>
                  </a:lnTo>
                  <a:lnTo>
                    <a:pt x="287" y="707"/>
                  </a:lnTo>
                  <a:lnTo>
                    <a:pt x="282" y="706"/>
                  </a:lnTo>
                  <a:lnTo>
                    <a:pt x="279" y="705"/>
                  </a:lnTo>
                  <a:lnTo>
                    <a:pt x="276" y="703"/>
                  </a:lnTo>
                  <a:lnTo>
                    <a:pt x="274" y="700"/>
                  </a:lnTo>
                  <a:lnTo>
                    <a:pt x="273" y="697"/>
                  </a:lnTo>
                  <a:lnTo>
                    <a:pt x="272" y="693"/>
                  </a:lnTo>
                  <a:lnTo>
                    <a:pt x="270" y="688"/>
                  </a:lnTo>
                  <a:lnTo>
                    <a:pt x="270" y="682"/>
                  </a:lnTo>
                  <a:lnTo>
                    <a:pt x="270" y="682"/>
                  </a:lnTo>
                  <a:lnTo>
                    <a:pt x="269" y="679"/>
                  </a:lnTo>
                  <a:lnTo>
                    <a:pt x="267" y="677"/>
                  </a:lnTo>
                  <a:lnTo>
                    <a:pt x="264" y="675"/>
                  </a:lnTo>
                  <a:lnTo>
                    <a:pt x="260" y="675"/>
                  </a:lnTo>
                  <a:lnTo>
                    <a:pt x="251" y="674"/>
                  </a:lnTo>
                  <a:lnTo>
                    <a:pt x="242" y="675"/>
                  </a:lnTo>
                  <a:lnTo>
                    <a:pt x="242" y="675"/>
                  </a:lnTo>
                  <a:lnTo>
                    <a:pt x="241" y="675"/>
                  </a:lnTo>
                  <a:lnTo>
                    <a:pt x="240" y="677"/>
                  </a:lnTo>
                  <a:lnTo>
                    <a:pt x="240" y="682"/>
                  </a:lnTo>
                  <a:lnTo>
                    <a:pt x="240" y="682"/>
                  </a:lnTo>
                  <a:lnTo>
                    <a:pt x="236" y="682"/>
                  </a:lnTo>
                  <a:lnTo>
                    <a:pt x="232" y="681"/>
                  </a:lnTo>
                  <a:lnTo>
                    <a:pt x="227" y="678"/>
                  </a:lnTo>
                  <a:lnTo>
                    <a:pt x="221" y="675"/>
                  </a:lnTo>
                  <a:lnTo>
                    <a:pt x="217" y="675"/>
                  </a:lnTo>
                  <a:lnTo>
                    <a:pt x="213" y="675"/>
                  </a:lnTo>
                  <a:lnTo>
                    <a:pt x="213" y="675"/>
                  </a:lnTo>
                  <a:lnTo>
                    <a:pt x="208" y="677"/>
                  </a:lnTo>
                  <a:lnTo>
                    <a:pt x="202" y="680"/>
                  </a:lnTo>
                  <a:lnTo>
                    <a:pt x="197" y="684"/>
                  </a:lnTo>
                  <a:lnTo>
                    <a:pt x="191" y="686"/>
                  </a:lnTo>
                  <a:lnTo>
                    <a:pt x="191" y="686"/>
                  </a:lnTo>
                  <a:lnTo>
                    <a:pt x="193" y="694"/>
                  </a:lnTo>
                  <a:lnTo>
                    <a:pt x="193" y="705"/>
                  </a:lnTo>
                  <a:lnTo>
                    <a:pt x="191" y="728"/>
                  </a:lnTo>
                  <a:lnTo>
                    <a:pt x="192" y="738"/>
                  </a:lnTo>
                  <a:lnTo>
                    <a:pt x="193" y="742"/>
                  </a:lnTo>
                  <a:lnTo>
                    <a:pt x="195" y="746"/>
                  </a:lnTo>
                  <a:lnTo>
                    <a:pt x="198" y="750"/>
                  </a:lnTo>
                  <a:lnTo>
                    <a:pt x="201" y="752"/>
                  </a:lnTo>
                  <a:lnTo>
                    <a:pt x="205" y="753"/>
                  </a:lnTo>
                  <a:lnTo>
                    <a:pt x="210" y="753"/>
                  </a:lnTo>
                  <a:lnTo>
                    <a:pt x="210" y="753"/>
                  </a:lnTo>
                  <a:lnTo>
                    <a:pt x="212" y="752"/>
                  </a:lnTo>
                  <a:lnTo>
                    <a:pt x="214" y="750"/>
                  </a:lnTo>
                  <a:lnTo>
                    <a:pt x="216" y="743"/>
                  </a:lnTo>
                  <a:lnTo>
                    <a:pt x="217" y="737"/>
                  </a:lnTo>
                  <a:lnTo>
                    <a:pt x="219" y="731"/>
                  </a:lnTo>
                  <a:lnTo>
                    <a:pt x="219" y="731"/>
                  </a:lnTo>
                  <a:lnTo>
                    <a:pt x="231" y="732"/>
                  </a:lnTo>
                  <a:lnTo>
                    <a:pt x="242" y="731"/>
                  </a:lnTo>
                  <a:lnTo>
                    <a:pt x="242" y="731"/>
                  </a:lnTo>
                  <a:lnTo>
                    <a:pt x="243" y="738"/>
                  </a:lnTo>
                  <a:lnTo>
                    <a:pt x="242" y="742"/>
                  </a:lnTo>
                  <a:lnTo>
                    <a:pt x="241" y="751"/>
                  </a:lnTo>
                  <a:lnTo>
                    <a:pt x="238" y="758"/>
                  </a:lnTo>
                  <a:lnTo>
                    <a:pt x="236" y="767"/>
                  </a:lnTo>
                  <a:lnTo>
                    <a:pt x="236" y="767"/>
                  </a:lnTo>
                  <a:lnTo>
                    <a:pt x="239" y="768"/>
                  </a:lnTo>
                  <a:lnTo>
                    <a:pt x="243" y="769"/>
                  </a:lnTo>
                  <a:lnTo>
                    <a:pt x="251" y="770"/>
                  </a:lnTo>
                  <a:lnTo>
                    <a:pt x="259" y="772"/>
                  </a:lnTo>
                  <a:lnTo>
                    <a:pt x="262" y="775"/>
                  </a:lnTo>
                  <a:lnTo>
                    <a:pt x="264" y="778"/>
                  </a:lnTo>
                  <a:lnTo>
                    <a:pt x="264" y="778"/>
                  </a:lnTo>
                  <a:lnTo>
                    <a:pt x="264" y="784"/>
                  </a:lnTo>
                  <a:lnTo>
                    <a:pt x="264" y="790"/>
                  </a:lnTo>
                  <a:lnTo>
                    <a:pt x="263" y="801"/>
                  </a:lnTo>
                  <a:lnTo>
                    <a:pt x="262" y="811"/>
                  </a:lnTo>
                  <a:lnTo>
                    <a:pt x="262" y="816"/>
                  </a:lnTo>
                  <a:lnTo>
                    <a:pt x="264" y="821"/>
                  </a:lnTo>
                  <a:lnTo>
                    <a:pt x="264" y="821"/>
                  </a:lnTo>
                  <a:lnTo>
                    <a:pt x="268" y="819"/>
                  </a:lnTo>
                  <a:lnTo>
                    <a:pt x="273" y="816"/>
                  </a:lnTo>
                  <a:lnTo>
                    <a:pt x="276" y="813"/>
                  </a:lnTo>
                  <a:lnTo>
                    <a:pt x="280" y="810"/>
                  </a:lnTo>
                  <a:lnTo>
                    <a:pt x="280" y="810"/>
                  </a:lnTo>
                  <a:lnTo>
                    <a:pt x="285" y="811"/>
                  </a:lnTo>
                  <a:lnTo>
                    <a:pt x="287" y="814"/>
                  </a:lnTo>
                  <a:lnTo>
                    <a:pt x="289" y="818"/>
                  </a:lnTo>
                  <a:lnTo>
                    <a:pt x="289" y="823"/>
                  </a:lnTo>
                  <a:lnTo>
                    <a:pt x="289" y="823"/>
                  </a:lnTo>
                  <a:lnTo>
                    <a:pt x="294" y="818"/>
                  </a:lnTo>
                  <a:lnTo>
                    <a:pt x="299" y="813"/>
                  </a:lnTo>
                  <a:lnTo>
                    <a:pt x="304" y="806"/>
                  </a:lnTo>
                  <a:lnTo>
                    <a:pt x="306" y="803"/>
                  </a:lnTo>
                  <a:lnTo>
                    <a:pt x="307" y="800"/>
                  </a:lnTo>
                  <a:lnTo>
                    <a:pt x="307" y="800"/>
                  </a:lnTo>
                  <a:lnTo>
                    <a:pt x="313" y="800"/>
                  </a:lnTo>
                  <a:lnTo>
                    <a:pt x="315" y="797"/>
                  </a:lnTo>
                  <a:lnTo>
                    <a:pt x="317" y="794"/>
                  </a:lnTo>
                  <a:lnTo>
                    <a:pt x="319" y="791"/>
                  </a:lnTo>
                  <a:lnTo>
                    <a:pt x="319" y="791"/>
                  </a:lnTo>
                  <a:lnTo>
                    <a:pt x="322" y="793"/>
                  </a:lnTo>
                  <a:lnTo>
                    <a:pt x="325" y="796"/>
                  </a:lnTo>
                  <a:lnTo>
                    <a:pt x="328" y="800"/>
                  </a:lnTo>
                  <a:lnTo>
                    <a:pt x="331" y="802"/>
                  </a:lnTo>
                  <a:lnTo>
                    <a:pt x="331" y="802"/>
                  </a:lnTo>
                  <a:lnTo>
                    <a:pt x="332" y="802"/>
                  </a:lnTo>
                  <a:lnTo>
                    <a:pt x="333" y="800"/>
                  </a:lnTo>
                  <a:lnTo>
                    <a:pt x="334" y="796"/>
                  </a:lnTo>
                  <a:lnTo>
                    <a:pt x="337" y="794"/>
                  </a:lnTo>
                  <a:lnTo>
                    <a:pt x="338" y="793"/>
                  </a:lnTo>
                  <a:lnTo>
                    <a:pt x="340" y="794"/>
                  </a:lnTo>
                  <a:lnTo>
                    <a:pt x="340" y="794"/>
                  </a:lnTo>
                  <a:lnTo>
                    <a:pt x="341" y="797"/>
                  </a:lnTo>
                  <a:lnTo>
                    <a:pt x="343" y="801"/>
                  </a:lnTo>
                  <a:lnTo>
                    <a:pt x="347" y="805"/>
                  </a:lnTo>
                  <a:lnTo>
                    <a:pt x="353" y="809"/>
                  </a:lnTo>
                  <a:lnTo>
                    <a:pt x="355" y="813"/>
                  </a:lnTo>
                  <a:lnTo>
                    <a:pt x="356" y="816"/>
                  </a:lnTo>
                  <a:lnTo>
                    <a:pt x="356" y="816"/>
                  </a:lnTo>
                  <a:lnTo>
                    <a:pt x="358" y="815"/>
                  </a:lnTo>
                  <a:lnTo>
                    <a:pt x="360" y="813"/>
                  </a:lnTo>
                  <a:lnTo>
                    <a:pt x="362" y="811"/>
                  </a:lnTo>
                  <a:lnTo>
                    <a:pt x="364" y="810"/>
                  </a:lnTo>
                  <a:lnTo>
                    <a:pt x="364" y="810"/>
                  </a:lnTo>
                  <a:lnTo>
                    <a:pt x="371" y="814"/>
                  </a:lnTo>
                  <a:lnTo>
                    <a:pt x="380" y="818"/>
                  </a:lnTo>
                  <a:lnTo>
                    <a:pt x="388" y="822"/>
                  </a:lnTo>
                  <a:lnTo>
                    <a:pt x="396" y="827"/>
                  </a:lnTo>
                  <a:lnTo>
                    <a:pt x="396" y="827"/>
                  </a:lnTo>
                  <a:lnTo>
                    <a:pt x="397" y="834"/>
                  </a:lnTo>
                  <a:lnTo>
                    <a:pt x="401" y="841"/>
                  </a:lnTo>
                  <a:lnTo>
                    <a:pt x="405" y="846"/>
                  </a:lnTo>
                  <a:lnTo>
                    <a:pt x="409" y="850"/>
                  </a:lnTo>
                  <a:lnTo>
                    <a:pt x="409" y="850"/>
                  </a:lnTo>
                  <a:lnTo>
                    <a:pt x="414" y="849"/>
                  </a:lnTo>
                  <a:lnTo>
                    <a:pt x="417" y="848"/>
                  </a:lnTo>
                  <a:lnTo>
                    <a:pt x="421" y="848"/>
                  </a:lnTo>
                  <a:lnTo>
                    <a:pt x="424" y="849"/>
                  </a:lnTo>
                  <a:lnTo>
                    <a:pt x="427" y="852"/>
                  </a:lnTo>
                  <a:lnTo>
                    <a:pt x="430" y="854"/>
                  </a:lnTo>
                  <a:lnTo>
                    <a:pt x="434" y="859"/>
                  </a:lnTo>
                  <a:lnTo>
                    <a:pt x="437" y="867"/>
                  </a:lnTo>
                  <a:lnTo>
                    <a:pt x="438" y="873"/>
                  </a:lnTo>
                  <a:lnTo>
                    <a:pt x="440" y="881"/>
                  </a:lnTo>
                  <a:lnTo>
                    <a:pt x="437" y="886"/>
                  </a:lnTo>
                  <a:lnTo>
                    <a:pt x="437" y="886"/>
                  </a:lnTo>
                  <a:lnTo>
                    <a:pt x="438" y="888"/>
                  </a:lnTo>
                  <a:lnTo>
                    <a:pt x="438" y="890"/>
                  </a:lnTo>
                  <a:lnTo>
                    <a:pt x="443" y="892"/>
                  </a:lnTo>
                  <a:lnTo>
                    <a:pt x="447" y="892"/>
                  </a:lnTo>
                  <a:lnTo>
                    <a:pt x="451" y="892"/>
                  </a:lnTo>
                  <a:lnTo>
                    <a:pt x="451" y="892"/>
                  </a:lnTo>
                  <a:lnTo>
                    <a:pt x="453" y="895"/>
                  </a:lnTo>
                  <a:lnTo>
                    <a:pt x="455" y="897"/>
                  </a:lnTo>
                  <a:lnTo>
                    <a:pt x="458" y="898"/>
                  </a:lnTo>
                  <a:lnTo>
                    <a:pt x="461" y="899"/>
                  </a:lnTo>
                  <a:lnTo>
                    <a:pt x="468" y="901"/>
                  </a:lnTo>
                  <a:lnTo>
                    <a:pt x="470" y="903"/>
                  </a:lnTo>
                  <a:lnTo>
                    <a:pt x="472" y="905"/>
                  </a:lnTo>
                  <a:lnTo>
                    <a:pt x="472" y="905"/>
                  </a:lnTo>
                  <a:lnTo>
                    <a:pt x="488" y="905"/>
                  </a:lnTo>
                  <a:lnTo>
                    <a:pt x="488" y="905"/>
                  </a:lnTo>
                  <a:lnTo>
                    <a:pt x="495" y="908"/>
                  </a:lnTo>
                  <a:lnTo>
                    <a:pt x="500" y="911"/>
                  </a:lnTo>
                  <a:lnTo>
                    <a:pt x="506" y="916"/>
                  </a:lnTo>
                  <a:lnTo>
                    <a:pt x="508" y="918"/>
                  </a:lnTo>
                  <a:lnTo>
                    <a:pt x="509" y="921"/>
                  </a:lnTo>
                  <a:lnTo>
                    <a:pt x="509" y="921"/>
                  </a:lnTo>
                  <a:lnTo>
                    <a:pt x="513" y="920"/>
                  </a:lnTo>
                  <a:lnTo>
                    <a:pt x="515" y="918"/>
                  </a:lnTo>
                  <a:lnTo>
                    <a:pt x="519" y="917"/>
                  </a:lnTo>
                  <a:lnTo>
                    <a:pt x="520" y="918"/>
                  </a:lnTo>
                  <a:lnTo>
                    <a:pt x="521" y="919"/>
                  </a:lnTo>
                  <a:lnTo>
                    <a:pt x="521" y="919"/>
                  </a:lnTo>
                  <a:lnTo>
                    <a:pt x="524" y="930"/>
                  </a:lnTo>
                  <a:lnTo>
                    <a:pt x="525" y="936"/>
                  </a:lnTo>
                  <a:lnTo>
                    <a:pt x="525" y="943"/>
                  </a:lnTo>
                  <a:lnTo>
                    <a:pt x="525" y="943"/>
                  </a:lnTo>
                  <a:lnTo>
                    <a:pt x="525" y="947"/>
                  </a:lnTo>
                  <a:lnTo>
                    <a:pt x="524" y="950"/>
                  </a:lnTo>
                  <a:lnTo>
                    <a:pt x="523" y="955"/>
                  </a:lnTo>
                  <a:lnTo>
                    <a:pt x="523" y="959"/>
                  </a:lnTo>
                  <a:lnTo>
                    <a:pt x="523" y="959"/>
                  </a:lnTo>
                  <a:lnTo>
                    <a:pt x="521" y="961"/>
                  </a:lnTo>
                  <a:lnTo>
                    <a:pt x="520" y="962"/>
                  </a:lnTo>
                  <a:lnTo>
                    <a:pt x="520" y="967"/>
                  </a:lnTo>
                  <a:lnTo>
                    <a:pt x="519" y="971"/>
                  </a:lnTo>
                  <a:lnTo>
                    <a:pt x="519" y="973"/>
                  </a:lnTo>
                  <a:lnTo>
                    <a:pt x="517" y="975"/>
                  </a:lnTo>
                  <a:lnTo>
                    <a:pt x="517" y="975"/>
                  </a:lnTo>
                  <a:lnTo>
                    <a:pt x="514" y="981"/>
                  </a:lnTo>
                  <a:lnTo>
                    <a:pt x="511" y="985"/>
                  </a:lnTo>
                  <a:lnTo>
                    <a:pt x="509" y="989"/>
                  </a:lnTo>
                  <a:lnTo>
                    <a:pt x="507" y="995"/>
                  </a:lnTo>
                  <a:lnTo>
                    <a:pt x="507" y="995"/>
                  </a:lnTo>
                  <a:lnTo>
                    <a:pt x="506" y="995"/>
                  </a:lnTo>
                  <a:lnTo>
                    <a:pt x="504" y="997"/>
                  </a:lnTo>
                  <a:lnTo>
                    <a:pt x="502" y="997"/>
                  </a:lnTo>
                  <a:lnTo>
                    <a:pt x="500" y="997"/>
                  </a:lnTo>
                  <a:lnTo>
                    <a:pt x="500" y="997"/>
                  </a:lnTo>
                  <a:lnTo>
                    <a:pt x="500" y="1002"/>
                  </a:lnTo>
                  <a:lnTo>
                    <a:pt x="499" y="1006"/>
                  </a:lnTo>
                  <a:lnTo>
                    <a:pt x="498" y="1009"/>
                  </a:lnTo>
                  <a:lnTo>
                    <a:pt x="496" y="1011"/>
                  </a:lnTo>
                  <a:lnTo>
                    <a:pt x="496" y="1011"/>
                  </a:lnTo>
                  <a:lnTo>
                    <a:pt x="498" y="1017"/>
                  </a:lnTo>
                  <a:lnTo>
                    <a:pt x="498" y="1025"/>
                  </a:lnTo>
                  <a:lnTo>
                    <a:pt x="498" y="1032"/>
                  </a:lnTo>
                  <a:lnTo>
                    <a:pt x="496" y="1037"/>
                  </a:lnTo>
                  <a:lnTo>
                    <a:pt x="493" y="1050"/>
                  </a:lnTo>
                  <a:lnTo>
                    <a:pt x="492" y="1056"/>
                  </a:lnTo>
                  <a:lnTo>
                    <a:pt x="491" y="1063"/>
                  </a:lnTo>
                  <a:lnTo>
                    <a:pt x="491" y="1063"/>
                  </a:lnTo>
                  <a:lnTo>
                    <a:pt x="481" y="1066"/>
                  </a:lnTo>
                  <a:lnTo>
                    <a:pt x="470" y="1071"/>
                  </a:lnTo>
                  <a:lnTo>
                    <a:pt x="470" y="1071"/>
                  </a:lnTo>
                  <a:lnTo>
                    <a:pt x="465" y="1079"/>
                  </a:lnTo>
                  <a:lnTo>
                    <a:pt x="458" y="1087"/>
                  </a:lnTo>
                  <a:lnTo>
                    <a:pt x="458" y="1087"/>
                  </a:lnTo>
                  <a:lnTo>
                    <a:pt x="458" y="1106"/>
                  </a:lnTo>
                  <a:lnTo>
                    <a:pt x="458" y="1106"/>
                  </a:lnTo>
                  <a:lnTo>
                    <a:pt x="454" y="1112"/>
                  </a:lnTo>
                  <a:lnTo>
                    <a:pt x="449" y="1117"/>
                  </a:lnTo>
                  <a:lnTo>
                    <a:pt x="447" y="1120"/>
                  </a:lnTo>
                  <a:lnTo>
                    <a:pt x="446" y="1124"/>
                  </a:lnTo>
                  <a:lnTo>
                    <a:pt x="445" y="1128"/>
                  </a:lnTo>
                  <a:lnTo>
                    <a:pt x="445" y="1133"/>
                  </a:lnTo>
                  <a:lnTo>
                    <a:pt x="445" y="1133"/>
                  </a:lnTo>
                  <a:lnTo>
                    <a:pt x="442" y="1133"/>
                  </a:lnTo>
                  <a:lnTo>
                    <a:pt x="441" y="1135"/>
                  </a:lnTo>
                  <a:lnTo>
                    <a:pt x="437" y="1137"/>
                  </a:lnTo>
                  <a:lnTo>
                    <a:pt x="436" y="1142"/>
                  </a:lnTo>
                  <a:lnTo>
                    <a:pt x="435" y="1146"/>
                  </a:lnTo>
                  <a:lnTo>
                    <a:pt x="435" y="1146"/>
                  </a:lnTo>
                  <a:lnTo>
                    <a:pt x="432" y="1148"/>
                  </a:lnTo>
                  <a:lnTo>
                    <a:pt x="431" y="1148"/>
                  </a:lnTo>
                  <a:lnTo>
                    <a:pt x="431" y="1150"/>
                  </a:lnTo>
                  <a:lnTo>
                    <a:pt x="431" y="1150"/>
                  </a:lnTo>
                  <a:lnTo>
                    <a:pt x="412" y="1150"/>
                  </a:lnTo>
                  <a:lnTo>
                    <a:pt x="412" y="1150"/>
                  </a:lnTo>
                  <a:lnTo>
                    <a:pt x="414" y="1156"/>
                  </a:lnTo>
                  <a:lnTo>
                    <a:pt x="416" y="1162"/>
                  </a:lnTo>
                  <a:lnTo>
                    <a:pt x="417" y="1168"/>
                  </a:lnTo>
                  <a:lnTo>
                    <a:pt x="417" y="1177"/>
                  </a:lnTo>
                  <a:lnTo>
                    <a:pt x="417" y="1177"/>
                  </a:lnTo>
                  <a:lnTo>
                    <a:pt x="410" y="1180"/>
                  </a:lnTo>
                  <a:lnTo>
                    <a:pt x="405" y="1183"/>
                  </a:lnTo>
                  <a:lnTo>
                    <a:pt x="399" y="1187"/>
                  </a:lnTo>
                  <a:lnTo>
                    <a:pt x="395" y="1188"/>
                  </a:lnTo>
                  <a:lnTo>
                    <a:pt x="391" y="1188"/>
                  </a:lnTo>
                  <a:lnTo>
                    <a:pt x="391" y="1188"/>
                  </a:lnTo>
                  <a:lnTo>
                    <a:pt x="389" y="1195"/>
                  </a:lnTo>
                  <a:lnTo>
                    <a:pt x="386" y="1202"/>
                  </a:lnTo>
                  <a:lnTo>
                    <a:pt x="384" y="1205"/>
                  </a:lnTo>
                  <a:lnTo>
                    <a:pt x="381" y="1206"/>
                  </a:lnTo>
                  <a:lnTo>
                    <a:pt x="378" y="1207"/>
                  </a:lnTo>
                  <a:lnTo>
                    <a:pt x="372" y="1206"/>
                  </a:lnTo>
                  <a:lnTo>
                    <a:pt x="372" y="1206"/>
                  </a:lnTo>
                  <a:lnTo>
                    <a:pt x="376" y="1207"/>
                  </a:lnTo>
                  <a:lnTo>
                    <a:pt x="378" y="1208"/>
                  </a:lnTo>
                  <a:lnTo>
                    <a:pt x="380" y="1213"/>
                  </a:lnTo>
                  <a:lnTo>
                    <a:pt x="381" y="1217"/>
                  </a:lnTo>
                  <a:lnTo>
                    <a:pt x="381" y="1223"/>
                  </a:lnTo>
                  <a:lnTo>
                    <a:pt x="380" y="1229"/>
                  </a:lnTo>
                  <a:lnTo>
                    <a:pt x="378" y="1235"/>
                  </a:lnTo>
                  <a:lnTo>
                    <a:pt x="372" y="1244"/>
                  </a:lnTo>
                  <a:lnTo>
                    <a:pt x="372" y="1244"/>
                  </a:lnTo>
                  <a:lnTo>
                    <a:pt x="372" y="1247"/>
                  </a:lnTo>
                  <a:lnTo>
                    <a:pt x="373" y="1249"/>
                  </a:lnTo>
                  <a:lnTo>
                    <a:pt x="376" y="1253"/>
                  </a:lnTo>
                  <a:lnTo>
                    <a:pt x="379" y="1255"/>
                  </a:lnTo>
                  <a:lnTo>
                    <a:pt x="380" y="1258"/>
                  </a:lnTo>
                  <a:lnTo>
                    <a:pt x="380" y="1260"/>
                  </a:lnTo>
                  <a:lnTo>
                    <a:pt x="380" y="1260"/>
                  </a:lnTo>
                  <a:lnTo>
                    <a:pt x="379" y="1266"/>
                  </a:lnTo>
                  <a:lnTo>
                    <a:pt x="377" y="1269"/>
                  </a:lnTo>
                  <a:lnTo>
                    <a:pt x="375" y="1270"/>
                  </a:lnTo>
                  <a:lnTo>
                    <a:pt x="370" y="1271"/>
                  </a:lnTo>
                  <a:lnTo>
                    <a:pt x="370" y="1271"/>
                  </a:lnTo>
                  <a:lnTo>
                    <a:pt x="370" y="1276"/>
                  </a:lnTo>
                  <a:lnTo>
                    <a:pt x="369" y="1278"/>
                  </a:lnTo>
                  <a:lnTo>
                    <a:pt x="366" y="1283"/>
                  </a:lnTo>
                  <a:lnTo>
                    <a:pt x="364" y="1289"/>
                  </a:lnTo>
                  <a:lnTo>
                    <a:pt x="364" y="1292"/>
                  </a:lnTo>
                  <a:lnTo>
                    <a:pt x="364" y="1296"/>
                  </a:lnTo>
                  <a:lnTo>
                    <a:pt x="364" y="1296"/>
                  </a:lnTo>
                  <a:lnTo>
                    <a:pt x="363" y="1299"/>
                  </a:lnTo>
                  <a:lnTo>
                    <a:pt x="364" y="1302"/>
                  </a:lnTo>
                  <a:lnTo>
                    <a:pt x="365" y="1303"/>
                  </a:lnTo>
                  <a:lnTo>
                    <a:pt x="367" y="1303"/>
                  </a:lnTo>
                  <a:lnTo>
                    <a:pt x="369" y="1305"/>
                  </a:lnTo>
                  <a:lnTo>
                    <a:pt x="370" y="1307"/>
                  </a:lnTo>
                  <a:lnTo>
                    <a:pt x="370" y="1309"/>
                  </a:lnTo>
                  <a:lnTo>
                    <a:pt x="370" y="1309"/>
                  </a:lnTo>
                  <a:lnTo>
                    <a:pt x="372" y="1313"/>
                  </a:lnTo>
                  <a:lnTo>
                    <a:pt x="376" y="1317"/>
                  </a:lnTo>
                  <a:lnTo>
                    <a:pt x="380" y="1319"/>
                  </a:lnTo>
                  <a:lnTo>
                    <a:pt x="384" y="1320"/>
                  </a:lnTo>
                  <a:lnTo>
                    <a:pt x="384" y="1320"/>
                  </a:lnTo>
                  <a:lnTo>
                    <a:pt x="383" y="1323"/>
                  </a:lnTo>
                  <a:lnTo>
                    <a:pt x="381" y="1325"/>
                  </a:lnTo>
                  <a:lnTo>
                    <a:pt x="378" y="1325"/>
                  </a:lnTo>
                  <a:lnTo>
                    <a:pt x="375" y="1326"/>
                  </a:lnTo>
                  <a:lnTo>
                    <a:pt x="366" y="1325"/>
                  </a:lnTo>
                  <a:lnTo>
                    <a:pt x="358" y="1325"/>
                  </a:lnTo>
                  <a:lnTo>
                    <a:pt x="358" y="1325"/>
                  </a:lnTo>
                  <a:lnTo>
                    <a:pt x="353" y="1321"/>
                  </a:lnTo>
                  <a:lnTo>
                    <a:pt x="350" y="1320"/>
                  </a:lnTo>
                  <a:lnTo>
                    <a:pt x="345" y="1318"/>
                  </a:lnTo>
                  <a:lnTo>
                    <a:pt x="345" y="1318"/>
                  </a:lnTo>
                  <a:lnTo>
                    <a:pt x="345" y="1318"/>
                  </a:lnTo>
                  <a:lnTo>
                    <a:pt x="345" y="1318"/>
                  </a:lnTo>
                  <a:lnTo>
                    <a:pt x="344" y="1315"/>
                  </a:lnTo>
                  <a:lnTo>
                    <a:pt x="343" y="1312"/>
                  </a:lnTo>
                  <a:lnTo>
                    <a:pt x="343" y="1310"/>
                  </a:lnTo>
                  <a:lnTo>
                    <a:pt x="342" y="1307"/>
                  </a:lnTo>
                  <a:lnTo>
                    <a:pt x="342" y="1307"/>
                  </a:lnTo>
                  <a:lnTo>
                    <a:pt x="340" y="1305"/>
                  </a:lnTo>
                  <a:lnTo>
                    <a:pt x="338" y="1302"/>
                  </a:lnTo>
                  <a:lnTo>
                    <a:pt x="335" y="1294"/>
                  </a:lnTo>
                  <a:lnTo>
                    <a:pt x="332" y="1286"/>
                  </a:lnTo>
                  <a:lnTo>
                    <a:pt x="331" y="1282"/>
                  </a:lnTo>
                  <a:lnTo>
                    <a:pt x="329" y="1280"/>
                  </a:lnTo>
                  <a:lnTo>
                    <a:pt x="329" y="1280"/>
                  </a:lnTo>
                  <a:lnTo>
                    <a:pt x="330" y="1274"/>
                  </a:lnTo>
                  <a:lnTo>
                    <a:pt x="330" y="1269"/>
                  </a:lnTo>
                  <a:lnTo>
                    <a:pt x="330" y="1264"/>
                  </a:lnTo>
                  <a:lnTo>
                    <a:pt x="329" y="1259"/>
                  </a:lnTo>
                  <a:lnTo>
                    <a:pt x="326" y="1248"/>
                  </a:lnTo>
                  <a:lnTo>
                    <a:pt x="324" y="1236"/>
                  </a:lnTo>
                  <a:lnTo>
                    <a:pt x="324" y="1236"/>
                  </a:lnTo>
                  <a:lnTo>
                    <a:pt x="325" y="1233"/>
                  </a:lnTo>
                  <a:lnTo>
                    <a:pt x="326" y="1230"/>
                  </a:lnTo>
                  <a:lnTo>
                    <a:pt x="325" y="1225"/>
                  </a:lnTo>
                  <a:lnTo>
                    <a:pt x="325" y="1219"/>
                  </a:lnTo>
                  <a:lnTo>
                    <a:pt x="325" y="1217"/>
                  </a:lnTo>
                  <a:lnTo>
                    <a:pt x="326" y="1215"/>
                  </a:lnTo>
                  <a:lnTo>
                    <a:pt x="326" y="1215"/>
                  </a:lnTo>
                  <a:lnTo>
                    <a:pt x="327" y="1212"/>
                  </a:lnTo>
                  <a:lnTo>
                    <a:pt x="326" y="1210"/>
                  </a:lnTo>
                  <a:lnTo>
                    <a:pt x="324" y="1209"/>
                  </a:lnTo>
                  <a:lnTo>
                    <a:pt x="321" y="1208"/>
                  </a:lnTo>
                  <a:lnTo>
                    <a:pt x="321" y="1206"/>
                  </a:lnTo>
                  <a:lnTo>
                    <a:pt x="321" y="1204"/>
                  </a:lnTo>
                  <a:lnTo>
                    <a:pt x="321" y="1204"/>
                  </a:lnTo>
                  <a:lnTo>
                    <a:pt x="324" y="1202"/>
                  </a:lnTo>
                  <a:lnTo>
                    <a:pt x="326" y="1200"/>
                  </a:lnTo>
                  <a:lnTo>
                    <a:pt x="329" y="1196"/>
                  </a:lnTo>
                  <a:lnTo>
                    <a:pt x="331" y="1195"/>
                  </a:lnTo>
                  <a:lnTo>
                    <a:pt x="332" y="1192"/>
                  </a:lnTo>
                  <a:lnTo>
                    <a:pt x="333" y="1189"/>
                  </a:lnTo>
                  <a:lnTo>
                    <a:pt x="333" y="1184"/>
                  </a:lnTo>
                  <a:lnTo>
                    <a:pt x="333" y="1184"/>
                  </a:lnTo>
                  <a:lnTo>
                    <a:pt x="332" y="1182"/>
                  </a:lnTo>
                  <a:lnTo>
                    <a:pt x="331" y="1182"/>
                  </a:lnTo>
                  <a:lnTo>
                    <a:pt x="328" y="1183"/>
                  </a:lnTo>
                  <a:lnTo>
                    <a:pt x="325" y="1184"/>
                  </a:lnTo>
                  <a:lnTo>
                    <a:pt x="322" y="1184"/>
                  </a:lnTo>
                  <a:lnTo>
                    <a:pt x="321" y="1182"/>
                  </a:lnTo>
                  <a:lnTo>
                    <a:pt x="321" y="1182"/>
                  </a:lnTo>
                  <a:lnTo>
                    <a:pt x="322" y="1175"/>
                  </a:lnTo>
                  <a:lnTo>
                    <a:pt x="324" y="1167"/>
                  </a:lnTo>
                  <a:lnTo>
                    <a:pt x="325" y="1150"/>
                  </a:lnTo>
                  <a:lnTo>
                    <a:pt x="326" y="1142"/>
                  </a:lnTo>
                  <a:lnTo>
                    <a:pt x="327" y="1135"/>
                  </a:lnTo>
                  <a:lnTo>
                    <a:pt x="329" y="1129"/>
                  </a:lnTo>
                  <a:lnTo>
                    <a:pt x="333" y="1125"/>
                  </a:lnTo>
                  <a:lnTo>
                    <a:pt x="333" y="1125"/>
                  </a:lnTo>
                  <a:lnTo>
                    <a:pt x="333" y="1118"/>
                  </a:lnTo>
                  <a:lnTo>
                    <a:pt x="333" y="1113"/>
                  </a:lnTo>
                  <a:lnTo>
                    <a:pt x="332" y="1101"/>
                  </a:lnTo>
                  <a:lnTo>
                    <a:pt x="331" y="1091"/>
                  </a:lnTo>
                  <a:lnTo>
                    <a:pt x="331" y="1086"/>
                  </a:lnTo>
                  <a:lnTo>
                    <a:pt x="333" y="1081"/>
                  </a:lnTo>
                  <a:lnTo>
                    <a:pt x="333" y="1081"/>
                  </a:lnTo>
                  <a:lnTo>
                    <a:pt x="332" y="1075"/>
                  </a:lnTo>
                  <a:lnTo>
                    <a:pt x="330" y="1073"/>
                  </a:lnTo>
                  <a:lnTo>
                    <a:pt x="329" y="1071"/>
                  </a:lnTo>
                  <a:lnTo>
                    <a:pt x="329" y="1071"/>
                  </a:lnTo>
                  <a:lnTo>
                    <a:pt x="330" y="1067"/>
                  </a:lnTo>
                  <a:lnTo>
                    <a:pt x="331" y="1064"/>
                  </a:lnTo>
                  <a:lnTo>
                    <a:pt x="332" y="1061"/>
                  </a:lnTo>
                  <a:lnTo>
                    <a:pt x="333" y="1058"/>
                  </a:lnTo>
                  <a:lnTo>
                    <a:pt x="333" y="1058"/>
                  </a:lnTo>
                  <a:lnTo>
                    <a:pt x="333" y="1051"/>
                  </a:lnTo>
                  <a:lnTo>
                    <a:pt x="332" y="1046"/>
                  </a:lnTo>
                  <a:lnTo>
                    <a:pt x="329" y="1036"/>
                  </a:lnTo>
                  <a:lnTo>
                    <a:pt x="325" y="1028"/>
                  </a:lnTo>
                  <a:lnTo>
                    <a:pt x="321" y="1020"/>
                  </a:lnTo>
                  <a:lnTo>
                    <a:pt x="321" y="1020"/>
                  </a:lnTo>
                  <a:lnTo>
                    <a:pt x="317" y="1017"/>
                  </a:lnTo>
                  <a:lnTo>
                    <a:pt x="313" y="1015"/>
                  </a:lnTo>
                  <a:lnTo>
                    <a:pt x="309" y="1012"/>
                  </a:lnTo>
                  <a:lnTo>
                    <a:pt x="307" y="1009"/>
                  </a:lnTo>
                  <a:lnTo>
                    <a:pt x="302" y="1001"/>
                  </a:lnTo>
                  <a:lnTo>
                    <a:pt x="295" y="995"/>
                  </a:lnTo>
                  <a:lnTo>
                    <a:pt x="295" y="995"/>
                  </a:lnTo>
                  <a:lnTo>
                    <a:pt x="295" y="990"/>
                  </a:lnTo>
                  <a:lnTo>
                    <a:pt x="296" y="987"/>
                  </a:lnTo>
                  <a:lnTo>
                    <a:pt x="298" y="985"/>
                  </a:lnTo>
                  <a:lnTo>
                    <a:pt x="299" y="982"/>
                  </a:lnTo>
                  <a:lnTo>
                    <a:pt x="299" y="982"/>
                  </a:lnTo>
                  <a:lnTo>
                    <a:pt x="290" y="976"/>
                  </a:lnTo>
                  <a:lnTo>
                    <a:pt x="286" y="973"/>
                  </a:lnTo>
                  <a:lnTo>
                    <a:pt x="282" y="970"/>
                  </a:lnTo>
                  <a:lnTo>
                    <a:pt x="280" y="965"/>
                  </a:lnTo>
                  <a:lnTo>
                    <a:pt x="278" y="960"/>
                  </a:lnTo>
                  <a:lnTo>
                    <a:pt x="277" y="953"/>
                  </a:lnTo>
                  <a:lnTo>
                    <a:pt x="277" y="946"/>
                  </a:lnTo>
                  <a:lnTo>
                    <a:pt x="277" y="946"/>
                  </a:lnTo>
                  <a:lnTo>
                    <a:pt x="285" y="944"/>
                  </a:lnTo>
                  <a:lnTo>
                    <a:pt x="287" y="943"/>
                  </a:lnTo>
                  <a:lnTo>
                    <a:pt x="289" y="940"/>
                  </a:lnTo>
                  <a:lnTo>
                    <a:pt x="289" y="940"/>
                  </a:lnTo>
                  <a:lnTo>
                    <a:pt x="285" y="937"/>
                  </a:lnTo>
                  <a:lnTo>
                    <a:pt x="280" y="935"/>
                  </a:lnTo>
                  <a:lnTo>
                    <a:pt x="276" y="933"/>
                  </a:lnTo>
                  <a:lnTo>
                    <a:pt x="273" y="930"/>
                  </a:lnTo>
                  <a:lnTo>
                    <a:pt x="273" y="930"/>
                  </a:lnTo>
                  <a:lnTo>
                    <a:pt x="275" y="926"/>
                  </a:lnTo>
                  <a:lnTo>
                    <a:pt x="276" y="922"/>
                  </a:lnTo>
                  <a:lnTo>
                    <a:pt x="276" y="919"/>
                  </a:lnTo>
                  <a:lnTo>
                    <a:pt x="275" y="914"/>
                  </a:lnTo>
                  <a:lnTo>
                    <a:pt x="273" y="905"/>
                  </a:lnTo>
                  <a:lnTo>
                    <a:pt x="272" y="898"/>
                  </a:lnTo>
                  <a:lnTo>
                    <a:pt x="273" y="892"/>
                  </a:lnTo>
                  <a:lnTo>
                    <a:pt x="273" y="892"/>
                  </a:lnTo>
                  <a:lnTo>
                    <a:pt x="274" y="888"/>
                  </a:lnTo>
                  <a:lnTo>
                    <a:pt x="275" y="885"/>
                  </a:lnTo>
                  <a:lnTo>
                    <a:pt x="278" y="880"/>
                  </a:lnTo>
                  <a:lnTo>
                    <a:pt x="281" y="873"/>
                  </a:lnTo>
                  <a:lnTo>
                    <a:pt x="282" y="869"/>
                  </a:lnTo>
                  <a:lnTo>
                    <a:pt x="282" y="865"/>
                  </a:lnTo>
                  <a:lnTo>
                    <a:pt x="282" y="865"/>
                  </a:lnTo>
                  <a:lnTo>
                    <a:pt x="282" y="860"/>
                  </a:lnTo>
                  <a:lnTo>
                    <a:pt x="283" y="858"/>
                  </a:lnTo>
                  <a:lnTo>
                    <a:pt x="286" y="856"/>
                  </a:lnTo>
                  <a:lnTo>
                    <a:pt x="287" y="854"/>
                  </a:lnTo>
                  <a:lnTo>
                    <a:pt x="287" y="854"/>
                  </a:lnTo>
                  <a:lnTo>
                    <a:pt x="282" y="842"/>
                  </a:lnTo>
                  <a:lnTo>
                    <a:pt x="281" y="836"/>
                  </a:lnTo>
                  <a:lnTo>
                    <a:pt x="280" y="829"/>
                  </a:lnTo>
                  <a:lnTo>
                    <a:pt x="280" y="829"/>
                  </a:lnTo>
                  <a:lnTo>
                    <a:pt x="277" y="831"/>
                  </a:lnTo>
                  <a:lnTo>
                    <a:pt x="276" y="833"/>
                  </a:lnTo>
                  <a:lnTo>
                    <a:pt x="273" y="840"/>
                  </a:lnTo>
                  <a:lnTo>
                    <a:pt x="273" y="840"/>
                  </a:lnTo>
                  <a:lnTo>
                    <a:pt x="268" y="839"/>
                  </a:lnTo>
                  <a:lnTo>
                    <a:pt x="265" y="835"/>
                  </a:lnTo>
                  <a:lnTo>
                    <a:pt x="260" y="830"/>
                  </a:lnTo>
                  <a:lnTo>
                    <a:pt x="253" y="824"/>
                  </a:lnTo>
                  <a:lnTo>
                    <a:pt x="250" y="822"/>
                  </a:lnTo>
                  <a:lnTo>
                    <a:pt x="245" y="821"/>
                  </a:lnTo>
                  <a:lnTo>
                    <a:pt x="245" y="821"/>
                  </a:lnTo>
                  <a:lnTo>
                    <a:pt x="245" y="813"/>
                  </a:lnTo>
                  <a:lnTo>
                    <a:pt x="245" y="813"/>
                  </a:lnTo>
                  <a:lnTo>
                    <a:pt x="238" y="807"/>
                  </a:lnTo>
                  <a:lnTo>
                    <a:pt x="236" y="804"/>
                  </a:lnTo>
                  <a:lnTo>
                    <a:pt x="234" y="800"/>
                  </a:lnTo>
                  <a:lnTo>
                    <a:pt x="234" y="800"/>
                  </a:lnTo>
                  <a:lnTo>
                    <a:pt x="228" y="798"/>
                  </a:lnTo>
                  <a:lnTo>
                    <a:pt x="225" y="797"/>
                  </a:lnTo>
                  <a:lnTo>
                    <a:pt x="221" y="796"/>
                  </a:lnTo>
                  <a:lnTo>
                    <a:pt x="215" y="796"/>
                  </a:lnTo>
                  <a:lnTo>
                    <a:pt x="215" y="796"/>
                  </a:lnTo>
                  <a:lnTo>
                    <a:pt x="210" y="788"/>
                  </a:lnTo>
                  <a:lnTo>
                    <a:pt x="205" y="778"/>
                  </a:lnTo>
                  <a:lnTo>
                    <a:pt x="205" y="778"/>
                  </a:lnTo>
                  <a:lnTo>
                    <a:pt x="198" y="779"/>
                  </a:lnTo>
                  <a:lnTo>
                    <a:pt x="190" y="779"/>
                  </a:lnTo>
                  <a:lnTo>
                    <a:pt x="184" y="777"/>
                  </a:lnTo>
                  <a:lnTo>
                    <a:pt x="177" y="775"/>
                  </a:lnTo>
                  <a:lnTo>
                    <a:pt x="165" y="769"/>
                  </a:lnTo>
                  <a:lnTo>
                    <a:pt x="159" y="766"/>
                  </a:lnTo>
                  <a:lnTo>
                    <a:pt x="152" y="764"/>
                  </a:lnTo>
                  <a:lnTo>
                    <a:pt x="152" y="764"/>
                  </a:lnTo>
                  <a:lnTo>
                    <a:pt x="148" y="755"/>
                  </a:lnTo>
                  <a:lnTo>
                    <a:pt x="145" y="746"/>
                  </a:lnTo>
                  <a:lnTo>
                    <a:pt x="142" y="736"/>
                  </a:lnTo>
                  <a:lnTo>
                    <a:pt x="142" y="730"/>
                  </a:lnTo>
                  <a:lnTo>
                    <a:pt x="142" y="724"/>
                  </a:lnTo>
                  <a:lnTo>
                    <a:pt x="142" y="724"/>
                  </a:lnTo>
                  <a:lnTo>
                    <a:pt x="134" y="712"/>
                  </a:lnTo>
                  <a:lnTo>
                    <a:pt x="124" y="702"/>
                  </a:lnTo>
                  <a:lnTo>
                    <a:pt x="124" y="702"/>
                  </a:lnTo>
                  <a:lnTo>
                    <a:pt x="124" y="695"/>
                  </a:lnTo>
                  <a:lnTo>
                    <a:pt x="123" y="693"/>
                  </a:lnTo>
                  <a:lnTo>
                    <a:pt x="120" y="693"/>
                  </a:lnTo>
                  <a:lnTo>
                    <a:pt x="120" y="693"/>
                  </a:lnTo>
                  <a:lnTo>
                    <a:pt x="121" y="702"/>
                  </a:lnTo>
                  <a:lnTo>
                    <a:pt x="122" y="707"/>
                  </a:lnTo>
                  <a:lnTo>
                    <a:pt x="124" y="712"/>
                  </a:lnTo>
                  <a:lnTo>
                    <a:pt x="124" y="718"/>
                  </a:lnTo>
                  <a:lnTo>
                    <a:pt x="124" y="718"/>
                  </a:lnTo>
                  <a:lnTo>
                    <a:pt x="122" y="718"/>
                  </a:lnTo>
                  <a:lnTo>
                    <a:pt x="120" y="718"/>
                  </a:lnTo>
                  <a:lnTo>
                    <a:pt x="118" y="716"/>
                  </a:lnTo>
                  <a:lnTo>
                    <a:pt x="114" y="715"/>
                  </a:lnTo>
                  <a:lnTo>
                    <a:pt x="113" y="715"/>
                  </a:lnTo>
                  <a:lnTo>
                    <a:pt x="110" y="715"/>
                  </a:lnTo>
                  <a:lnTo>
                    <a:pt x="110" y="715"/>
                  </a:lnTo>
                  <a:lnTo>
                    <a:pt x="105" y="699"/>
                  </a:lnTo>
                  <a:lnTo>
                    <a:pt x="100" y="692"/>
                  </a:lnTo>
                  <a:lnTo>
                    <a:pt x="97" y="690"/>
                  </a:lnTo>
                  <a:lnTo>
                    <a:pt x="94" y="688"/>
                  </a:lnTo>
                  <a:lnTo>
                    <a:pt x="94" y="688"/>
                  </a:lnTo>
                  <a:lnTo>
                    <a:pt x="95" y="682"/>
                  </a:lnTo>
                  <a:lnTo>
                    <a:pt x="95" y="681"/>
                  </a:lnTo>
                  <a:lnTo>
                    <a:pt x="96" y="680"/>
                  </a:lnTo>
                  <a:lnTo>
                    <a:pt x="96" y="680"/>
                  </a:lnTo>
                  <a:lnTo>
                    <a:pt x="94" y="676"/>
                  </a:lnTo>
                  <a:lnTo>
                    <a:pt x="92" y="672"/>
                  </a:lnTo>
                  <a:lnTo>
                    <a:pt x="89" y="662"/>
                  </a:lnTo>
                  <a:lnTo>
                    <a:pt x="86" y="651"/>
                  </a:lnTo>
                  <a:lnTo>
                    <a:pt x="85" y="647"/>
                  </a:lnTo>
                  <a:lnTo>
                    <a:pt x="83" y="642"/>
                  </a:lnTo>
                  <a:lnTo>
                    <a:pt x="83" y="642"/>
                  </a:lnTo>
                  <a:lnTo>
                    <a:pt x="77" y="636"/>
                  </a:lnTo>
                  <a:lnTo>
                    <a:pt x="77" y="636"/>
                  </a:lnTo>
                  <a:lnTo>
                    <a:pt x="82" y="614"/>
                  </a:lnTo>
                  <a:lnTo>
                    <a:pt x="86" y="591"/>
                  </a:lnTo>
                  <a:lnTo>
                    <a:pt x="93" y="570"/>
                  </a:lnTo>
                  <a:lnTo>
                    <a:pt x="99" y="549"/>
                  </a:lnTo>
                  <a:lnTo>
                    <a:pt x="106" y="527"/>
                  </a:lnTo>
                  <a:lnTo>
                    <a:pt x="114" y="507"/>
                  </a:lnTo>
                  <a:lnTo>
                    <a:pt x="122" y="486"/>
                  </a:lnTo>
                  <a:lnTo>
                    <a:pt x="132" y="466"/>
                  </a:lnTo>
                  <a:lnTo>
                    <a:pt x="141" y="446"/>
                  </a:lnTo>
                  <a:lnTo>
                    <a:pt x="151" y="427"/>
                  </a:lnTo>
                  <a:lnTo>
                    <a:pt x="162" y="407"/>
                  </a:lnTo>
                  <a:lnTo>
                    <a:pt x="174" y="389"/>
                  </a:lnTo>
                  <a:lnTo>
                    <a:pt x="186" y="370"/>
                  </a:lnTo>
                  <a:lnTo>
                    <a:pt x="199" y="353"/>
                  </a:lnTo>
                  <a:lnTo>
                    <a:pt x="212" y="334"/>
                  </a:lnTo>
                  <a:lnTo>
                    <a:pt x="225" y="318"/>
                  </a:lnTo>
                  <a:lnTo>
                    <a:pt x="225" y="318"/>
                  </a:lnTo>
                  <a:close/>
                  <a:moveTo>
                    <a:pt x="312" y="230"/>
                  </a:moveTo>
                  <a:lnTo>
                    <a:pt x="312" y="230"/>
                  </a:lnTo>
                  <a:lnTo>
                    <a:pt x="341" y="206"/>
                  </a:lnTo>
                  <a:lnTo>
                    <a:pt x="372" y="185"/>
                  </a:lnTo>
                  <a:lnTo>
                    <a:pt x="405" y="164"/>
                  </a:lnTo>
                  <a:lnTo>
                    <a:pt x="437" y="146"/>
                  </a:lnTo>
                  <a:lnTo>
                    <a:pt x="437" y="146"/>
                  </a:lnTo>
                  <a:lnTo>
                    <a:pt x="440" y="147"/>
                  </a:lnTo>
                  <a:lnTo>
                    <a:pt x="442" y="148"/>
                  </a:lnTo>
                  <a:lnTo>
                    <a:pt x="444" y="148"/>
                  </a:lnTo>
                  <a:lnTo>
                    <a:pt x="445" y="150"/>
                  </a:lnTo>
                  <a:lnTo>
                    <a:pt x="445" y="150"/>
                  </a:lnTo>
                  <a:lnTo>
                    <a:pt x="443" y="156"/>
                  </a:lnTo>
                  <a:lnTo>
                    <a:pt x="440" y="159"/>
                  </a:lnTo>
                  <a:lnTo>
                    <a:pt x="436" y="161"/>
                  </a:lnTo>
                  <a:lnTo>
                    <a:pt x="433" y="162"/>
                  </a:lnTo>
                  <a:lnTo>
                    <a:pt x="424" y="162"/>
                  </a:lnTo>
                  <a:lnTo>
                    <a:pt x="420" y="163"/>
                  </a:lnTo>
                  <a:lnTo>
                    <a:pt x="417" y="164"/>
                  </a:lnTo>
                  <a:lnTo>
                    <a:pt x="417" y="164"/>
                  </a:lnTo>
                  <a:lnTo>
                    <a:pt x="416" y="164"/>
                  </a:lnTo>
                  <a:lnTo>
                    <a:pt x="415" y="165"/>
                  </a:lnTo>
                  <a:lnTo>
                    <a:pt x="416" y="169"/>
                  </a:lnTo>
                  <a:lnTo>
                    <a:pt x="417" y="173"/>
                  </a:lnTo>
                  <a:lnTo>
                    <a:pt x="417" y="175"/>
                  </a:lnTo>
                  <a:lnTo>
                    <a:pt x="417" y="178"/>
                  </a:lnTo>
                  <a:lnTo>
                    <a:pt x="417" y="178"/>
                  </a:lnTo>
                  <a:lnTo>
                    <a:pt x="411" y="178"/>
                  </a:lnTo>
                  <a:lnTo>
                    <a:pt x="406" y="180"/>
                  </a:lnTo>
                  <a:lnTo>
                    <a:pt x="403" y="184"/>
                  </a:lnTo>
                  <a:lnTo>
                    <a:pt x="401" y="189"/>
                  </a:lnTo>
                  <a:lnTo>
                    <a:pt x="401" y="189"/>
                  </a:lnTo>
                  <a:lnTo>
                    <a:pt x="395" y="188"/>
                  </a:lnTo>
                  <a:lnTo>
                    <a:pt x="392" y="189"/>
                  </a:lnTo>
                  <a:lnTo>
                    <a:pt x="389" y="190"/>
                  </a:lnTo>
                  <a:lnTo>
                    <a:pt x="385" y="192"/>
                  </a:lnTo>
                  <a:lnTo>
                    <a:pt x="380" y="197"/>
                  </a:lnTo>
                  <a:lnTo>
                    <a:pt x="377" y="199"/>
                  </a:lnTo>
                  <a:lnTo>
                    <a:pt x="372" y="200"/>
                  </a:lnTo>
                  <a:lnTo>
                    <a:pt x="372" y="200"/>
                  </a:lnTo>
                  <a:lnTo>
                    <a:pt x="372" y="205"/>
                  </a:lnTo>
                  <a:lnTo>
                    <a:pt x="372" y="210"/>
                  </a:lnTo>
                  <a:lnTo>
                    <a:pt x="370" y="213"/>
                  </a:lnTo>
                  <a:lnTo>
                    <a:pt x="368" y="215"/>
                  </a:lnTo>
                  <a:lnTo>
                    <a:pt x="364" y="221"/>
                  </a:lnTo>
                  <a:lnTo>
                    <a:pt x="362" y="225"/>
                  </a:lnTo>
                  <a:lnTo>
                    <a:pt x="362" y="229"/>
                  </a:lnTo>
                  <a:lnTo>
                    <a:pt x="362" y="229"/>
                  </a:lnTo>
                  <a:lnTo>
                    <a:pt x="345" y="229"/>
                  </a:lnTo>
                  <a:lnTo>
                    <a:pt x="345" y="229"/>
                  </a:lnTo>
                  <a:lnTo>
                    <a:pt x="345" y="231"/>
                  </a:lnTo>
                  <a:lnTo>
                    <a:pt x="345" y="232"/>
                  </a:lnTo>
                  <a:lnTo>
                    <a:pt x="350" y="232"/>
                  </a:lnTo>
                  <a:lnTo>
                    <a:pt x="353" y="231"/>
                  </a:lnTo>
                  <a:lnTo>
                    <a:pt x="354" y="232"/>
                  </a:lnTo>
                  <a:lnTo>
                    <a:pt x="354" y="235"/>
                  </a:lnTo>
                  <a:lnTo>
                    <a:pt x="354" y="235"/>
                  </a:lnTo>
                  <a:lnTo>
                    <a:pt x="354" y="239"/>
                  </a:lnTo>
                  <a:lnTo>
                    <a:pt x="352" y="242"/>
                  </a:lnTo>
                  <a:lnTo>
                    <a:pt x="348" y="243"/>
                  </a:lnTo>
                  <a:lnTo>
                    <a:pt x="345" y="243"/>
                  </a:lnTo>
                  <a:lnTo>
                    <a:pt x="345" y="243"/>
                  </a:lnTo>
                  <a:lnTo>
                    <a:pt x="343" y="247"/>
                  </a:lnTo>
                  <a:lnTo>
                    <a:pt x="342" y="249"/>
                  </a:lnTo>
                  <a:lnTo>
                    <a:pt x="340" y="251"/>
                  </a:lnTo>
                  <a:lnTo>
                    <a:pt x="338" y="252"/>
                  </a:lnTo>
                  <a:lnTo>
                    <a:pt x="332" y="253"/>
                  </a:lnTo>
                  <a:lnTo>
                    <a:pt x="326" y="253"/>
                  </a:lnTo>
                  <a:lnTo>
                    <a:pt x="313" y="251"/>
                  </a:lnTo>
                  <a:lnTo>
                    <a:pt x="305" y="251"/>
                  </a:lnTo>
                  <a:lnTo>
                    <a:pt x="299" y="251"/>
                  </a:lnTo>
                  <a:lnTo>
                    <a:pt x="299" y="251"/>
                  </a:lnTo>
                  <a:lnTo>
                    <a:pt x="298" y="248"/>
                  </a:lnTo>
                  <a:lnTo>
                    <a:pt x="295" y="245"/>
                  </a:lnTo>
                  <a:lnTo>
                    <a:pt x="295" y="245"/>
                  </a:lnTo>
                  <a:lnTo>
                    <a:pt x="304" y="238"/>
                  </a:lnTo>
                  <a:lnTo>
                    <a:pt x="304" y="238"/>
                  </a:lnTo>
                  <a:lnTo>
                    <a:pt x="308" y="239"/>
                  </a:lnTo>
                  <a:lnTo>
                    <a:pt x="314" y="241"/>
                  </a:lnTo>
                  <a:lnTo>
                    <a:pt x="320" y="241"/>
                  </a:lnTo>
                  <a:lnTo>
                    <a:pt x="326" y="240"/>
                  </a:lnTo>
                  <a:lnTo>
                    <a:pt x="326" y="240"/>
                  </a:lnTo>
                  <a:lnTo>
                    <a:pt x="324" y="236"/>
                  </a:lnTo>
                  <a:lnTo>
                    <a:pt x="320" y="232"/>
                  </a:lnTo>
                  <a:lnTo>
                    <a:pt x="316" y="231"/>
                  </a:lnTo>
                  <a:lnTo>
                    <a:pt x="312" y="230"/>
                  </a:lnTo>
                  <a:lnTo>
                    <a:pt x="312" y="230"/>
                  </a:lnTo>
                  <a:close/>
                  <a:moveTo>
                    <a:pt x="1376" y="438"/>
                  </a:moveTo>
                  <a:lnTo>
                    <a:pt x="1376" y="438"/>
                  </a:lnTo>
                  <a:lnTo>
                    <a:pt x="1371" y="444"/>
                  </a:lnTo>
                  <a:lnTo>
                    <a:pt x="1369" y="448"/>
                  </a:lnTo>
                  <a:lnTo>
                    <a:pt x="1367" y="451"/>
                  </a:lnTo>
                  <a:lnTo>
                    <a:pt x="1367" y="451"/>
                  </a:lnTo>
                  <a:lnTo>
                    <a:pt x="1369" y="456"/>
                  </a:lnTo>
                  <a:lnTo>
                    <a:pt x="1371" y="458"/>
                  </a:lnTo>
                  <a:lnTo>
                    <a:pt x="1372" y="459"/>
                  </a:lnTo>
                  <a:lnTo>
                    <a:pt x="1375" y="459"/>
                  </a:lnTo>
                  <a:lnTo>
                    <a:pt x="1380" y="457"/>
                  </a:lnTo>
                  <a:lnTo>
                    <a:pt x="1384" y="455"/>
                  </a:lnTo>
                  <a:lnTo>
                    <a:pt x="1384" y="455"/>
                  </a:lnTo>
                  <a:lnTo>
                    <a:pt x="1396" y="479"/>
                  </a:lnTo>
                  <a:lnTo>
                    <a:pt x="1396" y="479"/>
                  </a:lnTo>
                  <a:lnTo>
                    <a:pt x="1398" y="500"/>
                  </a:lnTo>
                  <a:lnTo>
                    <a:pt x="1398" y="511"/>
                  </a:lnTo>
                  <a:lnTo>
                    <a:pt x="1397" y="522"/>
                  </a:lnTo>
                  <a:lnTo>
                    <a:pt x="1397" y="522"/>
                  </a:lnTo>
                  <a:lnTo>
                    <a:pt x="1392" y="530"/>
                  </a:lnTo>
                  <a:lnTo>
                    <a:pt x="1387" y="538"/>
                  </a:lnTo>
                  <a:lnTo>
                    <a:pt x="1379" y="558"/>
                  </a:lnTo>
                  <a:lnTo>
                    <a:pt x="1379" y="558"/>
                  </a:lnTo>
                  <a:lnTo>
                    <a:pt x="1369" y="562"/>
                  </a:lnTo>
                  <a:lnTo>
                    <a:pt x="1364" y="565"/>
                  </a:lnTo>
                  <a:lnTo>
                    <a:pt x="1360" y="569"/>
                  </a:lnTo>
                  <a:lnTo>
                    <a:pt x="1360" y="569"/>
                  </a:lnTo>
                  <a:lnTo>
                    <a:pt x="1358" y="577"/>
                  </a:lnTo>
                  <a:lnTo>
                    <a:pt x="1358" y="586"/>
                  </a:lnTo>
                  <a:lnTo>
                    <a:pt x="1359" y="603"/>
                  </a:lnTo>
                  <a:lnTo>
                    <a:pt x="1360" y="612"/>
                  </a:lnTo>
                  <a:lnTo>
                    <a:pt x="1359" y="620"/>
                  </a:lnTo>
                  <a:lnTo>
                    <a:pt x="1357" y="626"/>
                  </a:lnTo>
                  <a:lnTo>
                    <a:pt x="1356" y="628"/>
                  </a:lnTo>
                  <a:lnTo>
                    <a:pt x="1354" y="631"/>
                  </a:lnTo>
                  <a:lnTo>
                    <a:pt x="1354" y="631"/>
                  </a:lnTo>
                  <a:lnTo>
                    <a:pt x="1348" y="628"/>
                  </a:lnTo>
                  <a:lnTo>
                    <a:pt x="1344" y="624"/>
                  </a:lnTo>
                  <a:lnTo>
                    <a:pt x="1343" y="622"/>
                  </a:lnTo>
                  <a:lnTo>
                    <a:pt x="1342" y="618"/>
                  </a:lnTo>
                  <a:lnTo>
                    <a:pt x="1342" y="614"/>
                  </a:lnTo>
                  <a:lnTo>
                    <a:pt x="1342" y="610"/>
                  </a:lnTo>
                  <a:lnTo>
                    <a:pt x="1342" y="610"/>
                  </a:lnTo>
                  <a:lnTo>
                    <a:pt x="1338" y="604"/>
                  </a:lnTo>
                  <a:lnTo>
                    <a:pt x="1334" y="600"/>
                  </a:lnTo>
                  <a:lnTo>
                    <a:pt x="1331" y="596"/>
                  </a:lnTo>
                  <a:lnTo>
                    <a:pt x="1328" y="590"/>
                  </a:lnTo>
                  <a:lnTo>
                    <a:pt x="1328" y="590"/>
                  </a:lnTo>
                  <a:lnTo>
                    <a:pt x="1323" y="591"/>
                  </a:lnTo>
                  <a:lnTo>
                    <a:pt x="1321" y="592"/>
                  </a:lnTo>
                  <a:lnTo>
                    <a:pt x="1321" y="595"/>
                  </a:lnTo>
                  <a:lnTo>
                    <a:pt x="1322" y="597"/>
                  </a:lnTo>
                  <a:lnTo>
                    <a:pt x="1324" y="602"/>
                  </a:lnTo>
                  <a:lnTo>
                    <a:pt x="1324" y="604"/>
                  </a:lnTo>
                  <a:lnTo>
                    <a:pt x="1323" y="607"/>
                  </a:lnTo>
                  <a:lnTo>
                    <a:pt x="1323" y="607"/>
                  </a:lnTo>
                  <a:lnTo>
                    <a:pt x="1323" y="610"/>
                  </a:lnTo>
                  <a:lnTo>
                    <a:pt x="1321" y="611"/>
                  </a:lnTo>
                  <a:lnTo>
                    <a:pt x="1319" y="612"/>
                  </a:lnTo>
                  <a:lnTo>
                    <a:pt x="1316" y="612"/>
                  </a:lnTo>
                  <a:lnTo>
                    <a:pt x="1316" y="612"/>
                  </a:lnTo>
                  <a:lnTo>
                    <a:pt x="1317" y="616"/>
                  </a:lnTo>
                  <a:lnTo>
                    <a:pt x="1316" y="620"/>
                  </a:lnTo>
                  <a:lnTo>
                    <a:pt x="1315" y="622"/>
                  </a:lnTo>
                  <a:lnTo>
                    <a:pt x="1313" y="625"/>
                  </a:lnTo>
                  <a:lnTo>
                    <a:pt x="1313" y="625"/>
                  </a:lnTo>
                  <a:lnTo>
                    <a:pt x="1315" y="630"/>
                  </a:lnTo>
                  <a:lnTo>
                    <a:pt x="1317" y="634"/>
                  </a:lnTo>
                  <a:lnTo>
                    <a:pt x="1323" y="639"/>
                  </a:lnTo>
                  <a:lnTo>
                    <a:pt x="1323" y="639"/>
                  </a:lnTo>
                  <a:lnTo>
                    <a:pt x="1323" y="644"/>
                  </a:lnTo>
                  <a:lnTo>
                    <a:pt x="1324" y="650"/>
                  </a:lnTo>
                  <a:lnTo>
                    <a:pt x="1326" y="653"/>
                  </a:lnTo>
                  <a:lnTo>
                    <a:pt x="1330" y="655"/>
                  </a:lnTo>
                  <a:lnTo>
                    <a:pt x="1330" y="655"/>
                  </a:lnTo>
                  <a:lnTo>
                    <a:pt x="1328" y="659"/>
                  </a:lnTo>
                  <a:lnTo>
                    <a:pt x="1326" y="663"/>
                  </a:lnTo>
                  <a:lnTo>
                    <a:pt x="1325" y="673"/>
                  </a:lnTo>
                  <a:lnTo>
                    <a:pt x="1324" y="684"/>
                  </a:lnTo>
                  <a:lnTo>
                    <a:pt x="1324" y="689"/>
                  </a:lnTo>
                  <a:lnTo>
                    <a:pt x="1323" y="693"/>
                  </a:lnTo>
                  <a:lnTo>
                    <a:pt x="1323" y="693"/>
                  </a:lnTo>
                  <a:lnTo>
                    <a:pt x="1321" y="694"/>
                  </a:lnTo>
                  <a:lnTo>
                    <a:pt x="1320" y="695"/>
                  </a:lnTo>
                  <a:lnTo>
                    <a:pt x="1319" y="697"/>
                  </a:lnTo>
                  <a:lnTo>
                    <a:pt x="1316" y="697"/>
                  </a:lnTo>
                  <a:lnTo>
                    <a:pt x="1316" y="697"/>
                  </a:lnTo>
                  <a:lnTo>
                    <a:pt x="1315" y="702"/>
                  </a:lnTo>
                  <a:lnTo>
                    <a:pt x="1312" y="708"/>
                  </a:lnTo>
                  <a:lnTo>
                    <a:pt x="1307" y="718"/>
                  </a:lnTo>
                  <a:lnTo>
                    <a:pt x="1295" y="737"/>
                  </a:lnTo>
                  <a:lnTo>
                    <a:pt x="1295" y="737"/>
                  </a:lnTo>
                  <a:lnTo>
                    <a:pt x="1286" y="737"/>
                  </a:lnTo>
                  <a:lnTo>
                    <a:pt x="1279" y="738"/>
                  </a:lnTo>
                  <a:lnTo>
                    <a:pt x="1276" y="739"/>
                  </a:lnTo>
                  <a:lnTo>
                    <a:pt x="1272" y="741"/>
                  </a:lnTo>
                  <a:lnTo>
                    <a:pt x="1271" y="744"/>
                  </a:lnTo>
                  <a:lnTo>
                    <a:pt x="1270" y="747"/>
                  </a:lnTo>
                  <a:lnTo>
                    <a:pt x="1270" y="747"/>
                  </a:lnTo>
                  <a:lnTo>
                    <a:pt x="1276" y="749"/>
                  </a:lnTo>
                  <a:lnTo>
                    <a:pt x="1279" y="751"/>
                  </a:lnTo>
                  <a:lnTo>
                    <a:pt x="1279" y="751"/>
                  </a:lnTo>
                  <a:lnTo>
                    <a:pt x="1276" y="761"/>
                  </a:lnTo>
                  <a:lnTo>
                    <a:pt x="1273" y="764"/>
                  </a:lnTo>
                  <a:lnTo>
                    <a:pt x="1272" y="766"/>
                  </a:lnTo>
                  <a:lnTo>
                    <a:pt x="1270" y="767"/>
                  </a:lnTo>
                  <a:lnTo>
                    <a:pt x="1270" y="767"/>
                  </a:lnTo>
                  <a:lnTo>
                    <a:pt x="1270" y="779"/>
                  </a:lnTo>
                  <a:lnTo>
                    <a:pt x="1270" y="790"/>
                  </a:lnTo>
                  <a:lnTo>
                    <a:pt x="1269" y="800"/>
                  </a:lnTo>
                  <a:lnTo>
                    <a:pt x="1266" y="807"/>
                  </a:lnTo>
                  <a:lnTo>
                    <a:pt x="1262" y="815"/>
                  </a:lnTo>
                  <a:lnTo>
                    <a:pt x="1258" y="820"/>
                  </a:lnTo>
                  <a:lnTo>
                    <a:pt x="1252" y="824"/>
                  </a:lnTo>
                  <a:lnTo>
                    <a:pt x="1244" y="827"/>
                  </a:lnTo>
                  <a:lnTo>
                    <a:pt x="1244" y="827"/>
                  </a:lnTo>
                  <a:lnTo>
                    <a:pt x="1244" y="820"/>
                  </a:lnTo>
                  <a:lnTo>
                    <a:pt x="1242" y="816"/>
                  </a:lnTo>
                  <a:lnTo>
                    <a:pt x="1242" y="816"/>
                  </a:lnTo>
                  <a:lnTo>
                    <a:pt x="1239" y="815"/>
                  </a:lnTo>
                  <a:lnTo>
                    <a:pt x="1235" y="813"/>
                  </a:lnTo>
                  <a:lnTo>
                    <a:pt x="1231" y="808"/>
                  </a:lnTo>
                  <a:lnTo>
                    <a:pt x="1227" y="803"/>
                  </a:lnTo>
                  <a:lnTo>
                    <a:pt x="1223" y="796"/>
                  </a:lnTo>
                  <a:lnTo>
                    <a:pt x="1223" y="796"/>
                  </a:lnTo>
                  <a:lnTo>
                    <a:pt x="1221" y="797"/>
                  </a:lnTo>
                  <a:lnTo>
                    <a:pt x="1219" y="800"/>
                  </a:lnTo>
                  <a:lnTo>
                    <a:pt x="1219" y="803"/>
                  </a:lnTo>
                  <a:lnTo>
                    <a:pt x="1218" y="806"/>
                  </a:lnTo>
                  <a:lnTo>
                    <a:pt x="1219" y="814"/>
                  </a:lnTo>
                  <a:lnTo>
                    <a:pt x="1219" y="821"/>
                  </a:lnTo>
                  <a:lnTo>
                    <a:pt x="1219" y="821"/>
                  </a:lnTo>
                  <a:lnTo>
                    <a:pt x="1221" y="827"/>
                  </a:lnTo>
                  <a:lnTo>
                    <a:pt x="1226" y="832"/>
                  </a:lnTo>
                  <a:lnTo>
                    <a:pt x="1235" y="840"/>
                  </a:lnTo>
                  <a:lnTo>
                    <a:pt x="1235" y="840"/>
                  </a:lnTo>
                  <a:lnTo>
                    <a:pt x="1235" y="845"/>
                  </a:lnTo>
                  <a:lnTo>
                    <a:pt x="1238" y="850"/>
                  </a:lnTo>
                  <a:lnTo>
                    <a:pt x="1241" y="858"/>
                  </a:lnTo>
                  <a:lnTo>
                    <a:pt x="1245" y="867"/>
                  </a:lnTo>
                  <a:lnTo>
                    <a:pt x="1246" y="872"/>
                  </a:lnTo>
                  <a:lnTo>
                    <a:pt x="1246" y="878"/>
                  </a:lnTo>
                  <a:lnTo>
                    <a:pt x="1246" y="878"/>
                  </a:lnTo>
                  <a:lnTo>
                    <a:pt x="1238" y="871"/>
                  </a:lnTo>
                  <a:lnTo>
                    <a:pt x="1228" y="862"/>
                  </a:lnTo>
                  <a:lnTo>
                    <a:pt x="1212" y="845"/>
                  </a:lnTo>
                  <a:lnTo>
                    <a:pt x="1212" y="845"/>
                  </a:lnTo>
                  <a:lnTo>
                    <a:pt x="1213" y="842"/>
                  </a:lnTo>
                  <a:lnTo>
                    <a:pt x="1213" y="839"/>
                  </a:lnTo>
                  <a:lnTo>
                    <a:pt x="1210" y="833"/>
                  </a:lnTo>
                  <a:lnTo>
                    <a:pt x="1208" y="829"/>
                  </a:lnTo>
                  <a:lnTo>
                    <a:pt x="1207" y="823"/>
                  </a:lnTo>
                  <a:lnTo>
                    <a:pt x="1207" y="823"/>
                  </a:lnTo>
                  <a:lnTo>
                    <a:pt x="1207" y="819"/>
                  </a:lnTo>
                  <a:lnTo>
                    <a:pt x="1208" y="816"/>
                  </a:lnTo>
                  <a:lnTo>
                    <a:pt x="1210" y="814"/>
                  </a:lnTo>
                  <a:lnTo>
                    <a:pt x="1212" y="810"/>
                  </a:lnTo>
                  <a:lnTo>
                    <a:pt x="1212" y="810"/>
                  </a:lnTo>
                  <a:lnTo>
                    <a:pt x="1210" y="804"/>
                  </a:lnTo>
                  <a:lnTo>
                    <a:pt x="1207" y="800"/>
                  </a:lnTo>
                  <a:lnTo>
                    <a:pt x="1204" y="796"/>
                  </a:lnTo>
                  <a:lnTo>
                    <a:pt x="1200" y="794"/>
                  </a:lnTo>
                  <a:lnTo>
                    <a:pt x="1200" y="794"/>
                  </a:lnTo>
                  <a:lnTo>
                    <a:pt x="1202" y="789"/>
                  </a:lnTo>
                  <a:lnTo>
                    <a:pt x="1202" y="784"/>
                  </a:lnTo>
                  <a:lnTo>
                    <a:pt x="1201" y="781"/>
                  </a:lnTo>
                  <a:lnTo>
                    <a:pt x="1203" y="778"/>
                  </a:lnTo>
                  <a:lnTo>
                    <a:pt x="1203" y="778"/>
                  </a:lnTo>
                  <a:lnTo>
                    <a:pt x="1201" y="776"/>
                  </a:lnTo>
                  <a:lnTo>
                    <a:pt x="1197" y="775"/>
                  </a:lnTo>
                  <a:lnTo>
                    <a:pt x="1190" y="775"/>
                  </a:lnTo>
                  <a:lnTo>
                    <a:pt x="1183" y="774"/>
                  </a:lnTo>
                  <a:lnTo>
                    <a:pt x="1181" y="772"/>
                  </a:lnTo>
                  <a:lnTo>
                    <a:pt x="1179" y="769"/>
                  </a:lnTo>
                  <a:lnTo>
                    <a:pt x="1179" y="769"/>
                  </a:lnTo>
                  <a:lnTo>
                    <a:pt x="1179" y="765"/>
                  </a:lnTo>
                  <a:lnTo>
                    <a:pt x="1180" y="763"/>
                  </a:lnTo>
                  <a:lnTo>
                    <a:pt x="1181" y="759"/>
                  </a:lnTo>
                  <a:lnTo>
                    <a:pt x="1181" y="756"/>
                  </a:lnTo>
                  <a:lnTo>
                    <a:pt x="1181" y="756"/>
                  </a:lnTo>
                  <a:lnTo>
                    <a:pt x="1179" y="754"/>
                  </a:lnTo>
                  <a:lnTo>
                    <a:pt x="1177" y="752"/>
                  </a:lnTo>
                  <a:lnTo>
                    <a:pt x="1174" y="745"/>
                  </a:lnTo>
                  <a:lnTo>
                    <a:pt x="1170" y="738"/>
                  </a:lnTo>
                  <a:lnTo>
                    <a:pt x="1167" y="731"/>
                  </a:lnTo>
                  <a:lnTo>
                    <a:pt x="1167" y="731"/>
                  </a:lnTo>
                  <a:lnTo>
                    <a:pt x="1162" y="733"/>
                  </a:lnTo>
                  <a:lnTo>
                    <a:pt x="1156" y="736"/>
                  </a:lnTo>
                  <a:lnTo>
                    <a:pt x="1151" y="739"/>
                  </a:lnTo>
                  <a:lnTo>
                    <a:pt x="1146" y="742"/>
                  </a:lnTo>
                  <a:lnTo>
                    <a:pt x="1146" y="742"/>
                  </a:lnTo>
                  <a:lnTo>
                    <a:pt x="1143" y="747"/>
                  </a:lnTo>
                  <a:lnTo>
                    <a:pt x="1140" y="752"/>
                  </a:lnTo>
                  <a:lnTo>
                    <a:pt x="1137" y="756"/>
                  </a:lnTo>
                  <a:lnTo>
                    <a:pt x="1136" y="759"/>
                  </a:lnTo>
                  <a:lnTo>
                    <a:pt x="1136" y="764"/>
                  </a:lnTo>
                  <a:lnTo>
                    <a:pt x="1136" y="764"/>
                  </a:lnTo>
                  <a:lnTo>
                    <a:pt x="1132" y="764"/>
                  </a:lnTo>
                  <a:lnTo>
                    <a:pt x="1131" y="765"/>
                  </a:lnTo>
                  <a:lnTo>
                    <a:pt x="1130" y="767"/>
                  </a:lnTo>
                  <a:lnTo>
                    <a:pt x="1129" y="769"/>
                  </a:lnTo>
                  <a:lnTo>
                    <a:pt x="1128" y="770"/>
                  </a:lnTo>
                  <a:lnTo>
                    <a:pt x="1126" y="770"/>
                  </a:lnTo>
                  <a:lnTo>
                    <a:pt x="1124" y="769"/>
                  </a:lnTo>
                  <a:lnTo>
                    <a:pt x="1124" y="769"/>
                  </a:lnTo>
                  <a:lnTo>
                    <a:pt x="1124" y="780"/>
                  </a:lnTo>
                  <a:lnTo>
                    <a:pt x="1124" y="780"/>
                  </a:lnTo>
                  <a:lnTo>
                    <a:pt x="1114" y="780"/>
                  </a:lnTo>
                  <a:lnTo>
                    <a:pt x="1114" y="780"/>
                  </a:lnTo>
                  <a:lnTo>
                    <a:pt x="1114" y="789"/>
                  </a:lnTo>
                  <a:lnTo>
                    <a:pt x="1114" y="795"/>
                  </a:lnTo>
                  <a:lnTo>
                    <a:pt x="1112" y="808"/>
                  </a:lnTo>
                  <a:lnTo>
                    <a:pt x="1107" y="820"/>
                  </a:lnTo>
                  <a:lnTo>
                    <a:pt x="1105" y="832"/>
                  </a:lnTo>
                  <a:lnTo>
                    <a:pt x="1105" y="832"/>
                  </a:lnTo>
                  <a:lnTo>
                    <a:pt x="1096" y="832"/>
                  </a:lnTo>
                  <a:lnTo>
                    <a:pt x="1091" y="831"/>
                  </a:lnTo>
                  <a:lnTo>
                    <a:pt x="1089" y="829"/>
                  </a:lnTo>
                  <a:lnTo>
                    <a:pt x="1089" y="829"/>
                  </a:lnTo>
                  <a:lnTo>
                    <a:pt x="1089" y="813"/>
                  </a:lnTo>
                  <a:lnTo>
                    <a:pt x="1089" y="813"/>
                  </a:lnTo>
                  <a:lnTo>
                    <a:pt x="1087" y="807"/>
                  </a:lnTo>
                  <a:lnTo>
                    <a:pt x="1084" y="802"/>
                  </a:lnTo>
                  <a:lnTo>
                    <a:pt x="1077" y="794"/>
                  </a:lnTo>
                  <a:lnTo>
                    <a:pt x="1077" y="794"/>
                  </a:lnTo>
                  <a:lnTo>
                    <a:pt x="1072" y="775"/>
                  </a:lnTo>
                  <a:lnTo>
                    <a:pt x="1067" y="766"/>
                  </a:lnTo>
                  <a:lnTo>
                    <a:pt x="1063" y="758"/>
                  </a:lnTo>
                  <a:lnTo>
                    <a:pt x="1063" y="758"/>
                  </a:lnTo>
                  <a:lnTo>
                    <a:pt x="1063" y="753"/>
                  </a:lnTo>
                  <a:lnTo>
                    <a:pt x="1062" y="749"/>
                  </a:lnTo>
                  <a:lnTo>
                    <a:pt x="1061" y="744"/>
                  </a:lnTo>
                  <a:lnTo>
                    <a:pt x="1061" y="740"/>
                  </a:lnTo>
                  <a:lnTo>
                    <a:pt x="1061" y="740"/>
                  </a:lnTo>
                  <a:lnTo>
                    <a:pt x="1058" y="738"/>
                  </a:lnTo>
                  <a:lnTo>
                    <a:pt x="1053" y="736"/>
                  </a:lnTo>
                  <a:lnTo>
                    <a:pt x="1050" y="734"/>
                  </a:lnTo>
                  <a:lnTo>
                    <a:pt x="1048" y="733"/>
                  </a:lnTo>
                  <a:lnTo>
                    <a:pt x="1047" y="731"/>
                  </a:lnTo>
                  <a:lnTo>
                    <a:pt x="1047" y="731"/>
                  </a:lnTo>
                  <a:lnTo>
                    <a:pt x="1048" y="727"/>
                  </a:lnTo>
                  <a:lnTo>
                    <a:pt x="1049" y="726"/>
                  </a:lnTo>
                  <a:lnTo>
                    <a:pt x="1051" y="726"/>
                  </a:lnTo>
                  <a:lnTo>
                    <a:pt x="1051" y="726"/>
                  </a:lnTo>
                  <a:lnTo>
                    <a:pt x="1048" y="724"/>
                  </a:lnTo>
                  <a:lnTo>
                    <a:pt x="1045" y="721"/>
                  </a:lnTo>
                  <a:lnTo>
                    <a:pt x="1039" y="716"/>
                  </a:lnTo>
                  <a:lnTo>
                    <a:pt x="1036" y="714"/>
                  </a:lnTo>
                  <a:lnTo>
                    <a:pt x="1032" y="713"/>
                  </a:lnTo>
                  <a:lnTo>
                    <a:pt x="1027" y="712"/>
                  </a:lnTo>
                  <a:lnTo>
                    <a:pt x="1022" y="713"/>
                  </a:lnTo>
                  <a:lnTo>
                    <a:pt x="1022" y="713"/>
                  </a:lnTo>
                  <a:lnTo>
                    <a:pt x="1019" y="712"/>
                  </a:lnTo>
                  <a:lnTo>
                    <a:pt x="1017" y="711"/>
                  </a:lnTo>
                  <a:lnTo>
                    <a:pt x="1014" y="707"/>
                  </a:lnTo>
                  <a:lnTo>
                    <a:pt x="1014" y="707"/>
                  </a:lnTo>
                  <a:lnTo>
                    <a:pt x="1011" y="707"/>
                  </a:lnTo>
                  <a:lnTo>
                    <a:pt x="1008" y="708"/>
                  </a:lnTo>
                  <a:lnTo>
                    <a:pt x="1003" y="712"/>
                  </a:lnTo>
                  <a:lnTo>
                    <a:pt x="998" y="714"/>
                  </a:lnTo>
                  <a:lnTo>
                    <a:pt x="995" y="715"/>
                  </a:lnTo>
                  <a:lnTo>
                    <a:pt x="991" y="715"/>
                  </a:lnTo>
                  <a:lnTo>
                    <a:pt x="991" y="715"/>
                  </a:lnTo>
                  <a:lnTo>
                    <a:pt x="991" y="710"/>
                  </a:lnTo>
                  <a:lnTo>
                    <a:pt x="990" y="707"/>
                  </a:lnTo>
                  <a:lnTo>
                    <a:pt x="988" y="704"/>
                  </a:lnTo>
                  <a:lnTo>
                    <a:pt x="987" y="702"/>
                  </a:lnTo>
                  <a:lnTo>
                    <a:pt x="987" y="702"/>
                  </a:lnTo>
                  <a:lnTo>
                    <a:pt x="983" y="702"/>
                  </a:lnTo>
                  <a:lnTo>
                    <a:pt x="978" y="701"/>
                  </a:lnTo>
                  <a:lnTo>
                    <a:pt x="976" y="700"/>
                  </a:lnTo>
                  <a:lnTo>
                    <a:pt x="973" y="699"/>
                  </a:lnTo>
                  <a:lnTo>
                    <a:pt x="970" y="694"/>
                  </a:lnTo>
                  <a:lnTo>
                    <a:pt x="967" y="689"/>
                  </a:lnTo>
                  <a:lnTo>
                    <a:pt x="961" y="676"/>
                  </a:lnTo>
                  <a:lnTo>
                    <a:pt x="958" y="671"/>
                  </a:lnTo>
                  <a:lnTo>
                    <a:pt x="955" y="666"/>
                  </a:lnTo>
                  <a:lnTo>
                    <a:pt x="955" y="666"/>
                  </a:lnTo>
                  <a:lnTo>
                    <a:pt x="949" y="669"/>
                  </a:lnTo>
                  <a:lnTo>
                    <a:pt x="945" y="672"/>
                  </a:lnTo>
                  <a:lnTo>
                    <a:pt x="945" y="672"/>
                  </a:lnTo>
                  <a:lnTo>
                    <a:pt x="947" y="673"/>
                  </a:lnTo>
                  <a:lnTo>
                    <a:pt x="948" y="675"/>
                  </a:lnTo>
                  <a:lnTo>
                    <a:pt x="949" y="678"/>
                  </a:lnTo>
                  <a:lnTo>
                    <a:pt x="952" y="681"/>
                  </a:lnTo>
                  <a:lnTo>
                    <a:pt x="953" y="682"/>
                  </a:lnTo>
                  <a:lnTo>
                    <a:pt x="957" y="682"/>
                  </a:lnTo>
                  <a:lnTo>
                    <a:pt x="957" y="682"/>
                  </a:lnTo>
                  <a:lnTo>
                    <a:pt x="957" y="688"/>
                  </a:lnTo>
                  <a:lnTo>
                    <a:pt x="957" y="691"/>
                  </a:lnTo>
                  <a:lnTo>
                    <a:pt x="960" y="698"/>
                  </a:lnTo>
                  <a:lnTo>
                    <a:pt x="963" y="703"/>
                  </a:lnTo>
                  <a:lnTo>
                    <a:pt x="964" y="706"/>
                  </a:lnTo>
                  <a:lnTo>
                    <a:pt x="965" y="710"/>
                  </a:lnTo>
                  <a:lnTo>
                    <a:pt x="965" y="710"/>
                  </a:lnTo>
                  <a:lnTo>
                    <a:pt x="969" y="706"/>
                  </a:lnTo>
                  <a:lnTo>
                    <a:pt x="973" y="705"/>
                  </a:lnTo>
                  <a:lnTo>
                    <a:pt x="978" y="704"/>
                  </a:lnTo>
                  <a:lnTo>
                    <a:pt x="984" y="704"/>
                  </a:lnTo>
                  <a:lnTo>
                    <a:pt x="984" y="704"/>
                  </a:lnTo>
                  <a:lnTo>
                    <a:pt x="984" y="710"/>
                  </a:lnTo>
                  <a:lnTo>
                    <a:pt x="985" y="714"/>
                  </a:lnTo>
                  <a:lnTo>
                    <a:pt x="987" y="717"/>
                  </a:lnTo>
                  <a:lnTo>
                    <a:pt x="989" y="720"/>
                  </a:lnTo>
                  <a:lnTo>
                    <a:pt x="994" y="726"/>
                  </a:lnTo>
                  <a:lnTo>
                    <a:pt x="997" y="728"/>
                  </a:lnTo>
                  <a:lnTo>
                    <a:pt x="998" y="731"/>
                  </a:lnTo>
                  <a:lnTo>
                    <a:pt x="998" y="731"/>
                  </a:lnTo>
                  <a:lnTo>
                    <a:pt x="998" y="734"/>
                  </a:lnTo>
                  <a:lnTo>
                    <a:pt x="997" y="738"/>
                  </a:lnTo>
                  <a:lnTo>
                    <a:pt x="994" y="741"/>
                  </a:lnTo>
                  <a:lnTo>
                    <a:pt x="991" y="746"/>
                  </a:lnTo>
                  <a:lnTo>
                    <a:pt x="991" y="750"/>
                  </a:lnTo>
                  <a:lnTo>
                    <a:pt x="991" y="753"/>
                  </a:lnTo>
                  <a:lnTo>
                    <a:pt x="991" y="753"/>
                  </a:lnTo>
                  <a:lnTo>
                    <a:pt x="985" y="756"/>
                  </a:lnTo>
                  <a:lnTo>
                    <a:pt x="980" y="761"/>
                  </a:lnTo>
                  <a:lnTo>
                    <a:pt x="974" y="764"/>
                  </a:lnTo>
                  <a:lnTo>
                    <a:pt x="968" y="767"/>
                  </a:lnTo>
                  <a:lnTo>
                    <a:pt x="968" y="767"/>
                  </a:lnTo>
                  <a:lnTo>
                    <a:pt x="967" y="767"/>
                  </a:lnTo>
                  <a:lnTo>
                    <a:pt x="965" y="768"/>
                  </a:lnTo>
                  <a:lnTo>
                    <a:pt x="965" y="771"/>
                  </a:lnTo>
                  <a:lnTo>
                    <a:pt x="965" y="776"/>
                  </a:lnTo>
                  <a:lnTo>
                    <a:pt x="964" y="777"/>
                  </a:lnTo>
                  <a:lnTo>
                    <a:pt x="963" y="778"/>
                  </a:lnTo>
                  <a:lnTo>
                    <a:pt x="963" y="778"/>
                  </a:lnTo>
                  <a:lnTo>
                    <a:pt x="957" y="779"/>
                  </a:lnTo>
                  <a:lnTo>
                    <a:pt x="950" y="781"/>
                  </a:lnTo>
                  <a:lnTo>
                    <a:pt x="939" y="788"/>
                  </a:lnTo>
                  <a:lnTo>
                    <a:pt x="929" y="794"/>
                  </a:lnTo>
                  <a:lnTo>
                    <a:pt x="917" y="800"/>
                  </a:lnTo>
                  <a:lnTo>
                    <a:pt x="917" y="800"/>
                  </a:lnTo>
                  <a:lnTo>
                    <a:pt x="913" y="795"/>
                  </a:lnTo>
                  <a:lnTo>
                    <a:pt x="910" y="791"/>
                  </a:lnTo>
                  <a:lnTo>
                    <a:pt x="907" y="781"/>
                  </a:lnTo>
                  <a:lnTo>
                    <a:pt x="904" y="770"/>
                  </a:lnTo>
                  <a:lnTo>
                    <a:pt x="900" y="762"/>
                  </a:lnTo>
                  <a:lnTo>
                    <a:pt x="900" y="762"/>
                  </a:lnTo>
                  <a:lnTo>
                    <a:pt x="894" y="752"/>
                  </a:lnTo>
                  <a:lnTo>
                    <a:pt x="888" y="742"/>
                  </a:lnTo>
                  <a:lnTo>
                    <a:pt x="882" y="732"/>
                  </a:lnTo>
                  <a:lnTo>
                    <a:pt x="875" y="724"/>
                  </a:lnTo>
                  <a:lnTo>
                    <a:pt x="875" y="724"/>
                  </a:lnTo>
                  <a:lnTo>
                    <a:pt x="875" y="720"/>
                  </a:lnTo>
                  <a:lnTo>
                    <a:pt x="875" y="718"/>
                  </a:lnTo>
                  <a:lnTo>
                    <a:pt x="873" y="711"/>
                  </a:lnTo>
                  <a:lnTo>
                    <a:pt x="870" y="704"/>
                  </a:lnTo>
                  <a:lnTo>
                    <a:pt x="866" y="699"/>
                  </a:lnTo>
                  <a:lnTo>
                    <a:pt x="866" y="699"/>
                  </a:lnTo>
                  <a:lnTo>
                    <a:pt x="865" y="700"/>
                  </a:lnTo>
                  <a:lnTo>
                    <a:pt x="865" y="701"/>
                  </a:lnTo>
                  <a:lnTo>
                    <a:pt x="866" y="706"/>
                  </a:lnTo>
                  <a:lnTo>
                    <a:pt x="867" y="714"/>
                  </a:lnTo>
                  <a:lnTo>
                    <a:pt x="866" y="720"/>
                  </a:lnTo>
                  <a:lnTo>
                    <a:pt x="866" y="720"/>
                  </a:lnTo>
                  <a:lnTo>
                    <a:pt x="869" y="726"/>
                  </a:lnTo>
                  <a:lnTo>
                    <a:pt x="872" y="729"/>
                  </a:lnTo>
                  <a:lnTo>
                    <a:pt x="877" y="732"/>
                  </a:lnTo>
                  <a:lnTo>
                    <a:pt x="880" y="737"/>
                  </a:lnTo>
                  <a:lnTo>
                    <a:pt x="880" y="737"/>
                  </a:lnTo>
                  <a:lnTo>
                    <a:pt x="879" y="743"/>
                  </a:lnTo>
                  <a:lnTo>
                    <a:pt x="880" y="749"/>
                  </a:lnTo>
                  <a:lnTo>
                    <a:pt x="881" y="753"/>
                  </a:lnTo>
                  <a:lnTo>
                    <a:pt x="883" y="755"/>
                  </a:lnTo>
                  <a:lnTo>
                    <a:pt x="886" y="758"/>
                  </a:lnTo>
                  <a:lnTo>
                    <a:pt x="888" y="762"/>
                  </a:lnTo>
                  <a:lnTo>
                    <a:pt x="890" y="766"/>
                  </a:lnTo>
                  <a:lnTo>
                    <a:pt x="890" y="772"/>
                  </a:lnTo>
                  <a:lnTo>
                    <a:pt x="890" y="772"/>
                  </a:lnTo>
                  <a:lnTo>
                    <a:pt x="896" y="779"/>
                  </a:lnTo>
                  <a:lnTo>
                    <a:pt x="903" y="787"/>
                  </a:lnTo>
                  <a:lnTo>
                    <a:pt x="905" y="791"/>
                  </a:lnTo>
                  <a:lnTo>
                    <a:pt x="908" y="795"/>
                  </a:lnTo>
                  <a:lnTo>
                    <a:pt x="909" y="801"/>
                  </a:lnTo>
                  <a:lnTo>
                    <a:pt x="910" y="807"/>
                  </a:lnTo>
                  <a:lnTo>
                    <a:pt x="910" y="807"/>
                  </a:lnTo>
                  <a:lnTo>
                    <a:pt x="931" y="807"/>
                  </a:lnTo>
                  <a:lnTo>
                    <a:pt x="931" y="807"/>
                  </a:lnTo>
                  <a:lnTo>
                    <a:pt x="934" y="807"/>
                  </a:lnTo>
                  <a:lnTo>
                    <a:pt x="936" y="806"/>
                  </a:lnTo>
                  <a:lnTo>
                    <a:pt x="939" y="803"/>
                  </a:lnTo>
                  <a:lnTo>
                    <a:pt x="944" y="800"/>
                  </a:lnTo>
                  <a:lnTo>
                    <a:pt x="946" y="800"/>
                  </a:lnTo>
                  <a:lnTo>
                    <a:pt x="949" y="800"/>
                  </a:lnTo>
                  <a:lnTo>
                    <a:pt x="949" y="800"/>
                  </a:lnTo>
                  <a:lnTo>
                    <a:pt x="951" y="802"/>
                  </a:lnTo>
                  <a:lnTo>
                    <a:pt x="953" y="805"/>
                  </a:lnTo>
                  <a:lnTo>
                    <a:pt x="953" y="813"/>
                  </a:lnTo>
                  <a:lnTo>
                    <a:pt x="953" y="821"/>
                  </a:lnTo>
                  <a:lnTo>
                    <a:pt x="951" y="829"/>
                  </a:lnTo>
                  <a:lnTo>
                    <a:pt x="951" y="829"/>
                  </a:lnTo>
                  <a:lnTo>
                    <a:pt x="935" y="857"/>
                  </a:lnTo>
                  <a:lnTo>
                    <a:pt x="919" y="886"/>
                  </a:lnTo>
                  <a:lnTo>
                    <a:pt x="919" y="886"/>
                  </a:lnTo>
                  <a:lnTo>
                    <a:pt x="911" y="893"/>
                  </a:lnTo>
                  <a:lnTo>
                    <a:pt x="903" y="899"/>
                  </a:lnTo>
                  <a:lnTo>
                    <a:pt x="903" y="899"/>
                  </a:lnTo>
                  <a:lnTo>
                    <a:pt x="898" y="919"/>
                  </a:lnTo>
                  <a:lnTo>
                    <a:pt x="892" y="935"/>
                  </a:lnTo>
                  <a:lnTo>
                    <a:pt x="892" y="935"/>
                  </a:lnTo>
                  <a:lnTo>
                    <a:pt x="894" y="953"/>
                  </a:lnTo>
                  <a:lnTo>
                    <a:pt x="894" y="973"/>
                  </a:lnTo>
                  <a:lnTo>
                    <a:pt x="894" y="993"/>
                  </a:lnTo>
                  <a:lnTo>
                    <a:pt x="892" y="1011"/>
                  </a:lnTo>
                  <a:lnTo>
                    <a:pt x="892" y="1011"/>
                  </a:lnTo>
                  <a:lnTo>
                    <a:pt x="885" y="1015"/>
                  </a:lnTo>
                  <a:lnTo>
                    <a:pt x="880" y="1021"/>
                  </a:lnTo>
                  <a:lnTo>
                    <a:pt x="874" y="1027"/>
                  </a:lnTo>
                  <a:lnTo>
                    <a:pt x="871" y="1035"/>
                  </a:lnTo>
                  <a:lnTo>
                    <a:pt x="868" y="1042"/>
                  </a:lnTo>
                  <a:lnTo>
                    <a:pt x="866" y="1052"/>
                  </a:lnTo>
                  <a:lnTo>
                    <a:pt x="865" y="1062"/>
                  </a:lnTo>
                  <a:lnTo>
                    <a:pt x="864" y="1073"/>
                  </a:lnTo>
                  <a:lnTo>
                    <a:pt x="864" y="1073"/>
                  </a:lnTo>
                  <a:lnTo>
                    <a:pt x="858" y="1073"/>
                  </a:lnTo>
                  <a:lnTo>
                    <a:pt x="855" y="1074"/>
                  </a:lnTo>
                  <a:lnTo>
                    <a:pt x="849" y="1079"/>
                  </a:lnTo>
                  <a:lnTo>
                    <a:pt x="849" y="1079"/>
                  </a:lnTo>
                  <a:lnTo>
                    <a:pt x="849" y="1086"/>
                  </a:lnTo>
                  <a:lnTo>
                    <a:pt x="848" y="1091"/>
                  </a:lnTo>
                  <a:lnTo>
                    <a:pt x="847" y="1097"/>
                  </a:lnTo>
                  <a:lnTo>
                    <a:pt x="847" y="1103"/>
                  </a:lnTo>
                  <a:lnTo>
                    <a:pt x="847" y="1103"/>
                  </a:lnTo>
                  <a:lnTo>
                    <a:pt x="841" y="1110"/>
                  </a:lnTo>
                  <a:lnTo>
                    <a:pt x="834" y="1116"/>
                  </a:lnTo>
                  <a:lnTo>
                    <a:pt x="830" y="1126"/>
                  </a:lnTo>
                  <a:lnTo>
                    <a:pt x="827" y="1136"/>
                  </a:lnTo>
                  <a:lnTo>
                    <a:pt x="827" y="1136"/>
                  </a:lnTo>
                  <a:lnTo>
                    <a:pt x="819" y="1138"/>
                  </a:lnTo>
                  <a:lnTo>
                    <a:pt x="813" y="1141"/>
                  </a:lnTo>
                  <a:lnTo>
                    <a:pt x="801" y="1148"/>
                  </a:lnTo>
                  <a:lnTo>
                    <a:pt x="788" y="1154"/>
                  </a:lnTo>
                  <a:lnTo>
                    <a:pt x="781" y="1156"/>
                  </a:lnTo>
                  <a:lnTo>
                    <a:pt x="774" y="1157"/>
                  </a:lnTo>
                  <a:lnTo>
                    <a:pt x="774" y="1157"/>
                  </a:lnTo>
                  <a:lnTo>
                    <a:pt x="769" y="1152"/>
                  </a:lnTo>
                  <a:lnTo>
                    <a:pt x="767" y="1145"/>
                  </a:lnTo>
                  <a:lnTo>
                    <a:pt x="763" y="1130"/>
                  </a:lnTo>
                  <a:lnTo>
                    <a:pt x="758" y="1116"/>
                  </a:lnTo>
                  <a:lnTo>
                    <a:pt x="755" y="1109"/>
                  </a:lnTo>
                  <a:lnTo>
                    <a:pt x="752" y="1103"/>
                  </a:lnTo>
                  <a:lnTo>
                    <a:pt x="752" y="1103"/>
                  </a:lnTo>
                  <a:lnTo>
                    <a:pt x="752" y="1079"/>
                  </a:lnTo>
                  <a:lnTo>
                    <a:pt x="752" y="1079"/>
                  </a:lnTo>
                  <a:lnTo>
                    <a:pt x="749" y="1066"/>
                  </a:lnTo>
                  <a:lnTo>
                    <a:pt x="744" y="1054"/>
                  </a:lnTo>
                  <a:lnTo>
                    <a:pt x="738" y="1045"/>
                  </a:lnTo>
                  <a:lnTo>
                    <a:pt x="731" y="1036"/>
                  </a:lnTo>
                  <a:lnTo>
                    <a:pt x="731" y="1036"/>
                  </a:lnTo>
                  <a:lnTo>
                    <a:pt x="734" y="1024"/>
                  </a:lnTo>
                  <a:lnTo>
                    <a:pt x="736" y="1012"/>
                  </a:lnTo>
                  <a:lnTo>
                    <a:pt x="738" y="1000"/>
                  </a:lnTo>
                  <a:lnTo>
                    <a:pt x="739" y="995"/>
                  </a:lnTo>
                  <a:lnTo>
                    <a:pt x="741" y="989"/>
                  </a:lnTo>
                  <a:lnTo>
                    <a:pt x="741" y="989"/>
                  </a:lnTo>
                  <a:lnTo>
                    <a:pt x="738" y="969"/>
                  </a:lnTo>
                  <a:lnTo>
                    <a:pt x="734" y="959"/>
                  </a:lnTo>
                  <a:lnTo>
                    <a:pt x="733" y="955"/>
                  </a:lnTo>
                  <a:lnTo>
                    <a:pt x="731" y="951"/>
                  </a:lnTo>
                  <a:lnTo>
                    <a:pt x="731" y="951"/>
                  </a:lnTo>
                  <a:lnTo>
                    <a:pt x="732" y="945"/>
                  </a:lnTo>
                  <a:lnTo>
                    <a:pt x="731" y="938"/>
                  </a:lnTo>
                  <a:lnTo>
                    <a:pt x="730" y="933"/>
                  </a:lnTo>
                  <a:lnTo>
                    <a:pt x="728" y="927"/>
                  </a:lnTo>
                  <a:lnTo>
                    <a:pt x="723" y="918"/>
                  </a:lnTo>
                  <a:lnTo>
                    <a:pt x="717" y="908"/>
                  </a:lnTo>
                  <a:lnTo>
                    <a:pt x="717" y="908"/>
                  </a:lnTo>
                  <a:lnTo>
                    <a:pt x="718" y="895"/>
                  </a:lnTo>
                  <a:lnTo>
                    <a:pt x="720" y="884"/>
                  </a:lnTo>
                  <a:lnTo>
                    <a:pt x="723" y="873"/>
                  </a:lnTo>
                  <a:lnTo>
                    <a:pt x="723" y="867"/>
                  </a:lnTo>
                  <a:lnTo>
                    <a:pt x="721" y="859"/>
                  </a:lnTo>
                  <a:lnTo>
                    <a:pt x="721" y="859"/>
                  </a:lnTo>
                  <a:lnTo>
                    <a:pt x="717" y="858"/>
                  </a:lnTo>
                  <a:lnTo>
                    <a:pt x="714" y="860"/>
                  </a:lnTo>
                  <a:lnTo>
                    <a:pt x="708" y="865"/>
                  </a:lnTo>
                  <a:lnTo>
                    <a:pt x="708" y="865"/>
                  </a:lnTo>
                  <a:lnTo>
                    <a:pt x="703" y="862"/>
                  </a:lnTo>
                  <a:lnTo>
                    <a:pt x="698" y="860"/>
                  </a:lnTo>
                  <a:lnTo>
                    <a:pt x="692" y="859"/>
                  </a:lnTo>
                  <a:lnTo>
                    <a:pt x="685" y="859"/>
                  </a:lnTo>
                  <a:lnTo>
                    <a:pt x="685" y="859"/>
                  </a:lnTo>
                  <a:lnTo>
                    <a:pt x="684" y="858"/>
                  </a:lnTo>
                  <a:lnTo>
                    <a:pt x="684" y="857"/>
                  </a:lnTo>
                  <a:lnTo>
                    <a:pt x="682" y="853"/>
                  </a:lnTo>
                  <a:lnTo>
                    <a:pt x="682" y="849"/>
                  </a:lnTo>
                  <a:lnTo>
                    <a:pt x="681" y="848"/>
                  </a:lnTo>
                  <a:lnTo>
                    <a:pt x="680" y="848"/>
                  </a:lnTo>
                  <a:lnTo>
                    <a:pt x="680" y="848"/>
                  </a:lnTo>
                  <a:lnTo>
                    <a:pt x="677" y="848"/>
                  </a:lnTo>
                  <a:lnTo>
                    <a:pt x="675" y="849"/>
                  </a:lnTo>
                  <a:lnTo>
                    <a:pt x="673" y="850"/>
                  </a:lnTo>
                  <a:lnTo>
                    <a:pt x="672" y="853"/>
                  </a:lnTo>
                  <a:lnTo>
                    <a:pt x="669" y="858"/>
                  </a:lnTo>
                  <a:lnTo>
                    <a:pt x="666" y="861"/>
                  </a:lnTo>
                  <a:lnTo>
                    <a:pt x="666" y="861"/>
                  </a:lnTo>
                  <a:lnTo>
                    <a:pt x="649" y="861"/>
                  </a:lnTo>
                  <a:lnTo>
                    <a:pt x="641" y="862"/>
                  </a:lnTo>
                  <a:lnTo>
                    <a:pt x="634" y="865"/>
                  </a:lnTo>
                  <a:lnTo>
                    <a:pt x="634" y="865"/>
                  </a:lnTo>
                  <a:lnTo>
                    <a:pt x="628" y="864"/>
                  </a:lnTo>
                  <a:lnTo>
                    <a:pt x="624" y="861"/>
                  </a:lnTo>
                  <a:lnTo>
                    <a:pt x="616" y="855"/>
                  </a:lnTo>
                  <a:lnTo>
                    <a:pt x="609" y="848"/>
                  </a:lnTo>
                  <a:lnTo>
                    <a:pt x="601" y="843"/>
                  </a:lnTo>
                  <a:lnTo>
                    <a:pt x="601" y="843"/>
                  </a:lnTo>
                  <a:lnTo>
                    <a:pt x="598" y="832"/>
                  </a:lnTo>
                  <a:lnTo>
                    <a:pt x="594" y="822"/>
                  </a:lnTo>
                  <a:lnTo>
                    <a:pt x="588" y="813"/>
                  </a:lnTo>
                  <a:lnTo>
                    <a:pt x="583" y="805"/>
                  </a:lnTo>
                  <a:lnTo>
                    <a:pt x="583" y="805"/>
                  </a:lnTo>
                  <a:lnTo>
                    <a:pt x="583" y="734"/>
                  </a:lnTo>
                  <a:lnTo>
                    <a:pt x="583" y="734"/>
                  </a:lnTo>
                  <a:lnTo>
                    <a:pt x="587" y="727"/>
                  </a:lnTo>
                  <a:lnTo>
                    <a:pt x="590" y="719"/>
                  </a:lnTo>
                  <a:lnTo>
                    <a:pt x="594" y="710"/>
                  </a:lnTo>
                  <a:lnTo>
                    <a:pt x="595" y="699"/>
                  </a:lnTo>
                  <a:lnTo>
                    <a:pt x="595" y="699"/>
                  </a:lnTo>
                  <a:lnTo>
                    <a:pt x="599" y="693"/>
                  </a:lnTo>
                  <a:lnTo>
                    <a:pt x="605" y="688"/>
                  </a:lnTo>
                  <a:lnTo>
                    <a:pt x="611" y="682"/>
                  </a:lnTo>
                  <a:lnTo>
                    <a:pt x="615" y="677"/>
                  </a:lnTo>
                  <a:lnTo>
                    <a:pt x="615" y="677"/>
                  </a:lnTo>
                  <a:lnTo>
                    <a:pt x="617" y="673"/>
                  </a:lnTo>
                  <a:lnTo>
                    <a:pt x="618" y="668"/>
                  </a:lnTo>
                  <a:lnTo>
                    <a:pt x="620" y="657"/>
                  </a:lnTo>
                  <a:lnTo>
                    <a:pt x="621" y="647"/>
                  </a:lnTo>
                  <a:lnTo>
                    <a:pt x="623" y="641"/>
                  </a:lnTo>
                  <a:lnTo>
                    <a:pt x="625" y="637"/>
                  </a:lnTo>
                  <a:lnTo>
                    <a:pt x="625" y="637"/>
                  </a:lnTo>
                  <a:lnTo>
                    <a:pt x="634" y="630"/>
                  </a:lnTo>
                  <a:lnTo>
                    <a:pt x="638" y="626"/>
                  </a:lnTo>
                  <a:lnTo>
                    <a:pt x="640" y="624"/>
                  </a:lnTo>
                  <a:lnTo>
                    <a:pt x="641" y="621"/>
                  </a:lnTo>
                  <a:lnTo>
                    <a:pt x="641" y="621"/>
                  </a:lnTo>
                  <a:lnTo>
                    <a:pt x="646" y="621"/>
                  </a:lnTo>
                  <a:lnTo>
                    <a:pt x="650" y="622"/>
                  </a:lnTo>
                  <a:lnTo>
                    <a:pt x="653" y="625"/>
                  </a:lnTo>
                  <a:lnTo>
                    <a:pt x="654" y="628"/>
                  </a:lnTo>
                  <a:lnTo>
                    <a:pt x="654" y="628"/>
                  </a:lnTo>
                  <a:lnTo>
                    <a:pt x="659" y="625"/>
                  </a:lnTo>
                  <a:lnTo>
                    <a:pt x="663" y="622"/>
                  </a:lnTo>
                  <a:lnTo>
                    <a:pt x="667" y="620"/>
                  </a:lnTo>
                  <a:lnTo>
                    <a:pt x="673" y="618"/>
                  </a:lnTo>
                  <a:lnTo>
                    <a:pt x="686" y="617"/>
                  </a:lnTo>
                  <a:lnTo>
                    <a:pt x="699" y="617"/>
                  </a:lnTo>
                  <a:lnTo>
                    <a:pt x="699" y="617"/>
                  </a:lnTo>
                  <a:lnTo>
                    <a:pt x="706" y="614"/>
                  </a:lnTo>
                  <a:lnTo>
                    <a:pt x="715" y="611"/>
                  </a:lnTo>
                  <a:lnTo>
                    <a:pt x="724" y="610"/>
                  </a:lnTo>
                  <a:lnTo>
                    <a:pt x="733" y="610"/>
                  </a:lnTo>
                  <a:lnTo>
                    <a:pt x="733" y="610"/>
                  </a:lnTo>
                  <a:lnTo>
                    <a:pt x="736" y="612"/>
                  </a:lnTo>
                  <a:lnTo>
                    <a:pt x="736" y="616"/>
                  </a:lnTo>
                  <a:lnTo>
                    <a:pt x="734" y="618"/>
                  </a:lnTo>
                  <a:lnTo>
                    <a:pt x="731" y="621"/>
                  </a:lnTo>
                  <a:lnTo>
                    <a:pt x="731" y="621"/>
                  </a:lnTo>
                  <a:lnTo>
                    <a:pt x="736" y="626"/>
                  </a:lnTo>
                  <a:lnTo>
                    <a:pt x="737" y="630"/>
                  </a:lnTo>
                  <a:lnTo>
                    <a:pt x="736" y="637"/>
                  </a:lnTo>
                  <a:lnTo>
                    <a:pt x="736" y="637"/>
                  </a:lnTo>
                  <a:lnTo>
                    <a:pt x="740" y="641"/>
                  </a:lnTo>
                  <a:lnTo>
                    <a:pt x="745" y="644"/>
                  </a:lnTo>
                  <a:lnTo>
                    <a:pt x="756" y="650"/>
                  </a:lnTo>
                  <a:lnTo>
                    <a:pt x="768" y="655"/>
                  </a:lnTo>
                  <a:lnTo>
                    <a:pt x="774" y="660"/>
                  </a:lnTo>
                  <a:lnTo>
                    <a:pt x="778" y="664"/>
                  </a:lnTo>
                  <a:lnTo>
                    <a:pt x="778" y="664"/>
                  </a:lnTo>
                  <a:lnTo>
                    <a:pt x="780" y="662"/>
                  </a:lnTo>
                  <a:lnTo>
                    <a:pt x="781" y="660"/>
                  </a:lnTo>
                  <a:lnTo>
                    <a:pt x="783" y="655"/>
                  </a:lnTo>
                  <a:lnTo>
                    <a:pt x="785" y="650"/>
                  </a:lnTo>
                  <a:lnTo>
                    <a:pt x="788" y="649"/>
                  </a:lnTo>
                  <a:lnTo>
                    <a:pt x="790" y="648"/>
                  </a:lnTo>
                  <a:lnTo>
                    <a:pt x="790" y="648"/>
                  </a:lnTo>
                  <a:lnTo>
                    <a:pt x="806" y="649"/>
                  </a:lnTo>
                  <a:lnTo>
                    <a:pt x="821" y="650"/>
                  </a:lnTo>
                  <a:lnTo>
                    <a:pt x="836" y="653"/>
                  </a:lnTo>
                  <a:lnTo>
                    <a:pt x="849" y="659"/>
                  </a:lnTo>
                  <a:lnTo>
                    <a:pt x="849" y="659"/>
                  </a:lnTo>
                  <a:lnTo>
                    <a:pt x="853" y="656"/>
                  </a:lnTo>
                  <a:lnTo>
                    <a:pt x="855" y="654"/>
                  </a:lnTo>
                  <a:lnTo>
                    <a:pt x="856" y="651"/>
                  </a:lnTo>
                  <a:lnTo>
                    <a:pt x="857" y="647"/>
                  </a:lnTo>
                  <a:lnTo>
                    <a:pt x="858" y="639"/>
                  </a:lnTo>
                  <a:lnTo>
                    <a:pt x="859" y="636"/>
                  </a:lnTo>
                  <a:lnTo>
                    <a:pt x="861" y="634"/>
                  </a:lnTo>
                  <a:lnTo>
                    <a:pt x="861" y="634"/>
                  </a:lnTo>
                  <a:lnTo>
                    <a:pt x="861" y="617"/>
                  </a:lnTo>
                  <a:lnTo>
                    <a:pt x="861" y="617"/>
                  </a:lnTo>
                  <a:lnTo>
                    <a:pt x="858" y="617"/>
                  </a:lnTo>
                  <a:lnTo>
                    <a:pt x="856" y="618"/>
                  </a:lnTo>
                  <a:lnTo>
                    <a:pt x="855" y="621"/>
                  </a:lnTo>
                  <a:lnTo>
                    <a:pt x="855" y="624"/>
                  </a:lnTo>
                  <a:lnTo>
                    <a:pt x="854" y="629"/>
                  </a:lnTo>
                  <a:lnTo>
                    <a:pt x="853" y="630"/>
                  </a:lnTo>
                  <a:lnTo>
                    <a:pt x="849" y="631"/>
                  </a:lnTo>
                  <a:lnTo>
                    <a:pt x="849" y="631"/>
                  </a:lnTo>
                  <a:lnTo>
                    <a:pt x="846" y="630"/>
                  </a:lnTo>
                  <a:lnTo>
                    <a:pt x="845" y="629"/>
                  </a:lnTo>
                  <a:lnTo>
                    <a:pt x="845" y="628"/>
                  </a:lnTo>
                  <a:lnTo>
                    <a:pt x="846" y="626"/>
                  </a:lnTo>
                  <a:lnTo>
                    <a:pt x="847" y="622"/>
                  </a:lnTo>
                  <a:lnTo>
                    <a:pt x="847" y="620"/>
                  </a:lnTo>
                  <a:lnTo>
                    <a:pt x="845" y="617"/>
                  </a:lnTo>
                  <a:lnTo>
                    <a:pt x="845" y="617"/>
                  </a:lnTo>
                  <a:lnTo>
                    <a:pt x="839" y="621"/>
                  </a:lnTo>
                  <a:lnTo>
                    <a:pt x="831" y="622"/>
                  </a:lnTo>
                  <a:lnTo>
                    <a:pt x="827" y="622"/>
                  </a:lnTo>
                  <a:lnTo>
                    <a:pt x="822" y="621"/>
                  </a:lnTo>
                  <a:lnTo>
                    <a:pt x="818" y="620"/>
                  </a:lnTo>
                  <a:lnTo>
                    <a:pt x="815" y="617"/>
                  </a:lnTo>
                  <a:lnTo>
                    <a:pt x="815" y="617"/>
                  </a:lnTo>
                  <a:lnTo>
                    <a:pt x="813" y="614"/>
                  </a:lnTo>
                  <a:lnTo>
                    <a:pt x="811" y="611"/>
                  </a:lnTo>
                  <a:lnTo>
                    <a:pt x="810" y="608"/>
                  </a:lnTo>
                  <a:lnTo>
                    <a:pt x="809" y="607"/>
                  </a:lnTo>
                  <a:lnTo>
                    <a:pt x="808" y="607"/>
                  </a:lnTo>
                  <a:lnTo>
                    <a:pt x="808" y="607"/>
                  </a:lnTo>
                  <a:lnTo>
                    <a:pt x="808" y="600"/>
                  </a:lnTo>
                  <a:lnTo>
                    <a:pt x="809" y="596"/>
                  </a:lnTo>
                  <a:lnTo>
                    <a:pt x="809" y="591"/>
                  </a:lnTo>
                  <a:lnTo>
                    <a:pt x="810" y="585"/>
                  </a:lnTo>
                  <a:lnTo>
                    <a:pt x="810" y="585"/>
                  </a:lnTo>
                  <a:lnTo>
                    <a:pt x="803" y="585"/>
                  </a:lnTo>
                  <a:lnTo>
                    <a:pt x="803" y="585"/>
                  </a:lnTo>
                  <a:lnTo>
                    <a:pt x="802" y="589"/>
                  </a:lnTo>
                  <a:lnTo>
                    <a:pt x="801" y="592"/>
                  </a:lnTo>
                  <a:lnTo>
                    <a:pt x="801" y="601"/>
                  </a:lnTo>
                  <a:lnTo>
                    <a:pt x="802" y="610"/>
                  </a:lnTo>
                  <a:lnTo>
                    <a:pt x="802" y="614"/>
                  </a:lnTo>
                  <a:lnTo>
                    <a:pt x="801" y="617"/>
                  </a:lnTo>
                  <a:lnTo>
                    <a:pt x="801" y="617"/>
                  </a:lnTo>
                  <a:lnTo>
                    <a:pt x="806" y="617"/>
                  </a:lnTo>
                  <a:lnTo>
                    <a:pt x="810" y="618"/>
                  </a:lnTo>
                  <a:lnTo>
                    <a:pt x="811" y="621"/>
                  </a:lnTo>
                  <a:lnTo>
                    <a:pt x="813" y="622"/>
                  </a:lnTo>
                  <a:lnTo>
                    <a:pt x="813" y="628"/>
                  </a:lnTo>
                  <a:lnTo>
                    <a:pt x="813" y="628"/>
                  </a:lnTo>
                  <a:lnTo>
                    <a:pt x="810" y="626"/>
                  </a:lnTo>
                  <a:lnTo>
                    <a:pt x="808" y="626"/>
                  </a:lnTo>
                  <a:lnTo>
                    <a:pt x="804" y="625"/>
                  </a:lnTo>
                  <a:lnTo>
                    <a:pt x="801" y="624"/>
                  </a:lnTo>
                  <a:lnTo>
                    <a:pt x="800" y="623"/>
                  </a:lnTo>
                  <a:lnTo>
                    <a:pt x="798" y="621"/>
                  </a:lnTo>
                  <a:lnTo>
                    <a:pt x="798" y="621"/>
                  </a:lnTo>
                  <a:lnTo>
                    <a:pt x="801" y="620"/>
                  </a:lnTo>
                  <a:lnTo>
                    <a:pt x="801" y="618"/>
                  </a:lnTo>
                  <a:lnTo>
                    <a:pt x="801" y="617"/>
                  </a:lnTo>
                  <a:lnTo>
                    <a:pt x="801" y="617"/>
                  </a:lnTo>
                  <a:lnTo>
                    <a:pt x="792" y="617"/>
                  </a:lnTo>
                  <a:lnTo>
                    <a:pt x="788" y="616"/>
                  </a:lnTo>
                  <a:lnTo>
                    <a:pt x="784" y="615"/>
                  </a:lnTo>
                  <a:lnTo>
                    <a:pt x="784" y="615"/>
                  </a:lnTo>
                  <a:lnTo>
                    <a:pt x="784" y="598"/>
                  </a:lnTo>
                  <a:lnTo>
                    <a:pt x="784" y="598"/>
                  </a:lnTo>
                  <a:lnTo>
                    <a:pt x="784" y="596"/>
                  </a:lnTo>
                  <a:lnTo>
                    <a:pt x="783" y="592"/>
                  </a:lnTo>
                  <a:lnTo>
                    <a:pt x="780" y="587"/>
                  </a:lnTo>
                  <a:lnTo>
                    <a:pt x="780" y="587"/>
                  </a:lnTo>
                  <a:lnTo>
                    <a:pt x="778" y="582"/>
                  </a:lnTo>
                  <a:lnTo>
                    <a:pt x="776" y="577"/>
                  </a:lnTo>
                  <a:lnTo>
                    <a:pt x="776" y="577"/>
                  </a:lnTo>
                  <a:lnTo>
                    <a:pt x="769" y="569"/>
                  </a:lnTo>
                  <a:lnTo>
                    <a:pt x="762" y="562"/>
                  </a:lnTo>
                  <a:lnTo>
                    <a:pt x="754" y="556"/>
                  </a:lnTo>
                  <a:lnTo>
                    <a:pt x="751" y="551"/>
                  </a:lnTo>
                  <a:lnTo>
                    <a:pt x="747" y="547"/>
                  </a:lnTo>
                  <a:lnTo>
                    <a:pt x="747" y="547"/>
                  </a:lnTo>
                  <a:lnTo>
                    <a:pt x="746" y="550"/>
                  </a:lnTo>
                  <a:lnTo>
                    <a:pt x="746" y="554"/>
                  </a:lnTo>
                  <a:lnTo>
                    <a:pt x="746" y="557"/>
                  </a:lnTo>
                  <a:lnTo>
                    <a:pt x="747" y="560"/>
                  </a:lnTo>
                  <a:lnTo>
                    <a:pt x="752" y="564"/>
                  </a:lnTo>
                  <a:lnTo>
                    <a:pt x="756" y="569"/>
                  </a:lnTo>
                  <a:lnTo>
                    <a:pt x="767" y="576"/>
                  </a:lnTo>
                  <a:lnTo>
                    <a:pt x="772" y="581"/>
                  </a:lnTo>
                  <a:lnTo>
                    <a:pt x="776" y="585"/>
                  </a:lnTo>
                  <a:lnTo>
                    <a:pt x="776" y="585"/>
                  </a:lnTo>
                  <a:lnTo>
                    <a:pt x="774" y="587"/>
                  </a:lnTo>
                  <a:lnTo>
                    <a:pt x="772" y="587"/>
                  </a:lnTo>
                  <a:lnTo>
                    <a:pt x="770" y="585"/>
                  </a:lnTo>
                  <a:lnTo>
                    <a:pt x="767" y="583"/>
                  </a:lnTo>
                  <a:lnTo>
                    <a:pt x="765" y="583"/>
                  </a:lnTo>
                  <a:lnTo>
                    <a:pt x="764" y="585"/>
                  </a:lnTo>
                  <a:lnTo>
                    <a:pt x="764" y="585"/>
                  </a:lnTo>
                  <a:lnTo>
                    <a:pt x="765" y="587"/>
                  </a:lnTo>
                  <a:lnTo>
                    <a:pt x="767" y="588"/>
                  </a:lnTo>
                  <a:lnTo>
                    <a:pt x="768" y="590"/>
                  </a:lnTo>
                  <a:lnTo>
                    <a:pt x="768" y="594"/>
                  </a:lnTo>
                  <a:lnTo>
                    <a:pt x="768" y="594"/>
                  </a:lnTo>
                  <a:lnTo>
                    <a:pt x="764" y="596"/>
                  </a:lnTo>
                  <a:lnTo>
                    <a:pt x="761" y="600"/>
                  </a:lnTo>
                  <a:lnTo>
                    <a:pt x="758" y="602"/>
                  </a:lnTo>
                  <a:lnTo>
                    <a:pt x="757" y="604"/>
                  </a:lnTo>
                  <a:lnTo>
                    <a:pt x="757" y="608"/>
                  </a:lnTo>
                  <a:lnTo>
                    <a:pt x="757" y="612"/>
                  </a:lnTo>
                  <a:lnTo>
                    <a:pt x="757" y="612"/>
                  </a:lnTo>
                  <a:lnTo>
                    <a:pt x="754" y="609"/>
                  </a:lnTo>
                  <a:lnTo>
                    <a:pt x="750" y="607"/>
                  </a:lnTo>
                  <a:lnTo>
                    <a:pt x="746" y="603"/>
                  </a:lnTo>
                  <a:lnTo>
                    <a:pt x="745" y="601"/>
                  </a:lnTo>
                  <a:lnTo>
                    <a:pt x="745" y="598"/>
                  </a:lnTo>
                  <a:lnTo>
                    <a:pt x="745" y="598"/>
                  </a:lnTo>
                  <a:lnTo>
                    <a:pt x="750" y="599"/>
                  </a:lnTo>
                  <a:lnTo>
                    <a:pt x="753" y="598"/>
                  </a:lnTo>
                  <a:lnTo>
                    <a:pt x="756" y="597"/>
                  </a:lnTo>
                  <a:lnTo>
                    <a:pt x="757" y="594"/>
                  </a:lnTo>
                  <a:lnTo>
                    <a:pt x="757" y="594"/>
                  </a:lnTo>
                  <a:lnTo>
                    <a:pt x="754" y="586"/>
                  </a:lnTo>
                  <a:lnTo>
                    <a:pt x="750" y="581"/>
                  </a:lnTo>
                  <a:lnTo>
                    <a:pt x="743" y="578"/>
                  </a:lnTo>
                  <a:lnTo>
                    <a:pt x="736" y="577"/>
                  </a:lnTo>
                  <a:lnTo>
                    <a:pt x="736" y="577"/>
                  </a:lnTo>
                  <a:lnTo>
                    <a:pt x="734" y="574"/>
                  </a:lnTo>
                  <a:lnTo>
                    <a:pt x="733" y="571"/>
                  </a:lnTo>
                  <a:lnTo>
                    <a:pt x="732" y="568"/>
                  </a:lnTo>
                  <a:lnTo>
                    <a:pt x="729" y="565"/>
                  </a:lnTo>
                  <a:lnTo>
                    <a:pt x="729" y="565"/>
                  </a:lnTo>
                  <a:lnTo>
                    <a:pt x="729" y="571"/>
                  </a:lnTo>
                  <a:lnTo>
                    <a:pt x="729" y="576"/>
                  </a:lnTo>
                  <a:lnTo>
                    <a:pt x="730" y="586"/>
                  </a:lnTo>
                  <a:lnTo>
                    <a:pt x="730" y="589"/>
                  </a:lnTo>
                  <a:lnTo>
                    <a:pt x="729" y="592"/>
                  </a:lnTo>
                  <a:lnTo>
                    <a:pt x="727" y="595"/>
                  </a:lnTo>
                  <a:lnTo>
                    <a:pt x="721" y="596"/>
                  </a:lnTo>
                  <a:lnTo>
                    <a:pt x="721" y="596"/>
                  </a:lnTo>
                  <a:lnTo>
                    <a:pt x="719" y="585"/>
                  </a:lnTo>
                  <a:lnTo>
                    <a:pt x="718" y="574"/>
                  </a:lnTo>
                  <a:lnTo>
                    <a:pt x="719" y="564"/>
                  </a:lnTo>
                  <a:lnTo>
                    <a:pt x="720" y="559"/>
                  </a:lnTo>
                  <a:lnTo>
                    <a:pt x="721" y="554"/>
                  </a:lnTo>
                  <a:lnTo>
                    <a:pt x="721" y="554"/>
                  </a:lnTo>
                  <a:lnTo>
                    <a:pt x="716" y="557"/>
                  </a:lnTo>
                  <a:lnTo>
                    <a:pt x="711" y="559"/>
                  </a:lnTo>
                  <a:lnTo>
                    <a:pt x="707" y="560"/>
                  </a:lnTo>
                  <a:lnTo>
                    <a:pt x="705" y="560"/>
                  </a:lnTo>
                  <a:lnTo>
                    <a:pt x="702" y="560"/>
                  </a:lnTo>
                  <a:lnTo>
                    <a:pt x="699" y="558"/>
                  </a:lnTo>
                  <a:lnTo>
                    <a:pt x="699" y="558"/>
                  </a:lnTo>
                  <a:lnTo>
                    <a:pt x="694" y="559"/>
                  </a:lnTo>
                  <a:lnTo>
                    <a:pt x="692" y="561"/>
                  </a:lnTo>
                  <a:lnTo>
                    <a:pt x="689" y="564"/>
                  </a:lnTo>
                  <a:lnTo>
                    <a:pt x="688" y="568"/>
                  </a:lnTo>
                  <a:lnTo>
                    <a:pt x="684" y="575"/>
                  </a:lnTo>
                  <a:lnTo>
                    <a:pt x="681" y="577"/>
                  </a:lnTo>
                  <a:lnTo>
                    <a:pt x="678" y="579"/>
                  </a:lnTo>
                  <a:lnTo>
                    <a:pt x="678" y="579"/>
                  </a:lnTo>
                  <a:lnTo>
                    <a:pt x="678" y="586"/>
                  </a:lnTo>
                  <a:lnTo>
                    <a:pt x="677" y="591"/>
                  </a:lnTo>
                  <a:lnTo>
                    <a:pt x="676" y="597"/>
                  </a:lnTo>
                  <a:lnTo>
                    <a:pt x="675" y="601"/>
                  </a:lnTo>
                  <a:lnTo>
                    <a:pt x="671" y="610"/>
                  </a:lnTo>
                  <a:lnTo>
                    <a:pt x="666" y="617"/>
                  </a:lnTo>
                  <a:lnTo>
                    <a:pt x="666" y="617"/>
                  </a:lnTo>
                  <a:lnTo>
                    <a:pt x="661" y="614"/>
                  </a:lnTo>
                  <a:lnTo>
                    <a:pt x="657" y="613"/>
                  </a:lnTo>
                  <a:lnTo>
                    <a:pt x="653" y="614"/>
                  </a:lnTo>
                  <a:lnTo>
                    <a:pt x="648" y="617"/>
                  </a:lnTo>
                  <a:lnTo>
                    <a:pt x="648" y="617"/>
                  </a:lnTo>
                  <a:lnTo>
                    <a:pt x="643" y="615"/>
                  </a:lnTo>
                  <a:lnTo>
                    <a:pt x="639" y="613"/>
                  </a:lnTo>
                  <a:lnTo>
                    <a:pt x="634" y="612"/>
                  </a:lnTo>
                  <a:lnTo>
                    <a:pt x="630" y="611"/>
                  </a:lnTo>
                  <a:lnTo>
                    <a:pt x="627" y="612"/>
                  </a:lnTo>
                  <a:lnTo>
                    <a:pt x="627" y="612"/>
                  </a:lnTo>
                  <a:lnTo>
                    <a:pt x="627" y="604"/>
                  </a:lnTo>
                  <a:lnTo>
                    <a:pt x="626" y="598"/>
                  </a:lnTo>
                  <a:lnTo>
                    <a:pt x="624" y="592"/>
                  </a:lnTo>
                  <a:lnTo>
                    <a:pt x="623" y="587"/>
                  </a:lnTo>
                  <a:lnTo>
                    <a:pt x="623" y="587"/>
                  </a:lnTo>
                  <a:lnTo>
                    <a:pt x="625" y="587"/>
                  </a:lnTo>
                  <a:lnTo>
                    <a:pt x="627" y="584"/>
                  </a:lnTo>
                  <a:lnTo>
                    <a:pt x="627" y="581"/>
                  </a:lnTo>
                  <a:lnTo>
                    <a:pt x="627" y="576"/>
                  </a:lnTo>
                  <a:lnTo>
                    <a:pt x="626" y="566"/>
                  </a:lnTo>
                  <a:lnTo>
                    <a:pt x="626" y="562"/>
                  </a:lnTo>
                  <a:lnTo>
                    <a:pt x="627" y="558"/>
                  </a:lnTo>
                  <a:lnTo>
                    <a:pt x="627" y="558"/>
                  </a:lnTo>
                  <a:lnTo>
                    <a:pt x="631" y="558"/>
                  </a:lnTo>
                  <a:lnTo>
                    <a:pt x="637" y="558"/>
                  </a:lnTo>
                  <a:lnTo>
                    <a:pt x="646" y="557"/>
                  </a:lnTo>
                  <a:lnTo>
                    <a:pt x="653" y="556"/>
                  </a:lnTo>
                  <a:lnTo>
                    <a:pt x="657" y="556"/>
                  </a:lnTo>
                  <a:lnTo>
                    <a:pt x="662" y="558"/>
                  </a:lnTo>
                  <a:lnTo>
                    <a:pt x="662" y="558"/>
                  </a:lnTo>
                  <a:lnTo>
                    <a:pt x="664" y="557"/>
                  </a:lnTo>
                  <a:lnTo>
                    <a:pt x="666" y="553"/>
                  </a:lnTo>
                  <a:lnTo>
                    <a:pt x="668" y="547"/>
                  </a:lnTo>
                  <a:lnTo>
                    <a:pt x="668" y="547"/>
                  </a:lnTo>
                  <a:lnTo>
                    <a:pt x="668" y="543"/>
                  </a:lnTo>
                  <a:lnTo>
                    <a:pt x="667" y="540"/>
                  </a:lnTo>
                  <a:lnTo>
                    <a:pt x="664" y="536"/>
                  </a:lnTo>
                  <a:lnTo>
                    <a:pt x="661" y="532"/>
                  </a:lnTo>
                  <a:lnTo>
                    <a:pt x="660" y="530"/>
                  </a:lnTo>
                  <a:lnTo>
                    <a:pt x="660" y="525"/>
                  </a:lnTo>
                  <a:lnTo>
                    <a:pt x="660" y="525"/>
                  </a:lnTo>
                  <a:lnTo>
                    <a:pt x="650" y="525"/>
                  </a:lnTo>
                  <a:lnTo>
                    <a:pt x="646" y="524"/>
                  </a:lnTo>
                  <a:lnTo>
                    <a:pt x="643" y="522"/>
                  </a:lnTo>
                  <a:lnTo>
                    <a:pt x="643" y="522"/>
                  </a:lnTo>
                  <a:lnTo>
                    <a:pt x="643" y="520"/>
                  </a:lnTo>
                  <a:lnTo>
                    <a:pt x="644" y="518"/>
                  </a:lnTo>
                  <a:lnTo>
                    <a:pt x="647" y="514"/>
                  </a:lnTo>
                  <a:lnTo>
                    <a:pt x="651" y="512"/>
                  </a:lnTo>
                  <a:lnTo>
                    <a:pt x="654" y="511"/>
                  </a:lnTo>
                  <a:lnTo>
                    <a:pt x="654" y="511"/>
                  </a:lnTo>
                  <a:lnTo>
                    <a:pt x="659" y="508"/>
                  </a:lnTo>
                  <a:lnTo>
                    <a:pt x="663" y="505"/>
                  </a:lnTo>
                  <a:lnTo>
                    <a:pt x="667" y="501"/>
                  </a:lnTo>
                  <a:lnTo>
                    <a:pt x="669" y="500"/>
                  </a:lnTo>
                  <a:lnTo>
                    <a:pt x="674" y="500"/>
                  </a:lnTo>
                  <a:lnTo>
                    <a:pt x="674" y="500"/>
                  </a:lnTo>
                  <a:lnTo>
                    <a:pt x="675" y="499"/>
                  </a:lnTo>
                  <a:lnTo>
                    <a:pt x="676" y="495"/>
                  </a:lnTo>
                  <a:lnTo>
                    <a:pt x="676" y="495"/>
                  </a:lnTo>
                  <a:lnTo>
                    <a:pt x="665" y="495"/>
                  </a:lnTo>
                  <a:lnTo>
                    <a:pt x="656" y="496"/>
                  </a:lnTo>
                  <a:lnTo>
                    <a:pt x="638" y="498"/>
                  </a:lnTo>
                  <a:lnTo>
                    <a:pt x="638" y="498"/>
                  </a:lnTo>
                  <a:lnTo>
                    <a:pt x="639" y="495"/>
                  </a:lnTo>
                  <a:lnTo>
                    <a:pt x="639" y="494"/>
                  </a:lnTo>
                  <a:lnTo>
                    <a:pt x="641" y="493"/>
                  </a:lnTo>
                  <a:lnTo>
                    <a:pt x="642" y="492"/>
                  </a:lnTo>
                  <a:lnTo>
                    <a:pt x="647" y="491"/>
                  </a:lnTo>
                  <a:lnTo>
                    <a:pt x="650" y="489"/>
                  </a:lnTo>
                  <a:lnTo>
                    <a:pt x="650" y="489"/>
                  </a:lnTo>
                  <a:lnTo>
                    <a:pt x="648" y="485"/>
                  </a:lnTo>
                  <a:lnTo>
                    <a:pt x="646" y="480"/>
                  </a:lnTo>
                  <a:lnTo>
                    <a:pt x="644" y="473"/>
                  </a:lnTo>
                  <a:lnTo>
                    <a:pt x="646" y="466"/>
                  </a:lnTo>
                  <a:lnTo>
                    <a:pt x="646" y="466"/>
                  </a:lnTo>
                  <a:lnTo>
                    <a:pt x="647" y="467"/>
                  </a:lnTo>
                  <a:lnTo>
                    <a:pt x="649" y="467"/>
                  </a:lnTo>
                  <a:lnTo>
                    <a:pt x="651" y="467"/>
                  </a:lnTo>
                  <a:lnTo>
                    <a:pt x="653" y="466"/>
                  </a:lnTo>
                  <a:lnTo>
                    <a:pt x="654" y="463"/>
                  </a:lnTo>
                  <a:lnTo>
                    <a:pt x="656" y="461"/>
                  </a:lnTo>
                  <a:lnTo>
                    <a:pt x="657" y="458"/>
                  </a:lnTo>
                  <a:lnTo>
                    <a:pt x="657" y="455"/>
                  </a:lnTo>
                  <a:lnTo>
                    <a:pt x="657" y="455"/>
                  </a:lnTo>
                  <a:lnTo>
                    <a:pt x="652" y="453"/>
                  </a:lnTo>
                  <a:lnTo>
                    <a:pt x="646" y="449"/>
                  </a:lnTo>
                  <a:lnTo>
                    <a:pt x="646" y="449"/>
                  </a:lnTo>
                  <a:lnTo>
                    <a:pt x="646" y="440"/>
                  </a:lnTo>
                  <a:lnTo>
                    <a:pt x="647" y="432"/>
                  </a:lnTo>
                  <a:lnTo>
                    <a:pt x="648" y="423"/>
                  </a:lnTo>
                  <a:lnTo>
                    <a:pt x="648" y="414"/>
                  </a:lnTo>
                  <a:lnTo>
                    <a:pt x="648" y="414"/>
                  </a:lnTo>
                  <a:lnTo>
                    <a:pt x="656" y="410"/>
                  </a:lnTo>
                  <a:lnTo>
                    <a:pt x="661" y="408"/>
                  </a:lnTo>
                  <a:lnTo>
                    <a:pt x="666" y="408"/>
                  </a:lnTo>
                  <a:lnTo>
                    <a:pt x="666" y="408"/>
                  </a:lnTo>
                  <a:lnTo>
                    <a:pt x="666" y="412"/>
                  </a:lnTo>
                  <a:lnTo>
                    <a:pt x="664" y="416"/>
                  </a:lnTo>
                  <a:lnTo>
                    <a:pt x="660" y="419"/>
                  </a:lnTo>
                  <a:lnTo>
                    <a:pt x="660" y="419"/>
                  </a:lnTo>
                  <a:lnTo>
                    <a:pt x="662" y="422"/>
                  </a:lnTo>
                  <a:lnTo>
                    <a:pt x="664" y="423"/>
                  </a:lnTo>
                  <a:lnTo>
                    <a:pt x="668" y="428"/>
                  </a:lnTo>
                  <a:lnTo>
                    <a:pt x="668" y="428"/>
                  </a:lnTo>
                  <a:lnTo>
                    <a:pt x="666" y="432"/>
                  </a:lnTo>
                  <a:lnTo>
                    <a:pt x="666" y="436"/>
                  </a:lnTo>
                  <a:lnTo>
                    <a:pt x="668" y="440"/>
                  </a:lnTo>
                  <a:lnTo>
                    <a:pt x="671" y="443"/>
                  </a:lnTo>
                  <a:lnTo>
                    <a:pt x="673" y="446"/>
                  </a:lnTo>
                  <a:lnTo>
                    <a:pt x="675" y="450"/>
                  </a:lnTo>
                  <a:lnTo>
                    <a:pt x="676" y="455"/>
                  </a:lnTo>
                  <a:lnTo>
                    <a:pt x="676" y="460"/>
                  </a:lnTo>
                  <a:lnTo>
                    <a:pt x="676" y="460"/>
                  </a:lnTo>
                  <a:lnTo>
                    <a:pt x="678" y="462"/>
                  </a:lnTo>
                  <a:lnTo>
                    <a:pt x="680" y="465"/>
                  </a:lnTo>
                  <a:lnTo>
                    <a:pt x="685" y="468"/>
                  </a:lnTo>
                  <a:lnTo>
                    <a:pt x="685" y="468"/>
                  </a:lnTo>
                  <a:lnTo>
                    <a:pt x="682" y="471"/>
                  </a:lnTo>
                  <a:lnTo>
                    <a:pt x="680" y="474"/>
                  </a:lnTo>
                  <a:lnTo>
                    <a:pt x="678" y="481"/>
                  </a:lnTo>
                  <a:lnTo>
                    <a:pt x="676" y="495"/>
                  </a:lnTo>
                  <a:lnTo>
                    <a:pt x="676" y="495"/>
                  </a:lnTo>
                  <a:lnTo>
                    <a:pt x="679" y="495"/>
                  </a:lnTo>
                  <a:lnTo>
                    <a:pt x="681" y="494"/>
                  </a:lnTo>
                  <a:lnTo>
                    <a:pt x="682" y="491"/>
                  </a:lnTo>
                  <a:lnTo>
                    <a:pt x="682" y="487"/>
                  </a:lnTo>
                  <a:lnTo>
                    <a:pt x="684" y="484"/>
                  </a:lnTo>
                  <a:lnTo>
                    <a:pt x="686" y="482"/>
                  </a:lnTo>
                  <a:lnTo>
                    <a:pt x="688" y="481"/>
                  </a:lnTo>
                  <a:lnTo>
                    <a:pt x="692" y="482"/>
                  </a:lnTo>
                  <a:lnTo>
                    <a:pt x="692" y="482"/>
                  </a:lnTo>
                  <a:lnTo>
                    <a:pt x="691" y="475"/>
                  </a:lnTo>
                  <a:lnTo>
                    <a:pt x="692" y="472"/>
                  </a:lnTo>
                  <a:lnTo>
                    <a:pt x="697" y="466"/>
                  </a:lnTo>
                  <a:lnTo>
                    <a:pt x="697" y="466"/>
                  </a:lnTo>
                  <a:lnTo>
                    <a:pt x="702" y="465"/>
                  </a:lnTo>
                  <a:lnTo>
                    <a:pt x="706" y="462"/>
                  </a:lnTo>
                  <a:lnTo>
                    <a:pt x="712" y="460"/>
                  </a:lnTo>
                  <a:lnTo>
                    <a:pt x="717" y="460"/>
                  </a:lnTo>
                  <a:lnTo>
                    <a:pt x="717" y="460"/>
                  </a:lnTo>
                  <a:lnTo>
                    <a:pt x="717" y="454"/>
                  </a:lnTo>
                  <a:lnTo>
                    <a:pt x="716" y="451"/>
                  </a:lnTo>
                  <a:lnTo>
                    <a:pt x="713" y="451"/>
                  </a:lnTo>
                  <a:lnTo>
                    <a:pt x="713" y="451"/>
                  </a:lnTo>
                  <a:lnTo>
                    <a:pt x="714" y="447"/>
                  </a:lnTo>
                  <a:lnTo>
                    <a:pt x="715" y="443"/>
                  </a:lnTo>
                  <a:lnTo>
                    <a:pt x="721" y="433"/>
                  </a:lnTo>
                  <a:lnTo>
                    <a:pt x="721" y="433"/>
                  </a:lnTo>
                  <a:lnTo>
                    <a:pt x="720" y="431"/>
                  </a:lnTo>
                  <a:lnTo>
                    <a:pt x="718" y="430"/>
                  </a:lnTo>
                  <a:lnTo>
                    <a:pt x="712" y="430"/>
                  </a:lnTo>
                  <a:lnTo>
                    <a:pt x="706" y="429"/>
                  </a:lnTo>
                  <a:lnTo>
                    <a:pt x="705" y="427"/>
                  </a:lnTo>
                  <a:lnTo>
                    <a:pt x="703" y="424"/>
                  </a:lnTo>
                  <a:lnTo>
                    <a:pt x="703" y="424"/>
                  </a:lnTo>
                  <a:lnTo>
                    <a:pt x="704" y="416"/>
                  </a:lnTo>
                  <a:lnTo>
                    <a:pt x="703" y="407"/>
                  </a:lnTo>
                  <a:lnTo>
                    <a:pt x="702" y="401"/>
                  </a:lnTo>
                  <a:lnTo>
                    <a:pt x="699" y="395"/>
                  </a:lnTo>
                  <a:lnTo>
                    <a:pt x="699" y="395"/>
                  </a:lnTo>
                  <a:lnTo>
                    <a:pt x="702" y="385"/>
                  </a:lnTo>
                  <a:lnTo>
                    <a:pt x="705" y="376"/>
                  </a:lnTo>
                  <a:lnTo>
                    <a:pt x="707" y="371"/>
                  </a:lnTo>
                  <a:lnTo>
                    <a:pt x="711" y="368"/>
                  </a:lnTo>
                  <a:lnTo>
                    <a:pt x="715" y="366"/>
                  </a:lnTo>
                  <a:lnTo>
                    <a:pt x="719" y="365"/>
                  </a:lnTo>
                  <a:lnTo>
                    <a:pt x="719" y="365"/>
                  </a:lnTo>
                  <a:lnTo>
                    <a:pt x="719" y="354"/>
                  </a:lnTo>
                  <a:lnTo>
                    <a:pt x="719" y="354"/>
                  </a:lnTo>
                  <a:lnTo>
                    <a:pt x="724" y="355"/>
                  </a:lnTo>
                  <a:lnTo>
                    <a:pt x="726" y="355"/>
                  </a:lnTo>
                  <a:lnTo>
                    <a:pt x="727" y="357"/>
                  </a:lnTo>
                  <a:lnTo>
                    <a:pt x="727" y="357"/>
                  </a:lnTo>
                  <a:lnTo>
                    <a:pt x="731" y="351"/>
                  </a:lnTo>
                  <a:lnTo>
                    <a:pt x="736" y="344"/>
                  </a:lnTo>
                  <a:lnTo>
                    <a:pt x="738" y="335"/>
                  </a:lnTo>
                  <a:lnTo>
                    <a:pt x="741" y="327"/>
                  </a:lnTo>
                  <a:lnTo>
                    <a:pt x="741" y="327"/>
                  </a:lnTo>
                  <a:lnTo>
                    <a:pt x="755" y="314"/>
                  </a:lnTo>
                  <a:lnTo>
                    <a:pt x="762" y="307"/>
                  </a:lnTo>
                  <a:lnTo>
                    <a:pt x="768" y="300"/>
                  </a:lnTo>
                  <a:lnTo>
                    <a:pt x="768" y="300"/>
                  </a:lnTo>
                  <a:lnTo>
                    <a:pt x="771" y="300"/>
                  </a:lnTo>
                  <a:lnTo>
                    <a:pt x="774" y="299"/>
                  </a:lnTo>
                  <a:lnTo>
                    <a:pt x="775" y="299"/>
                  </a:lnTo>
                  <a:lnTo>
                    <a:pt x="776" y="300"/>
                  </a:lnTo>
                  <a:lnTo>
                    <a:pt x="776" y="300"/>
                  </a:lnTo>
                  <a:lnTo>
                    <a:pt x="794" y="283"/>
                  </a:lnTo>
                  <a:lnTo>
                    <a:pt x="794" y="283"/>
                  </a:lnTo>
                  <a:lnTo>
                    <a:pt x="815" y="283"/>
                  </a:lnTo>
                  <a:lnTo>
                    <a:pt x="815" y="283"/>
                  </a:lnTo>
                  <a:lnTo>
                    <a:pt x="818" y="287"/>
                  </a:lnTo>
                  <a:lnTo>
                    <a:pt x="821" y="291"/>
                  </a:lnTo>
                  <a:lnTo>
                    <a:pt x="827" y="300"/>
                  </a:lnTo>
                  <a:lnTo>
                    <a:pt x="827" y="300"/>
                  </a:lnTo>
                  <a:lnTo>
                    <a:pt x="832" y="301"/>
                  </a:lnTo>
                  <a:lnTo>
                    <a:pt x="837" y="303"/>
                  </a:lnTo>
                  <a:lnTo>
                    <a:pt x="842" y="306"/>
                  </a:lnTo>
                  <a:lnTo>
                    <a:pt x="845" y="311"/>
                  </a:lnTo>
                  <a:lnTo>
                    <a:pt x="845" y="311"/>
                  </a:lnTo>
                  <a:lnTo>
                    <a:pt x="850" y="312"/>
                  </a:lnTo>
                  <a:lnTo>
                    <a:pt x="856" y="313"/>
                  </a:lnTo>
                  <a:lnTo>
                    <a:pt x="862" y="315"/>
                  </a:lnTo>
                  <a:lnTo>
                    <a:pt x="867" y="318"/>
                  </a:lnTo>
                  <a:lnTo>
                    <a:pt x="871" y="322"/>
                  </a:lnTo>
                  <a:lnTo>
                    <a:pt x="873" y="327"/>
                  </a:lnTo>
                  <a:lnTo>
                    <a:pt x="874" y="332"/>
                  </a:lnTo>
                  <a:lnTo>
                    <a:pt x="873" y="338"/>
                  </a:lnTo>
                  <a:lnTo>
                    <a:pt x="873" y="338"/>
                  </a:lnTo>
                  <a:lnTo>
                    <a:pt x="878" y="338"/>
                  </a:lnTo>
                  <a:lnTo>
                    <a:pt x="881" y="337"/>
                  </a:lnTo>
                  <a:lnTo>
                    <a:pt x="883" y="334"/>
                  </a:lnTo>
                  <a:lnTo>
                    <a:pt x="885" y="331"/>
                  </a:lnTo>
                  <a:lnTo>
                    <a:pt x="886" y="327"/>
                  </a:lnTo>
                  <a:lnTo>
                    <a:pt x="886" y="321"/>
                  </a:lnTo>
                  <a:lnTo>
                    <a:pt x="887" y="311"/>
                  </a:lnTo>
                  <a:lnTo>
                    <a:pt x="887" y="311"/>
                  </a:lnTo>
                  <a:lnTo>
                    <a:pt x="890" y="313"/>
                  </a:lnTo>
                  <a:lnTo>
                    <a:pt x="893" y="314"/>
                  </a:lnTo>
                  <a:lnTo>
                    <a:pt x="900" y="314"/>
                  </a:lnTo>
                  <a:lnTo>
                    <a:pt x="900" y="314"/>
                  </a:lnTo>
                  <a:lnTo>
                    <a:pt x="900" y="330"/>
                  </a:lnTo>
                  <a:lnTo>
                    <a:pt x="900" y="330"/>
                  </a:lnTo>
                  <a:lnTo>
                    <a:pt x="905" y="328"/>
                  </a:lnTo>
                  <a:lnTo>
                    <a:pt x="908" y="326"/>
                  </a:lnTo>
                  <a:lnTo>
                    <a:pt x="916" y="320"/>
                  </a:lnTo>
                  <a:lnTo>
                    <a:pt x="921" y="315"/>
                  </a:lnTo>
                  <a:lnTo>
                    <a:pt x="929" y="311"/>
                  </a:lnTo>
                  <a:lnTo>
                    <a:pt x="929" y="311"/>
                  </a:lnTo>
                  <a:lnTo>
                    <a:pt x="938" y="311"/>
                  </a:lnTo>
                  <a:lnTo>
                    <a:pt x="948" y="311"/>
                  </a:lnTo>
                  <a:lnTo>
                    <a:pt x="956" y="309"/>
                  </a:lnTo>
                  <a:lnTo>
                    <a:pt x="963" y="311"/>
                  </a:lnTo>
                  <a:lnTo>
                    <a:pt x="963" y="311"/>
                  </a:lnTo>
                  <a:lnTo>
                    <a:pt x="963" y="307"/>
                  </a:lnTo>
                  <a:lnTo>
                    <a:pt x="962" y="305"/>
                  </a:lnTo>
                  <a:lnTo>
                    <a:pt x="961" y="304"/>
                  </a:lnTo>
                  <a:lnTo>
                    <a:pt x="959" y="303"/>
                  </a:lnTo>
                  <a:lnTo>
                    <a:pt x="956" y="302"/>
                  </a:lnTo>
                  <a:lnTo>
                    <a:pt x="955" y="301"/>
                  </a:lnTo>
                  <a:lnTo>
                    <a:pt x="953" y="299"/>
                  </a:lnTo>
                  <a:lnTo>
                    <a:pt x="955" y="294"/>
                  </a:lnTo>
                  <a:lnTo>
                    <a:pt x="955" y="294"/>
                  </a:lnTo>
                  <a:lnTo>
                    <a:pt x="963" y="295"/>
                  </a:lnTo>
                  <a:lnTo>
                    <a:pt x="970" y="298"/>
                  </a:lnTo>
                  <a:lnTo>
                    <a:pt x="975" y="300"/>
                  </a:lnTo>
                  <a:lnTo>
                    <a:pt x="984" y="300"/>
                  </a:lnTo>
                  <a:lnTo>
                    <a:pt x="984" y="300"/>
                  </a:lnTo>
                  <a:lnTo>
                    <a:pt x="997" y="286"/>
                  </a:lnTo>
                  <a:lnTo>
                    <a:pt x="1002" y="278"/>
                  </a:lnTo>
                  <a:lnTo>
                    <a:pt x="1008" y="270"/>
                  </a:lnTo>
                  <a:lnTo>
                    <a:pt x="1008" y="270"/>
                  </a:lnTo>
                  <a:lnTo>
                    <a:pt x="1011" y="269"/>
                  </a:lnTo>
                  <a:lnTo>
                    <a:pt x="1014" y="269"/>
                  </a:lnTo>
                  <a:lnTo>
                    <a:pt x="1015" y="270"/>
                  </a:lnTo>
                  <a:lnTo>
                    <a:pt x="1017" y="273"/>
                  </a:lnTo>
                  <a:lnTo>
                    <a:pt x="1020" y="277"/>
                  </a:lnTo>
                  <a:lnTo>
                    <a:pt x="1022" y="281"/>
                  </a:lnTo>
                  <a:lnTo>
                    <a:pt x="1022" y="281"/>
                  </a:lnTo>
                  <a:lnTo>
                    <a:pt x="1025" y="281"/>
                  </a:lnTo>
                  <a:lnTo>
                    <a:pt x="1026" y="281"/>
                  </a:lnTo>
                  <a:lnTo>
                    <a:pt x="1028" y="279"/>
                  </a:lnTo>
                  <a:lnTo>
                    <a:pt x="1028" y="277"/>
                  </a:lnTo>
                  <a:lnTo>
                    <a:pt x="1030" y="274"/>
                  </a:lnTo>
                  <a:lnTo>
                    <a:pt x="1033" y="273"/>
                  </a:lnTo>
                  <a:lnTo>
                    <a:pt x="1035" y="273"/>
                  </a:lnTo>
                  <a:lnTo>
                    <a:pt x="1035" y="273"/>
                  </a:lnTo>
                  <a:lnTo>
                    <a:pt x="1035" y="282"/>
                  </a:lnTo>
                  <a:lnTo>
                    <a:pt x="1036" y="286"/>
                  </a:lnTo>
                  <a:lnTo>
                    <a:pt x="1038" y="289"/>
                  </a:lnTo>
                  <a:lnTo>
                    <a:pt x="1038" y="289"/>
                  </a:lnTo>
                  <a:lnTo>
                    <a:pt x="1039" y="289"/>
                  </a:lnTo>
                  <a:lnTo>
                    <a:pt x="1041" y="288"/>
                  </a:lnTo>
                  <a:lnTo>
                    <a:pt x="1042" y="283"/>
                  </a:lnTo>
                  <a:lnTo>
                    <a:pt x="1042" y="273"/>
                  </a:lnTo>
                  <a:lnTo>
                    <a:pt x="1042" y="273"/>
                  </a:lnTo>
                  <a:lnTo>
                    <a:pt x="1047" y="273"/>
                  </a:lnTo>
                  <a:lnTo>
                    <a:pt x="1050" y="274"/>
                  </a:lnTo>
                  <a:lnTo>
                    <a:pt x="1053" y="275"/>
                  </a:lnTo>
                  <a:lnTo>
                    <a:pt x="1055" y="276"/>
                  </a:lnTo>
                  <a:lnTo>
                    <a:pt x="1060" y="280"/>
                  </a:lnTo>
                  <a:lnTo>
                    <a:pt x="1063" y="282"/>
                  </a:lnTo>
                  <a:lnTo>
                    <a:pt x="1065" y="283"/>
                  </a:lnTo>
                  <a:lnTo>
                    <a:pt x="1065" y="283"/>
                  </a:lnTo>
                  <a:lnTo>
                    <a:pt x="1065" y="280"/>
                  </a:lnTo>
                  <a:lnTo>
                    <a:pt x="1064" y="277"/>
                  </a:lnTo>
                  <a:lnTo>
                    <a:pt x="1063" y="276"/>
                  </a:lnTo>
                  <a:lnTo>
                    <a:pt x="1061" y="275"/>
                  </a:lnTo>
                  <a:lnTo>
                    <a:pt x="1056" y="273"/>
                  </a:lnTo>
                  <a:lnTo>
                    <a:pt x="1054" y="270"/>
                  </a:lnTo>
                  <a:lnTo>
                    <a:pt x="1054" y="267"/>
                  </a:lnTo>
                  <a:lnTo>
                    <a:pt x="1054" y="267"/>
                  </a:lnTo>
                  <a:lnTo>
                    <a:pt x="1053" y="264"/>
                  </a:lnTo>
                  <a:lnTo>
                    <a:pt x="1054" y="263"/>
                  </a:lnTo>
                  <a:lnTo>
                    <a:pt x="1056" y="262"/>
                  </a:lnTo>
                  <a:lnTo>
                    <a:pt x="1059" y="262"/>
                  </a:lnTo>
                  <a:lnTo>
                    <a:pt x="1063" y="262"/>
                  </a:lnTo>
                  <a:lnTo>
                    <a:pt x="1067" y="262"/>
                  </a:lnTo>
                  <a:lnTo>
                    <a:pt x="1067" y="262"/>
                  </a:lnTo>
                  <a:lnTo>
                    <a:pt x="1070" y="262"/>
                  </a:lnTo>
                  <a:lnTo>
                    <a:pt x="1071" y="260"/>
                  </a:lnTo>
                  <a:lnTo>
                    <a:pt x="1073" y="256"/>
                  </a:lnTo>
                  <a:lnTo>
                    <a:pt x="1073" y="252"/>
                  </a:lnTo>
                  <a:lnTo>
                    <a:pt x="1075" y="249"/>
                  </a:lnTo>
                  <a:lnTo>
                    <a:pt x="1075" y="249"/>
                  </a:lnTo>
                  <a:lnTo>
                    <a:pt x="1079" y="248"/>
                  </a:lnTo>
                  <a:lnTo>
                    <a:pt x="1084" y="245"/>
                  </a:lnTo>
                  <a:lnTo>
                    <a:pt x="1089" y="240"/>
                  </a:lnTo>
                  <a:lnTo>
                    <a:pt x="1089" y="240"/>
                  </a:lnTo>
                  <a:lnTo>
                    <a:pt x="1098" y="240"/>
                  </a:lnTo>
                  <a:lnTo>
                    <a:pt x="1105" y="238"/>
                  </a:lnTo>
                  <a:lnTo>
                    <a:pt x="1112" y="235"/>
                  </a:lnTo>
                  <a:lnTo>
                    <a:pt x="1116" y="229"/>
                  </a:lnTo>
                  <a:lnTo>
                    <a:pt x="1116" y="229"/>
                  </a:lnTo>
                  <a:lnTo>
                    <a:pt x="1119" y="229"/>
                  </a:lnTo>
                  <a:lnTo>
                    <a:pt x="1120" y="229"/>
                  </a:lnTo>
                  <a:lnTo>
                    <a:pt x="1123" y="232"/>
                  </a:lnTo>
                  <a:lnTo>
                    <a:pt x="1124" y="236"/>
                  </a:lnTo>
                  <a:lnTo>
                    <a:pt x="1125" y="237"/>
                  </a:lnTo>
                  <a:lnTo>
                    <a:pt x="1126" y="238"/>
                  </a:lnTo>
                  <a:lnTo>
                    <a:pt x="1126" y="238"/>
                  </a:lnTo>
                  <a:lnTo>
                    <a:pt x="1128" y="237"/>
                  </a:lnTo>
                  <a:lnTo>
                    <a:pt x="1130" y="236"/>
                  </a:lnTo>
                  <a:lnTo>
                    <a:pt x="1132" y="232"/>
                  </a:lnTo>
                  <a:lnTo>
                    <a:pt x="1135" y="230"/>
                  </a:lnTo>
                  <a:lnTo>
                    <a:pt x="1136" y="229"/>
                  </a:lnTo>
                  <a:lnTo>
                    <a:pt x="1139" y="228"/>
                  </a:lnTo>
                  <a:lnTo>
                    <a:pt x="1142" y="229"/>
                  </a:lnTo>
                  <a:lnTo>
                    <a:pt x="1142" y="229"/>
                  </a:lnTo>
                  <a:lnTo>
                    <a:pt x="1142" y="223"/>
                  </a:lnTo>
                  <a:lnTo>
                    <a:pt x="1143" y="217"/>
                  </a:lnTo>
                  <a:lnTo>
                    <a:pt x="1145" y="213"/>
                  </a:lnTo>
                  <a:lnTo>
                    <a:pt x="1149" y="210"/>
                  </a:lnTo>
                  <a:lnTo>
                    <a:pt x="1149" y="210"/>
                  </a:lnTo>
                  <a:lnTo>
                    <a:pt x="1152" y="210"/>
                  </a:lnTo>
                  <a:lnTo>
                    <a:pt x="1154" y="211"/>
                  </a:lnTo>
                  <a:lnTo>
                    <a:pt x="1157" y="214"/>
                  </a:lnTo>
                  <a:lnTo>
                    <a:pt x="1159" y="218"/>
                  </a:lnTo>
                  <a:lnTo>
                    <a:pt x="1161" y="219"/>
                  </a:lnTo>
                  <a:lnTo>
                    <a:pt x="1163" y="222"/>
                  </a:lnTo>
                  <a:lnTo>
                    <a:pt x="1163" y="222"/>
                  </a:lnTo>
                  <a:lnTo>
                    <a:pt x="1178" y="222"/>
                  </a:lnTo>
                  <a:lnTo>
                    <a:pt x="1184" y="221"/>
                  </a:lnTo>
                  <a:lnTo>
                    <a:pt x="1191" y="218"/>
                  </a:lnTo>
                  <a:lnTo>
                    <a:pt x="1191" y="218"/>
                  </a:lnTo>
                  <a:lnTo>
                    <a:pt x="1194" y="224"/>
                  </a:lnTo>
                  <a:lnTo>
                    <a:pt x="1197" y="228"/>
                  </a:lnTo>
                  <a:lnTo>
                    <a:pt x="1202" y="232"/>
                  </a:lnTo>
                  <a:lnTo>
                    <a:pt x="1205" y="238"/>
                  </a:lnTo>
                  <a:lnTo>
                    <a:pt x="1205" y="238"/>
                  </a:lnTo>
                  <a:lnTo>
                    <a:pt x="1204" y="242"/>
                  </a:lnTo>
                  <a:lnTo>
                    <a:pt x="1202" y="245"/>
                  </a:lnTo>
                  <a:lnTo>
                    <a:pt x="1200" y="250"/>
                  </a:lnTo>
                  <a:lnTo>
                    <a:pt x="1197" y="254"/>
                  </a:lnTo>
                  <a:lnTo>
                    <a:pt x="1197" y="254"/>
                  </a:lnTo>
                  <a:lnTo>
                    <a:pt x="1202" y="253"/>
                  </a:lnTo>
                  <a:lnTo>
                    <a:pt x="1206" y="253"/>
                  </a:lnTo>
                  <a:lnTo>
                    <a:pt x="1212" y="255"/>
                  </a:lnTo>
                  <a:lnTo>
                    <a:pt x="1217" y="257"/>
                  </a:lnTo>
                  <a:lnTo>
                    <a:pt x="1221" y="260"/>
                  </a:lnTo>
                  <a:lnTo>
                    <a:pt x="1221" y="260"/>
                  </a:lnTo>
                  <a:lnTo>
                    <a:pt x="1226" y="259"/>
                  </a:lnTo>
                  <a:lnTo>
                    <a:pt x="1228" y="259"/>
                  </a:lnTo>
                  <a:lnTo>
                    <a:pt x="1230" y="260"/>
                  </a:lnTo>
                  <a:lnTo>
                    <a:pt x="1230" y="260"/>
                  </a:lnTo>
                  <a:lnTo>
                    <a:pt x="1239" y="263"/>
                  </a:lnTo>
                  <a:lnTo>
                    <a:pt x="1243" y="264"/>
                  </a:lnTo>
                  <a:lnTo>
                    <a:pt x="1247" y="265"/>
                  </a:lnTo>
                  <a:lnTo>
                    <a:pt x="1247" y="265"/>
                  </a:lnTo>
                  <a:lnTo>
                    <a:pt x="1266" y="285"/>
                  </a:lnTo>
                  <a:lnTo>
                    <a:pt x="1284" y="304"/>
                  </a:lnTo>
                  <a:lnTo>
                    <a:pt x="1302" y="326"/>
                  </a:lnTo>
                  <a:lnTo>
                    <a:pt x="1318" y="346"/>
                  </a:lnTo>
                  <a:lnTo>
                    <a:pt x="1334" y="369"/>
                  </a:lnTo>
                  <a:lnTo>
                    <a:pt x="1349" y="392"/>
                  </a:lnTo>
                  <a:lnTo>
                    <a:pt x="1363" y="415"/>
                  </a:lnTo>
                  <a:lnTo>
                    <a:pt x="1376" y="438"/>
                  </a:lnTo>
                  <a:lnTo>
                    <a:pt x="1376" y="438"/>
                  </a:lnTo>
                  <a:close/>
                  <a:moveTo>
                    <a:pt x="1427" y="563"/>
                  </a:moveTo>
                  <a:lnTo>
                    <a:pt x="1427" y="563"/>
                  </a:lnTo>
                  <a:lnTo>
                    <a:pt x="1425" y="565"/>
                  </a:lnTo>
                  <a:lnTo>
                    <a:pt x="1425" y="565"/>
                  </a:lnTo>
                  <a:lnTo>
                    <a:pt x="1424" y="565"/>
                  </a:lnTo>
                  <a:lnTo>
                    <a:pt x="1423" y="565"/>
                  </a:lnTo>
                  <a:lnTo>
                    <a:pt x="1421" y="562"/>
                  </a:lnTo>
                  <a:lnTo>
                    <a:pt x="1421" y="559"/>
                  </a:lnTo>
                  <a:lnTo>
                    <a:pt x="1420" y="558"/>
                  </a:lnTo>
                  <a:lnTo>
                    <a:pt x="1419" y="558"/>
                  </a:lnTo>
                  <a:lnTo>
                    <a:pt x="1419" y="558"/>
                  </a:lnTo>
                  <a:lnTo>
                    <a:pt x="1415" y="558"/>
                  </a:lnTo>
                  <a:lnTo>
                    <a:pt x="1413" y="559"/>
                  </a:lnTo>
                  <a:lnTo>
                    <a:pt x="1411" y="562"/>
                  </a:lnTo>
                  <a:lnTo>
                    <a:pt x="1409" y="564"/>
                  </a:lnTo>
                  <a:lnTo>
                    <a:pt x="1408" y="565"/>
                  </a:lnTo>
                  <a:lnTo>
                    <a:pt x="1407" y="565"/>
                  </a:lnTo>
                  <a:lnTo>
                    <a:pt x="1405" y="563"/>
                  </a:lnTo>
                  <a:lnTo>
                    <a:pt x="1405" y="563"/>
                  </a:lnTo>
                  <a:lnTo>
                    <a:pt x="1405" y="556"/>
                  </a:lnTo>
                  <a:lnTo>
                    <a:pt x="1406" y="549"/>
                  </a:lnTo>
                  <a:lnTo>
                    <a:pt x="1407" y="541"/>
                  </a:lnTo>
                  <a:lnTo>
                    <a:pt x="1407" y="533"/>
                  </a:lnTo>
                  <a:lnTo>
                    <a:pt x="1407" y="533"/>
                  </a:lnTo>
                  <a:lnTo>
                    <a:pt x="1413" y="535"/>
                  </a:lnTo>
                  <a:lnTo>
                    <a:pt x="1419" y="536"/>
                  </a:lnTo>
                  <a:lnTo>
                    <a:pt x="1419" y="536"/>
                  </a:lnTo>
                  <a:lnTo>
                    <a:pt x="1427" y="563"/>
                  </a:lnTo>
                  <a:lnTo>
                    <a:pt x="1427" y="563"/>
                  </a:lnTo>
                  <a:close/>
                  <a:moveTo>
                    <a:pt x="1344" y="807"/>
                  </a:moveTo>
                  <a:lnTo>
                    <a:pt x="1344" y="807"/>
                  </a:lnTo>
                  <a:lnTo>
                    <a:pt x="1347" y="803"/>
                  </a:lnTo>
                  <a:lnTo>
                    <a:pt x="1349" y="800"/>
                  </a:lnTo>
                  <a:lnTo>
                    <a:pt x="1351" y="798"/>
                  </a:lnTo>
                  <a:lnTo>
                    <a:pt x="1352" y="797"/>
                  </a:lnTo>
                  <a:lnTo>
                    <a:pt x="1356" y="798"/>
                  </a:lnTo>
                  <a:lnTo>
                    <a:pt x="1358" y="800"/>
                  </a:lnTo>
                  <a:lnTo>
                    <a:pt x="1358" y="800"/>
                  </a:lnTo>
                  <a:lnTo>
                    <a:pt x="1358" y="789"/>
                  </a:lnTo>
                  <a:lnTo>
                    <a:pt x="1359" y="783"/>
                  </a:lnTo>
                  <a:lnTo>
                    <a:pt x="1360" y="780"/>
                  </a:lnTo>
                  <a:lnTo>
                    <a:pt x="1360" y="780"/>
                  </a:lnTo>
                  <a:lnTo>
                    <a:pt x="1364" y="781"/>
                  </a:lnTo>
                  <a:lnTo>
                    <a:pt x="1368" y="784"/>
                  </a:lnTo>
                  <a:lnTo>
                    <a:pt x="1369" y="788"/>
                  </a:lnTo>
                  <a:lnTo>
                    <a:pt x="1370" y="794"/>
                  </a:lnTo>
                  <a:lnTo>
                    <a:pt x="1370" y="794"/>
                  </a:lnTo>
                  <a:lnTo>
                    <a:pt x="1373" y="796"/>
                  </a:lnTo>
                  <a:lnTo>
                    <a:pt x="1377" y="800"/>
                  </a:lnTo>
                  <a:lnTo>
                    <a:pt x="1380" y="801"/>
                  </a:lnTo>
                  <a:lnTo>
                    <a:pt x="1381" y="803"/>
                  </a:lnTo>
                  <a:lnTo>
                    <a:pt x="1382" y="806"/>
                  </a:lnTo>
                  <a:lnTo>
                    <a:pt x="1381" y="810"/>
                  </a:lnTo>
                  <a:lnTo>
                    <a:pt x="1381" y="810"/>
                  </a:lnTo>
                  <a:lnTo>
                    <a:pt x="1373" y="810"/>
                  </a:lnTo>
                  <a:lnTo>
                    <a:pt x="1368" y="813"/>
                  </a:lnTo>
                  <a:lnTo>
                    <a:pt x="1363" y="816"/>
                  </a:lnTo>
                  <a:lnTo>
                    <a:pt x="1360" y="821"/>
                  </a:lnTo>
                  <a:lnTo>
                    <a:pt x="1360" y="821"/>
                  </a:lnTo>
                  <a:lnTo>
                    <a:pt x="1358" y="820"/>
                  </a:lnTo>
                  <a:lnTo>
                    <a:pt x="1357" y="819"/>
                  </a:lnTo>
                  <a:lnTo>
                    <a:pt x="1356" y="816"/>
                  </a:lnTo>
                  <a:lnTo>
                    <a:pt x="1358" y="807"/>
                  </a:lnTo>
                  <a:lnTo>
                    <a:pt x="1358" y="807"/>
                  </a:lnTo>
                  <a:lnTo>
                    <a:pt x="1356" y="807"/>
                  </a:lnTo>
                  <a:lnTo>
                    <a:pt x="1354" y="807"/>
                  </a:lnTo>
                  <a:lnTo>
                    <a:pt x="1350" y="809"/>
                  </a:lnTo>
                  <a:lnTo>
                    <a:pt x="1347" y="809"/>
                  </a:lnTo>
                  <a:lnTo>
                    <a:pt x="1346" y="809"/>
                  </a:lnTo>
                  <a:lnTo>
                    <a:pt x="1344" y="807"/>
                  </a:lnTo>
                  <a:lnTo>
                    <a:pt x="1344" y="807"/>
                  </a:lnTo>
                  <a:close/>
                  <a:moveTo>
                    <a:pt x="1351" y="919"/>
                  </a:moveTo>
                  <a:lnTo>
                    <a:pt x="1351" y="919"/>
                  </a:lnTo>
                  <a:lnTo>
                    <a:pt x="1348" y="920"/>
                  </a:lnTo>
                  <a:lnTo>
                    <a:pt x="1346" y="921"/>
                  </a:lnTo>
                  <a:lnTo>
                    <a:pt x="1344" y="920"/>
                  </a:lnTo>
                  <a:lnTo>
                    <a:pt x="1343" y="919"/>
                  </a:lnTo>
                  <a:lnTo>
                    <a:pt x="1341" y="914"/>
                  </a:lnTo>
                  <a:lnTo>
                    <a:pt x="1337" y="910"/>
                  </a:lnTo>
                  <a:lnTo>
                    <a:pt x="1337" y="910"/>
                  </a:lnTo>
                  <a:lnTo>
                    <a:pt x="1334" y="913"/>
                  </a:lnTo>
                  <a:lnTo>
                    <a:pt x="1333" y="917"/>
                  </a:lnTo>
                  <a:lnTo>
                    <a:pt x="1332" y="921"/>
                  </a:lnTo>
                  <a:lnTo>
                    <a:pt x="1332" y="926"/>
                  </a:lnTo>
                  <a:lnTo>
                    <a:pt x="1332" y="926"/>
                  </a:lnTo>
                  <a:lnTo>
                    <a:pt x="1330" y="924"/>
                  </a:lnTo>
                  <a:lnTo>
                    <a:pt x="1326" y="922"/>
                  </a:lnTo>
                  <a:lnTo>
                    <a:pt x="1323" y="916"/>
                  </a:lnTo>
                  <a:lnTo>
                    <a:pt x="1322" y="909"/>
                  </a:lnTo>
                  <a:lnTo>
                    <a:pt x="1322" y="901"/>
                  </a:lnTo>
                  <a:lnTo>
                    <a:pt x="1324" y="894"/>
                  </a:lnTo>
                  <a:lnTo>
                    <a:pt x="1326" y="886"/>
                  </a:lnTo>
                  <a:lnTo>
                    <a:pt x="1331" y="880"/>
                  </a:lnTo>
                  <a:lnTo>
                    <a:pt x="1335" y="875"/>
                  </a:lnTo>
                  <a:lnTo>
                    <a:pt x="1335" y="875"/>
                  </a:lnTo>
                  <a:lnTo>
                    <a:pt x="1336" y="878"/>
                  </a:lnTo>
                  <a:lnTo>
                    <a:pt x="1339" y="880"/>
                  </a:lnTo>
                  <a:lnTo>
                    <a:pt x="1345" y="882"/>
                  </a:lnTo>
                  <a:lnTo>
                    <a:pt x="1348" y="883"/>
                  </a:lnTo>
                  <a:lnTo>
                    <a:pt x="1350" y="885"/>
                  </a:lnTo>
                  <a:lnTo>
                    <a:pt x="1352" y="887"/>
                  </a:lnTo>
                  <a:lnTo>
                    <a:pt x="1354" y="892"/>
                  </a:lnTo>
                  <a:lnTo>
                    <a:pt x="1354" y="892"/>
                  </a:lnTo>
                  <a:lnTo>
                    <a:pt x="1350" y="894"/>
                  </a:lnTo>
                  <a:lnTo>
                    <a:pt x="1347" y="894"/>
                  </a:lnTo>
                  <a:lnTo>
                    <a:pt x="1344" y="894"/>
                  </a:lnTo>
                  <a:lnTo>
                    <a:pt x="1342" y="892"/>
                  </a:lnTo>
                  <a:lnTo>
                    <a:pt x="1342" y="892"/>
                  </a:lnTo>
                  <a:lnTo>
                    <a:pt x="1342" y="896"/>
                  </a:lnTo>
                  <a:lnTo>
                    <a:pt x="1343" y="899"/>
                  </a:lnTo>
                  <a:lnTo>
                    <a:pt x="1346" y="906"/>
                  </a:lnTo>
                  <a:lnTo>
                    <a:pt x="1349" y="911"/>
                  </a:lnTo>
                  <a:lnTo>
                    <a:pt x="1351" y="919"/>
                  </a:lnTo>
                  <a:lnTo>
                    <a:pt x="1351" y="919"/>
                  </a:lnTo>
                  <a:close/>
                  <a:moveTo>
                    <a:pt x="1321" y="888"/>
                  </a:moveTo>
                  <a:lnTo>
                    <a:pt x="1321" y="888"/>
                  </a:lnTo>
                  <a:lnTo>
                    <a:pt x="1319" y="891"/>
                  </a:lnTo>
                  <a:lnTo>
                    <a:pt x="1317" y="894"/>
                  </a:lnTo>
                  <a:lnTo>
                    <a:pt x="1315" y="901"/>
                  </a:lnTo>
                  <a:lnTo>
                    <a:pt x="1313" y="908"/>
                  </a:lnTo>
                  <a:lnTo>
                    <a:pt x="1311" y="911"/>
                  </a:lnTo>
                  <a:lnTo>
                    <a:pt x="1309" y="913"/>
                  </a:lnTo>
                  <a:lnTo>
                    <a:pt x="1309" y="913"/>
                  </a:lnTo>
                  <a:lnTo>
                    <a:pt x="1310" y="914"/>
                  </a:lnTo>
                  <a:lnTo>
                    <a:pt x="1311" y="916"/>
                  </a:lnTo>
                  <a:lnTo>
                    <a:pt x="1313" y="916"/>
                  </a:lnTo>
                  <a:lnTo>
                    <a:pt x="1313" y="916"/>
                  </a:lnTo>
                  <a:lnTo>
                    <a:pt x="1313" y="918"/>
                  </a:lnTo>
                  <a:lnTo>
                    <a:pt x="1312" y="919"/>
                  </a:lnTo>
                  <a:lnTo>
                    <a:pt x="1310" y="920"/>
                  </a:lnTo>
                  <a:lnTo>
                    <a:pt x="1308" y="921"/>
                  </a:lnTo>
                  <a:lnTo>
                    <a:pt x="1307" y="922"/>
                  </a:lnTo>
                  <a:lnTo>
                    <a:pt x="1307" y="924"/>
                  </a:lnTo>
                  <a:lnTo>
                    <a:pt x="1307" y="924"/>
                  </a:lnTo>
                  <a:lnTo>
                    <a:pt x="1302" y="924"/>
                  </a:lnTo>
                  <a:lnTo>
                    <a:pt x="1298" y="924"/>
                  </a:lnTo>
                  <a:lnTo>
                    <a:pt x="1295" y="922"/>
                  </a:lnTo>
                  <a:lnTo>
                    <a:pt x="1293" y="920"/>
                  </a:lnTo>
                  <a:lnTo>
                    <a:pt x="1291" y="918"/>
                  </a:lnTo>
                  <a:lnTo>
                    <a:pt x="1287" y="917"/>
                  </a:lnTo>
                  <a:lnTo>
                    <a:pt x="1284" y="916"/>
                  </a:lnTo>
                  <a:lnTo>
                    <a:pt x="1279" y="916"/>
                  </a:lnTo>
                  <a:lnTo>
                    <a:pt x="1279" y="916"/>
                  </a:lnTo>
                  <a:lnTo>
                    <a:pt x="1279" y="911"/>
                  </a:lnTo>
                  <a:lnTo>
                    <a:pt x="1278" y="907"/>
                  </a:lnTo>
                  <a:lnTo>
                    <a:pt x="1277" y="904"/>
                  </a:lnTo>
                  <a:lnTo>
                    <a:pt x="1274" y="901"/>
                  </a:lnTo>
                  <a:lnTo>
                    <a:pt x="1270" y="896"/>
                  </a:lnTo>
                  <a:lnTo>
                    <a:pt x="1269" y="893"/>
                  </a:lnTo>
                  <a:lnTo>
                    <a:pt x="1267" y="888"/>
                  </a:lnTo>
                  <a:lnTo>
                    <a:pt x="1267" y="888"/>
                  </a:lnTo>
                  <a:lnTo>
                    <a:pt x="1268" y="884"/>
                  </a:lnTo>
                  <a:lnTo>
                    <a:pt x="1270" y="881"/>
                  </a:lnTo>
                  <a:lnTo>
                    <a:pt x="1274" y="874"/>
                  </a:lnTo>
                  <a:lnTo>
                    <a:pt x="1280" y="869"/>
                  </a:lnTo>
                  <a:lnTo>
                    <a:pt x="1286" y="866"/>
                  </a:lnTo>
                  <a:lnTo>
                    <a:pt x="1293" y="861"/>
                  </a:lnTo>
                  <a:lnTo>
                    <a:pt x="1298" y="856"/>
                  </a:lnTo>
                  <a:lnTo>
                    <a:pt x="1300" y="853"/>
                  </a:lnTo>
                  <a:lnTo>
                    <a:pt x="1303" y="849"/>
                  </a:lnTo>
                  <a:lnTo>
                    <a:pt x="1304" y="845"/>
                  </a:lnTo>
                  <a:lnTo>
                    <a:pt x="1305" y="840"/>
                  </a:lnTo>
                  <a:lnTo>
                    <a:pt x="1305" y="840"/>
                  </a:lnTo>
                  <a:lnTo>
                    <a:pt x="1308" y="840"/>
                  </a:lnTo>
                  <a:lnTo>
                    <a:pt x="1311" y="841"/>
                  </a:lnTo>
                  <a:lnTo>
                    <a:pt x="1317" y="843"/>
                  </a:lnTo>
                  <a:lnTo>
                    <a:pt x="1321" y="847"/>
                  </a:lnTo>
                  <a:lnTo>
                    <a:pt x="1325" y="850"/>
                  </a:lnTo>
                  <a:lnTo>
                    <a:pt x="1325" y="850"/>
                  </a:lnTo>
                  <a:lnTo>
                    <a:pt x="1325" y="856"/>
                  </a:lnTo>
                  <a:lnTo>
                    <a:pt x="1324" y="860"/>
                  </a:lnTo>
                  <a:lnTo>
                    <a:pt x="1321" y="862"/>
                  </a:lnTo>
                  <a:lnTo>
                    <a:pt x="1319" y="865"/>
                  </a:lnTo>
                  <a:lnTo>
                    <a:pt x="1319" y="865"/>
                  </a:lnTo>
                  <a:lnTo>
                    <a:pt x="1320" y="867"/>
                  </a:lnTo>
                  <a:lnTo>
                    <a:pt x="1320" y="870"/>
                  </a:lnTo>
                  <a:lnTo>
                    <a:pt x="1319" y="875"/>
                  </a:lnTo>
                  <a:lnTo>
                    <a:pt x="1319" y="882"/>
                  </a:lnTo>
                  <a:lnTo>
                    <a:pt x="1319" y="885"/>
                  </a:lnTo>
                  <a:lnTo>
                    <a:pt x="1321" y="888"/>
                  </a:lnTo>
                  <a:lnTo>
                    <a:pt x="1321" y="888"/>
                  </a:lnTo>
                  <a:close/>
                  <a:moveTo>
                    <a:pt x="1307" y="953"/>
                  </a:moveTo>
                  <a:lnTo>
                    <a:pt x="1307" y="953"/>
                  </a:lnTo>
                  <a:lnTo>
                    <a:pt x="1298" y="955"/>
                  </a:lnTo>
                  <a:lnTo>
                    <a:pt x="1291" y="953"/>
                  </a:lnTo>
                  <a:lnTo>
                    <a:pt x="1283" y="952"/>
                  </a:lnTo>
                  <a:lnTo>
                    <a:pt x="1277" y="950"/>
                  </a:lnTo>
                  <a:lnTo>
                    <a:pt x="1264" y="946"/>
                  </a:lnTo>
                  <a:lnTo>
                    <a:pt x="1257" y="944"/>
                  </a:lnTo>
                  <a:lnTo>
                    <a:pt x="1248" y="943"/>
                  </a:lnTo>
                  <a:lnTo>
                    <a:pt x="1248" y="943"/>
                  </a:lnTo>
                  <a:lnTo>
                    <a:pt x="1248" y="937"/>
                  </a:lnTo>
                  <a:lnTo>
                    <a:pt x="1249" y="933"/>
                  </a:lnTo>
                  <a:lnTo>
                    <a:pt x="1254" y="926"/>
                  </a:lnTo>
                  <a:lnTo>
                    <a:pt x="1254" y="926"/>
                  </a:lnTo>
                  <a:lnTo>
                    <a:pt x="1264" y="931"/>
                  </a:lnTo>
                  <a:lnTo>
                    <a:pt x="1274" y="934"/>
                  </a:lnTo>
                  <a:lnTo>
                    <a:pt x="1286" y="937"/>
                  </a:lnTo>
                  <a:lnTo>
                    <a:pt x="1299" y="937"/>
                  </a:lnTo>
                  <a:lnTo>
                    <a:pt x="1299" y="937"/>
                  </a:lnTo>
                  <a:lnTo>
                    <a:pt x="1299" y="940"/>
                  </a:lnTo>
                  <a:lnTo>
                    <a:pt x="1300" y="943"/>
                  </a:lnTo>
                  <a:lnTo>
                    <a:pt x="1304" y="946"/>
                  </a:lnTo>
                  <a:lnTo>
                    <a:pt x="1306" y="949"/>
                  </a:lnTo>
                  <a:lnTo>
                    <a:pt x="1307" y="951"/>
                  </a:lnTo>
                  <a:lnTo>
                    <a:pt x="1307" y="953"/>
                  </a:lnTo>
                  <a:lnTo>
                    <a:pt x="1307" y="953"/>
                  </a:lnTo>
                  <a:close/>
                  <a:moveTo>
                    <a:pt x="1323" y="729"/>
                  </a:moveTo>
                  <a:lnTo>
                    <a:pt x="1323" y="729"/>
                  </a:lnTo>
                  <a:lnTo>
                    <a:pt x="1321" y="719"/>
                  </a:lnTo>
                  <a:lnTo>
                    <a:pt x="1319" y="716"/>
                  </a:lnTo>
                  <a:lnTo>
                    <a:pt x="1316" y="713"/>
                  </a:lnTo>
                  <a:lnTo>
                    <a:pt x="1316" y="713"/>
                  </a:lnTo>
                  <a:lnTo>
                    <a:pt x="1319" y="707"/>
                  </a:lnTo>
                  <a:lnTo>
                    <a:pt x="1323" y="704"/>
                  </a:lnTo>
                  <a:lnTo>
                    <a:pt x="1325" y="703"/>
                  </a:lnTo>
                  <a:lnTo>
                    <a:pt x="1328" y="702"/>
                  </a:lnTo>
                  <a:lnTo>
                    <a:pt x="1330" y="703"/>
                  </a:lnTo>
                  <a:lnTo>
                    <a:pt x="1332" y="704"/>
                  </a:lnTo>
                  <a:lnTo>
                    <a:pt x="1332" y="704"/>
                  </a:lnTo>
                  <a:lnTo>
                    <a:pt x="1332" y="713"/>
                  </a:lnTo>
                  <a:lnTo>
                    <a:pt x="1331" y="720"/>
                  </a:lnTo>
                  <a:lnTo>
                    <a:pt x="1330" y="724"/>
                  </a:lnTo>
                  <a:lnTo>
                    <a:pt x="1329" y="726"/>
                  </a:lnTo>
                  <a:lnTo>
                    <a:pt x="1326" y="728"/>
                  </a:lnTo>
                  <a:lnTo>
                    <a:pt x="1323" y="729"/>
                  </a:lnTo>
                  <a:lnTo>
                    <a:pt x="1323" y="729"/>
                  </a:lnTo>
                  <a:close/>
                  <a:moveTo>
                    <a:pt x="1348" y="751"/>
                  </a:moveTo>
                  <a:lnTo>
                    <a:pt x="1348" y="751"/>
                  </a:lnTo>
                  <a:lnTo>
                    <a:pt x="1348" y="755"/>
                  </a:lnTo>
                  <a:lnTo>
                    <a:pt x="1348" y="758"/>
                  </a:lnTo>
                  <a:lnTo>
                    <a:pt x="1346" y="765"/>
                  </a:lnTo>
                  <a:lnTo>
                    <a:pt x="1342" y="769"/>
                  </a:lnTo>
                  <a:lnTo>
                    <a:pt x="1339" y="775"/>
                  </a:lnTo>
                  <a:lnTo>
                    <a:pt x="1339" y="775"/>
                  </a:lnTo>
                  <a:lnTo>
                    <a:pt x="1332" y="768"/>
                  </a:lnTo>
                  <a:lnTo>
                    <a:pt x="1325" y="758"/>
                  </a:lnTo>
                  <a:lnTo>
                    <a:pt x="1325" y="758"/>
                  </a:lnTo>
                  <a:lnTo>
                    <a:pt x="1326" y="754"/>
                  </a:lnTo>
                  <a:lnTo>
                    <a:pt x="1328" y="750"/>
                  </a:lnTo>
                  <a:lnTo>
                    <a:pt x="1331" y="747"/>
                  </a:lnTo>
                  <a:lnTo>
                    <a:pt x="1334" y="745"/>
                  </a:lnTo>
                  <a:lnTo>
                    <a:pt x="1338" y="745"/>
                  </a:lnTo>
                  <a:lnTo>
                    <a:pt x="1343" y="745"/>
                  </a:lnTo>
                  <a:lnTo>
                    <a:pt x="1346" y="747"/>
                  </a:lnTo>
                  <a:lnTo>
                    <a:pt x="1348" y="751"/>
                  </a:lnTo>
                  <a:lnTo>
                    <a:pt x="1348" y="751"/>
                  </a:lnTo>
                  <a:close/>
                  <a:moveTo>
                    <a:pt x="1405" y="881"/>
                  </a:moveTo>
                  <a:lnTo>
                    <a:pt x="1405" y="881"/>
                  </a:lnTo>
                  <a:lnTo>
                    <a:pt x="1403" y="884"/>
                  </a:lnTo>
                  <a:lnTo>
                    <a:pt x="1401" y="887"/>
                  </a:lnTo>
                  <a:lnTo>
                    <a:pt x="1398" y="890"/>
                  </a:lnTo>
                  <a:lnTo>
                    <a:pt x="1395" y="891"/>
                  </a:lnTo>
                  <a:lnTo>
                    <a:pt x="1390" y="892"/>
                  </a:lnTo>
                  <a:lnTo>
                    <a:pt x="1386" y="892"/>
                  </a:lnTo>
                  <a:lnTo>
                    <a:pt x="1382" y="891"/>
                  </a:lnTo>
                  <a:lnTo>
                    <a:pt x="1379" y="888"/>
                  </a:lnTo>
                  <a:lnTo>
                    <a:pt x="1379" y="888"/>
                  </a:lnTo>
                  <a:lnTo>
                    <a:pt x="1380" y="885"/>
                  </a:lnTo>
                  <a:lnTo>
                    <a:pt x="1382" y="882"/>
                  </a:lnTo>
                  <a:lnTo>
                    <a:pt x="1385" y="880"/>
                  </a:lnTo>
                  <a:lnTo>
                    <a:pt x="1388" y="878"/>
                  </a:lnTo>
                  <a:lnTo>
                    <a:pt x="1393" y="878"/>
                  </a:lnTo>
                  <a:lnTo>
                    <a:pt x="1397" y="878"/>
                  </a:lnTo>
                  <a:lnTo>
                    <a:pt x="1401" y="879"/>
                  </a:lnTo>
                  <a:lnTo>
                    <a:pt x="1405" y="881"/>
                  </a:lnTo>
                  <a:lnTo>
                    <a:pt x="1405" y="881"/>
                  </a:lnTo>
                  <a:close/>
                  <a:moveTo>
                    <a:pt x="1395" y="642"/>
                  </a:moveTo>
                  <a:lnTo>
                    <a:pt x="1395" y="642"/>
                  </a:lnTo>
                  <a:lnTo>
                    <a:pt x="1392" y="640"/>
                  </a:lnTo>
                  <a:lnTo>
                    <a:pt x="1388" y="639"/>
                  </a:lnTo>
                  <a:lnTo>
                    <a:pt x="1388" y="639"/>
                  </a:lnTo>
                  <a:lnTo>
                    <a:pt x="1383" y="642"/>
                  </a:lnTo>
                  <a:lnTo>
                    <a:pt x="1380" y="647"/>
                  </a:lnTo>
                  <a:lnTo>
                    <a:pt x="1376" y="652"/>
                  </a:lnTo>
                  <a:lnTo>
                    <a:pt x="1374" y="659"/>
                  </a:lnTo>
                  <a:lnTo>
                    <a:pt x="1374" y="659"/>
                  </a:lnTo>
                  <a:lnTo>
                    <a:pt x="1368" y="652"/>
                  </a:lnTo>
                  <a:lnTo>
                    <a:pt x="1366" y="648"/>
                  </a:lnTo>
                  <a:lnTo>
                    <a:pt x="1364" y="642"/>
                  </a:lnTo>
                  <a:lnTo>
                    <a:pt x="1364" y="642"/>
                  </a:lnTo>
                  <a:lnTo>
                    <a:pt x="1379" y="642"/>
                  </a:lnTo>
                  <a:lnTo>
                    <a:pt x="1379" y="642"/>
                  </a:lnTo>
                  <a:lnTo>
                    <a:pt x="1379" y="640"/>
                  </a:lnTo>
                  <a:lnTo>
                    <a:pt x="1377" y="639"/>
                  </a:lnTo>
                  <a:lnTo>
                    <a:pt x="1373" y="639"/>
                  </a:lnTo>
                  <a:lnTo>
                    <a:pt x="1369" y="639"/>
                  </a:lnTo>
                  <a:lnTo>
                    <a:pt x="1368" y="638"/>
                  </a:lnTo>
                  <a:lnTo>
                    <a:pt x="1367" y="637"/>
                  </a:lnTo>
                  <a:lnTo>
                    <a:pt x="1367" y="637"/>
                  </a:lnTo>
                  <a:lnTo>
                    <a:pt x="1368" y="631"/>
                  </a:lnTo>
                  <a:lnTo>
                    <a:pt x="1370" y="628"/>
                  </a:lnTo>
                  <a:lnTo>
                    <a:pt x="1372" y="626"/>
                  </a:lnTo>
                  <a:lnTo>
                    <a:pt x="1375" y="625"/>
                  </a:lnTo>
                  <a:lnTo>
                    <a:pt x="1383" y="623"/>
                  </a:lnTo>
                  <a:lnTo>
                    <a:pt x="1387" y="622"/>
                  </a:lnTo>
                  <a:lnTo>
                    <a:pt x="1390" y="621"/>
                  </a:lnTo>
                  <a:lnTo>
                    <a:pt x="1390" y="621"/>
                  </a:lnTo>
                  <a:lnTo>
                    <a:pt x="1401" y="610"/>
                  </a:lnTo>
                  <a:lnTo>
                    <a:pt x="1406" y="607"/>
                  </a:lnTo>
                  <a:lnTo>
                    <a:pt x="1411" y="603"/>
                  </a:lnTo>
                  <a:lnTo>
                    <a:pt x="1411" y="603"/>
                  </a:lnTo>
                  <a:lnTo>
                    <a:pt x="1412" y="600"/>
                  </a:lnTo>
                  <a:lnTo>
                    <a:pt x="1413" y="598"/>
                  </a:lnTo>
                  <a:lnTo>
                    <a:pt x="1413" y="598"/>
                  </a:lnTo>
                  <a:lnTo>
                    <a:pt x="1412" y="589"/>
                  </a:lnTo>
                  <a:lnTo>
                    <a:pt x="1412" y="582"/>
                  </a:lnTo>
                  <a:lnTo>
                    <a:pt x="1412" y="574"/>
                  </a:lnTo>
                  <a:lnTo>
                    <a:pt x="1411" y="565"/>
                  </a:lnTo>
                  <a:lnTo>
                    <a:pt x="1411" y="565"/>
                  </a:lnTo>
                  <a:lnTo>
                    <a:pt x="1421" y="565"/>
                  </a:lnTo>
                  <a:lnTo>
                    <a:pt x="1421" y="565"/>
                  </a:lnTo>
                  <a:lnTo>
                    <a:pt x="1421" y="581"/>
                  </a:lnTo>
                  <a:lnTo>
                    <a:pt x="1423" y="594"/>
                  </a:lnTo>
                  <a:lnTo>
                    <a:pt x="1424" y="607"/>
                  </a:lnTo>
                  <a:lnTo>
                    <a:pt x="1425" y="621"/>
                  </a:lnTo>
                  <a:lnTo>
                    <a:pt x="1425" y="621"/>
                  </a:lnTo>
                  <a:lnTo>
                    <a:pt x="1422" y="624"/>
                  </a:lnTo>
                  <a:lnTo>
                    <a:pt x="1419" y="626"/>
                  </a:lnTo>
                  <a:lnTo>
                    <a:pt x="1410" y="630"/>
                  </a:lnTo>
                  <a:lnTo>
                    <a:pt x="1402" y="636"/>
                  </a:lnTo>
                  <a:lnTo>
                    <a:pt x="1398" y="638"/>
                  </a:lnTo>
                  <a:lnTo>
                    <a:pt x="1395" y="642"/>
                  </a:lnTo>
                  <a:lnTo>
                    <a:pt x="1395" y="642"/>
                  </a:lnTo>
                  <a:close/>
                  <a:moveTo>
                    <a:pt x="1405" y="500"/>
                  </a:moveTo>
                  <a:lnTo>
                    <a:pt x="1405" y="500"/>
                  </a:lnTo>
                  <a:lnTo>
                    <a:pt x="1415" y="527"/>
                  </a:lnTo>
                  <a:lnTo>
                    <a:pt x="1415" y="527"/>
                  </a:lnTo>
                  <a:lnTo>
                    <a:pt x="1412" y="525"/>
                  </a:lnTo>
                  <a:lnTo>
                    <a:pt x="1410" y="523"/>
                  </a:lnTo>
                  <a:lnTo>
                    <a:pt x="1408" y="517"/>
                  </a:lnTo>
                  <a:lnTo>
                    <a:pt x="1406" y="509"/>
                  </a:lnTo>
                  <a:lnTo>
                    <a:pt x="1405" y="500"/>
                  </a:lnTo>
                  <a:lnTo>
                    <a:pt x="1405" y="500"/>
                  </a:lnTo>
                  <a:close/>
                  <a:moveTo>
                    <a:pt x="1193" y="848"/>
                  </a:moveTo>
                  <a:lnTo>
                    <a:pt x="1193" y="848"/>
                  </a:lnTo>
                  <a:lnTo>
                    <a:pt x="1195" y="847"/>
                  </a:lnTo>
                  <a:lnTo>
                    <a:pt x="1197" y="848"/>
                  </a:lnTo>
                  <a:lnTo>
                    <a:pt x="1201" y="850"/>
                  </a:lnTo>
                  <a:lnTo>
                    <a:pt x="1203" y="850"/>
                  </a:lnTo>
                  <a:lnTo>
                    <a:pt x="1204" y="850"/>
                  </a:lnTo>
                  <a:lnTo>
                    <a:pt x="1205" y="848"/>
                  </a:lnTo>
                  <a:lnTo>
                    <a:pt x="1205" y="845"/>
                  </a:lnTo>
                  <a:lnTo>
                    <a:pt x="1205" y="845"/>
                  </a:lnTo>
                  <a:lnTo>
                    <a:pt x="1206" y="846"/>
                  </a:lnTo>
                  <a:lnTo>
                    <a:pt x="1207" y="846"/>
                  </a:lnTo>
                  <a:lnTo>
                    <a:pt x="1208" y="848"/>
                  </a:lnTo>
                  <a:lnTo>
                    <a:pt x="1210" y="850"/>
                  </a:lnTo>
                  <a:lnTo>
                    <a:pt x="1212" y="852"/>
                  </a:lnTo>
                  <a:lnTo>
                    <a:pt x="1214" y="850"/>
                  </a:lnTo>
                  <a:lnTo>
                    <a:pt x="1214" y="850"/>
                  </a:lnTo>
                  <a:lnTo>
                    <a:pt x="1214" y="854"/>
                  </a:lnTo>
                  <a:lnTo>
                    <a:pt x="1214" y="856"/>
                  </a:lnTo>
                  <a:lnTo>
                    <a:pt x="1217" y="861"/>
                  </a:lnTo>
                  <a:lnTo>
                    <a:pt x="1220" y="866"/>
                  </a:lnTo>
                  <a:lnTo>
                    <a:pt x="1223" y="870"/>
                  </a:lnTo>
                  <a:lnTo>
                    <a:pt x="1223" y="870"/>
                  </a:lnTo>
                  <a:lnTo>
                    <a:pt x="1227" y="874"/>
                  </a:lnTo>
                  <a:lnTo>
                    <a:pt x="1231" y="880"/>
                  </a:lnTo>
                  <a:lnTo>
                    <a:pt x="1242" y="888"/>
                  </a:lnTo>
                  <a:lnTo>
                    <a:pt x="1242" y="888"/>
                  </a:lnTo>
                  <a:lnTo>
                    <a:pt x="1242" y="894"/>
                  </a:lnTo>
                  <a:lnTo>
                    <a:pt x="1243" y="898"/>
                  </a:lnTo>
                  <a:lnTo>
                    <a:pt x="1246" y="908"/>
                  </a:lnTo>
                  <a:lnTo>
                    <a:pt x="1248" y="916"/>
                  </a:lnTo>
                  <a:lnTo>
                    <a:pt x="1247" y="920"/>
                  </a:lnTo>
                  <a:lnTo>
                    <a:pt x="1246" y="924"/>
                  </a:lnTo>
                  <a:lnTo>
                    <a:pt x="1246" y="924"/>
                  </a:lnTo>
                  <a:lnTo>
                    <a:pt x="1243" y="925"/>
                  </a:lnTo>
                  <a:lnTo>
                    <a:pt x="1240" y="924"/>
                  </a:lnTo>
                  <a:lnTo>
                    <a:pt x="1236" y="923"/>
                  </a:lnTo>
                  <a:lnTo>
                    <a:pt x="1234" y="920"/>
                  </a:lnTo>
                  <a:lnTo>
                    <a:pt x="1228" y="914"/>
                  </a:lnTo>
                  <a:lnTo>
                    <a:pt x="1225" y="912"/>
                  </a:lnTo>
                  <a:lnTo>
                    <a:pt x="1221" y="910"/>
                  </a:lnTo>
                  <a:lnTo>
                    <a:pt x="1221" y="910"/>
                  </a:lnTo>
                  <a:lnTo>
                    <a:pt x="1221" y="904"/>
                  </a:lnTo>
                  <a:lnTo>
                    <a:pt x="1221" y="898"/>
                  </a:lnTo>
                  <a:lnTo>
                    <a:pt x="1220" y="894"/>
                  </a:lnTo>
                  <a:lnTo>
                    <a:pt x="1218" y="890"/>
                  </a:lnTo>
                  <a:lnTo>
                    <a:pt x="1214" y="883"/>
                  </a:lnTo>
                  <a:lnTo>
                    <a:pt x="1208" y="878"/>
                  </a:lnTo>
                  <a:lnTo>
                    <a:pt x="1203" y="872"/>
                  </a:lnTo>
                  <a:lnTo>
                    <a:pt x="1199" y="866"/>
                  </a:lnTo>
                  <a:lnTo>
                    <a:pt x="1196" y="862"/>
                  </a:lnTo>
                  <a:lnTo>
                    <a:pt x="1194" y="858"/>
                  </a:lnTo>
                  <a:lnTo>
                    <a:pt x="1193" y="854"/>
                  </a:lnTo>
                  <a:lnTo>
                    <a:pt x="1193" y="848"/>
                  </a:lnTo>
                  <a:lnTo>
                    <a:pt x="1193" y="848"/>
                  </a:lnTo>
                  <a:close/>
                  <a:moveTo>
                    <a:pt x="1114" y="816"/>
                  </a:moveTo>
                  <a:lnTo>
                    <a:pt x="1114" y="816"/>
                  </a:lnTo>
                  <a:lnTo>
                    <a:pt x="1122" y="823"/>
                  </a:lnTo>
                  <a:lnTo>
                    <a:pt x="1124" y="829"/>
                  </a:lnTo>
                  <a:lnTo>
                    <a:pt x="1126" y="834"/>
                  </a:lnTo>
                  <a:lnTo>
                    <a:pt x="1126" y="834"/>
                  </a:lnTo>
                  <a:lnTo>
                    <a:pt x="1124" y="835"/>
                  </a:lnTo>
                  <a:lnTo>
                    <a:pt x="1123" y="836"/>
                  </a:lnTo>
                  <a:lnTo>
                    <a:pt x="1120" y="840"/>
                  </a:lnTo>
                  <a:lnTo>
                    <a:pt x="1118" y="842"/>
                  </a:lnTo>
                  <a:lnTo>
                    <a:pt x="1116" y="843"/>
                  </a:lnTo>
                  <a:lnTo>
                    <a:pt x="1114" y="843"/>
                  </a:lnTo>
                  <a:lnTo>
                    <a:pt x="1114" y="843"/>
                  </a:lnTo>
                  <a:lnTo>
                    <a:pt x="1112" y="840"/>
                  </a:lnTo>
                  <a:lnTo>
                    <a:pt x="1111" y="837"/>
                  </a:lnTo>
                  <a:lnTo>
                    <a:pt x="1111" y="835"/>
                  </a:lnTo>
                  <a:lnTo>
                    <a:pt x="1112" y="832"/>
                  </a:lnTo>
                  <a:lnTo>
                    <a:pt x="1114" y="826"/>
                  </a:lnTo>
                  <a:lnTo>
                    <a:pt x="1115" y="821"/>
                  </a:lnTo>
                  <a:lnTo>
                    <a:pt x="1114" y="816"/>
                  </a:lnTo>
                  <a:lnTo>
                    <a:pt x="1114" y="816"/>
                  </a:lnTo>
                  <a:close/>
                  <a:moveTo>
                    <a:pt x="943" y="1036"/>
                  </a:moveTo>
                  <a:lnTo>
                    <a:pt x="943" y="1036"/>
                  </a:lnTo>
                  <a:lnTo>
                    <a:pt x="939" y="1037"/>
                  </a:lnTo>
                  <a:lnTo>
                    <a:pt x="938" y="1039"/>
                  </a:lnTo>
                  <a:lnTo>
                    <a:pt x="938" y="1041"/>
                  </a:lnTo>
                  <a:lnTo>
                    <a:pt x="938" y="1041"/>
                  </a:lnTo>
                  <a:lnTo>
                    <a:pt x="938" y="1054"/>
                  </a:lnTo>
                  <a:lnTo>
                    <a:pt x="938" y="1054"/>
                  </a:lnTo>
                  <a:lnTo>
                    <a:pt x="934" y="1063"/>
                  </a:lnTo>
                  <a:lnTo>
                    <a:pt x="933" y="1070"/>
                  </a:lnTo>
                  <a:lnTo>
                    <a:pt x="931" y="1076"/>
                  </a:lnTo>
                  <a:lnTo>
                    <a:pt x="929" y="1085"/>
                  </a:lnTo>
                  <a:lnTo>
                    <a:pt x="929" y="1085"/>
                  </a:lnTo>
                  <a:lnTo>
                    <a:pt x="923" y="1084"/>
                  </a:lnTo>
                  <a:lnTo>
                    <a:pt x="919" y="1085"/>
                  </a:lnTo>
                  <a:lnTo>
                    <a:pt x="914" y="1087"/>
                  </a:lnTo>
                  <a:lnTo>
                    <a:pt x="910" y="1087"/>
                  </a:lnTo>
                  <a:lnTo>
                    <a:pt x="910" y="1087"/>
                  </a:lnTo>
                  <a:lnTo>
                    <a:pt x="908" y="1084"/>
                  </a:lnTo>
                  <a:lnTo>
                    <a:pt x="906" y="1079"/>
                  </a:lnTo>
                  <a:lnTo>
                    <a:pt x="905" y="1072"/>
                  </a:lnTo>
                  <a:lnTo>
                    <a:pt x="905" y="1063"/>
                  </a:lnTo>
                  <a:lnTo>
                    <a:pt x="905" y="1059"/>
                  </a:lnTo>
                  <a:lnTo>
                    <a:pt x="903" y="1054"/>
                  </a:lnTo>
                  <a:lnTo>
                    <a:pt x="903" y="1054"/>
                  </a:lnTo>
                  <a:lnTo>
                    <a:pt x="906" y="1051"/>
                  </a:lnTo>
                  <a:lnTo>
                    <a:pt x="907" y="1047"/>
                  </a:lnTo>
                  <a:lnTo>
                    <a:pt x="910" y="1038"/>
                  </a:lnTo>
                  <a:lnTo>
                    <a:pt x="910" y="1038"/>
                  </a:lnTo>
                  <a:lnTo>
                    <a:pt x="910" y="1033"/>
                  </a:lnTo>
                  <a:lnTo>
                    <a:pt x="909" y="1029"/>
                  </a:lnTo>
                  <a:lnTo>
                    <a:pt x="908" y="1025"/>
                  </a:lnTo>
                  <a:lnTo>
                    <a:pt x="908" y="1020"/>
                  </a:lnTo>
                  <a:lnTo>
                    <a:pt x="908" y="1020"/>
                  </a:lnTo>
                  <a:lnTo>
                    <a:pt x="912" y="1013"/>
                  </a:lnTo>
                  <a:lnTo>
                    <a:pt x="917" y="1008"/>
                  </a:lnTo>
                  <a:lnTo>
                    <a:pt x="922" y="1003"/>
                  </a:lnTo>
                  <a:lnTo>
                    <a:pt x="929" y="1000"/>
                  </a:lnTo>
                  <a:lnTo>
                    <a:pt x="929" y="1000"/>
                  </a:lnTo>
                  <a:lnTo>
                    <a:pt x="930" y="993"/>
                  </a:lnTo>
                  <a:lnTo>
                    <a:pt x="932" y="985"/>
                  </a:lnTo>
                  <a:lnTo>
                    <a:pt x="938" y="973"/>
                  </a:lnTo>
                  <a:lnTo>
                    <a:pt x="938" y="973"/>
                  </a:lnTo>
                  <a:lnTo>
                    <a:pt x="940" y="973"/>
                  </a:lnTo>
                  <a:lnTo>
                    <a:pt x="943" y="975"/>
                  </a:lnTo>
                  <a:lnTo>
                    <a:pt x="943" y="978"/>
                  </a:lnTo>
                  <a:lnTo>
                    <a:pt x="943" y="982"/>
                  </a:lnTo>
                  <a:lnTo>
                    <a:pt x="944" y="989"/>
                  </a:lnTo>
                  <a:lnTo>
                    <a:pt x="945" y="991"/>
                  </a:lnTo>
                  <a:lnTo>
                    <a:pt x="947" y="991"/>
                  </a:lnTo>
                  <a:lnTo>
                    <a:pt x="947" y="991"/>
                  </a:lnTo>
                  <a:lnTo>
                    <a:pt x="947" y="999"/>
                  </a:lnTo>
                  <a:lnTo>
                    <a:pt x="946" y="1006"/>
                  </a:lnTo>
                  <a:lnTo>
                    <a:pt x="943" y="1016"/>
                  </a:lnTo>
                  <a:lnTo>
                    <a:pt x="942" y="1026"/>
                  </a:lnTo>
                  <a:lnTo>
                    <a:pt x="942" y="1030"/>
                  </a:lnTo>
                  <a:lnTo>
                    <a:pt x="943" y="1036"/>
                  </a:lnTo>
                  <a:lnTo>
                    <a:pt x="943" y="1036"/>
                  </a:lnTo>
                  <a:close/>
                  <a:moveTo>
                    <a:pt x="419" y="1282"/>
                  </a:moveTo>
                  <a:lnTo>
                    <a:pt x="419" y="1282"/>
                  </a:lnTo>
                  <a:lnTo>
                    <a:pt x="419" y="1280"/>
                  </a:lnTo>
                  <a:lnTo>
                    <a:pt x="420" y="1278"/>
                  </a:lnTo>
                  <a:lnTo>
                    <a:pt x="422" y="1276"/>
                  </a:lnTo>
                  <a:lnTo>
                    <a:pt x="424" y="1276"/>
                  </a:lnTo>
                  <a:lnTo>
                    <a:pt x="425" y="1276"/>
                  </a:lnTo>
                  <a:lnTo>
                    <a:pt x="428" y="1277"/>
                  </a:lnTo>
                  <a:lnTo>
                    <a:pt x="429" y="1279"/>
                  </a:lnTo>
                  <a:lnTo>
                    <a:pt x="429" y="1282"/>
                  </a:lnTo>
                  <a:lnTo>
                    <a:pt x="429" y="1282"/>
                  </a:lnTo>
                  <a:lnTo>
                    <a:pt x="419" y="1282"/>
                  </a:lnTo>
                  <a:lnTo>
                    <a:pt x="419" y="1282"/>
                  </a:lnTo>
                  <a:close/>
                  <a:moveTo>
                    <a:pt x="507" y="397"/>
                  </a:moveTo>
                  <a:lnTo>
                    <a:pt x="507" y="397"/>
                  </a:lnTo>
                  <a:lnTo>
                    <a:pt x="504" y="399"/>
                  </a:lnTo>
                  <a:lnTo>
                    <a:pt x="501" y="403"/>
                  </a:lnTo>
                  <a:lnTo>
                    <a:pt x="498" y="411"/>
                  </a:lnTo>
                  <a:lnTo>
                    <a:pt x="498" y="411"/>
                  </a:lnTo>
                  <a:lnTo>
                    <a:pt x="496" y="411"/>
                  </a:lnTo>
                  <a:lnTo>
                    <a:pt x="494" y="410"/>
                  </a:lnTo>
                  <a:lnTo>
                    <a:pt x="492" y="406"/>
                  </a:lnTo>
                  <a:lnTo>
                    <a:pt x="489" y="403"/>
                  </a:lnTo>
                  <a:lnTo>
                    <a:pt x="488" y="401"/>
                  </a:lnTo>
                  <a:lnTo>
                    <a:pt x="486" y="401"/>
                  </a:lnTo>
                  <a:lnTo>
                    <a:pt x="486" y="401"/>
                  </a:lnTo>
                  <a:lnTo>
                    <a:pt x="470" y="401"/>
                  </a:lnTo>
                  <a:lnTo>
                    <a:pt x="470" y="401"/>
                  </a:lnTo>
                  <a:lnTo>
                    <a:pt x="467" y="393"/>
                  </a:lnTo>
                  <a:lnTo>
                    <a:pt x="465" y="384"/>
                  </a:lnTo>
                  <a:lnTo>
                    <a:pt x="463" y="376"/>
                  </a:lnTo>
                  <a:lnTo>
                    <a:pt x="463" y="367"/>
                  </a:lnTo>
                  <a:lnTo>
                    <a:pt x="463" y="358"/>
                  </a:lnTo>
                  <a:lnTo>
                    <a:pt x="461" y="351"/>
                  </a:lnTo>
                  <a:lnTo>
                    <a:pt x="459" y="343"/>
                  </a:lnTo>
                  <a:lnTo>
                    <a:pt x="457" y="341"/>
                  </a:lnTo>
                  <a:lnTo>
                    <a:pt x="454" y="338"/>
                  </a:lnTo>
                  <a:lnTo>
                    <a:pt x="454" y="338"/>
                  </a:lnTo>
                  <a:lnTo>
                    <a:pt x="454" y="335"/>
                  </a:lnTo>
                  <a:lnTo>
                    <a:pt x="455" y="333"/>
                  </a:lnTo>
                  <a:lnTo>
                    <a:pt x="458" y="329"/>
                  </a:lnTo>
                  <a:lnTo>
                    <a:pt x="460" y="327"/>
                  </a:lnTo>
                  <a:lnTo>
                    <a:pt x="460" y="326"/>
                  </a:lnTo>
                  <a:lnTo>
                    <a:pt x="458" y="325"/>
                  </a:lnTo>
                  <a:lnTo>
                    <a:pt x="458" y="325"/>
                  </a:lnTo>
                  <a:lnTo>
                    <a:pt x="462" y="320"/>
                  </a:lnTo>
                  <a:lnTo>
                    <a:pt x="467" y="317"/>
                  </a:lnTo>
                  <a:lnTo>
                    <a:pt x="474" y="311"/>
                  </a:lnTo>
                  <a:lnTo>
                    <a:pt x="474" y="311"/>
                  </a:lnTo>
                  <a:lnTo>
                    <a:pt x="473" y="307"/>
                  </a:lnTo>
                  <a:lnTo>
                    <a:pt x="470" y="305"/>
                  </a:lnTo>
                  <a:lnTo>
                    <a:pt x="463" y="302"/>
                  </a:lnTo>
                  <a:lnTo>
                    <a:pt x="460" y="301"/>
                  </a:lnTo>
                  <a:lnTo>
                    <a:pt x="457" y="299"/>
                  </a:lnTo>
                  <a:lnTo>
                    <a:pt x="455" y="295"/>
                  </a:lnTo>
                  <a:lnTo>
                    <a:pt x="454" y="292"/>
                  </a:lnTo>
                  <a:lnTo>
                    <a:pt x="454" y="292"/>
                  </a:lnTo>
                  <a:lnTo>
                    <a:pt x="459" y="292"/>
                  </a:lnTo>
                  <a:lnTo>
                    <a:pt x="463" y="291"/>
                  </a:lnTo>
                  <a:lnTo>
                    <a:pt x="466" y="290"/>
                  </a:lnTo>
                  <a:lnTo>
                    <a:pt x="467" y="289"/>
                  </a:lnTo>
                  <a:lnTo>
                    <a:pt x="468" y="287"/>
                  </a:lnTo>
                  <a:lnTo>
                    <a:pt x="468" y="283"/>
                  </a:lnTo>
                  <a:lnTo>
                    <a:pt x="468" y="283"/>
                  </a:lnTo>
                  <a:lnTo>
                    <a:pt x="466" y="281"/>
                  </a:lnTo>
                  <a:lnTo>
                    <a:pt x="465" y="280"/>
                  </a:lnTo>
                  <a:lnTo>
                    <a:pt x="462" y="281"/>
                  </a:lnTo>
                  <a:lnTo>
                    <a:pt x="461" y="283"/>
                  </a:lnTo>
                  <a:lnTo>
                    <a:pt x="459" y="286"/>
                  </a:lnTo>
                  <a:lnTo>
                    <a:pt x="457" y="287"/>
                  </a:lnTo>
                  <a:lnTo>
                    <a:pt x="455" y="287"/>
                  </a:lnTo>
                  <a:lnTo>
                    <a:pt x="451" y="287"/>
                  </a:lnTo>
                  <a:lnTo>
                    <a:pt x="451" y="287"/>
                  </a:lnTo>
                  <a:lnTo>
                    <a:pt x="451" y="280"/>
                  </a:lnTo>
                  <a:lnTo>
                    <a:pt x="451" y="276"/>
                  </a:lnTo>
                  <a:lnTo>
                    <a:pt x="454" y="267"/>
                  </a:lnTo>
                  <a:lnTo>
                    <a:pt x="454" y="267"/>
                  </a:lnTo>
                  <a:lnTo>
                    <a:pt x="451" y="263"/>
                  </a:lnTo>
                  <a:lnTo>
                    <a:pt x="449" y="257"/>
                  </a:lnTo>
                  <a:lnTo>
                    <a:pt x="448" y="251"/>
                  </a:lnTo>
                  <a:lnTo>
                    <a:pt x="449" y="243"/>
                  </a:lnTo>
                  <a:lnTo>
                    <a:pt x="449" y="243"/>
                  </a:lnTo>
                  <a:lnTo>
                    <a:pt x="440" y="243"/>
                  </a:lnTo>
                  <a:lnTo>
                    <a:pt x="433" y="242"/>
                  </a:lnTo>
                  <a:lnTo>
                    <a:pt x="427" y="239"/>
                  </a:lnTo>
                  <a:lnTo>
                    <a:pt x="421" y="235"/>
                  </a:lnTo>
                  <a:lnTo>
                    <a:pt x="421" y="235"/>
                  </a:lnTo>
                  <a:lnTo>
                    <a:pt x="419" y="235"/>
                  </a:lnTo>
                  <a:lnTo>
                    <a:pt x="418" y="235"/>
                  </a:lnTo>
                  <a:lnTo>
                    <a:pt x="416" y="238"/>
                  </a:lnTo>
                  <a:lnTo>
                    <a:pt x="414" y="240"/>
                  </a:lnTo>
                  <a:lnTo>
                    <a:pt x="412" y="240"/>
                  </a:lnTo>
                  <a:lnTo>
                    <a:pt x="409" y="240"/>
                  </a:lnTo>
                  <a:lnTo>
                    <a:pt x="409" y="240"/>
                  </a:lnTo>
                  <a:lnTo>
                    <a:pt x="404" y="238"/>
                  </a:lnTo>
                  <a:lnTo>
                    <a:pt x="398" y="235"/>
                  </a:lnTo>
                  <a:lnTo>
                    <a:pt x="394" y="230"/>
                  </a:lnTo>
                  <a:lnTo>
                    <a:pt x="392" y="227"/>
                  </a:lnTo>
                  <a:lnTo>
                    <a:pt x="391" y="224"/>
                  </a:lnTo>
                  <a:lnTo>
                    <a:pt x="391" y="224"/>
                  </a:lnTo>
                  <a:lnTo>
                    <a:pt x="394" y="223"/>
                  </a:lnTo>
                  <a:lnTo>
                    <a:pt x="397" y="222"/>
                  </a:lnTo>
                  <a:lnTo>
                    <a:pt x="405" y="221"/>
                  </a:lnTo>
                  <a:lnTo>
                    <a:pt x="414" y="222"/>
                  </a:lnTo>
                  <a:lnTo>
                    <a:pt x="421" y="222"/>
                  </a:lnTo>
                  <a:lnTo>
                    <a:pt x="421" y="222"/>
                  </a:lnTo>
                  <a:lnTo>
                    <a:pt x="421" y="216"/>
                  </a:lnTo>
                  <a:lnTo>
                    <a:pt x="419" y="214"/>
                  </a:lnTo>
                  <a:lnTo>
                    <a:pt x="418" y="213"/>
                  </a:lnTo>
                  <a:lnTo>
                    <a:pt x="415" y="214"/>
                  </a:lnTo>
                  <a:lnTo>
                    <a:pt x="410" y="216"/>
                  </a:lnTo>
                  <a:lnTo>
                    <a:pt x="405" y="218"/>
                  </a:lnTo>
                  <a:lnTo>
                    <a:pt x="405" y="218"/>
                  </a:lnTo>
                  <a:lnTo>
                    <a:pt x="405" y="216"/>
                  </a:lnTo>
                  <a:lnTo>
                    <a:pt x="404" y="214"/>
                  </a:lnTo>
                  <a:lnTo>
                    <a:pt x="402" y="213"/>
                  </a:lnTo>
                  <a:lnTo>
                    <a:pt x="399" y="213"/>
                  </a:lnTo>
                  <a:lnTo>
                    <a:pt x="397" y="213"/>
                  </a:lnTo>
                  <a:lnTo>
                    <a:pt x="395" y="214"/>
                  </a:lnTo>
                  <a:lnTo>
                    <a:pt x="394" y="216"/>
                  </a:lnTo>
                  <a:lnTo>
                    <a:pt x="393" y="218"/>
                  </a:lnTo>
                  <a:lnTo>
                    <a:pt x="393" y="218"/>
                  </a:lnTo>
                  <a:lnTo>
                    <a:pt x="391" y="217"/>
                  </a:lnTo>
                  <a:lnTo>
                    <a:pt x="389" y="214"/>
                  </a:lnTo>
                  <a:lnTo>
                    <a:pt x="386" y="213"/>
                  </a:lnTo>
                  <a:lnTo>
                    <a:pt x="384" y="213"/>
                  </a:lnTo>
                  <a:lnTo>
                    <a:pt x="382" y="213"/>
                  </a:lnTo>
                  <a:lnTo>
                    <a:pt x="382" y="213"/>
                  </a:lnTo>
                  <a:lnTo>
                    <a:pt x="383" y="210"/>
                  </a:lnTo>
                  <a:lnTo>
                    <a:pt x="385" y="206"/>
                  </a:lnTo>
                  <a:lnTo>
                    <a:pt x="386" y="204"/>
                  </a:lnTo>
                  <a:lnTo>
                    <a:pt x="389" y="203"/>
                  </a:lnTo>
                  <a:lnTo>
                    <a:pt x="394" y="203"/>
                  </a:lnTo>
                  <a:lnTo>
                    <a:pt x="398" y="205"/>
                  </a:lnTo>
                  <a:lnTo>
                    <a:pt x="398" y="205"/>
                  </a:lnTo>
                  <a:lnTo>
                    <a:pt x="401" y="202"/>
                  </a:lnTo>
                  <a:lnTo>
                    <a:pt x="404" y="201"/>
                  </a:lnTo>
                  <a:lnTo>
                    <a:pt x="410" y="198"/>
                  </a:lnTo>
                  <a:lnTo>
                    <a:pt x="418" y="196"/>
                  </a:lnTo>
                  <a:lnTo>
                    <a:pt x="421" y="193"/>
                  </a:lnTo>
                  <a:lnTo>
                    <a:pt x="423" y="191"/>
                  </a:lnTo>
                  <a:lnTo>
                    <a:pt x="423" y="191"/>
                  </a:lnTo>
                  <a:lnTo>
                    <a:pt x="423" y="189"/>
                  </a:lnTo>
                  <a:lnTo>
                    <a:pt x="422" y="187"/>
                  </a:lnTo>
                  <a:lnTo>
                    <a:pt x="419" y="186"/>
                  </a:lnTo>
                  <a:lnTo>
                    <a:pt x="417" y="186"/>
                  </a:lnTo>
                  <a:lnTo>
                    <a:pt x="415" y="185"/>
                  </a:lnTo>
                  <a:lnTo>
                    <a:pt x="415" y="184"/>
                  </a:lnTo>
                  <a:lnTo>
                    <a:pt x="415" y="180"/>
                  </a:lnTo>
                  <a:lnTo>
                    <a:pt x="415" y="180"/>
                  </a:lnTo>
                  <a:lnTo>
                    <a:pt x="422" y="178"/>
                  </a:lnTo>
                  <a:lnTo>
                    <a:pt x="430" y="176"/>
                  </a:lnTo>
                  <a:lnTo>
                    <a:pt x="444" y="169"/>
                  </a:lnTo>
                  <a:lnTo>
                    <a:pt x="457" y="161"/>
                  </a:lnTo>
                  <a:lnTo>
                    <a:pt x="465" y="158"/>
                  </a:lnTo>
                  <a:lnTo>
                    <a:pt x="472" y="156"/>
                  </a:lnTo>
                  <a:lnTo>
                    <a:pt x="472" y="156"/>
                  </a:lnTo>
                  <a:lnTo>
                    <a:pt x="478" y="158"/>
                  </a:lnTo>
                  <a:lnTo>
                    <a:pt x="483" y="158"/>
                  </a:lnTo>
                  <a:lnTo>
                    <a:pt x="493" y="158"/>
                  </a:lnTo>
                  <a:lnTo>
                    <a:pt x="502" y="158"/>
                  </a:lnTo>
                  <a:lnTo>
                    <a:pt x="514" y="159"/>
                  </a:lnTo>
                  <a:lnTo>
                    <a:pt x="514" y="159"/>
                  </a:lnTo>
                  <a:lnTo>
                    <a:pt x="515" y="158"/>
                  </a:lnTo>
                  <a:lnTo>
                    <a:pt x="515" y="156"/>
                  </a:lnTo>
                  <a:lnTo>
                    <a:pt x="514" y="151"/>
                  </a:lnTo>
                  <a:lnTo>
                    <a:pt x="512" y="145"/>
                  </a:lnTo>
                  <a:lnTo>
                    <a:pt x="512" y="139"/>
                  </a:lnTo>
                  <a:lnTo>
                    <a:pt x="512" y="139"/>
                  </a:lnTo>
                  <a:lnTo>
                    <a:pt x="513" y="137"/>
                  </a:lnTo>
                  <a:lnTo>
                    <a:pt x="517" y="136"/>
                  </a:lnTo>
                  <a:lnTo>
                    <a:pt x="523" y="134"/>
                  </a:lnTo>
                  <a:lnTo>
                    <a:pt x="539" y="134"/>
                  </a:lnTo>
                  <a:lnTo>
                    <a:pt x="539" y="134"/>
                  </a:lnTo>
                  <a:lnTo>
                    <a:pt x="544" y="133"/>
                  </a:lnTo>
                  <a:lnTo>
                    <a:pt x="549" y="132"/>
                  </a:lnTo>
                  <a:lnTo>
                    <a:pt x="561" y="132"/>
                  </a:lnTo>
                  <a:lnTo>
                    <a:pt x="572" y="132"/>
                  </a:lnTo>
                  <a:lnTo>
                    <a:pt x="577" y="131"/>
                  </a:lnTo>
                  <a:lnTo>
                    <a:pt x="582" y="128"/>
                  </a:lnTo>
                  <a:lnTo>
                    <a:pt x="582" y="128"/>
                  </a:lnTo>
                  <a:lnTo>
                    <a:pt x="588" y="131"/>
                  </a:lnTo>
                  <a:lnTo>
                    <a:pt x="591" y="132"/>
                  </a:lnTo>
                  <a:lnTo>
                    <a:pt x="594" y="134"/>
                  </a:lnTo>
                  <a:lnTo>
                    <a:pt x="594" y="134"/>
                  </a:lnTo>
                  <a:lnTo>
                    <a:pt x="595" y="132"/>
                  </a:lnTo>
                  <a:lnTo>
                    <a:pt x="597" y="131"/>
                  </a:lnTo>
                  <a:lnTo>
                    <a:pt x="599" y="131"/>
                  </a:lnTo>
                  <a:lnTo>
                    <a:pt x="602" y="131"/>
                  </a:lnTo>
                  <a:lnTo>
                    <a:pt x="608" y="132"/>
                  </a:lnTo>
                  <a:lnTo>
                    <a:pt x="614" y="134"/>
                  </a:lnTo>
                  <a:lnTo>
                    <a:pt x="614" y="134"/>
                  </a:lnTo>
                  <a:lnTo>
                    <a:pt x="623" y="134"/>
                  </a:lnTo>
                  <a:lnTo>
                    <a:pt x="630" y="135"/>
                  </a:lnTo>
                  <a:lnTo>
                    <a:pt x="637" y="137"/>
                  </a:lnTo>
                  <a:lnTo>
                    <a:pt x="640" y="139"/>
                  </a:lnTo>
                  <a:lnTo>
                    <a:pt x="641" y="142"/>
                  </a:lnTo>
                  <a:lnTo>
                    <a:pt x="641" y="142"/>
                  </a:lnTo>
                  <a:lnTo>
                    <a:pt x="640" y="146"/>
                  </a:lnTo>
                  <a:lnTo>
                    <a:pt x="637" y="149"/>
                  </a:lnTo>
                  <a:lnTo>
                    <a:pt x="634" y="150"/>
                  </a:lnTo>
                  <a:lnTo>
                    <a:pt x="629" y="151"/>
                  </a:lnTo>
                  <a:lnTo>
                    <a:pt x="626" y="152"/>
                  </a:lnTo>
                  <a:lnTo>
                    <a:pt x="623" y="154"/>
                  </a:lnTo>
                  <a:lnTo>
                    <a:pt x="620" y="158"/>
                  </a:lnTo>
                  <a:lnTo>
                    <a:pt x="618" y="162"/>
                  </a:lnTo>
                  <a:lnTo>
                    <a:pt x="618" y="162"/>
                  </a:lnTo>
                  <a:lnTo>
                    <a:pt x="621" y="162"/>
                  </a:lnTo>
                  <a:lnTo>
                    <a:pt x="623" y="162"/>
                  </a:lnTo>
                  <a:lnTo>
                    <a:pt x="629" y="160"/>
                  </a:lnTo>
                  <a:lnTo>
                    <a:pt x="637" y="157"/>
                  </a:lnTo>
                  <a:lnTo>
                    <a:pt x="640" y="156"/>
                  </a:lnTo>
                  <a:lnTo>
                    <a:pt x="644" y="156"/>
                  </a:lnTo>
                  <a:lnTo>
                    <a:pt x="644" y="156"/>
                  </a:lnTo>
                  <a:lnTo>
                    <a:pt x="647" y="156"/>
                  </a:lnTo>
                  <a:lnTo>
                    <a:pt x="648" y="157"/>
                  </a:lnTo>
                  <a:lnTo>
                    <a:pt x="651" y="160"/>
                  </a:lnTo>
                  <a:lnTo>
                    <a:pt x="652" y="162"/>
                  </a:lnTo>
                  <a:lnTo>
                    <a:pt x="654" y="163"/>
                  </a:lnTo>
                  <a:lnTo>
                    <a:pt x="655" y="164"/>
                  </a:lnTo>
                  <a:lnTo>
                    <a:pt x="655" y="164"/>
                  </a:lnTo>
                  <a:lnTo>
                    <a:pt x="656" y="165"/>
                  </a:lnTo>
                  <a:lnTo>
                    <a:pt x="659" y="166"/>
                  </a:lnTo>
                  <a:lnTo>
                    <a:pt x="663" y="166"/>
                  </a:lnTo>
                  <a:lnTo>
                    <a:pt x="665" y="166"/>
                  </a:lnTo>
                  <a:lnTo>
                    <a:pt x="666" y="167"/>
                  </a:lnTo>
                  <a:lnTo>
                    <a:pt x="667" y="170"/>
                  </a:lnTo>
                  <a:lnTo>
                    <a:pt x="667" y="172"/>
                  </a:lnTo>
                  <a:lnTo>
                    <a:pt x="667" y="172"/>
                  </a:lnTo>
                  <a:lnTo>
                    <a:pt x="667" y="175"/>
                  </a:lnTo>
                  <a:lnTo>
                    <a:pt x="666" y="177"/>
                  </a:lnTo>
                  <a:lnTo>
                    <a:pt x="664" y="178"/>
                  </a:lnTo>
                  <a:lnTo>
                    <a:pt x="661" y="178"/>
                  </a:lnTo>
                  <a:lnTo>
                    <a:pt x="654" y="177"/>
                  </a:lnTo>
                  <a:lnTo>
                    <a:pt x="651" y="177"/>
                  </a:lnTo>
                  <a:lnTo>
                    <a:pt x="649" y="178"/>
                  </a:lnTo>
                  <a:lnTo>
                    <a:pt x="649" y="178"/>
                  </a:lnTo>
                  <a:lnTo>
                    <a:pt x="647" y="178"/>
                  </a:lnTo>
                  <a:lnTo>
                    <a:pt x="644" y="178"/>
                  </a:lnTo>
                  <a:lnTo>
                    <a:pt x="642" y="182"/>
                  </a:lnTo>
                  <a:lnTo>
                    <a:pt x="639" y="185"/>
                  </a:lnTo>
                  <a:lnTo>
                    <a:pt x="638" y="186"/>
                  </a:lnTo>
                  <a:lnTo>
                    <a:pt x="635" y="186"/>
                  </a:lnTo>
                  <a:lnTo>
                    <a:pt x="635" y="186"/>
                  </a:lnTo>
                  <a:lnTo>
                    <a:pt x="635" y="191"/>
                  </a:lnTo>
                  <a:lnTo>
                    <a:pt x="636" y="195"/>
                  </a:lnTo>
                  <a:lnTo>
                    <a:pt x="637" y="198"/>
                  </a:lnTo>
                  <a:lnTo>
                    <a:pt x="637" y="202"/>
                  </a:lnTo>
                  <a:lnTo>
                    <a:pt x="637" y="202"/>
                  </a:lnTo>
                  <a:lnTo>
                    <a:pt x="635" y="202"/>
                  </a:lnTo>
                  <a:lnTo>
                    <a:pt x="633" y="202"/>
                  </a:lnTo>
                  <a:lnTo>
                    <a:pt x="629" y="204"/>
                  </a:lnTo>
                  <a:lnTo>
                    <a:pt x="627" y="206"/>
                  </a:lnTo>
                  <a:lnTo>
                    <a:pt x="625" y="208"/>
                  </a:lnTo>
                  <a:lnTo>
                    <a:pt x="623" y="208"/>
                  </a:lnTo>
                  <a:lnTo>
                    <a:pt x="623" y="208"/>
                  </a:lnTo>
                  <a:lnTo>
                    <a:pt x="628" y="211"/>
                  </a:lnTo>
                  <a:lnTo>
                    <a:pt x="635" y="213"/>
                  </a:lnTo>
                  <a:lnTo>
                    <a:pt x="637" y="215"/>
                  </a:lnTo>
                  <a:lnTo>
                    <a:pt x="639" y="217"/>
                  </a:lnTo>
                  <a:lnTo>
                    <a:pt x="641" y="219"/>
                  </a:lnTo>
                  <a:lnTo>
                    <a:pt x="641" y="224"/>
                  </a:lnTo>
                  <a:lnTo>
                    <a:pt x="641" y="224"/>
                  </a:lnTo>
                  <a:lnTo>
                    <a:pt x="636" y="224"/>
                  </a:lnTo>
                  <a:lnTo>
                    <a:pt x="630" y="224"/>
                  </a:lnTo>
                  <a:lnTo>
                    <a:pt x="621" y="227"/>
                  </a:lnTo>
                  <a:lnTo>
                    <a:pt x="621" y="227"/>
                  </a:lnTo>
                  <a:lnTo>
                    <a:pt x="624" y="239"/>
                  </a:lnTo>
                  <a:lnTo>
                    <a:pt x="625" y="247"/>
                  </a:lnTo>
                  <a:lnTo>
                    <a:pt x="625" y="253"/>
                  </a:lnTo>
                  <a:lnTo>
                    <a:pt x="624" y="260"/>
                  </a:lnTo>
                  <a:lnTo>
                    <a:pt x="622" y="265"/>
                  </a:lnTo>
                  <a:lnTo>
                    <a:pt x="620" y="267"/>
                  </a:lnTo>
                  <a:lnTo>
                    <a:pt x="617" y="268"/>
                  </a:lnTo>
                  <a:lnTo>
                    <a:pt x="615" y="269"/>
                  </a:lnTo>
                  <a:lnTo>
                    <a:pt x="612" y="270"/>
                  </a:lnTo>
                  <a:lnTo>
                    <a:pt x="612" y="270"/>
                  </a:lnTo>
                  <a:lnTo>
                    <a:pt x="615" y="277"/>
                  </a:lnTo>
                  <a:lnTo>
                    <a:pt x="616" y="280"/>
                  </a:lnTo>
                  <a:lnTo>
                    <a:pt x="616" y="287"/>
                  </a:lnTo>
                  <a:lnTo>
                    <a:pt x="616" y="287"/>
                  </a:lnTo>
                  <a:lnTo>
                    <a:pt x="612" y="283"/>
                  </a:lnTo>
                  <a:lnTo>
                    <a:pt x="607" y="281"/>
                  </a:lnTo>
                  <a:lnTo>
                    <a:pt x="607" y="281"/>
                  </a:lnTo>
                  <a:lnTo>
                    <a:pt x="605" y="282"/>
                  </a:lnTo>
                  <a:lnTo>
                    <a:pt x="607" y="285"/>
                  </a:lnTo>
                  <a:lnTo>
                    <a:pt x="610" y="288"/>
                  </a:lnTo>
                  <a:lnTo>
                    <a:pt x="612" y="290"/>
                  </a:lnTo>
                  <a:lnTo>
                    <a:pt x="613" y="292"/>
                  </a:lnTo>
                  <a:lnTo>
                    <a:pt x="613" y="294"/>
                  </a:lnTo>
                  <a:lnTo>
                    <a:pt x="612" y="298"/>
                  </a:lnTo>
                  <a:lnTo>
                    <a:pt x="612" y="298"/>
                  </a:lnTo>
                  <a:lnTo>
                    <a:pt x="608" y="296"/>
                  </a:lnTo>
                  <a:lnTo>
                    <a:pt x="603" y="296"/>
                  </a:lnTo>
                  <a:lnTo>
                    <a:pt x="598" y="293"/>
                  </a:lnTo>
                  <a:lnTo>
                    <a:pt x="592" y="290"/>
                  </a:lnTo>
                  <a:lnTo>
                    <a:pt x="586" y="287"/>
                  </a:lnTo>
                  <a:lnTo>
                    <a:pt x="586" y="287"/>
                  </a:lnTo>
                  <a:lnTo>
                    <a:pt x="584" y="286"/>
                  </a:lnTo>
                  <a:lnTo>
                    <a:pt x="583" y="287"/>
                  </a:lnTo>
                  <a:lnTo>
                    <a:pt x="581" y="288"/>
                  </a:lnTo>
                  <a:lnTo>
                    <a:pt x="579" y="291"/>
                  </a:lnTo>
                  <a:lnTo>
                    <a:pt x="578" y="291"/>
                  </a:lnTo>
                  <a:lnTo>
                    <a:pt x="577" y="292"/>
                  </a:lnTo>
                  <a:lnTo>
                    <a:pt x="577" y="292"/>
                  </a:lnTo>
                  <a:lnTo>
                    <a:pt x="582" y="294"/>
                  </a:lnTo>
                  <a:lnTo>
                    <a:pt x="588" y="298"/>
                  </a:lnTo>
                  <a:lnTo>
                    <a:pt x="594" y="299"/>
                  </a:lnTo>
                  <a:lnTo>
                    <a:pt x="596" y="299"/>
                  </a:lnTo>
                  <a:lnTo>
                    <a:pt x="598" y="298"/>
                  </a:lnTo>
                  <a:lnTo>
                    <a:pt x="598" y="298"/>
                  </a:lnTo>
                  <a:lnTo>
                    <a:pt x="599" y="301"/>
                  </a:lnTo>
                  <a:lnTo>
                    <a:pt x="598" y="303"/>
                  </a:lnTo>
                  <a:lnTo>
                    <a:pt x="597" y="305"/>
                  </a:lnTo>
                  <a:lnTo>
                    <a:pt x="594" y="308"/>
                  </a:lnTo>
                  <a:lnTo>
                    <a:pt x="587" y="313"/>
                  </a:lnTo>
                  <a:lnTo>
                    <a:pt x="585" y="316"/>
                  </a:lnTo>
                  <a:lnTo>
                    <a:pt x="584" y="319"/>
                  </a:lnTo>
                  <a:lnTo>
                    <a:pt x="584" y="319"/>
                  </a:lnTo>
                  <a:lnTo>
                    <a:pt x="579" y="320"/>
                  </a:lnTo>
                  <a:lnTo>
                    <a:pt x="576" y="322"/>
                  </a:lnTo>
                  <a:lnTo>
                    <a:pt x="570" y="327"/>
                  </a:lnTo>
                  <a:lnTo>
                    <a:pt x="563" y="331"/>
                  </a:lnTo>
                  <a:lnTo>
                    <a:pt x="560" y="333"/>
                  </a:lnTo>
                  <a:lnTo>
                    <a:pt x="556" y="335"/>
                  </a:lnTo>
                  <a:lnTo>
                    <a:pt x="556" y="335"/>
                  </a:lnTo>
                  <a:lnTo>
                    <a:pt x="550" y="340"/>
                  </a:lnTo>
                  <a:lnTo>
                    <a:pt x="545" y="346"/>
                  </a:lnTo>
                  <a:lnTo>
                    <a:pt x="545" y="346"/>
                  </a:lnTo>
                  <a:lnTo>
                    <a:pt x="541" y="344"/>
                  </a:lnTo>
                  <a:lnTo>
                    <a:pt x="538" y="344"/>
                  </a:lnTo>
                  <a:lnTo>
                    <a:pt x="536" y="344"/>
                  </a:lnTo>
                  <a:lnTo>
                    <a:pt x="535" y="345"/>
                  </a:lnTo>
                  <a:lnTo>
                    <a:pt x="531" y="347"/>
                  </a:lnTo>
                  <a:lnTo>
                    <a:pt x="528" y="347"/>
                  </a:lnTo>
                  <a:lnTo>
                    <a:pt x="525" y="346"/>
                  </a:lnTo>
                  <a:lnTo>
                    <a:pt x="525" y="346"/>
                  </a:lnTo>
                  <a:lnTo>
                    <a:pt x="524" y="346"/>
                  </a:lnTo>
                  <a:lnTo>
                    <a:pt x="523" y="347"/>
                  </a:lnTo>
                  <a:lnTo>
                    <a:pt x="521" y="352"/>
                  </a:lnTo>
                  <a:lnTo>
                    <a:pt x="520" y="355"/>
                  </a:lnTo>
                  <a:lnTo>
                    <a:pt x="519" y="356"/>
                  </a:lnTo>
                  <a:lnTo>
                    <a:pt x="517" y="357"/>
                  </a:lnTo>
                  <a:lnTo>
                    <a:pt x="517" y="357"/>
                  </a:lnTo>
                  <a:lnTo>
                    <a:pt x="517" y="364"/>
                  </a:lnTo>
                  <a:lnTo>
                    <a:pt x="515" y="369"/>
                  </a:lnTo>
                  <a:lnTo>
                    <a:pt x="513" y="373"/>
                  </a:lnTo>
                  <a:lnTo>
                    <a:pt x="511" y="377"/>
                  </a:lnTo>
                  <a:lnTo>
                    <a:pt x="509" y="381"/>
                  </a:lnTo>
                  <a:lnTo>
                    <a:pt x="508" y="385"/>
                  </a:lnTo>
                  <a:lnTo>
                    <a:pt x="507" y="391"/>
                  </a:lnTo>
                  <a:lnTo>
                    <a:pt x="507" y="397"/>
                  </a:lnTo>
                  <a:lnTo>
                    <a:pt x="507" y="397"/>
                  </a:lnTo>
                  <a:close/>
                  <a:moveTo>
                    <a:pt x="764" y="189"/>
                  </a:moveTo>
                  <a:lnTo>
                    <a:pt x="764" y="189"/>
                  </a:lnTo>
                  <a:lnTo>
                    <a:pt x="766" y="190"/>
                  </a:lnTo>
                  <a:lnTo>
                    <a:pt x="769" y="192"/>
                  </a:lnTo>
                  <a:lnTo>
                    <a:pt x="771" y="193"/>
                  </a:lnTo>
                  <a:lnTo>
                    <a:pt x="772" y="193"/>
                  </a:lnTo>
                  <a:lnTo>
                    <a:pt x="774" y="191"/>
                  </a:lnTo>
                  <a:lnTo>
                    <a:pt x="774" y="191"/>
                  </a:lnTo>
                  <a:lnTo>
                    <a:pt x="776" y="195"/>
                  </a:lnTo>
                  <a:lnTo>
                    <a:pt x="779" y="198"/>
                  </a:lnTo>
                  <a:lnTo>
                    <a:pt x="785" y="204"/>
                  </a:lnTo>
                  <a:lnTo>
                    <a:pt x="789" y="208"/>
                  </a:lnTo>
                  <a:lnTo>
                    <a:pt x="791" y="212"/>
                  </a:lnTo>
                  <a:lnTo>
                    <a:pt x="792" y="217"/>
                  </a:lnTo>
                  <a:lnTo>
                    <a:pt x="792" y="224"/>
                  </a:lnTo>
                  <a:lnTo>
                    <a:pt x="792" y="224"/>
                  </a:lnTo>
                  <a:lnTo>
                    <a:pt x="787" y="225"/>
                  </a:lnTo>
                  <a:lnTo>
                    <a:pt x="782" y="225"/>
                  </a:lnTo>
                  <a:lnTo>
                    <a:pt x="778" y="223"/>
                  </a:lnTo>
                  <a:lnTo>
                    <a:pt x="776" y="222"/>
                  </a:lnTo>
                  <a:lnTo>
                    <a:pt x="770" y="216"/>
                  </a:lnTo>
                  <a:lnTo>
                    <a:pt x="766" y="210"/>
                  </a:lnTo>
                  <a:lnTo>
                    <a:pt x="766" y="210"/>
                  </a:lnTo>
                  <a:lnTo>
                    <a:pt x="763" y="225"/>
                  </a:lnTo>
                  <a:lnTo>
                    <a:pt x="759" y="240"/>
                  </a:lnTo>
                  <a:lnTo>
                    <a:pt x="759" y="240"/>
                  </a:lnTo>
                  <a:lnTo>
                    <a:pt x="754" y="240"/>
                  </a:lnTo>
                  <a:lnTo>
                    <a:pt x="751" y="239"/>
                  </a:lnTo>
                  <a:lnTo>
                    <a:pt x="749" y="239"/>
                  </a:lnTo>
                  <a:lnTo>
                    <a:pt x="747" y="237"/>
                  </a:lnTo>
                  <a:lnTo>
                    <a:pt x="747" y="235"/>
                  </a:lnTo>
                  <a:lnTo>
                    <a:pt x="747" y="232"/>
                  </a:lnTo>
                  <a:lnTo>
                    <a:pt x="747" y="232"/>
                  </a:lnTo>
                  <a:lnTo>
                    <a:pt x="742" y="232"/>
                  </a:lnTo>
                  <a:lnTo>
                    <a:pt x="738" y="231"/>
                  </a:lnTo>
                  <a:lnTo>
                    <a:pt x="734" y="229"/>
                  </a:lnTo>
                  <a:lnTo>
                    <a:pt x="731" y="227"/>
                  </a:lnTo>
                  <a:lnTo>
                    <a:pt x="731" y="227"/>
                  </a:lnTo>
                  <a:lnTo>
                    <a:pt x="732" y="223"/>
                  </a:lnTo>
                  <a:lnTo>
                    <a:pt x="733" y="219"/>
                  </a:lnTo>
                  <a:lnTo>
                    <a:pt x="737" y="214"/>
                  </a:lnTo>
                  <a:lnTo>
                    <a:pt x="741" y="210"/>
                  </a:lnTo>
                  <a:lnTo>
                    <a:pt x="742" y="206"/>
                  </a:lnTo>
                  <a:lnTo>
                    <a:pt x="743" y="202"/>
                  </a:lnTo>
                  <a:lnTo>
                    <a:pt x="743" y="202"/>
                  </a:lnTo>
                  <a:lnTo>
                    <a:pt x="739" y="202"/>
                  </a:lnTo>
                  <a:lnTo>
                    <a:pt x="737" y="203"/>
                  </a:lnTo>
                  <a:lnTo>
                    <a:pt x="732" y="206"/>
                  </a:lnTo>
                  <a:lnTo>
                    <a:pt x="728" y="211"/>
                  </a:lnTo>
                  <a:lnTo>
                    <a:pt x="725" y="212"/>
                  </a:lnTo>
                  <a:lnTo>
                    <a:pt x="721" y="213"/>
                  </a:lnTo>
                  <a:lnTo>
                    <a:pt x="721" y="213"/>
                  </a:lnTo>
                  <a:lnTo>
                    <a:pt x="720" y="210"/>
                  </a:lnTo>
                  <a:lnTo>
                    <a:pt x="720" y="206"/>
                  </a:lnTo>
                  <a:lnTo>
                    <a:pt x="721" y="203"/>
                  </a:lnTo>
                  <a:lnTo>
                    <a:pt x="721" y="200"/>
                  </a:lnTo>
                  <a:lnTo>
                    <a:pt x="721" y="200"/>
                  </a:lnTo>
                  <a:lnTo>
                    <a:pt x="721" y="197"/>
                  </a:lnTo>
                  <a:lnTo>
                    <a:pt x="719" y="196"/>
                  </a:lnTo>
                  <a:lnTo>
                    <a:pt x="716" y="192"/>
                  </a:lnTo>
                  <a:lnTo>
                    <a:pt x="713" y="190"/>
                  </a:lnTo>
                  <a:lnTo>
                    <a:pt x="712" y="188"/>
                  </a:lnTo>
                  <a:lnTo>
                    <a:pt x="711" y="186"/>
                  </a:lnTo>
                  <a:lnTo>
                    <a:pt x="711" y="186"/>
                  </a:lnTo>
                  <a:lnTo>
                    <a:pt x="712" y="178"/>
                  </a:lnTo>
                  <a:lnTo>
                    <a:pt x="713" y="175"/>
                  </a:lnTo>
                  <a:lnTo>
                    <a:pt x="715" y="173"/>
                  </a:lnTo>
                  <a:lnTo>
                    <a:pt x="716" y="172"/>
                  </a:lnTo>
                  <a:lnTo>
                    <a:pt x="718" y="171"/>
                  </a:lnTo>
                  <a:lnTo>
                    <a:pt x="723" y="172"/>
                  </a:lnTo>
                  <a:lnTo>
                    <a:pt x="728" y="174"/>
                  </a:lnTo>
                  <a:lnTo>
                    <a:pt x="732" y="177"/>
                  </a:lnTo>
                  <a:lnTo>
                    <a:pt x="736" y="182"/>
                  </a:lnTo>
                  <a:lnTo>
                    <a:pt x="738" y="186"/>
                  </a:lnTo>
                  <a:lnTo>
                    <a:pt x="738" y="186"/>
                  </a:lnTo>
                  <a:lnTo>
                    <a:pt x="740" y="185"/>
                  </a:lnTo>
                  <a:lnTo>
                    <a:pt x="740" y="183"/>
                  </a:lnTo>
                  <a:lnTo>
                    <a:pt x="739" y="178"/>
                  </a:lnTo>
                  <a:lnTo>
                    <a:pt x="738" y="174"/>
                  </a:lnTo>
                  <a:lnTo>
                    <a:pt x="739" y="172"/>
                  </a:lnTo>
                  <a:lnTo>
                    <a:pt x="741" y="170"/>
                  </a:lnTo>
                  <a:lnTo>
                    <a:pt x="741" y="170"/>
                  </a:lnTo>
                  <a:lnTo>
                    <a:pt x="744" y="170"/>
                  </a:lnTo>
                  <a:lnTo>
                    <a:pt x="747" y="170"/>
                  </a:lnTo>
                  <a:lnTo>
                    <a:pt x="750" y="171"/>
                  </a:lnTo>
                  <a:lnTo>
                    <a:pt x="752" y="173"/>
                  </a:lnTo>
                  <a:lnTo>
                    <a:pt x="754" y="175"/>
                  </a:lnTo>
                  <a:lnTo>
                    <a:pt x="754" y="177"/>
                  </a:lnTo>
                  <a:lnTo>
                    <a:pt x="754" y="180"/>
                  </a:lnTo>
                  <a:lnTo>
                    <a:pt x="752" y="184"/>
                  </a:lnTo>
                  <a:lnTo>
                    <a:pt x="752" y="184"/>
                  </a:lnTo>
                  <a:lnTo>
                    <a:pt x="754" y="186"/>
                  </a:lnTo>
                  <a:lnTo>
                    <a:pt x="756" y="188"/>
                  </a:lnTo>
                  <a:lnTo>
                    <a:pt x="759" y="188"/>
                  </a:lnTo>
                  <a:lnTo>
                    <a:pt x="764" y="189"/>
                  </a:lnTo>
                  <a:lnTo>
                    <a:pt x="764" y="189"/>
                  </a:lnTo>
                  <a:close/>
                  <a:moveTo>
                    <a:pt x="762" y="164"/>
                  </a:moveTo>
                  <a:lnTo>
                    <a:pt x="762" y="164"/>
                  </a:lnTo>
                  <a:lnTo>
                    <a:pt x="791" y="165"/>
                  </a:lnTo>
                  <a:lnTo>
                    <a:pt x="806" y="167"/>
                  </a:lnTo>
                  <a:lnTo>
                    <a:pt x="822" y="170"/>
                  </a:lnTo>
                  <a:lnTo>
                    <a:pt x="822" y="170"/>
                  </a:lnTo>
                  <a:lnTo>
                    <a:pt x="822" y="174"/>
                  </a:lnTo>
                  <a:lnTo>
                    <a:pt x="821" y="176"/>
                  </a:lnTo>
                  <a:lnTo>
                    <a:pt x="820" y="178"/>
                  </a:lnTo>
                  <a:lnTo>
                    <a:pt x="819" y="179"/>
                  </a:lnTo>
                  <a:lnTo>
                    <a:pt x="815" y="182"/>
                  </a:lnTo>
                  <a:lnTo>
                    <a:pt x="814" y="184"/>
                  </a:lnTo>
                  <a:lnTo>
                    <a:pt x="813" y="186"/>
                  </a:lnTo>
                  <a:lnTo>
                    <a:pt x="813" y="186"/>
                  </a:lnTo>
                  <a:lnTo>
                    <a:pt x="805" y="187"/>
                  </a:lnTo>
                  <a:lnTo>
                    <a:pt x="797" y="186"/>
                  </a:lnTo>
                  <a:lnTo>
                    <a:pt x="791" y="186"/>
                  </a:lnTo>
                  <a:lnTo>
                    <a:pt x="785" y="184"/>
                  </a:lnTo>
                  <a:lnTo>
                    <a:pt x="775" y="179"/>
                  </a:lnTo>
                  <a:lnTo>
                    <a:pt x="764" y="175"/>
                  </a:lnTo>
                  <a:lnTo>
                    <a:pt x="764" y="175"/>
                  </a:lnTo>
                  <a:lnTo>
                    <a:pt x="762" y="171"/>
                  </a:lnTo>
                  <a:lnTo>
                    <a:pt x="762" y="164"/>
                  </a:lnTo>
                  <a:lnTo>
                    <a:pt x="762" y="164"/>
                  </a:lnTo>
                  <a:close/>
                  <a:moveTo>
                    <a:pt x="641" y="473"/>
                  </a:moveTo>
                  <a:lnTo>
                    <a:pt x="641" y="473"/>
                  </a:lnTo>
                  <a:lnTo>
                    <a:pt x="637" y="475"/>
                  </a:lnTo>
                  <a:lnTo>
                    <a:pt x="631" y="476"/>
                  </a:lnTo>
                  <a:lnTo>
                    <a:pt x="627" y="478"/>
                  </a:lnTo>
                  <a:lnTo>
                    <a:pt x="623" y="479"/>
                  </a:lnTo>
                  <a:lnTo>
                    <a:pt x="623" y="479"/>
                  </a:lnTo>
                  <a:lnTo>
                    <a:pt x="621" y="475"/>
                  </a:lnTo>
                  <a:lnTo>
                    <a:pt x="620" y="470"/>
                  </a:lnTo>
                  <a:lnTo>
                    <a:pt x="620" y="457"/>
                  </a:lnTo>
                  <a:lnTo>
                    <a:pt x="620" y="457"/>
                  </a:lnTo>
                  <a:lnTo>
                    <a:pt x="622" y="456"/>
                  </a:lnTo>
                  <a:lnTo>
                    <a:pt x="623" y="456"/>
                  </a:lnTo>
                  <a:lnTo>
                    <a:pt x="626" y="456"/>
                  </a:lnTo>
                  <a:lnTo>
                    <a:pt x="627" y="456"/>
                  </a:lnTo>
                  <a:lnTo>
                    <a:pt x="628" y="455"/>
                  </a:lnTo>
                  <a:lnTo>
                    <a:pt x="629" y="453"/>
                  </a:lnTo>
                  <a:lnTo>
                    <a:pt x="629" y="449"/>
                  </a:lnTo>
                  <a:lnTo>
                    <a:pt x="629" y="449"/>
                  </a:lnTo>
                  <a:lnTo>
                    <a:pt x="641" y="449"/>
                  </a:lnTo>
                  <a:lnTo>
                    <a:pt x="641" y="449"/>
                  </a:lnTo>
                  <a:lnTo>
                    <a:pt x="640" y="462"/>
                  </a:lnTo>
                  <a:lnTo>
                    <a:pt x="640" y="467"/>
                  </a:lnTo>
                  <a:lnTo>
                    <a:pt x="641" y="473"/>
                  </a:lnTo>
                  <a:lnTo>
                    <a:pt x="641" y="473"/>
                  </a:lnTo>
                  <a:close/>
                  <a:moveTo>
                    <a:pt x="623" y="370"/>
                  </a:moveTo>
                  <a:lnTo>
                    <a:pt x="623" y="370"/>
                  </a:lnTo>
                  <a:lnTo>
                    <a:pt x="621" y="369"/>
                  </a:lnTo>
                  <a:lnTo>
                    <a:pt x="620" y="368"/>
                  </a:lnTo>
                  <a:lnTo>
                    <a:pt x="616" y="363"/>
                  </a:lnTo>
                  <a:lnTo>
                    <a:pt x="615" y="360"/>
                  </a:lnTo>
                  <a:lnTo>
                    <a:pt x="613" y="359"/>
                  </a:lnTo>
                  <a:lnTo>
                    <a:pt x="611" y="359"/>
                  </a:lnTo>
                  <a:lnTo>
                    <a:pt x="607" y="359"/>
                  </a:lnTo>
                  <a:lnTo>
                    <a:pt x="607" y="359"/>
                  </a:lnTo>
                  <a:lnTo>
                    <a:pt x="607" y="356"/>
                  </a:lnTo>
                  <a:lnTo>
                    <a:pt x="607" y="354"/>
                  </a:lnTo>
                  <a:lnTo>
                    <a:pt x="609" y="350"/>
                  </a:lnTo>
                  <a:lnTo>
                    <a:pt x="612" y="347"/>
                  </a:lnTo>
                  <a:lnTo>
                    <a:pt x="613" y="345"/>
                  </a:lnTo>
                  <a:lnTo>
                    <a:pt x="614" y="343"/>
                  </a:lnTo>
                  <a:lnTo>
                    <a:pt x="614" y="343"/>
                  </a:lnTo>
                  <a:lnTo>
                    <a:pt x="611" y="343"/>
                  </a:lnTo>
                  <a:lnTo>
                    <a:pt x="609" y="345"/>
                  </a:lnTo>
                  <a:lnTo>
                    <a:pt x="607" y="346"/>
                  </a:lnTo>
                  <a:lnTo>
                    <a:pt x="602" y="346"/>
                  </a:lnTo>
                  <a:lnTo>
                    <a:pt x="602" y="346"/>
                  </a:lnTo>
                  <a:lnTo>
                    <a:pt x="603" y="343"/>
                  </a:lnTo>
                  <a:lnTo>
                    <a:pt x="604" y="341"/>
                  </a:lnTo>
                  <a:lnTo>
                    <a:pt x="608" y="338"/>
                  </a:lnTo>
                  <a:lnTo>
                    <a:pt x="610" y="337"/>
                  </a:lnTo>
                  <a:lnTo>
                    <a:pt x="611" y="334"/>
                  </a:lnTo>
                  <a:lnTo>
                    <a:pt x="612" y="331"/>
                  </a:lnTo>
                  <a:lnTo>
                    <a:pt x="612" y="327"/>
                  </a:lnTo>
                  <a:lnTo>
                    <a:pt x="612" y="327"/>
                  </a:lnTo>
                  <a:lnTo>
                    <a:pt x="614" y="327"/>
                  </a:lnTo>
                  <a:lnTo>
                    <a:pt x="616" y="328"/>
                  </a:lnTo>
                  <a:lnTo>
                    <a:pt x="620" y="331"/>
                  </a:lnTo>
                  <a:lnTo>
                    <a:pt x="622" y="335"/>
                  </a:lnTo>
                  <a:lnTo>
                    <a:pt x="624" y="337"/>
                  </a:lnTo>
                  <a:lnTo>
                    <a:pt x="626" y="338"/>
                  </a:lnTo>
                  <a:lnTo>
                    <a:pt x="626" y="338"/>
                  </a:lnTo>
                  <a:lnTo>
                    <a:pt x="631" y="337"/>
                  </a:lnTo>
                  <a:lnTo>
                    <a:pt x="637" y="337"/>
                  </a:lnTo>
                  <a:lnTo>
                    <a:pt x="642" y="337"/>
                  </a:lnTo>
                  <a:lnTo>
                    <a:pt x="649" y="335"/>
                  </a:lnTo>
                  <a:lnTo>
                    <a:pt x="649" y="335"/>
                  </a:lnTo>
                  <a:lnTo>
                    <a:pt x="649" y="339"/>
                  </a:lnTo>
                  <a:lnTo>
                    <a:pt x="650" y="342"/>
                  </a:lnTo>
                  <a:lnTo>
                    <a:pt x="652" y="347"/>
                  </a:lnTo>
                  <a:lnTo>
                    <a:pt x="653" y="354"/>
                  </a:lnTo>
                  <a:lnTo>
                    <a:pt x="654" y="357"/>
                  </a:lnTo>
                  <a:lnTo>
                    <a:pt x="653" y="363"/>
                  </a:lnTo>
                  <a:lnTo>
                    <a:pt x="653" y="363"/>
                  </a:lnTo>
                  <a:lnTo>
                    <a:pt x="650" y="364"/>
                  </a:lnTo>
                  <a:lnTo>
                    <a:pt x="647" y="365"/>
                  </a:lnTo>
                  <a:lnTo>
                    <a:pt x="643" y="367"/>
                  </a:lnTo>
                  <a:lnTo>
                    <a:pt x="642" y="368"/>
                  </a:lnTo>
                  <a:lnTo>
                    <a:pt x="641" y="370"/>
                  </a:lnTo>
                  <a:lnTo>
                    <a:pt x="641" y="370"/>
                  </a:lnTo>
                  <a:lnTo>
                    <a:pt x="638" y="368"/>
                  </a:lnTo>
                  <a:lnTo>
                    <a:pt x="633" y="367"/>
                  </a:lnTo>
                  <a:lnTo>
                    <a:pt x="627" y="368"/>
                  </a:lnTo>
                  <a:lnTo>
                    <a:pt x="625" y="369"/>
                  </a:lnTo>
                  <a:lnTo>
                    <a:pt x="623" y="370"/>
                  </a:lnTo>
                  <a:lnTo>
                    <a:pt x="623" y="370"/>
                  </a:lnTo>
                  <a:close/>
                  <a:moveTo>
                    <a:pt x="935" y="243"/>
                  </a:moveTo>
                  <a:lnTo>
                    <a:pt x="935" y="243"/>
                  </a:lnTo>
                  <a:lnTo>
                    <a:pt x="956" y="234"/>
                  </a:lnTo>
                  <a:lnTo>
                    <a:pt x="968" y="229"/>
                  </a:lnTo>
                  <a:lnTo>
                    <a:pt x="980" y="227"/>
                  </a:lnTo>
                  <a:lnTo>
                    <a:pt x="980" y="227"/>
                  </a:lnTo>
                  <a:lnTo>
                    <a:pt x="981" y="226"/>
                  </a:lnTo>
                  <a:lnTo>
                    <a:pt x="982" y="225"/>
                  </a:lnTo>
                  <a:lnTo>
                    <a:pt x="982" y="222"/>
                  </a:lnTo>
                  <a:lnTo>
                    <a:pt x="982" y="222"/>
                  </a:lnTo>
                  <a:lnTo>
                    <a:pt x="994" y="222"/>
                  </a:lnTo>
                  <a:lnTo>
                    <a:pt x="994" y="222"/>
                  </a:lnTo>
                  <a:lnTo>
                    <a:pt x="993" y="226"/>
                  </a:lnTo>
                  <a:lnTo>
                    <a:pt x="991" y="230"/>
                  </a:lnTo>
                  <a:lnTo>
                    <a:pt x="989" y="234"/>
                  </a:lnTo>
                  <a:lnTo>
                    <a:pt x="987" y="237"/>
                  </a:lnTo>
                  <a:lnTo>
                    <a:pt x="984" y="239"/>
                  </a:lnTo>
                  <a:lnTo>
                    <a:pt x="980" y="240"/>
                  </a:lnTo>
                  <a:lnTo>
                    <a:pt x="975" y="240"/>
                  </a:lnTo>
                  <a:lnTo>
                    <a:pt x="971" y="240"/>
                  </a:lnTo>
                  <a:lnTo>
                    <a:pt x="971" y="240"/>
                  </a:lnTo>
                  <a:lnTo>
                    <a:pt x="967" y="243"/>
                  </a:lnTo>
                  <a:lnTo>
                    <a:pt x="962" y="245"/>
                  </a:lnTo>
                  <a:lnTo>
                    <a:pt x="955" y="253"/>
                  </a:lnTo>
                  <a:lnTo>
                    <a:pt x="950" y="256"/>
                  </a:lnTo>
                  <a:lnTo>
                    <a:pt x="946" y="259"/>
                  </a:lnTo>
                  <a:lnTo>
                    <a:pt x="942" y="261"/>
                  </a:lnTo>
                  <a:lnTo>
                    <a:pt x="935" y="262"/>
                  </a:lnTo>
                  <a:lnTo>
                    <a:pt x="935" y="262"/>
                  </a:lnTo>
                  <a:lnTo>
                    <a:pt x="935" y="268"/>
                  </a:lnTo>
                  <a:lnTo>
                    <a:pt x="936" y="274"/>
                  </a:lnTo>
                  <a:lnTo>
                    <a:pt x="937" y="278"/>
                  </a:lnTo>
                  <a:lnTo>
                    <a:pt x="939" y="282"/>
                  </a:lnTo>
                  <a:lnTo>
                    <a:pt x="944" y="289"/>
                  </a:lnTo>
                  <a:lnTo>
                    <a:pt x="946" y="293"/>
                  </a:lnTo>
                  <a:lnTo>
                    <a:pt x="947" y="298"/>
                  </a:lnTo>
                  <a:lnTo>
                    <a:pt x="947" y="298"/>
                  </a:lnTo>
                  <a:lnTo>
                    <a:pt x="945" y="298"/>
                  </a:lnTo>
                  <a:lnTo>
                    <a:pt x="943" y="299"/>
                  </a:lnTo>
                  <a:lnTo>
                    <a:pt x="942" y="301"/>
                  </a:lnTo>
                  <a:lnTo>
                    <a:pt x="940" y="303"/>
                  </a:lnTo>
                  <a:lnTo>
                    <a:pt x="940" y="303"/>
                  </a:lnTo>
                  <a:lnTo>
                    <a:pt x="929" y="295"/>
                  </a:lnTo>
                  <a:lnTo>
                    <a:pt x="917" y="287"/>
                  </a:lnTo>
                  <a:lnTo>
                    <a:pt x="917" y="287"/>
                  </a:lnTo>
                  <a:lnTo>
                    <a:pt x="918" y="281"/>
                  </a:lnTo>
                  <a:lnTo>
                    <a:pt x="921" y="277"/>
                  </a:lnTo>
                  <a:lnTo>
                    <a:pt x="923" y="274"/>
                  </a:lnTo>
                  <a:lnTo>
                    <a:pt x="926" y="270"/>
                  </a:lnTo>
                  <a:lnTo>
                    <a:pt x="926" y="270"/>
                  </a:lnTo>
                  <a:lnTo>
                    <a:pt x="926" y="265"/>
                  </a:lnTo>
                  <a:lnTo>
                    <a:pt x="927" y="262"/>
                  </a:lnTo>
                  <a:lnTo>
                    <a:pt x="929" y="259"/>
                  </a:lnTo>
                  <a:lnTo>
                    <a:pt x="931" y="256"/>
                  </a:lnTo>
                  <a:lnTo>
                    <a:pt x="934" y="251"/>
                  </a:lnTo>
                  <a:lnTo>
                    <a:pt x="935" y="248"/>
                  </a:lnTo>
                  <a:lnTo>
                    <a:pt x="935" y="243"/>
                  </a:lnTo>
                  <a:lnTo>
                    <a:pt x="935" y="243"/>
                  </a:lnTo>
                  <a:close/>
                  <a:moveTo>
                    <a:pt x="935" y="184"/>
                  </a:moveTo>
                  <a:lnTo>
                    <a:pt x="935" y="184"/>
                  </a:lnTo>
                  <a:lnTo>
                    <a:pt x="936" y="178"/>
                  </a:lnTo>
                  <a:lnTo>
                    <a:pt x="938" y="174"/>
                  </a:lnTo>
                  <a:lnTo>
                    <a:pt x="942" y="172"/>
                  </a:lnTo>
                  <a:lnTo>
                    <a:pt x="946" y="171"/>
                  </a:lnTo>
                  <a:lnTo>
                    <a:pt x="949" y="171"/>
                  </a:lnTo>
                  <a:lnTo>
                    <a:pt x="952" y="172"/>
                  </a:lnTo>
                  <a:lnTo>
                    <a:pt x="956" y="175"/>
                  </a:lnTo>
                  <a:lnTo>
                    <a:pt x="957" y="180"/>
                  </a:lnTo>
                  <a:lnTo>
                    <a:pt x="957" y="180"/>
                  </a:lnTo>
                  <a:lnTo>
                    <a:pt x="953" y="180"/>
                  </a:lnTo>
                  <a:lnTo>
                    <a:pt x="950" y="182"/>
                  </a:lnTo>
                  <a:lnTo>
                    <a:pt x="946" y="185"/>
                  </a:lnTo>
                  <a:lnTo>
                    <a:pt x="944" y="186"/>
                  </a:lnTo>
                  <a:lnTo>
                    <a:pt x="940" y="186"/>
                  </a:lnTo>
                  <a:lnTo>
                    <a:pt x="938" y="186"/>
                  </a:lnTo>
                  <a:lnTo>
                    <a:pt x="935" y="184"/>
                  </a:lnTo>
                  <a:lnTo>
                    <a:pt x="935" y="184"/>
                  </a:lnTo>
                  <a:close/>
                  <a:moveTo>
                    <a:pt x="1089" y="180"/>
                  </a:moveTo>
                  <a:lnTo>
                    <a:pt x="1089" y="180"/>
                  </a:lnTo>
                  <a:lnTo>
                    <a:pt x="1093" y="178"/>
                  </a:lnTo>
                  <a:lnTo>
                    <a:pt x="1100" y="177"/>
                  </a:lnTo>
                  <a:lnTo>
                    <a:pt x="1105" y="177"/>
                  </a:lnTo>
                  <a:lnTo>
                    <a:pt x="1111" y="178"/>
                  </a:lnTo>
                  <a:lnTo>
                    <a:pt x="1116" y="179"/>
                  </a:lnTo>
                  <a:lnTo>
                    <a:pt x="1122" y="182"/>
                  </a:lnTo>
                  <a:lnTo>
                    <a:pt x="1126" y="185"/>
                  </a:lnTo>
                  <a:lnTo>
                    <a:pt x="1128" y="189"/>
                  </a:lnTo>
                  <a:lnTo>
                    <a:pt x="1128" y="189"/>
                  </a:lnTo>
                  <a:lnTo>
                    <a:pt x="1126" y="193"/>
                  </a:lnTo>
                  <a:lnTo>
                    <a:pt x="1123" y="197"/>
                  </a:lnTo>
                  <a:lnTo>
                    <a:pt x="1118" y="198"/>
                  </a:lnTo>
                  <a:lnTo>
                    <a:pt x="1113" y="198"/>
                  </a:lnTo>
                  <a:lnTo>
                    <a:pt x="1100" y="197"/>
                  </a:lnTo>
                  <a:lnTo>
                    <a:pt x="1093" y="196"/>
                  </a:lnTo>
                  <a:lnTo>
                    <a:pt x="1087" y="197"/>
                  </a:lnTo>
                  <a:lnTo>
                    <a:pt x="1087" y="197"/>
                  </a:lnTo>
                  <a:lnTo>
                    <a:pt x="1087" y="192"/>
                  </a:lnTo>
                  <a:lnTo>
                    <a:pt x="1086" y="187"/>
                  </a:lnTo>
                  <a:lnTo>
                    <a:pt x="1087" y="183"/>
                  </a:lnTo>
                  <a:lnTo>
                    <a:pt x="1087" y="182"/>
                  </a:lnTo>
                  <a:lnTo>
                    <a:pt x="1089" y="180"/>
                  </a:lnTo>
                  <a:lnTo>
                    <a:pt x="1089" y="180"/>
                  </a:lnTo>
                  <a:close/>
                  <a:moveTo>
                    <a:pt x="324" y="370"/>
                  </a:moveTo>
                  <a:lnTo>
                    <a:pt x="324" y="370"/>
                  </a:lnTo>
                  <a:lnTo>
                    <a:pt x="322" y="375"/>
                  </a:lnTo>
                  <a:lnTo>
                    <a:pt x="321" y="376"/>
                  </a:lnTo>
                  <a:lnTo>
                    <a:pt x="319" y="376"/>
                  </a:lnTo>
                  <a:lnTo>
                    <a:pt x="316" y="375"/>
                  </a:lnTo>
                  <a:lnTo>
                    <a:pt x="313" y="373"/>
                  </a:lnTo>
                  <a:lnTo>
                    <a:pt x="311" y="371"/>
                  </a:lnTo>
                  <a:lnTo>
                    <a:pt x="307" y="371"/>
                  </a:lnTo>
                  <a:lnTo>
                    <a:pt x="306" y="371"/>
                  </a:lnTo>
                  <a:lnTo>
                    <a:pt x="305" y="372"/>
                  </a:lnTo>
                  <a:lnTo>
                    <a:pt x="305" y="379"/>
                  </a:lnTo>
                  <a:lnTo>
                    <a:pt x="305" y="379"/>
                  </a:lnTo>
                  <a:lnTo>
                    <a:pt x="299" y="378"/>
                  </a:lnTo>
                  <a:lnTo>
                    <a:pt x="294" y="377"/>
                  </a:lnTo>
                  <a:lnTo>
                    <a:pt x="292" y="376"/>
                  </a:lnTo>
                  <a:lnTo>
                    <a:pt x="290" y="373"/>
                  </a:lnTo>
                  <a:lnTo>
                    <a:pt x="290" y="371"/>
                  </a:lnTo>
                  <a:lnTo>
                    <a:pt x="289" y="368"/>
                  </a:lnTo>
                  <a:lnTo>
                    <a:pt x="289" y="368"/>
                  </a:lnTo>
                  <a:lnTo>
                    <a:pt x="292" y="368"/>
                  </a:lnTo>
                  <a:lnTo>
                    <a:pt x="294" y="368"/>
                  </a:lnTo>
                  <a:lnTo>
                    <a:pt x="296" y="366"/>
                  </a:lnTo>
                  <a:lnTo>
                    <a:pt x="298" y="364"/>
                  </a:lnTo>
                  <a:lnTo>
                    <a:pt x="299" y="359"/>
                  </a:lnTo>
                  <a:lnTo>
                    <a:pt x="301" y="354"/>
                  </a:lnTo>
                  <a:lnTo>
                    <a:pt x="301" y="354"/>
                  </a:lnTo>
                  <a:lnTo>
                    <a:pt x="303" y="354"/>
                  </a:lnTo>
                  <a:lnTo>
                    <a:pt x="305" y="354"/>
                  </a:lnTo>
                  <a:lnTo>
                    <a:pt x="307" y="355"/>
                  </a:lnTo>
                  <a:lnTo>
                    <a:pt x="311" y="357"/>
                  </a:lnTo>
                  <a:lnTo>
                    <a:pt x="313" y="357"/>
                  </a:lnTo>
                  <a:lnTo>
                    <a:pt x="315" y="357"/>
                  </a:lnTo>
                  <a:lnTo>
                    <a:pt x="315" y="357"/>
                  </a:lnTo>
                  <a:lnTo>
                    <a:pt x="316" y="359"/>
                  </a:lnTo>
                  <a:lnTo>
                    <a:pt x="317" y="362"/>
                  </a:lnTo>
                  <a:lnTo>
                    <a:pt x="318" y="365"/>
                  </a:lnTo>
                  <a:lnTo>
                    <a:pt x="319" y="368"/>
                  </a:lnTo>
                  <a:lnTo>
                    <a:pt x="321" y="369"/>
                  </a:lnTo>
                  <a:lnTo>
                    <a:pt x="324" y="370"/>
                  </a:lnTo>
                  <a:lnTo>
                    <a:pt x="324" y="370"/>
                  </a:lnTo>
                  <a:close/>
                  <a:moveTo>
                    <a:pt x="364" y="753"/>
                  </a:moveTo>
                  <a:lnTo>
                    <a:pt x="364" y="753"/>
                  </a:lnTo>
                  <a:lnTo>
                    <a:pt x="364" y="757"/>
                  </a:lnTo>
                  <a:lnTo>
                    <a:pt x="364" y="759"/>
                  </a:lnTo>
                  <a:lnTo>
                    <a:pt x="362" y="762"/>
                  </a:lnTo>
                  <a:lnTo>
                    <a:pt x="360" y="763"/>
                  </a:lnTo>
                  <a:lnTo>
                    <a:pt x="355" y="764"/>
                  </a:lnTo>
                  <a:lnTo>
                    <a:pt x="350" y="764"/>
                  </a:lnTo>
                  <a:lnTo>
                    <a:pt x="350" y="764"/>
                  </a:lnTo>
                  <a:lnTo>
                    <a:pt x="350" y="753"/>
                  </a:lnTo>
                  <a:lnTo>
                    <a:pt x="350" y="753"/>
                  </a:lnTo>
                  <a:lnTo>
                    <a:pt x="364" y="753"/>
                  </a:lnTo>
                  <a:lnTo>
                    <a:pt x="364" y="753"/>
                  </a:lnTo>
                  <a:close/>
                  <a:moveTo>
                    <a:pt x="299" y="745"/>
                  </a:moveTo>
                  <a:lnTo>
                    <a:pt x="299" y="745"/>
                  </a:lnTo>
                  <a:lnTo>
                    <a:pt x="295" y="744"/>
                  </a:lnTo>
                  <a:lnTo>
                    <a:pt x="292" y="742"/>
                  </a:lnTo>
                  <a:lnTo>
                    <a:pt x="288" y="737"/>
                  </a:lnTo>
                  <a:lnTo>
                    <a:pt x="283" y="732"/>
                  </a:lnTo>
                  <a:lnTo>
                    <a:pt x="280" y="730"/>
                  </a:lnTo>
                  <a:lnTo>
                    <a:pt x="277" y="729"/>
                  </a:lnTo>
                  <a:lnTo>
                    <a:pt x="277" y="729"/>
                  </a:lnTo>
                  <a:lnTo>
                    <a:pt x="274" y="728"/>
                  </a:lnTo>
                  <a:lnTo>
                    <a:pt x="270" y="728"/>
                  </a:lnTo>
                  <a:lnTo>
                    <a:pt x="266" y="730"/>
                  </a:lnTo>
                  <a:lnTo>
                    <a:pt x="262" y="733"/>
                  </a:lnTo>
                  <a:lnTo>
                    <a:pt x="260" y="734"/>
                  </a:lnTo>
                  <a:lnTo>
                    <a:pt x="256" y="734"/>
                  </a:lnTo>
                  <a:lnTo>
                    <a:pt x="256" y="734"/>
                  </a:lnTo>
                  <a:lnTo>
                    <a:pt x="257" y="730"/>
                  </a:lnTo>
                  <a:lnTo>
                    <a:pt x="259" y="727"/>
                  </a:lnTo>
                  <a:lnTo>
                    <a:pt x="260" y="724"/>
                  </a:lnTo>
                  <a:lnTo>
                    <a:pt x="261" y="720"/>
                  </a:lnTo>
                  <a:lnTo>
                    <a:pt x="261" y="720"/>
                  </a:lnTo>
                  <a:lnTo>
                    <a:pt x="295" y="720"/>
                  </a:lnTo>
                  <a:lnTo>
                    <a:pt x="295" y="720"/>
                  </a:lnTo>
                  <a:lnTo>
                    <a:pt x="296" y="724"/>
                  </a:lnTo>
                  <a:lnTo>
                    <a:pt x="298" y="725"/>
                  </a:lnTo>
                  <a:lnTo>
                    <a:pt x="302" y="728"/>
                  </a:lnTo>
                  <a:lnTo>
                    <a:pt x="309" y="731"/>
                  </a:lnTo>
                  <a:lnTo>
                    <a:pt x="309" y="731"/>
                  </a:lnTo>
                  <a:lnTo>
                    <a:pt x="311" y="734"/>
                  </a:lnTo>
                  <a:lnTo>
                    <a:pt x="313" y="737"/>
                  </a:lnTo>
                  <a:lnTo>
                    <a:pt x="315" y="738"/>
                  </a:lnTo>
                  <a:lnTo>
                    <a:pt x="315" y="742"/>
                  </a:lnTo>
                  <a:lnTo>
                    <a:pt x="315" y="742"/>
                  </a:lnTo>
                  <a:lnTo>
                    <a:pt x="325" y="742"/>
                  </a:lnTo>
                  <a:lnTo>
                    <a:pt x="329" y="743"/>
                  </a:lnTo>
                  <a:lnTo>
                    <a:pt x="333" y="744"/>
                  </a:lnTo>
                  <a:lnTo>
                    <a:pt x="338" y="745"/>
                  </a:lnTo>
                  <a:lnTo>
                    <a:pt x="341" y="749"/>
                  </a:lnTo>
                  <a:lnTo>
                    <a:pt x="343" y="753"/>
                  </a:lnTo>
                  <a:lnTo>
                    <a:pt x="345" y="758"/>
                  </a:lnTo>
                  <a:lnTo>
                    <a:pt x="345" y="758"/>
                  </a:lnTo>
                  <a:lnTo>
                    <a:pt x="334" y="758"/>
                  </a:lnTo>
                  <a:lnTo>
                    <a:pt x="332" y="759"/>
                  </a:lnTo>
                  <a:lnTo>
                    <a:pt x="330" y="761"/>
                  </a:lnTo>
                  <a:lnTo>
                    <a:pt x="329" y="762"/>
                  </a:lnTo>
                  <a:lnTo>
                    <a:pt x="329" y="764"/>
                  </a:lnTo>
                  <a:lnTo>
                    <a:pt x="329" y="764"/>
                  </a:lnTo>
                  <a:lnTo>
                    <a:pt x="321" y="759"/>
                  </a:lnTo>
                  <a:lnTo>
                    <a:pt x="318" y="758"/>
                  </a:lnTo>
                  <a:lnTo>
                    <a:pt x="313" y="758"/>
                  </a:lnTo>
                  <a:lnTo>
                    <a:pt x="313" y="758"/>
                  </a:lnTo>
                  <a:lnTo>
                    <a:pt x="312" y="754"/>
                  </a:lnTo>
                  <a:lnTo>
                    <a:pt x="311" y="751"/>
                  </a:lnTo>
                  <a:lnTo>
                    <a:pt x="312" y="750"/>
                  </a:lnTo>
                  <a:lnTo>
                    <a:pt x="313" y="749"/>
                  </a:lnTo>
                  <a:lnTo>
                    <a:pt x="317" y="747"/>
                  </a:lnTo>
                  <a:lnTo>
                    <a:pt x="317" y="747"/>
                  </a:lnTo>
                  <a:lnTo>
                    <a:pt x="316" y="746"/>
                  </a:lnTo>
                  <a:lnTo>
                    <a:pt x="314" y="745"/>
                  </a:lnTo>
                  <a:lnTo>
                    <a:pt x="309" y="744"/>
                  </a:lnTo>
                  <a:lnTo>
                    <a:pt x="303" y="745"/>
                  </a:lnTo>
                  <a:lnTo>
                    <a:pt x="299" y="745"/>
                  </a:lnTo>
                  <a:lnTo>
                    <a:pt x="299" y="745"/>
                  </a:lnTo>
                  <a:close/>
                  <a:moveTo>
                    <a:pt x="303" y="762"/>
                  </a:moveTo>
                  <a:lnTo>
                    <a:pt x="303" y="762"/>
                  </a:lnTo>
                  <a:lnTo>
                    <a:pt x="298" y="763"/>
                  </a:lnTo>
                  <a:lnTo>
                    <a:pt x="294" y="763"/>
                  </a:lnTo>
                  <a:lnTo>
                    <a:pt x="291" y="763"/>
                  </a:lnTo>
                  <a:lnTo>
                    <a:pt x="287" y="764"/>
                  </a:lnTo>
                  <a:lnTo>
                    <a:pt x="287" y="764"/>
                  </a:lnTo>
                  <a:lnTo>
                    <a:pt x="287" y="753"/>
                  </a:lnTo>
                  <a:lnTo>
                    <a:pt x="287" y="753"/>
                  </a:lnTo>
                  <a:lnTo>
                    <a:pt x="292" y="753"/>
                  </a:lnTo>
                  <a:lnTo>
                    <a:pt x="299" y="753"/>
                  </a:lnTo>
                  <a:lnTo>
                    <a:pt x="301" y="754"/>
                  </a:lnTo>
                  <a:lnTo>
                    <a:pt x="302" y="755"/>
                  </a:lnTo>
                  <a:lnTo>
                    <a:pt x="303" y="758"/>
                  </a:lnTo>
                  <a:lnTo>
                    <a:pt x="303" y="762"/>
                  </a:lnTo>
                  <a:lnTo>
                    <a:pt x="303" y="762"/>
                  </a:lnTo>
                  <a:close/>
                  <a:moveTo>
                    <a:pt x="289" y="715"/>
                  </a:moveTo>
                  <a:lnTo>
                    <a:pt x="289" y="715"/>
                  </a:lnTo>
                  <a:lnTo>
                    <a:pt x="289" y="704"/>
                  </a:lnTo>
                  <a:lnTo>
                    <a:pt x="289" y="704"/>
                  </a:lnTo>
                  <a:lnTo>
                    <a:pt x="293" y="705"/>
                  </a:lnTo>
                  <a:lnTo>
                    <a:pt x="295" y="707"/>
                  </a:lnTo>
                  <a:lnTo>
                    <a:pt x="298" y="711"/>
                  </a:lnTo>
                  <a:lnTo>
                    <a:pt x="299" y="715"/>
                  </a:lnTo>
                  <a:lnTo>
                    <a:pt x="299" y="715"/>
                  </a:lnTo>
                  <a:lnTo>
                    <a:pt x="289" y="715"/>
                  </a:lnTo>
                  <a:lnTo>
                    <a:pt x="289" y="715"/>
                  </a:lnTo>
                  <a:close/>
                  <a:moveTo>
                    <a:pt x="305" y="704"/>
                  </a:moveTo>
                  <a:lnTo>
                    <a:pt x="305" y="704"/>
                  </a:lnTo>
                  <a:lnTo>
                    <a:pt x="313" y="704"/>
                  </a:lnTo>
                  <a:lnTo>
                    <a:pt x="313" y="704"/>
                  </a:lnTo>
                  <a:lnTo>
                    <a:pt x="315" y="710"/>
                  </a:lnTo>
                  <a:lnTo>
                    <a:pt x="315" y="718"/>
                  </a:lnTo>
                  <a:lnTo>
                    <a:pt x="315" y="718"/>
                  </a:lnTo>
                  <a:lnTo>
                    <a:pt x="312" y="718"/>
                  </a:lnTo>
                  <a:lnTo>
                    <a:pt x="309" y="718"/>
                  </a:lnTo>
                  <a:lnTo>
                    <a:pt x="307" y="717"/>
                  </a:lnTo>
                  <a:lnTo>
                    <a:pt x="306" y="715"/>
                  </a:lnTo>
                  <a:lnTo>
                    <a:pt x="305" y="711"/>
                  </a:lnTo>
                  <a:lnTo>
                    <a:pt x="305" y="704"/>
                  </a:lnTo>
                  <a:lnTo>
                    <a:pt x="305" y="704"/>
                  </a:lnTo>
                  <a:close/>
                  <a:moveTo>
                    <a:pt x="317" y="729"/>
                  </a:moveTo>
                  <a:lnTo>
                    <a:pt x="317" y="729"/>
                  </a:lnTo>
                  <a:lnTo>
                    <a:pt x="317" y="715"/>
                  </a:lnTo>
                  <a:lnTo>
                    <a:pt x="317" y="715"/>
                  </a:lnTo>
                  <a:lnTo>
                    <a:pt x="320" y="716"/>
                  </a:lnTo>
                  <a:lnTo>
                    <a:pt x="324" y="718"/>
                  </a:lnTo>
                  <a:lnTo>
                    <a:pt x="326" y="721"/>
                  </a:lnTo>
                  <a:lnTo>
                    <a:pt x="326" y="726"/>
                  </a:lnTo>
                  <a:lnTo>
                    <a:pt x="326" y="726"/>
                  </a:lnTo>
                  <a:lnTo>
                    <a:pt x="332" y="726"/>
                  </a:lnTo>
                  <a:lnTo>
                    <a:pt x="334" y="727"/>
                  </a:lnTo>
                  <a:lnTo>
                    <a:pt x="335" y="729"/>
                  </a:lnTo>
                  <a:lnTo>
                    <a:pt x="335" y="729"/>
                  </a:lnTo>
                  <a:lnTo>
                    <a:pt x="335" y="731"/>
                  </a:lnTo>
                  <a:lnTo>
                    <a:pt x="334" y="733"/>
                  </a:lnTo>
                  <a:lnTo>
                    <a:pt x="332" y="734"/>
                  </a:lnTo>
                  <a:lnTo>
                    <a:pt x="330" y="734"/>
                  </a:lnTo>
                  <a:lnTo>
                    <a:pt x="328" y="733"/>
                  </a:lnTo>
                  <a:lnTo>
                    <a:pt x="326" y="732"/>
                  </a:lnTo>
                  <a:lnTo>
                    <a:pt x="326" y="729"/>
                  </a:lnTo>
                  <a:lnTo>
                    <a:pt x="326" y="726"/>
                  </a:lnTo>
                  <a:lnTo>
                    <a:pt x="326" y="726"/>
                  </a:lnTo>
                  <a:lnTo>
                    <a:pt x="322" y="728"/>
                  </a:lnTo>
                  <a:lnTo>
                    <a:pt x="320" y="729"/>
                  </a:lnTo>
                  <a:lnTo>
                    <a:pt x="317" y="729"/>
                  </a:lnTo>
                  <a:lnTo>
                    <a:pt x="317" y="729"/>
                  </a:lnTo>
                  <a:close/>
                  <a:moveTo>
                    <a:pt x="1429" y="948"/>
                  </a:moveTo>
                  <a:lnTo>
                    <a:pt x="1429" y="948"/>
                  </a:lnTo>
                  <a:lnTo>
                    <a:pt x="1429" y="932"/>
                  </a:lnTo>
                  <a:lnTo>
                    <a:pt x="1429" y="932"/>
                  </a:lnTo>
                  <a:lnTo>
                    <a:pt x="1423" y="924"/>
                  </a:lnTo>
                  <a:lnTo>
                    <a:pt x="1414" y="918"/>
                  </a:lnTo>
                  <a:lnTo>
                    <a:pt x="1406" y="912"/>
                  </a:lnTo>
                  <a:lnTo>
                    <a:pt x="1397" y="905"/>
                  </a:lnTo>
                  <a:lnTo>
                    <a:pt x="1397" y="905"/>
                  </a:lnTo>
                  <a:lnTo>
                    <a:pt x="1395" y="905"/>
                  </a:lnTo>
                  <a:lnTo>
                    <a:pt x="1394" y="905"/>
                  </a:lnTo>
                  <a:lnTo>
                    <a:pt x="1389" y="906"/>
                  </a:lnTo>
                  <a:lnTo>
                    <a:pt x="1387" y="907"/>
                  </a:lnTo>
                  <a:lnTo>
                    <a:pt x="1386" y="907"/>
                  </a:lnTo>
                  <a:lnTo>
                    <a:pt x="1386" y="905"/>
                  </a:lnTo>
                  <a:lnTo>
                    <a:pt x="1386" y="905"/>
                  </a:lnTo>
                  <a:lnTo>
                    <a:pt x="1385" y="903"/>
                  </a:lnTo>
                  <a:lnTo>
                    <a:pt x="1386" y="900"/>
                  </a:lnTo>
                  <a:lnTo>
                    <a:pt x="1388" y="899"/>
                  </a:lnTo>
                  <a:lnTo>
                    <a:pt x="1392" y="898"/>
                  </a:lnTo>
                  <a:lnTo>
                    <a:pt x="1393" y="896"/>
                  </a:lnTo>
                  <a:lnTo>
                    <a:pt x="1393" y="894"/>
                  </a:lnTo>
                  <a:lnTo>
                    <a:pt x="1393" y="894"/>
                  </a:lnTo>
                  <a:lnTo>
                    <a:pt x="1395" y="894"/>
                  </a:lnTo>
                  <a:lnTo>
                    <a:pt x="1397" y="895"/>
                  </a:lnTo>
                  <a:lnTo>
                    <a:pt x="1398" y="897"/>
                  </a:lnTo>
                  <a:lnTo>
                    <a:pt x="1400" y="899"/>
                  </a:lnTo>
                  <a:lnTo>
                    <a:pt x="1402" y="900"/>
                  </a:lnTo>
                  <a:lnTo>
                    <a:pt x="1405" y="899"/>
                  </a:lnTo>
                  <a:lnTo>
                    <a:pt x="1405" y="899"/>
                  </a:lnTo>
                  <a:lnTo>
                    <a:pt x="1408" y="899"/>
                  </a:lnTo>
                  <a:lnTo>
                    <a:pt x="1410" y="897"/>
                  </a:lnTo>
                  <a:lnTo>
                    <a:pt x="1413" y="892"/>
                  </a:lnTo>
                  <a:lnTo>
                    <a:pt x="1413" y="892"/>
                  </a:lnTo>
                  <a:lnTo>
                    <a:pt x="1429" y="892"/>
                  </a:lnTo>
                  <a:lnTo>
                    <a:pt x="1429" y="892"/>
                  </a:lnTo>
                  <a:lnTo>
                    <a:pt x="1436" y="895"/>
                  </a:lnTo>
                  <a:lnTo>
                    <a:pt x="1441" y="899"/>
                  </a:lnTo>
                  <a:lnTo>
                    <a:pt x="1441" y="899"/>
                  </a:lnTo>
                  <a:lnTo>
                    <a:pt x="1436" y="924"/>
                  </a:lnTo>
                  <a:lnTo>
                    <a:pt x="1429" y="948"/>
                  </a:lnTo>
                  <a:lnTo>
                    <a:pt x="1429" y="9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088" name="Group 2087">
            <a:extLst>
              <a:ext uri="{FF2B5EF4-FFF2-40B4-BE49-F238E27FC236}">
                <a16:creationId xmlns:a16="http://schemas.microsoft.com/office/drawing/2014/main" id="{29D29DC3-75B6-4558-A6E3-662A8008D39E}"/>
              </a:ext>
            </a:extLst>
          </p:cNvPr>
          <p:cNvGrpSpPr/>
          <p:nvPr/>
        </p:nvGrpSpPr>
        <p:grpSpPr>
          <a:xfrm>
            <a:off x="6797101" y="1656899"/>
            <a:ext cx="612775" cy="612775"/>
            <a:chOff x="4964737" y="2258092"/>
            <a:chExt cx="612775" cy="612775"/>
          </a:xfrm>
        </p:grpSpPr>
        <p:sp>
          <p:nvSpPr>
            <p:cNvPr id="2089" name="Oval 2088">
              <a:extLst>
                <a:ext uri="{FF2B5EF4-FFF2-40B4-BE49-F238E27FC236}">
                  <a16:creationId xmlns:a16="http://schemas.microsoft.com/office/drawing/2014/main" id="{C1C358A7-C6FE-4186-8B8D-51470DD604CA}"/>
                </a:ext>
              </a:extLst>
            </p:cNvPr>
            <p:cNvSpPr/>
            <p:nvPr/>
          </p:nvSpPr>
          <p:spPr bwMode="ltGray">
            <a:xfrm>
              <a:off x="4964737"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90" name="Freeform 430">
              <a:extLst>
                <a:ext uri="{FF2B5EF4-FFF2-40B4-BE49-F238E27FC236}">
                  <a16:creationId xmlns:a16="http://schemas.microsoft.com/office/drawing/2014/main" id="{2E2489D0-63C1-498A-B801-9CB8C8058478}"/>
                </a:ext>
              </a:extLst>
            </p:cNvPr>
            <p:cNvSpPr>
              <a:spLocks noEditPoints="1"/>
            </p:cNvSpPr>
            <p:nvPr/>
          </p:nvSpPr>
          <p:spPr bwMode="auto">
            <a:xfrm>
              <a:off x="5058122" y="2398142"/>
              <a:ext cx="434976" cy="313242"/>
            </a:xfrm>
            <a:custGeom>
              <a:avLst/>
              <a:gdLst>
                <a:gd name="T0" fmla="*/ 1383 w 1465"/>
                <a:gd name="T1" fmla="*/ 365 h 1053"/>
                <a:gd name="T2" fmla="*/ 1416 w 1465"/>
                <a:gd name="T3" fmla="*/ 331 h 1053"/>
                <a:gd name="T4" fmla="*/ 1420 w 1465"/>
                <a:gd name="T5" fmla="*/ 283 h 1053"/>
                <a:gd name="T6" fmla="*/ 1399 w 1465"/>
                <a:gd name="T7" fmla="*/ 248 h 1053"/>
                <a:gd name="T8" fmla="*/ 1354 w 1465"/>
                <a:gd name="T9" fmla="*/ 230 h 1053"/>
                <a:gd name="T10" fmla="*/ 1205 w 1465"/>
                <a:gd name="T11" fmla="*/ 172 h 1053"/>
                <a:gd name="T12" fmla="*/ 1112 w 1465"/>
                <a:gd name="T13" fmla="*/ 24 h 1053"/>
                <a:gd name="T14" fmla="*/ 720 w 1465"/>
                <a:gd name="T15" fmla="*/ 0 h 1053"/>
                <a:gd name="T16" fmla="*/ 363 w 1465"/>
                <a:gd name="T17" fmla="*/ 14 h 1053"/>
                <a:gd name="T18" fmla="*/ 284 w 1465"/>
                <a:gd name="T19" fmla="*/ 127 h 1053"/>
                <a:gd name="T20" fmla="*/ 117 w 1465"/>
                <a:gd name="T21" fmla="*/ 230 h 1053"/>
                <a:gd name="T22" fmla="*/ 73 w 1465"/>
                <a:gd name="T23" fmla="*/ 243 h 1053"/>
                <a:gd name="T24" fmla="*/ 44 w 1465"/>
                <a:gd name="T25" fmla="*/ 283 h 1053"/>
                <a:gd name="T26" fmla="*/ 47 w 1465"/>
                <a:gd name="T27" fmla="*/ 325 h 1053"/>
                <a:gd name="T28" fmla="*/ 76 w 1465"/>
                <a:gd name="T29" fmla="*/ 361 h 1053"/>
                <a:gd name="T30" fmla="*/ 86 w 1465"/>
                <a:gd name="T31" fmla="*/ 397 h 1053"/>
                <a:gd name="T32" fmla="*/ 25 w 1465"/>
                <a:gd name="T33" fmla="*/ 457 h 1053"/>
                <a:gd name="T34" fmla="*/ 0 w 1465"/>
                <a:gd name="T35" fmla="*/ 535 h 1053"/>
                <a:gd name="T36" fmla="*/ 14 w 1465"/>
                <a:gd name="T37" fmla="*/ 781 h 1053"/>
                <a:gd name="T38" fmla="*/ 52 w 1465"/>
                <a:gd name="T39" fmla="*/ 973 h 1053"/>
                <a:gd name="T40" fmla="*/ 77 w 1465"/>
                <a:gd name="T41" fmla="*/ 1027 h 1053"/>
                <a:gd name="T42" fmla="*/ 131 w 1465"/>
                <a:gd name="T43" fmla="*/ 1052 h 1053"/>
                <a:gd name="T44" fmla="*/ 324 w 1465"/>
                <a:gd name="T45" fmla="*/ 1046 h 1053"/>
                <a:gd name="T46" fmla="*/ 369 w 1465"/>
                <a:gd name="T47" fmla="*/ 1006 h 1053"/>
                <a:gd name="T48" fmla="*/ 379 w 1465"/>
                <a:gd name="T49" fmla="*/ 824 h 1053"/>
                <a:gd name="T50" fmla="*/ 1093 w 1465"/>
                <a:gd name="T51" fmla="*/ 998 h 1053"/>
                <a:gd name="T52" fmla="*/ 1133 w 1465"/>
                <a:gd name="T53" fmla="*/ 1042 h 1053"/>
                <a:gd name="T54" fmla="*/ 1325 w 1465"/>
                <a:gd name="T55" fmla="*/ 1053 h 1053"/>
                <a:gd name="T56" fmla="*/ 1381 w 1465"/>
                <a:gd name="T57" fmla="*/ 1033 h 1053"/>
                <a:gd name="T58" fmla="*/ 1413 w 1465"/>
                <a:gd name="T59" fmla="*/ 982 h 1053"/>
                <a:gd name="T60" fmla="*/ 1443 w 1465"/>
                <a:gd name="T61" fmla="*/ 791 h 1053"/>
                <a:gd name="T62" fmla="*/ 1465 w 1465"/>
                <a:gd name="T63" fmla="*/ 535 h 1053"/>
                <a:gd name="T64" fmla="*/ 1451 w 1465"/>
                <a:gd name="T65" fmla="*/ 476 h 1053"/>
                <a:gd name="T66" fmla="*/ 1388 w 1465"/>
                <a:gd name="T67" fmla="*/ 403 h 1053"/>
                <a:gd name="T68" fmla="*/ 282 w 1465"/>
                <a:gd name="T69" fmla="*/ 680 h 1053"/>
                <a:gd name="T70" fmla="*/ 217 w 1465"/>
                <a:gd name="T71" fmla="*/ 701 h 1053"/>
                <a:gd name="T72" fmla="*/ 88 w 1465"/>
                <a:gd name="T73" fmla="*/ 669 h 1053"/>
                <a:gd name="T74" fmla="*/ 59 w 1465"/>
                <a:gd name="T75" fmla="*/ 630 h 1053"/>
                <a:gd name="T76" fmla="*/ 57 w 1465"/>
                <a:gd name="T77" fmla="*/ 584 h 1053"/>
                <a:gd name="T78" fmla="*/ 85 w 1465"/>
                <a:gd name="T79" fmla="*/ 533 h 1053"/>
                <a:gd name="T80" fmla="*/ 130 w 1465"/>
                <a:gd name="T81" fmla="*/ 512 h 1053"/>
                <a:gd name="T82" fmla="*/ 254 w 1465"/>
                <a:gd name="T83" fmla="*/ 559 h 1053"/>
                <a:gd name="T84" fmla="*/ 305 w 1465"/>
                <a:gd name="T85" fmla="*/ 625 h 1053"/>
                <a:gd name="T86" fmla="*/ 268 w 1465"/>
                <a:gd name="T87" fmla="*/ 301 h 1053"/>
                <a:gd name="T88" fmla="*/ 362 w 1465"/>
                <a:gd name="T89" fmla="*/ 113 h 1053"/>
                <a:gd name="T90" fmla="*/ 403 w 1465"/>
                <a:gd name="T91" fmla="*/ 62 h 1053"/>
                <a:gd name="T92" fmla="*/ 1080 w 1465"/>
                <a:gd name="T93" fmla="*/ 78 h 1053"/>
                <a:gd name="T94" fmla="*/ 1155 w 1465"/>
                <a:gd name="T95" fmla="*/ 209 h 1053"/>
                <a:gd name="T96" fmla="*/ 1303 w 1465"/>
                <a:gd name="T97" fmla="*/ 689 h 1053"/>
                <a:gd name="T98" fmla="*/ 1207 w 1465"/>
                <a:gd name="T99" fmla="*/ 695 h 1053"/>
                <a:gd name="T100" fmla="*/ 1160 w 1465"/>
                <a:gd name="T101" fmla="*/ 643 h 1053"/>
                <a:gd name="T102" fmla="*/ 1186 w 1465"/>
                <a:gd name="T103" fmla="*/ 577 h 1053"/>
                <a:gd name="T104" fmla="*/ 1321 w 1465"/>
                <a:gd name="T105" fmla="*/ 514 h 1053"/>
                <a:gd name="T106" fmla="*/ 1363 w 1465"/>
                <a:gd name="T107" fmla="*/ 519 h 1053"/>
                <a:gd name="T108" fmla="*/ 1400 w 1465"/>
                <a:gd name="T109" fmla="*/ 559 h 1053"/>
                <a:gd name="T110" fmla="*/ 1409 w 1465"/>
                <a:gd name="T111" fmla="*/ 609 h 1053"/>
                <a:gd name="T112" fmla="*/ 1392 w 1465"/>
                <a:gd name="T113" fmla="*/ 656 h 1053"/>
                <a:gd name="T114" fmla="*/ 1357 w 1465"/>
                <a:gd name="T115" fmla="*/ 678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5" h="1053">
                  <a:moveTo>
                    <a:pt x="1379" y="397"/>
                  </a:moveTo>
                  <a:lnTo>
                    <a:pt x="1379" y="397"/>
                  </a:lnTo>
                  <a:lnTo>
                    <a:pt x="1338" y="379"/>
                  </a:lnTo>
                  <a:lnTo>
                    <a:pt x="1369" y="370"/>
                  </a:lnTo>
                  <a:lnTo>
                    <a:pt x="1369" y="370"/>
                  </a:lnTo>
                  <a:lnTo>
                    <a:pt x="1377" y="368"/>
                  </a:lnTo>
                  <a:lnTo>
                    <a:pt x="1383" y="365"/>
                  </a:lnTo>
                  <a:lnTo>
                    <a:pt x="1389" y="361"/>
                  </a:lnTo>
                  <a:lnTo>
                    <a:pt x="1395" y="358"/>
                  </a:lnTo>
                  <a:lnTo>
                    <a:pt x="1401" y="353"/>
                  </a:lnTo>
                  <a:lnTo>
                    <a:pt x="1405" y="348"/>
                  </a:lnTo>
                  <a:lnTo>
                    <a:pt x="1409" y="343"/>
                  </a:lnTo>
                  <a:lnTo>
                    <a:pt x="1413" y="338"/>
                  </a:lnTo>
                  <a:lnTo>
                    <a:pt x="1416" y="331"/>
                  </a:lnTo>
                  <a:lnTo>
                    <a:pt x="1419" y="325"/>
                  </a:lnTo>
                  <a:lnTo>
                    <a:pt x="1420" y="318"/>
                  </a:lnTo>
                  <a:lnTo>
                    <a:pt x="1422" y="312"/>
                  </a:lnTo>
                  <a:lnTo>
                    <a:pt x="1422" y="304"/>
                  </a:lnTo>
                  <a:lnTo>
                    <a:pt x="1422" y="297"/>
                  </a:lnTo>
                  <a:lnTo>
                    <a:pt x="1421" y="290"/>
                  </a:lnTo>
                  <a:lnTo>
                    <a:pt x="1420" y="283"/>
                  </a:lnTo>
                  <a:lnTo>
                    <a:pt x="1420" y="283"/>
                  </a:lnTo>
                  <a:lnTo>
                    <a:pt x="1418" y="276"/>
                  </a:lnTo>
                  <a:lnTo>
                    <a:pt x="1415" y="269"/>
                  </a:lnTo>
                  <a:lnTo>
                    <a:pt x="1412" y="264"/>
                  </a:lnTo>
                  <a:lnTo>
                    <a:pt x="1407" y="257"/>
                  </a:lnTo>
                  <a:lnTo>
                    <a:pt x="1403" y="253"/>
                  </a:lnTo>
                  <a:lnTo>
                    <a:pt x="1399" y="248"/>
                  </a:lnTo>
                  <a:lnTo>
                    <a:pt x="1393" y="243"/>
                  </a:lnTo>
                  <a:lnTo>
                    <a:pt x="1388" y="240"/>
                  </a:lnTo>
                  <a:lnTo>
                    <a:pt x="1381" y="237"/>
                  </a:lnTo>
                  <a:lnTo>
                    <a:pt x="1375" y="235"/>
                  </a:lnTo>
                  <a:lnTo>
                    <a:pt x="1368" y="232"/>
                  </a:lnTo>
                  <a:lnTo>
                    <a:pt x="1362" y="231"/>
                  </a:lnTo>
                  <a:lnTo>
                    <a:pt x="1354" y="230"/>
                  </a:lnTo>
                  <a:lnTo>
                    <a:pt x="1348" y="230"/>
                  </a:lnTo>
                  <a:lnTo>
                    <a:pt x="1340" y="231"/>
                  </a:lnTo>
                  <a:lnTo>
                    <a:pt x="1334" y="232"/>
                  </a:lnTo>
                  <a:lnTo>
                    <a:pt x="1245" y="256"/>
                  </a:lnTo>
                  <a:lnTo>
                    <a:pt x="1245" y="256"/>
                  </a:lnTo>
                  <a:lnTo>
                    <a:pt x="1225" y="214"/>
                  </a:lnTo>
                  <a:lnTo>
                    <a:pt x="1205" y="172"/>
                  </a:lnTo>
                  <a:lnTo>
                    <a:pt x="1182" y="127"/>
                  </a:lnTo>
                  <a:lnTo>
                    <a:pt x="1155" y="82"/>
                  </a:lnTo>
                  <a:lnTo>
                    <a:pt x="1155" y="82"/>
                  </a:lnTo>
                  <a:lnTo>
                    <a:pt x="1144" y="63"/>
                  </a:lnTo>
                  <a:lnTo>
                    <a:pt x="1134" y="48"/>
                  </a:lnTo>
                  <a:lnTo>
                    <a:pt x="1123" y="35"/>
                  </a:lnTo>
                  <a:lnTo>
                    <a:pt x="1112" y="24"/>
                  </a:lnTo>
                  <a:lnTo>
                    <a:pt x="1102" y="14"/>
                  </a:lnTo>
                  <a:lnTo>
                    <a:pt x="1091" y="8"/>
                  </a:lnTo>
                  <a:lnTo>
                    <a:pt x="1078" y="4"/>
                  </a:lnTo>
                  <a:lnTo>
                    <a:pt x="1065" y="0"/>
                  </a:lnTo>
                  <a:lnTo>
                    <a:pt x="1065" y="0"/>
                  </a:lnTo>
                  <a:lnTo>
                    <a:pt x="720" y="0"/>
                  </a:lnTo>
                  <a:lnTo>
                    <a:pt x="720" y="0"/>
                  </a:lnTo>
                  <a:lnTo>
                    <a:pt x="647" y="0"/>
                  </a:lnTo>
                  <a:lnTo>
                    <a:pt x="647" y="0"/>
                  </a:lnTo>
                  <a:lnTo>
                    <a:pt x="400" y="0"/>
                  </a:lnTo>
                  <a:lnTo>
                    <a:pt x="400" y="0"/>
                  </a:lnTo>
                  <a:lnTo>
                    <a:pt x="387" y="4"/>
                  </a:lnTo>
                  <a:lnTo>
                    <a:pt x="375" y="8"/>
                  </a:lnTo>
                  <a:lnTo>
                    <a:pt x="363" y="14"/>
                  </a:lnTo>
                  <a:lnTo>
                    <a:pt x="352" y="24"/>
                  </a:lnTo>
                  <a:lnTo>
                    <a:pt x="342" y="35"/>
                  </a:lnTo>
                  <a:lnTo>
                    <a:pt x="332" y="48"/>
                  </a:lnTo>
                  <a:lnTo>
                    <a:pt x="321" y="63"/>
                  </a:lnTo>
                  <a:lnTo>
                    <a:pt x="310" y="82"/>
                  </a:lnTo>
                  <a:lnTo>
                    <a:pt x="310" y="82"/>
                  </a:lnTo>
                  <a:lnTo>
                    <a:pt x="284" y="127"/>
                  </a:lnTo>
                  <a:lnTo>
                    <a:pt x="260" y="172"/>
                  </a:lnTo>
                  <a:lnTo>
                    <a:pt x="240" y="214"/>
                  </a:lnTo>
                  <a:lnTo>
                    <a:pt x="221" y="256"/>
                  </a:lnTo>
                  <a:lnTo>
                    <a:pt x="132" y="232"/>
                  </a:lnTo>
                  <a:lnTo>
                    <a:pt x="132" y="232"/>
                  </a:lnTo>
                  <a:lnTo>
                    <a:pt x="125" y="231"/>
                  </a:lnTo>
                  <a:lnTo>
                    <a:pt x="117" y="230"/>
                  </a:lnTo>
                  <a:lnTo>
                    <a:pt x="111" y="230"/>
                  </a:lnTo>
                  <a:lnTo>
                    <a:pt x="104" y="231"/>
                  </a:lnTo>
                  <a:lnTo>
                    <a:pt x="96" y="232"/>
                  </a:lnTo>
                  <a:lnTo>
                    <a:pt x="90" y="235"/>
                  </a:lnTo>
                  <a:lnTo>
                    <a:pt x="83" y="237"/>
                  </a:lnTo>
                  <a:lnTo>
                    <a:pt x="78" y="240"/>
                  </a:lnTo>
                  <a:lnTo>
                    <a:pt x="73" y="243"/>
                  </a:lnTo>
                  <a:lnTo>
                    <a:pt x="67" y="248"/>
                  </a:lnTo>
                  <a:lnTo>
                    <a:pt x="62" y="253"/>
                  </a:lnTo>
                  <a:lnTo>
                    <a:pt x="57" y="257"/>
                  </a:lnTo>
                  <a:lnTo>
                    <a:pt x="53" y="264"/>
                  </a:lnTo>
                  <a:lnTo>
                    <a:pt x="50" y="269"/>
                  </a:lnTo>
                  <a:lnTo>
                    <a:pt x="47" y="276"/>
                  </a:lnTo>
                  <a:lnTo>
                    <a:pt x="44" y="283"/>
                  </a:lnTo>
                  <a:lnTo>
                    <a:pt x="44" y="283"/>
                  </a:lnTo>
                  <a:lnTo>
                    <a:pt x="43" y="290"/>
                  </a:lnTo>
                  <a:lnTo>
                    <a:pt x="42" y="297"/>
                  </a:lnTo>
                  <a:lnTo>
                    <a:pt x="42" y="304"/>
                  </a:lnTo>
                  <a:lnTo>
                    <a:pt x="43" y="312"/>
                  </a:lnTo>
                  <a:lnTo>
                    <a:pt x="44" y="318"/>
                  </a:lnTo>
                  <a:lnTo>
                    <a:pt x="47" y="325"/>
                  </a:lnTo>
                  <a:lnTo>
                    <a:pt x="49" y="331"/>
                  </a:lnTo>
                  <a:lnTo>
                    <a:pt x="52" y="338"/>
                  </a:lnTo>
                  <a:lnTo>
                    <a:pt x="55" y="343"/>
                  </a:lnTo>
                  <a:lnTo>
                    <a:pt x="60" y="348"/>
                  </a:lnTo>
                  <a:lnTo>
                    <a:pt x="65" y="353"/>
                  </a:lnTo>
                  <a:lnTo>
                    <a:pt x="70" y="358"/>
                  </a:lnTo>
                  <a:lnTo>
                    <a:pt x="76" y="361"/>
                  </a:lnTo>
                  <a:lnTo>
                    <a:pt x="82" y="365"/>
                  </a:lnTo>
                  <a:lnTo>
                    <a:pt x="89" y="368"/>
                  </a:lnTo>
                  <a:lnTo>
                    <a:pt x="95" y="370"/>
                  </a:lnTo>
                  <a:lnTo>
                    <a:pt x="128" y="379"/>
                  </a:lnTo>
                  <a:lnTo>
                    <a:pt x="128" y="379"/>
                  </a:lnTo>
                  <a:lnTo>
                    <a:pt x="86" y="397"/>
                  </a:lnTo>
                  <a:lnTo>
                    <a:pt x="86" y="397"/>
                  </a:lnTo>
                  <a:lnTo>
                    <a:pt x="77" y="403"/>
                  </a:lnTo>
                  <a:lnTo>
                    <a:pt x="68" y="408"/>
                  </a:lnTo>
                  <a:lnTo>
                    <a:pt x="61" y="415"/>
                  </a:lnTo>
                  <a:lnTo>
                    <a:pt x="52" y="422"/>
                  </a:lnTo>
                  <a:lnTo>
                    <a:pt x="44" y="430"/>
                  </a:lnTo>
                  <a:lnTo>
                    <a:pt x="38" y="438"/>
                  </a:lnTo>
                  <a:lnTo>
                    <a:pt x="25" y="457"/>
                  </a:lnTo>
                  <a:lnTo>
                    <a:pt x="14" y="476"/>
                  </a:lnTo>
                  <a:lnTo>
                    <a:pt x="10" y="486"/>
                  </a:lnTo>
                  <a:lnTo>
                    <a:pt x="6" y="496"/>
                  </a:lnTo>
                  <a:lnTo>
                    <a:pt x="3" y="506"/>
                  </a:lnTo>
                  <a:lnTo>
                    <a:pt x="2" y="515"/>
                  </a:lnTo>
                  <a:lnTo>
                    <a:pt x="0" y="525"/>
                  </a:lnTo>
                  <a:lnTo>
                    <a:pt x="0" y="535"/>
                  </a:lnTo>
                  <a:lnTo>
                    <a:pt x="0" y="535"/>
                  </a:lnTo>
                  <a:lnTo>
                    <a:pt x="0" y="733"/>
                  </a:lnTo>
                  <a:lnTo>
                    <a:pt x="0" y="733"/>
                  </a:lnTo>
                  <a:lnTo>
                    <a:pt x="1" y="746"/>
                  </a:lnTo>
                  <a:lnTo>
                    <a:pt x="3" y="758"/>
                  </a:lnTo>
                  <a:lnTo>
                    <a:pt x="8" y="770"/>
                  </a:lnTo>
                  <a:lnTo>
                    <a:pt x="14" y="781"/>
                  </a:lnTo>
                  <a:lnTo>
                    <a:pt x="22" y="791"/>
                  </a:lnTo>
                  <a:lnTo>
                    <a:pt x="30" y="800"/>
                  </a:lnTo>
                  <a:lnTo>
                    <a:pt x="40" y="808"/>
                  </a:lnTo>
                  <a:lnTo>
                    <a:pt x="51" y="815"/>
                  </a:lnTo>
                  <a:lnTo>
                    <a:pt x="51" y="963"/>
                  </a:lnTo>
                  <a:lnTo>
                    <a:pt x="51" y="963"/>
                  </a:lnTo>
                  <a:lnTo>
                    <a:pt x="52" y="973"/>
                  </a:lnTo>
                  <a:lnTo>
                    <a:pt x="53" y="982"/>
                  </a:lnTo>
                  <a:lnTo>
                    <a:pt x="55" y="990"/>
                  </a:lnTo>
                  <a:lnTo>
                    <a:pt x="59" y="998"/>
                  </a:lnTo>
                  <a:lnTo>
                    <a:pt x="62" y="1006"/>
                  </a:lnTo>
                  <a:lnTo>
                    <a:pt x="66" y="1013"/>
                  </a:lnTo>
                  <a:lnTo>
                    <a:pt x="72" y="1021"/>
                  </a:lnTo>
                  <a:lnTo>
                    <a:pt x="77" y="1027"/>
                  </a:lnTo>
                  <a:lnTo>
                    <a:pt x="83" y="1033"/>
                  </a:lnTo>
                  <a:lnTo>
                    <a:pt x="91" y="1038"/>
                  </a:lnTo>
                  <a:lnTo>
                    <a:pt x="98" y="1042"/>
                  </a:lnTo>
                  <a:lnTo>
                    <a:pt x="106" y="1046"/>
                  </a:lnTo>
                  <a:lnTo>
                    <a:pt x="114" y="1049"/>
                  </a:lnTo>
                  <a:lnTo>
                    <a:pt x="123" y="1051"/>
                  </a:lnTo>
                  <a:lnTo>
                    <a:pt x="131" y="1052"/>
                  </a:lnTo>
                  <a:lnTo>
                    <a:pt x="141" y="1053"/>
                  </a:lnTo>
                  <a:lnTo>
                    <a:pt x="289" y="1053"/>
                  </a:lnTo>
                  <a:lnTo>
                    <a:pt x="289" y="1053"/>
                  </a:lnTo>
                  <a:lnTo>
                    <a:pt x="299" y="1052"/>
                  </a:lnTo>
                  <a:lnTo>
                    <a:pt x="308" y="1051"/>
                  </a:lnTo>
                  <a:lnTo>
                    <a:pt x="317" y="1049"/>
                  </a:lnTo>
                  <a:lnTo>
                    <a:pt x="324" y="1046"/>
                  </a:lnTo>
                  <a:lnTo>
                    <a:pt x="333" y="1042"/>
                  </a:lnTo>
                  <a:lnTo>
                    <a:pt x="340" y="1038"/>
                  </a:lnTo>
                  <a:lnTo>
                    <a:pt x="347" y="1033"/>
                  </a:lnTo>
                  <a:lnTo>
                    <a:pt x="353" y="1027"/>
                  </a:lnTo>
                  <a:lnTo>
                    <a:pt x="359" y="1021"/>
                  </a:lnTo>
                  <a:lnTo>
                    <a:pt x="364" y="1013"/>
                  </a:lnTo>
                  <a:lnTo>
                    <a:pt x="369" y="1006"/>
                  </a:lnTo>
                  <a:lnTo>
                    <a:pt x="372" y="998"/>
                  </a:lnTo>
                  <a:lnTo>
                    <a:pt x="375" y="990"/>
                  </a:lnTo>
                  <a:lnTo>
                    <a:pt x="377" y="982"/>
                  </a:lnTo>
                  <a:lnTo>
                    <a:pt x="378" y="973"/>
                  </a:lnTo>
                  <a:lnTo>
                    <a:pt x="379" y="963"/>
                  </a:lnTo>
                  <a:lnTo>
                    <a:pt x="379" y="824"/>
                  </a:lnTo>
                  <a:lnTo>
                    <a:pt x="379" y="824"/>
                  </a:lnTo>
                  <a:lnTo>
                    <a:pt x="1085" y="824"/>
                  </a:lnTo>
                  <a:lnTo>
                    <a:pt x="1085" y="963"/>
                  </a:lnTo>
                  <a:lnTo>
                    <a:pt x="1085" y="963"/>
                  </a:lnTo>
                  <a:lnTo>
                    <a:pt x="1086" y="973"/>
                  </a:lnTo>
                  <a:lnTo>
                    <a:pt x="1087" y="982"/>
                  </a:lnTo>
                  <a:lnTo>
                    <a:pt x="1090" y="990"/>
                  </a:lnTo>
                  <a:lnTo>
                    <a:pt x="1093" y="998"/>
                  </a:lnTo>
                  <a:lnTo>
                    <a:pt x="1096" y="1006"/>
                  </a:lnTo>
                  <a:lnTo>
                    <a:pt x="1100" y="1013"/>
                  </a:lnTo>
                  <a:lnTo>
                    <a:pt x="1106" y="1021"/>
                  </a:lnTo>
                  <a:lnTo>
                    <a:pt x="1112" y="1027"/>
                  </a:lnTo>
                  <a:lnTo>
                    <a:pt x="1118" y="1033"/>
                  </a:lnTo>
                  <a:lnTo>
                    <a:pt x="1125" y="1038"/>
                  </a:lnTo>
                  <a:lnTo>
                    <a:pt x="1133" y="1042"/>
                  </a:lnTo>
                  <a:lnTo>
                    <a:pt x="1141" y="1046"/>
                  </a:lnTo>
                  <a:lnTo>
                    <a:pt x="1148" y="1049"/>
                  </a:lnTo>
                  <a:lnTo>
                    <a:pt x="1157" y="1051"/>
                  </a:lnTo>
                  <a:lnTo>
                    <a:pt x="1167" y="1052"/>
                  </a:lnTo>
                  <a:lnTo>
                    <a:pt x="1175" y="1053"/>
                  </a:lnTo>
                  <a:lnTo>
                    <a:pt x="1325" y="1053"/>
                  </a:lnTo>
                  <a:lnTo>
                    <a:pt x="1325" y="1053"/>
                  </a:lnTo>
                  <a:lnTo>
                    <a:pt x="1334" y="1052"/>
                  </a:lnTo>
                  <a:lnTo>
                    <a:pt x="1342" y="1051"/>
                  </a:lnTo>
                  <a:lnTo>
                    <a:pt x="1351" y="1049"/>
                  </a:lnTo>
                  <a:lnTo>
                    <a:pt x="1360" y="1046"/>
                  </a:lnTo>
                  <a:lnTo>
                    <a:pt x="1367" y="1042"/>
                  </a:lnTo>
                  <a:lnTo>
                    <a:pt x="1375" y="1038"/>
                  </a:lnTo>
                  <a:lnTo>
                    <a:pt x="1381" y="1033"/>
                  </a:lnTo>
                  <a:lnTo>
                    <a:pt x="1388" y="1027"/>
                  </a:lnTo>
                  <a:lnTo>
                    <a:pt x="1393" y="1021"/>
                  </a:lnTo>
                  <a:lnTo>
                    <a:pt x="1399" y="1013"/>
                  </a:lnTo>
                  <a:lnTo>
                    <a:pt x="1403" y="1006"/>
                  </a:lnTo>
                  <a:lnTo>
                    <a:pt x="1407" y="998"/>
                  </a:lnTo>
                  <a:lnTo>
                    <a:pt x="1409" y="990"/>
                  </a:lnTo>
                  <a:lnTo>
                    <a:pt x="1413" y="982"/>
                  </a:lnTo>
                  <a:lnTo>
                    <a:pt x="1414" y="973"/>
                  </a:lnTo>
                  <a:lnTo>
                    <a:pt x="1414" y="963"/>
                  </a:lnTo>
                  <a:lnTo>
                    <a:pt x="1414" y="815"/>
                  </a:lnTo>
                  <a:lnTo>
                    <a:pt x="1414" y="815"/>
                  </a:lnTo>
                  <a:lnTo>
                    <a:pt x="1425" y="808"/>
                  </a:lnTo>
                  <a:lnTo>
                    <a:pt x="1434" y="800"/>
                  </a:lnTo>
                  <a:lnTo>
                    <a:pt x="1443" y="791"/>
                  </a:lnTo>
                  <a:lnTo>
                    <a:pt x="1451" y="781"/>
                  </a:lnTo>
                  <a:lnTo>
                    <a:pt x="1457" y="770"/>
                  </a:lnTo>
                  <a:lnTo>
                    <a:pt x="1462" y="758"/>
                  </a:lnTo>
                  <a:lnTo>
                    <a:pt x="1465" y="746"/>
                  </a:lnTo>
                  <a:lnTo>
                    <a:pt x="1465" y="733"/>
                  </a:lnTo>
                  <a:lnTo>
                    <a:pt x="1465" y="733"/>
                  </a:lnTo>
                  <a:lnTo>
                    <a:pt x="1465" y="535"/>
                  </a:lnTo>
                  <a:lnTo>
                    <a:pt x="1465" y="535"/>
                  </a:lnTo>
                  <a:lnTo>
                    <a:pt x="1465" y="525"/>
                  </a:lnTo>
                  <a:lnTo>
                    <a:pt x="1464" y="515"/>
                  </a:lnTo>
                  <a:lnTo>
                    <a:pt x="1462" y="506"/>
                  </a:lnTo>
                  <a:lnTo>
                    <a:pt x="1458" y="496"/>
                  </a:lnTo>
                  <a:lnTo>
                    <a:pt x="1455" y="486"/>
                  </a:lnTo>
                  <a:lnTo>
                    <a:pt x="1451" y="476"/>
                  </a:lnTo>
                  <a:lnTo>
                    <a:pt x="1440" y="457"/>
                  </a:lnTo>
                  <a:lnTo>
                    <a:pt x="1428" y="438"/>
                  </a:lnTo>
                  <a:lnTo>
                    <a:pt x="1420" y="430"/>
                  </a:lnTo>
                  <a:lnTo>
                    <a:pt x="1413" y="422"/>
                  </a:lnTo>
                  <a:lnTo>
                    <a:pt x="1405" y="415"/>
                  </a:lnTo>
                  <a:lnTo>
                    <a:pt x="1396" y="408"/>
                  </a:lnTo>
                  <a:lnTo>
                    <a:pt x="1388" y="403"/>
                  </a:lnTo>
                  <a:lnTo>
                    <a:pt x="1379" y="397"/>
                  </a:lnTo>
                  <a:lnTo>
                    <a:pt x="1379" y="397"/>
                  </a:lnTo>
                  <a:close/>
                  <a:moveTo>
                    <a:pt x="304" y="649"/>
                  </a:moveTo>
                  <a:lnTo>
                    <a:pt x="304" y="649"/>
                  </a:lnTo>
                  <a:lnTo>
                    <a:pt x="298" y="661"/>
                  </a:lnTo>
                  <a:lnTo>
                    <a:pt x="291" y="670"/>
                  </a:lnTo>
                  <a:lnTo>
                    <a:pt x="282" y="680"/>
                  </a:lnTo>
                  <a:lnTo>
                    <a:pt x="270" y="689"/>
                  </a:lnTo>
                  <a:lnTo>
                    <a:pt x="258" y="695"/>
                  </a:lnTo>
                  <a:lnTo>
                    <a:pt x="245" y="700"/>
                  </a:lnTo>
                  <a:lnTo>
                    <a:pt x="237" y="701"/>
                  </a:lnTo>
                  <a:lnTo>
                    <a:pt x="231" y="702"/>
                  </a:lnTo>
                  <a:lnTo>
                    <a:pt x="223" y="702"/>
                  </a:lnTo>
                  <a:lnTo>
                    <a:pt x="217" y="701"/>
                  </a:lnTo>
                  <a:lnTo>
                    <a:pt x="217" y="701"/>
                  </a:lnTo>
                  <a:lnTo>
                    <a:pt x="163" y="689"/>
                  </a:lnTo>
                  <a:lnTo>
                    <a:pt x="108" y="678"/>
                  </a:lnTo>
                  <a:lnTo>
                    <a:pt x="108" y="678"/>
                  </a:lnTo>
                  <a:lnTo>
                    <a:pt x="101" y="676"/>
                  </a:lnTo>
                  <a:lnTo>
                    <a:pt x="94" y="673"/>
                  </a:lnTo>
                  <a:lnTo>
                    <a:pt x="88" y="669"/>
                  </a:lnTo>
                  <a:lnTo>
                    <a:pt x="82" y="666"/>
                  </a:lnTo>
                  <a:lnTo>
                    <a:pt x="77" y="661"/>
                  </a:lnTo>
                  <a:lnTo>
                    <a:pt x="73" y="656"/>
                  </a:lnTo>
                  <a:lnTo>
                    <a:pt x="68" y="650"/>
                  </a:lnTo>
                  <a:lnTo>
                    <a:pt x="65" y="644"/>
                  </a:lnTo>
                  <a:lnTo>
                    <a:pt x="62" y="638"/>
                  </a:lnTo>
                  <a:lnTo>
                    <a:pt x="59" y="630"/>
                  </a:lnTo>
                  <a:lnTo>
                    <a:pt x="57" y="624"/>
                  </a:lnTo>
                  <a:lnTo>
                    <a:pt x="55" y="616"/>
                  </a:lnTo>
                  <a:lnTo>
                    <a:pt x="55" y="609"/>
                  </a:lnTo>
                  <a:lnTo>
                    <a:pt x="55" y="600"/>
                  </a:lnTo>
                  <a:lnTo>
                    <a:pt x="56" y="592"/>
                  </a:lnTo>
                  <a:lnTo>
                    <a:pt x="57" y="584"/>
                  </a:lnTo>
                  <a:lnTo>
                    <a:pt x="57" y="584"/>
                  </a:lnTo>
                  <a:lnTo>
                    <a:pt x="60" y="575"/>
                  </a:lnTo>
                  <a:lnTo>
                    <a:pt x="62" y="566"/>
                  </a:lnTo>
                  <a:lnTo>
                    <a:pt x="66" y="559"/>
                  </a:lnTo>
                  <a:lnTo>
                    <a:pt x="69" y="551"/>
                  </a:lnTo>
                  <a:lnTo>
                    <a:pt x="74" y="545"/>
                  </a:lnTo>
                  <a:lnTo>
                    <a:pt x="79" y="538"/>
                  </a:lnTo>
                  <a:lnTo>
                    <a:pt x="85" y="533"/>
                  </a:lnTo>
                  <a:lnTo>
                    <a:pt x="90" y="527"/>
                  </a:lnTo>
                  <a:lnTo>
                    <a:pt x="96" y="523"/>
                  </a:lnTo>
                  <a:lnTo>
                    <a:pt x="102" y="519"/>
                  </a:lnTo>
                  <a:lnTo>
                    <a:pt x="108" y="515"/>
                  </a:lnTo>
                  <a:lnTo>
                    <a:pt x="116" y="513"/>
                  </a:lnTo>
                  <a:lnTo>
                    <a:pt x="123" y="512"/>
                  </a:lnTo>
                  <a:lnTo>
                    <a:pt x="130" y="512"/>
                  </a:lnTo>
                  <a:lnTo>
                    <a:pt x="137" y="513"/>
                  </a:lnTo>
                  <a:lnTo>
                    <a:pt x="144" y="514"/>
                  </a:lnTo>
                  <a:lnTo>
                    <a:pt x="144" y="514"/>
                  </a:lnTo>
                  <a:lnTo>
                    <a:pt x="171" y="524"/>
                  </a:lnTo>
                  <a:lnTo>
                    <a:pt x="198" y="534"/>
                  </a:lnTo>
                  <a:lnTo>
                    <a:pt x="227" y="547"/>
                  </a:lnTo>
                  <a:lnTo>
                    <a:pt x="254" y="559"/>
                  </a:lnTo>
                  <a:lnTo>
                    <a:pt x="254" y="559"/>
                  </a:lnTo>
                  <a:lnTo>
                    <a:pt x="267" y="567"/>
                  </a:lnTo>
                  <a:lnTo>
                    <a:pt x="279" y="577"/>
                  </a:lnTo>
                  <a:lnTo>
                    <a:pt x="288" y="588"/>
                  </a:lnTo>
                  <a:lnTo>
                    <a:pt x="296" y="600"/>
                  </a:lnTo>
                  <a:lnTo>
                    <a:pt x="301" y="613"/>
                  </a:lnTo>
                  <a:lnTo>
                    <a:pt x="305" y="625"/>
                  </a:lnTo>
                  <a:lnTo>
                    <a:pt x="306" y="631"/>
                  </a:lnTo>
                  <a:lnTo>
                    <a:pt x="306" y="637"/>
                  </a:lnTo>
                  <a:lnTo>
                    <a:pt x="305" y="643"/>
                  </a:lnTo>
                  <a:lnTo>
                    <a:pt x="304" y="649"/>
                  </a:lnTo>
                  <a:lnTo>
                    <a:pt x="304" y="649"/>
                  </a:lnTo>
                  <a:close/>
                  <a:moveTo>
                    <a:pt x="266" y="305"/>
                  </a:moveTo>
                  <a:lnTo>
                    <a:pt x="268" y="301"/>
                  </a:lnTo>
                  <a:lnTo>
                    <a:pt x="268" y="301"/>
                  </a:lnTo>
                  <a:lnTo>
                    <a:pt x="288" y="255"/>
                  </a:lnTo>
                  <a:lnTo>
                    <a:pt x="310" y="209"/>
                  </a:lnTo>
                  <a:lnTo>
                    <a:pt x="334" y="162"/>
                  </a:lnTo>
                  <a:lnTo>
                    <a:pt x="348" y="138"/>
                  </a:lnTo>
                  <a:lnTo>
                    <a:pt x="362" y="113"/>
                  </a:lnTo>
                  <a:lnTo>
                    <a:pt x="362" y="113"/>
                  </a:lnTo>
                  <a:lnTo>
                    <a:pt x="371" y="99"/>
                  </a:lnTo>
                  <a:lnTo>
                    <a:pt x="378" y="87"/>
                  </a:lnTo>
                  <a:lnTo>
                    <a:pt x="385" y="78"/>
                  </a:lnTo>
                  <a:lnTo>
                    <a:pt x="390" y="72"/>
                  </a:lnTo>
                  <a:lnTo>
                    <a:pt x="396" y="68"/>
                  </a:lnTo>
                  <a:lnTo>
                    <a:pt x="400" y="64"/>
                  </a:lnTo>
                  <a:lnTo>
                    <a:pt x="403" y="62"/>
                  </a:lnTo>
                  <a:lnTo>
                    <a:pt x="405" y="61"/>
                  </a:lnTo>
                  <a:lnTo>
                    <a:pt x="1059" y="61"/>
                  </a:lnTo>
                  <a:lnTo>
                    <a:pt x="1059" y="61"/>
                  </a:lnTo>
                  <a:lnTo>
                    <a:pt x="1066" y="64"/>
                  </a:lnTo>
                  <a:lnTo>
                    <a:pt x="1070" y="68"/>
                  </a:lnTo>
                  <a:lnTo>
                    <a:pt x="1074" y="72"/>
                  </a:lnTo>
                  <a:lnTo>
                    <a:pt x="1080" y="78"/>
                  </a:lnTo>
                  <a:lnTo>
                    <a:pt x="1086" y="87"/>
                  </a:lnTo>
                  <a:lnTo>
                    <a:pt x="1094" y="98"/>
                  </a:lnTo>
                  <a:lnTo>
                    <a:pt x="1103" y="112"/>
                  </a:lnTo>
                  <a:lnTo>
                    <a:pt x="1103" y="112"/>
                  </a:lnTo>
                  <a:lnTo>
                    <a:pt x="1117" y="137"/>
                  </a:lnTo>
                  <a:lnTo>
                    <a:pt x="1131" y="162"/>
                  </a:lnTo>
                  <a:lnTo>
                    <a:pt x="1155" y="209"/>
                  </a:lnTo>
                  <a:lnTo>
                    <a:pt x="1176" y="254"/>
                  </a:lnTo>
                  <a:lnTo>
                    <a:pt x="1197" y="301"/>
                  </a:lnTo>
                  <a:lnTo>
                    <a:pt x="1199" y="305"/>
                  </a:lnTo>
                  <a:lnTo>
                    <a:pt x="266" y="305"/>
                  </a:lnTo>
                  <a:close/>
                  <a:moveTo>
                    <a:pt x="1357" y="678"/>
                  </a:moveTo>
                  <a:lnTo>
                    <a:pt x="1357" y="678"/>
                  </a:lnTo>
                  <a:lnTo>
                    <a:pt x="1303" y="689"/>
                  </a:lnTo>
                  <a:lnTo>
                    <a:pt x="1249" y="701"/>
                  </a:lnTo>
                  <a:lnTo>
                    <a:pt x="1249" y="701"/>
                  </a:lnTo>
                  <a:lnTo>
                    <a:pt x="1241" y="702"/>
                  </a:lnTo>
                  <a:lnTo>
                    <a:pt x="1235" y="702"/>
                  </a:lnTo>
                  <a:lnTo>
                    <a:pt x="1227" y="701"/>
                  </a:lnTo>
                  <a:lnTo>
                    <a:pt x="1221" y="700"/>
                  </a:lnTo>
                  <a:lnTo>
                    <a:pt x="1207" y="695"/>
                  </a:lnTo>
                  <a:lnTo>
                    <a:pt x="1195" y="689"/>
                  </a:lnTo>
                  <a:lnTo>
                    <a:pt x="1184" y="680"/>
                  </a:lnTo>
                  <a:lnTo>
                    <a:pt x="1174" y="670"/>
                  </a:lnTo>
                  <a:lnTo>
                    <a:pt x="1167" y="661"/>
                  </a:lnTo>
                  <a:lnTo>
                    <a:pt x="1161" y="649"/>
                  </a:lnTo>
                  <a:lnTo>
                    <a:pt x="1161" y="649"/>
                  </a:lnTo>
                  <a:lnTo>
                    <a:pt x="1160" y="643"/>
                  </a:lnTo>
                  <a:lnTo>
                    <a:pt x="1159" y="637"/>
                  </a:lnTo>
                  <a:lnTo>
                    <a:pt x="1159" y="631"/>
                  </a:lnTo>
                  <a:lnTo>
                    <a:pt x="1160" y="625"/>
                  </a:lnTo>
                  <a:lnTo>
                    <a:pt x="1163" y="613"/>
                  </a:lnTo>
                  <a:lnTo>
                    <a:pt x="1169" y="600"/>
                  </a:lnTo>
                  <a:lnTo>
                    <a:pt x="1176" y="588"/>
                  </a:lnTo>
                  <a:lnTo>
                    <a:pt x="1186" y="577"/>
                  </a:lnTo>
                  <a:lnTo>
                    <a:pt x="1198" y="567"/>
                  </a:lnTo>
                  <a:lnTo>
                    <a:pt x="1212" y="559"/>
                  </a:lnTo>
                  <a:lnTo>
                    <a:pt x="1212" y="559"/>
                  </a:lnTo>
                  <a:lnTo>
                    <a:pt x="1239" y="547"/>
                  </a:lnTo>
                  <a:lnTo>
                    <a:pt x="1266" y="534"/>
                  </a:lnTo>
                  <a:lnTo>
                    <a:pt x="1293" y="524"/>
                  </a:lnTo>
                  <a:lnTo>
                    <a:pt x="1321" y="514"/>
                  </a:lnTo>
                  <a:lnTo>
                    <a:pt x="1321" y="514"/>
                  </a:lnTo>
                  <a:lnTo>
                    <a:pt x="1328" y="513"/>
                  </a:lnTo>
                  <a:lnTo>
                    <a:pt x="1336" y="512"/>
                  </a:lnTo>
                  <a:lnTo>
                    <a:pt x="1342" y="512"/>
                  </a:lnTo>
                  <a:lnTo>
                    <a:pt x="1350" y="513"/>
                  </a:lnTo>
                  <a:lnTo>
                    <a:pt x="1356" y="515"/>
                  </a:lnTo>
                  <a:lnTo>
                    <a:pt x="1363" y="519"/>
                  </a:lnTo>
                  <a:lnTo>
                    <a:pt x="1369" y="523"/>
                  </a:lnTo>
                  <a:lnTo>
                    <a:pt x="1375" y="527"/>
                  </a:lnTo>
                  <a:lnTo>
                    <a:pt x="1381" y="533"/>
                  </a:lnTo>
                  <a:lnTo>
                    <a:pt x="1387" y="538"/>
                  </a:lnTo>
                  <a:lnTo>
                    <a:pt x="1391" y="545"/>
                  </a:lnTo>
                  <a:lnTo>
                    <a:pt x="1395" y="551"/>
                  </a:lnTo>
                  <a:lnTo>
                    <a:pt x="1400" y="559"/>
                  </a:lnTo>
                  <a:lnTo>
                    <a:pt x="1403" y="566"/>
                  </a:lnTo>
                  <a:lnTo>
                    <a:pt x="1405" y="575"/>
                  </a:lnTo>
                  <a:lnTo>
                    <a:pt x="1407" y="584"/>
                  </a:lnTo>
                  <a:lnTo>
                    <a:pt x="1407" y="584"/>
                  </a:lnTo>
                  <a:lnTo>
                    <a:pt x="1409" y="592"/>
                  </a:lnTo>
                  <a:lnTo>
                    <a:pt x="1409" y="600"/>
                  </a:lnTo>
                  <a:lnTo>
                    <a:pt x="1409" y="609"/>
                  </a:lnTo>
                  <a:lnTo>
                    <a:pt x="1409" y="616"/>
                  </a:lnTo>
                  <a:lnTo>
                    <a:pt x="1408" y="624"/>
                  </a:lnTo>
                  <a:lnTo>
                    <a:pt x="1406" y="630"/>
                  </a:lnTo>
                  <a:lnTo>
                    <a:pt x="1404" y="638"/>
                  </a:lnTo>
                  <a:lnTo>
                    <a:pt x="1401" y="644"/>
                  </a:lnTo>
                  <a:lnTo>
                    <a:pt x="1396" y="650"/>
                  </a:lnTo>
                  <a:lnTo>
                    <a:pt x="1392" y="656"/>
                  </a:lnTo>
                  <a:lnTo>
                    <a:pt x="1388" y="661"/>
                  </a:lnTo>
                  <a:lnTo>
                    <a:pt x="1382" y="666"/>
                  </a:lnTo>
                  <a:lnTo>
                    <a:pt x="1377" y="669"/>
                  </a:lnTo>
                  <a:lnTo>
                    <a:pt x="1370" y="673"/>
                  </a:lnTo>
                  <a:lnTo>
                    <a:pt x="1364" y="676"/>
                  </a:lnTo>
                  <a:lnTo>
                    <a:pt x="1357" y="678"/>
                  </a:lnTo>
                  <a:lnTo>
                    <a:pt x="1357" y="67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091" name="Group 2090">
            <a:extLst>
              <a:ext uri="{FF2B5EF4-FFF2-40B4-BE49-F238E27FC236}">
                <a16:creationId xmlns:a16="http://schemas.microsoft.com/office/drawing/2014/main" id="{61C2F9F3-BD07-4582-A2F8-2D9862CC2747}"/>
              </a:ext>
            </a:extLst>
          </p:cNvPr>
          <p:cNvGrpSpPr/>
          <p:nvPr/>
        </p:nvGrpSpPr>
        <p:grpSpPr>
          <a:xfrm>
            <a:off x="2425171" y="2430926"/>
            <a:ext cx="612000" cy="612000"/>
            <a:chOff x="592807" y="3032119"/>
            <a:chExt cx="612000" cy="612000"/>
          </a:xfrm>
        </p:grpSpPr>
        <p:sp>
          <p:nvSpPr>
            <p:cNvPr id="2092" name="Oval 2091">
              <a:extLst>
                <a:ext uri="{FF2B5EF4-FFF2-40B4-BE49-F238E27FC236}">
                  <a16:creationId xmlns:a16="http://schemas.microsoft.com/office/drawing/2014/main" id="{86779EDD-B351-4EAC-881A-22A22E9D0CAD}"/>
                </a:ext>
              </a:extLst>
            </p:cNvPr>
            <p:cNvSpPr/>
            <p:nvPr/>
          </p:nvSpPr>
          <p:spPr bwMode="ltGray">
            <a:xfrm>
              <a:off x="592807" y="3032119"/>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93" name="Freeform 461">
              <a:extLst>
                <a:ext uri="{FF2B5EF4-FFF2-40B4-BE49-F238E27FC236}">
                  <a16:creationId xmlns:a16="http://schemas.microsoft.com/office/drawing/2014/main" id="{B3279116-E67A-4E47-8151-09A9437E4BEC}"/>
                </a:ext>
              </a:extLst>
            </p:cNvPr>
            <p:cNvSpPr>
              <a:spLocks noEditPoints="1"/>
            </p:cNvSpPr>
            <p:nvPr/>
          </p:nvSpPr>
          <p:spPr bwMode="auto">
            <a:xfrm>
              <a:off x="668619" y="3164738"/>
              <a:ext cx="460375" cy="295275"/>
            </a:xfrm>
            <a:custGeom>
              <a:avLst/>
              <a:gdLst>
                <a:gd name="T0" fmla="*/ 1008 w 1451"/>
                <a:gd name="T1" fmla="*/ 200 h 930"/>
                <a:gd name="T2" fmla="*/ 975 w 1451"/>
                <a:gd name="T3" fmla="*/ 178 h 930"/>
                <a:gd name="T4" fmla="*/ 755 w 1451"/>
                <a:gd name="T5" fmla="*/ 70 h 930"/>
                <a:gd name="T6" fmla="*/ 760 w 1451"/>
                <a:gd name="T7" fmla="*/ 18 h 930"/>
                <a:gd name="T8" fmla="*/ 593 w 1451"/>
                <a:gd name="T9" fmla="*/ 1 h 930"/>
                <a:gd name="T10" fmla="*/ 560 w 1451"/>
                <a:gd name="T11" fmla="*/ 41 h 930"/>
                <a:gd name="T12" fmla="*/ 332 w 1451"/>
                <a:gd name="T13" fmla="*/ 356 h 930"/>
                <a:gd name="T14" fmla="*/ 232 w 1451"/>
                <a:gd name="T15" fmla="*/ 358 h 930"/>
                <a:gd name="T16" fmla="*/ 128 w 1451"/>
                <a:gd name="T17" fmla="*/ 402 h 930"/>
                <a:gd name="T18" fmla="*/ 50 w 1451"/>
                <a:gd name="T19" fmla="*/ 480 h 930"/>
                <a:gd name="T20" fmla="*/ 7 w 1451"/>
                <a:gd name="T21" fmla="*/ 583 h 930"/>
                <a:gd name="T22" fmla="*/ 4 w 1451"/>
                <a:gd name="T23" fmla="*/ 686 h 930"/>
                <a:gd name="T24" fmla="*/ 42 w 1451"/>
                <a:gd name="T25" fmla="*/ 792 h 930"/>
                <a:gd name="T26" fmla="*/ 117 w 1451"/>
                <a:gd name="T27" fmla="*/ 873 h 930"/>
                <a:gd name="T28" fmla="*/ 218 w 1451"/>
                <a:gd name="T29" fmla="*/ 921 h 930"/>
                <a:gd name="T30" fmla="*/ 320 w 1451"/>
                <a:gd name="T31" fmla="*/ 929 h 930"/>
                <a:gd name="T32" fmla="*/ 428 w 1451"/>
                <a:gd name="T33" fmla="*/ 895 h 930"/>
                <a:gd name="T34" fmla="*/ 514 w 1451"/>
                <a:gd name="T35" fmla="*/ 825 h 930"/>
                <a:gd name="T36" fmla="*/ 567 w 1451"/>
                <a:gd name="T37" fmla="*/ 727 h 930"/>
                <a:gd name="T38" fmla="*/ 579 w 1451"/>
                <a:gd name="T39" fmla="*/ 624 h 930"/>
                <a:gd name="T40" fmla="*/ 540 w 1451"/>
                <a:gd name="T41" fmla="*/ 495 h 930"/>
                <a:gd name="T42" fmla="*/ 541 w 1451"/>
                <a:gd name="T43" fmla="*/ 263 h 930"/>
                <a:gd name="T44" fmla="*/ 668 w 1451"/>
                <a:gd name="T45" fmla="*/ 629 h 930"/>
                <a:gd name="T46" fmla="*/ 683 w 1451"/>
                <a:gd name="T47" fmla="*/ 688 h 930"/>
                <a:gd name="T48" fmla="*/ 741 w 1451"/>
                <a:gd name="T49" fmla="*/ 727 h 930"/>
                <a:gd name="T50" fmla="*/ 816 w 1451"/>
                <a:gd name="T51" fmla="*/ 707 h 930"/>
                <a:gd name="T52" fmla="*/ 895 w 1451"/>
                <a:gd name="T53" fmla="*/ 755 h 930"/>
                <a:gd name="T54" fmla="*/ 1033 w 1451"/>
                <a:gd name="T55" fmla="*/ 901 h 930"/>
                <a:gd name="T56" fmla="*/ 1191 w 1451"/>
                <a:gd name="T57" fmla="*/ 929 h 930"/>
                <a:gd name="T58" fmla="*/ 1299 w 1451"/>
                <a:gd name="T59" fmla="*/ 895 h 930"/>
                <a:gd name="T60" fmla="*/ 1385 w 1451"/>
                <a:gd name="T61" fmla="*/ 825 h 930"/>
                <a:gd name="T62" fmla="*/ 1438 w 1451"/>
                <a:gd name="T63" fmla="*/ 727 h 930"/>
                <a:gd name="T64" fmla="*/ 1451 w 1451"/>
                <a:gd name="T65" fmla="*/ 626 h 930"/>
                <a:gd name="T66" fmla="*/ 1423 w 1451"/>
                <a:gd name="T67" fmla="*/ 516 h 930"/>
                <a:gd name="T68" fmla="*/ 1355 w 1451"/>
                <a:gd name="T69" fmla="*/ 427 h 930"/>
                <a:gd name="T70" fmla="*/ 1261 w 1451"/>
                <a:gd name="T71" fmla="*/ 370 h 930"/>
                <a:gd name="T72" fmla="*/ 1161 w 1451"/>
                <a:gd name="T73" fmla="*/ 353 h 930"/>
                <a:gd name="T74" fmla="*/ 463 w 1451"/>
                <a:gd name="T75" fmla="*/ 757 h 930"/>
                <a:gd name="T76" fmla="*/ 332 w 1451"/>
                <a:gd name="T77" fmla="*/ 845 h 930"/>
                <a:gd name="T78" fmla="*/ 191 w 1451"/>
                <a:gd name="T79" fmla="*/ 824 h 930"/>
                <a:gd name="T80" fmla="*/ 91 w 1451"/>
                <a:gd name="T81" fmla="*/ 703 h 930"/>
                <a:gd name="T82" fmla="*/ 99 w 1451"/>
                <a:gd name="T83" fmla="*/ 560 h 930"/>
                <a:gd name="T84" fmla="*/ 209 w 1451"/>
                <a:gd name="T85" fmla="*/ 450 h 930"/>
                <a:gd name="T86" fmla="*/ 342 w 1451"/>
                <a:gd name="T87" fmla="*/ 440 h 930"/>
                <a:gd name="T88" fmla="*/ 261 w 1451"/>
                <a:gd name="T89" fmla="*/ 659 h 930"/>
                <a:gd name="T90" fmla="*/ 299 w 1451"/>
                <a:gd name="T91" fmla="*/ 678 h 930"/>
                <a:gd name="T92" fmla="*/ 423 w 1451"/>
                <a:gd name="T93" fmla="*/ 481 h 930"/>
                <a:gd name="T94" fmla="*/ 496 w 1451"/>
                <a:gd name="T95" fmla="*/ 606 h 930"/>
                <a:gd name="T96" fmla="*/ 989 w 1451"/>
                <a:gd name="T97" fmla="*/ 410 h 930"/>
                <a:gd name="T98" fmla="*/ 904 w 1451"/>
                <a:gd name="T99" fmla="*/ 508 h 930"/>
                <a:gd name="T100" fmla="*/ 844 w 1451"/>
                <a:gd name="T101" fmla="*/ 604 h 930"/>
                <a:gd name="T102" fmla="*/ 962 w 1451"/>
                <a:gd name="T103" fmla="*/ 583 h 930"/>
                <a:gd name="T104" fmla="*/ 1116 w 1451"/>
                <a:gd name="T105" fmla="*/ 604 h 930"/>
                <a:gd name="T106" fmla="*/ 914 w 1451"/>
                <a:gd name="T107" fmla="*/ 252 h 930"/>
                <a:gd name="T108" fmla="*/ 1056 w 1451"/>
                <a:gd name="T109" fmla="*/ 821 h 930"/>
                <a:gd name="T110" fmla="*/ 966 w 1451"/>
                <a:gd name="T111" fmla="*/ 714 h 930"/>
                <a:gd name="T112" fmla="*/ 1206 w 1451"/>
                <a:gd name="T113" fmla="*/ 662 h 930"/>
                <a:gd name="T114" fmla="*/ 1141 w 1451"/>
                <a:gd name="T115" fmla="*/ 435 h 930"/>
                <a:gd name="T116" fmla="*/ 1277 w 1451"/>
                <a:gd name="T117" fmla="*/ 469 h 930"/>
                <a:gd name="T118" fmla="*/ 1365 w 1451"/>
                <a:gd name="T119" fmla="*/ 599 h 930"/>
                <a:gd name="T120" fmla="*/ 1345 w 1451"/>
                <a:gd name="T121" fmla="*/ 741 h 930"/>
                <a:gd name="T122" fmla="*/ 1223 w 1451"/>
                <a:gd name="T123" fmla="*/ 839 h 9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51" h="930">
                  <a:moveTo>
                    <a:pt x="1161" y="353"/>
                  </a:moveTo>
                  <a:lnTo>
                    <a:pt x="1161" y="353"/>
                  </a:lnTo>
                  <a:lnTo>
                    <a:pt x="1142" y="354"/>
                  </a:lnTo>
                  <a:lnTo>
                    <a:pt x="1122" y="356"/>
                  </a:lnTo>
                  <a:lnTo>
                    <a:pt x="1104" y="359"/>
                  </a:lnTo>
                  <a:lnTo>
                    <a:pt x="1085" y="363"/>
                  </a:lnTo>
                  <a:lnTo>
                    <a:pt x="1008" y="200"/>
                  </a:lnTo>
                  <a:lnTo>
                    <a:pt x="1008" y="200"/>
                  </a:lnTo>
                  <a:lnTo>
                    <a:pt x="1006" y="195"/>
                  </a:lnTo>
                  <a:lnTo>
                    <a:pt x="1003" y="190"/>
                  </a:lnTo>
                  <a:lnTo>
                    <a:pt x="999" y="187"/>
                  </a:lnTo>
                  <a:lnTo>
                    <a:pt x="994" y="184"/>
                  </a:lnTo>
                  <a:lnTo>
                    <a:pt x="990" y="182"/>
                  </a:lnTo>
                  <a:lnTo>
                    <a:pt x="986" y="180"/>
                  </a:lnTo>
                  <a:lnTo>
                    <a:pt x="980" y="178"/>
                  </a:lnTo>
                  <a:lnTo>
                    <a:pt x="975" y="178"/>
                  </a:lnTo>
                  <a:lnTo>
                    <a:pt x="587" y="178"/>
                  </a:lnTo>
                  <a:lnTo>
                    <a:pt x="638" y="83"/>
                  </a:lnTo>
                  <a:lnTo>
                    <a:pt x="725" y="83"/>
                  </a:lnTo>
                  <a:lnTo>
                    <a:pt x="725" y="83"/>
                  </a:lnTo>
                  <a:lnTo>
                    <a:pt x="734" y="82"/>
                  </a:lnTo>
                  <a:lnTo>
                    <a:pt x="742" y="80"/>
                  </a:lnTo>
                  <a:lnTo>
                    <a:pt x="749" y="76"/>
                  </a:lnTo>
                  <a:lnTo>
                    <a:pt x="755" y="70"/>
                  </a:lnTo>
                  <a:lnTo>
                    <a:pt x="760" y="65"/>
                  </a:lnTo>
                  <a:lnTo>
                    <a:pt x="764" y="57"/>
                  </a:lnTo>
                  <a:lnTo>
                    <a:pt x="767" y="50"/>
                  </a:lnTo>
                  <a:lnTo>
                    <a:pt x="768" y="41"/>
                  </a:lnTo>
                  <a:lnTo>
                    <a:pt x="768" y="41"/>
                  </a:lnTo>
                  <a:lnTo>
                    <a:pt x="767" y="34"/>
                  </a:lnTo>
                  <a:lnTo>
                    <a:pt x="764" y="25"/>
                  </a:lnTo>
                  <a:lnTo>
                    <a:pt x="760" y="18"/>
                  </a:lnTo>
                  <a:lnTo>
                    <a:pt x="755" y="12"/>
                  </a:lnTo>
                  <a:lnTo>
                    <a:pt x="749" y="8"/>
                  </a:lnTo>
                  <a:lnTo>
                    <a:pt x="742" y="3"/>
                  </a:lnTo>
                  <a:lnTo>
                    <a:pt x="734" y="1"/>
                  </a:lnTo>
                  <a:lnTo>
                    <a:pt x="725" y="0"/>
                  </a:lnTo>
                  <a:lnTo>
                    <a:pt x="602" y="0"/>
                  </a:lnTo>
                  <a:lnTo>
                    <a:pt x="602" y="0"/>
                  </a:lnTo>
                  <a:lnTo>
                    <a:pt x="593" y="1"/>
                  </a:lnTo>
                  <a:lnTo>
                    <a:pt x="586" y="3"/>
                  </a:lnTo>
                  <a:lnTo>
                    <a:pt x="578" y="8"/>
                  </a:lnTo>
                  <a:lnTo>
                    <a:pt x="571" y="12"/>
                  </a:lnTo>
                  <a:lnTo>
                    <a:pt x="567" y="18"/>
                  </a:lnTo>
                  <a:lnTo>
                    <a:pt x="563" y="25"/>
                  </a:lnTo>
                  <a:lnTo>
                    <a:pt x="561" y="34"/>
                  </a:lnTo>
                  <a:lnTo>
                    <a:pt x="560" y="41"/>
                  </a:lnTo>
                  <a:lnTo>
                    <a:pt x="560" y="41"/>
                  </a:lnTo>
                  <a:lnTo>
                    <a:pt x="561" y="47"/>
                  </a:lnTo>
                  <a:lnTo>
                    <a:pt x="562" y="52"/>
                  </a:lnTo>
                  <a:lnTo>
                    <a:pt x="565" y="61"/>
                  </a:lnTo>
                  <a:lnTo>
                    <a:pt x="397" y="373"/>
                  </a:lnTo>
                  <a:lnTo>
                    <a:pt x="397" y="373"/>
                  </a:lnTo>
                  <a:lnTo>
                    <a:pt x="371" y="364"/>
                  </a:lnTo>
                  <a:lnTo>
                    <a:pt x="345" y="358"/>
                  </a:lnTo>
                  <a:lnTo>
                    <a:pt x="332" y="356"/>
                  </a:lnTo>
                  <a:lnTo>
                    <a:pt x="318" y="354"/>
                  </a:lnTo>
                  <a:lnTo>
                    <a:pt x="304" y="353"/>
                  </a:lnTo>
                  <a:lnTo>
                    <a:pt x="291" y="353"/>
                  </a:lnTo>
                  <a:lnTo>
                    <a:pt x="291" y="353"/>
                  </a:lnTo>
                  <a:lnTo>
                    <a:pt x="275" y="353"/>
                  </a:lnTo>
                  <a:lnTo>
                    <a:pt x="260" y="354"/>
                  </a:lnTo>
                  <a:lnTo>
                    <a:pt x="246" y="356"/>
                  </a:lnTo>
                  <a:lnTo>
                    <a:pt x="232" y="358"/>
                  </a:lnTo>
                  <a:lnTo>
                    <a:pt x="218" y="361"/>
                  </a:lnTo>
                  <a:lnTo>
                    <a:pt x="204" y="366"/>
                  </a:lnTo>
                  <a:lnTo>
                    <a:pt x="191" y="370"/>
                  </a:lnTo>
                  <a:lnTo>
                    <a:pt x="178" y="375"/>
                  </a:lnTo>
                  <a:lnTo>
                    <a:pt x="165" y="381"/>
                  </a:lnTo>
                  <a:lnTo>
                    <a:pt x="152" y="387"/>
                  </a:lnTo>
                  <a:lnTo>
                    <a:pt x="140" y="395"/>
                  </a:lnTo>
                  <a:lnTo>
                    <a:pt x="128" y="402"/>
                  </a:lnTo>
                  <a:lnTo>
                    <a:pt x="117" y="410"/>
                  </a:lnTo>
                  <a:lnTo>
                    <a:pt x="106" y="419"/>
                  </a:lnTo>
                  <a:lnTo>
                    <a:pt x="95" y="427"/>
                  </a:lnTo>
                  <a:lnTo>
                    <a:pt x="86" y="437"/>
                  </a:lnTo>
                  <a:lnTo>
                    <a:pt x="76" y="448"/>
                  </a:lnTo>
                  <a:lnTo>
                    <a:pt x="67" y="457"/>
                  </a:lnTo>
                  <a:lnTo>
                    <a:pt x="59" y="468"/>
                  </a:lnTo>
                  <a:lnTo>
                    <a:pt x="50" y="480"/>
                  </a:lnTo>
                  <a:lnTo>
                    <a:pt x="42" y="492"/>
                  </a:lnTo>
                  <a:lnTo>
                    <a:pt x="36" y="504"/>
                  </a:lnTo>
                  <a:lnTo>
                    <a:pt x="29" y="516"/>
                  </a:lnTo>
                  <a:lnTo>
                    <a:pt x="23" y="529"/>
                  </a:lnTo>
                  <a:lnTo>
                    <a:pt x="18" y="542"/>
                  </a:lnTo>
                  <a:lnTo>
                    <a:pt x="13" y="556"/>
                  </a:lnTo>
                  <a:lnTo>
                    <a:pt x="10" y="569"/>
                  </a:lnTo>
                  <a:lnTo>
                    <a:pt x="7" y="583"/>
                  </a:lnTo>
                  <a:lnTo>
                    <a:pt x="4" y="597"/>
                  </a:lnTo>
                  <a:lnTo>
                    <a:pt x="2" y="612"/>
                  </a:lnTo>
                  <a:lnTo>
                    <a:pt x="1" y="626"/>
                  </a:lnTo>
                  <a:lnTo>
                    <a:pt x="0" y="641"/>
                  </a:lnTo>
                  <a:lnTo>
                    <a:pt x="0" y="641"/>
                  </a:lnTo>
                  <a:lnTo>
                    <a:pt x="1" y="656"/>
                  </a:lnTo>
                  <a:lnTo>
                    <a:pt x="2" y="670"/>
                  </a:lnTo>
                  <a:lnTo>
                    <a:pt x="4" y="686"/>
                  </a:lnTo>
                  <a:lnTo>
                    <a:pt x="7" y="700"/>
                  </a:lnTo>
                  <a:lnTo>
                    <a:pt x="10" y="714"/>
                  </a:lnTo>
                  <a:lnTo>
                    <a:pt x="13" y="727"/>
                  </a:lnTo>
                  <a:lnTo>
                    <a:pt x="18" y="741"/>
                  </a:lnTo>
                  <a:lnTo>
                    <a:pt x="23" y="754"/>
                  </a:lnTo>
                  <a:lnTo>
                    <a:pt x="29" y="767"/>
                  </a:lnTo>
                  <a:lnTo>
                    <a:pt x="36" y="779"/>
                  </a:lnTo>
                  <a:lnTo>
                    <a:pt x="42" y="792"/>
                  </a:lnTo>
                  <a:lnTo>
                    <a:pt x="50" y="802"/>
                  </a:lnTo>
                  <a:lnTo>
                    <a:pt x="59" y="814"/>
                  </a:lnTo>
                  <a:lnTo>
                    <a:pt x="67" y="825"/>
                  </a:lnTo>
                  <a:lnTo>
                    <a:pt x="76" y="836"/>
                  </a:lnTo>
                  <a:lnTo>
                    <a:pt x="86" y="846"/>
                  </a:lnTo>
                  <a:lnTo>
                    <a:pt x="95" y="855"/>
                  </a:lnTo>
                  <a:lnTo>
                    <a:pt x="106" y="864"/>
                  </a:lnTo>
                  <a:lnTo>
                    <a:pt x="117" y="873"/>
                  </a:lnTo>
                  <a:lnTo>
                    <a:pt x="128" y="881"/>
                  </a:lnTo>
                  <a:lnTo>
                    <a:pt x="140" y="889"/>
                  </a:lnTo>
                  <a:lnTo>
                    <a:pt x="152" y="895"/>
                  </a:lnTo>
                  <a:lnTo>
                    <a:pt x="165" y="902"/>
                  </a:lnTo>
                  <a:lnTo>
                    <a:pt x="178" y="907"/>
                  </a:lnTo>
                  <a:lnTo>
                    <a:pt x="191" y="913"/>
                  </a:lnTo>
                  <a:lnTo>
                    <a:pt x="204" y="917"/>
                  </a:lnTo>
                  <a:lnTo>
                    <a:pt x="218" y="921"/>
                  </a:lnTo>
                  <a:lnTo>
                    <a:pt x="232" y="925"/>
                  </a:lnTo>
                  <a:lnTo>
                    <a:pt x="246" y="927"/>
                  </a:lnTo>
                  <a:lnTo>
                    <a:pt x="260" y="929"/>
                  </a:lnTo>
                  <a:lnTo>
                    <a:pt x="275" y="930"/>
                  </a:lnTo>
                  <a:lnTo>
                    <a:pt x="291" y="930"/>
                  </a:lnTo>
                  <a:lnTo>
                    <a:pt x="291" y="930"/>
                  </a:lnTo>
                  <a:lnTo>
                    <a:pt x="305" y="930"/>
                  </a:lnTo>
                  <a:lnTo>
                    <a:pt x="320" y="929"/>
                  </a:lnTo>
                  <a:lnTo>
                    <a:pt x="334" y="927"/>
                  </a:lnTo>
                  <a:lnTo>
                    <a:pt x="348" y="925"/>
                  </a:lnTo>
                  <a:lnTo>
                    <a:pt x="362" y="921"/>
                  </a:lnTo>
                  <a:lnTo>
                    <a:pt x="376" y="917"/>
                  </a:lnTo>
                  <a:lnTo>
                    <a:pt x="389" y="913"/>
                  </a:lnTo>
                  <a:lnTo>
                    <a:pt x="402" y="907"/>
                  </a:lnTo>
                  <a:lnTo>
                    <a:pt x="415" y="902"/>
                  </a:lnTo>
                  <a:lnTo>
                    <a:pt x="428" y="895"/>
                  </a:lnTo>
                  <a:lnTo>
                    <a:pt x="440" y="889"/>
                  </a:lnTo>
                  <a:lnTo>
                    <a:pt x="452" y="881"/>
                  </a:lnTo>
                  <a:lnTo>
                    <a:pt x="463" y="873"/>
                  </a:lnTo>
                  <a:lnTo>
                    <a:pt x="474" y="864"/>
                  </a:lnTo>
                  <a:lnTo>
                    <a:pt x="485" y="855"/>
                  </a:lnTo>
                  <a:lnTo>
                    <a:pt x="494" y="846"/>
                  </a:lnTo>
                  <a:lnTo>
                    <a:pt x="504" y="836"/>
                  </a:lnTo>
                  <a:lnTo>
                    <a:pt x="514" y="825"/>
                  </a:lnTo>
                  <a:lnTo>
                    <a:pt x="523" y="814"/>
                  </a:lnTo>
                  <a:lnTo>
                    <a:pt x="530" y="802"/>
                  </a:lnTo>
                  <a:lnTo>
                    <a:pt x="538" y="792"/>
                  </a:lnTo>
                  <a:lnTo>
                    <a:pt x="544" y="779"/>
                  </a:lnTo>
                  <a:lnTo>
                    <a:pt x="551" y="767"/>
                  </a:lnTo>
                  <a:lnTo>
                    <a:pt x="557" y="754"/>
                  </a:lnTo>
                  <a:lnTo>
                    <a:pt x="562" y="741"/>
                  </a:lnTo>
                  <a:lnTo>
                    <a:pt x="567" y="727"/>
                  </a:lnTo>
                  <a:lnTo>
                    <a:pt x="570" y="714"/>
                  </a:lnTo>
                  <a:lnTo>
                    <a:pt x="574" y="700"/>
                  </a:lnTo>
                  <a:lnTo>
                    <a:pt x="577" y="686"/>
                  </a:lnTo>
                  <a:lnTo>
                    <a:pt x="578" y="670"/>
                  </a:lnTo>
                  <a:lnTo>
                    <a:pt x="579" y="656"/>
                  </a:lnTo>
                  <a:lnTo>
                    <a:pt x="580" y="641"/>
                  </a:lnTo>
                  <a:lnTo>
                    <a:pt x="580" y="641"/>
                  </a:lnTo>
                  <a:lnTo>
                    <a:pt x="579" y="624"/>
                  </a:lnTo>
                  <a:lnTo>
                    <a:pt x="578" y="607"/>
                  </a:lnTo>
                  <a:lnTo>
                    <a:pt x="575" y="589"/>
                  </a:lnTo>
                  <a:lnTo>
                    <a:pt x="571" y="572"/>
                  </a:lnTo>
                  <a:lnTo>
                    <a:pt x="567" y="556"/>
                  </a:lnTo>
                  <a:lnTo>
                    <a:pt x="562" y="540"/>
                  </a:lnTo>
                  <a:lnTo>
                    <a:pt x="555" y="524"/>
                  </a:lnTo>
                  <a:lnTo>
                    <a:pt x="548" y="509"/>
                  </a:lnTo>
                  <a:lnTo>
                    <a:pt x="540" y="495"/>
                  </a:lnTo>
                  <a:lnTo>
                    <a:pt x="530" y="481"/>
                  </a:lnTo>
                  <a:lnTo>
                    <a:pt x="520" y="467"/>
                  </a:lnTo>
                  <a:lnTo>
                    <a:pt x="511" y="454"/>
                  </a:lnTo>
                  <a:lnTo>
                    <a:pt x="499" y="442"/>
                  </a:lnTo>
                  <a:lnTo>
                    <a:pt x="488" y="430"/>
                  </a:lnTo>
                  <a:lnTo>
                    <a:pt x="475" y="420"/>
                  </a:lnTo>
                  <a:lnTo>
                    <a:pt x="462" y="409"/>
                  </a:lnTo>
                  <a:lnTo>
                    <a:pt x="541" y="263"/>
                  </a:lnTo>
                  <a:lnTo>
                    <a:pt x="689" y="580"/>
                  </a:lnTo>
                  <a:lnTo>
                    <a:pt x="689" y="580"/>
                  </a:lnTo>
                  <a:lnTo>
                    <a:pt x="680" y="593"/>
                  </a:lnTo>
                  <a:lnTo>
                    <a:pt x="677" y="599"/>
                  </a:lnTo>
                  <a:lnTo>
                    <a:pt x="673" y="606"/>
                  </a:lnTo>
                  <a:lnTo>
                    <a:pt x="671" y="613"/>
                  </a:lnTo>
                  <a:lnTo>
                    <a:pt x="669" y="621"/>
                  </a:lnTo>
                  <a:lnTo>
                    <a:pt x="668" y="629"/>
                  </a:lnTo>
                  <a:lnTo>
                    <a:pt x="668" y="637"/>
                  </a:lnTo>
                  <a:lnTo>
                    <a:pt x="668" y="637"/>
                  </a:lnTo>
                  <a:lnTo>
                    <a:pt x="668" y="647"/>
                  </a:lnTo>
                  <a:lnTo>
                    <a:pt x="669" y="655"/>
                  </a:lnTo>
                  <a:lnTo>
                    <a:pt x="671" y="664"/>
                  </a:lnTo>
                  <a:lnTo>
                    <a:pt x="674" y="673"/>
                  </a:lnTo>
                  <a:lnTo>
                    <a:pt x="679" y="680"/>
                  </a:lnTo>
                  <a:lnTo>
                    <a:pt x="683" y="688"/>
                  </a:lnTo>
                  <a:lnTo>
                    <a:pt x="689" y="695"/>
                  </a:lnTo>
                  <a:lnTo>
                    <a:pt x="694" y="702"/>
                  </a:lnTo>
                  <a:lnTo>
                    <a:pt x="700" y="707"/>
                  </a:lnTo>
                  <a:lnTo>
                    <a:pt x="708" y="713"/>
                  </a:lnTo>
                  <a:lnTo>
                    <a:pt x="716" y="717"/>
                  </a:lnTo>
                  <a:lnTo>
                    <a:pt x="723" y="721"/>
                  </a:lnTo>
                  <a:lnTo>
                    <a:pt x="732" y="724"/>
                  </a:lnTo>
                  <a:lnTo>
                    <a:pt x="741" y="727"/>
                  </a:lnTo>
                  <a:lnTo>
                    <a:pt x="749" y="728"/>
                  </a:lnTo>
                  <a:lnTo>
                    <a:pt x="759" y="728"/>
                  </a:lnTo>
                  <a:lnTo>
                    <a:pt x="759" y="728"/>
                  </a:lnTo>
                  <a:lnTo>
                    <a:pt x="772" y="728"/>
                  </a:lnTo>
                  <a:lnTo>
                    <a:pt x="784" y="724"/>
                  </a:lnTo>
                  <a:lnTo>
                    <a:pt x="796" y="720"/>
                  </a:lnTo>
                  <a:lnTo>
                    <a:pt x="807" y="715"/>
                  </a:lnTo>
                  <a:lnTo>
                    <a:pt x="816" y="707"/>
                  </a:lnTo>
                  <a:lnTo>
                    <a:pt x="826" y="699"/>
                  </a:lnTo>
                  <a:lnTo>
                    <a:pt x="834" y="689"/>
                  </a:lnTo>
                  <a:lnTo>
                    <a:pt x="839" y="679"/>
                  </a:lnTo>
                  <a:lnTo>
                    <a:pt x="874" y="679"/>
                  </a:lnTo>
                  <a:lnTo>
                    <a:pt x="874" y="679"/>
                  </a:lnTo>
                  <a:lnTo>
                    <a:pt x="879" y="705"/>
                  </a:lnTo>
                  <a:lnTo>
                    <a:pt x="886" y="730"/>
                  </a:lnTo>
                  <a:lnTo>
                    <a:pt x="895" y="755"/>
                  </a:lnTo>
                  <a:lnTo>
                    <a:pt x="906" y="777"/>
                  </a:lnTo>
                  <a:lnTo>
                    <a:pt x="919" y="800"/>
                  </a:lnTo>
                  <a:lnTo>
                    <a:pt x="935" y="821"/>
                  </a:lnTo>
                  <a:lnTo>
                    <a:pt x="951" y="840"/>
                  </a:lnTo>
                  <a:lnTo>
                    <a:pt x="969" y="857"/>
                  </a:lnTo>
                  <a:lnTo>
                    <a:pt x="990" y="874"/>
                  </a:lnTo>
                  <a:lnTo>
                    <a:pt x="1011" y="888"/>
                  </a:lnTo>
                  <a:lnTo>
                    <a:pt x="1033" y="901"/>
                  </a:lnTo>
                  <a:lnTo>
                    <a:pt x="1057" y="910"/>
                  </a:lnTo>
                  <a:lnTo>
                    <a:pt x="1082" y="919"/>
                  </a:lnTo>
                  <a:lnTo>
                    <a:pt x="1107" y="926"/>
                  </a:lnTo>
                  <a:lnTo>
                    <a:pt x="1134" y="929"/>
                  </a:lnTo>
                  <a:lnTo>
                    <a:pt x="1161" y="930"/>
                  </a:lnTo>
                  <a:lnTo>
                    <a:pt x="1161" y="930"/>
                  </a:lnTo>
                  <a:lnTo>
                    <a:pt x="1176" y="930"/>
                  </a:lnTo>
                  <a:lnTo>
                    <a:pt x="1191" y="929"/>
                  </a:lnTo>
                  <a:lnTo>
                    <a:pt x="1206" y="927"/>
                  </a:lnTo>
                  <a:lnTo>
                    <a:pt x="1220" y="925"/>
                  </a:lnTo>
                  <a:lnTo>
                    <a:pt x="1234" y="921"/>
                  </a:lnTo>
                  <a:lnTo>
                    <a:pt x="1247" y="917"/>
                  </a:lnTo>
                  <a:lnTo>
                    <a:pt x="1261" y="913"/>
                  </a:lnTo>
                  <a:lnTo>
                    <a:pt x="1274" y="907"/>
                  </a:lnTo>
                  <a:lnTo>
                    <a:pt x="1287" y="902"/>
                  </a:lnTo>
                  <a:lnTo>
                    <a:pt x="1299" y="895"/>
                  </a:lnTo>
                  <a:lnTo>
                    <a:pt x="1311" y="889"/>
                  </a:lnTo>
                  <a:lnTo>
                    <a:pt x="1323" y="881"/>
                  </a:lnTo>
                  <a:lnTo>
                    <a:pt x="1335" y="873"/>
                  </a:lnTo>
                  <a:lnTo>
                    <a:pt x="1346" y="864"/>
                  </a:lnTo>
                  <a:lnTo>
                    <a:pt x="1355" y="855"/>
                  </a:lnTo>
                  <a:lnTo>
                    <a:pt x="1366" y="846"/>
                  </a:lnTo>
                  <a:lnTo>
                    <a:pt x="1376" y="836"/>
                  </a:lnTo>
                  <a:lnTo>
                    <a:pt x="1385" y="825"/>
                  </a:lnTo>
                  <a:lnTo>
                    <a:pt x="1393" y="814"/>
                  </a:lnTo>
                  <a:lnTo>
                    <a:pt x="1401" y="802"/>
                  </a:lnTo>
                  <a:lnTo>
                    <a:pt x="1408" y="792"/>
                  </a:lnTo>
                  <a:lnTo>
                    <a:pt x="1416" y="779"/>
                  </a:lnTo>
                  <a:lnTo>
                    <a:pt x="1423" y="767"/>
                  </a:lnTo>
                  <a:lnTo>
                    <a:pt x="1428" y="754"/>
                  </a:lnTo>
                  <a:lnTo>
                    <a:pt x="1433" y="741"/>
                  </a:lnTo>
                  <a:lnTo>
                    <a:pt x="1438" y="727"/>
                  </a:lnTo>
                  <a:lnTo>
                    <a:pt x="1442" y="714"/>
                  </a:lnTo>
                  <a:lnTo>
                    <a:pt x="1445" y="700"/>
                  </a:lnTo>
                  <a:lnTo>
                    <a:pt x="1448" y="686"/>
                  </a:lnTo>
                  <a:lnTo>
                    <a:pt x="1450" y="670"/>
                  </a:lnTo>
                  <a:lnTo>
                    <a:pt x="1451" y="656"/>
                  </a:lnTo>
                  <a:lnTo>
                    <a:pt x="1451" y="641"/>
                  </a:lnTo>
                  <a:lnTo>
                    <a:pt x="1451" y="641"/>
                  </a:lnTo>
                  <a:lnTo>
                    <a:pt x="1451" y="626"/>
                  </a:lnTo>
                  <a:lnTo>
                    <a:pt x="1450" y="612"/>
                  </a:lnTo>
                  <a:lnTo>
                    <a:pt x="1448" y="597"/>
                  </a:lnTo>
                  <a:lnTo>
                    <a:pt x="1445" y="583"/>
                  </a:lnTo>
                  <a:lnTo>
                    <a:pt x="1442" y="569"/>
                  </a:lnTo>
                  <a:lnTo>
                    <a:pt x="1438" y="556"/>
                  </a:lnTo>
                  <a:lnTo>
                    <a:pt x="1433" y="542"/>
                  </a:lnTo>
                  <a:lnTo>
                    <a:pt x="1428" y="529"/>
                  </a:lnTo>
                  <a:lnTo>
                    <a:pt x="1423" y="516"/>
                  </a:lnTo>
                  <a:lnTo>
                    <a:pt x="1416" y="504"/>
                  </a:lnTo>
                  <a:lnTo>
                    <a:pt x="1408" y="492"/>
                  </a:lnTo>
                  <a:lnTo>
                    <a:pt x="1401" y="480"/>
                  </a:lnTo>
                  <a:lnTo>
                    <a:pt x="1393" y="468"/>
                  </a:lnTo>
                  <a:lnTo>
                    <a:pt x="1385" y="457"/>
                  </a:lnTo>
                  <a:lnTo>
                    <a:pt x="1376" y="448"/>
                  </a:lnTo>
                  <a:lnTo>
                    <a:pt x="1366" y="437"/>
                  </a:lnTo>
                  <a:lnTo>
                    <a:pt x="1355" y="427"/>
                  </a:lnTo>
                  <a:lnTo>
                    <a:pt x="1346" y="419"/>
                  </a:lnTo>
                  <a:lnTo>
                    <a:pt x="1335" y="410"/>
                  </a:lnTo>
                  <a:lnTo>
                    <a:pt x="1323" y="402"/>
                  </a:lnTo>
                  <a:lnTo>
                    <a:pt x="1311" y="395"/>
                  </a:lnTo>
                  <a:lnTo>
                    <a:pt x="1299" y="387"/>
                  </a:lnTo>
                  <a:lnTo>
                    <a:pt x="1287" y="381"/>
                  </a:lnTo>
                  <a:lnTo>
                    <a:pt x="1274" y="375"/>
                  </a:lnTo>
                  <a:lnTo>
                    <a:pt x="1261" y="370"/>
                  </a:lnTo>
                  <a:lnTo>
                    <a:pt x="1247" y="366"/>
                  </a:lnTo>
                  <a:lnTo>
                    <a:pt x="1234" y="361"/>
                  </a:lnTo>
                  <a:lnTo>
                    <a:pt x="1220" y="358"/>
                  </a:lnTo>
                  <a:lnTo>
                    <a:pt x="1206" y="356"/>
                  </a:lnTo>
                  <a:lnTo>
                    <a:pt x="1191" y="354"/>
                  </a:lnTo>
                  <a:lnTo>
                    <a:pt x="1176" y="353"/>
                  </a:lnTo>
                  <a:lnTo>
                    <a:pt x="1161" y="353"/>
                  </a:lnTo>
                  <a:lnTo>
                    <a:pt x="1161" y="353"/>
                  </a:lnTo>
                  <a:close/>
                  <a:moveTo>
                    <a:pt x="499" y="641"/>
                  </a:moveTo>
                  <a:lnTo>
                    <a:pt x="499" y="641"/>
                  </a:lnTo>
                  <a:lnTo>
                    <a:pt x="498" y="663"/>
                  </a:lnTo>
                  <a:lnTo>
                    <a:pt x="494" y="683"/>
                  </a:lnTo>
                  <a:lnTo>
                    <a:pt x="489" y="703"/>
                  </a:lnTo>
                  <a:lnTo>
                    <a:pt x="481" y="722"/>
                  </a:lnTo>
                  <a:lnTo>
                    <a:pt x="473" y="741"/>
                  </a:lnTo>
                  <a:lnTo>
                    <a:pt x="463" y="757"/>
                  </a:lnTo>
                  <a:lnTo>
                    <a:pt x="451" y="773"/>
                  </a:lnTo>
                  <a:lnTo>
                    <a:pt x="437" y="788"/>
                  </a:lnTo>
                  <a:lnTo>
                    <a:pt x="423" y="801"/>
                  </a:lnTo>
                  <a:lnTo>
                    <a:pt x="407" y="813"/>
                  </a:lnTo>
                  <a:lnTo>
                    <a:pt x="389" y="824"/>
                  </a:lnTo>
                  <a:lnTo>
                    <a:pt x="371" y="833"/>
                  </a:lnTo>
                  <a:lnTo>
                    <a:pt x="352" y="839"/>
                  </a:lnTo>
                  <a:lnTo>
                    <a:pt x="332" y="845"/>
                  </a:lnTo>
                  <a:lnTo>
                    <a:pt x="311" y="848"/>
                  </a:lnTo>
                  <a:lnTo>
                    <a:pt x="291" y="849"/>
                  </a:lnTo>
                  <a:lnTo>
                    <a:pt x="291" y="849"/>
                  </a:lnTo>
                  <a:lnTo>
                    <a:pt x="269" y="848"/>
                  </a:lnTo>
                  <a:lnTo>
                    <a:pt x="248" y="845"/>
                  </a:lnTo>
                  <a:lnTo>
                    <a:pt x="229" y="839"/>
                  </a:lnTo>
                  <a:lnTo>
                    <a:pt x="209" y="833"/>
                  </a:lnTo>
                  <a:lnTo>
                    <a:pt x="191" y="824"/>
                  </a:lnTo>
                  <a:lnTo>
                    <a:pt x="174" y="813"/>
                  </a:lnTo>
                  <a:lnTo>
                    <a:pt x="158" y="801"/>
                  </a:lnTo>
                  <a:lnTo>
                    <a:pt x="143" y="788"/>
                  </a:lnTo>
                  <a:lnTo>
                    <a:pt x="129" y="773"/>
                  </a:lnTo>
                  <a:lnTo>
                    <a:pt x="117" y="757"/>
                  </a:lnTo>
                  <a:lnTo>
                    <a:pt x="107" y="741"/>
                  </a:lnTo>
                  <a:lnTo>
                    <a:pt x="99" y="722"/>
                  </a:lnTo>
                  <a:lnTo>
                    <a:pt x="91" y="703"/>
                  </a:lnTo>
                  <a:lnTo>
                    <a:pt x="87" y="683"/>
                  </a:lnTo>
                  <a:lnTo>
                    <a:pt x="84" y="663"/>
                  </a:lnTo>
                  <a:lnTo>
                    <a:pt x="82" y="641"/>
                  </a:lnTo>
                  <a:lnTo>
                    <a:pt x="82" y="641"/>
                  </a:lnTo>
                  <a:lnTo>
                    <a:pt x="84" y="621"/>
                  </a:lnTo>
                  <a:lnTo>
                    <a:pt x="87" y="599"/>
                  </a:lnTo>
                  <a:lnTo>
                    <a:pt x="91" y="580"/>
                  </a:lnTo>
                  <a:lnTo>
                    <a:pt x="99" y="560"/>
                  </a:lnTo>
                  <a:lnTo>
                    <a:pt x="107" y="543"/>
                  </a:lnTo>
                  <a:lnTo>
                    <a:pt x="117" y="526"/>
                  </a:lnTo>
                  <a:lnTo>
                    <a:pt x="129" y="509"/>
                  </a:lnTo>
                  <a:lnTo>
                    <a:pt x="143" y="494"/>
                  </a:lnTo>
                  <a:lnTo>
                    <a:pt x="158" y="481"/>
                  </a:lnTo>
                  <a:lnTo>
                    <a:pt x="174" y="469"/>
                  </a:lnTo>
                  <a:lnTo>
                    <a:pt x="191" y="459"/>
                  </a:lnTo>
                  <a:lnTo>
                    <a:pt x="209" y="450"/>
                  </a:lnTo>
                  <a:lnTo>
                    <a:pt x="229" y="443"/>
                  </a:lnTo>
                  <a:lnTo>
                    <a:pt x="248" y="438"/>
                  </a:lnTo>
                  <a:lnTo>
                    <a:pt x="269" y="435"/>
                  </a:lnTo>
                  <a:lnTo>
                    <a:pt x="291" y="434"/>
                  </a:lnTo>
                  <a:lnTo>
                    <a:pt x="291" y="434"/>
                  </a:lnTo>
                  <a:lnTo>
                    <a:pt x="308" y="435"/>
                  </a:lnTo>
                  <a:lnTo>
                    <a:pt x="325" y="437"/>
                  </a:lnTo>
                  <a:lnTo>
                    <a:pt x="342" y="440"/>
                  </a:lnTo>
                  <a:lnTo>
                    <a:pt x="358" y="446"/>
                  </a:lnTo>
                  <a:lnTo>
                    <a:pt x="261" y="624"/>
                  </a:lnTo>
                  <a:lnTo>
                    <a:pt x="261" y="624"/>
                  </a:lnTo>
                  <a:lnTo>
                    <a:pt x="258" y="630"/>
                  </a:lnTo>
                  <a:lnTo>
                    <a:pt x="257" y="638"/>
                  </a:lnTo>
                  <a:lnTo>
                    <a:pt x="257" y="646"/>
                  </a:lnTo>
                  <a:lnTo>
                    <a:pt x="258" y="652"/>
                  </a:lnTo>
                  <a:lnTo>
                    <a:pt x="261" y="659"/>
                  </a:lnTo>
                  <a:lnTo>
                    <a:pt x="266" y="665"/>
                  </a:lnTo>
                  <a:lnTo>
                    <a:pt x="270" y="670"/>
                  </a:lnTo>
                  <a:lnTo>
                    <a:pt x="277" y="674"/>
                  </a:lnTo>
                  <a:lnTo>
                    <a:pt x="277" y="674"/>
                  </a:lnTo>
                  <a:lnTo>
                    <a:pt x="285" y="678"/>
                  </a:lnTo>
                  <a:lnTo>
                    <a:pt x="294" y="679"/>
                  </a:lnTo>
                  <a:lnTo>
                    <a:pt x="294" y="679"/>
                  </a:lnTo>
                  <a:lnTo>
                    <a:pt x="299" y="678"/>
                  </a:lnTo>
                  <a:lnTo>
                    <a:pt x="304" y="677"/>
                  </a:lnTo>
                  <a:lnTo>
                    <a:pt x="309" y="676"/>
                  </a:lnTo>
                  <a:lnTo>
                    <a:pt x="313" y="674"/>
                  </a:lnTo>
                  <a:lnTo>
                    <a:pt x="318" y="670"/>
                  </a:lnTo>
                  <a:lnTo>
                    <a:pt x="321" y="667"/>
                  </a:lnTo>
                  <a:lnTo>
                    <a:pt x="324" y="664"/>
                  </a:lnTo>
                  <a:lnTo>
                    <a:pt x="328" y="659"/>
                  </a:lnTo>
                  <a:lnTo>
                    <a:pt x="423" y="481"/>
                  </a:lnTo>
                  <a:lnTo>
                    <a:pt x="423" y="481"/>
                  </a:lnTo>
                  <a:lnTo>
                    <a:pt x="439" y="496"/>
                  </a:lnTo>
                  <a:lnTo>
                    <a:pt x="454" y="514"/>
                  </a:lnTo>
                  <a:lnTo>
                    <a:pt x="467" y="532"/>
                  </a:lnTo>
                  <a:lnTo>
                    <a:pt x="478" y="551"/>
                  </a:lnTo>
                  <a:lnTo>
                    <a:pt x="487" y="573"/>
                  </a:lnTo>
                  <a:lnTo>
                    <a:pt x="493" y="595"/>
                  </a:lnTo>
                  <a:lnTo>
                    <a:pt x="496" y="606"/>
                  </a:lnTo>
                  <a:lnTo>
                    <a:pt x="497" y="617"/>
                  </a:lnTo>
                  <a:lnTo>
                    <a:pt x="498" y="629"/>
                  </a:lnTo>
                  <a:lnTo>
                    <a:pt x="499" y="641"/>
                  </a:lnTo>
                  <a:lnTo>
                    <a:pt x="499" y="641"/>
                  </a:lnTo>
                  <a:close/>
                  <a:moveTo>
                    <a:pt x="1016" y="391"/>
                  </a:moveTo>
                  <a:lnTo>
                    <a:pt x="1016" y="391"/>
                  </a:lnTo>
                  <a:lnTo>
                    <a:pt x="1002" y="400"/>
                  </a:lnTo>
                  <a:lnTo>
                    <a:pt x="989" y="410"/>
                  </a:lnTo>
                  <a:lnTo>
                    <a:pt x="976" y="420"/>
                  </a:lnTo>
                  <a:lnTo>
                    <a:pt x="964" y="430"/>
                  </a:lnTo>
                  <a:lnTo>
                    <a:pt x="952" y="442"/>
                  </a:lnTo>
                  <a:lnTo>
                    <a:pt x="941" y="454"/>
                  </a:lnTo>
                  <a:lnTo>
                    <a:pt x="930" y="467"/>
                  </a:lnTo>
                  <a:lnTo>
                    <a:pt x="921" y="480"/>
                  </a:lnTo>
                  <a:lnTo>
                    <a:pt x="912" y="494"/>
                  </a:lnTo>
                  <a:lnTo>
                    <a:pt x="904" y="508"/>
                  </a:lnTo>
                  <a:lnTo>
                    <a:pt x="897" y="523"/>
                  </a:lnTo>
                  <a:lnTo>
                    <a:pt x="890" y="539"/>
                  </a:lnTo>
                  <a:lnTo>
                    <a:pt x="885" y="555"/>
                  </a:lnTo>
                  <a:lnTo>
                    <a:pt x="880" y="571"/>
                  </a:lnTo>
                  <a:lnTo>
                    <a:pt x="877" y="587"/>
                  </a:lnTo>
                  <a:lnTo>
                    <a:pt x="874" y="604"/>
                  </a:lnTo>
                  <a:lnTo>
                    <a:pt x="844" y="604"/>
                  </a:lnTo>
                  <a:lnTo>
                    <a:pt x="844" y="604"/>
                  </a:lnTo>
                  <a:lnTo>
                    <a:pt x="838" y="593"/>
                  </a:lnTo>
                  <a:lnTo>
                    <a:pt x="831" y="582"/>
                  </a:lnTo>
                  <a:lnTo>
                    <a:pt x="974" y="301"/>
                  </a:lnTo>
                  <a:lnTo>
                    <a:pt x="1016" y="391"/>
                  </a:lnTo>
                  <a:close/>
                  <a:moveTo>
                    <a:pt x="1116" y="604"/>
                  </a:moveTo>
                  <a:lnTo>
                    <a:pt x="956" y="604"/>
                  </a:lnTo>
                  <a:lnTo>
                    <a:pt x="956" y="604"/>
                  </a:lnTo>
                  <a:lnTo>
                    <a:pt x="962" y="583"/>
                  </a:lnTo>
                  <a:lnTo>
                    <a:pt x="969" y="562"/>
                  </a:lnTo>
                  <a:lnTo>
                    <a:pt x="978" y="543"/>
                  </a:lnTo>
                  <a:lnTo>
                    <a:pt x="990" y="524"/>
                  </a:lnTo>
                  <a:lnTo>
                    <a:pt x="1002" y="507"/>
                  </a:lnTo>
                  <a:lnTo>
                    <a:pt x="1017" y="492"/>
                  </a:lnTo>
                  <a:lnTo>
                    <a:pt x="1033" y="478"/>
                  </a:lnTo>
                  <a:lnTo>
                    <a:pt x="1051" y="466"/>
                  </a:lnTo>
                  <a:lnTo>
                    <a:pt x="1116" y="604"/>
                  </a:lnTo>
                  <a:close/>
                  <a:moveTo>
                    <a:pt x="914" y="252"/>
                  </a:moveTo>
                  <a:lnTo>
                    <a:pt x="764" y="547"/>
                  </a:lnTo>
                  <a:lnTo>
                    <a:pt x="764" y="547"/>
                  </a:lnTo>
                  <a:lnTo>
                    <a:pt x="759" y="546"/>
                  </a:lnTo>
                  <a:lnTo>
                    <a:pt x="759" y="546"/>
                  </a:lnTo>
                  <a:lnTo>
                    <a:pt x="756" y="546"/>
                  </a:lnTo>
                  <a:lnTo>
                    <a:pt x="618" y="252"/>
                  </a:lnTo>
                  <a:lnTo>
                    <a:pt x="914" y="252"/>
                  </a:lnTo>
                  <a:close/>
                  <a:moveTo>
                    <a:pt x="1161" y="849"/>
                  </a:moveTo>
                  <a:lnTo>
                    <a:pt x="1161" y="849"/>
                  </a:lnTo>
                  <a:lnTo>
                    <a:pt x="1143" y="848"/>
                  </a:lnTo>
                  <a:lnTo>
                    <a:pt x="1123" y="846"/>
                  </a:lnTo>
                  <a:lnTo>
                    <a:pt x="1106" y="841"/>
                  </a:lnTo>
                  <a:lnTo>
                    <a:pt x="1089" y="836"/>
                  </a:lnTo>
                  <a:lnTo>
                    <a:pt x="1072" y="829"/>
                  </a:lnTo>
                  <a:lnTo>
                    <a:pt x="1056" y="821"/>
                  </a:lnTo>
                  <a:lnTo>
                    <a:pt x="1041" y="811"/>
                  </a:lnTo>
                  <a:lnTo>
                    <a:pt x="1027" y="800"/>
                  </a:lnTo>
                  <a:lnTo>
                    <a:pt x="1014" y="788"/>
                  </a:lnTo>
                  <a:lnTo>
                    <a:pt x="1002" y="775"/>
                  </a:lnTo>
                  <a:lnTo>
                    <a:pt x="991" y="761"/>
                  </a:lnTo>
                  <a:lnTo>
                    <a:pt x="981" y="746"/>
                  </a:lnTo>
                  <a:lnTo>
                    <a:pt x="974" y="730"/>
                  </a:lnTo>
                  <a:lnTo>
                    <a:pt x="966" y="714"/>
                  </a:lnTo>
                  <a:lnTo>
                    <a:pt x="961" y="696"/>
                  </a:lnTo>
                  <a:lnTo>
                    <a:pt x="956" y="679"/>
                  </a:lnTo>
                  <a:lnTo>
                    <a:pt x="1174" y="679"/>
                  </a:lnTo>
                  <a:lnTo>
                    <a:pt x="1174" y="679"/>
                  </a:lnTo>
                  <a:lnTo>
                    <a:pt x="1183" y="677"/>
                  </a:lnTo>
                  <a:lnTo>
                    <a:pt x="1192" y="674"/>
                  </a:lnTo>
                  <a:lnTo>
                    <a:pt x="1199" y="668"/>
                  </a:lnTo>
                  <a:lnTo>
                    <a:pt x="1206" y="662"/>
                  </a:lnTo>
                  <a:lnTo>
                    <a:pt x="1206" y="662"/>
                  </a:lnTo>
                  <a:lnTo>
                    <a:pt x="1209" y="653"/>
                  </a:lnTo>
                  <a:lnTo>
                    <a:pt x="1211" y="643"/>
                  </a:lnTo>
                  <a:lnTo>
                    <a:pt x="1210" y="635"/>
                  </a:lnTo>
                  <a:lnTo>
                    <a:pt x="1208" y="626"/>
                  </a:lnTo>
                  <a:lnTo>
                    <a:pt x="1120" y="438"/>
                  </a:lnTo>
                  <a:lnTo>
                    <a:pt x="1120" y="438"/>
                  </a:lnTo>
                  <a:lnTo>
                    <a:pt x="1141" y="435"/>
                  </a:lnTo>
                  <a:lnTo>
                    <a:pt x="1161" y="434"/>
                  </a:lnTo>
                  <a:lnTo>
                    <a:pt x="1161" y="434"/>
                  </a:lnTo>
                  <a:lnTo>
                    <a:pt x="1183" y="435"/>
                  </a:lnTo>
                  <a:lnTo>
                    <a:pt x="1204" y="438"/>
                  </a:lnTo>
                  <a:lnTo>
                    <a:pt x="1223" y="443"/>
                  </a:lnTo>
                  <a:lnTo>
                    <a:pt x="1243" y="450"/>
                  </a:lnTo>
                  <a:lnTo>
                    <a:pt x="1260" y="459"/>
                  </a:lnTo>
                  <a:lnTo>
                    <a:pt x="1277" y="469"/>
                  </a:lnTo>
                  <a:lnTo>
                    <a:pt x="1294" y="481"/>
                  </a:lnTo>
                  <a:lnTo>
                    <a:pt x="1309" y="494"/>
                  </a:lnTo>
                  <a:lnTo>
                    <a:pt x="1322" y="509"/>
                  </a:lnTo>
                  <a:lnTo>
                    <a:pt x="1334" y="526"/>
                  </a:lnTo>
                  <a:lnTo>
                    <a:pt x="1345" y="543"/>
                  </a:lnTo>
                  <a:lnTo>
                    <a:pt x="1353" y="560"/>
                  </a:lnTo>
                  <a:lnTo>
                    <a:pt x="1360" y="580"/>
                  </a:lnTo>
                  <a:lnTo>
                    <a:pt x="1365" y="599"/>
                  </a:lnTo>
                  <a:lnTo>
                    <a:pt x="1368" y="621"/>
                  </a:lnTo>
                  <a:lnTo>
                    <a:pt x="1369" y="641"/>
                  </a:lnTo>
                  <a:lnTo>
                    <a:pt x="1369" y="641"/>
                  </a:lnTo>
                  <a:lnTo>
                    <a:pt x="1368" y="663"/>
                  </a:lnTo>
                  <a:lnTo>
                    <a:pt x="1365" y="683"/>
                  </a:lnTo>
                  <a:lnTo>
                    <a:pt x="1360" y="703"/>
                  </a:lnTo>
                  <a:lnTo>
                    <a:pt x="1353" y="722"/>
                  </a:lnTo>
                  <a:lnTo>
                    <a:pt x="1345" y="741"/>
                  </a:lnTo>
                  <a:lnTo>
                    <a:pt x="1334" y="757"/>
                  </a:lnTo>
                  <a:lnTo>
                    <a:pt x="1322" y="773"/>
                  </a:lnTo>
                  <a:lnTo>
                    <a:pt x="1309" y="788"/>
                  </a:lnTo>
                  <a:lnTo>
                    <a:pt x="1294" y="801"/>
                  </a:lnTo>
                  <a:lnTo>
                    <a:pt x="1277" y="813"/>
                  </a:lnTo>
                  <a:lnTo>
                    <a:pt x="1260" y="824"/>
                  </a:lnTo>
                  <a:lnTo>
                    <a:pt x="1243" y="833"/>
                  </a:lnTo>
                  <a:lnTo>
                    <a:pt x="1223" y="839"/>
                  </a:lnTo>
                  <a:lnTo>
                    <a:pt x="1204" y="845"/>
                  </a:lnTo>
                  <a:lnTo>
                    <a:pt x="1183" y="848"/>
                  </a:lnTo>
                  <a:lnTo>
                    <a:pt x="1161" y="849"/>
                  </a:lnTo>
                  <a:lnTo>
                    <a:pt x="1161" y="84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094" name="Group 2093">
            <a:extLst>
              <a:ext uri="{FF2B5EF4-FFF2-40B4-BE49-F238E27FC236}">
                <a16:creationId xmlns:a16="http://schemas.microsoft.com/office/drawing/2014/main" id="{953BE572-BB13-4054-9EC9-EB652B19F02F}"/>
              </a:ext>
            </a:extLst>
          </p:cNvPr>
          <p:cNvGrpSpPr/>
          <p:nvPr/>
        </p:nvGrpSpPr>
        <p:grpSpPr>
          <a:xfrm>
            <a:off x="5339276" y="3205728"/>
            <a:ext cx="612775" cy="612775"/>
            <a:chOff x="3506912" y="3806921"/>
            <a:chExt cx="612775" cy="612775"/>
          </a:xfrm>
        </p:grpSpPr>
        <p:sp>
          <p:nvSpPr>
            <p:cNvPr id="2095" name="Oval 2094">
              <a:extLst>
                <a:ext uri="{FF2B5EF4-FFF2-40B4-BE49-F238E27FC236}">
                  <a16:creationId xmlns:a16="http://schemas.microsoft.com/office/drawing/2014/main" id="{6A7B1442-1079-4473-9B41-270514265B0C}"/>
                </a:ext>
              </a:extLst>
            </p:cNvPr>
            <p:cNvSpPr/>
            <p:nvPr/>
          </p:nvSpPr>
          <p:spPr bwMode="ltGray">
            <a:xfrm>
              <a:off x="350691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96" name="Freeform 533">
              <a:extLst>
                <a:ext uri="{FF2B5EF4-FFF2-40B4-BE49-F238E27FC236}">
                  <a16:creationId xmlns:a16="http://schemas.microsoft.com/office/drawing/2014/main" id="{1F75A56C-D5E0-4413-9C85-428C372AFE73}"/>
                </a:ext>
              </a:extLst>
            </p:cNvPr>
            <p:cNvSpPr>
              <a:spLocks noEditPoints="1"/>
            </p:cNvSpPr>
            <p:nvPr/>
          </p:nvSpPr>
          <p:spPr bwMode="auto">
            <a:xfrm>
              <a:off x="3704888" y="3916554"/>
              <a:ext cx="303213" cy="396875"/>
            </a:xfrm>
            <a:custGeom>
              <a:avLst/>
              <a:gdLst>
                <a:gd name="T0" fmla="*/ 54 w 573"/>
                <a:gd name="T1" fmla="*/ 28 h 750"/>
                <a:gd name="T2" fmla="*/ 107 w 573"/>
                <a:gd name="T3" fmla="*/ 0 h 750"/>
                <a:gd name="T4" fmla="*/ 362 w 573"/>
                <a:gd name="T5" fmla="*/ 11 h 750"/>
                <a:gd name="T6" fmla="*/ 391 w 573"/>
                <a:gd name="T7" fmla="*/ 65 h 750"/>
                <a:gd name="T8" fmla="*/ 269 w 573"/>
                <a:gd name="T9" fmla="*/ 313 h 750"/>
                <a:gd name="T10" fmla="*/ 275 w 573"/>
                <a:gd name="T11" fmla="*/ 325 h 750"/>
                <a:gd name="T12" fmla="*/ 288 w 573"/>
                <a:gd name="T13" fmla="*/ 331 h 750"/>
                <a:gd name="T14" fmla="*/ 304 w 573"/>
                <a:gd name="T15" fmla="*/ 323 h 750"/>
                <a:gd name="T16" fmla="*/ 306 w 573"/>
                <a:gd name="T17" fmla="*/ 308 h 750"/>
                <a:gd name="T18" fmla="*/ 295 w 573"/>
                <a:gd name="T19" fmla="*/ 295 h 750"/>
                <a:gd name="T20" fmla="*/ 280 w 573"/>
                <a:gd name="T21" fmla="*/ 295 h 750"/>
                <a:gd name="T22" fmla="*/ 269 w 573"/>
                <a:gd name="T23" fmla="*/ 308 h 750"/>
                <a:gd name="T24" fmla="*/ 198 w 573"/>
                <a:gd name="T25" fmla="*/ 316 h 750"/>
                <a:gd name="T26" fmla="*/ 209 w 573"/>
                <a:gd name="T27" fmla="*/ 330 h 750"/>
                <a:gd name="T28" fmla="*/ 224 w 573"/>
                <a:gd name="T29" fmla="*/ 330 h 750"/>
                <a:gd name="T30" fmla="*/ 235 w 573"/>
                <a:gd name="T31" fmla="*/ 316 h 750"/>
                <a:gd name="T32" fmla="*/ 233 w 573"/>
                <a:gd name="T33" fmla="*/ 301 h 750"/>
                <a:gd name="T34" fmla="*/ 217 w 573"/>
                <a:gd name="T35" fmla="*/ 294 h 750"/>
                <a:gd name="T36" fmla="*/ 203 w 573"/>
                <a:gd name="T37" fmla="*/ 299 h 750"/>
                <a:gd name="T38" fmla="*/ 198 w 573"/>
                <a:gd name="T39" fmla="*/ 313 h 750"/>
                <a:gd name="T40" fmla="*/ 130 w 573"/>
                <a:gd name="T41" fmla="*/ 323 h 750"/>
                <a:gd name="T42" fmla="*/ 146 w 573"/>
                <a:gd name="T43" fmla="*/ 331 h 750"/>
                <a:gd name="T44" fmla="*/ 159 w 573"/>
                <a:gd name="T45" fmla="*/ 325 h 750"/>
                <a:gd name="T46" fmla="*/ 165 w 573"/>
                <a:gd name="T47" fmla="*/ 313 h 750"/>
                <a:gd name="T48" fmla="*/ 156 w 573"/>
                <a:gd name="T49" fmla="*/ 297 h 750"/>
                <a:gd name="T50" fmla="*/ 142 w 573"/>
                <a:gd name="T51" fmla="*/ 294 h 750"/>
                <a:gd name="T52" fmla="*/ 128 w 573"/>
                <a:gd name="T53" fmla="*/ 305 h 750"/>
                <a:gd name="T54" fmla="*/ 92 w 573"/>
                <a:gd name="T55" fmla="*/ 213 h 750"/>
                <a:gd name="T56" fmla="*/ 101 w 573"/>
                <a:gd name="T57" fmla="*/ 236 h 750"/>
                <a:gd name="T58" fmla="*/ 311 w 573"/>
                <a:gd name="T59" fmla="*/ 245 h 750"/>
                <a:gd name="T60" fmla="*/ 333 w 573"/>
                <a:gd name="T61" fmla="*/ 236 h 750"/>
                <a:gd name="T62" fmla="*/ 342 w 573"/>
                <a:gd name="T63" fmla="*/ 86 h 750"/>
                <a:gd name="T64" fmla="*/ 333 w 573"/>
                <a:gd name="T65" fmla="*/ 64 h 750"/>
                <a:gd name="T66" fmla="*/ 123 w 573"/>
                <a:gd name="T67" fmla="*/ 53 h 750"/>
                <a:gd name="T68" fmla="*/ 101 w 573"/>
                <a:gd name="T69" fmla="*/ 64 h 750"/>
                <a:gd name="T70" fmla="*/ 92 w 573"/>
                <a:gd name="T71" fmla="*/ 86 h 750"/>
                <a:gd name="T72" fmla="*/ 5 w 573"/>
                <a:gd name="T73" fmla="*/ 698 h 750"/>
                <a:gd name="T74" fmla="*/ 3 w 573"/>
                <a:gd name="T75" fmla="*/ 261 h 750"/>
                <a:gd name="T76" fmla="*/ 11 w 573"/>
                <a:gd name="T77" fmla="*/ 424 h 750"/>
                <a:gd name="T78" fmla="*/ 0 w 573"/>
                <a:gd name="T79" fmla="*/ 414 h 750"/>
                <a:gd name="T80" fmla="*/ 411 w 573"/>
                <a:gd name="T81" fmla="*/ 172 h 750"/>
                <a:gd name="T82" fmla="*/ 425 w 573"/>
                <a:gd name="T83" fmla="*/ 94 h 750"/>
                <a:gd name="T84" fmla="*/ 492 w 573"/>
                <a:gd name="T85" fmla="*/ 241 h 750"/>
                <a:gd name="T86" fmla="*/ 572 w 573"/>
                <a:gd name="T87" fmla="*/ 559 h 750"/>
                <a:gd name="T88" fmla="*/ 564 w 573"/>
                <a:gd name="T89" fmla="*/ 598 h 750"/>
                <a:gd name="T90" fmla="*/ 496 w 573"/>
                <a:gd name="T91" fmla="*/ 627 h 750"/>
                <a:gd name="T92" fmla="*/ 457 w 573"/>
                <a:gd name="T93" fmla="*/ 620 h 750"/>
                <a:gd name="T94" fmla="*/ 405 w 573"/>
                <a:gd name="T95" fmla="*/ 399 h 750"/>
                <a:gd name="T96" fmla="*/ 470 w 573"/>
                <a:gd name="T97" fmla="*/ 603 h 750"/>
                <a:gd name="T98" fmla="*/ 490 w 573"/>
                <a:gd name="T99" fmla="*/ 606 h 750"/>
                <a:gd name="T100" fmla="*/ 547 w 573"/>
                <a:gd name="T101" fmla="*/ 585 h 750"/>
                <a:gd name="T102" fmla="*/ 551 w 573"/>
                <a:gd name="T103" fmla="*/ 566 h 750"/>
                <a:gd name="T104" fmla="*/ 440 w 573"/>
                <a:gd name="T105" fmla="*/ 257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73" h="750">
                  <a:moveTo>
                    <a:pt x="43" y="65"/>
                  </a:moveTo>
                  <a:lnTo>
                    <a:pt x="43" y="65"/>
                  </a:lnTo>
                  <a:lnTo>
                    <a:pt x="44" y="52"/>
                  </a:lnTo>
                  <a:lnTo>
                    <a:pt x="49" y="40"/>
                  </a:lnTo>
                  <a:lnTo>
                    <a:pt x="54" y="28"/>
                  </a:lnTo>
                  <a:lnTo>
                    <a:pt x="62" y="19"/>
                  </a:lnTo>
                  <a:lnTo>
                    <a:pt x="71" y="11"/>
                  </a:lnTo>
                  <a:lnTo>
                    <a:pt x="82" y="6"/>
                  </a:lnTo>
                  <a:lnTo>
                    <a:pt x="95" y="1"/>
                  </a:lnTo>
                  <a:lnTo>
                    <a:pt x="107" y="0"/>
                  </a:lnTo>
                  <a:lnTo>
                    <a:pt x="327" y="0"/>
                  </a:lnTo>
                  <a:lnTo>
                    <a:pt x="327" y="0"/>
                  </a:lnTo>
                  <a:lnTo>
                    <a:pt x="339" y="1"/>
                  </a:lnTo>
                  <a:lnTo>
                    <a:pt x="351" y="6"/>
                  </a:lnTo>
                  <a:lnTo>
                    <a:pt x="362" y="11"/>
                  </a:lnTo>
                  <a:lnTo>
                    <a:pt x="372" y="19"/>
                  </a:lnTo>
                  <a:lnTo>
                    <a:pt x="380" y="28"/>
                  </a:lnTo>
                  <a:lnTo>
                    <a:pt x="385" y="40"/>
                  </a:lnTo>
                  <a:lnTo>
                    <a:pt x="389" y="52"/>
                  </a:lnTo>
                  <a:lnTo>
                    <a:pt x="391" y="65"/>
                  </a:lnTo>
                  <a:lnTo>
                    <a:pt x="391" y="682"/>
                  </a:lnTo>
                  <a:lnTo>
                    <a:pt x="43" y="682"/>
                  </a:lnTo>
                  <a:lnTo>
                    <a:pt x="43" y="65"/>
                  </a:lnTo>
                  <a:lnTo>
                    <a:pt x="43" y="65"/>
                  </a:lnTo>
                  <a:close/>
                  <a:moveTo>
                    <a:pt x="269" y="313"/>
                  </a:moveTo>
                  <a:lnTo>
                    <a:pt x="269" y="313"/>
                  </a:lnTo>
                  <a:lnTo>
                    <a:pt x="269" y="316"/>
                  </a:lnTo>
                  <a:lnTo>
                    <a:pt x="270" y="320"/>
                  </a:lnTo>
                  <a:lnTo>
                    <a:pt x="272" y="323"/>
                  </a:lnTo>
                  <a:lnTo>
                    <a:pt x="275" y="325"/>
                  </a:lnTo>
                  <a:lnTo>
                    <a:pt x="277" y="329"/>
                  </a:lnTo>
                  <a:lnTo>
                    <a:pt x="280" y="330"/>
                  </a:lnTo>
                  <a:lnTo>
                    <a:pt x="284" y="331"/>
                  </a:lnTo>
                  <a:lnTo>
                    <a:pt x="288" y="331"/>
                  </a:lnTo>
                  <a:lnTo>
                    <a:pt x="288" y="331"/>
                  </a:lnTo>
                  <a:lnTo>
                    <a:pt x="292" y="331"/>
                  </a:lnTo>
                  <a:lnTo>
                    <a:pt x="295" y="330"/>
                  </a:lnTo>
                  <a:lnTo>
                    <a:pt x="298" y="329"/>
                  </a:lnTo>
                  <a:lnTo>
                    <a:pt x="302" y="325"/>
                  </a:lnTo>
                  <a:lnTo>
                    <a:pt x="304" y="323"/>
                  </a:lnTo>
                  <a:lnTo>
                    <a:pt x="305" y="320"/>
                  </a:lnTo>
                  <a:lnTo>
                    <a:pt x="306" y="316"/>
                  </a:lnTo>
                  <a:lnTo>
                    <a:pt x="307" y="313"/>
                  </a:lnTo>
                  <a:lnTo>
                    <a:pt x="307" y="313"/>
                  </a:lnTo>
                  <a:lnTo>
                    <a:pt x="306" y="308"/>
                  </a:lnTo>
                  <a:lnTo>
                    <a:pt x="305" y="305"/>
                  </a:lnTo>
                  <a:lnTo>
                    <a:pt x="304" y="301"/>
                  </a:lnTo>
                  <a:lnTo>
                    <a:pt x="302" y="299"/>
                  </a:lnTo>
                  <a:lnTo>
                    <a:pt x="298" y="297"/>
                  </a:lnTo>
                  <a:lnTo>
                    <a:pt x="295" y="295"/>
                  </a:lnTo>
                  <a:lnTo>
                    <a:pt x="292" y="294"/>
                  </a:lnTo>
                  <a:lnTo>
                    <a:pt x="288" y="294"/>
                  </a:lnTo>
                  <a:lnTo>
                    <a:pt x="288" y="294"/>
                  </a:lnTo>
                  <a:lnTo>
                    <a:pt x="284" y="294"/>
                  </a:lnTo>
                  <a:lnTo>
                    <a:pt x="280" y="295"/>
                  </a:lnTo>
                  <a:lnTo>
                    <a:pt x="277" y="297"/>
                  </a:lnTo>
                  <a:lnTo>
                    <a:pt x="275" y="299"/>
                  </a:lnTo>
                  <a:lnTo>
                    <a:pt x="272" y="301"/>
                  </a:lnTo>
                  <a:lnTo>
                    <a:pt x="270" y="305"/>
                  </a:lnTo>
                  <a:lnTo>
                    <a:pt x="269" y="308"/>
                  </a:lnTo>
                  <a:lnTo>
                    <a:pt x="269" y="313"/>
                  </a:lnTo>
                  <a:lnTo>
                    <a:pt x="269" y="313"/>
                  </a:lnTo>
                  <a:close/>
                  <a:moveTo>
                    <a:pt x="198" y="313"/>
                  </a:moveTo>
                  <a:lnTo>
                    <a:pt x="198" y="313"/>
                  </a:lnTo>
                  <a:lnTo>
                    <a:pt x="198" y="316"/>
                  </a:lnTo>
                  <a:lnTo>
                    <a:pt x="199" y="320"/>
                  </a:lnTo>
                  <a:lnTo>
                    <a:pt x="201" y="323"/>
                  </a:lnTo>
                  <a:lnTo>
                    <a:pt x="203" y="325"/>
                  </a:lnTo>
                  <a:lnTo>
                    <a:pt x="207" y="329"/>
                  </a:lnTo>
                  <a:lnTo>
                    <a:pt x="209" y="330"/>
                  </a:lnTo>
                  <a:lnTo>
                    <a:pt x="212" y="331"/>
                  </a:lnTo>
                  <a:lnTo>
                    <a:pt x="217" y="331"/>
                  </a:lnTo>
                  <a:lnTo>
                    <a:pt x="217" y="331"/>
                  </a:lnTo>
                  <a:lnTo>
                    <a:pt x="220" y="331"/>
                  </a:lnTo>
                  <a:lnTo>
                    <a:pt x="224" y="330"/>
                  </a:lnTo>
                  <a:lnTo>
                    <a:pt x="227" y="329"/>
                  </a:lnTo>
                  <a:lnTo>
                    <a:pt x="231" y="325"/>
                  </a:lnTo>
                  <a:lnTo>
                    <a:pt x="233" y="323"/>
                  </a:lnTo>
                  <a:lnTo>
                    <a:pt x="234" y="320"/>
                  </a:lnTo>
                  <a:lnTo>
                    <a:pt x="235" y="316"/>
                  </a:lnTo>
                  <a:lnTo>
                    <a:pt x="236" y="313"/>
                  </a:lnTo>
                  <a:lnTo>
                    <a:pt x="236" y="313"/>
                  </a:lnTo>
                  <a:lnTo>
                    <a:pt x="235" y="308"/>
                  </a:lnTo>
                  <a:lnTo>
                    <a:pt x="234" y="305"/>
                  </a:lnTo>
                  <a:lnTo>
                    <a:pt x="233" y="301"/>
                  </a:lnTo>
                  <a:lnTo>
                    <a:pt x="231" y="299"/>
                  </a:lnTo>
                  <a:lnTo>
                    <a:pt x="227" y="297"/>
                  </a:lnTo>
                  <a:lnTo>
                    <a:pt x="224" y="295"/>
                  </a:lnTo>
                  <a:lnTo>
                    <a:pt x="220" y="294"/>
                  </a:lnTo>
                  <a:lnTo>
                    <a:pt x="217" y="294"/>
                  </a:lnTo>
                  <a:lnTo>
                    <a:pt x="217" y="294"/>
                  </a:lnTo>
                  <a:lnTo>
                    <a:pt x="212" y="294"/>
                  </a:lnTo>
                  <a:lnTo>
                    <a:pt x="209" y="295"/>
                  </a:lnTo>
                  <a:lnTo>
                    <a:pt x="207" y="297"/>
                  </a:lnTo>
                  <a:lnTo>
                    <a:pt x="203" y="299"/>
                  </a:lnTo>
                  <a:lnTo>
                    <a:pt x="201" y="301"/>
                  </a:lnTo>
                  <a:lnTo>
                    <a:pt x="199" y="305"/>
                  </a:lnTo>
                  <a:lnTo>
                    <a:pt x="198" y="308"/>
                  </a:lnTo>
                  <a:lnTo>
                    <a:pt x="198" y="313"/>
                  </a:lnTo>
                  <a:lnTo>
                    <a:pt x="198" y="313"/>
                  </a:lnTo>
                  <a:close/>
                  <a:moveTo>
                    <a:pt x="127" y="313"/>
                  </a:moveTo>
                  <a:lnTo>
                    <a:pt x="127" y="313"/>
                  </a:lnTo>
                  <a:lnTo>
                    <a:pt x="128" y="316"/>
                  </a:lnTo>
                  <a:lnTo>
                    <a:pt x="128" y="320"/>
                  </a:lnTo>
                  <a:lnTo>
                    <a:pt x="130" y="323"/>
                  </a:lnTo>
                  <a:lnTo>
                    <a:pt x="132" y="325"/>
                  </a:lnTo>
                  <a:lnTo>
                    <a:pt x="136" y="329"/>
                  </a:lnTo>
                  <a:lnTo>
                    <a:pt x="138" y="330"/>
                  </a:lnTo>
                  <a:lnTo>
                    <a:pt x="142" y="331"/>
                  </a:lnTo>
                  <a:lnTo>
                    <a:pt x="146" y="331"/>
                  </a:lnTo>
                  <a:lnTo>
                    <a:pt x="146" y="331"/>
                  </a:lnTo>
                  <a:lnTo>
                    <a:pt x="149" y="331"/>
                  </a:lnTo>
                  <a:lnTo>
                    <a:pt x="153" y="330"/>
                  </a:lnTo>
                  <a:lnTo>
                    <a:pt x="156" y="329"/>
                  </a:lnTo>
                  <a:lnTo>
                    <a:pt x="159" y="325"/>
                  </a:lnTo>
                  <a:lnTo>
                    <a:pt x="162" y="323"/>
                  </a:lnTo>
                  <a:lnTo>
                    <a:pt x="163" y="320"/>
                  </a:lnTo>
                  <a:lnTo>
                    <a:pt x="164" y="316"/>
                  </a:lnTo>
                  <a:lnTo>
                    <a:pt x="165" y="313"/>
                  </a:lnTo>
                  <a:lnTo>
                    <a:pt x="165" y="313"/>
                  </a:lnTo>
                  <a:lnTo>
                    <a:pt x="164" y="308"/>
                  </a:lnTo>
                  <a:lnTo>
                    <a:pt x="163" y="305"/>
                  </a:lnTo>
                  <a:lnTo>
                    <a:pt x="162" y="301"/>
                  </a:lnTo>
                  <a:lnTo>
                    <a:pt x="159" y="299"/>
                  </a:lnTo>
                  <a:lnTo>
                    <a:pt x="156" y="297"/>
                  </a:lnTo>
                  <a:lnTo>
                    <a:pt x="153" y="295"/>
                  </a:lnTo>
                  <a:lnTo>
                    <a:pt x="149" y="294"/>
                  </a:lnTo>
                  <a:lnTo>
                    <a:pt x="146" y="294"/>
                  </a:lnTo>
                  <a:lnTo>
                    <a:pt x="146" y="294"/>
                  </a:lnTo>
                  <a:lnTo>
                    <a:pt x="142" y="294"/>
                  </a:lnTo>
                  <a:lnTo>
                    <a:pt x="138" y="295"/>
                  </a:lnTo>
                  <a:lnTo>
                    <a:pt x="136" y="297"/>
                  </a:lnTo>
                  <a:lnTo>
                    <a:pt x="132" y="299"/>
                  </a:lnTo>
                  <a:lnTo>
                    <a:pt x="130" y="301"/>
                  </a:lnTo>
                  <a:lnTo>
                    <a:pt x="128" y="305"/>
                  </a:lnTo>
                  <a:lnTo>
                    <a:pt x="128" y="308"/>
                  </a:lnTo>
                  <a:lnTo>
                    <a:pt x="127" y="313"/>
                  </a:lnTo>
                  <a:lnTo>
                    <a:pt x="127" y="313"/>
                  </a:lnTo>
                  <a:close/>
                  <a:moveTo>
                    <a:pt x="92" y="86"/>
                  </a:moveTo>
                  <a:lnTo>
                    <a:pt x="92" y="213"/>
                  </a:lnTo>
                  <a:lnTo>
                    <a:pt x="92" y="213"/>
                  </a:lnTo>
                  <a:lnTo>
                    <a:pt x="92" y="220"/>
                  </a:lnTo>
                  <a:lnTo>
                    <a:pt x="94" y="226"/>
                  </a:lnTo>
                  <a:lnTo>
                    <a:pt x="97" y="231"/>
                  </a:lnTo>
                  <a:lnTo>
                    <a:pt x="101" y="236"/>
                  </a:lnTo>
                  <a:lnTo>
                    <a:pt x="105" y="239"/>
                  </a:lnTo>
                  <a:lnTo>
                    <a:pt x="111" y="243"/>
                  </a:lnTo>
                  <a:lnTo>
                    <a:pt x="116" y="245"/>
                  </a:lnTo>
                  <a:lnTo>
                    <a:pt x="123" y="245"/>
                  </a:lnTo>
                  <a:lnTo>
                    <a:pt x="311" y="245"/>
                  </a:lnTo>
                  <a:lnTo>
                    <a:pt x="311" y="245"/>
                  </a:lnTo>
                  <a:lnTo>
                    <a:pt x="316" y="245"/>
                  </a:lnTo>
                  <a:lnTo>
                    <a:pt x="323" y="243"/>
                  </a:lnTo>
                  <a:lnTo>
                    <a:pt x="329" y="239"/>
                  </a:lnTo>
                  <a:lnTo>
                    <a:pt x="333" y="236"/>
                  </a:lnTo>
                  <a:lnTo>
                    <a:pt x="337" y="231"/>
                  </a:lnTo>
                  <a:lnTo>
                    <a:pt x="340" y="226"/>
                  </a:lnTo>
                  <a:lnTo>
                    <a:pt x="342" y="220"/>
                  </a:lnTo>
                  <a:lnTo>
                    <a:pt x="342" y="213"/>
                  </a:lnTo>
                  <a:lnTo>
                    <a:pt x="342" y="86"/>
                  </a:lnTo>
                  <a:lnTo>
                    <a:pt x="342" y="86"/>
                  </a:lnTo>
                  <a:lnTo>
                    <a:pt x="342" y="79"/>
                  </a:lnTo>
                  <a:lnTo>
                    <a:pt x="340" y="74"/>
                  </a:lnTo>
                  <a:lnTo>
                    <a:pt x="337" y="68"/>
                  </a:lnTo>
                  <a:lnTo>
                    <a:pt x="333" y="64"/>
                  </a:lnTo>
                  <a:lnTo>
                    <a:pt x="329" y="59"/>
                  </a:lnTo>
                  <a:lnTo>
                    <a:pt x="323" y="57"/>
                  </a:lnTo>
                  <a:lnTo>
                    <a:pt x="316" y="54"/>
                  </a:lnTo>
                  <a:lnTo>
                    <a:pt x="311" y="53"/>
                  </a:lnTo>
                  <a:lnTo>
                    <a:pt x="123" y="53"/>
                  </a:lnTo>
                  <a:lnTo>
                    <a:pt x="123" y="53"/>
                  </a:lnTo>
                  <a:lnTo>
                    <a:pt x="116" y="54"/>
                  </a:lnTo>
                  <a:lnTo>
                    <a:pt x="111" y="57"/>
                  </a:lnTo>
                  <a:lnTo>
                    <a:pt x="105" y="59"/>
                  </a:lnTo>
                  <a:lnTo>
                    <a:pt x="101" y="64"/>
                  </a:lnTo>
                  <a:lnTo>
                    <a:pt x="97" y="68"/>
                  </a:lnTo>
                  <a:lnTo>
                    <a:pt x="94" y="74"/>
                  </a:lnTo>
                  <a:lnTo>
                    <a:pt x="92" y="79"/>
                  </a:lnTo>
                  <a:lnTo>
                    <a:pt x="92" y="86"/>
                  </a:lnTo>
                  <a:lnTo>
                    <a:pt x="92" y="86"/>
                  </a:lnTo>
                  <a:close/>
                  <a:moveTo>
                    <a:pt x="5" y="698"/>
                  </a:moveTo>
                  <a:lnTo>
                    <a:pt x="428" y="698"/>
                  </a:lnTo>
                  <a:lnTo>
                    <a:pt x="428" y="750"/>
                  </a:lnTo>
                  <a:lnTo>
                    <a:pt x="5" y="750"/>
                  </a:lnTo>
                  <a:lnTo>
                    <a:pt x="5" y="698"/>
                  </a:lnTo>
                  <a:lnTo>
                    <a:pt x="5" y="698"/>
                  </a:lnTo>
                  <a:close/>
                  <a:moveTo>
                    <a:pt x="0" y="269"/>
                  </a:moveTo>
                  <a:lnTo>
                    <a:pt x="0" y="269"/>
                  </a:lnTo>
                  <a:lnTo>
                    <a:pt x="1" y="264"/>
                  </a:lnTo>
                  <a:lnTo>
                    <a:pt x="3" y="261"/>
                  </a:lnTo>
                  <a:lnTo>
                    <a:pt x="7" y="258"/>
                  </a:lnTo>
                  <a:lnTo>
                    <a:pt x="11" y="257"/>
                  </a:lnTo>
                  <a:lnTo>
                    <a:pt x="29" y="257"/>
                  </a:lnTo>
                  <a:lnTo>
                    <a:pt x="29" y="424"/>
                  </a:lnTo>
                  <a:lnTo>
                    <a:pt x="11" y="424"/>
                  </a:lnTo>
                  <a:lnTo>
                    <a:pt x="11" y="424"/>
                  </a:lnTo>
                  <a:lnTo>
                    <a:pt x="7" y="424"/>
                  </a:lnTo>
                  <a:lnTo>
                    <a:pt x="3" y="422"/>
                  </a:lnTo>
                  <a:lnTo>
                    <a:pt x="1" y="418"/>
                  </a:lnTo>
                  <a:lnTo>
                    <a:pt x="0" y="414"/>
                  </a:lnTo>
                  <a:lnTo>
                    <a:pt x="0" y="269"/>
                  </a:lnTo>
                  <a:lnTo>
                    <a:pt x="0" y="269"/>
                  </a:lnTo>
                  <a:close/>
                  <a:moveTo>
                    <a:pt x="411" y="177"/>
                  </a:moveTo>
                  <a:lnTo>
                    <a:pt x="411" y="177"/>
                  </a:lnTo>
                  <a:lnTo>
                    <a:pt x="411" y="172"/>
                  </a:lnTo>
                  <a:lnTo>
                    <a:pt x="412" y="169"/>
                  </a:lnTo>
                  <a:lnTo>
                    <a:pt x="415" y="165"/>
                  </a:lnTo>
                  <a:lnTo>
                    <a:pt x="419" y="163"/>
                  </a:lnTo>
                  <a:lnTo>
                    <a:pt x="435" y="159"/>
                  </a:lnTo>
                  <a:lnTo>
                    <a:pt x="425" y="94"/>
                  </a:lnTo>
                  <a:lnTo>
                    <a:pt x="447" y="87"/>
                  </a:lnTo>
                  <a:lnTo>
                    <a:pt x="492" y="232"/>
                  </a:lnTo>
                  <a:lnTo>
                    <a:pt x="492" y="232"/>
                  </a:lnTo>
                  <a:lnTo>
                    <a:pt x="493" y="237"/>
                  </a:lnTo>
                  <a:lnTo>
                    <a:pt x="492" y="241"/>
                  </a:lnTo>
                  <a:lnTo>
                    <a:pt x="488" y="245"/>
                  </a:lnTo>
                  <a:lnTo>
                    <a:pt x="485" y="246"/>
                  </a:lnTo>
                  <a:lnTo>
                    <a:pt x="477" y="248"/>
                  </a:lnTo>
                  <a:lnTo>
                    <a:pt x="572" y="559"/>
                  </a:lnTo>
                  <a:lnTo>
                    <a:pt x="572" y="559"/>
                  </a:lnTo>
                  <a:lnTo>
                    <a:pt x="573" y="568"/>
                  </a:lnTo>
                  <a:lnTo>
                    <a:pt x="573" y="576"/>
                  </a:lnTo>
                  <a:lnTo>
                    <a:pt x="572" y="585"/>
                  </a:lnTo>
                  <a:lnTo>
                    <a:pt x="568" y="592"/>
                  </a:lnTo>
                  <a:lnTo>
                    <a:pt x="564" y="598"/>
                  </a:lnTo>
                  <a:lnTo>
                    <a:pt x="558" y="605"/>
                  </a:lnTo>
                  <a:lnTo>
                    <a:pt x="551" y="610"/>
                  </a:lnTo>
                  <a:lnTo>
                    <a:pt x="544" y="613"/>
                  </a:lnTo>
                  <a:lnTo>
                    <a:pt x="496" y="627"/>
                  </a:lnTo>
                  <a:lnTo>
                    <a:pt x="496" y="627"/>
                  </a:lnTo>
                  <a:lnTo>
                    <a:pt x="488" y="629"/>
                  </a:lnTo>
                  <a:lnTo>
                    <a:pt x="479" y="629"/>
                  </a:lnTo>
                  <a:lnTo>
                    <a:pt x="471" y="627"/>
                  </a:lnTo>
                  <a:lnTo>
                    <a:pt x="463" y="624"/>
                  </a:lnTo>
                  <a:lnTo>
                    <a:pt x="457" y="620"/>
                  </a:lnTo>
                  <a:lnTo>
                    <a:pt x="451" y="613"/>
                  </a:lnTo>
                  <a:lnTo>
                    <a:pt x="446" y="606"/>
                  </a:lnTo>
                  <a:lnTo>
                    <a:pt x="443" y="598"/>
                  </a:lnTo>
                  <a:lnTo>
                    <a:pt x="405" y="473"/>
                  </a:lnTo>
                  <a:lnTo>
                    <a:pt x="405" y="399"/>
                  </a:lnTo>
                  <a:lnTo>
                    <a:pt x="463" y="593"/>
                  </a:lnTo>
                  <a:lnTo>
                    <a:pt x="463" y="593"/>
                  </a:lnTo>
                  <a:lnTo>
                    <a:pt x="464" y="596"/>
                  </a:lnTo>
                  <a:lnTo>
                    <a:pt x="468" y="600"/>
                  </a:lnTo>
                  <a:lnTo>
                    <a:pt x="470" y="603"/>
                  </a:lnTo>
                  <a:lnTo>
                    <a:pt x="473" y="605"/>
                  </a:lnTo>
                  <a:lnTo>
                    <a:pt x="478" y="606"/>
                  </a:lnTo>
                  <a:lnTo>
                    <a:pt x="481" y="607"/>
                  </a:lnTo>
                  <a:lnTo>
                    <a:pt x="486" y="607"/>
                  </a:lnTo>
                  <a:lnTo>
                    <a:pt x="490" y="606"/>
                  </a:lnTo>
                  <a:lnTo>
                    <a:pt x="537" y="593"/>
                  </a:lnTo>
                  <a:lnTo>
                    <a:pt x="537" y="593"/>
                  </a:lnTo>
                  <a:lnTo>
                    <a:pt x="541" y="590"/>
                  </a:lnTo>
                  <a:lnTo>
                    <a:pt x="545" y="588"/>
                  </a:lnTo>
                  <a:lnTo>
                    <a:pt x="547" y="585"/>
                  </a:lnTo>
                  <a:lnTo>
                    <a:pt x="549" y="581"/>
                  </a:lnTo>
                  <a:lnTo>
                    <a:pt x="551" y="578"/>
                  </a:lnTo>
                  <a:lnTo>
                    <a:pt x="551" y="573"/>
                  </a:lnTo>
                  <a:lnTo>
                    <a:pt x="551" y="570"/>
                  </a:lnTo>
                  <a:lnTo>
                    <a:pt x="551" y="566"/>
                  </a:lnTo>
                  <a:lnTo>
                    <a:pt x="457" y="255"/>
                  </a:lnTo>
                  <a:lnTo>
                    <a:pt x="447" y="257"/>
                  </a:lnTo>
                  <a:lnTo>
                    <a:pt x="447" y="257"/>
                  </a:lnTo>
                  <a:lnTo>
                    <a:pt x="443" y="258"/>
                  </a:lnTo>
                  <a:lnTo>
                    <a:pt x="440" y="257"/>
                  </a:lnTo>
                  <a:lnTo>
                    <a:pt x="436" y="254"/>
                  </a:lnTo>
                  <a:lnTo>
                    <a:pt x="434" y="250"/>
                  </a:lnTo>
                  <a:lnTo>
                    <a:pt x="411" y="177"/>
                  </a:lnTo>
                  <a:lnTo>
                    <a:pt x="411" y="17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097" name="Group 2096">
            <a:extLst>
              <a:ext uri="{FF2B5EF4-FFF2-40B4-BE49-F238E27FC236}">
                <a16:creationId xmlns:a16="http://schemas.microsoft.com/office/drawing/2014/main" id="{6F3105A9-8A8E-499D-87B6-9BDE1A0BDD65}"/>
              </a:ext>
            </a:extLst>
          </p:cNvPr>
          <p:cNvGrpSpPr/>
          <p:nvPr/>
        </p:nvGrpSpPr>
        <p:grpSpPr>
          <a:xfrm>
            <a:off x="6067996" y="3205728"/>
            <a:ext cx="612775" cy="612775"/>
            <a:chOff x="4235632" y="3806921"/>
            <a:chExt cx="612775" cy="612775"/>
          </a:xfrm>
        </p:grpSpPr>
        <p:sp>
          <p:nvSpPr>
            <p:cNvPr id="2098" name="Oval 2097">
              <a:extLst>
                <a:ext uri="{FF2B5EF4-FFF2-40B4-BE49-F238E27FC236}">
                  <a16:creationId xmlns:a16="http://schemas.microsoft.com/office/drawing/2014/main" id="{E43A68F9-7749-4082-BE9F-9823FB96A2FE}"/>
                </a:ext>
              </a:extLst>
            </p:cNvPr>
            <p:cNvSpPr/>
            <p:nvPr/>
          </p:nvSpPr>
          <p:spPr bwMode="ltGray">
            <a:xfrm>
              <a:off x="423563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099" name="Freeform 59">
              <a:extLst>
                <a:ext uri="{FF2B5EF4-FFF2-40B4-BE49-F238E27FC236}">
                  <a16:creationId xmlns:a16="http://schemas.microsoft.com/office/drawing/2014/main" id="{EA206969-C342-478C-900A-2505A49BDBA2}"/>
                </a:ext>
              </a:extLst>
            </p:cNvPr>
            <p:cNvSpPr>
              <a:spLocks noEditPoints="1"/>
            </p:cNvSpPr>
            <p:nvPr/>
          </p:nvSpPr>
          <p:spPr bwMode="auto">
            <a:xfrm>
              <a:off x="4350508" y="3919369"/>
              <a:ext cx="385763" cy="273050"/>
            </a:xfrm>
            <a:custGeom>
              <a:avLst/>
              <a:gdLst>
                <a:gd name="T0" fmla="*/ 402 w 728"/>
                <a:gd name="T1" fmla="*/ 1 h 514"/>
                <a:gd name="T2" fmla="*/ 473 w 728"/>
                <a:gd name="T3" fmla="*/ 16 h 514"/>
                <a:gd name="T4" fmla="*/ 538 w 728"/>
                <a:gd name="T5" fmla="*/ 43 h 514"/>
                <a:gd name="T6" fmla="*/ 596 w 728"/>
                <a:gd name="T7" fmla="*/ 82 h 514"/>
                <a:gd name="T8" fmla="*/ 634 w 728"/>
                <a:gd name="T9" fmla="*/ 119 h 514"/>
                <a:gd name="T10" fmla="*/ 676 w 728"/>
                <a:gd name="T11" fmla="*/ 175 h 514"/>
                <a:gd name="T12" fmla="*/ 706 w 728"/>
                <a:gd name="T13" fmla="*/ 239 h 514"/>
                <a:gd name="T14" fmla="*/ 725 w 728"/>
                <a:gd name="T15" fmla="*/ 309 h 514"/>
                <a:gd name="T16" fmla="*/ 728 w 728"/>
                <a:gd name="T17" fmla="*/ 364 h 514"/>
                <a:gd name="T18" fmla="*/ 723 w 728"/>
                <a:gd name="T19" fmla="*/ 430 h 514"/>
                <a:gd name="T20" fmla="*/ 715 w 728"/>
                <a:gd name="T21" fmla="*/ 462 h 514"/>
                <a:gd name="T22" fmla="*/ 674 w 728"/>
                <a:gd name="T23" fmla="*/ 514 h 514"/>
                <a:gd name="T24" fmla="*/ 23 w 728"/>
                <a:gd name="T25" fmla="*/ 493 h 514"/>
                <a:gd name="T26" fmla="*/ 6 w 728"/>
                <a:gd name="T27" fmla="*/ 430 h 514"/>
                <a:gd name="T28" fmla="*/ 2 w 728"/>
                <a:gd name="T29" fmla="*/ 396 h 514"/>
                <a:gd name="T30" fmla="*/ 1 w 728"/>
                <a:gd name="T31" fmla="*/ 345 h 514"/>
                <a:gd name="T32" fmla="*/ 11 w 728"/>
                <a:gd name="T33" fmla="*/ 273 h 514"/>
                <a:gd name="T34" fmla="*/ 35 w 728"/>
                <a:gd name="T35" fmla="*/ 205 h 514"/>
                <a:gd name="T36" fmla="*/ 72 w 728"/>
                <a:gd name="T37" fmla="*/ 145 h 514"/>
                <a:gd name="T38" fmla="*/ 106 w 728"/>
                <a:gd name="T39" fmla="*/ 107 h 514"/>
                <a:gd name="T40" fmla="*/ 161 w 728"/>
                <a:gd name="T41" fmla="*/ 62 h 514"/>
                <a:gd name="T42" fmla="*/ 223 w 728"/>
                <a:gd name="T43" fmla="*/ 28 h 514"/>
                <a:gd name="T44" fmla="*/ 291 w 728"/>
                <a:gd name="T45" fmla="*/ 7 h 514"/>
                <a:gd name="T46" fmla="*/ 364 w 728"/>
                <a:gd name="T47" fmla="*/ 0 h 514"/>
                <a:gd name="T48" fmla="*/ 600 w 728"/>
                <a:gd name="T49" fmla="*/ 340 h 514"/>
                <a:gd name="T50" fmla="*/ 654 w 728"/>
                <a:gd name="T51" fmla="*/ 294 h 514"/>
                <a:gd name="T52" fmla="*/ 619 w 728"/>
                <a:gd name="T53" fmla="*/ 210 h 514"/>
                <a:gd name="T54" fmla="*/ 514 w 728"/>
                <a:gd name="T55" fmla="*/ 180 h 514"/>
                <a:gd name="T56" fmla="*/ 522 w 728"/>
                <a:gd name="T57" fmla="*/ 111 h 514"/>
                <a:gd name="T58" fmla="*/ 437 w 728"/>
                <a:gd name="T59" fmla="*/ 75 h 514"/>
                <a:gd name="T60" fmla="*/ 341 w 728"/>
                <a:gd name="T61" fmla="*/ 128 h 514"/>
                <a:gd name="T62" fmla="*/ 294 w 728"/>
                <a:gd name="T63" fmla="*/ 74 h 514"/>
                <a:gd name="T64" fmla="*/ 211 w 728"/>
                <a:gd name="T65" fmla="*/ 109 h 514"/>
                <a:gd name="T66" fmla="*/ 181 w 728"/>
                <a:gd name="T67" fmla="*/ 213 h 514"/>
                <a:gd name="T68" fmla="*/ 111 w 728"/>
                <a:gd name="T69" fmla="*/ 206 h 514"/>
                <a:gd name="T70" fmla="*/ 75 w 728"/>
                <a:gd name="T71" fmla="*/ 291 h 514"/>
                <a:gd name="T72" fmla="*/ 129 w 728"/>
                <a:gd name="T73" fmla="*/ 387 h 514"/>
                <a:gd name="T74" fmla="*/ 71 w 728"/>
                <a:gd name="T75" fmla="*/ 417 h 514"/>
                <a:gd name="T76" fmla="*/ 79 w 728"/>
                <a:gd name="T77" fmla="*/ 447 h 514"/>
                <a:gd name="T78" fmla="*/ 657 w 728"/>
                <a:gd name="T79" fmla="*/ 417 h 514"/>
                <a:gd name="T80" fmla="*/ 660 w 728"/>
                <a:gd name="T81" fmla="*/ 391 h 514"/>
                <a:gd name="T82" fmla="*/ 326 w 728"/>
                <a:gd name="T83" fmla="*/ 308 h 514"/>
                <a:gd name="T84" fmla="*/ 303 w 728"/>
                <a:gd name="T85" fmla="*/ 341 h 514"/>
                <a:gd name="T86" fmla="*/ 301 w 728"/>
                <a:gd name="T87" fmla="*/ 369 h 514"/>
                <a:gd name="T88" fmla="*/ 312 w 728"/>
                <a:gd name="T89" fmla="*/ 400 h 514"/>
                <a:gd name="T90" fmla="*/ 348 w 728"/>
                <a:gd name="T91" fmla="*/ 427 h 514"/>
                <a:gd name="T92" fmla="*/ 368 w 728"/>
                <a:gd name="T93" fmla="*/ 430 h 514"/>
                <a:gd name="T94" fmla="*/ 395 w 728"/>
                <a:gd name="T95" fmla="*/ 425 h 514"/>
                <a:gd name="T96" fmla="*/ 432 w 728"/>
                <a:gd name="T97" fmla="*/ 389 h 514"/>
                <a:gd name="T98" fmla="*/ 437 w 728"/>
                <a:gd name="T99" fmla="*/ 362 h 514"/>
                <a:gd name="T100" fmla="*/ 486 w 728"/>
                <a:gd name="T101" fmla="*/ 125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28" h="514">
                  <a:moveTo>
                    <a:pt x="364" y="0"/>
                  </a:moveTo>
                  <a:lnTo>
                    <a:pt x="364" y="0"/>
                  </a:lnTo>
                  <a:lnTo>
                    <a:pt x="383" y="0"/>
                  </a:lnTo>
                  <a:lnTo>
                    <a:pt x="402" y="1"/>
                  </a:lnTo>
                  <a:lnTo>
                    <a:pt x="419" y="3"/>
                  </a:lnTo>
                  <a:lnTo>
                    <a:pt x="437" y="7"/>
                  </a:lnTo>
                  <a:lnTo>
                    <a:pt x="455" y="11"/>
                  </a:lnTo>
                  <a:lnTo>
                    <a:pt x="473" y="16"/>
                  </a:lnTo>
                  <a:lnTo>
                    <a:pt x="489" y="21"/>
                  </a:lnTo>
                  <a:lnTo>
                    <a:pt x="506" y="28"/>
                  </a:lnTo>
                  <a:lnTo>
                    <a:pt x="522" y="36"/>
                  </a:lnTo>
                  <a:lnTo>
                    <a:pt x="538" y="43"/>
                  </a:lnTo>
                  <a:lnTo>
                    <a:pt x="553" y="52"/>
                  </a:lnTo>
                  <a:lnTo>
                    <a:pt x="568" y="62"/>
                  </a:lnTo>
                  <a:lnTo>
                    <a:pt x="583" y="72"/>
                  </a:lnTo>
                  <a:lnTo>
                    <a:pt x="596" y="82"/>
                  </a:lnTo>
                  <a:lnTo>
                    <a:pt x="609" y="94"/>
                  </a:lnTo>
                  <a:lnTo>
                    <a:pt x="621" y="107"/>
                  </a:lnTo>
                  <a:lnTo>
                    <a:pt x="621" y="107"/>
                  </a:lnTo>
                  <a:lnTo>
                    <a:pt x="634" y="119"/>
                  </a:lnTo>
                  <a:lnTo>
                    <a:pt x="645" y="132"/>
                  </a:lnTo>
                  <a:lnTo>
                    <a:pt x="656" y="145"/>
                  </a:lnTo>
                  <a:lnTo>
                    <a:pt x="666" y="160"/>
                  </a:lnTo>
                  <a:lnTo>
                    <a:pt x="676" y="175"/>
                  </a:lnTo>
                  <a:lnTo>
                    <a:pt x="685" y="190"/>
                  </a:lnTo>
                  <a:lnTo>
                    <a:pt x="693" y="205"/>
                  </a:lnTo>
                  <a:lnTo>
                    <a:pt x="700" y="222"/>
                  </a:lnTo>
                  <a:lnTo>
                    <a:pt x="706" y="239"/>
                  </a:lnTo>
                  <a:lnTo>
                    <a:pt x="713" y="255"/>
                  </a:lnTo>
                  <a:lnTo>
                    <a:pt x="717" y="273"/>
                  </a:lnTo>
                  <a:lnTo>
                    <a:pt x="721" y="291"/>
                  </a:lnTo>
                  <a:lnTo>
                    <a:pt x="725" y="309"/>
                  </a:lnTo>
                  <a:lnTo>
                    <a:pt x="727" y="326"/>
                  </a:lnTo>
                  <a:lnTo>
                    <a:pt x="728" y="345"/>
                  </a:lnTo>
                  <a:lnTo>
                    <a:pt x="728" y="364"/>
                  </a:lnTo>
                  <a:lnTo>
                    <a:pt x="728" y="364"/>
                  </a:lnTo>
                  <a:lnTo>
                    <a:pt x="728" y="381"/>
                  </a:lnTo>
                  <a:lnTo>
                    <a:pt x="727" y="396"/>
                  </a:lnTo>
                  <a:lnTo>
                    <a:pt x="725" y="413"/>
                  </a:lnTo>
                  <a:lnTo>
                    <a:pt x="723" y="430"/>
                  </a:lnTo>
                  <a:lnTo>
                    <a:pt x="723" y="430"/>
                  </a:lnTo>
                  <a:lnTo>
                    <a:pt x="723" y="430"/>
                  </a:lnTo>
                  <a:lnTo>
                    <a:pt x="719" y="446"/>
                  </a:lnTo>
                  <a:lnTo>
                    <a:pt x="715" y="462"/>
                  </a:lnTo>
                  <a:lnTo>
                    <a:pt x="710" y="477"/>
                  </a:lnTo>
                  <a:lnTo>
                    <a:pt x="705" y="493"/>
                  </a:lnTo>
                  <a:lnTo>
                    <a:pt x="697" y="514"/>
                  </a:lnTo>
                  <a:lnTo>
                    <a:pt x="674" y="514"/>
                  </a:lnTo>
                  <a:lnTo>
                    <a:pt x="54" y="514"/>
                  </a:lnTo>
                  <a:lnTo>
                    <a:pt x="32" y="514"/>
                  </a:lnTo>
                  <a:lnTo>
                    <a:pt x="23" y="493"/>
                  </a:lnTo>
                  <a:lnTo>
                    <a:pt x="23" y="493"/>
                  </a:lnTo>
                  <a:lnTo>
                    <a:pt x="19" y="477"/>
                  </a:lnTo>
                  <a:lnTo>
                    <a:pt x="13" y="462"/>
                  </a:lnTo>
                  <a:lnTo>
                    <a:pt x="10" y="446"/>
                  </a:lnTo>
                  <a:lnTo>
                    <a:pt x="6" y="430"/>
                  </a:lnTo>
                  <a:lnTo>
                    <a:pt x="6" y="430"/>
                  </a:lnTo>
                  <a:lnTo>
                    <a:pt x="6" y="430"/>
                  </a:lnTo>
                  <a:lnTo>
                    <a:pt x="3" y="413"/>
                  </a:lnTo>
                  <a:lnTo>
                    <a:pt x="2" y="396"/>
                  </a:lnTo>
                  <a:lnTo>
                    <a:pt x="0" y="381"/>
                  </a:lnTo>
                  <a:lnTo>
                    <a:pt x="0" y="364"/>
                  </a:lnTo>
                  <a:lnTo>
                    <a:pt x="0" y="364"/>
                  </a:lnTo>
                  <a:lnTo>
                    <a:pt x="1" y="345"/>
                  </a:lnTo>
                  <a:lnTo>
                    <a:pt x="2" y="326"/>
                  </a:lnTo>
                  <a:lnTo>
                    <a:pt x="4" y="309"/>
                  </a:lnTo>
                  <a:lnTo>
                    <a:pt x="8" y="291"/>
                  </a:lnTo>
                  <a:lnTo>
                    <a:pt x="11" y="273"/>
                  </a:lnTo>
                  <a:lnTo>
                    <a:pt x="16" y="255"/>
                  </a:lnTo>
                  <a:lnTo>
                    <a:pt x="22" y="239"/>
                  </a:lnTo>
                  <a:lnTo>
                    <a:pt x="29" y="222"/>
                  </a:lnTo>
                  <a:lnTo>
                    <a:pt x="35" y="205"/>
                  </a:lnTo>
                  <a:lnTo>
                    <a:pt x="44" y="190"/>
                  </a:lnTo>
                  <a:lnTo>
                    <a:pt x="53" y="175"/>
                  </a:lnTo>
                  <a:lnTo>
                    <a:pt x="62" y="160"/>
                  </a:lnTo>
                  <a:lnTo>
                    <a:pt x="72" y="145"/>
                  </a:lnTo>
                  <a:lnTo>
                    <a:pt x="83" y="132"/>
                  </a:lnTo>
                  <a:lnTo>
                    <a:pt x="94" y="119"/>
                  </a:lnTo>
                  <a:lnTo>
                    <a:pt x="106" y="107"/>
                  </a:lnTo>
                  <a:lnTo>
                    <a:pt x="106" y="107"/>
                  </a:lnTo>
                  <a:lnTo>
                    <a:pt x="120" y="94"/>
                  </a:lnTo>
                  <a:lnTo>
                    <a:pt x="133" y="82"/>
                  </a:lnTo>
                  <a:lnTo>
                    <a:pt x="146" y="72"/>
                  </a:lnTo>
                  <a:lnTo>
                    <a:pt x="161" y="62"/>
                  </a:lnTo>
                  <a:lnTo>
                    <a:pt x="175" y="52"/>
                  </a:lnTo>
                  <a:lnTo>
                    <a:pt x="191" y="43"/>
                  </a:lnTo>
                  <a:lnTo>
                    <a:pt x="206" y="36"/>
                  </a:lnTo>
                  <a:lnTo>
                    <a:pt x="223" y="28"/>
                  </a:lnTo>
                  <a:lnTo>
                    <a:pt x="239" y="21"/>
                  </a:lnTo>
                  <a:lnTo>
                    <a:pt x="256" y="16"/>
                  </a:lnTo>
                  <a:lnTo>
                    <a:pt x="273" y="11"/>
                  </a:lnTo>
                  <a:lnTo>
                    <a:pt x="291" y="7"/>
                  </a:lnTo>
                  <a:lnTo>
                    <a:pt x="308" y="3"/>
                  </a:lnTo>
                  <a:lnTo>
                    <a:pt x="327" y="1"/>
                  </a:lnTo>
                  <a:lnTo>
                    <a:pt x="345" y="0"/>
                  </a:lnTo>
                  <a:lnTo>
                    <a:pt x="364" y="0"/>
                  </a:lnTo>
                  <a:lnTo>
                    <a:pt x="364" y="0"/>
                  </a:lnTo>
                  <a:close/>
                  <a:moveTo>
                    <a:pt x="660" y="391"/>
                  </a:moveTo>
                  <a:lnTo>
                    <a:pt x="600" y="391"/>
                  </a:lnTo>
                  <a:lnTo>
                    <a:pt x="600" y="340"/>
                  </a:lnTo>
                  <a:lnTo>
                    <a:pt x="661" y="340"/>
                  </a:lnTo>
                  <a:lnTo>
                    <a:pt x="661" y="340"/>
                  </a:lnTo>
                  <a:lnTo>
                    <a:pt x="658" y="316"/>
                  </a:lnTo>
                  <a:lnTo>
                    <a:pt x="654" y="294"/>
                  </a:lnTo>
                  <a:lnTo>
                    <a:pt x="647" y="272"/>
                  </a:lnTo>
                  <a:lnTo>
                    <a:pt x="639" y="250"/>
                  </a:lnTo>
                  <a:lnTo>
                    <a:pt x="630" y="230"/>
                  </a:lnTo>
                  <a:lnTo>
                    <a:pt x="619" y="210"/>
                  </a:lnTo>
                  <a:lnTo>
                    <a:pt x="607" y="191"/>
                  </a:lnTo>
                  <a:lnTo>
                    <a:pt x="593" y="173"/>
                  </a:lnTo>
                  <a:lnTo>
                    <a:pt x="550" y="216"/>
                  </a:lnTo>
                  <a:lnTo>
                    <a:pt x="514" y="180"/>
                  </a:lnTo>
                  <a:lnTo>
                    <a:pt x="557" y="138"/>
                  </a:lnTo>
                  <a:lnTo>
                    <a:pt x="557" y="138"/>
                  </a:lnTo>
                  <a:lnTo>
                    <a:pt x="539" y="123"/>
                  </a:lnTo>
                  <a:lnTo>
                    <a:pt x="522" y="111"/>
                  </a:lnTo>
                  <a:lnTo>
                    <a:pt x="502" y="100"/>
                  </a:lnTo>
                  <a:lnTo>
                    <a:pt x="481" y="90"/>
                  </a:lnTo>
                  <a:lnTo>
                    <a:pt x="459" y="82"/>
                  </a:lnTo>
                  <a:lnTo>
                    <a:pt x="437" y="75"/>
                  </a:lnTo>
                  <a:lnTo>
                    <a:pt x="415" y="70"/>
                  </a:lnTo>
                  <a:lnTo>
                    <a:pt x="392" y="68"/>
                  </a:lnTo>
                  <a:lnTo>
                    <a:pt x="392" y="128"/>
                  </a:lnTo>
                  <a:lnTo>
                    <a:pt x="341" y="128"/>
                  </a:lnTo>
                  <a:lnTo>
                    <a:pt x="341" y="67"/>
                  </a:lnTo>
                  <a:lnTo>
                    <a:pt x="341" y="67"/>
                  </a:lnTo>
                  <a:lnTo>
                    <a:pt x="317" y="70"/>
                  </a:lnTo>
                  <a:lnTo>
                    <a:pt x="294" y="74"/>
                  </a:lnTo>
                  <a:lnTo>
                    <a:pt x="272" y="81"/>
                  </a:lnTo>
                  <a:lnTo>
                    <a:pt x="251" y="89"/>
                  </a:lnTo>
                  <a:lnTo>
                    <a:pt x="230" y="98"/>
                  </a:lnTo>
                  <a:lnTo>
                    <a:pt x="211" y="109"/>
                  </a:lnTo>
                  <a:lnTo>
                    <a:pt x="192" y="121"/>
                  </a:lnTo>
                  <a:lnTo>
                    <a:pt x="174" y="134"/>
                  </a:lnTo>
                  <a:lnTo>
                    <a:pt x="216" y="178"/>
                  </a:lnTo>
                  <a:lnTo>
                    <a:pt x="181" y="213"/>
                  </a:lnTo>
                  <a:lnTo>
                    <a:pt x="137" y="171"/>
                  </a:lnTo>
                  <a:lnTo>
                    <a:pt x="137" y="171"/>
                  </a:lnTo>
                  <a:lnTo>
                    <a:pt x="124" y="189"/>
                  </a:lnTo>
                  <a:lnTo>
                    <a:pt x="111" y="206"/>
                  </a:lnTo>
                  <a:lnTo>
                    <a:pt x="100" y="226"/>
                  </a:lnTo>
                  <a:lnTo>
                    <a:pt x="90" y="246"/>
                  </a:lnTo>
                  <a:lnTo>
                    <a:pt x="82" y="269"/>
                  </a:lnTo>
                  <a:lnTo>
                    <a:pt x="75" y="291"/>
                  </a:lnTo>
                  <a:lnTo>
                    <a:pt x="71" y="313"/>
                  </a:lnTo>
                  <a:lnTo>
                    <a:pt x="68" y="336"/>
                  </a:lnTo>
                  <a:lnTo>
                    <a:pt x="129" y="336"/>
                  </a:lnTo>
                  <a:lnTo>
                    <a:pt x="129" y="387"/>
                  </a:lnTo>
                  <a:lnTo>
                    <a:pt x="68" y="387"/>
                  </a:lnTo>
                  <a:lnTo>
                    <a:pt x="68" y="387"/>
                  </a:lnTo>
                  <a:lnTo>
                    <a:pt x="69" y="403"/>
                  </a:lnTo>
                  <a:lnTo>
                    <a:pt x="71" y="417"/>
                  </a:lnTo>
                  <a:lnTo>
                    <a:pt x="71" y="417"/>
                  </a:lnTo>
                  <a:lnTo>
                    <a:pt x="71" y="417"/>
                  </a:lnTo>
                  <a:lnTo>
                    <a:pt x="74" y="433"/>
                  </a:lnTo>
                  <a:lnTo>
                    <a:pt x="79" y="447"/>
                  </a:lnTo>
                  <a:lnTo>
                    <a:pt x="650" y="447"/>
                  </a:lnTo>
                  <a:lnTo>
                    <a:pt x="650" y="447"/>
                  </a:lnTo>
                  <a:lnTo>
                    <a:pt x="654" y="433"/>
                  </a:lnTo>
                  <a:lnTo>
                    <a:pt x="657" y="417"/>
                  </a:lnTo>
                  <a:lnTo>
                    <a:pt x="657" y="417"/>
                  </a:lnTo>
                  <a:lnTo>
                    <a:pt x="657" y="417"/>
                  </a:lnTo>
                  <a:lnTo>
                    <a:pt x="660" y="391"/>
                  </a:lnTo>
                  <a:lnTo>
                    <a:pt x="660" y="391"/>
                  </a:lnTo>
                  <a:close/>
                  <a:moveTo>
                    <a:pt x="344" y="298"/>
                  </a:moveTo>
                  <a:lnTo>
                    <a:pt x="344" y="298"/>
                  </a:lnTo>
                  <a:lnTo>
                    <a:pt x="335" y="302"/>
                  </a:lnTo>
                  <a:lnTo>
                    <a:pt x="326" y="308"/>
                  </a:lnTo>
                  <a:lnTo>
                    <a:pt x="320" y="314"/>
                  </a:lnTo>
                  <a:lnTo>
                    <a:pt x="313" y="322"/>
                  </a:lnTo>
                  <a:lnTo>
                    <a:pt x="307" y="331"/>
                  </a:lnTo>
                  <a:lnTo>
                    <a:pt x="303" y="341"/>
                  </a:lnTo>
                  <a:lnTo>
                    <a:pt x="301" y="351"/>
                  </a:lnTo>
                  <a:lnTo>
                    <a:pt x="301" y="362"/>
                  </a:lnTo>
                  <a:lnTo>
                    <a:pt x="301" y="362"/>
                  </a:lnTo>
                  <a:lnTo>
                    <a:pt x="301" y="369"/>
                  </a:lnTo>
                  <a:lnTo>
                    <a:pt x="302" y="375"/>
                  </a:lnTo>
                  <a:lnTo>
                    <a:pt x="303" y="382"/>
                  </a:lnTo>
                  <a:lnTo>
                    <a:pt x="305" y="389"/>
                  </a:lnTo>
                  <a:lnTo>
                    <a:pt x="312" y="400"/>
                  </a:lnTo>
                  <a:lnTo>
                    <a:pt x="321" y="410"/>
                  </a:lnTo>
                  <a:lnTo>
                    <a:pt x="331" y="419"/>
                  </a:lnTo>
                  <a:lnTo>
                    <a:pt x="342" y="425"/>
                  </a:lnTo>
                  <a:lnTo>
                    <a:pt x="348" y="427"/>
                  </a:lnTo>
                  <a:lnTo>
                    <a:pt x="355" y="429"/>
                  </a:lnTo>
                  <a:lnTo>
                    <a:pt x="362" y="430"/>
                  </a:lnTo>
                  <a:lnTo>
                    <a:pt x="368" y="430"/>
                  </a:lnTo>
                  <a:lnTo>
                    <a:pt x="368" y="430"/>
                  </a:lnTo>
                  <a:lnTo>
                    <a:pt x="376" y="430"/>
                  </a:lnTo>
                  <a:lnTo>
                    <a:pt x="383" y="429"/>
                  </a:lnTo>
                  <a:lnTo>
                    <a:pt x="389" y="427"/>
                  </a:lnTo>
                  <a:lnTo>
                    <a:pt x="395" y="425"/>
                  </a:lnTo>
                  <a:lnTo>
                    <a:pt x="407" y="419"/>
                  </a:lnTo>
                  <a:lnTo>
                    <a:pt x="417" y="410"/>
                  </a:lnTo>
                  <a:lnTo>
                    <a:pt x="426" y="400"/>
                  </a:lnTo>
                  <a:lnTo>
                    <a:pt x="432" y="389"/>
                  </a:lnTo>
                  <a:lnTo>
                    <a:pt x="434" y="382"/>
                  </a:lnTo>
                  <a:lnTo>
                    <a:pt x="436" y="375"/>
                  </a:lnTo>
                  <a:lnTo>
                    <a:pt x="437" y="369"/>
                  </a:lnTo>
                  <a:lnTo>
                    <a:pt x="437" y="362"/>
                  </a:lnTo>
                  <a:lnTo>
                    <a:pt x="437" y="362"/>
                  </a:lnTo>
                  <a:lnTo>
                    <a:pt x="436" y="350"/>
                  </a:lnTo>
                  <a:lnTo>
                    <a:pt x="434" y="339"/>
                  </a:lnTo>
                  <a:lnTo>
                    <a:pt x="486" y="125"/>
                  </a:lnTo>
                  <a:lnTo>
                    <a:pt x="344" y="29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100" name="Group 2099">
            <a:extLst>
              <a:ext uri="{FF2B5EF4-FFF2-40B4-BE49-F238E27FC236}">
                <a16:creationId xmlns:a16="http://schemas.microsoft.com/office/drawing/2014/main" id="{4EA72DA8-5870-4753-A04D-0A8393AD339B}"/>
              </a:ext>
            </a:extLst>
          </p:cNvPr>
          <p:cNvGrpSpPr/>
          <p:nvPr/>
        </p:nvGrpSpPr>
        <p:grpSpPr>
          <a:xfrm>
            <a:off x="5339276" y="2430926"/>
            <a:ext cx="612775" cy="612775"/>
            <a:chOff x="3506912" y="3032119"/>
            <a:chExt cx="612775" cy="612775"/>
          </a:xfrm>
        </p:grpSpPr>
        <p:sp>
          <p:nvSpPr>
            <p:cNvPr id="2101" name="Oval 2100">
              <a:extLst>
                <a:ext uri="{FF2B5EF4-FFF2-40B4-BE49-F238E27FC236}">
                  <a16:creationId xmlns:a16="http://schemas.microsoft.com/office/drawing/2014/main" id="{09C518AE-0C02-4C7B-9004-96A863A8F430}"/>
                </a:ext>
              </a:extLst>
            </p:cNvPr>
            <p:cNvSpPr/>
            <p:nvPr/>
          </p:nvSpPr>
          <p:spPr bwMode="ltGray">
            <a:xfrm>
              <a:off x="350691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102" name="Freeform 150">
              <a:extLst>
                <a:ext uri="{FF2B5EF4-FFF2-40B4-BE49-F238E27FC236}">
                  <a16:creationId xmlns:a16="http://schemas.microsoft.com/office/drawing/2014/main" id="{D8F15E9A-FB58-42FA-8AF3-6B8B787A2D48}"/>
                </a:ext>
              </a:extLst>
            </p:cNvPr>
            <p:cNvSpPr>
              <a:spLocks noEditPoints="1"/>
            </p:cNvSpPr>
            <p:nvPr/>
          </p:nvSpPr>
          <p:spPr bwMode="auto">
            <a:xfrm>
              <a:off x="3621064" y="3190884"/>
              <a:ext cx="468312" cy="273050"/>
            </a:xfrm>
            <a:custGeom>
              <a:avLst/>
              <a:gdLst>
                <a:gd name="T0" fmla="*/ 89 w 885"/>
                <a:gd name="T1" fmla="*/ 505 h 516"/>
                <a:gd name="T2" fmla="*/ 0 w 885"/>
                <a:gd name="T3" fmla="*/ 496 h 516"/>
                <a:gd name="T4" fmla="*/ 141 w 885"/>
                <a:gd name="T5" fmla="*/ 434 h 516"/>
                <a:gd name="T6" fmla="*/ 376 w 885"/>
                <a:gd name="T7" fmla="*/ 414 h 516"/>
                <a:gd name="T8" fmla="*/ 363 w 885"/>
                <a:gd name="T9" fmla="*/ 449 h 516"/>
                <a:gd name="T10" fmla="*/ 251 w 885"/>
                <a:gd name="T11" fmla="*/ 514 h 516"/>
                <a:gd name="T12" fmla="*/ 122 w 885"/>
                <a:gd name="T13" fmla="*/ 460 h 516"/>
                <a:gd name="T14" fmla="*/ 274 w 885"/>
                <a:gd name="T15" fmla="*/ 478 h 516"/>
                <a:gd name="T16" fmla="*/ 524 w 885"/>
                <a:gd name="T17" fmla="*/ 120 h 516"/>
                <a:gd name="T18" fmla="*/ 413 w 885"/>
                <a:gd name="T19" fmla="*/ 389 h 516"/>
                <a:gd name="T20" fmla="*/ 27 w 885"/>
                <a:gd name="T21" fmla="*/ 366 h 516"/>
                <a:gd name="T22" fmla="*/ 27 w 885"/>
                <a:gd name="T23" fmla="*/ 74 h 516"/>
                <a:gd name="T24" fmla="*/ 81 w 885"/>
                <a:gd name="T25" fmla="*/ 0 h 516"/>
                <a:gd name="T26" fmla="*/ 361 w 885"/>
                <a:gd name="T27" fmla="*/ 0 h 516"/>
                <a:gd name="T28" fmla="*/ 96 w 885"/>
                <a:gd name="T29" fmla="*/ 262 h 516"/>
                <a:gd name="T30" fmla="*/ 79 w 885"/>
                <a:gd name="T31" fmla="*/ 268 h 516"/>
                <a:gd name="T32" fmla="*/ 67 w 885"/>
                <a:gd name="T33" fmla="*/ 281 h 516"/>
                <a:gd name="T34" fmla="*/ 65 w 885"/>
                <a:gd name="T35" fmla="*/ 293 h 516"/>
                <a:gd name="T36" fmla="*/ 70 w 885"/>
                <a:gd name="T37" fmla="*/ 311 h 516"/>
                <a:gd name="T38" fmla="*/ 84 w 885"/>
                <a:gd name="T39" fmla="*/ 322 h 516"/>
                <a:gd name="T40" fmla="*/ 96 w 885"/>
                <a:gd name="T41" fmla="*/ 324 h 516"/>
                <a:gd name="T42" fmla="*/ 113 w 885"/>
                <a:gd name="T43" fmla="*/ 318 h 516"/>
                <a:gd name="T44" fmla="*/ 124 w 885"/>
                <a:gd name="T45" fmla="*/ 305 h 516"/>
                <a:gd name="T46" fmla="*/ 127 w 885"/>
                <a:gd name="T47" fmla="*/ 293 h 516"/>
                <a:gd name="T48" fmla="*/ 122 w 885"/>
                <a:gd name="T49" fmla="*/ 276 h 516"/>
                <a:gd name="T50" fmla="*/ 108 w 885"/>
                <a:gd name="T51" fmla="*/ 265 h 516"/>
                <a:gd name="T52" fmla="*/ 96 w 885"/>
                <a:gd name="T53" fmla="*/ 262 h 516"/>
                <a:gd name="T54" fmla="*/ 332 w 885"/>
                <a:gd name="T55" fmla="*/ 262 h 516"/>
                <a:gd name="T56" fmla="*/ 317 w 885"/>
                <a:gd name="T57" fmla="*/ 271 h 516"/>
                <a:gd name="T58" fmla="*/ 308 w 885"/>
                <a:gd name="T59" fmla="*/ 287 h 516"/>
                <a:gd name="T60" fmla="*/ 308 w 885"/>
                <a:gd name="T61" fmla="*/ 300 h 516"/>
                <a:gd name="T62" fmla="*/ 317 w 885"/>
                <a:gd name="T63" fmla="*/ 315 h 516"/>
                <a:gd name="T64" fmla="*/ 332 w 885"/>
                <a:gd name="T65" fmla="*/ 324 h 516"/>
                <a:gd name="T66" fmla="*/ 345 w 885"/>
                <a:gd name="T67" fmla="*/ 324 h 516"/>
                <a:gd name="T68" fmla="*/ 360 w 885"/>
                <a:gd name="T69" fmla="*/ 315 h 516"/>
                <a:gd name="T70" fmla="*/ 369 w 885"/>
                <a:gd name="T71" fmla="*/ 300 h 516"/>
                <a:gd name="T72" fmla="*/ 369 w 885"/>
                <a:gd name="T73" fmla="*/ 287 h 516"/>
                <a:gd name="T74" fmla="*/ 360 w 885"/>
                <a:gd name="T75" fmla="*/ 271 h 516"/>
                <a:gd name="T76" fmla="*/ 345 w 885"/>
                <a:gd name="T77" fmla="*/ 262 h 516"/>
                <a:gd name="T78" fmla="*/ 71 w 885"/>
                <a:gd name="T79" fmla="*/ 216 h 516"/>
                <a:gd name="T80" fmla="*/ 338 w 885"/>
                <a:gd name="T81" fmla="*/ 45 h 516"/>
                <a:gd name="T82" fmla="*/ 71 w 885"/>
                <a:gd name="T83" fmla="*/ 216 h 516"/>
                <a:gd name="T84" fmla="*/ 681 w 885"/>
                <a:gd name="T85" fmla="*/ 179 h 516"/>
                <a:gd name="T86" fmla="*/ 551 w 885"/>
                <a:gd name="T87" fmla="*/ 117 h 516"/>
                <a:gd name="T88" fmla="*/ 544 w 885"/>
                <a:gd name="T89" fmla="*/ 102 h 516"/>
                <a:gd name="T90" fmla="*/ 803 w 885"/>
                <a:gd name="T91" fmla="*/ 247 h 516"/>
                <a:gd name="T92" fmla="*/ 706 w 885"/>
                <a:gd name="T93" fmla="*/ 193 h 516"/>
                <a:gd name="T94" fmla="*/ 858 w 885"/>
                <a:gd name="T95" fmla="*/ 278 h 516"/>
                <a:gd name="T96" fmla="*/ 829 w 885"/>
                <a:gd name="T97" fmla="*/ 26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85" h="516">
                  <a:moveTo>
                    <a:pt x="251" y="514"/>
                  </a:moveTo>
                  <a:lnTo>
                    <a:pt x="258" y="505"/>
                  </a:lnTo>
                  <a:lnTo>
                    <a:pt x="89" y="505"/>
                  </a:lnTo>
                  <a:lnTo>
                    <a:pt x="81" y="516"/>
                  </a:lnTo>
                  <a:lnTo>
                    <a:pt x="0" y="516"/>
                  </a:lnTo>
                  <a:lnTo>
                    <a:pt x="0" y="496"/>
                  </a:lnTo>
                  <a:lnTo>
                    <a:pt x="88" y="410"/>
                  </a:lnTo>
                  <a:lnTo>
                    <a:pt x="157" y="410"/>
                  </a:lnTo>
                  <a:lnTo>
                    <a:pt x="141" y="434"/>
                  </a:lnTo>
                  <a:lnTo>
                    <a:pt x="302" y="434"/>
                  </a:lnTo>
                  <a:lnTo>
                    <a:pt x="314" y="414"/>
                  </a:lnTo>
                  <a:lnTo>
                    <a:pt x="376" y="414"/>
                  </a:lnTo>
                  <a:lnTo>
                    <a:pt x="885" y="414"/>
                  </a:lnTo>
                  <a:lnTo>
                    <a:pt x="885" y="427"/>
                  </a:lnTo>
                  <a:lnTo>
                    <a:pt x="363" y="449"/>
                  </a:lnTo>
                  <a:lnTo>
                    <a:pt x="341" y="515"/>
                  </a:lnTo>
                  <a:lnTo>
                    <a:pt x="251" y="514"/>
                  </a:lnTo>
                  <a:lnTo>
                    <a:pt x="251" y="514"/>
                  </a:lnTo>
                  <a:close/>
                  <a:moveTo>
                    <a:pt x="274" y="478"/>
                  </a:moveTo>
                  <a:lnTo>
                    <a:pt x="285" y="460"/>
                  </a:lnTo>
                  <a:lnTo>
                    <a:pt x="122" y="460"/>
                  </a:lnTo>
                  <a:lnTo>
                    <a:pt x="109" y="478"/>
                  </a:lnTo>
                  <a:lnTo>
                    <a:pt x="274" y="478"/>
                  </a:lnTo>
                  <a:lnTo>
                    <a:pt x="274" y="478"/>
                  </a:lnTo>
                  <a:close/>
                  <a:moveTo>
                    <a:pt x="361" y="0"/>
                  </a:moveTo>
                  <a:lnTo>
                    <a:pt x="499" y="77"/>
                  </a:lnTo>
                  <a:lnTo>
                    <a:pt x="524" y="120"/>
                  </a:lnTo>
                  <a:lnTo>
                    <a:pt x="524" y="389"/>
                  </a:lnTo>
                  <a:lnTo>
                    <a:pt x="413" y="389"/>
                  </a:lnTo>
                  <a:lnTo>
                    <a:pt x="413" y="389"/>
                  </a:lnTo>
                  <a:lnTo>
                    <a:pt x="48" y="389"/>
                  </a:lnTo>
                  <a:lnTo>
                    <a:pt x="27" y="389"/>
                  </a:lnTo>
                  <a:lnTo>
                    <a:pt x="27" y="366"/>
                  </a:lnTo>
                  <a:lnTo>
                    <a:pt x="27" y="366"/>
                  </a:lnTo>
                  <a:lnTo>
                    <a:pt x="27" y="81"/>
                  </a:lnTo>
                  <a:lnTo>
                    <a:pt x="27" y="74"/>
                  </a:lnTo>
                  <a:lnTo>
                    <a:pt x="31" y="67"/>
                  </a:lnTo>
                  <a:lnTo>
                    <a:pt x="75" y="9"/>
                  </a:lnTo>
                  <a:lnTo>
                    <a:pt x="81" y="0"/>
                  </a:lnTo>
                  <a:lnTo>
                    <a:pt x="92" y="0"/>
                  </a:lnTo>
                  <a:lnTo>
                    <a:pt x="350" y="0"/>
                  </a:lnTo>
                  <a:lnTo>
                    <a:pt x="361" y="0"/>
                  </a:lnTo>
                  <a:lnTo>
                    <a:pt x="361" y="0"/>
                  </a:lnTo>
                  <a:close/>
                  <a:moveTo>
                    <a:pt x="96" y="262"/>
                  </a:moveTo>
                  <a:lnTo>
                    <a:pt x="96" y="262"/>
                  </a:lnTo>
                  <a:lnTo>
                    <a:pt x="90" y="262"/>
                  </a:lnTo>
                  <a:lnTo>
                    <a:pt x="84" y="265"/>
                  </a:lnTo>
                  <a:lnTo>
                    <a:pt x="79" y="268"/>
                  </a:lnTo>
                  <a:lnTo>
                    <a:pt x="74" y="271"/>
                  </a:lnTo>
                  <a:lnTo>
                    <a:pt x="70" y="276"/>
                  </a:lnTo>
                  <a:lnTo>
                    <a:pt x="67" y="281"/>
                  </a:lnTo>
                  <a:lnTo>
                    <a:pt x="66" y="287"/>
                  </a:lnTo>
                  <a:lnTo>
                    <a:pt x="65" y="293"/>
                  </a:lnTo>
                  <a:lnTo>
                    <a:pt x="65" y="293"/>
                  </a:lnTo>
                  <a:lnTo>
                    <a:pt x="66" y="300"/>
                  </a:lnTo>
                  <a:lnTo>
                    <a:pt x="67" y="305"/>
                  </a:lnTo>
                  <a:lnTo>
                    <a:pt x="70" y="311"/>
                  </a:lnTo>
                  <a:lnTo>
                    <a:pt x="74" y="315"/>
                  </a:lnTo>
                  <a:lnTo>
                    <a:pt x="79" y="318"/>
                  </a:lnTo>
                  <a:lnTo>
                    <a:pt x="84" y="322"/>
                  </a:lnTo>
                  <a:lnTo>
                    <a:pt x="90" y="324"/>
                  </a:lnTo>
                  <a:lnTo>
                    <a:pt x="96" y="324"/>
                  </a:lnTo>
                  <a:lnTo>
                    <a:pt x="96" y="324"/>
                  </a:lnTo>
                  <a:lnTo>
                    <a:pt x="102" y="324"/>
                  </a:lnTo>
                  <a:lnTo>
                    <a:pt x="108" y="322"/>
                  </a:lnTo>
                  <a:lnTo>
                    <a:pt x="113" y="318"/>
                  </a:lnTo>
                  <a:lnTo>
                    <a:pt x="118" y="315"/>
                  </a:lnTo>
                  <a:lnTo>
                    <a:pt x="122" y="311"/>
                  </a:lnTo>
                  <a:lnTo>
                    <a:pt x="124" y="305"/>
                  </a:lnTo>
                  <a:lnTo>
                    <a:pt x="126" y="300"/>
                  </a:lnTo>
                  <a:lnTo>
                    <a:pt x="127" y="293"/>
                  </a:lnTo>
                  <a:lnTo>
                    <a:pt x="127" y="293"/>
                  </a:lnTo>
                  <a:lnTo>
                    <a:pt x="126" y="287"/>
                  </a:lnTo>
                  <a:lnTo>
                    <a:pt x="124" y="281"/>
                  </a:lnTo>
                  <a:lnTo>
                    <a:pt x="122" y="276"/>
                  </a:lnTo>
                  <a:lnTo>
                    <a:pt x="118" y="271"/>
                  </a:lnTo>
                  <a:lnTo>
                    <a:pt x="113" y="268"/>
                  </a:lnTo>
                  <a:lnTo>
                    <a:pt x="108" y="265"/>
                  </a:lnTo>
                  <a:lnTo>
                    <a:pt x="102" y="262"/>
                  </a:lnTo>
                  <a:lnTo>
                    <a:pt x="96" y="262"/>
                  </a:lnTo>
                  <a:lnTo>
                    <a:pt x="96" y="262"/>
                  </a:lnTo>
                  <a:close/>
                  <a:moveTo>
                    <a:pt x="339" y="262"/>
                  </a:moveTo>
                  <a:lnTo>
                    <a:pt x="339" y="262"/>
                  </a:lnTo>
                  <a:lnTo>
                    <a:pt x="332" y="262"/>
                  </a:lnTo>
                  <a:lnTo>
                    <a:pt x="327" y="265"/>
                  </a:lnTo>
                  <a:lnTo>
                    <a:pt x="322" y="268"/>
                  </a:lnTo>
                  <a:lnTo>
                    <a:pt x="317" y="271"/>
                  </a:lnTo>
                  <a:lnTo>
                    <a:pt x="313" y="276"/>
                  </a:lnTo>
                  <a:lnTo>
                    <a:pt x="311" y="281"/>
                  </a:lnTo>
                  <a:lnTo>
                    <a:pt x="308" y="287"/>
                  </a:lnTo>
                  <a:lnTo>
                    <a:pt x="307" y="293"/>
                  </a:lnTo>
                  <a:lnTo>
                    <a:pt x="307" y="293"/>
                  </a:lnTo>
                  <a:lnTo>
                    <a:pt x="308" y="300"/>
                  </a:lnTo>
                  <a:lnTo>
                    <a:pt x="311" y="305"/>
                  </a:lnTo>
                  <a:lnTo>
                    <a:pt x="313" y="311"/>
                  </a:lnTo>
                  <a:lnTo>
                    <a:pt x="317" y="315"/>
                  </a:lnTo>
                  <a:lnTo>
                    <a:pt x="322" y="318"/>
                  </a:lnTo>
                  <a:lnTo>
                    <a:pt x="327" y="322"/>
                  </a:lnTo>
                  <a:lnTo>
                    <a:pt x="332" y="324"/>
                  </a:lnTo>
                  <a:lnTo>
                    <a:pt x="339" y="324"/>
                  </a:lnTo>
                  <a:lnTo>
                    <a:pt x="339" y="324"/>
                  </a:lnTo>
                  <a:lnTo>
                    <a:pt x="345" y="324"/>
                  </a:lnTo>
                  <a:lnTo>
                    <a:pt x="350" y="322"/>
                  </a:lnTo>
                  <a:lnTo>
                    <a:pt x="356" y="318"/>
                  </a:lnTo>
                  <a:lnTo>
                    <a:pt x="360" y="315"/>
                  </a:lnTo>
                  <a:lnTo>
                    <a:pt x="364" y="311"/>
                  </a:lnTo>
                  <a:lnTo>
                    <a:pt x="366" y="305"/>
                  </a:lnTo>
                  <a:lnTo>
                    <a:pt x="369" y="300"/>
                  </a:lnTo>
                  <a:lnTo>
                    <a:pt x="370" y="293"/>
                  </a:lnTo>
                  <a:lnTo>
                    <a:pt x="370" y="293"/>
                  </a:lnTo>
                  <a:lnTo>
                    <a:pt x="369" y="287"/>
                  </a:lnTo>
                  <a:lnTo>
                    <a:pt x="366" y="281"/>
                  </a:lnTo>
                  <a:lnTo>
                    <a:pt x="364" y="276"/>
                  </a:lnTo>
                  <a:lnTo>
                    <a:pt x="360" y="271"/>
                  </a:lnTo>
                  <a:lnTo>
                    <a:pt x="356" y="268"/>
                  </a:lnTo>
                  <a:lnTo>
                    <a:pt x="350" y="265"/>
                  </a:lnTo>
                  <a:lnTo>
                    <a:pt x="345" y="262"/>
                  </a:lnTo>
                  <a:lnTo>
                    <a:pt x="339" y="262"/>
                  </a:lnTo>
                  <a:lnTo>
                    <a:pt x="339" y="262"/>
                  </a:lnTo>
                  <a:close/>
                  <a:moveTo>
                    <a:pt x="71" y="216"/>
                  </a:moveTo>
                  <a:lnTo>
                    <a:pt x="368" y="216"/>
                  </a:lnTo>
                  <a:lnTo>
                    <a:pt x="368" y="86"/>
                  </a:lnTo>
                  <a:lnTo>
                    <a:pt x="338" y="45"/>
                  </a:lnTo>
                  <a:lnTo>
                    <a:pt x="103" y="45"/>
                  </a:lnTo>
                  <a:lnTo>
                    <a:pt x="71" y="88"/>
                  </a:lnTo>
                  <a:lnTo>
                    <a:pt x="71" y="216"/>
                  </a:lnTo>
                  <a:lnTo>
                    <a:pt x="71" y="216"/>
                  </a:lnTo>
                  <a:close/>
                  <a:moveTo>
                    <a:pt x="544" y="102"/>
                  </a:moveTo>
                  <a:lnTo>
                    <a:pt x="681" y="179"/>
                  </a:lnTo>
                  <a:lnTo>
                    <a:pt x="681" y="389"/>
                  </a:lnTo>
                  <a:lnTo>
                    <a:pt x="551" y="389"/>
                  </a:lnTo>
                  <a:lnTo>
                    <a:pt x="551" y="117"/>
                  </a:lnTo>
                  <a:lnTo>
                    <a:pt x="551" y="113"/>
                  </a:lnTo>
                  <a:lnTo>
                    <a:pt x="549" y="110"/>
                  </a:lnTo>
                  <a:lnTo>
                    <a:pt x="544" y="102"/>
                  </a:lnTo>
                  <a:lnTo>
                    <a:pt x="544" y="102"/>
                  </a:lnTo>
                  <a:close/>
                  <a:moveTo>
                    <a:pt x="706" y="193"/>
                  </a:moveTo>
                  <a:lnTo>
                    <a:pt x="803" y="247"/>
                  </a:lnTo>
                  <a:lnTo>
                    <a:pt x="803" y="389"/>
                  </a:lnTo>
                  <a:lnTo>
                    <a:pt x="706" y="389"/>
                  </a:lnTo>
                  <a:lnTo>
                    <a:pt x="706" y="193"/>
                  </a:lnTo>
                  <a:lnTo>
                    <a:pt x="706" y="193"/>
                  </a:lnTo>
                  <a:close/>
                  <a:moveTo>
                    <a:pt x="829" y="262"/>
                  </a:moveTo>
                  <a:lnTo>
                    <a:pt x="858" y="278"/>
                  </a:lnTo>
                  <a:lnTo>
                    <a:pt x="858" y="389"/>
                  </a:lnTo>
                  <a:lnTo>
                    <a:pt x="829" y="389"/>
                  </a:lnTo>
                  <a:lnTo>
                    <a:pt x="829" y="26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103" name="Group 2102">
            <a:extLst>
              <a:ext uri="{FF2B5EF4-FFF2-40B4-BE49-F238E27FC236}">
                <a16:creationId xmlns:a16="http://schemas.microsoft.com/office/drawing/2014/main" id="{633EAFEA-92A7-45C7-8DD3-9DC05D5C549D}"/>
              </a:ext>
            </a:extLst>
          </p:cNvPr>
          <p:cNvGrpSpPr/>
          <p:nvPr/>
        </p:nvGrpSpPr>
        <p:grpSpPr>
          <a:xfrm>
            <a:off x="6066641" y="3980530"/>
            <a:ext cx="612775" cy="612775"/>
            <a:chOff x="4234277" y="4581723"/>
            <a:chExt cx="612775" cy="612775"/>
          </a:xfrm>
        </p:grpSpPr>
        <p:sp>
          <p:nvSpPr>
            <p:cNvPr id="2104" name="Oval 2103">
              <a:extLst>
                <a:ext uri="{FF2B5EF4-FFF2-40B4-BE49-F238E27FC236}">
                  <a16:creationId xmlns:a16="http://schemas.microsoft.com/office/drawing/2014/main" id="{5D510B9B-6099-4A14-9713-DC6FC7D9675B}"/>
                </a:ext>
              </a:extLst>
            </p:cNvPr>
            <p:cNvSpPr/>
            <p:nvPr/>
          </p:nvSpPr>
          <p:spPr bwMode="ltGray">
            <a:xfrm>
              <a:off x="4234277"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105" name="Freeform 52">
              <a:extLst>
                <a:ext uri="{FF2B5EF4-FFF2-40B4-BE49-F238E27FC236}">
                  <a16:creationId xmlns:a16="http://schemas.microsoft.com/office/drawing/2014/main" id="{438CBB97-5C09-47F7-A87B-E2B99391FF50}"/>
                </a:ext>
              </a:extLst>
            </p:cNvPr>
            <p:cNvSpPr>
              <a:spLocks noEditPoints="1"/>
            </p:cNvSpPr>
            <p:nvPr/>
          </p:nvSpPr>
          <p:spPr bwMode="auto">
            <a:xfrm>
              <a:off x="4338285" y="4656740"/>
              <a:ext cx="371475" cy="468312"/>
            </a:xfrm>
            <a:custGeom>
              <a:avLst/>
              <a:gdLst>
                <a:gd name="T0" fmla="*/ 171 w 703"/>
                <a:gd name="T1" fmla="*/ 881 h 885"/>
                <a:gd name="T2" fmla="*/ 262 w 703"/>
                <a:gd name="T3" fmla="*/ 801 h 885"/>
                <a:gd name="T4" fmla="*/ 487 w 703"/>
                <a:gd name="T5" fmla="*/ 800 h 885"/>
                <a:gd name="T6" fmla="*/ 256 w 703"/>
                <a:gd name="T7" fmla="*/ 88 h 885"/>
                <a:gd name="T8" fmla="*/ 542 w 703"/>
                <a:gd name="T9" fmla="*/ 77 h 885"/>
                <a:gd name="T10" fmla="*/ 679 w 703"/>
                <a:gd name="T11" fmla="*/ 225 h 885"/>
                <a:gd name="T12" fmla="*/ 647 w 703"/>
                <a:gd name="T13" fmla="*/ 508 h 885"/>
                <a:gd name="T14" fmla="*/ 481 w 703"/>
                <a:gd name="T15" fmla="*/ 623 h 885"/>
                <a:gd name="T16" fmla="*/ 204 w 703"/>
                <a:gd name="T17" fmla="*/ 549 h 885"/>
                <a:gd name="T18" fmla="*/ 115 w 703"/>
                <a:gd name="T19" fmla="*/ 341 h 885"/>
                <a:gd name="T20" fmla="*/ 219 w 703"/>
                <a:gd name="T21" fmla="*/ 113 h 885"/>
                <a:gd name="T22" fmla="*/ 187 w 703"/>
                <a:gd name="T23" fmla="*/ 314 h 885"/>
                <a:gd name="T24" fmla="*/ 194 w 703"/>
                <a:gd name="T25" fmla="*/ 289 h 885"/>
                <a:gd name="T26" fmla="*/ 367 w 703"/>
                <a:gd name="T27" fmla="*/ 143 h 885"/>
                <a:gd name="T28" fmla="*/ 378 w 703"/>
                <a:gd name="T29" fmla="*/ 121 h 885"/>
                <a:gd name="T30" fmla="*/ 376 w 703"/>
                <a:gd name="T31" fmla="*/ 187 h 885"/>
                <a:gd name="T32" fmla="*/ 373 w 703"/>
                <a:gd name="T33" fmla="*/ 254 h 885"/>
                <a:gd name="T34" fmla="*/ 394 w 703"/>
                <a:gd name="T35" fmla="*/ 218 h 885"/>
                <a:gd name="T36" fmla="*/ 439 w 703"/>
                <a:gd name="T37" fmla="*/ 214 h 885"/>
                <a:gd name="T38" fmla="*/ 477 w 703"/>
                <a:gd name="T39" fmla="*/ 229 h 885"/>
                <a:gd name="T40" fmla="*/ 404 w 703"/>
                <a:gd name="T41" fmla="*/ 254 h 885"/>
                <a:gd name="T42" fmla="*/ 431 w 703"/>
                <a:gd name="T43" fmla="*/ 351 h 885"/>
                <a:gd name="T44" fmla="*/ 511 w 703"/>
                <a:gd name="T45" fmla="*/ 352 h 885"/>
                <a:gd name="T46" fmla="*/ 601 w 703"/>
                <a:gd name="T47" fmla="*/ 404 h 885"/>
                <a:gd name="T48" fmla="*/ 537 w 703"/>
                <a:gd name="T49" fmla="*/ 269 h 885"/>
                <a:gd name="T50" fmla="*/ 542 w 703"/>
                <a:gd name="T51" fmla="*/ 210 h 885"/>
                <a:gd name="T52" fmla="*/ 508 w 703"/>
                <a:gd name="T53" fmla="*/ 200 h 885"/>
                <a:gd name="T54" fmla="*/ 576 w 703"/>
                <a:gd name="T55" fmla="*/ 194 h 885"/>
                <a:gd name="T56" fmla="*/ 603 w 703"/>
                <a:gd name="T57" fmla="*/ 180 h 885"/>
                <a:gd name="T58" fmla="*/ 477 w 703"/>
                <a:gd name="T59" fmla="*/ 78 h 885"/>
                <a:gd name="T60" fmla="*/ 396 w 703"/>
                <a:gd name="T61" fmla="*/ 91 h 885"/>
                <a:gd name="T62" fmla="*/ 355 w 703"/>
                <a:gd name="T63" fmla="*/ 99 h 885"/>
                <a:gd name="T64" fmla="*/ 314 w 703"/>
                <a:gd name="T65" fmla="*/ 486 h 885"/>
                <a:gd name="T66" fmla="*/ 409 w 703"/>
                <a:gd name="T67" fmla="*/ 559 h 885"/>
                <a:gd name="T68" fmla="*/ 452 w 703"/>
                <a:gd name="T69" fmla="*/ 580 h 885"/>
                <a:gd name="T70" fmla="*/ 450 w 703"/>
                <a:gd name="T71" fmla="*/ 542 h 885"/>
                <a:gd name="T72" fmla="*/ 448 w 703"/>
                <a:gd name="T73" fmla="*/ 495 h 885"/>
                <a:gd name="T74" fmla="*/ 429 w 703"/>
                <a:gd name="T75" fmla="*/ 426 h 885"/>
                <a:gd name="T76" fmla="*/ 314 w 703"/>
                <a:gd name="T77" fmla="*/ 475 h 885"/>
                <a:gd name="T78" fmla="*/ 264 w 703"/>
                <a:gd name="T79" fmla="*/ 329 h 885"/>
                <a:gd name="T80" fmla="*/ 180 w 703"/>
                <a:gd name="T81" fmla="*/ 338 h 885"/>
                <a:gd name="T82" fmla="*/ 148 w 703"/>
                <a:gd name="T83" fmla="*/ 347 h 885"/>
                <a:gd name="T84" fmla="*/ 209 w 703"/>
                <a:gd name="T85" fmla="*/ 511 h 885"/>
                <a:gd name="T86" fmla="*/ 267 w 703"/>
                <a:gd name="T87" fmla="*/ 477 h 885"/>
                <a:gd name="T88" fmla="*/ 210 w 703"/>
                <a:gd name="T89" fmla="*/ 500 h 885"/>
                <a:gd name="T90" fmla="*/ 198 w 703"/>
                <a:gd name="T91" fmla="*/ 451 h 885"/>
                <a:gd name="T92" fmla="*/ 253 w 703"/>
                <a:gd name="T93" fmla="*/ 351 h 885"/>
                <a:gd name="T94" fmla="*/ 198 w 703"/>
                <a:gd name="T95" fmla="*/ 170 h 885"/>
                <a:gd name="T96" fmla="*/ 204 w 703"/>
                <a:gd name="T97" fmla="*/ 238 h 885"/>
                <a:gd name="T98" fmla="*/ 227 w 703"/>
                <a:gd name="T99" fmla="*/ 253 h 885"/>
                <a:gd name="T100" fmla="*/ 247 w 703"/>
                <a:gd name="T101" fmla="*/ 200 h 885"/>
                <a:gd name="T102" fmla="*/ 227 w 703"/>
                <a:gd name="T103" fmla="*/ 171 h 885"/>
                <a:gd name="T104" fmla="*/ 696 w 703"/>
                <a:gd name="T105" fmla="*/ 589 h 885"/>
                <a:gd name="T106" fmla="*/ 546 w 703"/>
                <a:gd name="T107" fmla="*/ 663 h 885"/>
                <a:gd name="T108" fmla="*/ 211 w 703"/>
                <a:gd name="T109" fmla="*/ 633 h 885"/>
                <a:gd name="T110" fmla="*/ 55 w 703"/>
                <a:gd name="T111" fmla="*/ 308 h 885"/>
                <a:gd name="T112" fmla="*/ 174 w 703"/>
                <a:gd name="T113" fmla="*/ 73 h 885"/>
                <a:gd name="T114" fmla="*/ 198 w 703"/>
                <a:gd name="T115" fmla="*/ 2 h 885"/>
                <a:gd name="T116" fmla="*/ 45 w 703"/>
                <a:gd name="T117" fmla="*/ 151 h 885"/>
                <a:gd name="T118" fmla="*/ 12 w 703"/>
                <a:gd name="T119" fmla="*/ 443 h 885"/>
                <a:gd name="T120" fmla="*/ 302 w 703"/>
                <a:gd name="T121" fmla="*/ 733 h 885"/>
                <a:gd name="T122" fmla="*/ 623 w 703"/>
                <a:gd name="T123" fmla="*/ 685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3" h="885">
                  <a:moveTo>
                    <a:pt x="583" y="865"/>
                  </a:moveTo>
                  <a:lnTo>
                    <a:pt x="583" y="865"/>
                  </a:lnTo>
                  <a:lnTo>
                    <a:pt x="586" y="868"/>
                  </a:lnTo>
                  <a:lnTo>
                    <a:pt x="586" y="871"/>
                  </a:lnTo>
                  <a:lnTo>
                    <a:pt x="585" y="875"/>
                  </a:lnTo>
                  <a:lnTo>
                    <a:pt x="583" y="878"/>
                  </a:lnTo>
                  <a:lnTo>
                    <a:pt x="581" y="881"/>
                  </a:lnTo>
                  <a:lnTo>
                    <a:pt x="578" y="883"/>
                  </a:lnTo>
                  <a:lnTo>
                    <a:pt x="574" y="885"/>
                  </a:lnTo>
                  <a:lnTo>
                    <a:pt x="571" y="885"/>
                  </a:lnTo>
                  <a:lnTo>
                    <a:pt x="181" y="885"/>
                  </a:lnTo>
                  <a:lnTo>
                    <a:pt x="181" y="885"/>
                  </a:lnTo>
                  <a:lnTo>
                    <a:pt x="176" y="885"/>
                  </a:lnTo>
                  <a:lnTo>
                    <a:pt x="173" y="883"/>
                  </a:lnTo>
                  <a:lnTo>
                    <a:pt x="171" y="881"/>
                  </a:lnTo>
                  <a:lnTo>
                    <a:pt x="170" y="877"/>
                  </a:lnTo>
                  <a:lnTo>
                    <a:pt x="168" y="874"/>
                  </a:lnTo>
                  <a:lnTo>
                    <a:pt x="168" y="870"/>
                  </a:lnTo>
                  <a:lnTo>
                    <a:pt x="168" y="867"/>
                  </a:lnTo>
                  <a:lnTo>
                    <a:pt x="171" y="865"/>
                  </a:lnTo>
                  <a:lnTo>
                    <a:pt x="171" y="865"/>
                  </a:lnTo>
                  <a:lnTo>
                    <a:pt x="175" y="856"/>
                  </a:lnTo>
                  <a:lnTo>
                    <a:pt x="183" y="848"/>
                  </a:lnTo>
                  <a:lnTo>
                    <a:pt x="191" y="840"/>
                  </a:lnTo>
                  <a:lnTo>
                    <a:pt x="201" y="833"/>
                  </a:lnTo>
                  <a:lnTo>
                    <a:pt x="211" y="826"/>
                  </a:lnTo>
                  <a:lnTo>
                    <a:pt x="223" y="819"/>
                  </a:lnTo>
                  <a:lnTo>
                    <a:pt x="235" y="813"/>
                  </a:lnTo>
                  <a:lnTo>
                    <a:pt x="248" y="807"/>
                  </a:lnTo>
                  <a:lnTo>
                    <a:pt x="262" y="801"/>
                  </a:lnTo>
                  <a:lnTo>
                    <a:pt x="277" y="796"/>
                  </a:lnTo>
                  <a:lnTo>
                    <a:pt x="293" y="792"/>
                  </a:lnTo>
                  <a:lnTo>
                    <a:pt x="308" y="788"/>
                  </a:lnTo>
                  <a:lnTo>
                    <a:pt x="324" y="786"/>
                  </a:lnTo>
                  <a:lnTo>
                    <a:pt x="342" y="784"/>
                  </a:lnTo>
                  <a:lnTo>
                    <a:pt x="359" y="782"/>
                  </a:lnTo>
                  <a:lnTo>
                    <a:pt x="375" y="781"/>
                  </a:lnTo>
                  <a:lnTo>
                    <a:pt x="375" y="781"/>
                  </a:lnTo>
                  <a:lnTo>
                    <a:pt x="393" y="782"/>
                  </a:lnTo>
                  <a:lnTo>
                    <a:pt x="409" y="784"/>
                  </a:lnTo>
                  <a:lnTo>
                    <a:pt x="425" y="785"/>
                  </a:lnTo>
                  <a:lnTo>
                    <a:pt x="441" y="788"/>
                  </a:lnTo>
                  <a:lnTo>
                    <a:pt x="457" y="792"/>
                  </a:lnTo>
                  <a:lnTo>
                    <a:pt x="472" y="795"/>
                  </a:lnTo>
                  <a:lnTo>
                    <a:pt x="487" y="800"/>
                  </a:lnTo>
                  <a:lnTo>
                    <a:pt x="501" y="806"/>
                  </a:lnTo>
                  <a:lnTo>
                    <a:pt x="514" y="811"/>
                  </a:lnTo>
                  <a:lnTo>
                    <a:pt x="527" y="817"/>
                  </a:lnTo>
                  <a:lnTo>
                    <a:pt x="540" y="824"/>
                  </a:lnTo>
                  <a:lnTo>
                    <a:pt x="550" y="831"/>
                  </a:lnTo>
                  <a:lnTo>
                    <a:pt x="560" y="839"/>
                  </a:lnTo>
                  <a:lnTo>
                    <a:pt x="570" y="847"/>
                  </a:lnTo>
                  <a:lnTo>
                    <a:pt x="578" y="855"/>
                  </a:lnTo>
                  <a:lnTo>
                    <a:pt x="583" y="865"/>
                  </a:lnTo>
                  <a:lnTo>
                    <a:pt x="583" y="865"/>
                  </a:lnTo>
                  <a:close/>
                  <a:moveTo>
                    <a:pt x="219" y="113"/>
                  </a:moveTo>
                  <a:lnTo>
                    <a:pt x="219" y="113"/>
                  </a:lnTo>
                  <a:lnTo>
                    <a:pt x="231" y="104"/>
                  </a:lnTo>
                  <a:lnTo>
                    <a:pt x="244" y="96"/>
                  </a:lnTo>
                  <a:lnTo>
                    <a:pt x="256" y="88"/>
                  </a:lnTo>
                  <a:lnTo>
                    <a:pt x="269" y="80"/>
                  </a:lnTo>
                  <a:lnTo>
                    <a:pt x="282" y="74"/>
                  </a:lnTo>
                  <a:lnTo>
                    <a:pt x="294" y="67"/>
                  </a:lnTo>
                  <a:lnTo>
                    <a:pt x="308" y="62"/>
                  </a:lnTo>
                  <a:lnTo>
                    <a:pt x="322" y="58"/>
                  </a:lnTo>
                  <a:lnTo>
                    <a:pt x="336" y="54"/>
                  </a:lnTo>
                  <a:lnTo>
                    <a:pt x="350" y="51"/>
                  </a:lnTo>
                  <a:lnTo>
                    <a:pt x="378" y="46"/>
                  </a:lnTo>
                  <a:lnTo>
                    <a:pt x="405" y="45"/>
                  </a:lnTo>
                  <a:lnTo>
                    <a:pt x="434" y="46"/>
                  </a:lnTo>
                  <a:lnTo>
                    <a:pt x="462" y="49"/>
                  </a:lnTo>
                  <a:lnTo>
                    <a:pt x="489" y="56"/>
                  </a:lnTo>
                  <a:lnTo>
                    <a:pt x="516" y="64"/>
                  </a:lnTo>
                  <a:lnTo>
                    <a:pt x="529" y="70"/>
                  </a:lnTo>
                  <a:lnTo>
                    <a:pt x="542" y="77"/>
                  </a:lnTo>
                  <a:lnTo>
                    <a:pt x="555" y="84"/>
                  </a:lnTo>
                  <a:lnTo>
                    <a:pt x="567" y="91"/>
                  </a:lnTo>
                  <a:lnTo>
                    <a:pt x="579" y="99"/>
                  </a:lnTo>
                  <a:lnTo>
                    <a:pt x="590" y="108"/>
                  </a:lnTo>
                  <a:lnTo>
                    <a:pt x="602" y="118"/>
                  </a:lnTo>
                  <a:lnTo>
                    <a:pt x="612" y="127"/>
                  </a:lnTo>
                  <a:lnTo>
                    <a:pt x="623" y="138"/>
                  </a:lnTo>
                  <a:lnTo>
                    <a:pt x="633" y="149"/>
                  </a:lnTo>
                  <a:lnTo>
                    <a:pt x="633" y="149"/>
                  </a:lnTo>
                  <a:lnTo>
                    <a:pt x="642" y="162"/>
                  </a:lnTo>
                  <a:lnTo>
                    <a:pt x="650" y="173"/>
                  </a:lnTo>
                  <a:lnTo>
                    <a:pt x="659" y="186"/>
                  </a:lnTo>
                  <a:lnTo>
                    <a:pt x="667" y="199"/>
                  </a:lnTo>
                  <a:lnTo>
                    <a:pt x="672" y="211"/>
                  </a:lnTo>
                  <a:lnTo>
                    <a:pt x="679" y="225"/>
                  </a:lnTo>
                  <a:lnTo>
                    <a:pt x="684" y="238"/>
                  </a:lnTo>
                  <a:lnTo>
                    <a:pt x="689" y="252"/>
                  </a:lnTo>
                  <a:lnTo>
                    <a:pt x="692" y="266"/>
                  </a:lnTo>
                  <a:lnTo>
                    <a:pt x="696" y="280"/>
                  </a:lnTo>
                  <a:lnTo>
                    <a:pt x="700" y="307"/>
                  </a:lnTo>
                  <a:lnTo>
                    <a:pt x="701" y="335"/>
                  </a:lnTo>
                  <a:lnTo>
                    <a:pt x="700" y="364"/>
                  </a:lnTo>
                  <a:lnTo>
                    <a:pt x="697" y="392"/>
                  </a:lnTo>
                  <a:lnTo>
                    <a:pt x="690" y="419"/>
                  </a:lnTo>
                  <a:lnTo>
                    <a:pt x="681" y="446"/>
                  </a:lnTo>
                  <a:lnTo>
                    <a:pt x="676" y="459"/>
                  </a:lnTo>
                  <a:lnTo>
                    <a:pt x="669" y="471"/>
                  </a:lnTo>
                  <a:lnTo>
                    <a:pt x="662" y="484"/>
                  </a:lnTo>
                  <a:lnTo>
                    <a:pt x="655" y="497"/>
                  </a:lnTo>
                  <a:lnTo>
                    <a:pt x="647" y="508"/>
                  </a:lnTo>
                  <a:lnTo>
                    <a:pt x="638" y="520"/>
                  </a:lnTo>
                  <a:lnTo>
                    <a:pt x="629" y="532"/>
                  </a:lnTo>
                  <a:lnTo>
                    <a:pt x="619" y="542"/>
                  </a:lnTo>
                  <a:lnTo>
                    <a:pt x="608" y="552"/>
                  </a:lnTo>
                  <a:lnTo>
                    <a:pt x="597" y="563"/>
                  </a:lnTo>
                  <a:lnTo>
                    <a:pt x="597" y="563"/>
                  </a:lnTo>
                  <a:lnTo>
                    <a:pt x="585" y="572"/>
                  </a:lnTo>
                  <a:lnTo>
                    <a:pt x="573" y="581"/>
                  </a:lnTo>
                  <a:lnTo>
                    <a:pt x="560" y="589"/>
                  </a:lnTo>
                  <a:lnTo>
                    <a:pt x="548" y="596"/>
                  </a:lnTo>
                  <a:lnTo>
                    <a:pt x="535" y="603"/>
                  </a:lnTo>
                  <a:lnTo>
                    <a:pt x="521" y="609"/>
                  </a:lnTo>
                  <a:lnTo>
                    <a:pt x="508" y="614"/>
                  </a:lnTo>
                  <a:lnTo>
                    <a:pt x="494" y="618"/>
                  </a:lnTo>
                  <a:lnTo>
                    <a:pt x="481" y="623"/>
                  </a:lnTo>
                  <a:lnTo>
                    <a:pt x="467" y="625"/>
                  </a:lnTo>
                  <a:lnTo>
                    <a:pt x="439" y="630"/>
                  </a:lnTo>
                  <a:lnTo>
                    <a:pt x="411" y="631"/>
                  </a:lnTo>
                  <a:lnTo>
                    <a:pt x="382" y="630"/>
                  </a:lnTo>
                  <a:lnTo>
                    <a:pt x="355" y="626"/>
                  </a:lnTo>
                  <a:lnTo>
                    <a:pt x="327" y="621"/>
                  </a:lnTo>
                  <a:lnTo>
                    <a:pt x="300" y="611"/>
                  </a:lnTo>
                  <a:lnTo>
                    <a:pt x="287" y="606"/>
                  </a:lnTo>
                  <a:lnTo>
                    <a:pt x="275" y="600"/>
                  </a:lnTo>
                  <a:lnTo>
                    <a:pt x="262" y="593"/>
                  </a:lnTo>
                  <a:lnTo>
                    <a:pt x="249" y="585"/>
                  </a:lnTo>
                  <a:lnTo>
                    <a:pt x="238" y="577"/>
                  </a:lnTo>
                  <a:lnTo>
                    <a:pt x="226" y="569"/>
                  </a:lnTo>
                  <a:lnTo>
                    <a:pt x="215" y="558"/>
                  </a:lnTo>
                  <a:lnTo>
                    <a:pt x="204" y="549"/>
                  </a:lnTo>
                  <a:lnTo>
                    <a:pt x="194" y="539"/>
                  </a:lnTo>
                  <a:lnTo>
                    <a:pt x="183" y="527"/>
                  </a:lnTo>
                  <a:lnTo>
                    <a:pt x="183" y="527"/>
                  </a:lnTo>
                  <a:lnTo>
                    <a:pt x="174" y="515"/>
                  </a:lnTo>
                  <a:lnTo>
                    <a:pt x="165" y="503"/>
                  </a:lnTo>
                  <a:lnTo>
                    <a:pt x="157" y="490"/>
                  </a:lnTo>
                  <a:lnTo>
                    <a:pt x="150" y="477"/>
                  </a:lnTo>
                  <a:lnTo>
                    <a:pt x="143" y="465"/>
                  </a:lnTo>
                  <a:lnTo>
                    <a:pt x="137" y="452"/>
                  </a:lnTo>
                  <a:lnTo>
                    <a:pt x="133" y="438"/>
                  </a:lnTo>
                  <a:lnTo>
                    <a:pt x="128" y="424"/>
                  </a:lnTo>
                  <a:lnTo>
                    <a:pt x="123" y="410"/>
                  </a:lnTo>
                  <a:lnTo>
                    <a:pt x="121" y="396"/>
                  </a:lnTo>
                  <a:lnTo>
                    <a:pt x="116" y="369"/>
                  </a:lnTo>
                  <a:lnTo>
                    <a:pt x="115" y="341"/>
                  </a:lnTo>
                  <a:lnTo>
                    <a:pt x="116" y="312"/>
                  </a:lnTo>
                  <a:lnTo>
                    <a:pt x="120" y="284"/>
                  </a:lnTo>
                  <a:lnTo>
                    <a:pt x="126" y="258"/>
                  </a:lnTo>
                  <a:lnTo>
                    <a:pt x="135" y="230"/>
                  </a:lnTo>
                  <a:lnTo>
                    <a:pt x="141" y="217"/>
                  </a:lnTo>
                  <a:lnTo>
                    <a:pt x="146" y="204"/>
                  </a:lnTo>
                  <a:lnTo>
                    <a:pt x="153" y="192"/>
                  </a:lnTo>
                  <a:lnTo>
                    <a:pt x="161" y="179"/>
                  </a:lnTo>
                  <a:lnTo>
                    <a:pt x="170" y="167"/>
                  </a:lnTo>
                  <a:lnTo>
                    <a:pt x="178" y="156"/>
                  </a:lnTo>
                  <a:lnTo>
                    <a:pt x="188" y="144"/>
                  </a:lnTo>
                  <a:lnTo>
                    <a:pt x="197" y="134"/>
                  </a:lnTo>
                  <a:lnTo>
                    <a:pt x="208" y="123"/>
                  </a:lnTo>
                  <a:lnTo>
                    <a:pt x="219" y="113"/>
                  </a:lnTo>
                  <a:lnTo>
                    <a:pt x="219" y="113"/>
                  </a:lnTo>
                  <a:close/>
                  <a:moveTo>
                    <a:pt x="142" y="308"/>
                  </a:moveTo>
                  <a:lnTo>
                    <a:pt x="142" y="308"/>
                  </a:lnTo>
                  <a:lnTo>
                    <a:pt x="146" y="306"/>
                  </a:lnTo>
                  <a:lnTo>
                    <a:pt x="153" y="305"/>
                  </a:lnTo>
                  <a:lnTo>
                    <a:pt x="153" y="305"/>
                  </a:lnTo>
                  <a:lnTo>
                    <a:pt x="157" y="305"/>
                  </a:lnTo>
                  <a:lnTo>
                    <a:pt x="159" y="306"/>
                  </a:lnTo>
                  <a:lnTo>
                    <a:pt x="165" y="310"/>
                  </a:lnTo>
                  <a:lnTo>
                    <a:pt x="165" y="310"/>
                  </a:lnTo>
                  <a:lnTo>
                    <a:pt x="168" y="315"/>
                  </a:lnTo>
                  <a:lnTo>
                    <a:pt x="171" y="321"/>
                  </a:lnTo>
                  <a:lnTo>
                    <a:pt x="171" y="321"/>
                  </a:lnTo>
                  <a:lnTo>
                    <a:pt x="182" y="317"/>
                  </a:lnTo>
                  <a:lnTo>
                    <a:pt x="182" y="317"/>
                  </a:lnTo>
                  <a:lnTo>
                    <a:pt x="187" y="314"/>
                  </a:lnTo>
                  <a:lnTo>
                    <a:pt x="190" y="312"/>
                  </a:lnTo>
                  <a:lnTo>
                    <a:pt x="190" y="312"/>
                  </a:lnTo>
                  <a:lnTo>
                    <a:pt x="189" y="310"/>
                  </a:lnTo>
                  <a:lnTo>
                    <a:pt x="183" y="303"/>
                  </a:lnTo>
                  <a:lnTo>
                    <a:pt x="183" y="303"/>
                  </a:lnTo>
                  <a:lnTo>
                    <a:pt x="182" y="300"/>
                  </a:lnTo>
                  <a:lnTo>
                    <a:pt x="182" y="298"/>
                  </a:lnTo>
                  <a:lnTo>
                    <a:pt x="182" y="298"/>
                  </a:lnTo>
                  <a:lnTo>
                    <a:pt x="183" y="296"/>
                  </a:lnTo>
                  <a:lnTo>
                    <a:pt x="186" y="295"/>
                  </a:lnTo>
                  <a:lnTo>
                    <a:pt x="186" y="295"/>
                  </a:lnTo>
                  <a:lnTo>
                    <a:pt x="190" y="293"/>
                  </a:lnTo>
                  <a:lnTo>
                    <a:pt x="194" y="291"/>
                  </a:lnTo>
                  <a:lnTo>
                    <a:pt x="194" y="291"/>
                  </a:lnTo>
                  <a:lnTo>
                    <a:pt x="194" y="289"/>
                  </a:lnTo>
                  <a:lnTo>
                    <a:pt x="194" y="289"/>
                  </a:lnTo>
                  <a:lnTo>
                    <a:pt x="180" y="291"/>
                  </a:lnTo>
                  <a:lnTo>
                    <a:pt x="166" y="293"/>
                  </a:lnTo>
                  <a:lnTo>
                    <a:pt x="153" y="298"/>
                  </a:lnTo>
                  <a:lnTo>
                    <a:pt x="142" y="304"/>
                  </a:lnTo>
                  <a:lnTo>
                    <a:pt x="142" y="304"/>
                  </a:lnTo>
                  <a:lnTo>
                    <a:pt x="142" y="308"/>
                  </a:lnTo>
                  <a:lnTo>
                    <a:pt x="142" y="308"/>
                  </a:lnTo>
                  <a:close/>
                  <a:moveTo>
                    <a:pt x="356" y="165"/>
                  </a:moveTo>
                  <a:lnTo>
                    <a:pt x="356" y="165"/>
                  </a:lnTo>
                  <a:lnTo>
                    <a:pt x="363" y="163"/>
                  </a:lnTo>
                  <a:lnTo>
                    <a:pt x="366" y="163"/>
                  </a:lnTo>
                  <a:lnTo>
                    <a:pt x="371" y="164"/>
                  </a:lnTo>
                  <a:lnTo>
                    <a:pt x="371" y="164"/>
                  </a:lnTo>
                  <a:lnTo>
                    <a:pt x="367" y="143"/>
                  </a:lnTo>
                  <a:lnTo>
                    <a:pt x="367" y="143"/>
                  </a:lnTo>
                  <a:lnTo>
                    <a:pt x="363" y="119"/>
                  </a:lnTo>
                  <a:lnTo>
                    <a:pt x="363" y="113"/>
                  </a:lnTo>
                  <a:lnTo>
                    <a:pt x="364" y="111"/>
                  </a:lnTo>
                  <a:lnTo>
                    <a:pt x="364" y="111"/>
                  </a:lnTo>
                  <a:lnTo>
                    <a:pt x="366" y="110"/>
                  </a:lnTo>
                  <a:lnTo>
                    <a:pt x="368" y="108"/>
                  </a:lnTo>
                  <a:lnTo>
                    <a:pt x="368" y="108"/>
                  </a:lnTo>
                  <a:lnTo>
                    <a:pt x="370" y="110"/>
                  </a:lnTo>
                  <a:lnTo>
                    <a:pt x="372" y="110"/>
                  </a:lnTo>
                  <a:lnTo>
                    <a:pt x="373" y="112"/>
                  </a:lnTo>
                  <a:lnTo>
                    <a:pt x="373" y="112"/>
                  </a:lnTo>
                  <a:lnTo>
                    <a:pt x="374" y="113"/>
                  </a:lnTo>
                  <a:lnTo>
                    <a:pt x="374" y="113"/>
                  </a:lnTo>
                  <a:lnTo>
                    <a:pt x="378" y="121"/>
                  </a:lnTo>
                  <a:lnTo>
                    <a:pt x="382" y="129"/>
                  </a:lnTo>
                  <a:lnTo>
                    <a:pt x="382" y="129"/>
                  </a:lnTo>
                  <a:lnTo>
                    <a:pt x="388" y="137"/>
                  </a:lnTo>
                  <a:lnTo>
                    <a:pt x="393" y="147"/>
                  </a:lnTo>
                  <a:lnTo>
                    <a:pt x="396" y="156"/>
                  </a:lnTo>
                  <a:lnTo>
                    <a:pt x="396" y="160"/>
                  </a:lnTo>
                  <a:lnTo>
                    <a:pt x="396" y="165"/>
                  </a:lnTo>
                  <a:lnTo>
                    <a:pt x="396" y="165"/>
                  </a:lnTo>
                  <a:lnTo>
                    <a:pt x="394" y="170"/>
                  </a:lnTo>
                  <a:lnTo>
                    <a:pt x="392" y="174"/>
                  </a:lnTo>
                  <a:lnTo>
                    <a:pt x="388" y="179"/>
                  </a:lnTo>
                  <a:lnTo>
                    <a:pt x="382" y="182"/>
                  </a:lnTo>
                  <a:lnTo>
                    <a:pt x="382" y="182"/>
                  </a:lnTo>
                  <a:lnTo>
                    <a:pt x="379" y="185"/>
                  </a:lnTo>
                  <a:lnTo>
                    <a:pt x="376" y="187"/>
                  </a:lnTo>
                  <a:lnTo>
                    <a:pt x="375" y="191"/>
                  </a:lnTo>
                  <a:lnTo>
                    <a:pt x="375" y="194"/>
                  </a:lnTo>
                  <a:lnTo>
                    <a:pt x="375" y="194"/>
                  </a:lnTo>
                  <a:lnTo>
                    <a:pt x="375" y="200"/>
                  </a:lnTo>
                  <a:lnTo>
                    <a:pt x="374" y="207"/>
                  </a:lnTo>
                  <a:lnTo>
                    <a:pt x="372" y="215"/>
                  </a:lnTo>
                  <a:lnTo>
                    <a:pt x="366" y="225"/>
                  </a:lnTo>
                  <a:lnTo>
                    <a:pt x="366" y="225"/>
                  </a:lnTo>
                  <a:lnTo>
                    <a:pt x="370" y="231"/>
                  </a:lnTo>
                  <a:lnTo>
                    <a:pt x="372" y="236"/>
                  </a:lnTo>
                  <a:lnTo>
                    <a:pt x="372" y="241"/>
                  </a:lnTo>
                  <a:lnTo>
                    <a:pt x="372" y="246"/>
                  </a:lnTo>
                  <a:lnTo>
                    <a:pt x="372" y="246"/>
                  </a:lnTo>
                  <a:lnTo>
                    <a:pt x="372" y="249"/>
                  </a:lnTo>
                  <a:lnTo>
                    <a:pt x="373" y="254"/>
                  </a:lnTo>
                  <a:lnTo>
                    <a:pt x="374" y="259"/>
                  </a:lnTo>
                  <a:lnTo>
                    <a:pt x="379" y="263"/>
                  </a:lnTo>
                  <a:lnTo>
                    <a:pt x="379" y="263"/>
                  </a:lnTo>
                  <a:lnTo>
                    <a:pt x="385" y="262"/>
                  </a:lnTo>
                  <a:lnTo>
                    <a:pt x="387" y="260"/>
                  </a:lnTo>
                  <a:lnTo>
                    <a:pt x="387" y="260"/>
                  </a:lnTo>
                  <a:lnTo>
                    <a:pt x="389" y="256"/>
                  </a:lnTo>
                  <a:lnTo>
                    <a:pt x="389" y="252"/>
                  </a:lnTo>
                  <a:lnTo>
                    <a:pt x="389" y="241"/>
                  </a:lnTo>
                  <a:lnTo>
                    <a:pt x="389" y="241"/>
                  </a:lnTo>
                  <a:lnTo>
                    <a:pt x="388" y="231"/>
                  </a:lnTo>
                  <a:lnTo>
                    <a:pt x="389" y="225"/>
                  </a:lnTo>
                  <a:lnTo>
                    <a:pt x="390" y="221"/>
                  </a:lnTo>
                  <a:lnTo>
                    <a:pt x="390" y="221"/>
                  </a:lnTo>
                  <a:lnTo>
                    <a:pt x="394" y="218"/>
                  </a:lnTo>
                  <a:lnTo>
                    <a:pt x="397" y="216"/>
                  </a:lnTo>
                  <a:lnTo>
                    <a:pt x="397" y="216"/>
                  </a:lnTo>
                  <a:lnTo>
                    <a:pt x="400" y="214"/>
                  </a:lnTo>
                  <a:lnTo>
                    <a:pt x="398" y="211"/>
                  </a:lnTo>
                  <a:lnTo>
                    <a:pt x="398" y="211"/>
                  </a:lnTo>
                  <a:lnTo>
                    <a:pt x="398" y="209"/>
                  </a:lnTo>
                  <a:lnTo>
                    <a:pt x="400" y="207"/>
                  </a:lnTo>
                  <a:lnTo>
                    <a:pt x="400" y="207"/>
                  </a:lnTo>
                  <a:lnTo>
                    <a:pt x="401" y="206"/>
                  </a:lnTo>
                  <a:lnTo>
                    <a:pt x="403" y="204"/>
                  </a:lnTo>
                  <a:lnTo>
                    <a:pt x="403" y="204"/>
                  </a:lnTo>
                  <a:lnTo>
                    <a:pt x="412" y="206"/>
                  </a:lnTo>
                  <a:lnTo>
                    <a:pt x="422" y="207"/>
                  </a:lnTo>
                  <a:lnTo>
                    <a:pt x="431" y="209"/>
                  </a:lnTo>
                  <a:lnTo>
                    <a:pt x="439" y="214"/>
                  </a:lnTo>
                  <a:lnTo>
                    <a:pt x="439" y="214"/>
                  </a:lnTo>
                  <a:lnTo>
                    <a:pt x="441" y="209"/>
                  </a:lnTo>
                  <a:lnTo>
                    <a:pt x="445" y="204"/>
                  </a:lnTo>
                  <a:lnTo>
                    <a:pt x="445" y="204"/>
                  </a:lnTo>
                  <a:lnTo>
                    <a:pt x="452" y="200"/>
                  </a:lnTo>
                  <a:lnTo>
                    <a:pt x="459" y="197"/>
                  </a:lnTo>
                  <a:lnTo>
                    <a:pt x="467" y="197"/>
                  </a:lnTo>
                  <a:lnTo>
                    <a:pt x="474" y="200"/>
                  </a:lnTo>
                  <a:lnTo>
                    <a:pt x="474" y="200"/>
                  </a:lnTo>
                  <a:lnTo>
                    <a:pt x="478" y="206"/>
                  </a:lnTo>
                  <a:lnTo>
                    <a:pt x="481" y="210"/>
                  </a:lnTo>
                  <a:lnTo>
                    <a:pt x="482" y="216"/>
                  </a:lnTo>
                  <a:lnTo>
                    <a:pt x="481" y="223"/>
                  </a:lnTo>
                  <a:lnTo>
                    <a:pt x="481" y="223"/>
                  </a:lnTo>
                  <a:lnTo>
                    <a:pt x="477" y="229"/>
                  </a:lnTo>
                  <a:lnTo>
                    <a:pt x="474" y="234"/>
                  </a:lnTo>
                  <a:lnTo>
                    <a:pt x="468" y="239"/>
                  </a:lnTo>
                  <a:lnTo>
                    <a:pt x="462" y="244"/>
                  </a:lnTo>
                  <a:lnTo>
                    <a:pt x="456" y="247"/>
                  </a:lnTo>
                  <a:lnTo>
                    <a:pt x="449" y="251"/>
                  </a:lnTo>
                  <a:lnTo>
                    <a:pt x="442" y="252"/>
                  </a:lnTo>
                  <a:lnTo>
                    <a:pt x="435" y="253"/>
                  </a:lnTo>
                  <a:lnTo>
                    <a:pt x="435" y="253"/>
                  </a:lnTo>
                  <a:lnTo>
                    <a:pt x="431" y="252"/>
                  </a:lnTo>
                  <a:lnTo>
                    <a:pt x="426" y="251"/>
                  </a:lnTo>
                  <a:lnTo>
                    <a:pt x="422" y="248"/>
                  </a:lnTo>
                  <a:lnTo>
                    <a:pt x="418" y="246"/>
                  </a:lnTo>
                  <a:lnTo>
                    <a:pt x="418" y="246"/>
                  </a:lnTo>
                  <a:lnTo>
                    <a:pt x="411" y="249"/>
                  </a:lnTo>
                  <a:lnTo>
                    <a:pt x="404" y="254"/>
                  </a:lnTo>
                  <a:lnTo>
                    <a:pt x="400" y="260"/>
                  </a:lnTo>
                  <a:lnTo>
                    <a:pt x="396" y="267"/>
                  </a:lnTo>
                  <a:lnTo>
                    <a:pt x="396" y="267"/>
                  </a:lnTo>
                  <a:lnTo>
                    <a:pt x="394" y="274"/>
                  </a:lnTo>
                  <a:lnTo>
                    <a:pt x="393" y="281"/>
                  </a:lnTo>
                  <a:lnTo>
                    <a:pt x="393" y="289"/>
                  </a:lnTo>
                  <a:lnTo>
                    <a:pt x="394" y="297"/>
                  </a:lnTo>
                  <a:lnTo>
                    <a:pt x="396" y="306"/>
                  </a:lnTo>
                  <a:lnTo>
                    <a:pt x="398" y="314"/>
                  </a:lnTo>
                  <a:lnTo>
                    <a:pt x="403" y="322"/>
                  </a:lnTo>
                  <a:lnTo>
                    <a:pt x="408" y="330"/>
                  </a:lnTo>
                  <a:lnTo>
                    <a:pt x="408" y="330"/>
                  </a:lnTo>
                  <a:lnTo>
                    <a:pt x="417" y="342"/>
                  </a:lnTo>
                  <a:lnTo>
                    <a:pt x="424" y="349"/>
                  </a:lnTo>
                  <a:lnTo>
                    <a:pt x="431" y="351"/>
                  </a:lnTo>
                  <a:lnTo>
                    <a:pt x="437" y="352"/>
                  </a:lnTo>
                  <a:lnTo>
                    <a:pt x="437" y="352"/>
                  </a:lnTo>
                  <a:lnTo>
                    <a:pt x="442" y="351"/>
                  </a:lnTo>
                  <a:lnTo>
                    <a:pt x="448" y="349"/>
                  </a:lnTo>
                  <a:lnTo>
                    <a:pt x="461" y="343"/>
                  </a:lnTo>
                  <a:lnTo>
                    <a:pt x="461" y="343"/>
                  </a:lnTo>
                  <a:lnTo>
                    <a:pt x="474" y="337"/>
                  </a:lnTo>
                  <a:lnTo>
                    <a:pt x="481" y="335"/>
                  </a:lnTo>
                  <a:lnTo>
                    <a:pt x="487" y="333"/>
                  </a:lnTo>
                  <a:lnTo>
                    <a:pt x="487" y="333"/>
                  </a:lnTo>
                  <a:lnTo>
                    <a:pt x="487" y="333"/>
                  </a:lnTo>
                  <a:lnTo>
                    <a:pt x="487" y="333"/>
                  </a:lnTo>
                  <a:lnTo>
                    <a:pt x="491" y="334"/>
                  </a:lnTo>
                  <a:lnTo>
                    <a:pt x="491" y="334"/>
                  </a:lnTo>
                  <a:lnTo>
                    <a:pt x="511" y="352"/>
                  </a:lnTo>
                  <a:lnTo>
                    <a:pt x="511" y="352"/>
                  </a:lnTo>
                  <a:lnTo>
                    <a:pt x="531" y="373"/>
                  </a:lnTo>
                  <a:lnTo>
                    <a:pt x="557" y="396"/>
                  </a:lnTo>
                  <a:lnTo>
                    <a:pt x="568" y="407"/>
                  </a:lnTo>
                  <a:lnTo>
                    <a:pt x="580" y="415"/>
                  </a:lnTo>
                  <a:lnTo>
                    <a:pt x="590" y="421"/>
                  </a:lnTo>
                  <a:lnTo>
                    <a:pt x="595" y="422"/>
                  </a:lnTo>
                  <a:lnTo>
                    <a:pt x="598" y="423"/>
                  </a:lnTo>
                  <a:lnTo>
                    <a:pt x="598" y="423"/>
                  </a:lnTo>
                  <a:lnTo>
                    <a:pt x="600" y="423"/>
                  </a:lnTo>
                  <a:lnTo>
                    <a:pt x="601" y="422"/>
                  </a:lnTo>
                  <a:lnTo>
                    <a:pt x="601" y="422"/>
                  </a:lnTo>
                  <a:lnTo>
                    <a:pt x="601" y="419"/>
                  </a:lnTo>
                  <a:lnTo>
                    <a:pt x="602" y="414"/>
                  </a:lnTo>
                  <a:lnTo>
                    <a:pt x="601" y="404"/>
                  </a:lnTo>
                  <a:lnTo>
                    <a:pt x="597" y="391"/>
                  </a:lnTo>
                  <a:lnTo>
                    <a:pt x="597" y="391"/>
                  </a:lnTo>
                  <a:lnTo>
                    <a:pt x="589" y="362"/>
                  </a:lnTo>
                  <a:lnTo>
                    <a:pt x="589" y="362"/>
                  </a:lnTo>
                  <a:lnTo>
                    <a:pt x="582" y="335"/>
                  </a:lnTo>
                  <a:lnTo>
                    <a:pt x="574" y="307"/>
                  </a:lnTo>
                  <a:lnTo>
                    <a:pt x="565" y="282"/>
                  </a:lnTo>
                  <a:lnTo>
                    <a:pt x="559" y="270"/>
                  </a:lnTo>
                  <a:lnTo>
                    <a:pt x="555" y="261"/>
                  </a:lnTo>
                  <a:lnTo>
                    <a:pt x="555" y="261"/>
                  </a:lnTo>
                  <a:lnTo>
                    <a:pt x="549" y="266"/>
                  </a:lnTo>
                  <a:lnTo>
                    <a:pt x="543" y="270"/>
                  </a:lnTo>
                  <a:lnTo>
                    <a:pt x="543" y="270"/>
                  </a:lnTo>
                  <a:lnTo>
                    <a:pt x="540" y="270"/>
                  </a:lnTo>
                  <a:lnTo>
                    <a:pt x="537" y="269"/>
                  </a:lnTo>
                  <a:lnTo>
                    <a:pt x="537" y="269"/>
                  </a:lnTo>
                  <a:lnTo>
                    <a:pt x="535" y="266"/>
                  </a:lnTo>
                  <a:lnTo>
                    <a:pt x="534" y="262"/>
                  </a:lnTo>
                  <a:lnTo>
                    <a:pt x="535" y="256"/>
                  </a:lnTo>
                  <a:lnTo>
                    <a:pt x="537" y="249"/>
                  </a:lnTo>
                  <a:lnTo>
                    <a:pt x="540" y="243"/>
                  </a:lnTo>
                  <a:lnTo>
                    <a:pt x="540" y="243"/>
                  </a:lnTo>
                  <a:lnTo>
                    <a:pt x="543" y="236"/>
                  </a:lnTo>
                  <a:lnTo>
                    <a:pt x="545" y="228"/>
                  </a:lnTo>
                  <a:lnTo>
                    <a:pt x="546" y="221"/>
                  </a:lnTo>
                  <a:lnTo>
                    <a:pt x="546" y="216"/>
                  </a:lnTo>
                  <a:lnTo>
                    <a:pt x="545" y="212"/>
                  </a:lnTo>
                  <a:lnTo>
                    <a:pt x="545" y="212"/>
                  </a:lnTo>
                  <a:lnTo>
                    <a:pt x="544" y="211"/>
                  </a:lnTo>
                  <a:lnTo>
                    <a:pt x="542" y="210"/>
                  </a:lnTo>
                  <a:lnTo>
                    <a:pt x="542" y="210"/>
                  </a:lnTo>
                  <a:lnTo>
                    <a:pt x="538" y="211"/>
                  </a:lnTo>
                  <a:lnTo>
                    <a:pt x="535" y="214"/>
                  </a:lnTo>
                  <a:lnTo>
                    <a:pt x="535" y="214"/>
                  </a:lnTo>
                  <a:lnTo>
                    <a:pt x="530" y="217"/>
                  </a:lnTo>
                  <a:lnTo>
                    <a:pt x="527" y="218"/>
                  </a:lnTo>
                  <a:lnTo>
                    <a:pt x="523" y="219"/>
                  </a:lnTo>
                  <a:lnTo>
                    <a:pt x="523" y="219"/>
                  </a:lnTo>
                  <a:lnTo>
                    <a:pt x="519" y="218"/>
                  </a:lnTo>
                  <a:lnTo>
                    <a:pt x="514" y="215"/>
                  </a:lnTo>
                  <a:lnTo>
                    <a:pt x="511" y="210"/>
                  </a:lnTo>
                  <a:lnTo>
                    <a:pt x="508" y="206"/>
                  </a:lnTo>
                  <a:lnTo>
                    <a:pt x="508" y="206"/>
                  </a:lnTo>
                  <a:lnTo>
                    <a:pt x="507" y="203"/>
                  </a:lnTo>
                  <a:lnTo>
                    <a:pt x="508" y="200"/>
                  </a:lnTo>
                  <a:lnTo>
                    <a:pt x="508" y="200"/>
                  </a:lnTo>
                  <a:lnTo>
                    <a:pt x="511" y="199"/>
                  </a:lnTo>
                  <a:lnTo>
                    <a:pt x="514" y="200"/>
                  </a:lnTo>
                  <a:lnTo>
                    <a:pt x="514" y="200"/>
                  </a:lnTo>
                  <a:lnTo>
                    <a:pt x="520" y="201"/>
                  </a:lnTo>
                  <a:lnTo>
                    <a:pt x="527" y="201"/>
                  </a:lnTo>
                  <a:lnTo>
                    <a:pt x="533" y="199"/>
                  </a:lnTo>
                  <a:lnTo>
                    <a:pt x="540" y="195"/>
                  </a:lnTo>
                  <a:lnTo>
                    <a:pt x="540" y="195"/>
                  </a:lnTo>
                  <a:lnTo>
                    <a:pt x="550" y="191"/>
                  </a:lnTo>
                  <a:lnTo>
                    <a:pt x="556" y="189"/>
                  </a:lnTo>
                  <a:lnTo>
                    <a:pt x="561" y="188"/>
                  </a:lnTo>
                  <a:lnTo>
                    <a:pt x="561" y="188"/>
                  </a:lnTo>
                  <a:lnTo>
                    <a:pt x="568" y="189"/>
                  </a:lnTo>
                  <a:lnTo>
                    <a:pt x="576" y="194"/>
                  </a:lnTo>
                  <a:lnTo>
                    <a:pt x="576" y="194"/>
                  </a:lnTo>
                  <a:lnTo>
                    <a:pt x="580" y="197"/>
                  </a:lnTo>
                  <a:lnTo>
                    <a:pt x="583" y="201"/>
                  </a:lnTo>
                  <a:lnTo>
                    <a:pt x="583" y="201"/>
                  </a:lnTo>
                  <a:lnTo>
                    <a:pt x="587" y="207"/>
                  </a:lnTo>
                  <a:lnTo>
                    <a:pt x="592" y="211"/>
                  </a:lnTo>
                  <a:lnTo>
                    <a:pt x="595" y="212"/>
                  </a:lnTo>
                  <a:lnTo>
                    <a:pt x="598" y="214"/>
                  </a:lnTo>
                  <a:lnTo>
                    <a:pt x="603" y="215"/>
                  </a:lnTo>
                  <a:lnTo>
                    <a:pt x="609" y="214"/>
                  </a:lnTo>
                  <a:lnTo>
                    <a:pt x="609" y="214"/>
                  </a:lnTo>
                  <a:lnTo>
                    <a:pt x="605" y="202"/>
                  </a:lnTo>
                  <a:lnTo>
                    <a:pt x="604" y="195"/>
                  </a:lnTo>
                  <a:lnTo>
                    <a:pt x="603" y="187"/>
                  </a:lnTo>
                  <a:lnTo>
                    <a:pt x="603" y="180"/>
                  </a:lnTo>
                  <a:lnTo>
                    <a:pt x="605" y="174"/>
                  </a:lnTo>
                  <a:lnTo>
                    <a:pt x="608" y="167"/>
                  </a:lnTo>
                  <a:lnTo>
                    <a:pt x="611" y="163"/>
                  </a:lnTo>
                  <a:lnTo>
                    <a:pt x="611" y="163"/>
                  </a:lnTo>
                  <a:lnTo>
                    <a:pt x="601" y="151"/>
                  </a:lnTo>
                  <a:lnTo>
                    <a:pt x="590" y="141"/>
                  </a:lnTo>
                  <a:lnTo>
                    <a:pt x="580" y="132"/>
                  </a:lnTo>
                  <a:lnTo>
                    <a:pt x="568" y="122"/>
                  </a:lnTo>
                  <a:lnTo>
                    <a:pt x="556" y="114"/>
                  </a:lnTo>
                  <a:lnTo>
                    <a:pt x="544" y="106"/>
                  </a:lnTo>
                  <a:lnTo>
                    <a:pt x="531" y="99"/>
                  </a:lnTo>
                  <a:lnTo>
                    <a:pt x="518" y="93"/>
                  </a:lnTo>
                  <a:lnTo>
                    <a:pt x="505" y="88"/>
                  </a:lnTo>
                  <a:lnTo>
                    <a:pt x="491" y="83"/>
                  </a:lnTo>
                  <a:lnTo>
                    <a:pt x="477" y="78"/>
                  </a:lnTo>
                  <a:lnTo>
                    <a:pt x="463" y="75"/>
                  </a:lnTo>
                  <a:lnTo>
                    <a:pt x="448" y="73"/>
                  </a:lnTo>
                  <a:lnTo>
                    <a:pt x="434" y="71"/>
                  </a:lnTo>
                  <a:lnTo>
                    <a:pt x="419" y="70"/>
                  </a:lnTo>
                  <a:lnTo>
                    <a:pt x="404" y="70"/>
                  </a:lnTo>
                  <a:lnTo>
                    <a:pt x="404" y="70"/>
                  </a:lnTo>
                  <a:lnTo>
                    <a:pt x="408" y="76"/>
                  </a:lnTo>
                  <a:lnTo>
                    <a:pt x="408" y="82"/>
                  </a:lnTo>
                  <a:lnTo>
                    <a:pt x="408" y="82"/>
                  </a:lnTo>
                  <a:lnTo>
                    <a:pt x="407" y="84"/>
                  </a:lnTo>
                  <a:lnTo>
                    <a:pt x="405" y="86"/>
                  </a:lnTo>
                  <a:lnTo>
                    <a:pt x="400" y="90"/>
                  </a:lnTo>
                  <a:lnTo>
                    <a:pt x="400" y="90"/>
                  </a:lnTo>
                  <a:lnTo>
                    <a:pt x="398" y="91"/>
                  </a:lnTo>
                  <a:lnTo>
                    <a:pt x="396" y="91"/>
                  </a:lnTo>
                  <a:lnTo>
                    <a:pt x="396" y="91"/>
                  </a:lnTo>
                  <a:lnTo>
                    <a:pt x="395" y="90"/>
                  </a:lnTo>
                  <a:lnTo>
                    <a:pt x="394" y="89"/>
                  </a:lnTo>
                  <a:lnTo>
                    <a:pt x="394" y="89"/>
                  </a:lnTo>
                  <a:lnTo>
                    <a:pt x="392" y="85"/>
                  </a:lnTo>
                  <a:lnTo>
                    <a:pt x="389" y="83"/>
                  </a:lnTo>
                  <a:lnTo>
                    <a:pt x="387" y="82"/>
                  </a:lnTo>
                  <a:lnTo>
                    <a:pt x="383" y="82"/>
                  </a:lnTo>
                  <a:lnTo>
                    <a:pt x="383" y="82"/>
                  </a:lnTo>
                  <a:lnTo>
                    <a:pt x="379" y="82"/>
                  </a:lnTo>
                  <a:lnTo>
                    <a:pt x="374" y="83"/>
                  </a:lnTo>
                  <a:lnTo>
                    <a:pt x="370" y="86"/>
                  </a:lnTo>
                  <a:lnTo>
                    <a:pt x="364" y="90"/>
                  </a:lnTo>
                  <a:lnTo>
                    <a:pt x="359" y="95"/>
                  </a:lnTo>
                  <a:lnTo>
                    <a:pt x="355" y="99"/>
                  </a:lnTo>
                  <a:lnTo>
                    <a:pt x="351" y="106"/>
                  </a:lnTo>
                  <a:lnTo>
                    <a:pt x="348" y="113"/>
                  </a:lnTo>
                  <a:lnTo>
                    <a:pt x="348" y="113"/>
                  </a:lnTo>
                  <a:lnTo>
                    <a:pt x="344" y="122"/>
                  </a:lnTo>
                  <a:lnTo>
                    <a:pt x="343" y="128"/>
                  </a:lnTo>
                  <a:lnTo>
                    <a:pt x="343" y="135"/>
                  </a:lnTo>
                  <a:lnTo>
                    <a:pt x="344" y="142"/>
                  </a:lnTo>
                  <a:lnTo>
                    <a:pt x="346" y="150"/>
                  </a:lnTo>
                  <a:lnTo>
                    <a:pt x="350" y="157"/>
                  </a:lnTo>
                  <a:lnTo>
                    <a:pt x="356" y="165"/>
                  </a:lnTo>
                  <a:lnTo>
                    <a:pt x="356" y="165"/>
                  </a:lnTo>
                  <a:close/>
                  <a:moveTo>
                    <a:pt x="314" y="475"/>
                  </a:moveTo>
                  <a:lnTo>
                    <a:pt x="314" y="475"/>
                  </a:lnTo>
                  <a:lnTo>
                    <a:pt x="314" y="481"/>
                  </a:lnTo>
                  <a:lnTo>
                    <a:pt x="314" y="486"/>
                  </a:lnTo>
                  <a:lnTo>
                    <a:pt x="318" y="497"/>
                  </a:lnTo>
                  <a:lnTo>
                    <a:pt x="322" y="507"/>
                  </a:lnTo>
                  <a:lnTo>
                    <a:pt x="327" y="519"/>
                  </a:lnTo>
                  <a:lnTo>
                    <a:pt x="327" y="519"/>
                  </a:lnTo>
                  <a:lnTo>
                    <a:pt x="331" y="526"/>
                  </a:lnTo>
                  <a:lnTo>
                    <a:pt x="331" y="526"/>
                  </a:lnTo>
                  <a:lnTo>
                    <a:pt x="339" y="525"/>
                  </a:lnTo>
                  <a:lnTo>
                    <a:pt x="348" y="525"/>
                  </a:lnTo>
                  <a:lnTo>
                    <a:pt x="348" y="525"/>
                  </a:lnTo>
                  <a:lnTo>
                    <a:pt x="360" y="526"/>
                  </a:lnTo>
                  <a:lnTo>
                    <a:pt x="372" y="529"/>
                  </a:lnTo>
                  <a:lnTo>
                    <a:pt x="382" y="535"/>
                  </a:lnTo>
                  <a:lnTo>
                    <a:pt x="392" y="542"/>
                  </a:lnTo>
                  <a:lnTo>
                    <a:pt x="401" y="550"/>
                  </a:lnTo>
                  <a:lnTo>
                    <a:pt x="409" y="559"/>
                  </a:lnTo>
                  <a:lnTo>
                    <a:pt x="425" y="579"/>
                  </a:lnTo>
                  <a:lnTo>
                    <a:pt x="425" y="579"/>
                  </a:lnTo>
                  <a:lnTo>
                    <a:pt x="435" y="592"/>
                  </a:lnTo>
                  <a:lnTo>
                    <a:pt x="446" y="603"/>
                  </a:lnTo>
                  <a:lnTo>
                    <a:pt x="446" y="603"/>
                  </a:lnTo>
                  <a:lnTo>
                    <a:pt x="461" y="601"/>
                  </a:lnTo>
                  <a:lnTo>
                    <a:pt x="461" y="601"/>
                  </a:lnTo>
                  <a:lnTo>
                    <a:pt x="457" y="595"/>
                  </a:lnTo>
                  <a:lnTo>
                    <a:pt x="456" y="593"/>
                  </a:lnTo>
                  <a:lnTo>
                    <a:pt x="454" y="591"/>
                  </a:lnTo>
                  <a:lnTo>
                    <a:pt x="454" y="591"/>
                  </a:lnTo>
                  <a:lnTo>
                    <a:pt x="452" y="588"/>
                  </a:lnTo>
                  <a:lnTo>
                    <a:pt x="452" y="586"/>
                  </a:lnTo>
                  <a:lnTo>
                    <a:pt x="452" y="586"/>
                  </a:lnTo>
                  <a:lnTo>
                    <a:pt x="452" y="580"/>
                  </a:lnTo>
                  <a:lnTo>
                    <a:pt x="450" y="578"/>
                  </a:lnTo>
                  <a:lnTo>
                    <a:pt x="449" y="577"/>
                  </a:lnTo>
                  <a:lnTo>
                    <a:pt x="448" y="576"/>
                  </a:lnTo>
                  <a:lnTo>
                    <a:pt x="448" y="576"/>
                  </a:lnTo>
                  <a:lnTo>
                    <a:pt x="447" y="576"/>
                  </a:lnTo>
                  <a:lnTo>
                    <a:pt x="445" y="574"/>
                  </a:lnTo>
                  <a:lnTo>
                    <a:pt x="445" y="574"/>
                  </a:lnTo>
                  <a:lnTo>
                    <a:pt x="445" y="572"/>
                  </a:lnTo>
                  <a:lnTo>
                    <a:pt x="445" y="571"/>
                  </a:lnTo>
                  <a:lnTo>
                    <a:pt x="445" y="571"/>
                  </a:lnTo>
                  <a:lnTo>
                    <a:pt x="448" y="557"/>
                  </a:lnTo>
                  <a:lnTo>
                    <a:pt x="450" y="550"/>
                  </a:lnTo>
                  <a:lnTo>
                    <a:pt x="454" y="544"/>
                  </a:lnTo>
                  <a:lnTo>
                    <a:pt x="454" y="544"/>
                  </a:lnTo>
                  <a:lnTo>
                    <a:pt x="450" y="542"/>
                  </a:lnTo>
                  <a:lnTo>
                    <a:pt x="447" y="540"/>
                  </a:lnTo>
                  <a:lnTo>
                    <a:pt x="447" y="540"/>
                  </a:lnTo>
                  <a:lnTo>
                    <a:pt x="447" y="537"/>
                  </a:lnTo>
                  <a:lnTo>
                    <a:pt x="447" y="535"/>
                  </a:lnTo>
                  <a:lnTo>
                    <a:pt x="447" y="535"/>
                  </a:lnTo>
                  <a:lnTo>
                    <a:pt x="452" y="528"/>
                  </a:lnTo>
                  <a:lnTo>
                    <a:pt x="452" y="528"/>
                  </a:lnTo>
                  <a:lnTo>
                    <a:pt x="455" y="522"/>
                  </a:lnTo>
                  <a:lnTo>
                    <a:pt x="455" y="522"/>
                  </a:lnTo>
                  <a:lnTo>
                    <a:pt x="454" y="513"/>
                  </a:lnTo>
                  <a:lnTo>
                    <a:pt x="454" y="513"/>
                  </a:lnTo>
                  <a:lnTo>
                    <a:pt x="453" y="504"/>
                  </a:lnTo>
                  <a:lnTo>
                    <a:pt x="452" y="499"/>
                  </a:lnTo>
                  <a:lnTo>
                    <a:pt x="448" y="495"/>
                  </a:lnTo>
                  <a:lnTo>
                    <a:pt x="448" y="495"/>
                  </a:lnTo>
                  <a:lnTo>
                    <a:pt x="447" y="492"/>
                  </a:lnTo>
                  <a:lnTo>
                    <a:pt x="448" y="489"/>
                  </a:lnTo>
                  <a:lnTo>
                    <a:pt x="448" y="489"/>
                  </a:lnTo>
                  <a:lnTo>
                    <a:pt x="452" y="482"/>
                  </a:lnTo>
                  <a:lnTo>
                    <a:pt x="454" y="476"/>
                  </a:lnTo>
                  <a:lnTo>
                    <a:pt x="454" y="469"/>
                  </a:lnTo>
                  <a:lnTo>
                    <a:pt x="454" y="462"/>
                  </a:lnTo>
                  <a:lnTo>
                    <a:pt x="453" y="456"/>
                  </a:lnTo>
                  <a:lnTo>
                    <a:pt x="450" y="449"/>
                  </a:lnTo>
                  <a:lnTo>
                    <a:pt x="444" y="437"/>
                  </a:lnTo>
                  <a:lnTo>
                    <a:pt x="444" y="437"/>
                  </a:lnTo>
                  <a:lnTo>
                    <a:pt x="438" y="423"/>
                  </a:lnTo>
                  <a:lnTo>
                    <a:pt x="438" y="423"/>
                  </a:lnTo>
                  <a:lnTo>
                    <a:pt x="433" y="424"/>
                  </a:lnTo>
                  <a:lnTo>
                    <a:pt x="429" y="426"/>
                  </a:lnTo>
                  <a:lnTo>
                    <a:pt x="419" y="433"/>
                  </a:lnTo>
                  <a:lnTo>
                    <a:pt x="419" y="433"/>
                  </a:lnTo>
                  <a:lnTo>
                    <a:pt x="407" y="441"/>
                  </a:lnTo>
                  <a:lnTo>
                    <a:pt x="400" y="444"/>
                  </a:lnTo>
                  <a:lnTo>
                    <a:pt x="394" y="445"/>
                  </a:lnTo>
                  <a:lnTo>
                    <a:pt x="394" y="445"/>
                  </a:lnTo>
                  <a:lnTo>
                    <a:pt x="388" y="444"/>
                  </a:lnTo>
                  <a:lnTo>
                    <a:pt x="383" y="441"/>
                  </a:lnTo>
                  <a:lnTo>
                    <a:pt x="383" y="441"/>
                  </a:lnTo>
                  <a:lnTo>
                    <a:pt x="361" y="451"/>
                  </a:lnTo>
                  <a:lnTo>
                    <a:pt x="361" y="451"/>
                  </a:lnTo>
                  <a:lnTo>
                    <a:pt x="350" y="454"/>
                  </a:lnTo>
                  <a:lnTo>
                    <a:pt x="338" y="460"/>
                  </a:lnTo>
                  <a:lnTo>
                    <a:pt x="327" y="467"/>
                  </a:lnTo>
                  <a:lnTo>
                    <a:pt x="314" y="475"/>
                  </a:lnTo>
                  <a:lnTo>
                    <a:pt x="314" y="475"/>
                  </a:lnTo>
                  <a:close/>
                  <a:moveTo>
                    <a:pt x="239" y="341"/>
                  </a:moveTo>
                  <a:lnTo>
                    <a:pt x="239" y="341"/>
                  </a:lnTo>
                  <a:lnTo>
                    <a:pt x="244" y="335"/>
                  </a:lnTo>
                  <a:lnTo>
                    <a:pt x="247" y="330"/>
                  </a:lnTo>
                  <a:lnTo>
                    <a:pt x="250" y="328"/>
                  </a:lnTo>
                  <a:lnTo>
                    <a:pt x="254" y="328"/>
                  </a:lnTo>
                  <a:lnTo>
                    <a:pt x="254" y="328"/>
                  </a:lnTo>
                  <a:lnTo>
                    <a:pt x="256" y="328"/>
                  </a:lnTo>
                  <a:lnTo>
                    <a:pt x="259" y="329"/>
                  </a:lnTo>
                  <a:lnTo>
                    <a:pt x="261" y="333"/>
                  </a:lnTo>
                  <a:lnTo>
                    <a:pt x="261" y="333"/>
                  </a:lnTo>
                  <a:lnTo>
                    <a:pt x="261" y="333"/>
                  </a:lnTo>
                  <a:lnTo>
                    <a:pt x="261" y="333"/>
                  </a:lnTo>
                  <a:lnTo>
                    <a:pt x="264" y="329"/>
                  </a:lnTo>
                  <a:lnTo>
                    <a:pt x="272" y="321"/>
                  </a:lnTo>
                  <a:lnTo>
                    <a:pt x="272" y="321"/>
                  </a:lnTo>
                  <a:lnTo>
                    <a:pt x="269" y="319"/>
                  </a:lnTo>
                  <a:lnTo>
                    <a:pt x="264" y="318"/>
                  </a:lnTo>
                  <a:lnTo>
                    <a:pt x="259" y="317"/>
                  </a:lnTo>
                  <a:lnTo>
                    <a:pt x="252" y="315"/>
                  </a:lnTo>
                  <a:lnTo>
                    <a:pt x="252" y="315"/>
                  </a:lnTo>
                  <a:lnTo>
                    <a:pt x="242" y="317"/>
                  </a:lnTo>
                  <a:lnTo>
                    <a:pt x="231" y="318"/>
                  </a:lnTo>
                  <a:lnTo>
                    <a:pt x="220" y="320"/>
                  </a:lnTo>
                  <a:lnTo>
                    <a:pt x="210" y="323"/>
                  </a:lnTo>
                  <a:lnTo>
                    <a:pt x="193" y="330"/>
                  </a:lnTo>
                  <a:lnTo>
                    <a:pt x="185" y="335"/>
                  </a:lnTo>
                  <a:lnTo>
                    <a:pt x="180" y="338"/>
                  </a:lnTo>
                  <a:lnTo>
                    <a:pt x="180" y="338"/>
                  </a:lnTo>
                  <a:lnTo>
                    <a:pt x="179" y="342"/>
                  </a:lnTo>
                  <a:lnTo>
                    <a:pt x="176" y="347"/>
                  </a:lnTo>
                  <a:lnTo>
                    <a:pt x="176" y="347"/>
                  </a:lnTo>
                  <a:lnTo>
                    <a:pt x="174" y="350"/>
                  </a:lnTo>
                  <a:lnTo>
                    <a:pt x="171" y="352"/>
                  </a:lnTo>
                  <a:lnTo>
                    <a:pt x="167" y="355"/>
                  </a:lnTo>
                  <a:lnTo>
                    <a:pt x="163" y="356"/>
                  </a:lnTo>
                  <a:lnTo>
                    <a:pt x="163" y="356"/>
                  </a:lnTo>
                  <a:lnTo>
                    <a:pt x="160" y="356"/>
                  </a:lnTo>
                  <a:lnTo>
                    <a:pt x="158" y="355"/>
                  </a:lnTo>
                  <a:lnTo>
                    <a:pt x="155" y="351"/>
                  </a:lnTo>
                  <a:lnTo>
                    <a:pt x="152" y="347"/>
                  </a:lnTo>
                  <a:lnTo>
                    <a:pt x="152" y="347"/>
                  </a:lnTo>
                  <a:lnTo>
                    <a:pt x="148" y="347"/>
                  </a:lnTo>
                  <a:lnTo>
                    <a:pt x="148" y="347"/>
                  </a:lnTo>
                  <a:lnTo>
                    <a:pt x="143" y="347"/>
                  </a:lnTo>
                  <a:lnTo>
                    <a:pt x="142" y="345"/>
                  </a:lnTo>
                  <a:lnTo>
                    <a:pt x="139" y="344"/>
                  </a:lnTo>
                  <a:lnTo>
                    <a:pt x="139" y="344"/>
                  </a:lnTo>
                  <a:lnTo>
                    <a:pt x="142" y="366"/>
                  </a:lnTo>
                  <a:lnTo>
                    <a:pt x="145" y="388"/>
                  </a:lnTo>
                  <a:lnTo>
                    <a:pt x="150" y="410"/>
                  </a:lnTo>
                  <a:lnTo>
                    <a:pt x="157" y="431"/>
                  </a:lnTo>
                  <a:lnTo>
                    <a:pt x="165" y="452"/>
                  </a:lnTo>
                  <a:lnTo>
                    <a:pt x="175" y="471"/>
                  </a:lnTo>
                  <a:lnTo>
                    <a:pt x="187" y="490"/>
                  </a:lnTo>
                  <a:lnTo>
                    <a:pt x="201" y="508"/>
                  </a:lnTo>
                  <a:lnTo>
                    <a:pt x="201" y="508"/>
                  </a:lnTo>
                  <a:lnTo>
                    <a:pt x="204" y="510"/>
                  </a:lnTo>
                  <a:lnTo>
                    <a:pt x="209" y="511"/>
                  </a:lnTo>
                  <a:lnTo>
                    <a:pt x="216" y="512"/>
                  </a:lnTo>
                  <a:lnTo>
                    <a:pt x="216" y="512"/>
                  </a:lnTo>
                  <a:lnTo>
                    <a:pt x="226" y="511"/>
                  </a:lnTo>
                  <a:lnTo>
                    <a:pt x="237" y="510"/>
                  </a:lnTo>
                  <a:lnTo>
                    <a:pt x="248" y="507"/>
                  </a:lnTo>
                  <a:lnTo>
                    <a:pt x="259" y="504"/>
                  </a:lnTo>
                  <a:lnTo>
                    <a:pt x="269" y="499"/>
                  </a:lnTo>
                  <a:lnTo>
                    <a:pt x="278" y="495"/>
                  </a:lnTo>
                  <a:lnTo>
                    <a:pt x="287" y="490"/>
                  </a:lnTo>
                  <a:lnTo>
                    <a:pt x="293" y="485"/>
                  </a:lnTo>
                  <a:lnTo>
                    <a:pt x="293" y="485"/>
                  </a:lnTo>
                  <a:lnTo>
                    <a:pt x="286" y="485"/>
                  </a:lnTo>
                  <a:lnTo>
                    <a:pt x="279" y="483"/>
                  </a:lnTo>
                  <a:lnTo>
                    <a:pt x="272" y="481"/>
                  </a:lnTo>
                  <a:lnTo>
                    <a:pt x="267" y="477"/>
                  </a:lnTo>
                  <a:lnTo>
                    <a:pt x="267" y="477"/>
                  </a:lnTo>
                  <a:lnTo>
                    <a:pt x="261" y="474"/>
                  </a:lnTo>
                  <a:lnTo>
                    <a:pt x="256" y="473"/>
                  </a:lnTo>
                  <a:lnTo>
                    <a:pt x="256" y="473"/>
                  </a:lnTo>
                  <a:lnTo>
                    <a:pt x="256" y="473"/>
                  </a:lnTo>
                  <a:lnTo>
                    <a:pt x="256" y="473"/>
                  </a:lnTo>
                  <a:lnTo>
                    <a:pt x="252" y="474"/>
                  </a:lnTo>
                  <a:lnTo>
                    <a:pt x="247" y="475"/>
                  </a:lnTo>
                  <a:lnTo>
                    <a:pt x="238" y="482"/>
                  </a:lnTo>
                  <a:lnTo>
                    <a:pt x="228" y="490"/>
                  </a:lnTo>
                  <a:lnTo>
                    <a:pt x="223" y="497"/>
                  </a:lnTo>
                  <a:lnTo>
                    <a:pt x="223" y="497"/>
                  </a:lnTo>
                  <a:lnTo>
                    <a:pt x="219" y="499"/>
                  </a:lnTo>
                  <a:lnTo>
                    <a:pt x="216" y="500"/>
                  </a:lnTo>
                  <a:lnTo>
                    <a:pt x="210" y="500"/>
                  </a:lnTo>
                  <a:lnTo>
                    <a:pt x="203" y="498"/>
                  </a:lnTo>
                  <a:lnTo>
                    <a:pt x="203" y="498"/>
                  </a:lnTo>
                  <a:lnTo>
                    <a:pt x="198" y="495"/>
                  </a:lnTo>
                  <a:lnTo>
                    <a:pt x="194" y="490"/>
                  </a:lnTo>
                  <a:lnTo>
                    <a:pt x="190" y="483"/>
                  </a:lnTo>
                  <a:lnTo>
                    <a:pt x="189" y="477"/>
                  </a:lnTo>
                  <a:lnTo>
                    <a:pt x="189" y="477"/>
                  </a:lnTo>
                  <a:lnTo>
                    <a:pt x="188" y="470"/>
                  </a:lnTo>
                  <a:lnTo>
                    <a:pt x="188" y="463"/>
                  </a:lnTo>
                  <a:lnTo>
                    <a:pt x="190" y="458"/>
                  </a:lnTo>
                  <a:lnTo>
                    <a:pt x="194" y="452"/>
                  </a:lnTo>
                  <a:lnTo>
                    <a:pt x="194" y="452"/>
                  </a:lnTo>
                  <a:lnTo>
                    <a:pt x="195" y="452"/>
                  </a:lnTo>
                  <a:lnTo>
                    <a:pt x="195" y="452"/>
                  </a:lnTo>
                  <a:lnTo>
                    <a:pt x="198" y="451"/>
                  </a:lnTo>
                  <a:lnTo>
                    <a:pt x="204" y="451"/>
                  </a:lnTo>
                  <a:lnTo>
                    <a:pt x="218" y="453"/>
                  </a:lnTo>
                  <a:lnTo>
                    <a:pt x="218" y="453"/>
                  </a:lnTo>
                  <a:lnTo>
                    <a:pt x="232" y="455"/>
                  </a:lnTo>
                  <a:lnTo>
                    <a:pt x="232" y="455"/>
                  </a:lnTo>
                  <a:lnTo>
                    <a:pt x="232" y="445"/>
                  </a:lnTo>
                  <a:lnTo>
                    <a:pt x="231" y="433"/>
                  </a:lnTo>
                  <a:lnTo>
                    <a:pt x="231" y="433"/>
                  </a:lnTo>
                  <a:lnTo>
                    <a:pt x="230" y="415"/>
                  </a:lnTo>
                  <a:lnTo>
                    <a:pt x="230" y="404"/>
                  </a:lnTo>
                  <a:lnTo>
                    <a:pt x="231" y="394"/>
                  </a:lnTo>
                  <a:lnTo>
                    <a:pt x="233" y="384"/>
                  </a:lnTo>
                  <a:lnTo>
                    <a:pt x="237" y="373"/>
                  </a:lnTo>
                  <a:lnTo>
                    <a:pt x="244" y="362"/>
                  </a:lnTo>
                  <a:lnTo>
                    <a:pt x="253" y="351"/>
                  </a:lnTo>
                  <a:lnTo>
                    <a:pt x="253" y="351"/>
                  </a:lnTo>
                  <a:lnTo>
                    <a:pt x="253" y="351"/>
                  </a:lnTo>
                  <a:lnTo>
                    <a:pt x="253" y="351"/>
                  </a:lnTo>
                  <a:lnTo>
                    <a:pt x="248" y="351"/>
                  </a:lnTo>
                  <a:lnTo>
                    <a:pt x="248" y="351"/>
                  </a:lnTo>
                  <a:lnTo>
                    <a:pt x="245" y="350"/>
                  </a:lnTo>
                  <a:lnTo>
                    <a:pt x="241" y="349"/>
                  </a:lnTo>
                  <a:lnTo>
                    <a:pt x="240" y="348"/>
                  </a:lnTo>
                  <a:lnTo>
                    <a:pt x="238" y="345"/>
                  </a:lnTo>
                  <a:lnTo>
                    <a:pt x="238" y="345"/>
                  </a:lnTo>
                  <a:lnTo>
                    <a:pt x="238" y="343"/>
                  </a:lnTo>
                  <a:lnTo>
                    <a:pt x="239" y="341"/>
                  </a:lnTo>
                  <a:lnTo>
                    <a:pt x="239" y="341"/>
                  </a:lnTo>
                  <a:close/>
                  <a:moveTo>
                    <a:pt x="198" y="170"/>
                  </a:moveTo>
                  <a:lnTo>
                    <a:pt x="198" y="170"/>
                  </a:lnTo>
                  <a:lnTo>
                    <a:pt x="189" y="184"/>
                  </a:lnTo>
                  <a:lnTo>
                    <a:pt x="180" y="196"/>
                  </a:lnTo>
                  <a:lnTo>
                    <a:pt x="172" y="210"/>
                  </a:lnTo>
                  <a:lnTo>
                    <a:pt x="165" y="225"/>
                  </a:lnTo>
                  <a:lnTo>
                    <a:pt x="165" y="225"/>
                  </a:lnTo>
                  <a:lnTo>
                    <a:pt x="170" y="224"/>
                  </a:lnTo>
                  <a:lnTo>
                    <a:pt x="174" y="224"/>
                  </a:lnTo>
                  <a:lnTo>
                    <a:pt x="185" y="226"/>
                  </a:lnTo>
                  <a:lnTo>
                    <a:pt x="193" y="231"/>
                  </a:lnTo>
                  <a:lnTo>
                    <a:pt x="197" y="234"/>
                  </a:lnTo>
                  <a:lnTo>
                    <a:pt x="201" y="238"/>
                  </a:lnTo>
                  <a:lnTo>
                    <a:pt x="201" y="238"/>
                  </a:lnTo>
                  <a:lnTo>
                    <a:pt x="202" y="240"/>
                  </a:lnTo>
                  <a:lnTo>
                    <a:pt x="202" y="240"/>
                  </a:lnTo>
                  <a:lnTo>
                    <a:pt x="204" y="238"/>
                  </a:lnTo>
                  <a:lnTo>
                    <a:pt x="204" y="238"/>
                  </a:lnTo>
                  <a:lnTo>
                    <a:pt x="208" y="237"/>
                  </a:lnTo>
                  <a:lnTo>
                    <a:pt x="211" y="236"/>
                  </a:lnTo>
                  <a:lnTo>
                    <a:pt x="211" y="236"/>
                  </a:lnTo>
                  <a:lnTo>
                    <a:pt x="215" y="236"/>
                  </a:lnTo>
                  <a:lnTo>
                    <a:pt x="215" y="236"/>
                  </a:lnTo>
                  <a:lnTo>
                    <a:pt x="217" y="238"/>
                  </a:lnTo>
                  <a:lnTo>
                    <a:pt x="217" y="238"/>
                  </a:lnTo>
                  <a:lnTo>
                    <a:pt x="218" y="244"/>
                  </a:lnTo>
                  <a:lnTo>
                    <a:pt x="217" y="248"/>
                  </a:lnTo>
                  <a:lnTo>
                    <a:pt x="217" y="248"/>
                  </a:lnTo>
                  <a:lnTo>
                    <a:pt x="217" y="249"/>
                  </a:lnTo>
                  <a:lnTo>
                    <a:pt x="217" y="249"/>
                  </a:lnTo>
                  <a:lnTo>
                    <a:pt x="222" y="252"/>
                  </a:lnTo>
                  <a:lnTo>
                    <a:pt x="227" y="253"/>
                  </a:lnTo>
                  <a:lnTo>
                    <a:pt x="232" y="254"/>
                  </a:lnTo>
                  <a:lnTo>
                    <a:pt x="237" y="254"/>
                  </a:lnTo>
                  <a:lnTo>
                    <a:pt x="242" y="253"/>
                  </a:lnTo>
                  <a:lnTo>
                    <a:pt x="247" y="251"/>
                  </a:lnTo>
                  <a:lnTo>
                    <a:pt x="252" y="248"/>
                  </a:lnTo>
                  <a:lnTo>
                    <a:pt x="257" y="245"/>
                  </a:lnTo>
                  <a:lnTo>
                    <a:pt x="257" y="245"/>
                  </a:lnTo>
                  <a:lnTo>
                    <a:pt x="253" y="237"/>
                  </a:lnTo>
                  <a:lnTo>
                    <a:pt x="250" y="230"/>
                  </a:lnTo>
                  <a:lnTo>
                    <a:pt x="249" y="223"/>
                  </a:lnTo>
                  <a:lnTo>
                    <a:pt x="248" y="216"/>
                  </a:lnTo>
                  <a:lnTo>
                    <a:pt x="248" y="216"/>
                  </a:lnTo>
                  <a:lnTo>
                    <a:pt x="247" y="203"/>
                  </a:lnTo>
                  <a:lnTo>
                    <a:pt x="247" y="203"/>
                  </a:lnTo>
                  <a:lnTo>
                    <a:pt x="247" y="200"/>
                  </a:lnTo>
                  <a:lnTo>
                    <a:pt x="248" y="196"/>
                  </a:lnTo>
                  <a:lnTo>
                    <a:pt x="252" y="192"/>
                  </a:lnTo>
                  <a:lnTo>
                    <a:pt x="252" y="192"/>
                  </a:lnTo>
                  <a:lnTo>
                    <a:pt x="255" y="188"/>
                  </a:lnTo>
                  <a:lnTo>
                    <a:pt x="255" y="185"/>
                  </a:lnTo>
                  <a:lnTo>
                    <a:pt x="255" y="181"/>
                  </a:lnTo>
                  <a:lnTo>
                    <a:pt x="255" y="181"/>
                  </a:lnTo>
                  <a:lnTo>
                    <a:pt x="253" y="180"/>
                  </a:lnTo>
                  <a:lnTo>
                    <a:pt x="249" y="180"/>
                  </a:lnTo>
                  <a:lnTo>
                    <a:pt x="249" y="180"/>
                  </a:lnTo>
                  <a:lnTo>
                    <a:pt x="245" y="180"/>
                  </a:lnTo>
                  <a:lnTo>
                    <a:pt x="239" y="179"/>
                  </a:lnTo>
                  <a:lnTo>
                    <a:pt x="233" y="177"/>
                  </a:lnTo>
                  <a:lnTo>
                    <a:pt x="227" y="171"/>
                  </a:lnTo>
                  <a:lnTo>
                    <a:pt x="227" y="171"/>
                  </a:lnTo>
                  <a:lnTo>
                    <a:pt x="225" y="169"/>
                  </a:lnTo>
                  <a:lnTo>
                    <a:pt x="223" y="167"/>
                  </a:lnTo>
                  <a:lnTo>
                    <a:pt x="223" y="167"/>
                  </a:lnTo>
                  <a:lnTo>
                    <a:pt x="219" y="169"/>
                  </a:lnTo>
                  <a:lnTo>
                    <a:pt x="215" y="172"/>
                  </a:lnTo>
                  <a:lnTo>
                    <a:pt x="210" y="174"/>
                  </a:lnTo>
                  <a:lnTo>
                    <a:pt x="210" y="174"/>
                  </a:lnTo>
                  <a:lnTo>
                    <a:pt x="208" y="174"/>
                  </a:lnTo>
                  <a:lnTo>
                    <a:pt x="207" y="174"/>
                  </a:lnTo>
                  <a:lnTo>
                    <a:pt x="207" y="174"/>
                  </a:lnTo>
                  <a:lnTo>
                    <a:pt x="201" y="171"/>
                  </a:lnTo>
                  <a:lnTo>
                    <a:pt x="201" y="171"/>
                  </a:lnTo>
                  <a:lnTo>
                    <a:pt x="198" y="170"/>
                  </a:lnTo>
                  <a:lnTo>
                    <a:pt x="198" y="170"/>
                  </a:lnTo>
                  <a:close/>
                  <a:moveTo>
                    <a:pt x="696" y="589"/>
                  </a:moveTo>
                  <a:lnTo>
                    <a:pt x="696" y="589"/>
                  </a:lnTo>
                  <a:lnTo>
                    <a:pt x="691" y="586"/>
                  </a:lnTo>
                  <a:lnTo>
                    <a:pt x="686" y="584"/>
                  </a:lnTo>
                  <a:lnTo>
                    <a:pt x="682" y="581"/>
                  </a:lnTo>
                  <a:lnTo>
                    <a:pt x="676" y="581"/>
                  </a:lnTo>
                  <a:lnTo>
                    <a:pt x="671" y="581"/>
                  </a:lnTo>
                  <a:lnTo>
                    <a:pt x="666" y="584"/>
                  </a:lnTo>
                  <a:lnTo>
                    <a:pt x="661" y="586"/>
                  </a:lnTo>
                  <a:lnTo>
                    <a:pt x="657" y="589"/>
                  </a:lnTo>
                  <a:lnTo>
                    <a:pt x="657" y="589"/>
                  </a:lnTo>
                  <a:lnTo>
                    <a:pt x="637" y="607"/>
                  </a:lnTo>
                  <a:lnTo>
                    <a:pt x="616" y="624"/>
                  </a:lnTo>
                  <a:lnTo>
                    <a:pt x="594" y="639"/>
                  </a:lnTo>
                  <a:lnTo>
                    <a:pt x="571" y="652"/>
                  </a:lnTo>
                  <a:lnTo>
                    <a:pt x="546" y="663"/>
                  </a:lnTo>
                  <a:lnTo>
                    <a:pt x="521" y="674"/>
                  </a:lnTo>
                  <a:lnTo>
                    <a:pt x="496" y="681"/>
                  </a:lnTo>
                  <a:lnTo>
                    <a:pt x="469" y="686"/>
                  </a:lnTo>
                  <a:lnTo>
                    <a:pt x="469" y="686"/>
                  </a:lnTo>
                  <a:lnTo>
                    <a:pt x="446" y="690"/>
                  </a:lnTo>
                  <a:lnTo>
                    <a:pt x="423" y="692"/>
                  </a:lnTo>
                  <a:lnTo>
                    <a:pt x="400" y="692"/>
                  </a:lnTo>
                  <a:lnTo>
                    <a:pt x="376" y="691"/>
                  </a:lnTo>
                  <a:lnTo>
                    <a:pt x="376" y="691"/>
                  </a:lnTo>
                  <a:lnTo>
                    <a:pt x="346" y="688"/>
                  </a:lnTo>
                  <a:lnTo>
                    <a:pt x="316" y="681"/>
                  </a:lnTo>
                  <a:lnTo>
                    <a:pt x="289" y="673"/>
                  </a:lnTo>
                  <a:lnTo>
                    <a:pt x="262" y="661"/>
                  </a:lnTo>
                  <a:lnTo>
                    <a:pt x="235" y="648"/>
                  </a:lnTo>
                  <a:lnTo>
                    <a:pt x="211" y="633"/>
                  </a:lnTo>
                  <a:lnTo>
                    <a:pt x="188" y="617"/>
                  </a:lnTo>
                  <a:lnTo>
                    <a:pt x="166" y="599"/>
                  </a:lnTo>
                  <a:lnTo>
                    <a:pt x="146" y="578"/>
                  </a:lnTo>
                  <a:lnTo>
                    <a:pt x="128" y="556"/>
                  </a:lnTo>
                  <a:lnTo>
                    <a:pt x="112" y="533"/>
                  </a:lnTo>
                  <a:lnTo>
                    <a:pt x="97" y="508"/>
                  </a:lnTo>
                  <a:lnTo>
                    <a:pt x="84" y="483"/>
                  </a:lnTo>
                  <a:lnTo>
                    <a:pt x="74" y="456"/>
                  </a:lnTo>
                  <a:lnTo>
                    <a:pt x="64" y="429"/>
                  </a:lnTo>
                  <a:lnTo>
                    <a:pt x="59" y="401"/>
                  </a:lnTo>
                  <a:lnTo>
                    <a:pt x="59" y="401"/>
                  </a:lnTo>
                  <a:lnTo>
                    <a:pt x="55" y="378"/>
                  </a:lnTo>
                  <a:lnTo>
                    <a:pt x="54" y="355"/>
                  </a:lnTo>
                  <a:lnTo>
                    <a:pt x="54" y="332"/>
                  </a:lnTo>
                  <a:lnTo>
                    <a:pt x="55" y="308"/>
                  </a:lnTo>
                  <a:lnTo>
                    <a:pt x="55" y="308"/>
                  </a:lnTo>
                  <a:lnTo>
                    <a:pt x="57" y="288"/>
                  </a:lnTo>
                  <a:lnTo>
                    <a:pt x="61" y="268"/>
                  </a:lnTo>
                  <a:lnTo>
                    <a:pt x="64" y="248"/>
                  </a:lnTo>
                  <a:lnTo>
                    <a:pt x="70" y="230"/>
                  </a:lnTo>
                  <a:lnTo>
                    <a:pt x="77" y="211"/>
                  </a:lnTo>
                  <a:lnTo>
                    <a:pt x="84" y="194"/>
                  </a:lnTo>
                  <a:lnTo>
                    <a:pt x="92" y="177"/>
                  </a:lnTo>
                  <a:lnTo>
                    <a:pt x="101" y="159"/>
                  </a:lnTo>
                  <a:lnTo>
                    <a:pt x="112" y="143"/>
                  </a:lnTo>
                  <a:lnTo>
                    <a:pt x="123" y="128"/>
                  </a:lnTo>
                  <a:lnTo>
                    <a:pt x="135" y="113"/>
                  </a:lnTo>
                  <a:lnTo>
                    <a:pt x="148" y="99"/>
                  </a:lnTo>
                  <a:lnTo>
                    <a:pt x="160" y="85"/>
                  </a:lnTo>
                  <a:lnTo>
                    <a:pt x="174" y="73"/>
                  </a:lnTo>
                  <a:lnTo>
                    <a:pt x="189" y="61"/>
                  </a:lnTo>
                  <a:lnTo>
                    <a:pt x="204" y="49"/>
                  </a:lnTo>
                  <a:lnTo>
                    <a:pt x="204" y="49"/>
                  </a:lnTo>
                  <a:lnTo>
                    <a:pt x="208" y="46"/>
                  </a:lnTo>
                  <a:lnTo>
                    <a:pt x="211" y="41"/>
                  </a:lnTo>
                  <a:lnTo>
                    <a:pt x="213" y="37"/>
                  </a:lnTo>
                  <a:lnTo>
                    <a:pt x="215" y="32"/>
                  </a:lnTo>
                  <a:lnTo>
                    <a:pt x="216" y="26"/>
                  </a:lnTo>
                  <a:lnTo>
                    <a:pt x="215" y="22"/>
                  </a:lnTo>
                  <a:lnTo>
                    <a:pt x="213" y="16"/>
                  </a:lnTo>
                  <a:lnTo>
                    <a:pt x="210" y="11"/>
                  </a:lnTo>
                  <a:lnTo>
                    <a:pt x="210" y="11"/>
                  </a:lnTo>
                  <a:lnTo>
                    <a:pt x="207" y="8"/>
                  </a:lnTo>
                  <a:lnTo>
                    <a:pt x="203" y="4"/>
                  </a:lnTo>
                  <a:lnTo>
                    <a:pt x="198" y="2"/>
                  </a:lnTo>
                  <a:lnTo>
                    <a:pt x="193" y="1"/>
                  </a:lnTo>
                  <a:lnTo>
                    <a:pt x="188" y="0"/>
                  </a:lnTo>
                  <a:lnTo>
                    <a:pt x="182" y="1"/>
                  </a:lnTo>
                  <a:lnTo>
                    <a:pt x="178" y="2"/>
                  </a:lnTo>
                  <a:lnTo>
                    <a:pt x="173" y="6"/>
                  </a:lnTo>
                  <a:lnTo>
                    <a:pt x="173" y="6"/>
                  </a:lnTo>
                  <a:lnTo>
                    <a:pt x="156" y="18"/>
                  </a:lnTo>
                  <a:lnTo>
                    <a:pt x="138" y="32"/>
                  </a:lnTo>
                  <a:lnTo>
                    <a:pt x="122" y="47"/>
                  </a:lnTo>
                  <a:lnTo>
                    <a:pt x="107" y="62"/>
                  </a:lnTo>
                  <a:lnTo>
                    <a:pt x="93" y="78"/>
                  </a:lnTo>
                  <a:lnTo>
                    <a:pt x="79" y="96"/>
                  </a:lnTo>
                  <a:lnTo>
                    <a:pt x="67" y="114"/>
                  </a:lnTo>
                  <a:lnTo>
                    <a:pt x="55" y="133"/>
                  </a:lnTo>
                  <a:lnTo>
                    <a:pt x="45" y="151"/>
                  </a:lnTo>
                  <a:lnTo>
                    <a:pt x="34" y="172"/>
                  </a:lnTo>
                  <a:lnTo>
                    <a:pt x="26" y="192"/>
                  </a:lnTo>
                  <a:lnTo>
                    <a:pt x="19" y="214"/>
                  </a:lnTo>
                  <a:lnTo>
                    <a:pt x="12" y="236"/>
                  </a:lnTo>
                  <a:lnTo>
                    <a:pt x="8" y="258"/>
                  </a:lnTo>
                  <a:lnTo>
                    <a:pt x="3" y="280"/>
                  </a:lnTo>
                  <a:lnTo>
                    <a:pt x="1" y="303"/>
                  </a:lnTo>
                  <a:lnTo>
                    <a:pt x="1" y="303"/>
                  </a:lnTo>
                  <a:lnTo>
                    <a:pt x="0" y="330"/>
                  </a:lnTo>
                  <a:lnTo>
                    <a:pt x="0" y="357"/>
                  </a:lnTo>
                  <a:lnTo>
                    <a:pt x="2" y="384"/>
                  </a:lnTo>
                  <a:lnTo>
                    <a:pt x="5" y="410"/>
                  </a:lnTo>
                  <a:lnTo>
                    <a:pt x="5" y="410"/>
                  </a:lnTo>
                  <a:lnTo>
                    <a:pt x="9" y="426"/>
                  </a:lnTo>
                  <a:lnTo>
                    <a:pt x="12" y="443"/>
                  </a:lnTo>
                  <a:lnTo>
                    <a:pt x="23" y="475"/>
                  </a:lnTo>
                  <a:lnTo>
                    <a:pt x="34" y="505"/>
                  </a:lnTo>
                  <a:lnTo>
                    <a:pt x="49" y="535"/>
                  </a:lnTo>
                  <a:lnTo>
                    <a:pt x="67" y="563"/>
                  </a:lnTo>
                  <a:lnTo>
                    <a:pt x="85" y="589"/>
                  </a:lnTo>
                  <a:lnTo>
                    <a:pt x="106" y="615"/>
                  </a:lnTo>
                  <a:lnTo>
                    <a:pt x="129" y="638"/>
                  </a:lnTo>
                  <a:lnTo>
                    <a:pt x="155" y="659"/>
                  </a:lnTo>
                  <a:lnTo>
                    <a:pt x="181" y="678"/>
                  </a:lnTo>
                  <a:lnTo>
                    <a:pt x="210" y="696"/>
                  </a:lnTo>
                  <a:lnTo>
                    <a:pt x="239" y="711"/>
                  </a:lnTo>
                  <a:lnTo>
                    <a:pt x="255" y="718"/>
                  </a:lnTo>
                  <a:lnTo>
                    <a:pt x="270" y="723"/>
                  </a:lnTo>
                  <a:lnTo>
                    <a:pt x="286" y="728"/>
                  </a:lnTo>
                  <a:lnTo>
                    <a:pt x="302" y="733"/>
                  </a:lnTo>
                  <a:lnTo>
                    <a:pt x="320" y="737"/>
                  </a:lnTo>
                  <a:lnTo>
                    <a:pt x="337" y="741"/>
                  </a:lnTo>
                  <a:lnTo>
                    <a:pt x="355" y="743"/>
                  </a:lnTo>
                  <a:lnTo>
                    <a:pt x="372" y="745"/>
                  </a:lnTo>
                  <a:lnTo>
                    <a:pt x="372" y="745"/>
                  </a:lnTo>
                  <a:lnTo>
                    <a:pt x="398" y="747"/>
                  </a:lnTo>
                  <a:lnTo>
                    <a:pt x="425" y="747"/>
                  </a:lnTo>
                  <a:lnTo>
                    <a:pt x="452" y="744"/>
                  </a:lnTo>
                  <a:lnTo>
                    <a:pt x="478" y="741"/>
                  </a:lnTo>
                  <a:lnTo>
                    <a:pt x="478" y="741"/>
                  </a:lnTo>
                  <a:lnTo>
                    <a:pt x="509" y="734"/>
                  </a:lnTo>
                  <a:lnTo>
                    <a:pt x="538" y="725"/>
                  </a:lnTo>
                  <a:lnTo>
                    <a:pt x="568" y="713"/>
                  </a:lnTo>
                  <a:lnTo>
                    <a:pt x="596" y="700"/>
                  </a:lnTo>
                  <a:lnTo>
                    <a:pt x="623" y="685"/>
                  </a:lnTo>
                  <a:lnTo>
                    <a:pt x="648" y="668"/>
                  </a:lnTo>
                  <a:lnTo>
                    <a:pt x="672" y="648"/>
                  </a:lnTo>
                  <a:lnTo>
                    <a:pt x="696" y="628"/>
                  </a:lnTo>
                  <a:lnTo>
                    <a:pt x="696" y="628"/>
                  </a:lnTo>
                  <a:lnTo>
                    <a:pt x="699" y="623"/>
                  </a:lnTo>
                  <a:lnTo>
                    <a:pt x="701" y="618"/>
                  </a:lnTo>
                  <a:lnTo>
                    <a:pt x="703" y="614"/>
                  </a:lnTo>
                  <a:lnTo>
                    <a:pt x="703" y="608"/>
                  </a:lnTo>
                  <a:lnTo>
                    <a:pt x="703" y="603"/>
                  </a:lnTo>
                  <a:lnTo>
                    <a:pt x="701" y="599"/>
                  </a:lnTo>
                  <a:lnTo>
                    <a:pt x="699" y="594"/>
                  </a:lnTo>
                  <a:lnTo>
                    <a:pt x="696" y="589"/>
                  </a:lnTo>
                  <a:lnTo>
                    <a:pt x="696" y="58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106" name="Group 2105">
            <a:extLst>
              <a:ext uri="{FF2B5EF4-FFF2-40B4-BE49-F238E27FC236}">
                <a16:creationId xmlns:a16="http://schemas.microsoft.com/office/drawing/2014/main" id="{034FE852-1117-4F56-A55C-AFD60259FB5F}"/>
              </a:ext>
            </a:extLst>
          </p:cNvPr>
          <p:cNvGrpSpPr/>
          <p:nvPr/>
        </p:nvGrpSpPr>
        <p:grpSpPr>
          <a:xfrm>
            <a:off x="2425171" y="3981305"/>
            <a:ext cx="612000" cy="612000"/>
            <a:chOff x="592807" y="4582498"/>
            <a:chExt cx="612000" cy="612000"/>
          </a:xfrm>
        </p:grpSpPr>
        <p:sp>
          <p:nvSpPr>
            <p:cNvPr id="2107" name="Oval 2106">
              <a:extLst>
                <a:ext uri="{FF2B5EF4-FFF2-40B4-BE49-F238E27FC236}">
                  <a16:creationId xmlns:a16="http://schemas.microsoft.com/office/drawing/2014/main" id="{4B5560D3-B742-49E3-B62C-623950EFD2AB}"/>
                </a:ext>
              </a:extLst>
            </p:cNvPr>
            <p:cNvSpPr/>
            <p:nvPr/>
          </p:nvSpPr>
          <p:spPr bwMode="ltGray">
            <a:xfrm>
              <a:off x="592807" y="4582498"/>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108" name="Freeform 111">
              <a:extLst>
                <a:ext uri="{FF2B5EF4-FFF2-40B4-BE49-F238E27FC236}">
                  <a16:creationId xmlns:a16="http://schemas.microsoft.com/office/drawing/2014/main" id="{5E2B7651-EBB6-4615-B229-255BB54D7F41}"/>
                </a:ext>
              </a:extLst>
            </p:cNvPr>
            <p:cNvSpPr>
              <a:spLocks noEditPoints="1"/>
            </p:cNvSpPr>
            <p:nvPr/>
          </p:nvSpPr>
          <p:spPr bwMode="auto">
            <a:xfrm>
              <a:off x="664807" y="4654498"/>
              <a:ext cx="468000" cy="468000"/>
            </a:xfrm>
            <a:custGeom>
              <a:avLst/>
              <a:gdLst>
                <a:gd name="T0" fmla="*/ 264 w 817"/>
                <a:gd name="T1" fmla="*/ 267 h 815"/>
                <a:gd name="T2" fmla="*/ 245 w 817"/>
                <a:gd name="T3" fmla="*/ 350 h 815"/>
                <a:gd name="T4" fmla="*/ 294 w 817"/>
                <a:gd name="T5" fmla="*/ 510 h 815"/>
                <a:gd name="T6" fmla="*/ 376 w 817"/>
                <a:gd name="T7" fmla="*/ 604 h 815"/>
                <a:gd name="T8" fmla="*/ 441 w 817"/>
                <a:gd name="T9" fmla="*/ 604 h 815"/>
                <a:gd name="T10" fmla="*/ 522 w 817"/>
                <a:gd name="T11" fmla="*/ 588 h 815"/>
                <a:gd name="T12" fmla="*/ 585 w 817"/>
                <a:gd name="T13" fmla="*/ 486 h 815"/>
                <a:gd name="T14" fmla="*/ 595 w 817"/>
                <a:gd name="T15" fmla="*/ 415 h 815"/>
                <a:gd name="T16" fmla="*/ 485 w 817"/>
                <a:gd name="T17" fmla="*/ 309 h 815"/>
                <a:gd name="T18" fmla="*/ 324 w 817"/>
                <a:gd name="T19" fmla="*/ 231 h 815"/>
                <a:gd name="T20" fmla="*/ 365 w 817"/>
                <a:gd name="T21" fmla="*/ 142 h 815"/>
                <a:gd name="T22" fmla="*/ 533 w 817"/>
                <a:gd name="T23" fmla="*/ 145 h 815"/>
                <a:gd name="T24" fmla="*/ 659 w 817"/>
                <a:gd name="T25" fmla="*/ 157 h 815"/>
                <a:gd name="T26" fmla="*/ 589 w 817"/>
                <a:gd name="T27" fmla="*/ 43 h 815"/>
                <a:gd name="T28" fmla="*/ 409 w 817"/>
                <a:gd name="T29" fmla="*/ 0 h 815"/>
                <a:gd name="T30" fmla="*/ 301 w 817"/>
                <a:gd name="T31" fmla="*/ 88 h 815"/>
                <a:gd name="T32" fmla="*/ 324 w 817"/>
                <a:gd name="T33" fmla="*/ 192 h 815"/>
                <a:gd name="T34" fmla="*/ 474 w 817"/>
                <a:gd name="T35" fmla="*/ 256 h 815"/>
                <a:gd name="T36" fmla="*/ 613 w 817"/>
                <a:gd name="T37" fmla="*/ 377 h 815"/>
                <a:gd name="T38" fmla="*/ 666 w 817"/>
                <a:gd name="T39" fmla="*/ 363 h 815"/>
                <a:gd name="T40" fmla="*/ 623 w 817"/>
                <a:gd name="T41" fmla="*/ 213 h 815"/>
                <a:gd name="T42" fmla="*/ 412 w 817"/>
                <a:gd name="T43" fmla="*/ 176 h 815"/>
                <a:gd name="T44" fmla="*/ 189 w 817"/>
                <a:gd name="T45" fmla="*/ 157 h 815"/>
                <a:gd name="T46" fmla="*/ 250 w 817"/>
                <a:gd name="T47" fmla="*/ 104 h 815"/>
                <a:gd name="T48" fmla="*/ 236 w 817"/>
                <a:gd name="T49" fmla="*/ 39 h 815"/>
                <a:gd name="T50" fmla="*/ 117 w 817"/>
                <a:gd name="T51" fmla="*/ 123 h 815"/>
                <a:gd name="T52" fmla="*/ 145 w 817"/>
                <a:gd name="T53" fmla="*/ 171 h 815"/>
                <a:gd name="T54" fmla="*/ 794 w 817"/>
                <a:gd name="T55" fmla="*/ 353 h 815"/>
                <a:gd name="T56" fmla="*/ 715 w 817"/>
                <a:gd name="T57" fmla="*/ 272 h 815"/>
                <a:gd name="T58" fmla="*/ 703 w 817"/>
                <a:gd name="T59" fmla="*/ 420 h 815"/>
                <a:gd name="T60" fmla="*/ 710 w 817"/>
                <a:gd name="T61" fmla="*/ 485 h 815"/>
                <a:gd name="T62" fmla="*/ 740 w 817"/>
                <a:gd name="T63" fmla="*/ 646 h 815"/>
                <a:gd name="T64" fmla="*/ 817 w 817"/>
                <a:gd name="T65" fmla="*/ 408 h 815"/>
                <a:gd name="T66" fmla="*/ 770 w 817"/>
                <a:gd name="T67" fmla="*/ 219 h 815"/>
                <a:gd name="T68" fmla="*/ 700 w 817"/>
                <a:gd name="T69" fmla="*/ 160 h 815"/>
                <a:gd name="T70" fmla="*/ 803 w 817"/>
                <a:gd name="T71" fmla="*/ 301 h 815"/>
                <a:gd name="T72" fmla="*/ 366 w 817"/>
                <a:gd name="T73" fmla="*/ 716 h 815"/>
                <a:gd name="T74" fmla="*/ 272 w 817"/>
                <a:gd name="T75" fmla="*/ 713 h 815"/>
                <a:gd name="T76" fmla="*/ 105 w 817"/>
                <a:gd name="T77" fmla="*/ 681 h 815"/>
                <a:gd name="T78" fmla="*/ 221 w 817"/>
                <a:gd name="T79" fmla="*/ 770 h 815"/>
                <a:gd name="T80" fmla="*/ 386 w 817"/>
                <a:gd name="T81" fmla="*/ 815 h 815"/>
                <a:gd name="T82" fmla="*/ 548 w 817"/>
                <a:gd name="T83" fmla="*/ 791 h 815"/>
                <a:gd name="T84" fmla="*/ 498 w 817"/>
                <a:gd name="T85" fmla="*/ 744 h 815"/>
                <a:gd name="T86" fmla="*/ 409 w 817"/>
                <a:gd name="T87" fmla="*/ 730 h 815"/>
                <a:gd name="T88" fmla="*/ 583 w 817"/>
                <a:gd name="T89" fmla="*/ 586 h 815"/>
                <a:gd name="T90" fmla="*/ 471 w 817"/>
                <a:gd name="T91" fmla="*/ 689 h 815"/>
                <a:gd name="T92" fmla="*/ 621 w 817"/>
                <a:gd name="T93" fmla="*/ 738 h 815"/>
                <a:gd name="T94" fmla="*/ 704 w 817"/>
                <a:gd name="T95" fmla="*/ 665 h 815"/>
                <a:gd name="T96" fmla="*/ 663 w 817"/>
                <a:gd name="T97" fmla="*/ 524 h 815"/>
                <a:gd name="T98" fmla="*/ 341 w 817"/>
                <a:gd name="T99" fmla="*/ 652 h 815"/>
                <a:gd name="T100" fmla="*/ 262 w 817"/>
                <a:gd name="T101" fmla="*/ 533 h 815"/>
                <a:gd name="T102" fmla="*/ 207 w 817"/>
                <a:gd name="T103" fmla="*/ 355 h 815"/>
                <a:gd name="T104" fmla="*/ 192 w 817"/>
                <a:gd name="T105" fmla="*/ 254 h 815"/>
                <a:gd name="T106" fmla="*/ 90 w 817"/>
                <a:gd name="T107" fmla="*/ 351 h 815"/>
                <a:gd name="T108" fmla="*/ 21 w 817"/>
                <a:gd name="T109" fmla="*/ 497 h 815"/>
                <a:gd name="T110" fmla="*/ 78 w 817"/>
                <a:gd name="T111" fmla="*/ 625 h 815"/>
                <a:gd name="T112" fmla="*/ 272 w 817"/>
                <a:gd name="T113" fmla="*/ 676 h 815"/>
                <a:gd name="T114" fmla="*/ 171 w 817"/>
                <a:gd name="T115" fmla="*/ 208 h 815"/>
                <a:gd name="T116" fmla="*/ 34 w 817"/>
                <a:gd name="T117" fmla="*/ 244 h 815"/>
                <a:gd name="T118" fmla="*/ 0 w 817"/>
                <a:gd name="T119" fmla="*/ 408 h 815"/>
                <a:gd name="T120" fmla="*/ 118 w 817"/>
                <a:gd name="T121" fmla="*/ 264 h 8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17" h="815">
                  <a:moveTo>
                    <a:pt x="303" y="225"/>
                  </a:moveTo>
                  <a:lnTo>
                    <a:pt x="303" y="225"/>
                  </a:lnTo>
                  <a:lnTo>
                    <a:pt x="299" y="235"/>
                  </a:lnTo>
                  <a:lnTo>
                    <a:pt x="294" y="243"/>
                  </a:lnTo>
                  <a:lnTo>
                    <a:pt x="288" y="250"/>
                  </a:lnTo>
                  <a:lnTo>
                    <a:pt x="281" y="256"/>
                  </a:lnTo>
                  <a:lnTo>
                    <a:pt x="272" y="262"/>
                  </a:lnTo>
                  <a:lnTo>
                    <a:pt x="264" y="267"/>
                  </a:lnTo>
                  <a:lnTo>
                    <a:pt x="254" y="270"/>
                  </a:lnTo>
                  <a:lnTo>
                    <a:pt x="245" y="272"/>
                  </a:lnTo>
                  <a:lnTo>
                    <a:pt x="245" y="272"/>
                  </a:lnTo>
                  <a:lnTo>
                    <a:pt x="244" y="289"/>
                  </a:lnTo>
                  <a:lnTo>
                    <a:pt x="242" y="306"/>
                  </a:lnTo>
                  <a:lnTo>
                    <a:pt x="242" y="306"/>
                  </a:lnTo>
                  <a:lnTo>
                    <a:pt x="244" y="329"/>
                  </a:lnTo>
                  <a:lnTo>
                    <a:pt x="245" y="350"/>
                  </a:lnTo>
                  <a:lnTo>
                    <a:pt x="247" y="371"/>
                  </a:lnTo>
                  <a:lnTo>
                    <a:pt x="251" y="392"/>
                  </a:lnTo>
                  <a:lnTo>
                    <a:pt x="256" y="413"/>
                  </a:lnTo>
                  <a:lnTo>
                    <a:pt x="262" y="433"/>
                  </a:lnTo>
                  <a:lnTo>
                    <a:pt x="269" y="454"/>
                  </a:lnTo>
                  <a:lnTo>
                    <a:pt x="276" y="473"/>
                  </a:lnTo>
                  <a:lnTo>
                    <a:pt x="284" y="492"/>
                  </a:lnTo>
                  <a:lnTo>
                    <a:pt x="294" y="510"/>
                  </a:lnTo>
                  <a:lnTo>
                    <a:pt x="304" y="528"/>
                  </a:lnTo>
                  <a:lnTo>
                    <a:pt x="315" y="546"/>
                  </a:lnTo>
                  <a:lnTo>
                    <a:pt x="327" y="563"/>
                  </a:lnTo>
                  <a:lnTo>
                    <a:pt x="339" y="579"/>
                  </a:lnTo>
                  <a:lnTo>
                    <a:pt x="352" y="594"/>
                  </a:lnTo>
                  <a:lnTo>
                    <a:pt x="366" y="610"/>
                  </a:lnTo>
                  <a:lnTo>
                    <a:pt x="366" y="610"/>
                  </a:lnTo>
                  <a:lnTo>
                    <a:pt x="376" y="604"/>
                  </a:lnTo>
                  <a:lnTo>
                    <a:pt x="386" y="599"/>
                  </a:lnTo>
                  <a:lnTo>
                    <a:pt x="397" y="595"/>
                  </a:lnTo>
                  <a:lnTo>
                    <a:pt x="409" y="594"/>
                  </a:lnTo>
                  <a:lnTo>
                    <a:pt x="409" y="594"/>
                  </a:lnTo>
                  <a:lnTo>
                    <a:pt x="417" y="595"/>
                  </a:lnTo>
                  <a:lnTo>
                    <a:pt x="425" y="597"/>
                  </a:lnTo>
                  <a:lnTo>
                    <a:pt x="434" y="600"/>
                  </a:lnTo>
                  <a:lnTo>
                    <a:pt x="441" y="604"/>
                  </a:lnTo>
                  <a:lnTo>
                    <a:pt x="448" y="607"/>
                  </a:lnTo>
                  <a:lnTo>
                    <a:pt x="456" y="613"/>
                  </a:lnTo>
                  <a:lnTo>
                    <a:pt x="460" y="619"/>
                  </a:lnTo>
                  <a:lnTo>
                    <a:pt x="465" y="625"/>
                  </a:lnTo>
                  <a:lnTo>
                    <a:pt x="465" y="625"/>
                  </a:lnTo>
                  <a:lnTo>
                    <a:pt x="486" y="615"/>
                  </a:lnTo>
                  <a:lnTo>
                    <a:pt x="504" y="601"/>
                  </a:lnTo>
                  <a:lnTo>
                    <a:pt x="522" y="588"/>
                  </a:lnTo>
                  <a:lnTo>
                    <a:pt x="540" y="574"/>
                  </a:lnTo>
                  <a:lnTo>
                    <a:pt x="556" y="559"/>
                  </a:lnTo>
                  <a:lnTo>
                    <a:pt x="571" y="543"/>
                  </a:lnTo>
                  <a:lnTo>
                    <a:pt x="586" y="526"/>
                  </a:lnTo>
                  <a:lnTo>
                    <a:pt x="600" y="508"/>
                  </a:lnTo>
                  <a:lnTo>
                    <a:pt x="600" y="508"/>
                  </a:lnTo>
                  <a:lnTo>
                    <a:pt x="591" y="498"/>
                  </a:lnTo>
                  <a:lnTo>
                    <a:pt x="585" y="486"/>
                  </a:lnTo>
                  <a:lnTo>
                    <a:pt x="580" y="473"/>
                  </a:lnTo>
                  <a:lnTo>
                    <a:pt x="580" y="466"/>
                  </a:lnTo>
                  <a:lnTo>
                    <a:pt x="579" y="458"/>
                  </a:lnTo>
                  <a:lnTo>
                    <a:pt x="579" y="458"/>
                  </a:lnTo>
                  <a:lnTo>
                    <a:pt x="580" y="446"/>
                  </a:lnTo>
                  <a:lnTo>
                    <a:pt x="583" y="436"/>
                  </a:lnTo>
                  <a:lnTo>
                    <a:pt x="588" y="425"/>
                  </a:lnTo>
                  <a:lnTo>
                    <a:pt x="595" y="415"/>
                  </a:lnTo>
                  <a:lnTo>
                    <a:pt x="595" y="415"/>
                  </a:lnTo>
                  <a:lnTo>
                    <a:pt x="581" y="398"/>
                  </a:lnTo>
                  <a:lnTo>
                    <a:pt x="566" y="381"/>
                  </a:lnTo>
                  <a:lnTo>
                    <a:pt x="551" y="366"/>
                  </a:lnTo>
                  <a:lnTo>
                    <a:pt x="535" y="350"/>
                  </a:lnTo>
                  <a:lnTo>
                    <a:pt x="519" y="336"/>
                  </a:lnTo>
                  <a:lnTo>
                    <a:pt x="501" y="323"/>
                  </a:lnTo>
                  <a:lnTo>
                    <a:pt x="485" y="309"/>
                  </a:lnTo>
                  <a:lnTo>
                    <a:pt x="465" y="296"/>
                  </a:lnTo>
                  <a:lnTo>
                    <a:pt x="447" y="285"/>
                  </a:lnTo>
                  <a:lnTo>
                    <a:pt x="428" y="274"/>
                  </a:lnTo>
                  <a:lnTo>
                    <a:pt x="409" y="264"/>
                  </a:lnTo>
                  <a:lnTo>
                    <a:pt x="388" y="254"/>
                  </a:lnTo>
                  <a:lnTo>
                    <a:pt x="368" y="246"/>
                  </a:lnTo>
                  <a:lnTo>
                    <a:pt x="346" y="238"/>
                  </a:lnTo>
                  <a:lnTo>
                    <a:pt x="324" y="231"/>
                  </a:lnTo>
                  <a:lnTo>
                    <a:pt x="303" y="225"/>
                  </a:lnTo>
                  <a:lnTo>
                    <a:pt x="303" y="225"/>
                  </a:lnTo>
                  <a:close/>
                  <a:moveTo>
                    <a:pt x="291" y="162"/>
                  </a:moveTo>
                  <a:lnTo>
                    <a:pt x="291" y="162"/>
                  </a:lnTo>
                  <a:lnTo>
                    <a:pt x="309" y="156"/>
                  </a:lnTo>
                  <a:lnTo>
                    <a:pt x="327" y="151"/>
                  </a:lnTo>
                  <a:lnTo>
                    <a:pt x="346" y="146"/>
                  </a:lnTo>
                  <a:lnTo>
                    <a:pt x="365" y="142"/>
                  </a:lnTo>
                  <a:lnTo>
                    <a:pt x="383" y="140"/>
                  </a:lnTo>
                  <a:lnTo>
                    <a:pt x="404" y="137"/>
                  </a:lnTo>
                  <a:lnTo>
                    <a:pt x="423" y="136"/>
                  </a:lnTo>
                  <a:lnTo>
                    <a:pt x="442" y="136"/>
                  </a:lnTo>
                  <a:lnTo>
                    <a:pt x="442" y="136"/>
                  </a:lnTo>
                  <a:lnTo>
                    <a:pt x="474" y="137"/>
                  </a:lnTo>
                  <a:lnTo>
                    <a:pt x="503" y="140"/>
                  </a:lnTo>
                  <a:lnTo>
                    <a:pt x="533" y="145"/>
                  </a:lnTo>
                  <a:lnTo>
                    <a:pt x="562" y="151"/>
                  </a:lnTo>
                  <a:lnTo>
                    <a:pt x="589" y="159"/>
                  </a:lnTo>
                  <a:lnTo>
                    <a:pt x="617" y="169"/>
                  </a:lnTo>
                  <a:lnTo>
                    <a:pt x="644" y="181"/>
                  </a:lnTo>
                  <a:lnTo>
                    <a:pt x="669" y="193"/>
                  </a:lnTo>
                  <a:lnTo>
                    <a:pt x="669" y="193"/>
                  </a:lnTo>
                  <a:lnTo>
                    <a:pt x="665" y="175"/>
                  </a:lnTo>
                  <a:lnTo>
                    <a:pt x="659" y="157"/>
                  </a:lnTo>
                  <a:lnTo>
                    <a:pt x="653" y="139"/>
                  </a:lnTo>
                  <a:lnTo>
                    <a:pt x="647" y="121"/>
                  </a:lnTo>
                  <a:lnTo>
                    <a:pt x="640" y="104"/>
                  </a:lnTo>
                  <a:lnTo>
                    <a:pt x="632" y="87"/>
                  </a:lnTo>
                  <a:lnTo>
                    <a:pt x="622" y="71"/>
                  </a:lnTo>
                  <a:lnTo>
                    <a:pt x="612" y="55"/>
                  </a:lnTo>
                  <a:lnTo>
                    <a:pt x="612" y="55"/>
                  </a:lnTo>
                  <a:lnTo>
                    <a:pt x="589" y="43"/>
                  </a:lnTo>
                  <a:lnTo>
                    <a:pt x="565" y="32"/>
                  </a:lnTo>
                  <a:lnTo>
                    <a:pt x="541" y="22"/>
                  </a:lnTo>
                  <a:lnTo>
                    <a:pt x="516" y="15"/>
                  </a:lnTo>
                  <a:lnTo>
                    <a:pt x="491" y="9"/>
                  </a:lnTo>
                  <a:lnTo>
                    <a:pt x="463" y="4"/>
                  </a:lnTo>
                  <a:lnTo>
                    <a:pt x="436" y="2"/>
                  </a:lnTo>
                  <a:lnTo>
                    <a:pt x="409" y="0"/>
                  </a:lnTo>
                  <a:lnTo>
                    <a:pt x="409" y="0"/>
                  </a:lnTo>
                  <a:lnTo>
                    <a:pt x="387" y="2"/>
                  </a:lnTo>
                  <a:lnTo>
                    <a:pt x="366" y="3"/>
                  </a:lnTo>
                  <a:lnTo>
                    <a:pt x="366" y="3"/>
                  </a:lnTo>
                  <a:lnTo>
                    <a:pt x="352" y="18"/>
                  </a:lnTo>
                  <a:lnTo>
                    <a:pt x="339" y="35"/>
                  </a:lnTo>
                  <a:lnTo>
                    <a:pt x="325" y="52"/>
                  </a:lnTo>
                  <a:lnTo>
                    <a:pt x="313" y="70"/>
                  </a:lnTo>
                  <a:lnTo>
                    <a:pt x="301" y="88"/>
                  </a:lnTo>
                  <a:lnTo>
                    <a:pt x="292" y="106"/>
                  </a:lnTo>
                  <a:lnTo>
                    <a:pt x="282" y="127"/>
                  </a:lnTo>
                  <a:lnTo>
                    <a:pt x="274" y="146"/>
                  </a:lnTo>
                  <a:lnTo>
                    <a:pt x="274" y="146"/>
                  </a:lnTo>
                  <a:lnTo>
                    <a:pt x="282" y="153"/>
                  </a:lnTo>
                  <a:lnTo>
                    <a:pt x="291" y="162"/>
                  </a:lnTo>
                  <a:lnTo>
                    <a:pt x="291" y="162"/>
                  </a:lnTo>
                  <a:close/>
                  <a:moveTo>
                    <a:pt x="324" y="192"/>
                  </a:moveTo>
                  <a:lnTo>
                    <a:pt x="324" y="192"/>
                  </a:lnTo>
                  <a:lnTo>
                    <a:pt x="347" y="198"/>
                  </a:lnTo>
                  <a:lnTo>
                    <a:pt x="369" y="205"/>
                  </a:lnTo>
                  <a:lnTo>
                    <a:pt x="391" y="214"/>
                  </a:lnTo>
                  <a:lnTo>
                    <a:pt x="412" y="223"/>
                  </a:lnTo>
                  <a:lnTo>
                    <a:pt x="433" y="234"/>
                  </a:lnTo>
                  <a:lnTo>
                    <a:pt x="453" y="244"/>
                  </a:lnTo>
                  <a:lnTo>
                    <a:pt x="474" y="256"/>
                  </a:lnTo>
                  <a:lnTo>
                    <a:pt x="493" y="268"/>
                  </a:lnTo>
                  <a:lnTo>
                    <a:pt x="512" y="282"/>
                  </a:lnTo>
                  <a:lnTo>
                    <a:pt x="530" y="296"/>
                  </a:lnTo>
                  <a:lnTo>
                    <a:pt x="548" y="311"/>
                  </a:lnTo>
                  <a:lnTo>
                    <a:pt x="565" y="326"/>
                  </a:lnTo>
                  <a:lnTo>
                    <a:pt x="582" y="342"/>
                  </a:lnTo>
                  <a:lnTo>
                    <a:pt x="598" y="359"/>
                  </a:lnTo>
                  <a:lnTo>
                    <a:pt x="613" y="377"/>
                  </a:lnTo>
                  <a:lnTo>
                    <a:pt x="628" y="395"/>
                  </a:lnTo>
                  <a:lnTo>
                    <a:pt x="628" y="395"/>
                  </a:lnTo>
                  <a:lnTo>
                    <a:pt x="638" y="392"/>
                  </a:lnTo>
                  <a:lnTo>
                    <a:pt x="647" y="391"/>
                  </a:lnTo>
                  <a:lnTo>
                    <a:pt x="647" y="391"/>
                  </a:lnTo>
                  <a:lnTo>
                    <a:pt x="658" y="392"/>
                  </a:lnTo>
                  <a:lnTo>
                    <a:pt x="658" y="392"/>
                  </a:lnTo>
                  <a:lnTo>
                    <a:pt x="666" y="363"/>
                  </a:lnTo>
                  <a:lnTo>
                    <a:pt x="672" y="333"/>
                  </a:lnTo>
                  <a:lnTo>
                    <a:pt x="675" y="303"/>
                  </a:lnTo>
                  <a:lnTo>
                    <a:pt x="676" y="272"/>
                  </a:lnTo>
                  <a:lnTo>
                    <a:pt x="676" y="272"/>
                  </a:lnTo>
                  <a:lnTo>
                    <a:pt x="675" y="242"/>
                  </a:lnTo>
                  <a:lnTo>
                    <a:pt x="675" y="242"/>
                  </a:lnTo>
                  <a:lnTo>
                    <a:pt x="650" y="226"/>
                  </a:lnTo>
                  <a:lnTo>
                    <a:pt x="623" y="213"/>
                  </a:lnTo>
                  <a:lnTo>
                    <a:pt x="594" y="201"/>
                  </a:lnTo>
                  <a:lnTo>
                    <a:pt x="565" y="192"/>
                  </a:lnTo>
                  <a:lnTo>
                    <a:pt x="536" y="184"/>
                  </a:lnTo>
                  <a:lnTo>
                    <a:pt x="506" y="180"/>
                  </a:lnTo>
                  <a:lnTo>
                    <a:pt x="475" y="176"/>
                  </a:lnTo>
                  <a:lnTo>
                    <a:pt x="442" y="175"/>
                  </a:lnTo>
                  <a:lnTo>
                    <a:pt x="442" y="175"/>
                  </a:lnTo>
                  <a:lnTo>
                    <a:pt x="412" y="176"/>
                  </a:lnTo>
                  <a:lnTo>
                    <a:pt x="382" y="178"/>
                  </a:lnTo>
                  <a:lnTo>
                    <a:pt x="353" y="184"/>
                  </a:lnTo>
                  <a:lnTo>
                    <a:pt x="324" y="192"/>
                  </a:lnTo>
                  <a:lnTo>
                    <a:pt x="324" y="192"/>
                  </a:lnTo>
                  <a:close/>
                  <a:moveTo>
                    <a:pt x="180" y="170"/>
                  </a:moveTo>
                  <a:lnTo>
                    <a:pt x="180" y="170"/>
                  </a:lnTo>
                  <a:lnTo>
                    <a:pt x="184" y="164"/>
                  </a:lnTo>
                  <a:lnTo>
                    <a:pt x="189" y="157"/>
                  </a:lnTo>
                  <a:lnTo>
                    <a:pt x="197" y="152"/>
                  </a:lnTo>
                  <a:lnTo>
                    <a:pt x="203" y="147"/>
                  </a:lnTo>
                  <a:lnTo>
                    <a:pt x="211" y="142"/>
                  </a:lnTo>
                  <a:lnTo>
                    <a:pt x="218" y="140"/>
                  </a:lnTo>
                  <a:lnTo>
                    <a:pt x="227" y="137"/>
                  </a:lnTo>
                  <a:lnTo>
                    <a:pt x="236" y="136"/>
                  </a:lnTo>
                  <a:lnTo>
                    <a:pt x="236" y="136"/>
                  </a:lnTo>
                  <a:lnTo>
                    <a:pt x="250" y="104"/>
                  </a:lnTo>
                  <a:lnTo>
                    <a:pt x="266" y="73"/>
                  </a:lnTo>
                  <a:lnTo>
                    <a:pt x="284" y="43"/>
                  </a:lnTo>
                  <a:lnTo>
                    <a:pt x="306" y="14"/>
                  </a:lnTo>
                  <a:lnTo>
                    <a:pt x="306" y="14"/>
                  </a:lnTo>
                  <a:lnTo>
                    <a:pt x="288" y="18"/>
                  </a:lnTo>
                  <a:lnTo>
                    <a:pt x="270" y="25"/>
                  </a:lnTo>
                  <a:lnTo>
                    <a:pt x="253" y="32"/>
                  </a:lnTo>
                  <a:lnTo>
                    <a:pt x="236" y="39"/>
                  </a:lnTo>
                  <a:lnTo>
                    <a:pt x="219" y="47"/>
                  </a:lnTo>
                  <a:lnTo>
                    <a:pt x="203" y="56"/>
                  </a:lnTo>
                  <a:lnTo>
                    <a:pt x="188" y="65"/>
                  </a:lnTo>
                  <a:lnTo>
                    <a:pt x="172" y="76"/>
                  </a:lnTo>
                  <a:lnTo>
                    <a:pt x="158" y="87"/>
                  </a:lnTo>
                  <a:lnTo>
                    <a:pt x="144" y="98"/>
                  </a:lnTo>
                  <a:lnTo>
                    <a:pt x="130" y="110"/>
                  </a:lnTo>
                  <a:lnTo>
                    <a:pt x="117" y="123"/>
                  </a:lnTo>
                  <a:lnTo>
                    <a:pt x="105" y="136"/>
                  </a:lnTo>
                  <a:lnTo>
                    <a:pt x="93" y="149"/>
                  </a:lnTo>
                  <a:lnTo>
                    <a:pt x="81" y="164"/>
                  </a:lnTo>
                  <a:lnTo>
                    <a:pt x="71" y="180"/>
                  </a:lnTo>
                  <a:lnTo>
                    <a:pt x="71" y="180"/>
                  </a:lnTo>
                  <a:lnTo>
                    <a:pt x="95" y="175"/>
                  </a:lnTo>
                  <a:lnTo>
                    <a:pt x="119" y="172"/>
                  </a:lnTo>
                  <a:lnTo>
                    <a:pt x="145" y="171"/>
                  </a:lnTo>
                  <a:lnTo>
                    <a:pt x="170" y="170"/>
                  </a:lnTo>
                  <a:lnTo>
                    <a:pt x="170" y="170"/>
                  </a:lnTo>
                  <a:lnTo>
                    <a:pt x="180" y="170"/>
                  </a:lnTo>
                  <a:lnTo>
                    <a:pt x="180" y="170"/>
                  </a:lnTo>
                  <a:close/>
                  <a:moveTo>
                    <a:pt x="816" y="384"/>
                  </a:moveTo>
                  <a:lnTo>
                    <a:pt x="816" y="384"/>
                  </a:lnTo>
                  <a:lnTo>
                    <a:pt x="806" y="368"/>
                  </a:lnTo>
                  <a:lnTo>
                    <a:pt x="794" y="353"/>
                  </a:lnTo>
                  <a:lnTo>
                    <a:pt x="783" y="337"/>
                  </a:lnTo>
                  <a:lnTo>
                    <a:pt x="770" y="323"/>
                  </a:lnTo>
                  <a:lnTo>
                    <a:pt x="758" y="308"/>
                  </a:lnTo>
                  <a:lnTo>
                    <a:pt x="744" y="295"/>
                  </a:lnTo>
                  <a:lnTo>
                    <a:pt x="729" y="282"/>
                  </a:lnTo>
                  <a:lnTo>
                    <a:pt x="715" y="270"/>
                  </a:lnTo>
                  <a:lnTo>
                    <a:pt x="715" y="270"/>
                  </a:lnTo>
                  <a:lnTo>
                    <a:pt x="715" y="272"/>
                  </a:lnTo>
                  <a:lnTo>
                    <a:pt x="715" y="272"/>
                  </a:lnTo>
                  <a:lnTo>
                    <a:pt x="715" y="290"/>
                  </a:lnTo>
                  <a:lnTo>
                    <a:pt x="713" y="308"/>
                  </a:lnTo>
                  <a:lnTo>
                    <a:pt x="710" y="343"/>
                  </a:lnTo>
                  <a:lnTo>
                    <a:pt x="703" y="377"/>
                  </a:lnTo>
                  <a:lnTo>
                    <a:pt x="693" y="409"/>
                  </a:lnTo>
                  <a:lnTo>
                    <a:pt x="693" y="409"/>
                  </a:lnTo>
                  <a:lnTo>
                    <a:pt x="703" y="420"/>
                  </a:lnTo>
                  <a:lnTo>
                    <a:pt x="709" y="432"/>
                  </a:lnTo>
                  <a:lnTo>
                    <a:pt x="711" y="438"/>
                  </a:lnTo>
                  <a:lnTo>
                    <a:pt x="713" y="445"/>
                  </a:lnTo>
                  <a:lnTo>
                    <a:pt x="715" y="451"/>
                  </a:lnTo>
                  <a:lnTo>
                    <a:pt x="715" y="458"/>
                  </a:lnTo>
                  <a:lnTo>
                    <a:pt x="715" y="458"/>
                  </a:lnTo>
                  <a:lnTo>
                    <a:pt x="713" y="473"/>
                  </a:lnTo>
                  <a:lnTo>
                    <a:pt x="710" y="485"/>
                  </a:lnTo>
                  <a:lnTo>
                    <a:pt x="704" y="496"/>
                  </a:lnTo>
                  <a:lnTo>
                    <a:pt x="695" y="506"/>
                  </a:lnTo>
                  <a:lnTo>
                    <a:pt x="695" y="506"/>
                  </a:lnTo>
                  <a:lnTo>
                    <a:pt x="710" y="540"/>
                  </a:lnTo>
                  <a:lnTo>
                    <a:pt x="722" y="574"/>
                  </a:lnTo>
                  <a:lnTo>
                    <a:pt x="732" y="610"/>
                  </a:lnTo>
                  <a:lnTo>
                    <a:pt x="740" y="646"/>
                  </a:lnTo>
                  <a:lnTo>
                    <a:pt x="740" y="646"/>
                  </a:lnTo>
                  <a:lnTo>
                    <a:pt x="757" y="621"/>
                  </a:lnTo>
                  <a:lnTo>
                    <a:pt x="773" y="593"/>
                  </a:lnTo>
                  <a:lnTo>
                    <a:pt x="786" y="565"/>
                  </a:lnTo>
                  <a:lnTo>
                    <a:pt x="797" y="535"/>
                  </a:lnTo>
                  <a:lnTo>
                    <a:pt x="805" y="505"/>
                  </a:lnTo>
                  <a:lnTo>
                    <a:pt x="812" y="473"/>
                  </a:lnTo>
                  <a:lnTo>
                    <a:pt x="816" y="442"/>
                  </a:lnTo>
                  <a:lnTo>
                    <a:pt x="817" y="408"/>
                  </a:lnTo>
                  <a:lnTo>
                    <a:pt x="817" y="408"/>
                  </a:lnTo>
                  <a:lnTo>
                    <a:pt x="816" y="384"/>
                  </a:lnTo>
                  <a:lnTo>
                    <a:pt x="816" y="384"/>
                  </a:lnTo>
                  <a:close/>
                  <a:moveTo>
                    <a:pt x="803" y="301"/>
                  </a:moveTo>
                  <a:lnTo>
                    <a:pt x="803" y="301"/>
                  </a:lnTo>
                  <a:lnTo>
                    <a:pt x="794" y="272"/>
                  </a:lnTo>
                  <a:lnTo>
                    <a:pt x="783" y="246"/>
                  </a:lnTo>
                  <a:lnTo>
                    <a:pt x="770" y="219"/>
                  </a:lnTo>
                  <a:lnTo>
                    <a:pt x="756" y="194"/>
                  </a:lnTo>
                  <a:lnTo>
                    <a:pt x="740" y="170"/>
                  </a:lnTo>
                  <a:lnTo>
                    <a:pt x="722" y="147"/>
                  </a:lnTo>
                  <a:lnTo>
                    <a:pt x="703" y="125"/>
                  </a:lnTo>
                  <a:lnTo>
                    <a:pt x="682" y="105"/>
                  </a:lnTo>
                  <a:lnTo>
                    <a:pt x="682" y="105"/>
                  </a:lnTo>
                  <a:lnTo>
                    <a:pt x="692" y="133"/>
                  </a:lnTo>
                  <a:lnTo>
                    <a:pt x="700" y="160"/>
                  </a:lnTo>
                  <a:lnTo>
                    <a:pt x="707" y="190"/>
                  </a:lnTo>
                  <a:lnTo>
                    <a:pt x="712" y="219"/>
                  </a:lnTo>
                  <a:lnTo>
                    <a:pt x="712" y="219"/>
                  </a:lnTo>
                  <a:lnTo>
                    <a:pt x="736" y="237"/>
                  </a:lnTo>
                  <a:lnTo>
                    <a:pt x="759" y="258"/>
                  </a:lnTo>
                  <a:lnTo>
                    <a:pt x="782" y="278"/>
                  </a:lnTo>
                  <a:lnTo>
                    <a:pt x="803" y="301"/>
                  </a:lnTo>
                  <a:lnTo>
                    <a:pt x="803" y="301"/>
                  </a:lnTo>
                  <a:close/>
                  <a:moveTo>
                    <a:pt x="409" y="730"/>
                  </a:moveTo>
                  <a:lnTo>
                    <a:pt x="409" y="730"/>
                  </a:lnTo>
                  <a:lnTo>
                    <a:pt x="400" y="730"/>
                  </a:lnTo>
                  <a:lnTo>
                    <a:pt x="393" y="729"/>
                  </a:lnTo>
                  <a:lnTo>
                    <a:pt x="386" y="726"/>
                  </a:lnTo>
                  <a:lnTo>
                    <a:pt x="378" y="724"/>
                  </a:lnTo>
                  <a:lnTo>
                    <a:pt x="372" y="720"/>
                  </a:lnTo>
                  <a:lnTo>
                    <a:pt x="366" y="716"/>
                  </a:lnTo>
                  <a:lnTo>
                    <a:pt x="362" y="711"/>
                  </a:lnTo>
                  <a:lnTo>
                    <a:pt x="356" y="705"/>
                  </a:lnTo>
                  <a:lnTo>
                    <a:pt x="356" y="705"/>
                  </a:lnTo>
                  <a:lnTo>
                    <a:pt x="335" y="708"/>
                  </a:lnTo>
                  <a:lnTo>
                    <a:pt x="315" y="712"/>
                  </a:lnTo>
                  <a:lnTo>
                    <a:pt x="294" y="713"/>
                  </a:lnTo>
                  <a:lnTo>
                    <a:pt x="272" y="713"/>
                  </a:lnTo>
                  <a:lnTo>
                    <a:pt x="272" y="713"/>
                  </a:lnTo>
                  <a:lnTo>
                    <a:pt x="251" y="713"/>
                  </a:lnTo>
                  <a:lnTo>
                    <a:pt x="229" y="711"/>
                  </a:lnTo>
                  <a:lnTo>
                    <a:pt x="207" y="708"/>
                  </a:lnTo>
                  <a:lnTo>
                    <a:pt x="186" y="705"/>
                  </a:lnTo>
                  <a:lnTo>
                    <a:pt x="165" y="700"/>
                  </a:lnTo>
                  <a:lnTo>
                    <a:pt x="145" y="694"/>
                  </a:lnTo>
                  <a:lnTo>
                    <a:pt x="124" y="688"/>
                  </a:lnTo>
                  <a:lnTo>
                    <a:pt x="105" y="681"/>
                  </a:lnTo>
                  <a:lnTo>
                    <a:pt x="105" y="681"/>
                  </a:lnTo>
                  <a:lnTo>
                    <a:pt x="119" y="695"/>
                  </a:lnTo>
                  <a:lnTo>
                    <a:pt x="134" y="710"/>
                  </a:lnTo>
                  <a:lnTo>
                    <a:pt x="151" y="724"/>
                  </a:lnTo>
                  <a:lnTo>
                    <a:pt x="166" y="736"/>
                  </a:lnTo>
                  <a:lnTo>
                    <a:pt x="184" y="748"/>
                  </a:lnTo>
                  <a:lnTo>
                    <a:pt x="203" y="760"/>
                  </a:lnTo>
                  <a:lnTo>
                    <a:pt x="221" y="770"/>
                  </a:lnTo>
                  <a:lnTo>
                    <a:pt x="240" y="779"/>
                  </a:lnTo>
                  <a:lnTo>
                    <a:pt x="259" y="788"/>
                  </a:lnTo>
                  <a:lnTo>
                    <a:pt x="280" y="795"/>
                  </a:lnTo>
                  <a:lnTo>
                    <a:pt x="300" y="801"/>
                  </a:lnTo>
                  <a:lnTo>
                    <a:pt x="321" y="806"/>
                  </a:lnTo>
                  <a:lnTo>
                    <a:pt x="342" y="811"/>
                  </a:lnTo>
                  <a:lnTo>
                    <a:pt x="364" y="813"/>
                  </a:lnTo>
                  <a:lnTo>
                    <a:pt x="386" y="815"/>
                  </a:lnTo>
                  <a:lnTo>
                    <a:pt x="409" y="815"/>
                  </a:lnTo>
                  <a:lnTo>
                    <a:pt x="409" y="815"/>
                  </a:lnTo>
                  <a:lnTo>
                    <a:pt x="433" y="814"/>
                  </a:lnTo>
                  <a:lnTo>
                    <a:pt x="457" y="813"/>
                  </a:lnTo>
                  <a:lnTo>
                    <a:pt x="481" y="809"/>
                  </a:lnTo>
                  <a:lnTo>
                    <a:pt x="504" y="805"/>
                  </a:lnTo>
                  <a:lnTo>
                    <a:pt x="527" y="799"/>
                  </a:lnTo>
                  <a:lnTo>
                    <a:pt x="548" y="791"/>
                  </a:lnTo>
                  <a:lnTo>
                    <a:pt x="570" y="782"/>
                  </a:lnTo>
                  <a:lnTo>
                    <a:pt x="591" y="772"/>
                  </a:lnTo>
                  <a:lnTo>
                    <a:pt x="591" y="772"/>
                  </a:lnTo>
                  <a:lnTo>
                    <a:pt x="571" y="768"/>
                  </a:lnTo>
                  <a:lnTo>
                    <a:pt x="553" y="764"/>
                  </a:lnTo>
                  <a:lnTo>
                    <a:pt x="534" y="758"/>
                  </a:lnTo>
                  <a:lnTo>
                    <a:pt x="516" y="752"/>
                  </a:lnTo>
                  <a:lnTo>
                    <a:pt x="498" y="744"/>
                  </a:lnTo>
                  <a:lnTo>
                    <a:pt x="480" y="737"/>
                  </a:lnTo>
                  <a:lnTo>
                    <a:pt x="463" y="729"/>
                  </a:lnTo>
                  <a:lnTo>
                    <a:pt x="446" y="719"/>
                  </a:lnTo>
                  <a:lnTo>
                    <a:pt x="446" y="719"/>
                  </a:lnTo>
                  <a:lnTo>
                    <a:pt x="438" y="724"/>
                  </a:lnTo>
                  <a:lnTo>
                    <a:pt x="428" y="728"/>
                  </a:lnTo>
                  <a:lnTo>
                    <a:pt x="418" y="730"/>
                  </a:lnTo>
                  <a:lnTo>
                    <a:pt x="409" y="730"/>
                  </a:lnTo>
                  <a:lnTo>
                    <a:pt x="409" y="730"/>
                  </a:lnTo>
                  <a:close/>
                  <a:moveTo>
                    <a:pt x="647" y="527"/>
                  </a:moveTo>
                  <a:lnTo>
                    <a:pt x="647" y="527"/>
                  </a:lnTo>
                  <a:lnTo>
                    <a:pt x="635" y="526"/>
                  </a:lnTo>
                  <a:lnTo>
                    <a:pt x="635" y="526"/>
                  </a:lnTo>
                  <a:lnTo>
                    <a:pt x="618" y="547"/>
                  </a:lnTo>
                  <a:lnTo>
                    <a:pt x="601" y="567"/>
                  </a:lnTo>
                  <a:lnTo>
                    <a:pt x="583" y="586"/>
                  </a:lnTo>
                  <a:lnTo>
                    <a:pt x="564" y="604"/>
                  </a:lnTo>
                  <a:lnTo>
                    <a:pt x="544" y="621"/>
                  </a:lnTo>
                  <a:lnTo>
                    <a:pt x="522" y="636"/>
                  </a:lnTo>
                  <a:lnTo>
                    <a:pt x="500" y="651"/>
                  </a:lnTo>
                  <a:lnTo>
                    <a:pt x="476" y="664"/>
                  </a:lnTo>
                  <a:lnTo>
                    <a:pt x="476" y="664"/>
                  </a:lnTo>
                  <a:lnTo>
                    <a:pt x="475" y="677"/>
                  </a:lnTo>
                  <a:lnTo>
                    <a:pt x="471" y="689"/>
                  </a:lnTo>
                  <a:lnTo>
                    <a:pt x="471" y="689"/>
                  </a:lnTo>
                  <a:lnTo>
                    <a:pt x="491" y="700"/>
                  </a:lnTo>
                  <a:lnTo>
                    <a:pt x="511" y="708"/>
                  </a:lnTo>
                  <a:lnTo>
                    <a:pt x="532" y="717"/>
                  </a:lnTo>
                  <a:lnTo>
                    <a:pt x="553" y="724"/>
                  </a:lnTo>
                  <a:lnTo>
                    <a:pt x="575" y="730"/>
                  </a:lnTo>
                  <a:lnTo>
                    <a:pt x="598" y="735"/>
                  </a:lnTo>
                  <a:lnTo>
                    <a:pt x="621" y="738"/>
                  </a:lnTo>
                  <a:lnTo>
                    <a:pt x="644" y="741"/>
                  </a:lnTo>
                  <a:lnTo>
                    <a:pt x="644" y="741"/>
                  </a:lnTo>
                  <a:lnTo>
                    <a:pt x="660" y="729"/>
                  </a:lnTo>
                  <a:lnTo>
                    <a:pt x="676" y="716"/>
                  </a:lnTo>
                  <a:lnTo>
                    <a:pt x="692" y="701"/>
                  </a:lnTo>
                  <a:lnTo>
                    <a:pt x="707" y="686"/>
                  </a:lnTo>
                  <a:lnTo>
                    <a:pt x="707" y="686"/>
                  </a:lnTo>
                  <a:lnTo>
                    <a:pt x="704" y="665"/>
                  </a:lnTo>
                  <a:lnTo>
                    <a:pt x="700" y="643"/>
                  </a:lnTo>
                  <a:lnTo>
                    <a:pt x="697" y="623"/>
                  </a:lnTo>
                  <a:lnTo>
                    <a:pt x="691" y="603"/>
                  </a:lnTo>
                  <a:lnTo>
                    <a:pt x="685" y="583"/>
                  </a:lnTo>
                  <a:lnTo>
                    <a:pt x="679" y="563"/>
                  </a:lnTo>
                  <a:lnTo>
                    <a:pt x="670" y="544"/>
                  </a:lnTo>
                  <a:lnTo>
                    <a:pt x="663" y="524"/>
                  </a:lnTo>
                  <a:lnTo>
                    <a:pt x="663" y="524"/>
                  </a:lnTo>
                  <a:lnTo>
                    <a:pt x="654" y="527"/>
                  </a:lnTo>
                  <a:lnTo>
                    <a:pt x="647" y="527"/>
                  </a:lnTo>
                  <a:lnTo>
                    <a:pt x="647" y="527"/>
                  </a:lnTo>
                  <a:close/>
                  <a:moveTo>
                    <a:pt x="341" y="670"/>
                  </a:moveTo>
                  <a:lnTo>
                    <a:pt x="341" y="670"/>
                  </a:lnTo>
                  <a:lnTo>
                    <a:pt x="341" y="663"/>
                  </a:lnTo>
                  <a:lnTo>
                    <a:pt x="341" y="663"/>
                  </a:lnTo>
                  <a:lnTo>
                    <a:pt x="341" y="652"/>
                  </a:lnTo>
                  <a:lnTo>
                    <a:pt x="344" y="642"/>
                  </a:lnTo>
                  <a:lnTo>
                    <a:pt x="344" y="642"/>
                  </a:lnTo>
                  <a:lnTo>
                    <a:pt x="328" y="625"/>
                  </a:lnTo>
                  <a:lnTo>
                    <a:pt x="313" y="609"/>
                  </a:lnTo>
                  <a:lnTo>
                    <a:pt x="299" y="591"/>
                  </a:lnTo>
                  <a:lnTo>
                    <a:pt x="286" y="571"/>
                  </a:lnTo>
                  <a:lnTo>
                    <a:pt x="274" y="552"/>
                  </a:lnTo>
                  <a:lnTo>
                    <a:pt x="262" y="533"/>
                  </a:lnTo>
                  <a:lnTo>
                    <a:pt x="252" y="512"/>
                  </a:lnTo>
                  <a:lnTo>
                    <a:pt x="242" y="491"/>
                  </a:lnTo>
                  <a:lnTo>
                    <a:pt x="234" y="469"/>
                  </a:lnTo>
                  <a:lnTo>
                    <a:pt x="225" y="448"/>
                  </a:lnTo>
                  <a:lnTo>
                    <a:pt x="219" y="425"/>
                  </a:lnTo>
                  <a:lnTo>
                    <a:pt x="215" y="402"/>
                  </a:lnTo>
                  <a:lnTo>
                    <a:pt x="210" y="378"/>
                  </a:lnTo>
                  <a:lnTo>
                    <a:pt x="207" y="355"/>
                  </a:lnTo>
                  <a:lnTo>
                    <a:pt x="205" y="331"/>
                  </a:lnTo>
                  <a:lnTo>
                    <a:pt x="205" y="306"/>
                  </a:lnTo>
                  <a:lnTo>
                    <a:pt x="205" y="306"/>
                  </a:lnTo>
                  <a:lnTo>
                    <a:pt x="205" y="285"/>
                  </a:lnTo>
                  <a:lnTo>
                    <a:pt x="206" y="264"/>
                  </a:lnTo>
                  <a:lnTo>
                    <a:pt x="206" y="264"/>
                  </a:lnTo>
                  <a:lnTo>
                    <a:pt x="199" y="259"/>
                  </a:lnTo>
                  <a:lnTo>
                    <a:pt x="192" y="254"/>
                  </a:lnTo>
                  <a:lnTo>
                    <a:pt x="192" y="254"/>
                  </a:lnTo>
                  <a:lnTo>
                    <a:pt x="176" y="266"/>
                  </a:lnTo>
                  <a:lnTo>
                    <a:pt x="160" y="278"/>
                  </a:lnTo>
                  <a:lnTo>
                    <a:pt x="145" y="291"/>
                  </a:lnTo>
                  <a:lnTo>
                    <a:pt x="130" y="306"/>
                  </a:lnTo>
                  <a:lnTo>
                    <a:pt x="117" y="320"/>
                  </a:lnTo>
                  <a:lnTo>
                    <a:pt x="104" y="336"/>
                  </a:lnTo>
                  <a:lnTo>
                    <a:pt x="90" y="351"/>
                  </a:lnTo>
                  <a:lnTo>
                    <a:pt x="80" y="368"/>
                  </a:lnTo>
                  <a:lnTo>
                    <a:pt x="69" y="385"/>
                  </a:lnTo>
                  <a:lnTo>
                    <a:pt x="58" y="402"/>
                  </a:lnTo>
                  <a:lnTo>
                    <a:pt x="50" y="420"/>
                  </a:lnTo>
                  <a:lnTo>
                    <a:pt x="40" y="439"/>
                  </a:lnTo>
                  <a:lnTo>
                    <a:pt x="33" y="458"/>
                  </a:lnTo>
                  <a:lnTo>
                    <a:pt x="25" y="478"/>
                  </a:lnTo>
                  <a:lnTo>
                    <a:pt x="21" y="497"/>
                  </a:lnTo>
                  <a:lnTo>
                    <a:pt x="15" y="517"/>
                  </a:lnTo>
                  <a:lnTo>
                    <a:pt x="15" y="517"/>
                  </a:lnTo>
                  <a:lnTo>
                    <a:pt x="23" y="541"/>
                  </a:lnTo>
                  <a:lnTo>
                    <a:pt x="31" y="565"/>
                  </a:lnTo>
                  <a:lnTo>
                    <a:pt x="42" y="588"/>
                  </a:lnTo>
                  <a:lnTo>
                    <a:pt x="54" y="611"/>
                  </a:lnTo>
                  <a:lnTo>
                    <a:pt x="54" y="611"/>
                  </a:lnTo>
                  <a:lnTo>
                    <a:pt x="78" y="625"/>
                  </a:lnTo>
                  <a:lnTo>
                    <a:pt x="104" y="637"/>
                  </a:lnTo>
                  <a:lnTo>
                    <a:pt x="130" y="649"/>
                  </a:lnTo>
                  <a:lnTo>
                    <a:pt x="157" y="658"/>
                  </a:lnTo>
                  <a:lnTo>
                    <a:pt x="184" y="665"/>
                  </a:lnTo>
                  <a:lnTo>
                    <a:pt x="213" y="671"/>
                  </a:lnTo>
                  <a:lnTo>
                    <a:pt x="242" y="675"/>
                  </a:lnTo>
                  <a:lnTo>
                    <a:pt x="272" y="676"/>
                  </a:lnTo>
                  <a:lnTo>
                    <a:pt x="272" y="676"/>
                  </a:lnTo>
                  <a:lnTo>
                    <a:pt x="291" y="675"/>
                  </a:lnTo>
                  <a:lnTo>
                    <a:pt x="307" y="674"/>
                  </a:lnTo>
                  <a:lnTo>
                    <a:pt x="341" y="670"/>
                  </a:lnTo>
                  <a:lnTo>
                    <a:pt x="341" y="670"/>
                  </a:lnTo>
                  <a:close/>
                  <a:moveTo>
                    <a:pt x="172" y="220"/>
                  </a:moveTo>
                  <a:lnTo>
                    <a:pt x="172" y="220"/>
                  </a:lnTo>
                  <a:lnTo>
                    <a:pt x="171" y="208"/>
                  </a:lnTo>
                  <a:lnTo>
                    <a:pt x="171" y="208"/>
                  </a:lnTo>
                  <a:lnTo>
                    <a:pt x="170" y="208"/>
                  </a:lnTo>
                  <a:lnTo>
                    <a:pt x="170" y="208"/>
                  </a:lnTo>
                  <a:lnTo>
                    <a:pt x="137" y="210"/>
                  </a:lnTo>
                  <a:lnTo>
                    <a:pt x="106" y="212"/>
                  </a:lnTo>
                  <a:lnTo>
                    <a:pt x="75" y="217"/>
                  </a:lnTo>
                  <a:lnTo>
                    <a:pt x="45" y="224"/>
                  </a:lnTo>
                  <a:lnTo>
                    <a:pt x="45" y="224"/>
                  </a:lnTo>
                  <a:lnTo>
                    <a:pt x="34" y="244"/>
                  </a:lnTo>
                  <a:lnTo>
                    <a:pt x="25" y="267"/>
                  </a:lnTo>
                  <a:lnTo>
                    <a:pt x="18" y="289"/>
                  </a:lnTo>
                  <a:lnTo>
                    <a:pt x="12" y="312"/>
                  </a:lnTo>
                  <a:lnTo>
                    <a:pt x="6" y="336"/>
                  </a:lnTo>
                  <a:lnTo>
                    <a:pt x="3" y="359"/>
                  </a:lnTo>
                  <a:lnTo>
                    <a:pt x="1" y="384"/>
                  </a:lnTo>
                  <a:lnTo>
                    <a:pt x="0" y="408"/>
                  </a:lnTo>
                  <a:lnTo>
                    <a:pt x="0" y="408"/>
                  </a:lnTo>
                  <a:lnTo>
                    <a:pt x="1" y="433"/>
                  </a:lnTo>
                  <a:lnTo>
                    <a:pt x="1" y="433"/>
                  </a:lnTo>
                  <a:lnTo>
                    <a:pt x="16" y="402"/>
                  </a:lnTo>
                  <a:lnTo>
                    <a:pt x="31" y="371"/>
                  </a:lnTo>
                  <a:lnTo>
                    <a:pt x="51" y="342"/>
                  </a:lnTo>
                  <a:lnTo>
                    <a:pt x="71" y="314"/>
                  </a:lnTo>
                  <a:lnTo>
                    <a:pt x="94" y="288"/>
                  </a:lnTo>
                  <a:lnTo>
                    <a:pt x="118" y="264"/>
                  </a:lnTo>
                  <a:lnTo>
                    <a:pt x="145" y="241"/>
                  </a:lnTo>
                  <a:lnTo>
                    <a:pt x="172" y="220"/>
                  </a:lnTo>
                  <a:lnTo>
                    <a:pt x="172" y="22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109" name="Group 2108">
            <a:extLst>
              <a:ext uri="{FF2B5EF4-FFF2-40B4-BE49-F238E27FC236}">
                <a16:creationId xmlns:a16="http://schemas.microsoft.com/office/drawing/2014/main" id="{18F8019B-1DE6-4BE9-B670-A4C90FB743ED}"/>
              </a:ext>
            </a:extLst>
          </p:cNvPr>
          <p:cNvGrpSpPr/>
          <p:nvPr/>
        </p:nvGrpSpPr>
        <p:grpSpPr>
          <a:xfrm>
            <a:off x="3153310" y="3981305"/>
            <a:ext cx="612000" cy="612000"/>
            <a:chOff x="1320946" y="4582498"/>
            <a:chExt cx="612000" cy="612000"/>
          </a:xfrm>
        </p:grpSpPr>
        <p:sp>
          <p:nvSpPr>
            <p:cNvPr id="2110" name="Oval 2109">
              <a:extLst>
                <a:ext uri="{FF2B5EF4-FFF2-40B4-BE49-F238E27FC236}">
                  <a16:creationId xmlns:a16="http://schemas.microsoft.com/office/drawing/2014/main" id="{3101179D-CF85-4D55-82CB-6AC4990A985D}"/>
                </a:ext>
              </a:extLst>
            </p:cNvPr>
            <p:cNvSpPr/>
            <p:nvPr/>
          </p:nvSpPr>
          <p:spPr bwMode="ltGray">
            <a:xfrm>
              <a:off x="1320946" y="4582498"/>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111" name="Freeform 116">
              <a:extLst>
                <a:ext uri="{FF2B5EF4-FFF2-40B4-BE49-F238E27FC236}">
                  <a16:creationId xmlns:a16="http://schemas.microsoft.com/office/drawing/2014/main" id="{BFA8F23A-98F0-42B5-B523-527F81884EA2}"/>
                </a:ext>
              </a:extLst>
            </p:cNvPr>
            <p:cNvSpPr>
              <a:spLocks noEditPoints="1"/>
            </p:cNvSpPr>
            <p:nvPr/>
          </p:nvSpPr>
          <p:spPr bwMode="auto">
            <a:xfrm>
              <a:off x="1392946" y="4654498"/>
              <a:ext cx="468000" cy="468000"/>
            </a:xfrm>
            <a:custGeom>
              <a:avLst/>
              <a:gdLst>
                <a:gd name="T0" fmla="*/ 272 w 812"/>
                <a:gd name="T1" fmla="*/ 272 h 810"/>
                <a:gd name="T2" fmla="*/ 202 w 812"/>
                <a:gd name="T3" fmla="*/ 286 h 810"/>
                <a:gd name="T4" fmla="*/ 507 w 812"/>
                <a:gd name="T5" fmla="*/ 135 h 810"/>
                <a:gd name="T6" fmla="*/ 406 w 812"/>
                <a:gd name="T7" fmla="*/ 0 h 810"/>
                <a:gd name="T8" fmla="*/ 285 w 812"/>
                <a:gd name="T9" fmla="*/ 18 h 810"/>
                <a:gd name="T10" fmla="*/ 179 w 812"/>
                <a:gd name="T11" fmla="*/ 69 h 810"/>
                <a:gd name="T12" fmla="*/ 92 w 812"/>
                <a:gd name="T13" fmla="*/ 147 h 810"/>
                <a:gd name="T14" fmla="*/ 31 w 812"/>
                <a:gd name="T15" fmla="*/ 248 h 810"/>
                <a:gd name="T16" fmla="*/ 2 w 812"/>
                <a:gd name="T17" fmla="*/ 363 h 810"/>
                <a:gd name="T18" fmla="*/ 5 w 812"/>
                <a:gd name="T19" fmla="*/ 466 h 810"/>
                <a:gd name="T20" fmla="*/ 39 w 812"/>
                <a:gd name="T21" fmla="*/ 581 h 810"/>
                <a:gd name="T22" fmla="*/ 106 w 812"/>
                <a:gd name="T23" fmla="*/ 677 h 810"/>
                <a:gd name="T24" fmla="*/ 195 w 812"/>
                <a:gd name="T25" fmla="*/ 751 h 810"/>
                <a:gd name="T26" fmla="*/ 305 w 812"/>
                <a:gd name="T27" fmla="*/ 797 h 810"/>
                <a:gd name="T28" fmla="*/ 406 w 812"/>
                <a:gd name="T29" fmla="*/ 810 h 810"/>
                <a:gd name="T30" fmla="*/ 526 w 812"/>
                <a:gd name="T31" fmla="*/ 792 h 810"/>
                <a:gd name="T32" fmla="*/ 632 w 812"/>
                <a:gd name="T33" fmla="*/ 740 h 810"/>
                <a:gd name="T34" fmla="*/ 719 w 812"/>
                <a:gd name="T35" fmla="*/ 662 h 810"/>
                <a:gd name="T36" fmla="*/ 781 w 812"/>
                <a:gd name="T37" fmla="*/ 563 h 810"/>
                <a:gd name="T38" fmla="*/ 809 w 812"/>
                <a:gd name="T39" fmla="*/ 446 h 810"/>
                <a:gd name="T40" fmla="*/ 807 w 812"/>
                <a:gd name="T41" fmla="*/ 343 h 810"/>
                <a:gd name="T42" fmla="*/ 772 w 812"/>
                <a:gd name="T43" fmla="*/ 230 h 810"/>
                <a:gd name="T44" fmla="*/ 706 w 812"/>
                <a:gd name="T45" fmla="*/ 132 h 810"/>
                <a:gd name="T46" fmla="*/ 617 w 812"/>
                <a:gd name="T47" fmla="*/ 59 h 810"/>
                <a:gd name="T48" fmla="*/ 507 w 812"/>
                <a:gd name="T49" fmla="*/ 12 h 810"/>
                <a:gd name="T50" fmla="*/ 406 w 812"/>
                <a:gd name="T51" fmla="*/ 0 h 810"/>
                <a:gd name="T52" fmla="*/ 700 w 812"/>
                <a:gd name="T53" fmla="*/ 639 h 810"/>
                <a:gd name="T54" fmla="*/ 629 w 812"/>
                <a:gd name="T55" fmla="*/ 707 h 810"/>
                <a:gd name="T56" fmla="*/ 523 w 812"/>
                <a:gd name="T57" fmla="*/ 762 h 810"/>
                <a:gd name="T58" fmla="*/ 421 w 812"/>
                <a:gd name="T59" fmla="*/ 780 h 810"/>
                <a:gd name="T60" fmla="*/ 321 w 812"/>
                <a:gd name="T61" fmla="*/ 770 h 810"/>
                <a:gd name="T62" fmla="*/ 226 w 812"/>
                <a:gd name="T63" fmla="*/ 734 h 810"/>
                <a:gd name="T64" fmla="*/ 147 w 812"/>
                <a:gd name="T65" fmla="*/ 677 h 810"/>
                <a:gd name="T66" fmla="*/ 76 w 812"/>
                <a:gd name="T67" fmla="*/ 585 h 810"/>
                <a:gd name="T68" fmla="*/ 39 w 812"/>
                <a:gd name="T69" fmla="*/ 490 h 810"/>
                <a:gd name="T70" fmla="*/ 30 w 812"/>
                <a:gd name="T71" fmla="*/ 405 h 810"/>
                <a:gd name="T72" fmla="*/ 55 w 812"/>
                <a:gd name="T73" fmla="*/ 268 h 810"/>
                <a:gd name="T74" fmla="*/ 130 w 812"/>
                <a:gd name="T75" fmla="*/ 307 h 810"/>
                <a:gd name="T76" fmla="*/ 202 w 812"/>
                <a:gd name="T77" fmla="*/ 506 h 810"/>
                <a:gd name="T78" fmla="*/ 321 w 812"/>
                <a:gd name="T79" fmla="*/ 726 h 810"/>
                <a:gd name="T80" fmla="*/ 355 w 812"/>
                <a:gd name="T81" fmla="*/ 617 h 810"/>
                <a:gd name="T82" fmla="*/ 431 w 812"/>
                <a:gd name="T83" fmla="*/ 493 h 810"/>
                <a:gd name="T84" fmla="*/ 344 w 812"/>
                <a:gd name="T85" fmla="*/ 371 h 810"/>
                <a:gd name="T86" fmla="*/ 219 w 812"/>
                <a:gd name="T87" fmla="*/ 322 h 810"/>
                <a:gd name="T88" fmla="*/ 142 w 812"/>
                <a:gd name="T89" fmla="*/ 274 h 810"/>
                <a:gd name="T90" fmla="*/ 178 w 812"/>
                <a:gd name="T91" fmla="*/ 213 h 810"/>
                <a:gd name="T92" fmla="*/ 305 w 812"/>
                <a:gd name="T93" fmla="*/ 118 h 810"/>
                <a:gd name="T94" fmla="*/ 321 w 812"/>
                <a:gd name="T95" fmla="*/ 84 h 810"/>
                <a:gd name="T96" fmla="*/ 321 w 812"/>
                <a:gd name="T97" fmla="*/ 67 h 810"/>
                <a:gd name="T98" fmla="*/ 393 w 812"/>
                <a:gd name="T99" fmla="*/ 57 h 810"/>
                <a:gd name="T100" fmla="*/ 467 w 812"/>
                <a:gd name="T101" fmla="*/ 34 h 810"/>
                <a:gd name="T102" fmla="*/ 581 w 812"/>
                <a:gd name="T103" fmla="*/ 90 h 810"/>
                <a:gd name="T104" fmla="*/ 609 w 812"/>
                <a:gd name="T105" fmla="*/ 152 h 810"/>
                <a:gd name="T106" fmla="*/ 687 w 812"/>
                <a:gd name="T107" fmla="*/ 155 h 810"/>
                <a:gd name="T108" fmla="*/ 677 w 812"/>
                <a:gd name="T109" fmla="*/ 219 h 810"/>
                <a:gd name="T110" fmla="*/ 574 w 812"/>
                <a:gd name="T111" fmla="*/ 252 h 810"/>
                <a:gd name="T112" fmla="*/ 643 w 812"/>
                <a:gd name="T113" fmla="*/ 371 h 810"/>
                <a:gd name="T114" fmla="*/ 741 w 812"/>
                <a:gd name="T115" fmla="*/ 409 h 810"/>
                <a:gd name="T116" fmla="*/ 701 w 812"/>
                <a:gd name="T117" fmla="*/ 532 h 8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2" h="810">
                  <a:moveTo>
                    <a:pt x="237" y="270"/>
                  </a:moveTo>
                  <a:lnTo>
                    <a:pt x="235" y="279"/>
                  </a:lnTo>
                  <a:lnTo>
                    <a:pt x="248" y="289"/>
                  </a:lnTo>
                  <a:lnTo>
                    <a:pt x="285" y="292"/>
                  </a:lnTo>
                  <a:lnTo>
                    <a:pt x="291" y="280"/>
                  </a:lnTo>
                  <a:lnTo>
                    <a:pt x="272" y="272"/>
                  </a:lnTo>
                  <a:lnTo>
                    <a:pt x="237" y="270"/>
                  </a:lnTo>
                  <a:close/>
                  <a:moveTo>
                    <a:pt x="208" y="266"/>
                  </a:moveTo>
                  <a:lnTo>
                    <a:pt x="186" y="243"/>
                  </a:lnTo>
                  <a:lnTo>
                    <a:pt x="159" y="238"/>
                  </a:lnTo>
                  <a:lnTo>
                    <a:pt x="152" y="252"/>
                  </a:lnTo>
                  <a:lnTo>
                    <a:pt x="202" y="286"/>
                  </a:lnTo>
                  <a:lnTo>
                    <a:pt x="223" y="286"/>
                  </a:lnTo>
                  <a:lnTo>
                    <a:pt x="223" y="264"/>
                  </a:lnTo>
                  <a:lnTo>
                    <a:pt x="208" y="266"/>
                  </a:lnTo>
                  <a:close/>
                  <a:moveTo>
                    <a:pt x="473" y="84"/>
                  </a:moveTo>
                  <a:lnTo>
                    <a:pt x="456" y="101"/>
                  </a:lnTo>
                  <a:lnTo>
                    <a:pt x="507" y="135"/>
                  </a:lnTo>
                  <a:lnTo>
                    <a:pt x="536" y="123"/>
                  </a:lnTo>
                  <a:lnTo>
                    <a:pt x="537" y="119"/>
                  </a:lnTo>
                  <a:lnTo>
                    <a:pt x="524" y="101"/>
                  </a:lnTo>
                  <a:lnTo>
                    <a:pt x="473" y="84"/>
                  </a:lnTo>
                  <a:close/>
                  <a:moveTo>
                    <a:pt x="406" y="0"/>
                  </a:moveTo>
                  <a:lnTo>
                    <a:pt x="406" y="0"/>
                  </a:lnTo>
                  <a:lnTo>
                    <a:pt x="385" y="0"/>
                  </a:lnTo>
                  <a:lnTo>
                    <a:pt x="365" y="1"/>
                  </a:lnTo>
                  <a:lnTo>
                    <a:pt x="344" y="5"/>
                  </a:lnTo>
                  <a:lnTo>
                    <a:pt x="324" y="8"/>
                  </a:lnTo>
                  <a:lnTo>
                    <a:pt x="305" y="12"/>
                  </a:lnTo>
                  <a:lnTo>
                    <a:pt x="285" y="18"/>
                  </a:lnTo>
                  <a:lnTo>
                    <a:pt x="266" y="24"/>
                  </a:lnTo>
                  <a:lnTo>
                    <a:pt x="248" y="31"/>
                  </a:lnTo>
                  <a:lnTo>
                    <a:pt x="230" y="40"/>
                  </a:lnTo>
                  <a:lnTo>
                    <a:pt x="212" y="48"/>
                  </a:lnTo>
                  <a:lnTo>
                    <a:pt x="195" y="59"/>
                  </a:lnTo>
                  <a:lnTo>
                    <a:pt x="179" y="69"/>
                  </a:lnTo>
                  <a:lnTo>
                    <a:pt x="162" y="81"/>
                  </a:lnTo>
                  <a:lnTo>
                    <a:pt x="148" y="93"/>
                  </a:lnTo>
                  <a:lnTo>
                    <a:pt x="132" y="105"/>
                  </a:lnTo>
                  <a:lnTo>
                    <a:pt x="119" y="118"/>
                  </a:lnTo>
                  <a:lnTo>
                    <a:pt x="106" y="132"/>
                  </a:lnTo>
                  <a:lnTo>
                    <a:pt x="92" y="147"/>
                  </a:lnTo>
                  <a:lnTo>
                    <a:pt x="80" y="162"/>
                  </a:lnTo>
                  <a:lnTo>
                    <a:pt x="70" y="178"/>
                  </a:lnTo>
                  <a:lnTo>
                    <a:pt x="59" y="195"/>
                  </a:lnTo>
                  <a:lnTo>
                    <a:pt x="49" y="212"/>
                  </a:lnTo>
                  <a:lnTo>
                    <a:pt x="39" y="230"/>
                  </a:lnTo>
                  <a:lnTo>
                    <a:pt x="31" y="248"/>
                  </a:lnTo>
                  <a:lnTo>
                    <a:pt x="24" y="266"/>
                  </a:lnTo>
                  <a:lnTo>
                    <a:pt x="18" y="285"/>
                  </a:lnTo>
                  <a:lnTo>
                    <a:pt x="13" y="304"/>
                  </a:lnTo>
                  <a:lnTo>
                    <a:pt x="8" y="323"/>
                  </a:lnTo>
                  <a:lnTo>
                    <a:pt x="5" y="343"/>
                  </a:lnTo>
                  <a:lnTo>
                    <a:pt x="2" y="363"/>
                  </a:lnTo>
                  <a:lnTo>
                    <a:pt x="0" y="383"/>
                  </a:lnTo>
                  <a:lnTo>
                    <a:pt x="0" y="405"/>
                  </a:lnTo>
                  <a:lnTo>
                    <a:pt x="0" y="405"/>
                  </a:lnTo>
                  <a:lnTo>
                    <a:pt x="0" y="426"/>
                  </a:lnTo>
                  <a:lnTo>
                    <a:pt x="2" y="446"/>
                  </a:lnTo>
                  <a:lnTo>
                    <a:pt x="5" y="466"/>
                  </a:lnTo>
                  <a:lnTo>
                    <a:pt x="8" y="487"/>
                  </a:lnTo>
                  <a:lnTo>
                    <a:pt x="13" y="506"/>
                  </a:lnTo>
                  <a:lnTo>
                    <a:pt x="18" y="525"/>
                  </a:lnTo>
                  <a:lnTo>
                    <a:pt x="24" y="545"/>
                  </a:lnTo>
                  <a:lnTo>
                    <a:pt x="31" y="563"/>
                  </a:lnTo>
                  <a:lnTo>
                    <a:pt x="39" y="581"/>
                  </a:lnTo>
                  <a:lnTo>
                    <a:pt x="49" y="597"/>
                  </a:lnTo>
                  <a:lnTo>
                    <a:pt x="59" y="614"/>
                  </a:lnTo>
                  <a:lnTo>
                    <a:pt x="70" y="631"/>
                  </a:lnTo>
                  <a:lnTo>
                    <a:pt x="80" y="647"/>
                  </a:lnTo>
                  <a:lnTo>
                    <a:pt x="92" y="662"/>
                  </a:lnTo>
                  <a:lnTo>
                    <a:pt x="106" y="677"/>
                  </a:lnTo>
                  <a:lnTo>
                    <a:pt x="119" y="691"/>
                  </a:lnTo>
                  <a:lnTo>
                    <a:pt x="132" y="704"/>
                  </a:lnTo>
                  <a:lnTo>
                    <a:pt x="148" y="718"/>
                  </a:lnTo>
                  <a:lnTo>
                    <a:pt x="162" y="730"/>
                  </a:lnTo>
                  <a:lnTo>
                    <a:pt x="179" y="740"/>
                  </a:lnTo>
                  <a:lnTo>
                    <a:pt x="195" y="751"/>
                  </a:lnTo>
                  <a:lnTo>
                    <a:pt x="212" y="761"/>
                  </a:lnTo>
                  <a:lnTo>
                    <a:pt x="230" y="770"/>
                  </a:lnTo>
                  <a:lnTo>
                    <a:pt x="248" y="778"/>
                  </a:lnTo>
                  <a:lnTo>
                    <a:pt x="266" y="785"/>
                  </a:lnTo>
                  <a:lnTo>
                    <a:pt x="285" y="792"/>
                  </a:lnTo>
                  <a:lnTo>
                    <a:pt x="305" y="797"/>
                  </a:lnTo>
                  <a:lnTo>
                    <a:pt x="324" y="802"/>
                  </a:lnTo>
                  <a:lnTo>
                    <a:pt x="344" y="805"/>
                  </a:lnTo>
                  <a:lnTo>
                    <a:pt x="365" y="808"/>
                  </a:lnTo>
                  <a:lnTo>
                    <a:pt x="385" y="809"/>
                  </a:lnTo>
                  <a:lnTo>
                    <a:pt x="406" y="810"/>
                  </a:lnTo>
                  <a:lnTo>
                    <a:pt x="406" y="810"/>
                  </a:lnTo>
                  <a:lnTo>
                    <a:pt x="426" y="809"/>
                  </a:lnTo>
                  <a:lnTo>
                    <a:pt x="447" y="808"/>
                  </a:lnTo>
                  <a:lnTo>
                    <a:pt x="467" y="805"/>
                  </a:lnTo>
                  <a:lnTo>
                    <a:pt x="488" y="802"/>
                  </a:lnTo>
                  <a:lnTo>
                    <a:pt x="507" y="797"/>
                  </a:lnTo>
                  <a:lnTo>
                    <a:pt x="526" y="792"/>
                  </a:lnTo>
                  <a:lnTo>
                    <a:pt x="546" y="785"/>
                  </a:lnTo>
                  <a:lnTo>
                    <a:pt x="564" y="778"/>
                  </a:lnTo>
                  <a:lnTo>
                    <a:pt x="582" y="770"/>
                  </a:lnTo>
                  <a:lnTo>
                    <a:pt x="600" y="761"/>
                  </a:lnTo>
                  <a:lnTo>
                    <a:pt x="617" y="751"/>
                  </a:lnTo>
                  <a:lnTo>
                    <a:pt x="632" y="740"/>
                  </a:lnTo>
                  <a:lnTo>
                    <a:pt x="649" y="730"/>
                  </a:lnTo>
                  <a:lnTo>
                    <a:pt x="664" y="718"/>
                  </a:lnTo>
                  <a:lnTo>
                    <a:pt x="679" y="704"/>
                  </a:lnTo>
                  <a:lnTo>
                    <a:pt x="693" y="691"/>
                  </a:lnTo>
                  <a:lnTo>
                    <a:pt x="706" y="677"/>
                  </a:lnTo>
                  <a:lnTo>
                    <a:pt x="719" y="662"/>
                  </a:lnTo>
                  <a:lnTo>
                    <a:pt x="731" y="647"/>
                  </a:lnTo>
                  <a:lnTo>
                    <a:pt x="742" y="631"/>
                  </a:lnTo>
                  <a:lnTo>
                    <a:pt x="753" y="614"/>
                  </a:lnTo>
                  <a:lnTo>
                    <a:pt x="762" y="597"/>
                  </a:lnTo>
                  <a:lnTo>
                    <a:pt x="772" y="581"/>
                  </a:lnTo>
                  <a:lnTo>
                    <a:pt x="781" y="563"/>
                  </a:lnTo>
                  <a:lnTo>
                    <a:pt x="788" y="545"/>
                  </a:lnTo>
                  <a:lnTo>
                    <a:pt x="794" y="525"/>
                  </a:lnTo>
                  <a:lnTo>
                    <a:pt x="799" y="506"/>
                  </a:lnTo>
                  <a:lnTo>
                    <a:pt x="803" y="487"/>
                  </a:lnTo>
                  <a:lnTo>
                    <a:pt x="807" y="466"/>
                  </a:lnTo>
                  <a:lnTo>
                    <a:pt x="809" y="446"/>
                  </a:lnTo>
                  <a:lnTo>
                    <a:pt x="812" y="426"/>
                  </a:lnTo>
                  <a:lnTo>
                    <a:pt x="812" y="405"/>
                  </a:lnTo>
                  <a:lnTo>
                    <a:pt x="812" y="405"/>
                  </a:lnTo>
                  <a:lnTo>
                    <a:pt x="812" y="383"/>
                  </a:lnTo>
                  <a:lnTo>
                    <a:pt x="809" y="363"/>
                  </a:lnTo>
                  <a:lnTo>
                    <a:pt x="807" y="343"/>
                  </a:lnTo>
                  <a:lnTo>
                    <a:pt x="803" y="323"/>
                  </a:lnTo>
                  <a:lnTo>
                    <a:pt x="799" y="304"/>
                  </a:lnTo>
                  <a:lnTo>
                    <a:pt x="794" y="285"/>
                  </a:lnTo>
                  <a:lnTo>
                    <a:pt x="788" y="266"/>
                  </a:lnTo>
                  <a:lnTo>
                    <a:pt x="781" y="248"/>
                  </a:lnTo>
                  <a:lnTo>
                    <a:pt x="772" y="230"/>
                  </a:lnTo>
                  <a:lnTo>
                    <a:pt x="762" y="212"/>
                  </a:lnTo>
                  <a:lnTo>
                    <a:pt x="753" y="195"/>
                  </a:lnTo>
                  <a:lnTo>
                    <a:pt x="742" y="178"/>
                  </a:lnTo>
                  <a:lnTo>
                    <a:pt x="731" y="162"/>
                  </a:lnTo>
                  <a:lnTo>
                    <a:pt x="719" y="147"/>
                  </a:lnTo>
                  <a:lnTo>
                    <a:pt x="706" y="132"/>
                  </a:lnTo>
                  <a:lnTo>
                    <a:pt x="693" y="118"/>
                  </a:lnTo>
                  <a:lnTo>
                    <a:pt x="679" y="105"/>
                  </a:lnTo>
                  <a:lnTo>
                    <a:pt x="664" y="93"/>
                  </a:lnTo>
                  <a:lnTo>
                    <a:pt x="649" y="81"/>
                  </a:lnTo>
                  <a:lnTo>
                    <a:pt x="632" y="69"/>
                  </a:lnTo>
                  <a:lnTo>
                    <a:pt x="617" y="59"/>
                  </a:lnTo>
                  <a:lnTo>
                    <a:pt x="600" y="48"/>
                  </a:lnTo>
                  <a:lnTo>
                    <a:pt x="582" y="40"/>
                  </a:lnTo>
                  <a:lnTo>
                    <a:pt x="564" y="31"/>
                  </a:lnTo>
                  <a:lnTo>
                    <a:pt x="546" y="24"/>
                  </a:lnTo>
                  <a:lnTo>
                    <a:pt x="526" y="18"/>
                  </a:lnTo>
                  <a:lnTo>
                    <a:pt x="507" y="12"/>
                  </a:lnTo>
                  <a:lnTo>
                    <a:pt x="488" y="8"/>
                  </a:lnTo>
                  <a:lnTo>
                    <a:pt x="467" y="5"/>
                  </a:lnTo>
                  <a:lnTo>
                    <a:pt x="447" y="1"/>
                  </a:lnTo>
                  <a:lnTo>
                    <a:pt x="426" y="0"/>
                  </a:lnTo>
                  <a:lnTo>
                    <a:pt x="406" y="0"/>
                  </a:lnTo>
                  <a:lnTo>
                    <a:pt x="406" y="0"/>
                  </a:lnTo>
                  <a:close/>
                  <a:moveTo>
                    <a:pt x="701" y="532"/>
                  </a:moveTo>
                  <a:lnTo>
                    <a:pt x="694" y="557"/>
                  </a:lnTo>
                  <a:lnTo>
                    <a:pt x="694" y="590"/>
                  </a:lnTo>
                  <a:lnTo>
                    <a:pt x="681" y="601"/>
                  </a:lnTo>
                  <a:lnTo>
                    <a:pt x="677" y="624"/>
                  </a:lnTo>
                  <a:lnTo>
                    <a:pt x="700" y="639"/>
                  </a:lnTo>
                  <a:lnTo>
                    <a:pt x="700" y="639"/>
                  </a:lnTo>
                  <a:lnTo>
                    <a:pt x="687" y="654"/>
                  </a:lnTo>
                  <a:lnTo>
                    <a:pt x="673" y="668"/>
                  </a:lnTo>
                  <a:lnTo>
                    <a:pt x="659" y="683"/>
                  </a:lnTo>
                  <a:lnTo>
                    <a:pt x="644" y="695"/>
                  </a:lnTo>
                  <a:lnTo>
                    <a:pt x="629" y="707"/>
                  </a:lnTo>
                  <a:lnTo>
                    <a:pt x="612" y="719"/>
                  </a:lnTo>
                  <a:lnTo>
                    <a:pt x="595" y="728"/>
                  </a:lnTo>
                  <a:lnTo>
                    <a:pt x="578" y="738"/>
                  </a:lnTo>
                  <a:lnTo>
                    <a:pt x="560" y="748"/>
                  </a:lnTo>
                  <a:lnTo>
                    <a:pt x="542" y="755"/>
                  </a:lnTo>
                  <a:lnTo>
                    <a:pt x="523" y="762"/>
                  </a:lnTo>
                  <a:lnTo>
                    <a:pt x="503" y="768"/>
                  </a:lnTo>
                  <a:lnTo>
                    <a:pt x="484" y="772"/>
                  </a:lnTo>
                  <a:lnTo>
                    <a:pt x="464" y="776"/>
                  </a:lnTo>
                  <a:lnTo>
                    <a:pt x="443" y="779"/>
                  </a:lnTo>
                  <a:lnTo>
                    <a:pt x="421" y="780"/>
                  </a:lnTo>
                  <a:lnTo>
                    <a:pt x="421" y="780"/>
                  </a:lnTo>
                  <a:lnTo>
                    <a:pt x="372" y="743"/>
                  </a:lnTo>
                  <a:lnTo>
                    <a:pt x="350" y="764"/>
                  </a:lnTo>
                  <a:lnTo>
                    <a:pt x="355" y="776"/>
                  </a:lnTo>
                  <a:lnTo>
                    <a:pt x="355" y="776"/>
                  </a:lnTo>
                  <a:lnTo>
                    <a:pt x="338" y="774"/>
                  </a:lnTo>
                  <a:lnTo>
                    <a:pt x="321" y="770"/>
                  </a:lnTo>
                  <a:lnTo>
                    <a:pt x="305" y="767"/>
                  </a:lnTo>
                  <a:lnTo>
                    <a:pt x="288" y="761"/>
                  </a:lnTo>
                  <a:lnTo>
                    <a:pt x="272" y="756"/>
                  </a:lnTo>
                  <a:lnTo>
                    <a:pt x="256" y="750"/>
                  </a:lnTo>
                  <a:lnTo>
                    <a:pt x="242" y="743"/>
                  </a:lnTo>
                  <a:lnTo>
                    <a:pt x="226" y="734"/>
                  </a:lnTo>
                  <a:lnTo>
                    <a:pt x="212" y="726"/>
                  </a:lnTo>
                  <a:lnTo>
                    <a:pt x="199" y="718"/>
                  </a:lnTo>
                  <a:lnTo>
                    <a:pt x="184" y="708"/>
                  </a:lnTo>
                  <a:lnTo>
                    <a:pt x="171" y="698"/>
                  </a:lnTo>
                  <a:lnTo>
                    <a:pt x="159" y="688"/>
                  </a:lnTo>
                  <a:lnTo>
                    <a:pt x="147" y="677"/>
                  </a:lnTo>
                  <a:lnTo>
                    <a:pt x="124" y="653"/>
                  </a:lnTo>
                  <a:lnTo>
                    <a:pt x="113" y="639"/>
                  </a:lnTo>
                  <a:lnTo>
                    <a:pt x="102" y="627"/>
                  </a:lnTo>
                  <a:lnTo>
                    <a:pt x="92" y="613"/>
                  </a:lnTo>
                  <a:lnTo>
                    <a:pt x="84" y="600"/>
                  </a:lnTo>
                  <a:lnTo>
                    <a:pt x="76" y="585"/>
                  </a:lnTo>
                  <a:lnTo>
                    <a:pt x="68" y="570"/>
                  </a:lnTo>
                  <a:lnTo>
                    <a:pt x="61" y="555"/>
                  </a:lnTo>
                  <a:lnTo>
                    <a:pt x="54" y="540"/>
                  </a:lnTo>
                  <a:lnTo>
                    <a:pt x="49" y="524"/>
                  </a:lnTo>
                  <a:lnTo>
                    <a:pt x="43" y="507"/>
                  </a:lnTo>
                  <a:lnTo>
                    <a:pt x="39" y="490"/>
                  </a:lnTo>
                  <a:lnTo>
                    <a:pt x="36" y="475"/>
                  </a:lnTo>
                  <a:lnTo>
                    <a:pt x="33" y="457"/>
                  </a:lnTo>
                  <a:lnTo>
                    <a:pt x="31" y="440"/>
                  </a:lnTo>
                  <a:lnTo>
                    <a:pt x="30" y="422"/>
                  </a:lnTo>
                  <a:lnTo>
                    <a:pt x="30" y="405"/>
                  </a:lnTo>
                  <a:lnTo>
                    <a:pt x="30" y="405"/>
                  </a:lnTo>
                  <a:lnTo>
                    <a:pt x="30" y="381"/>
                  </a:lnTo>
                  <a:lnTo>
                    <a:pt x="32" y="357"/>
                  </a:lnTo>
                  <a:lnTo>
                    <a:pt x="36" y="334"/>
                  </a:lnTo>
                  <a:lnTo>
                    <a:pt x="41" y="311"/>
                  </a:lnTo>
                  <a:lnTo>
                    <a:pt x="48" y="290"/>
                  </a:lnTo>
                  <a:lnTo>
                    <a:pt x="55" y="268"/>
                  </a:lnTo>
                  <a:lnTo>
                    <a:pt x="64" y="248"/>
                  </a:lnTo>
                  <a:lnTo>
                    <a:pt x="74" y="227"/>
                  </a:lnTo>
                  <a:lnTo>
                    <a:pt x="83" y="292"/>
                  </a:lnTo>
                  <a:lnTo>
                    <a:pt x="99" y="301"/>
                  </a:lnTo>
                  <a:lnTo>
                    <a:pt x="108" y="289"/>
                  </a:lnTo>
                  <a:lnTo>
                    <a:pt x="130" y="307"/>
                  </a:lnTo>
                  <a:lnTo>
                    <a:pt x="118" y="328"/>
                  </a:lnTo>
                  <a:lnTo>
                    <a:pt x="135" y="355"/>
                  </a:lnTo>
                  <a:lnTo>
                    <a:pt x="178" y="368"/>
                  </a:lnTo>
                  <a:lnTo>
                    <a:pt x="168" y="405"/>
                  </a:lnTo>
                  <a:lnTo>
                    <a:pt x="168" y="439"/>
                  </a:lnTo>
                  <a:lnTo>
                    <a:pt x="202" y="506"/>
                  </a:lnTo>
                  <a:lnTo>
                    <a:pt x="237" y="523"/>
                  </a:lnTo>
                  <a:lnTo>
                    <a:pt x="237" y="590"/>
                  </a:lnTo>
                  <a:lnTo>
                    <a:pt x="254" y="624"/>
                  </a:lnTo>
                  <a:lnTo>
                    <a:pt x="254" y="657"/>
                  </a:lnTo>
                  <a:lnTo>
                    <a:pt x="288" y="726"/>
                  </a:lnTo>
                  <a:lnTo>
                    <a:pt x="321" y="726"/>
                  </a:lnTo>
                  <a:lnTo>
                    <a:pt x="321" y="709"/>
                  </a:lnTo>
                  <a:lnTo>
                    <a:pt x="301" y="690"/>
                  </a:lnTo>
                  <a:lnTo>
                    <a:pt x="290" y="666"/>
                  </a:lnTo>
                  <a:lnTo>
                    <a:pt x="326" y="650"/>
                  </a:lnTo>
                  <a:lnTo>
                    <a:pt x="330" y="619"/>
                  </a:lnTo>
                  <a:lnTo>
                    <a:pt x="355" y="617"/>
                  </a:lnTo>
                  <a:lnTo>
                    <a:pt x="372" y="590"/>
                  </a:lnTo>
                  <a:lnTo>
                    <a:pt x="372" y="569"/>
                  </a:lnTo>
                  <a:lnTo>
                    <a:pt x="389" y="557"/>
                  </a:lnTo>
                  <a:lnTo>
                    <a:pt x="412" y="560"/>
                  </a:lnTo>
                  <a:lnTo>
                    <a:pt x="435" y="529"/>
                  </a:lnTo>
                  <a:lnTo>
                    <a:pt x="431" y="493"/>
                  </a:lnTo>
                  <a:lnTo>
                    <a:pt x="456" y="489"/>
                  </a:lnTo>
                  <a:lnTo>
                    <a:pt x="473" y="439"/>
                  </a:lnTo>
                  <a:lnTo>
                    <a:pt x="423" y="405"/>
                  </a:lnTo>
                  <a:lnTo>
                    <a:pt x="355" y="405"/>
                  </a:lnTo>
                  <a:lnTo>
                    <a:pt x="355" y="388"/>
                  </a:lnTo>
                  <a:lnTo>
                    <a:pt x="344" y="371"/>
                  </a:lnTo>
                  <a:lnTo>
                    <a:pt x="317" y="357"/>
                  </a:lnTo>
                  <a:lnTo>
                    <a:pt x="309" y="343"/>
                  </a:lnTo>
                  <a:lnTo>
                    <a:pt x="280" y="325"/>
                  </a:lnTo>
                  <a:lnTo>
                    <a:pt x="256" y="337"/>
                  </a:lnTo>
                  <a:lnTo>
                    <a:pt x="232" y="333"/>
                  </a:lnTo>
                  <a:lnTo>
                    <a:pt x="219" y="322"/>
                  </a:lnTo>
                  <a:lnTo>
                    <a:pt x="194" y="328"/>
                  </a:lnTo>
                  <a:lnTo>
                    <a:pt x="182" y="344"/>
                  </a:lnTo>
                  <a:lnTo>
                    <a:pt x="147" y="329"/>
                  </a:lnTo>
                  <a:lnTo>
                    <a:pt x="150" y="298"/>
                  </a:lnTo>
                  <a:lnTo>
                    <a:pt x="139" y="290"/>
                  </a:lnTo>
                  <a:lnTo>
                    <a:pt x="142" y="274"/>
                  </a:lnTo>
                  <a:lnTo>
                    <a:pt x="135" y="269"/>
                  </a:lnTo>
                  <a:lnTo>
                    <a:pt x="115" y="278"/>
                  </a:lnTo>
                  <a:lnTo>
                    <a:pt x="100" y="266"/>
                  </a:lnTo>
                  <a:lnTo>
                    <a:pt x="118" y="219"/>
                  </a:lnTo>
                  <a:lnTo>
                    <a:pt x="164" y="194"/>
                  </a:lnTo>
                  <a:lnTo>
                    <a:pt x="178" y="213"/>
                  </a:lnTo>
                  <a:lnTo>
                    <a:pt x="202" y="202"/>
                  </a:lnTo>
                  <a:lnTo>
                    <a:pt x="202" y="185"/>
                  </a:lnTo>
                  <a:lnTo>
                    <a:pt x="237" y="168"/>
                  </a:lnTo>
                  <a:lnTo>
                    <a:pt x="237" y="152"/>
                  </a:lnTo>
                  <a:lnTo>
                    <a:pt x="285" y="148"/>
                  </a:lnTo>
                  <a:lnTo>
                    <a:pt x="305" y="118"/>
                  </a:lnTo>
                  <a:lnTo>
                    <a:pt x="332" y="102"/>
                  </a:lnTo>
                  <a:lnTo>
                    <a:pt x="338" y="118"/>
                  </a:lnTo>
                  <a:lnTo>
                    <a:pt x="355" y="118"/>
                  </a:lnTo>
                  <a:lnTo>
                    <a:pt x="366" y="103"/>
                  </a:lnTo>
                  <a:lnTo>
                    <a:pt x="361" y="89"/>
                  </a:lnTo>
                  <a:lnTo>
                    <a:pt x="321" y="84"/>
                  </a:lnTo>
                  <a:lnTo>
                    <a:pt x="261" y="97"/>
                  </a:lnTo>
                  <a:lnTo>
                    <a:pt x="253" y="63"/>
                  </a:lnTo>
                  <a:lnTo>
                    <a:pt x="253" y="63"/>
                  </a:lnTo>
                  <a:lnTo>
                    <a:pt x="270" y="55"/>
                  </a:lnTo>
                  <a:lnTo>
                    <a:pt x="288" y="51"/>
                  </a:lnTo>
                  <a:lnTo>
                    <a:pt x="321" y="67"/>
                  </a:lnTo>
                  <a:lnTo>
                    <a:pt x="337" y="59"/>
                  </a:lnTo>
                  <a:lnTo>
                    <a:pt x="332" y="36"/>
                  </a:lnTo>
                  <a:lnTo>
                    <a:pt x="332" y="36"/>
                  </a:lnTo>
                  <a:lnTo>
                    <a:pt x="361" y="33"/>
                  </a:lnTo>
                  <a:lnTo>
                    <a:pt x="391" y="30"/>
                  </a:lnTo>
                  <a:lnTo>
                    <a:pt x="393" y="57"/>
                  </a:lnTo>
                  <a:lnTo>
                    <a:pt x="406" y="84"/>
                  </a:lnTo>
                  <a:lnTo>
                    <a:pt x="423" y="84"/>
                  </a:lnTo>
                  <a:lnTo>
                    <a:pt x="423" y="67"/>
                  </a:lnTo>
                  <a:lnTo>
                    <a:pt x="440" y="51"/>
                  </a:lnTo>
                  <a:lnTo>
                    <a:pt x="456" y="51"/>
                  </a:lnTo>
                  <a:lnTo>
                    <a:pt x="467" y="34"/>
                  </a:lnTo>
                  <a:lnTo>
                    <a:pt x="467" y="34"/>
                  </a:lnTo>
                  <a:lnTo>
                    <a:pt x="493" y="40"/>
                  </a:lnTo>
                  <a:lnTo>
                    <a:pt x="517" y="46"/>
                  </a:lnTo>
                  <a:lnTo>
                    <a:pt x="541" y="54"/>
                  </a:lnTo>
                  <a:lnTo>
                    <a:pt x="565" y="65"/>
                  </a:lnTo>
                  <a:lnTo>
                    <a:pt x="581" y="90"/>
                  </a:lnTo>
                  <a:lnTo>
                    <a:pt x="576" y="121"/>
                  </a:lnTo>
                  <a:lnTo>
                    <a:pt x="559" y="131"/>
                  </a:lnTo>
                  <a:lnTo>
                    <a:pt x="558" y="152"/>
                  </a:lnTo>
                  <a:lnTo>
                    <a:pt x="574" y="152"/>
                  </a:lnTo>
                  <a:lnTo>
                    <a:pt x="591" y="168"/>
                  </a:lnTo>
                  <a:lnTo>
                    <a:pt x="609" y="152"/>
                  </a:lnTo>
                  <a:lnTo>
                    <a:pt x="600" y="136"/>
                  </a:lnTo>
                  <a:lnTo>
                    <a:pt x="625" y="119"/>
                  </a:lnTo>
                  <a:lnTo>
                    <a:pt x="652" y="147"/>
                  </a:lnTo>
                  <a:lnTo>
                    <a:pt x="672" y="139"/>
                  </a:lnTo>
                  <a:lnTo>
                    <a:pt x="672" y="139"/>
                  </a:lnTo>
                  <a:lnTo>
                    <a:pt x="687" y="155"/>
                  </a:lnTo>
                  <a:lnTo>
                    <a:pt x="700" y="171"/>
                  </a:lnTo>
                  <a:lnTo>
                    <a:pt x="713" y="188"/>
                  </a:lnTo>
                  <a:lnTo>
                    <a:pt x="725" y="206"/>
                  </a:lnTo>
                  <a:lnTo>
                    <a:pt x="689" y="194"/>
                  </a:lnTo>
                  <a:lnTo>
                    <a:pt x="677" y="202"/>
                  </a:lnTo>
                  <a:lnTo>
                    <a:pt x="677" y="219"/>
                  </a:lnTo>
                  <a:lnTo>
                    <a:pt x="660" y="219"/>
                  </a:lnTo>
                  <a:lnTo>
                    <a:pt x="626" y="202"/>
                  </a:lnTo>
                  <a:lnTo>
                    <a:pt x="609" y="202"/>
                  </a:lnTo>
                  <a:lnTo>
                    <a:pt x="595" y="222"/>
                  </a:lnTo>
                  <a:lnTo>
                    <a:pt x="584" y="227"/>
                  </a:lnTo>
                  <a:lnTo>
                    <a:pt x="574" y="252"/>
                  </a:lnTo>
                  <a:lnTo>
                    <a:pt x="584" y="277"/>
                  </a:lnTo>
                  <a:lnTo>
                    <a:pt x="574" y="286"/>
                  </a:lnTo>
                  <a:lnTo>
                    <a:pt x="574" y="303"/>
                  </a:lnTo>
                  <a:lnTo>
                    <a:pt x="609" y="321"/>
                  </a:lnTo>
                  <a:lnTo>
                    <a:pt x="611" y="345"/>
                  </a:lnTo>
                  <a:lnTo>
                    <a:pt x="643" y="371"/>
                  </a:lnTo>
                  <a:lnTo>
                    <a:pt x="671" y="369"/>
                  </a:lnTo>
                  <a:lnTo>
                    <a:pt x="677" y="355"/>
                  </a:lnTo>
                  <a:lnTo>
                    <a:pt x="711" y="353"/>
                  </a:lnTo>
                  <a:lnTo>
                    <a:pt x="714" y="377"/>
                  </a:lnTo>
                  <a:lnTo>
                    <a:pt x="732" y="377"/>
                  </a:lnTo>
                  <a:lnTo>
                    <a:pt x="741" y="409"/>
                  </a:lnTo>
                  <a:lnTo>
                    <a:pt x="728" y="422"/>
                  </a:lnTo>
                  <a:lnTo>
                    <a:pt x="728" y="440"/>
                  </a:lnTo>
                  <a:lnTo>
                    <a:pt x="750" y="453"/>
                  </a:lnTo>
                  <a:lnTo>
                    <a:pt x="744" y="489"/>
                  </a:lnTo>
                  <a:lnTo>
                    <a:pt x="734" y="510"/>
                  </a:lnTo>
                  <a:lnTo>
                    <a:pt x="701" y="53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112" name="Group 2111">
            <a:extLst>
              <a:ext uri="{FF2B5EF4-FFF2-40B4-BE49-F238E27FC236}">
                <a16:creationId xmlns:a16="http://schemas.microsoft.com/office/drawing/2014/main" id="{364F0E4A-006A-42FD-B600-6FE9DCE3626A}"/>
              </a:ext>
            </a:extLst>
          </p:cNvPr>
          <p:cNvGrpSpPr/>
          <p:nvPr/>
        </p:nvGrpSpPr>
        <p:grpSpPr>
          <a:xfrm>
            <a:off x="6796716" y="3205728"/>
            <a:ext cx="612775" cy="612775"/>
            <a:chOff x="4964352" y="3806921"/>
            <a:chExt cx="612775" cy="612775"/>
          </a:xfrm>
        </p:grpSpPr>
        <p:sp>
          <p:nvSpPr>
            <p:cNvPr id="2113" name="Oval 2112">
              <a:extLst>
                <a:ext uri="{FF2B5EF4-FFF2-40B4-BE49-F238E27FC236}">
                  <a16:creationId xmlns:a16="http://schemas.microsoft.com/office/drawing/2014/main" id="{668EB26C-8B20-4957-9FED-ADC3DF110A7A}"/>
                </a:ext>
              </a:extLst>
            </p:cNvPr>
            <p:cNvSpPr/>
            <p:nvPr/>
          </p:nvSpPr>
          <p:spPr bwMode="ltGray">
            <a:xfrm>
              <a:off x="4964352" y="3806921"/>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114" name="Freeform 121">
              <a:extLst>
                <a:ext uri="{FF2B5EF4-FFF2-40B4-BE49-F238E27FC236}">
                  <a16:creationId xmlns:a16="http://schemas.microsoft.com/office/drawing/2014/main" id="{03B22024-F228-4126-A526-21F6FC47459C}"/>
                </a:ext>
              </a:extLst>
            </p:cNvPr>
            <p:cNvSpPr>
              <a:spLocks noEditPoints="1"/>
            </p:cNvSpPr>
            <p:nvPr/>
          </p:nvSpPr>
          <p:spPr bwMode="auto">
            <a:xfrm>
              <a:off x="5062885" y="3883121"/>
              <a:ext cx="430213" cy="450850"/>
            </a:xfrm>
            <a:custGeom>
              <a:avLst/>
              <a:gdLst>
                <a:gd name="T0" fmla="*/ 595 w 814"/>
                <a:gd name="T1" fmla="*/ 164 h 851"/>
                <a:gd name="T2" fmla="*/ 678 w 814"/>
                <a:gd name="T3" fmla="*/ 243 h 851"/>
                <a:gd name="T4" fmla="*/ 730 w 814"/>
                <a:gd name="T5" fmla="*/ 348 h 851"/>
                <a:gd name="T6" fmla="*/ 745 w 814"/>
                <a:gd name="T7" fmla="*/ 443 h 851"/>
                <a:gd name="T8" fmla="*/ 734 w 814"/>
                <a:gd name="T9" fmla="*/ 528 h 851"/>
                <a:gd name="T10" fmla="*/ 704 w 814"/>
                <a:gd name="T11" fmla="*/ 605 h 851"/>
                <a:gd name="T12" fmla="*/ 657 w 814"/>
                <a:gd name="T13" fmla="*/ 671 h 851"/>
                <a:gd name="T14" fmla="*/ 595 w 814"/>
                <a:gd name="T15" fmla="*/ 724 h 851"/>
                <a:gd name="T16" fmla="*/ 523 w 814"/>
                <a:gd name="T17" fmla="*/ 762 h 851"/>
                <a:gd name="T18" fmla="*/ 441 w 814"/>
                <a:gd name="T19" fmla="*/ 780 h 851"/>
                <a:gd name="T20" fmla="*/ 372 w 814"/>
                <a:gd name="T21" fmla="*/ 780 h 851"/>
                <a:gd name="T22" fmla="*/ 290 w 814"/>
                <a:gd name="T23" fmla="*/ 762 h 851"/>
                <a:gd name="T24" fmla="*/ 218 w 814"/>
                <a:gd name="T25" fmla="*/ 724 h 851"/>
                <a:gd name="T26" fmla="*/ 157 w 814"/>
                <a:gd name="T27" fmla="*/ 671 h 851"/>
                <a:gd name="T28" fmla="*/ 110 w 814"/>
                <a:gd name="T29" fmla="*/ 605 h 851"/>
                <a:gd name="T30" fmla="*/ 79 w 814"/>
                <a:gd name="T31" fmla="*/ 528 h 851"/>
                <a:gd name="T32" fmla="*/ 69 w 814"/>
                <a:gd name="T33" fmla="*/ 443 h 851"/>
                <a:gd name="T34" fmla="*/ 78 w 814"/>
                <a:gd name="T35" fmla="*/ 369 h 851"/>
                <a:gd name="T36" fmla="*/ 55 w 814"/>
                <a:gd name="T37" fmla="*/ 237 h 851"/>
                <a:gd name="T38" fmla="*/ 14 w 814"/>
                <a:gd name="T39" fmla="*/ 335 h 851"/>
                <a:gd name="T40" fmla="*/ 0 w 814"/>
                <a:gd name="T41" fmla="*/ 443 h 851"/>
                <a:gd name="T42" fmla="*/ 13 w 814"/>
                <a:gd name="T43" fmla="*/ 546 h 851"/>
                <a:gd name="T44" fmla="*/ 49 w 814"/>
                <a:gd name="T45" fmla="*/ 637 h 851"/>
                <a:gd name="T46" fmla="*/ 106 w 814"/>
                <a:gd name="T47" fmla="*/ 717 h 851"/>
                <a:gd name="T48" fmla="*/ 179 w 814"/>
                <a:gd name="T49" fmla="*/ 781 h 851"/>
                <a:gd name="T50" fmla="*/ 267 w 814"/>
                <a:gd name="T51" fmla="*/ 827 h 851"/>
                <a:gd name="T52" fmla="*/ 365 w 814"/>
                <a:gd name="T53" fmla="*/ 848 h 851"/>
                <a:gd name="T54" fmla="*/ 448 w 814"/>
                <a:gd name="T55" fmla="*/ 848 h 851"/>
                <a:gd name="T56" fmla="*/ 547 w 814"/>
                <a:gd name="T57" fmla="*/ 827 h 851"/>
                <a:gd name="T58" fmla="*/ 635 w 814"/>
                <a:gd name="T59" fmla="*/ 781 h 851"/>
                <a:gd name="T60" fmla="*/ 708 w 814"/>
                <a:gd name="T61" fmla="*/ 717 h 851"/>
                <a:gd name="T62" fmla="*/ 765 w 814"/>
                <a:gd name="T63" fmla="*/ 637 h 851"/>
                <a:gd name="T64" fmla="*/ 801 w 814"/>
                <a:gd name="T65" fmla="*/ 546 h 851"/>
                <a:gd name="T66" fmla="*/ 814 w 814"/>
                <a:gd name="T67" fmla="*/ 443 h 851"/>
                <a:gd name="T68" fmla="*/ 795 w 814"/>
                <a:gd name="T69" fmla="*/ 321 h 851"/>
                <a:gd name="T70" fmla="*/ 723 w 814"/>
                <a:gd name="T71" fmla="*/ 188 h 851"/>
                <a:gd name="T72" fmla="*/ 610 w 814"/>
                <a:gd name="T73" fmla="*/ 90 h 851"/>
                <a:gd name="T74" fmla="*/ 407 w 814"/>
                <a:gd name="T75" fmla="*/ 148 h 851"/>
                <a:gd name="T76" fmla="*/ 448 w 814"/>
                <a:gd name="T77" fmla="*/ 135 h 851"/>
                <a:gd name="T78" fmla="*/ 479 w 814"/>
                <a:gd name="T79" fmla="*/ 89 h 851"/>
                <a:gd name="T80" fmla="*/ 479 w 814"/>
                <a:gd name="T81" fmla="*/ 59 h 851"/>
                <a:gd name="T82" fmla="*/ 448 w 814"/>
                <a:gd name="T83" fmla="*/ 12 h 851"/>
                <a:gd name="T84" fmla="*/ 407 w 814"/>
                <a:gd name="T85" fmla="*/ 0 h 851"/>
                <a:gd name="T86" fmla="*/ 378 w 814"/>
                <a:gd name="T87" fmla="*/ 6 h 851"/>
                <a:gd name="T88" fmla="*/ 336 w 814"/>
                <a:gd name="T89" fmla="*/ 52 h 851"/>
                <a:gd name="T90" fmla="*/ 334 w 814"/>
                <a:gd name="T91" fmla="*/ 82 h 851"/>
                <a:gd name="T92" fmla="*/ 354 w 814"/>
                <a:gd name="T93" fmla="*/ 127 h 851"/>
                <a:gd name="T94" fmla="*/ 399 w 814"/>
                <a:gd name="T95" fmla="*/ 147 h 851"/>
                <a:gd name="T96" fmla="*/ 348 w 814"/>
                <a:gd name="T97" fmla="*/ 489 h 851"/>
                <a:gd name="T98" fmla="*/ 355 w 814"/>
                <a:gd name="T99" fmla="*/ 496 h 851"/>
                <a:gd name="T100" fmla="*/ 390 w 814"/>
                <a:gd name="T101" fmla="*/ 516 h 851"/>
                <a:gd name="T102" fmla="*/ 422 w 814"/>
                <a:gd name="T103" fmla="*/ 517 h 851"/>
                <a:gd name="T104" fmla="*/ 469 w 814"/>
                <a:gd name="T105" fmla="*/ 486 h 851"/>
                <a:gd name="T106" fmla="*/ 481 w 814"/>
                <a:gd name="T107" fmla="*/ 443 h 851"/>
                <a:gd name="T108" fmla="*/ 473 w 814"/>
                <a:gd name="T109" fmla="*/ 412 h 851"/>
                <a:gd name="T110" fmla="*/ 453 w 814"/>
                <a:gd name="T111" fmla="*/ 387 h 851"/>
                <a:gd name="T112" fmla="*/ 116 w 814"/>
                <a:gd name="T113" fmla="*/ 129 h 851"/>
                <a:gd name="T114" fmla="*/ 95 w 814"/>
                <a:gd name="T115" fmla="*/ 141 h 851"/>
                <a:gd name="T116" fmla="*/ 95 w 814"/>
                <a:gd name="T117" fmla="*/ 164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814" h="851">
                  <a:moveTo>
                    <a:pt x="555" y="65"/>
                  </a:moveTo>
                  <a:lnTo>
                    <a:pt x="555" y="141"/>
                  </a:lnTo>
                  <a:lnTo>
                    <a:pt x="555" y="141"/>
                  </a:lnTo>
                  <a:lnTo>
                    <a:pt x="576" y="152"/>
                  </a:lnTo>
                  <a:lnTo>
                    <a:pt x="595" y="164"/>
                  </a:lnTo>
                  <a:lnTo>
                    <a:pt x="614" y="177"/>
                  </a:lnTo>
                  <a:lnTo>
                    <a:pt x="631" y="193"/>
                  </a:lnTo>
                  <a:lnTo>
                    <a:pt x="648" y="208"/>
                  </a:lnTo>
                  <a:lnTo>
                    <a:pt x="664" y="225"/>
                  </a:lnTo>
                  <a:lnTo>
                    <a:pt x="678" y="243"/>
                  </a:lnTo>
                  <a:lnTo>
                    <a:pt x="692" y="263"/>
                  </a:lnTo>
                  <a:lnTo>
                    <a:pt x="704" y="283"/>
                  </a:lnTo>
                  <a:lnTo>
                    <a:pt x="714" y="304"/>
                  </a:lnTo>
                  <a:lnTo>
                    <a:pt x="723" y="325"/>
                  </a:lnTo>
                  <a:lnTo>
                    <a:pt x="730" y="348"/>
                  </a:lnTo>
                  <a:lnTo>
                    <a:pt x="736" y="371"/>
                  </a:lnTo>
                  <a:lnTo>
                    <a:pt x="741" y="395"/>
                  </a:lnTo>
                  <a:lnTo>
                    <a:pt x="743" y="419"/>
                  </a:lnTo>
                  <a:lnTo>
                    <a:pt x="745" y="443"/>
                  </a:lnTo>
                  <a:lnTo>
                    <a:pt x="745" y="443"/>
                  </a:lnTo>
                  <a:lnTo>
                    <a:pt x="745" y="462"/>
                  </a:lnTo>
                  <a:lnTo>
                    <a:pt x="742" y="478"/>
                  </a:lnTo>
                  <a:lnTo>
                    <a:pt x="741" y="495"/>
                  </a:lnTo>
                  <a:lnTo>
                    <a:pt x="737" y="512"/>
                  </a:lnTo>
                  <a:lnTo>
                    <a:pt x="734" y="528"/>
                  </a:lnTo>
                  <a:lnTo>
                    <a:pt x="729" y="545"/>
                  </a:lnTo>
                  <a:lnTo>
                    <a:pt x="724" y="560"/>
                  </a:lnTo>
                  <a:lnTo>
                    <a:pt x="718" y="575"/>
                  </a:lnTo>
                  <a:lnTo>
                    <a:pt x="711" y="590"/>
                  </a:lnTo>
                  <a:lnTo>
                    <a:pt x="704" y="605"/>
                  </a:lnTo>
                  <a:lnTo>
                    <a:pt x="695" y="619"/>
                  </a:lnTo>
                  <a:lnTo>
                    <a:pt x="687" y="633"/>
                  </a:lnTo>
                  <a:lnTo>
                    <a:pt x="677" y="646"/>
                  </a:lnTo>
                  <a:lnTo>
                    <a:pt x="667" y="659"/>
                  </a:lnTo>
                  <a:lnTo>
                    <a:pt x="657" y="671"/>
                  </a:lnTo>
                  <a:lnTo>
                    <a:pt x="646" y="683"/>
                  </a:lnTo>
                  <a:lnTo>
                    <a:pt x="634" y="694"/>
                  </a:lnTo>
                  <a:lnTo>
                    <a:pt x="622" y="705"/>
                  </a:lnTo>
                  <a:lnTo>
                    <a:pt x="608" y="715"/>
                  </a:lnTo>
                  <a:lnTo>
                    <a:pt x="595" y="724"/>
                  </a:lnTo>
                  <a:lnTo>
                    <a:pt x="582" y="733"/>
                  </a:lnTo>
                  <a:lnTo>
                    <a:pt x="567" y="741"/>
                  </a:lnTo>
                  <a:lnTo>
                    <a:pt x="553" y="748"/>
                  </a:lnTo>
                  <a:lnTo>
                    <a:pt x="539" y="756"/>
                  </a:lnTo>
                  <a:lnTo>
                    <a:pt x="523" y="762"/>
                  </a:lnTo>
                  <a:lnTo>
                    <a:pt x="507" y="766"/>
                  </a:lnTo>
                  <a:lnTo>
                    <a:pt x="492" y="771"/>
                  </a:lnTo>
                  <a:lnTo>
                    <a:pt x="475" y="775"/>
                  </a:lnTo>
                  <a:lnTo>
                    <a:pt x="458" y="777"/>
                  </a:lnTo>
                  <a:lnTo>
                    <a:pt x="441" y="780"/>
                  </a:lnTo>
                  <a:lnTo>
                    <a:pt x="424" y="781"/>
                  </a:lnTo>
                  <a:lnTo>
                    <a:pt x="407" y="782"/>
                  </a:lnTo>
                  <a:lnTo>
                    <a:pt x="407" y="782"/>
                  </a:lnTo>
                  <a:lnTo>
                    <a:pt x="389" y="781"/>
                  </a:lnTo>
                  <a:lnTo>
                    <a:pt x="372" y="780"/>
                  </a:lnTo>
                  <a:lnTo>
                    <a:pt x="355" y="777"/>
                  </a:lnTo>
                  <a:lnTo>
                    <a:pt x="339" y="775"/>
                  </a:lnTo>
                  <a:lnTo>
                    <a:pt x="323" y="771"/>
                  </a:lnTo>
                  <a:lnTo>
                    <a:pt x="306" y="766"/>
                  </a:lnTo>
                  <a:lnTo>
                    <a:pt x="290" y="762"/>
                  </a:lnTo>
                  <a:lnTo>
                    <a:pt x="276" y="756"/>
                  </a:lnTo>
                  <a:lnTo>
                    <a:pt x="260" y="748"/>
                  </a:lnTo>
                  <a:lnTo>
                    <a:pt x="246" y="741"/>
                  </a:lnTo>
                  <a:lnTo>
                    <a:pt x="231" y="733"/>
                  </a:lnTo>
                  <a:lnTo>
                    <a:pt x="218" y="724"/>
                  </a:lnTo>
                  <a:lnTo>
                    <a:pt x="205" y="715"/>
                  </a:lnTo>
                  <a:lnTo>
                    <a:pt x="191" y="705"/>
                  </a:lnTo>
                  <a:lnTo>
                    <a:pt x="179" y="694"/>
                  </a:lnTo>
                  <a:lnTo>
                    <a:pt x="169" y="683"/>
                  </a:lnTo>
                  <a:lnTo>
                    <a:pt x="157" y="671"/>
                  </a:lnTo>
                  <a:lnTo>
                    <a:pt x="146" y="659"/>
                  </a:lnTo>
                  <a:lnTo>
                    <a:pt x="136" y="646"/>
                  </a:lnTo>
                  <a:lnTo>
                    <a:pt x="126" y="633"/>
                  </a:lnTo>
                  <a:lnTo>
                    <a:pt x="118" y="619"/>
                  </a:lnTo>
                  <a:lnTo>
                    <a:pt x="110" y="605"/>
                  </a:lnTo>
                  <a:lnTo>
                    <a:pt x="102" y="590"/>
                  </a:lnTo>
                  <a:lnTo>
                    <a:pt x="95" y="575"/>
                  </a:lnTo>
                  <a:lnTo>
                    <a:pt x="89" y="560"/>
                  </a:lnTo>
                  <a:lnTo>
                    <a:pt x="84" y="545"/>
                  </a:lnTo>
                  <a:lnTo>
                    <a:pt x="79" y="528"/>
                  </a:lnTo>
                  <a:lnTo>
                    <a:pt x="76" y="512"/>
                  </a:lnTo>
                  <a:lnTo>
                    <a:pt x="73" y="495"/>
                  </a:lnTo>
                  <a:lnTo>
                    <a:pt x="71" y="478"/>
                  </a:lnTo>
                  <a:lnTo>
                    <a:pt x="70" y="462"/>
                  </a:lnTo>
                  <a:lnTo>
                    <a:pt x="69" y="443"/>
                  </a:lnTo>
                  <a:lnTo>
                    <a:pt x="69" y="443"/>
                  </a:lnTo>
                  <a:lnTo>
                    <a:pt x="70" y="424"/>
                  </a:lnTo>
                  <a:lnTo>
                    <a:pt x="71" y="406"/>
                  </a:lnTo>
                  <a:lnTo>
                    <a:pt x="73" y="387"/>
                  </a:lnTo>
                  <a:lnTo>
                    <a:pt x="78" y="369"/>
                  </a:lnTo>
                  <a:lnTo>
                    <a:pt x="82" y="351"/>
                  </a:lnTo>
                  <a:lnTo>
                    <a:pt x="88" y="334"/>
                  </a:lnTo>
                  <a:lnTo>
                    <a:pt x="94" y="317"/>
                  </a:lnTo>
                  <a:lnTo>
                    <a:pt x="101" y="300"/>
                  </a:lnTo>
                  <a:lnTo>
                    <a:pt x="55" y="237"/>
                  </a:lnTo>
                  <a:lnTo>
                    <a:pt x="55" y="237"/>
                  </a:lnTo>
                  <a:lnTo>
                    <a:pt x="43" y="260"/>
                  </a:lnTo>
                  <a:lnTo>
                    <a:pt x="32" y="284"/>
                  </a:lnTo>
                  <a:lnTo>
                    <a:pt x="23" y="310"/>
                  </a:lnTo>
                  <a:lnTo>
                    <a:pt x="14" y="335"/>
                  </a:lnTo>
                  <a:lnTo>
                    <a:pt x="8" y="362"/>
                  </a:lnTo>
                  <a:lnTo>
                    <a:pt x="4" y="388"/>
                  </a:lnTo>
                  <a:lnTo>
                    <a:pt x="1" y="416"/>
                  </a:lnTo>
                  <a:lnTo>
                    <a:pt x="0" y="443"/>
                  </a:lnTo>
                  <a:lnTo>
                    <a:pt x="0" y="443"/>
                  </a:lnTo>
                  <a:lnTo>
                    <a:pt x="0" y="465"/>
                  </a:lnTo>
                  <a:lnTo>
                    <a:pt x="2" y="486"/>
                  </a:lnTo>
                  <a:lnTo>
                    <a:pt x="5" y="506"/>
                  </a:lnTo>
                  <a:lnTo>
                    <a:pt x="8" y="525"/>
                  </a:lnTo>
                  <a:lnTo>
                    <a:pt x="13" y="546"/>
                  </a:lnTo>
                  <a:lnTo>
                    <a:pt x="18" y="565"/>
                  </a:lnTo>
                  <a:lnTo>
                    <a:pt x="24" y="584"/>
                  </a:lnTo>
                  <a:lnTo>
                    <a:pt x="31" y="603"/>
                  </a:lnTo>
                  <a:lnTo>
                    <a:pt x="40" y="621"/>
                  </a:lnTo>
                  <a:lnTo>
                    <a:pt x="49" y="637"/>
                  </a:lnTo>
                  <a:lnTo>
                    <a:pt x="59" y="656"/>
                  </a:lnTo>
                  <a:lnTo>
                    <a:pt x="70" y="671"/>
                  </a:lnTo>
                  <a:lnTo>
                    <a:pt x="81" y="687"/>
                  </a:lnTo>
                  <a:lnTo>
                    <a:pt x="93" y="703"/>
                  </a:lnTo>
                  <a:lnTo>
                    <a:pt x="106" y="717"/>
                  </a:lnTo>
                  <a:lnTo>
                    <a:pt x="119" y="731"/>
                  </a:lnTo>
                  <a:lnTo>
                    <a:pt x="134" y="745"/>
                  </a:lnTo>
                  <a:lnTo>
                    <a:pt x="148" y="758"/>
                  </a:lnTo>
                  <a:lnTo>
                    <a:pt x="164" y="770"/>
                  </a:lnTo>
                  <a:lnTo>
                    <a:pt x="179" y="781"/>
                  </a:lnTo>
                  <a:lnTo>
                    <a:pt x="196" y="792"/>
                  </a:lnTo>
                  <a:lnTo>
                    <a:pt x="213" y="801"/>
                  </a:lnTo>
                  <a:lnTo>
                    <a:pt x="230" y="811"/>
                  </a:lnTo>
                  <a:lnTo>
                    <a:pt x="248" y="819"/>
                  </a:lnTo>
                  <a:lnTo>
                    <a:pt x="267" y="827"/>
                  </a:lnTo>
                  <a:lnTo>
                    <a:pt x="285" y="833"/>
                  </a:lnTo>
                  <a:lnTo>
                    <a:pt x="305" y="839"/>
                  </a:lnTo>
                  <a:lnTo>
                    <a:pt x="325" y="842"/>
                  </a:lnTo>
                  <a:lnTo>
                    <a:pt x="345" y="846"/>
                  </a:lnTo>
                  <a:lnTo>
                    <a:pt x="365" y="848"/>
                  </a:lnTo>
                  <a:lnTo>
                    <a:pt x="386" y="851"/>
                  </a:lnTo>
                  <a:lnTo>
                    <a:pt x="407" y="851"/>
                  </a:lnTo>
                  <a:lnTo>
                    <a:pt x="407" y="851"/>
                  </a:lnTo>
                  <a:lnTo>
                    <a:pt x="428" y="851"/>
                  </a:lnTo>
                  <a:lnTo>
                    <a:pt x="448" y="848"/>
                  </a:lnTo>
                  <a:lnTo>
                    <a:pt x="469" y="846"/>
                  </a:lnTo>
                  <a:lnTo>
                    <a:pt x="489" y="842"/>
                  </a:lnTo>
                  <a:lnTo>
                    <a:pt x="508" y="839"/>
                  </a:lnTo>
                  <a:lnTo>
                    <a:pt x="528" y="833"/>
                  </a:lnTo>
                  <a:lnTo>
                    <a:pt x="547" y="827"/>
                  </a:lnTo>
                  <a:lnTo>
                    <a:pt x="565" y="819"/>
                  </a:lnTo>
                  <a:lnTo>
                    <a:pt x="583" y="811"/>
                  </a:lnTo>
                  <a:lnTo>
                    <a:pt x="601" y="801"/>
                  </a:lnTo>
                  <a:lnTo>
                    <a:pt x="618" y="792"/>
                  </a:lnTo>
                  <a:lnTo>
                    <a:pt x="635" y="781"/>
                  </a:lnTo>
                  <a:lnTo>
                    <a:pt x="651" y="770"/>
                  </a:lnTo>
                  <a:lnTo>
                    <a:pt x="666" y="758"/>
                  </a:lnTo>
                  <a:lnTo>
                    <a:pt x="681" y="745"/>
                  </a:lnTo>
                  <a:lnTo>
                    <a:pt x="695" y="731"/>
                  </a:lnTo>
                  <a:lnTo>
                    <a:pt x="708" y="717"/>
                  </a:lnTo>
                  <a:lnTo>
                    <a:pt x="720" y="703"/>
                  </a:lnTo>
                  <a:lnTo>
                    <a:pt x="733" y="687"/>
                  </a:lnTo>
                  <a:lnTo>
                    <a:pt x="745" y="671"/>
                  </a:lnTo>
                  <a:lnTo>
                    <a:pt x="755" y="656"/>
                  </a:lnTo>
                  <a:lnTo>
                    <a:pt x="765" y="637"/>
                  </a:lnTo>
                  <a:lnTo>
                    <a:pt x="774" y="621"/>
                  </a:lnTo>
                  <a:lnTo>
                    <a:pt x="782" y="603"/>
                  </a:lnTo>
                  <a:lnTo>
                    <a:pt x="789" y="584"/>
                  </a:lnTo>
                  <a:lnTo>
                    <a:pt x="795" y="565"/>
                  </a:lnTo>
                  <a:lnTo>
                    <a:pt x="801" y="546"/>
                  </a:lnTo>
                  <a:lnTo>
                    <a:pt x="806" y="525"/>
                  </a:lnTo>
                  <a:lnTo>
                    <a:pt x="810" y="506"/>
                  </a:lnTo>
                  <a:lnTo>
                    <a:pt x="812" y="486"/>
                  </a:lnTo>
                  <a:lnTo>
                    <a:pt x="813" y="465"/>
                  </a:lnTo>
                  <a:lnTo>
                    <a:pt x="814" y="443"/>
                  </a:lnTo>
                  <a:lnTo>
                    <a:pt x="814" y="443"/>
                  </a:lnTo>
                  <a:lnTo>
                    <a:pt x="812" y="412"/>
                  </a:lnTo>
                  <a:lnTo>
                    <a:pt x="808" y="381"/>
                  </a:lnTo>
                  <a:lnTo>
                    <a:pt x="802" y="349"/>
                  </a:lnTo>
                  <a:lnTo>
                    <a:pt x="795" y="321"/>
                  </a:lnTo>
                  <a:lnTo>
                    <a:pt x="784" y="292"/>
                  </a:lnTo>
                  <a:lnTo>
                    <a:pt x="772" y="264"/>
                  </a:lnTo>
                  <a:lnTo>
                    <a:pt x="758" y="237"/>
                  </a:lnTo>
                  <a:lnTo>
                    <a:pt x="741" y="212"/>
                  </a:lnTo>
                  <a:lnTo>
                    <a:pt x="723" y="188"/>
                  </a:lnTo>
                  <a:lnTo>
                    <a:pt x="704" y="165"/>
                  </a:lnTo>
                  <a:lnTo>
                    <a:pt x="682" y="145"/>
                  </a:lnTo>
                  <a:lnTo>
                    <a:pt x="659" y="124"/>
                  </a:lnTo>
                  <a:lnTo>
                    <a:pt x="635" y="107"/>
                  </a:lnTo>
                  <a:lnTo>
                    <a:pt x="610" y="90"/>
                  </a:lnTo>
                  <a:lnTo>
                    <a:pt x="583" y="77"/>
                  </a:lnTo>
                  <a:lnTo>
                    <a:pt x="555" y="65"/>
                  </a:lnTo>
                  <a:lnTo>
                    <a:pt x="555" y="65"/>
                  </a:lnTo>
                  <a:close/>
                  <a:moveTo>
                    <a:pt x="407" y="148"/>
                  </a:moveTo>
                  <a:lnTo>
                    <a:pt x="407" y="148"/>
                  </a:lnTo>
                  <a:lnTo>
                    <a:pt x="414" y="147"/>
                  </a:lnTo>
                  <a:lnTo>
                    <a:pt x="422" y="146"/>
                  </a:lnTo>
                  <a:lnTo>
                    <a:pt x="429" y="145"/>
                  </a:lnTo>
                  <a:lnTo>
                    <a:pt x="436" y="142"/>
                  </a:lnTo>
                  <a:lnTo>
                    <a:pt x="448" y="135"/>
                  </a:lnTo>
                  <a:lnTo>
                    <a:pt x="459" y="127"/>
                  </a:lnTo>
                  <a:lnTo>
                    <a:pt x="469" y="116"/>
                  </a:lnTo>
                  <a:lnTo>
                    <a:pt x="475" y="102"/>
                  </a:lnTo>
                  <a:lnTo>
                    <a:pt x="477" y="96"/>
                  </a:lnTo>
                  <a:lnTo>
                    <a:pt x="479" y="89"/>
                  </a:lnTo>
                  <a:lnTo>
                    <a:pt x="481" y="82"/>
                  </a:lnTo>
                  <a:lnTo>
                    <a:pt x="481" y="74"/>
                  </a:lnTo>
                  <a:lnTo>
                    <a:pt x="481" y="74"/>
                  </a:lnTo>
                  <a:lnTo>
                    <a:pt x="481" y="66"/>
                  </a:lnTo>
                  <a:lnTo>
                    <a:pt x="479" y="59"/>
                  </a:lnTo>
                  <a:lnTo>
                    <a:pt x="477" y="52"/>
                  </a:lnTo>
                  <a:lnTo>
                    <a:pt x="475" y="45"/>
                  </a:lnTo>
                  <a:lnTo>
                    <a:pt x="469" y="33"/>
                  </a:lnTo>
                  <a:lnTo>
                    <a:pt x="459" y="22"/>
                  </a:lnTo>
                  <a:lnTo>
                    <a:pt x="448" y="12"/>
                  </a:lnTo>
                  <a:lnTo>
                    <a:pt x="436" y="6"/>
                  </a:lnTo>
                  <a:lnTo>
                    <a:pt x="429" y="4"/>
                  </a:lnTo>
                  <a:lnTo>
                    <a:pt x="422" y="1"/>
                  </a:lnTo>
                  <a:lnTo>
                    <a:pt x="414" y="0"/>
                  </a:lnTo>
                  <a:lnTo>
                    <a:pt x="407" y="0"/>
                  </a:lnTo>
                  <a:lnTo>
                    <a:pt x="407" y="0"/>
                  </a:lnTo>
                  <a:lnTo>
                    <a:pt x="399" y="0"/>
                  </a:lnTo>
                  <a:lnTo>
                    <a:pt x="392" y="1"/>
                  </a:lnTo>
                  <a:lnTo>
                    <a:pt x="384" y="4"/>
                  </a:lnTo>
                  <a:lnTo>
                    <a:pt x="378" y="6"/>
                  </a:lnTo>
                  <a:lnTo>
                    <a:pt x="365" y="12"/>
                  </a:lnTo>
                  <a:lnTo>
                    <a:pt x="354" y="22"/>
                  </a:lnTo>
                  <a:lnTo>
                    <a:pt x="346" y="33"/>
                  </a:lnTo>
                  <a:lnTo>
                    <a:pt x="339" y="45"/>
                  </a:lnTo>
                  <a:lnTo>
                    <a:pt x="336" y="52"/>
                  </a:lnTo>
                  <a:lnTo>
                    <a:pt x="335" y="59"/>
                  </a:lnTo>
                  <a:lnTo>
                    <a:pt x="334" y="66"/>
                  </a:lnTo>
                  <a:lnTo>
                    <a:pt x="332" y="74"/>
                  </a:lnTo>
                  <a:lnTo>
                    <a:pt x="332" y="74"/>
                  </a:lnTo>
                  <a:lnTo>
                    <a:pt x="334" y="82"/>
                  </a:lnTo>
                  <a:lnTo>
                    <a:pt x="335" y="89"/>
                  </a:lnTo>
                  <a:lnTo>
                    <a:pt x="336" y="96"/>
                  </a:lnTo>
                  <a:lnTo>
                    <a:pt x="339" y="102"/>
                  </a:lnTo>
                  <a:lnTo>
                    <a:pt x="346" y="116"/>
                  </a:lnTo>
                  <a:lnTo>
                    <a:pt x="354" y="127"/>
                  </a:lnTo>
                  <a:lnTo>
                    <a:pt x="365" y="135"/>
                  </a:lnTo>
                  <a:lnTo>
                    <a:pt x="378" y="142"/>
                  </a:lnTo>
                  <a:lnTo>
                    <a:pt x="384" y="145"/>
                  </a:lnTo>
                  <a:lnTo>
                    <a:pt x="392" y="146"/>
                  </a:lnTo>
                  <a:lnTo>
                    <a:pt x="399" y="147"/>
                  </a:lnTo>
                  <a:lnTo>
                    <a:pt x="407" y="148"/>
                  </a:lnTo>
                  <a:lnTo>
                    <a:pt x="407" y="148"/>
                  </a:lnTo>
                  <a:close/>
                  <a:moveTo>
                    <a:pt x="345" y="484"/>
                  </a:moveTo>
                  <a:lnTo>
                    <a:pt x="345" y="484"/>
                  </a:lnTo>
                  <a:lnTo>
                    <a:pt x="348" y="489"/>
                  </a:lnTo>
                  <a:lnTo>
                    <a:pt x="349" y="490"/>
                  </a:lnTo>
                  <a:lnTo>
                    <a:pt x="349" y="490"/>
                  </a:lnTo>
                  <a:lnTo>
                    <a:pt x="349" y="490"/>
                  </a:lnTo>
                  <a:lnTo>
                    <a:pt x="349" y="490"/>
                  </a:lnTo>
                  <a:lnTo>
                    <a:pt x="355" y="496"/>
                  </a:lnTo>
                  <a:lnTo>
                    <a:pt x="361" y="503"/>
                  </a:lnTo>
                  <a:lnTo>
                    <a:pt x="367" y="506"/>
                  </a:lnTo>
                  <a:lnTo>
                    <a:pt x="375" y="511"/>
                  </a:lnTo>
                  <a:lnTo>
                    <a:pt x="382" y="513"/>
                  </a:lnTo>
                  <a:lnTo>
                    <a:pt x="390" y="516"/>
                  </a:lnTo>
                  <a:lnTo>
                    <a:pt x="399" y="517"/>
                  </a:lnTo>
                  <a:lnTo>
                    <a:pt x="407" y="518"/>
                  </a:lnTo>
                  <a:lnTo>
                    <a:pt x="407" y="518"/>
                  </a:lnTo>
                  <a:lnTo>
                    <a:pt x="414" y="517"/>
                  </a:lnTo>
                  <a:lnTo>
                    <a:pt x="422" y="517"/>
                  </a:lnTo>
                  <a:lnTo>
                    <a:pt x="429" y="515"/>
                  </a:lnTo>
                  <a:lnTo>
                    <a:pt x="436" y="512"/>
                  </a:lnTo>
                  <a:lnTo>
                    <a:pt x="448" y="505"/>
                  </a:lnTo>
                  <a:lnTo>
                    <a:pt x="459" y="496"/>
                  </a:lnTo>
                  <a:lnTo>
                    <a:pt x="469" y="486"/>
                  </a:lnTo>
                  <a:lnTo>
                    <a:pt x="475" y="472"/>
                  </a:lnTo>
                  <a:lnTo>
                    <a:pt x="477" y="466"/>
                  </a:lnTo>
                  <a:lnTo>
                    <a:pt x="479" y="459"/>
                  </a:lnTo>
                  <a:lnTo>
                    <a:pt x="481" y="452"/>
                  </a:lnTo>
                  <a:lnTo>
                    <a:pt x="481" y="443"/>
                  </a:lnTo>
                  <a:lnTo>
                    <a:pt x="481" y="443"/>
                  </a:lnTo>
                  <a:lnTo>
                    <a:pt x="481" y="435"/>
                  </a:lnTo>
                  <a:lnTo>
                    <a:pt x="478" y="427"/>
                  </a:lnTo>
                  <a:lnTo>
                    <a:pt x="477" y="419"/>
                  </a:lnTo>
                  <a:lnTo>
                    <a:pt x="473" y="412"/>
                  </a:lnTo>
                  <a:lnTo>
                    <a:pt x="470" y="405"/>
                  </a:lnTo>
                  <a:lnTo>
                    <a:pt x="465" y="398"/>
                  </a:lnTo>
                  <a:lnTo>
                    <a:pt x="459" y="392"/>
                  </a:lnTo>
                  <a:lnTo>
                    <a:pt x="453" y="387"/>
                  </a:lnTo>
                  <a:lnTo>
                    <a:pt x="453" y="387"/>
                  </a:lnTo>
                  <a:lnTo>
                    <a:pt x="453" y="386"/>
                  </a:lnTo>
                  <a:lnTo>
                    <a:pt x="131" y="135"/>
                  </a:lnTo>
                  <a:lnTo>
                    <a:pt x="131" y="135"/>
                  </a:lnTo>
                  <a:lnTo>
                    <a:pt x="124" y="130"/>
                  </a:lnTo>
                  <a:lnTo>
                    <a:pt x="116" y="129"/>
                  </a:lnTo>
                  <a:lnTo>
                    <a:pt x="108" y="130"/>
                  </a:lnTo>
                  <a:lnTo>
                    <a:pt x="101" y="135"/>
                  </a:lnTo>
                  <a:lnTo>
                    <a:pt x="101" y="135"/>
                  </a:lnTo>
                  <a:lnTo>
                    <a:pt x="98" y="137"/>
                  </a:lnTo>
                  <a:lnTo>
                    <a:pt x="95" y="141"/>
                  </a:lnTo>
                  <a:lnTo>
                    <a:pt x="94" y="146"/>
                  </a:lnTo>
                  <a:lnTo>
                    <a:pt x="93" y="151"/>
                  </a:lnTo>
                  <a:lnTo>
                    <a:pt x="93" y="154"/>
                  </a:lnTo>
                  <a:lnTo>
                    <a:pt x="93" y="159"/>
                  </a:lnTo>
                  <a:lnTo>
                    <a:pt x="95" y="164"/>
                  </a:lnTo>
                  <a:lnTo>
                    <a:pt x="98" y="168"/>
                  </a:lnTo>
                  <a:lnTo>
                    <a:pt x="345" y="48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115" name="Group 2114">
            <a:extLst>
              <a:ext uri="{FF2B5EF4-FFF2-40B4-BE49-F238E27FC236}">
                <a16:creationId xmlns:a16="http://schemas.microsoft.com/office/drawing/2014/main" id="{2D945E85-6AA3-4C84-9B67-E4CFB9DDBA92}"/>
              </a:ext>
            </a:extLst>
          </p:cNvPr>
          <p:cNvGrpSpPr/>
          <p:nvPr/>
        </p:nvGrpSpPr>
        <p:grpSpPr>
          <a:xfrm>
            <a:off x="8982297" y="4756107"/>
            <a:ext cx="612775" cy="612775"/>
            <a:chOff x="7149933" y="5357300"/>
            <a:chExt cx="612775" cy="612775"/>
          </a:xfrm>
        </p:grpSpPr>
        <p:sp>
          <p:nvSpPr>
            <p:cNvPr id="2116" name="Oval 2115">
              <a:extLst>
                <a:ext uri="{FF2B5EF4-FFF2-40B4-BE49-F238E27FC236}">
                  <a16:creationId xmlns:a16="http://schemas.microsoft.com/office/drawing/2014/main" id="{F9FC2B24-3210-4441-8366-74912FC5E3F1}"/>
                </a:ext>
              </a:extLst>
            </p:cNvPr>
            <p:cNvSpPr/>
            <p:nvPr/>
          </p:nvSpPr>
          <p:spPr bwMode="ltGray">
            <a:xfrm>
              <a:off x="7149933" y="5357300"/>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117" name="Group 2116">
              <a:extLst>
                <a:ext uri="{FF2B5EF4-FFF2-40B4-BE49-F238E27FC236}">
                  <a16:creationId xmlns:a16="http://schemas.microsoft.com/office/drawing/2014/main" id="{D25775DA-1E51-4AD9-B735-5443DF9850F3}"/>
                </a:ext>
              </a:extLst>
            </p:cNvPr>
            <p:cNvGrpSpPr/>
            <p:nvPr/>
          </p:nvGrpSpPr>
          <p:grpSpPr>
            <a:xfrm>
              <a:off x="7362924" y="5427901"/>
              <a:ext cx="179147" cy="479289"/>
              <a:chOff x="8039214" y="6022201"/>
              <a:chExt cx="229645" cy="614391"/>
            </a:xfrm>
            <a:solidFill>
              <a:srgbClr val="3C3C3E"/>
            </a:solidFill>
          </p:grpSpPr>
          <p:sp>
            <p:nvSpPr>
              <p:cNvPr id="2118" name="Freeform 25">
                <a:extLst>
                  <a:ext uri="{FF2B5EF4-FFF2-40B4-BE49-F238E27FC236}">
                    <a16:creationId xmlns:a16="http://schemas.microsoft.com/office/drawing/2014/main" id="{DA4692B7-741B-4D60-A330-10264031C002}"/>
                  </a:ext>
                </a:extLst>
              </p:cNvPr>
              <p:cNvSpPr>
                <a:spLocks/>
              </p:cNvSpPr>
              <p:nvPr/>
            </p:nvSpPr>
            <p:spPr bwMode="auto">
              <a:xfrm>
                <a:off x="8119771" y="6024606"/>
                <a:ext cx="137066" cy="88972"/>
              </a:xfrm>
              <a:custGeom>
                <a:avLst/>
                <a:gdLst>
                  <a:gd name="T0" fmla="*/ 228 w 228"/>
                  <a:gd name="T1" fmla="*/ 34 h 148"/>
                  <a:gd name="T2" fmla="*/ 226 w 228"/>
                  <a:gd name="T3" fmla="*/ 24 h 148"/>
                  <a:gd name="T4" fmla="*/ 218 w 228"/>
                  <a:gd name="T5" fmla="*/ 18 h 148"/>
                  <a:gd name="T6" fmla="*/ 28 w 228"/>
                  <a:gd name="T7" fmla="*/ 0 h 148"/>
                  <a:gd name="T8" fmla="*/ 18 w 228"/>
                  <a:gd name="T9" fmla="*/ 4 h 148"/>
                  <a:gd name="T10" fmla="*/ 14 w 228"/>
                  <a:gd name="T11" fmla="*/ 14 h 148"/>
                  <a:gd name="T12" fmla="*/ 18 w 228"/>
                  <a:gd name="T13" fmla="*/ 130 h 148"/>
                  <a:gd name="T14" fmla="*/ 32 w 228"/>
                  <a:gd name="T15" fmla="*/ 46 h 148"/>
                  <a:gd name="T16" fmla="*/ 34 w 228"/>
                  <a:gd name="T17" fmla="*/ 38 h 148"/>
                  <a:gd name="T18" fmla="*/ 38 w 228"/>
                  <a:gd name="T19" fmla="*/ 28 h 148"/>
                  <a:gd name="T20" fmla="*/ 46 w 228"/>
                  <a:gd name="T21" fmla="*/ 24 h 148"/>
                  <a:gd name="T22" fmla="*/ 48 w 228"/>
                  <a:gd name="T23" fmla="*/ 24 h 148"/>
                  <a:gd name="T24" fmla="*/ 56 w 228"/>
                  <a:gd name="T25" fmla="*/ 30 h 148"/>
                  <a:gd name="T26" fmla="*/ 58 w 228"/>
                  <a:gd name="T27" fmla="*/ 40 h 148"/>
                  <a:gd name="T28" fmla="*/ 62 w 228"/>
                  <a:gd name="T29" fmla="*/ 50 h 148"/>
                  <a:gd name="T30" fmla="*/ 68 w 228"/>
                  <a:gd name="T31" fmla="*/ 134 h 148"/>
                  <a:gd name="T32" fmla="*/ 82 w 228"/>
                  <a:gd name="T33" fmla="*/ 52 h 148"/>
                  <a:gd name="T34" fmla="*/ 82 w 228"/>
                  <a:gd name="T35" fmla="*/ 44 h 148"/>
                  <a:gd name="T36" fmla="*/ 86 w 228"/>
                  <a:gd name="T37" fmla="*/ 32 h 148"/>
                  <a:gd name="T38" fmla="*/ 96 w 228"/>
                  <a:gd name="T39" fmla="*/ 28 h 148"/>
                  <a:gd name="T40" fmla="*/ 96 w 228"/>
                  <a:gd name="T41" fmla="*/ 28 h 148"/>
                  <a:gd name="T42" fmla="*/ 104 w 228"/>
                  <a:gd name="T43" fmla="*/ 34 h 148"/>
                  <a:gd name="T44" fmla="*/ 106 w 228"/>
                  <a:gd name="T45" fmla="*/ 46 h 148"/>
                  <a:gd name="T46" fmla="*/ 110 w 228"/>
                  <a:gd name="T47" fmla="*/ 54 h 148"/>
                  <a:gd name="T48" fmla="*/ 116 w 228"/>
                  <a:gd name="T49" fmla="*/ 138 h 148"/>
                  <a:gd name="T50" fmla="*/ 130 w 228"/>
                  <a:gd name="T51" fmla="*/ 56 h 148"/>
                  <a:gd name="T52" fmla="*/ 132 w 228"/>
                  <a:gd name="T53" fmla="*/ 48 h 148"/>
                  <a:gd name="T54" fmla="*/ 136 w 228"/>
                  <a:gd name="T55" fmla="*/ 38 h 148"/>
                  <a:gd name="T56" fmla="*/ 144 w 228"/>
                  <a:gd name="T57" fmla="*/ 34 h 148"/>
                  <a:gd name="T58" fmla="*/ 146 w 228"/>
                  <a:gd name="T59" fmla="*/ 34 h 148"/>
                  <a:gd name="T60" fmla="*/ 152 w 228"/>
                  <a:gd name="T61" fmla="*/ 38 h 148"/>
                  <a:gd name="T62" fmla="*/ 154 w 228"/>
                  <a:gd name="T63" fmla="*/ 50 h 148"/>
                  <a:gd name="T64" fmla="*/ 158 w 228"/>
                  <a:gd name="T65" fmla="*/ 58 h 148"/>
                  <a:gd name="T66" fmla="*/ 166 w 228"/>
                  <a:gd name="T67" fmla="*/ 144 h 148"/>
                  <a:gd name="T68" fmla="*/ 180 w 228"/>
                  <a:gd name="T69" fmla="*/ 60 h 148"/>
                  <a:gd name="T70" fmla="*/ 180 w 228"/>
                  <a:gd name="T71" fmla="*/ 52 h 148"/>
                  <a:gd name="T72" fmla="*/ 184 w 228"/>
                  <a:gd name="T73" fmla="*/ 42 h 148"/>
                  <a:gd name="T74" fmla="*/ 192 w 228"/>
                  <a:gd name="T75" fmla="*/ 38 h 148"/>
                  <a:gd name="T76" fmla="*/ 194 w 228"/>
                  <a:gd name="T77" fmla="*/ 38 h 148"/>
                  <a:gd name="T78" fmla="*/ 202 w 228"/>
                  <a:gd name="T79" fmla="*/ 44 h 148"/>
                  <a:gd name="T80" fmla="*/ 204 w 228"/>
                  <a:gd name="T81" fmla="*/ 54 h 148"/>
                  <a:gd name="T82" fmla="*/ 208 w 228"/>
                  <a:gd name="T83" fmla="*/ 64 h 148"/>
                  <a:gd name="T84" fmla="*/ 216 w 228"/>
                  <a:gd name="T85" fmla="*/ 148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8" h="148">
                    <a:moveTo>
                      <a:pt x="228" y="34"/>
                    </a:moveTo>
                    <a:lnTo>
                      <a:pt x="228" y="34"/>
                    </a:lnTo>
                    <a:lnTo>
                      <a:pt x="228" y="28"/>
                    </a:lnTo>
                    <a:lnTo>
                      <a:pt x="226" y="24"/>
                    </a:lnTo>
                    <a:lnTo>
                      <a:pt x="222" y="20"/>
                    </a:lnTo>
                    <a:lnTo>
                      <a:pt x="218" y="18"/>
                    </a:lnTo>
                    <a:lnTo>
                      <a:pt x="28" y="0"/>
                    </a:lnTo>
                    <a:lnTo>
                      <a:pt x="28" y="0"/>
                    </a:lnTo>
                    <a:lnTo>
                      <a:pt x="22" y="2"/>
                    </a:lnTo>
                    <a:lnTo>
                      <a:pt x="18" y="4"/>
                    </a:lnTo>
                    <a:lnTo>
                      <a:pt x="14" y="8"/>
                    </a:lnTo>
                    <a:lnTo>
                      <a:pt x="14" y="14"/>
                    </a:lnTo>
                    <a:lnTo>
                      <a:pt x="0" y="128"/>
                    </a:lnTo>
                    <a:lnTo>
                      <a:pt x="18" y="130"/>
                    </a:lnTo>
                    <a:lnTo>
                      <a:pt x="28" y="46"/>
                    </a:lnTo>
                    <a:lnTo>
                      <a:pt x="32" y="46"/>
                    </a:lnTo>
                    <a:lnTo>
                      <a:pt x="34" y="38"/>
                    </a:lnTo>
                    <a:lnTo>
                      <a:pt x="34" y="38"/>
                    </a:lnTo>
                    <a:lnTo>
                      <a:pt x="34" y="32"/>
                    </a:lnTo>
                    <a:lnTo>
                      <a:pt x="38" y="28"/>
                    </a:lnTo>
                    <a:lnTo>
                      <a:pt x="42" y="24"/>
                    </a:lnTo>
                    <a:lnTo>
                      <a:pt x="46" y="24"/>
                    </a:lnTo>
                    <a:lnTo>
                      <a:pt x="48" y="24"/>
                    </a:lnTo>
                    <a:lnTo>
                      <a:pt x="48" y="24"/>
                    </a:lnTo>
                    <a:lnTo>
                      <a:pt x="52" y="26"/>
                    </a:lnTo>
                    <a:lnTo>
                      <a:pt x="56" y="30"/>
                    </a:lnTo>
                    <a:lnTo>
                      <a:pt x="56" y="34"/>
                    </a:lnTo>
                    <a:lnTo>
                      <a:pt x="58" y="40"/>
                    </a:lnTo>
                    <a:lnTo>
                      <a:pt x="56" y="50"/>
                    </a:lnTo>
                    <a:lnTo>
                      <a:pt x="62" y="50"/>
                    </a:lnTo>
                    <a:lnTo>
                      <a:pt x="52" y="132"/>
                    </a:lnTo>
                    <a:lnTo>
                      <a:pt x="68" y="134"/>
                    </a:lnTo>
                    <a:lnTo>
                      <a:pt x="76" y="52"/>
                    </a:lnTo>
                    <a:lnTo>
                      <a:pt x="82" y="52"/>
                    </a:lnTo>
                    <a:lnTo>
                      <a:pt x="82" y="44"/>
                    </a:lnTo>
                    <a:lnTo>
                      <a:pt x="82" y="44"/>
                    </a:lnTo>
                    <a:lnTo>
                      <a:pt x="84" y="38"/>
                    </a:lnTo>
                    <a:lnTo>
                      <a:pt x="86" y="32"/>
                    </a:lnTo>
                    <a:lnTo>
                      <a:pt x="90" y="30"/>
                    </a:lnTo>
                    <a:lnTo>
                      <a:pt x="96" y="28"/>
                    </a:lnTo>
                    <a:lnTo>
                      <a:pt x="96" y="28"/>
                    </a:lnTo>
                    <a:lnTo>
                      <a:pt x="96" y="28"/>
                    </a:lnTo>
                    <a:lnTo>
                      <a:pt x="100" y="30"/>
                    </a:lnTo>
                    <a:lnTo>
                      <a:pt x="104" y="34"/>
                    </a:lnTo>
                    <a:lnTo>
                      <a:pt x="106" y="40"/>
                    </a:lnTo>
                    <a:lnTo>
                      <a:pt x="106" y="46"/>
                    </a:lnTo>
                    <a:lnTo>
                      <a:pt x="106" y="54"/>
                    </a:lnTo>
                    <a:lnTo>
                      <a:pt x="110" y="54"/>
                    </a:lnTo>
                    <a:lnTo>
                      <a:pt x="102" y="138"/>
                    </a:lnTo>
                    <a:lnTo>
                      <a:pt x="116" y="138"/>
                    </a:lnTo>
                    <a:lnTo>
                      <a:pt x="126" y="56"/>
                    </a:lnTo>
                    <a:lnTo>
                      <a:pt x="130" y="56"/>
                    </a:lnTo>
                    <a:lnTo>
                      <a:pt x="132" y="48"/>
                    </a:lnTo>
                    <a:lnTo>
                      <a:pt x="132" y="48"/>
                    </a:lnTo>
                    <a:lnTo>
                      <a:pt x="132" y="42"/>
                    </a:lnTo>
                    <a:lnTo>
                      <a:pt x="136" y="38"/>
                    </a:lnTo>
                    <a:lnTo>
                      <a:pt x="140" y="34"/>
                    </a:lnTo>
                    <a:lnTo>
                      <a:pt x="144" y="34"/>
                    </a:lnTo>
                    <a:lnTo>
                      <a:pt x="146" y="34"/>
                    </a:lnTo>
                    <a:lnTo>
                      <a:pt x="146" y="34"/>
                    </a:lnTo>
                    <a:lnTo>
                      <a:pt x="150" y="34"/>
                    </a:lnTo>
                    <a:lnTo>
                      <a:pt x="152" y="38"/>
                    </a:lnTo>
                    <a:lnTo>
                      <a:pt x="154" y="44"/>
                    </a:lnTo>
                    <a:lnTo>
                      <a:pt x="154" y="50"/>
                    </a:lnTo>
                    <a:lnTo>
                      <a:pt x="154" y="58"/>
                    </a:lnTo>
                    <a:lnTo>
                      <a:pt x="158" y="58"/>
                    </a:lnTo>
                    <a:lnTo>
                      <a:pt x="150" y="142"/>
                    </a:lnTo>
                    <a:lnTo>
                      <a:pt x="166" y="144"/>
                    </a:lnTo>
                    <a:lnTo>
                      <a:pt x="174" y="60"/>
                    </a:lnTo>
                    <a:lnTo>
                      <a:pt x="180" y="60"/>
                    </a:lnTo>
                    <a:lnTo>
                      <a:pt x="180" y="52"/>
                    </a:lnTo>
                    <a:lnTo>
                      <a:pt x="180" y="52"/>
                    </a:lnTo>
                    <a:lnTo>
                      <a:pt x="182" y="46"/>
                    </a:lnTo>
                    <a:lnTo>
                      <a:pt x="184" y="42"/>
                    </a:lnTo>
                    <a:lnTo>
                      <a:pt x="188" y="38"/>
                    </a:lnTo>
                    <a:lnTo>
                      <a:pt x="192" y="38"/>
                    </a:lnTo>
                    <a:lnTo>
                      <a:pt x="194" y="38"/>
                    </a:lnTo>
                    <a:lnTo>
                      <a:pt x="194" y="38"/>
                    </a:lnTo>
                    <a:lnTo>
                      <a:pt x="198" y="40"/>
                    </a:lnTo>
                    <a:lnTo>
                      <a:pt x="202" y="44"/>
                    </a:lnTo>
                    <a:lnTo>
                      <a:pt x="204" y="48"/>
                    </a:lnTo>
                    <a:lnTo>
                      <a:pt x="204" y="54"/>
                    </a:lnTo>
                    <a:lnTo>
                      <a:pt x="202" y="64"/>
                    </a:lnTo>
                    <a:lnTo>
                      <a:pt x="208" y="64"/>
                    </a:lnTo>
                    <a:lnTo>
                      <a:pt x="198" y="146"/>
                    </a:lnTo>
                    <a:lnTo>
                      <a:pt x="216" y="148"/>
                    </a:lnTo>
                    <a:lnTo>
                      <a:pt x="228" y="3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19" name="Freeform 26">
                <a:extLst>
                  <a:ext uri="{FF2B5EF4-FFF2-40B4-BE49-F238E27FC236}">
                    <a16:creationId xmlns:a16="http://schemas.microsoft.com/office/drawing/2014/main" id="{582300AE-8F6E-44EE-A252-54C1B75C1DC9}"/>
                  </a:ext>
                </a:extLst>
              </p:cNvPr>
              <p:cNvSpPr>
                <a:spLocks/>
              </p:cNvSpPr>
              <p:nvPr/>
            </p:nvSpPr>
            <p:spPr bwMode="auto">
              <a:xfrm>
                <a:off x="8122175" y="6022201"/>
                <a:ext cx="141875" cy="24047"/>
              </a:xfrm>
              <a:custGeom>
                <a:avLst/>
                <a:gdLst>
                  <a:gd name="T0" fmla="*/ 236 w 236"/>
                  <a:gd name="T1" fmla="*/ 32 h 40"/>
                  <a:gd name="T2" fmla="*/ 236 w 236"/>
                  <a:gd name="T3" fmla="*/ 32 h 40"/>
                  <a:gd name="T4" fmla="*/ 236 w 236"/>
                  <a:gd name="T5" fmla="*/ 34 h 40"/>
                  <a:gd name="T6" fmla="*/ 234 w 236"/>
                  <a:gd name="T7" fmla="*/ 38 h 40"/>
                  <a:gd name="T8" fmla="*/ 230 w 236"/>
                  <a:gd name="T9" fmla="*/ 38 h 40"/>
                  <a:gd name="T10" fmla="*/ 228 w 236"/>
                  <a:gd name="T11" fmla="*/ 40 h 40"/>
                  <a:gd name="T12" fmla="*/ 6 w 236"/>
                  <a:gd name="T13" fmla="*/ 18 h 40"/>
                  <a:gd name="T14" fmla="*/ 6 w 236"/>
                  <a:gd name="T15" fmla="*/ 18 h 40"/>
                  <a:gd name="T16" fmla="*/ 4 w 236"/>
                  <a:gd name="T17" fmla="*/ 18 h 40"/>
                  <a:gd name="T18" fmla="*/ 0 w 236"/>
                  <a:gd name="T19" fmla="*/ 16 h 40"/>
                  <a:gd name="T20" fmla="*/ 0 w 236"/>
                  <a:gd name="T21" fmla="*/ 12 h 40"/>
                  <a:gd name="T22" fmla="*/ 0 w 236"/>
                  <a:gd name="T23" fmla="*/ 8 h 40"/>
                  <a:gd name="T24" fmla="*/ 0 w 236"/>
                  <a:gd name="T25" fmla="*/ 8 h 40"/>
                  <a:gd name="T26" fmla="*/ 0 w 236"/>
                  <a:gd name="T27" fmla="*/ 8 h 40"/>
                  <a:gd name="T28" fmla="*/ 0 w 236"/>
                  <a:gd name="T29" fmla="*/ 4 h 40"/>
                  <a:gd name="T30" fmla="*/ 2 w 236"/>
                  <a:gd name="T31" fmla="*/ 2 h 40"/>
                  <a:gd name="T32" fmla="*/ 4 w 236"/>
                  <a:gd name="T33" fmla="*/ 0 h 40"/>
                  <a:gd name="T34" fmla="*/ 8 w 236"/>
                  <a:gd name="T35" fmla="*/ 0 h 40"/>
                  <a:gd name="T36" fmla="*/ 230 w 236"/>
                  <a:gd name="T37" fmla="*/ 22 h 40"/>
                  <a:gd name="T38" fmla="*/ 230 w 236"/>
                  <a:gd name="T39" fmla="*/ 22 h 40"/>
                  <a:gd name="T40" fmla="*/ 232 w 236"/>
                  <a:gd name="T41" fmla="*/ 22 h 40"/>
                  <a:gd name="T42" fmla="*/ 234 w 236"/>
                  <a:gd name="T43" fmla="*/ 24 h 40"/>
                  <a:gd name="T44" fmla="*/ 236 w 236"/>
                  <a:gd name="T45" fmla="*/ 28 h 40"/>
                  <a:gd name="T46" fmla="*/ 236 w 236"/>
                  <a:gd name="T47" fmla="*/ 30 h 40"/>
                  <a:gd name="T48" fmla="*/ 236 w 236"/>
                  <a:gd name="T49"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36" h="40">
                    <a:moveTo>
                      <a:pt x="236" y="32"/>
                    </a:moveTo>
                    <a:lnTo>
                      <a:pt x="236" y="32"/>
                    </a:lnTo>
                    <a:lnTo>
                      <a:pt x="236" y="34"/>
                    </a:lnTo>
                    <a:lnTo>
                      <a:pt x="234" y="38"/>
                    </a:lnTo>
                    <a:lnTo>
                      <a:pt x="230" y="38"/>
                    </a:lnTo>
                    <a:lnTo>
                      <a:pt x="228" y="40"/>
                    </a:lnTo>
                    <a:lnTo>
                      <a:pt x="6" y="18"/>
                    </a:lnTo>
                    <a:lnTo>
                      <a:pt x="6" y="18"/>
                    </a:lnTo>
                    <a:lnTo>
                      <a:pt x="4" y="18"/>
                    </a:lnTo>
                    <a:lnTo>
                      <a:pt x="0" y="16"/>
                    </a:lnTo>
                    <a:lnTo>
                      <a:pt x="0" y="12"/>
                    </a:lnTo>
                    <a:lnTo>
                      <a:pt x="0" y="8"/>
                    </a:lnTo>
                    <a:lnTo>
                      <a:pt x="0" y="8"/>
                    </a:lnTo>
                    <a:lnTo>
                      <a:pt x="0" y="8"/>
                    </a:lnTo>
                    <a:lnTo>
                      <a:pt x="0" y="4"/>
                    </a:lnTo>
                    <a:lnTo>
                      <a:pt x="2" y="2"/>
                    </a:lnTo>
                    <a:lnTo>
                      <a:pt x="4" y="0"/>
                    </a:lnTo>
                    <a:lnTo>
                      <a:pt x="8" y="0"/>
                    </a:lnTo>
                    <a:lnTo>
                      <a:pt x="230" y="22"/>
                    </a:lnTo>
                    <a:lnTo>
                      <a:pt x="230" y="22"/>
                    </a:lnTo>
                    <a:lnTo>
                      <a:pt x="232" y="22"/>
                    </a:lnTo>
                    <a:lnTo>
                      <a:pt x="234" y="24"/>
                    </a:lnTo>
                    <a:lnTo>
                      <a:pt x="236" y="28"/>
                    </a:lnTo>
                    <a:lnTo>
                      <a:pt x="236" y="30"/>
                    </a:lnTo>
                    <a:lnTo>
                      <a:pt x="236" y="3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0" name="Freeform 27">
                <a:extLst>
                  <a:ext uri="{FF2B5EF4-FFF2-40B4-BE49-F238E27FC236}">
                    <a16:creationId xmlns:a16="http://schemas.microsoft.com/office/drawing/2014/main" id="{C023BBF0-2DD9-4731-B27F-025530161E2C}"/>
                  </a:ext>
                </a:extLst>
              </p:cNvPr>
              <p:cNvSpPr>
                <a:spLocks/>
              </p:cNvSpPr>
              <p:nvPr/>
            </p:nvSpPr>
            <p:spPr bwMode="auto">
              <a:xfrm>
                <a:off x="8094522" y="6099151"/>
                <a:ext cx="165921" cy="115424"/>
              </a:xfrm>
              <a:custGeom>
                <a:avLst/>
                <a:gdLst>
                  <a:gd name="T0" fmla="*/ 276 w 276"/>
                  <a:gd name="T1" fmla="*/ 40 h 192"/>
                  <a:gd name="T2" fmla="*/ 272 w 276"/>
                  <a:gd name="T3" fmla="*/ 28 h 192"/>
                  <a:gd name="T4" fmla="*/ 262 w 276"/>
                  <a:gd name="T5" fmla="*/ 22 h 192"/>
                  <a:gd name="T6" fmla="*/ 34 w 276"/>
                  <a:gd name="T7" fmla="*/ 0 h 192"/>
                  <a:gd name="T8" fmla="*/ 22 w 276"/>
                  <a:gd name="T9" fmla="*/ 4 h 192"/>
                  <a:gd name="T10" fmla="*/ 16 w 276"/>
                  <a:gd name="T11" fmla="*/ 16 h 192"/>
                  <a:gd name="T12" fmla="*/ 20 w 276"/>
                  <a:gd name="T13" fmla="*/ 170 h 192"/>
                  <a:gd name="T14" fmla="*/ 40 w 276"/>
                  <a:gd name="T15" fmla="*/ 56 h 192"/>
                  <a:gd name="T16" fmla="*/ 40 w 276"/>
                  <a:gd name="T17" fmla="*/ 44 h 192"/>
                  <a:gd name="T18" fmla="*/ 46 w 276"/>
                  <a:gd name="T19" fmla="*/ 32 h 192"/>
                  <a:gd name="T20" fmla="*/ 56 w 276"/>
                  <a:gd name="T21" fmla="*/ 28 h 192"/>
                  <a:gd name="T22" fmla="*/ 58 w 276"/>
                  <a:gd name="T23" fmla="*/ 28 h 192"/>
                  <a:gd name="T24" fmla="*/ 66 w 276"/>
                  <a:gd name="T25" fmla="*/ 34 h 192"/>
                  <a:gd name="T26" fmla="*/ 68 w 276"/>
                  <a:gd name="T27" fmla="*/ 48 h 192"/>
                  <a:gd name="T28" fmla="*/ 74 w 276"/>
                  <a:gd name="T29" fmla="*/ 58 h 192"/>
                  <a:gd name="T30" fmla="*/ 80 w 276"/>
                  <a:gd name="T31" fmla="*/ 176 h 192"/>
                  <a:gd name="T32" fmla="*/ 98 w 276"/>
                  <a:gd name="T33" fmla="*/ 60 h 192"/>
                  <a:gd name="T34" fmla="*/ 98 w 276"/>
                  <a:gd name="T35" fmla="*/ 50 h 192"/>
                  <a:gd name="T36" fmla="*/ 104 w 276"/>
                  <a:gd name="T37" fmla="*/ 38 h 192"/>
                  <a:gd name="T38" fmla="*/ 114 w 276"/>
                  <a:gd name="T39" fmla="*/ 32 h 192"/>
                  <a:gd name="T40" fmla="*/ 116 w 276"/>
                  <a:gd name="T41" fmla="*/ 34 h 192"/>
                  <a:gd name="T42" fmla="*/ 124 w 276"/>
                  <a:gd name="T43" fmla="*/ 40 h 192"/>
                  <a:gd name="T44" fmla="*/ 128 w 276"/>
                  <a:gd name="T45" fmla="*/ 54 h 192"/>
                  <a:gd name="T46" fmla="*/ 132 w 276"/>
                  <a:gd name="T47" fmla="*/ 64 h 192"/>
                  <a:gd name="T48" fmla="*/ 138 w 276"/>
                  <a:gd name="T49" fmla="*/ 182 h 192"/>
                  <a:gd name="T50" fmla="*/ 156 w 276"/>
                  <a:gd name="T51" fmla="*/ 66 h 192"/>
                  <a:gd name="T52" fmla="*/ 158 w 276"/>
                  <a:gd name="T53" fmla="*/ 56 h 192"/>
                  <a:gd name="T54" fmla="*/ 164 w 276"/>
                  <a:gd name="T55" fmla="*/ 44 h 192"/>
                  <a:gd name="T56" fmla="*/ 174 w 276"/>
                  <a:gd name="T57" fmla="*/ 38 h 192"/>
                  <a:gd name="T58" fmla="*/ 174 w 276"/>
                  <a:gd name="T59" fmla="*/ 38 h 192"/>
                  <a:gd name="T60" fmla="*/ 184 w 276"/>
                  <a:gd name="T61" fmla="*/ 46 h 192"/>
                  <a:gd name="T62" fmla="*/ 186 w 276"/>
                  <a:gd name="T63" fmla="*/ 58 h 192"/>
                  <a:gd name="T64" fmla="*/ 192 w 276"/>
                  <a:gd name="T65" fmla="*/ 70 h 192"/>
                  <a:gd name="T66" fmla="*/ 196 w 276"/>
                  <a:gd name="T67" fmla="*/ 186 h 192"/>
                  <a:gd name="T68" fmla="*/ 216 w 276"/>
                  <a:gd name="T69" fmla="*/ 72 h 192"/>
                  <a:gd name="T70" fmla="*/ 216 w 276"/>
                  <a:gd name="T71" fmla="*/ 62 h 192"/>
                  <a:gd name="T72" fmla="*/ 222 w 276"/>
                  <a:gd name="T73" fmla="*/ 48 h 192"/>
                  <a:gd name="T74" fmla="*/ 232 w 276"/>
                  <a:gd name="T75" fmla="*/ 44 h 192"/>
                  <a:gd name="T76" fmla="*/ 234 w 276"/>
                  <a:gd name="T77" fmla="*/ 44 h 192"/>
                  <a:gd name="T78" fmla="*/ 242 w 276"/>
                  <a:gd name="T79" fmla="*/ 50 h 192"/>
                  <a:gd name="T80" fmla="*/ 246 w 276"/>
                  <a:gd name="T81" fmla="*/ 64 h 192"/>
                  <a:gd name="T82" fmla="*/ 250 w 276"/>
                  <a:gd name="T83" fmla="*/ 74 h 192"/>
                  <a:gd name="T84" fmla="*/ 258 w 276"/>
                  <a:gd name="T8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6" h="192">
                    <a:moveTo>
                      <a:pt x="276" y="40"/>
                    </a:moveTo>
                    <a:lnTo>
                      <a:pt x="276" y="40"/>
                    </a:lnTo>
                    <a:lnTo>
                      <a:pt x="274" y="34"/>
                    </a:lnTo>
                    <a:lnTo>
                      <a:pt x="272" y="28"/>
                    </a:lnTo>
                    <a:lnTo>
                      <a:pt x="268" y="24"/>
                    </a:lnTo>
                    <a:lnTo>
                      <a:pt x="262" y="22"/>
                    </a:lnTo>
                    <a:lnTo>
                      <a:pt x="34" y="0"/>
                    </a:lnTo>
                    <a:lnTo>
                      <a:pt x="34" y="0"/>
                    </a:lnTo>
                    <a:lnTo>
                      <a:pt x="28" y="0"/>
                    </a:lnTo>
                    <a:lnTo>
                      <a:pt x="22" y="4"/>
                    </a:lnTo>
                    <a:lnTo>
                      <a:pt x="18" y="8"/>
                    </a:lnTo>
                    <a:lnTo>
                      <a:pt x="16" y="16"/>
                    </a:lnTo>
                    <a:lnTo>
                      <a:pt x="0" y="168"/>
                    </a:lnTo>
                    <a:lnTo>
                      <a:pt x="20" y="170"/>
                    </a:lnTo>
                    <a:lnTo>
                      <a:pt x="34" y="54"/>
                    </a:lnTo>
                    <a:lnTo>
                      <a:pt x="40" y="56"/>
                    </a:lnTo>
                    <a:lnTo>
                      <a:pt x="40" y="44"/>
                    </a:lnTo>
                    <a:lnTo>
                      <a:pt x="40" y="44"/>
                    </a:lnTo>
                    <a:lnTo>
                      <a:pt x="42" y="38"/>
                    </a:lnTo>
                    <a:lnTo>
                      <a:pt x="46" y="32"/>
                    </a:lnTo>
                    <a:lnTo>
                      <a:pt x="50" y="28"/>
                    </a:lnTo>
                    <a:lnTo>
                      <a:pt x="56" y="28"/>
                    </a:lnTo>
                    <a:lnTo>
                      <a:pt x="58" y="28"/>
                    </a:lnTo>
                    <a:lnTo>
                      <a:pt x="58" y="28"/>
                    </a:lnTo>
                    <a:lnTo>
                      <a:pt x="62" y="30"/>
                    </a:lnTo>
                    <a:lnTo>
                      <a:pt x="66" y="34"/>
                    </a:lnTo>
                    <a:lnTo>
                      <a:pt x="68" y="40"/>
                    </a:lnTo>
                    <a:lnTo>
                      <a:pt x="68" y="48"/>
                    </a:lnTo>
                    <a:lnTo>
                      <a:pt x="68" y="58"/>
                    </a:lnTo>
                    <a:lnTo>
                      <a:pt x="74" y="58"/>
                    </a:lnTo>
                    <a:lnTo>
                      <a:pt x="62" y="174"/>
                    </a:lnTo>
                    <a:lnTo>
                      <a:pt x="80" y="176"/>
                    </a:lnTo>
                    <a:lnTo>
                      <a:pt x="92" y="60"/>
                    </a:lnTo>
                    <a:lnTo>
                      <a:pt x="98" y="60"/>
                    </a:lnTo>
                    <a:lnTo>
                      <a:pt x="98" y="50"/>
                    </a:lnTo>
                    <a:lnTo>
                      <a:pt x="98" y="50"/>
                    </a:lnTo>
                    <a:lnTo>
                      <a:pt x="100" y="44"/>
                    </a:lnTo>
                    <a:lnTo>
                      <a:pt x="104" y="38"/>
                    </a:lnTo>
                    <a:lnTo>
                      <a:pt x="110" y="34"/>
                    </a:lnTo>
                    <a:lnTo>
                      <a:pt x="114" y="32"/>
                    </a:lnTo>
                    <a:lnTo>
                      <a:pt x="116" y="34"/>
                    </a:lnTo>
                    <a:lnTo>
                      <a:pt x="116" y="34"/>
                    </a:lnTo>
                    <a:lnTo>
                      <a:pt x="122" y="36"/>
                    </a:lnTo>
                    <a:lnTo>
                      <a:pt x="124" y="40"/>
                    </a:lnTo>
                    <a:lnTo>
                      <a:pt x="128" y="46"/>
                    </a:lnTo>
                    <a:lnTo>
                      <a:pt x="128" y="54"/>
                    </a:lnTo>
                    <a:lnTo>
                      <a:pt x="126" y="64"/>
                    </a:lnTo>
                    <a:lnTo>
                      <a:pt x="132" y="64"/>
                    </a:lnTo>
                    <a:lnTo>
                      <a:pt x="120" y="180"/>
                    </a:lnTo>
                    <a:lnTo>
                      <a:pt x="138" y="182"/>
                    </a:lnTo>
                    <a:lnTo>
                      <a:pt x="150" y="66"/>
                    </a:lnTo>
                    <a:lnTo>
                      <a:pt x="156" y="66"/>
                    </a:lnTo>
                    <a:lnTo>
                      <a:pt x="158" y="56"/>
                    </a:lnTo>
                    <a:lnTo>
                      <a:pt x="158" y="56"/>
                    </a:lnTo>
                    <a:lnTo>
                      <a:pt x="160" y="48"/>
                    </a:lnTo>
                    <a:lnTo>
                      <a:pt x="164" y="44"/>
                    </a:lnTo>
                    <a:lnTo>
                      <a:pt x="168" y="40"/>
                    </a:lnTo>
                    <a:lnTo>
                      <a:pt x="174" y="38"/>
                    </a:lnTo>
                    <a:lnTo>
                      <a:pt x="174" y="38"/>
                    </a:lnTo>
                    <a:lnTo>
                      <a:pt x="174" y="38"/>
                    </a:lnTo>
                    <a:lnTo>
                      <a:pt x="180" y="40"/>
                    </a:lnTo>
                    <a:lnTo>
                      <a:pt x="184" y="46"/>
                    </a:lnTo>
                    <a:lnTo>
                      <a:pt x="186" y="52"/>
                    </a:lnTo>
                    <a:lnTo>
                      <a:pt x="186" y="58"/>
                    </a:lnTo>
                    <a:lnTo>
                      <a:pt x="186" y="68"/>
                    </a:lnTo>
                    <a:lnTo>
                      <a:pt x="192" y="70"/>
                    </a:lnTo>
                    <a:lnTo>
                      <a:pt x="178" y="186"/>
                    </a:lnTo>
                    <a:lnTo>
                      <a:pt x="196" y="186"/>
                    </a:lnTo>
                    <a:lnTo>
                      <a:pt x="210" y="72"/>
                    </a:lnTo>
                    <a:lnTo>
                      <a:pt x="216" y="72"/>
                    </a:lnTo>
                    <a:lnTo>
                      <a:pt x="216" y="62"/>
                    </a:lnTo>
                    <a:lnTo>
                      <a:pt x="216" y="62"/>
                    </a:lnTo>
                    <a:lnTo>
                      <a:pt x="218" y="54"/>
                    </a:lnTo>
                    <a:lnTo>
                      <a:pt x="222" y="48"/>
                    </a:lnTo>
                    <a:lnTo>
                      <a:pt x="226" y="46"/>
                    </a:lnTo>
                    <a:lnTo>
                      <a:pt x="232" y="44"/>
                    </a:lnTo>
                    <a:lnTo>
                      <a:pt x="234" y="44"/>
                    </a:lnTo>
                    <a:lnTo>
                      <a:pt x="234" y="44"/>
                    </a:lnTo>
                    <a:lnTo>
                      <a:pt x="238" y="46"/>
                    </a:lnTo>
                    <a:lnTo>
                      <a:pt x="242" y="50"/>
                    </a:lnTo>
                    <a:lnTo>
                      <a:pt x="244" y="56"/>
                    </a:lnTo>
                    <a:lnTo>
                      <a:pt x="246" y="64"/>
                    </a:lnTo>
                    <a:lnTo>
                      <a:pt x="244" y="74"/>
                    </a:lnTo>
                    <a:lnTo>
                      <a:pt x="250" y="74"/>
                    </a:lnTo>
                    <a:lnTo>
                      <a:pt x="238" y="190"/>
                    </a:lnTo>
                    <a:lnTo>
                      <a:pt x="258" y="192"/>
                    </a:lnTo>
                    <a:lnTo>
                      <a:pt x="276" y="4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1" name="Freeform 28">
                <a:extLst>
                  <a:ext uri="{FF2B5EF4-FFF2-40B4-BE49-F238E27FC236}">
                    <a16:creationId xmlns:a16="http://schemas.microsoft.com/office/drawing/2014/main" id="{DB3A1BF0-171E-4CA7-AA4C-F14E3D623043}"/>
                  </a:ext>
                </a:extLst>
              </p:cNvPr>
              <p:cNvSpPr>
                <a:spLocks/>
              </p:cNvSpPr>
              <p:nvPr/>
            </p:nvSpPr>
            <p:spPr bwMode="auto">
              <a:xfrm>
                <a:off x="8096926" y="6095544"/>
                <a:ext cx="171933" cy="27654"/>
              </a:xfrm>
              <a:custGeom>
                <a:avLst/>
                <a:gdLst>
                  <a:gd name="T0" fmla="*/ 286 w 286"/>
                  <a:gd name="T1" fmla="*/ 38 h 46"/>
                  <a:gd name="T2" fmla="*/ 286 w 286"/>
                  <a:gd name="T3" fmla="*/ 38 h 46"/>
                  <a:gd name="T4" fmla="*/ 284 w 286"/>
                  <a:gd name="T5" fmla="*/ 42 h 46"/>
                  <a:gd name="T6" fmla="*/ 282 w 286"/>
                  <a:gd name="T7" fmla="*/ 44 h 46"/>
                  <a:gd name="T8" fmla="*/ 278 w 286"/>
                  <a:gd name="T9" fmla="*/ 46 h 46"/>
                  <a:gd name="T10" fmla="*/ 274 w 286"/>
                  <a:gd name="T11" fmla="*/ 46 h 46"/>
                  <a:gd name="T12" fmla="*/ 8 w 286"/>
                  <a:gd name="T13" fmla="*/ 22 h 46"/>
                  <a:gd name="T14" fmla="*/ 8 w 286"/>
                  <a:gd name="T15" fmla="*/ 22 h 46"/>
                  <a:gd name="T16" fmla="*/ 4 w 286"/>
                  <a:gd name="T17" fmla="*/ 20 h 46"/>
                  <a:gd name="T18" fmla="*/ 2 w 286"/>
                  <a:gd name="T19" fmla="*/ 18 h 46"/>
                  <a:gd name="T20" fmla="*/ 0 w 286"/>
                  <a:gd name="T21" fmla="*/ 14 h 46"/>
                  <a:gd name="T22" fmla="*/ 0 w 286"/>
                  <a:gd name="T23" fmla="*/ 10 h 46"/>
                  <a:gd name="T24" fmla="*/ 0 w 286"/>
                  <a:gd name="T25" fmla="*/ 10 h 46"/>
                  <a:gd name="T26" fmla="*/ 0 w 286"/>
                  <a:gd name="T27" fmla="*/ 10 h 46"/>
                  <a:gd name="T28" fmla="*/ 2 w 286"/>
                  <a:gd name="T29" fmla="*/ 6 h 46"/>
                  <a:gd name="T30" fmla="*/ 4 w 286"/>
                  <a:gd name="T31" fmla="*/ 2 h 46"/>
                  <a:gd name="T32" fmla="*/ 6 w 286"/>
                  <a:gd name="T33" fmla="*/ 0 h 46"/>
                  <a:gd name="T34" fmla="*/ 10 w 286"/>
                  <a:gd name="T35" fmla="*/ 0 h 46"/>
                  <a:gd name="T36" fmla="*/ 278 w 286"/>
                  <a:gd name="T37" fmla="*/ 26 h 46"/>
                  <a:gd name="T38" fmla="*/ 278 w 286"/>
                  <a:gd name="T39" fmla="*/ 26 h 46"/>
                  <a:gd name="T40" fmla="*/ 280 w 286"/>
                  <a:gd name="T41" fmla="*/ 26 h 46"/>
                  <a:gd name="T42" fmla="*/ 284 w 286"/>
                  <a:gd name="T43" fmla="*/ 28 h 46"/>
                  <a:gd name="T44" fmla="*/ 286 w 286"/>
                  <a:gd name="T45" fmla="*/ 32 h 46"/>
                  <a:gd name="T46" fmla="*/ 286 w 286"/>
                  <a:gd name="T47" fmla="*/ 36 h 46"/>
                  <a:gd name="T48" fmla="*/ 286 w 286"/>
                  <a:gd name="T49" fmla="*/ 3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46">
                    <a:moveTo>
                      <a:pt x="286" y="38"/>
                    </a:moveTo>
                    <a:lnTo>
                      <a:pt x="286" y="38"/>
                    </a:lnTo>
                    <a:lnTo>
                      <a:pt x="284" y="42"/>
                    </a:lnTo>
                    <a:lnTo>
                      <a:pt x="282" y="44"/>
                    </a:lnTo>
                    <a:lnTo>
                      <a:pt x="278" y="46"/>
                    </a:lnTo>
                    <a:lnTo>
                      <a:pt x="274" y="46"/>
                    </a:lnTo>
                    <a:lnTo>
                      <a:pt x="8" y="22"/>
                    </a:lnTo>
                    <a:lnTo>
                      <a:pt x="8" y="22"/>
                    </a:lnTo>
                    <a:lnTo>
                      <a:pt x="4" y="20"/>
                    </a:lnTo>
                    <a:lnTo>
                      <a:pt x="2" y="18"/>
                    </a:lnTo>
                    <a:lnTo>
                      <a:pt x="0" y="14"/>
                    </a:lnTo>
                    <a:lnTo>
                      <a:pt x="0" y="10"/>
                    </a:lnTo>
                    <a:lnTo>
                      <a:pt x="0" y="10"/>
                    </a:lnTo>
                    <a:lnTo>
                      <a:pt x="0" y="10"/>
                    </a:lnTo>
                    <a:lnTo>
                      <a:pt x="2" y="6"/>
                    </a:lnTo>
                    <a:lnTo>
                      <a:pt x="4" y="2"/>
                    </a:lnTo>
                    <a:lnTo>
                      <a:pt x="6" y="0"/>
                    </a:lnTo>
                    <a:lnTo>
                      <a:pt x="10" y="0"/>
                    </a:lnTo>
                    <a:lnTo>
                      <a:pt x="278" y="26"/>
                    </a:lnTo>
                    <a:lnTo>
                      <a:pt x="278" y="26"/>
                    </a:lnTo>
                    <a:lnTo>
                      <a:pt x="280" y="26"/>
                    </a:lnTo>
                    <a:lnTo>
                      <a:pt x="284" y="28"/>
                    </a:lnTo>
                    <a:lnTo>
                      <a:pt x="286" y="32"/>
                    </a:lnTo>
                    <a:lnTo>
                      <a:pt x="286" y="36"/>
                    </a:lnTo>
                    <a:lnTo>
                      <a:pt x="286" y="38"/>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2" name="Freeform 29">
                <a:extLst>
                  <a:ext uri="{FF2B5EF4-FFF2-40B4-BE49-F238E27FC236}">
                    <a16:creationId xmlns:a16="http://schemas.microsoft.com/office/drawing/2014/main" id="{3A0D9F9B-FCF0-4115-A0AD-7B81A5763E22}"/>
                  </a:ext>
                </a:extLst>
              </p:cNvPr>
              <p:cNvSpPr>
                <a:spLocks/>
              </p:cNvSpPr>
              <p:nvPr/>
            </p:nvSpPr>
            <p:spPr bwMode="auto">
              <a:xfrm>
                <a:off x="8083701" y="6190528"/>
                <a:ext cx="165921" cy="116626"/>
              </a:xfrm>
              <a:custGeom>
                <a:avLst/>
                <a:gdLst>
                  <a:gd name="T0" fmla="*/ 276 w 276"/>
                  <a:gd name="T1" fmla="*/ 42 h 194"/>
                  <a:gd name="T2" fmla="*/ 274 w 276"/>
                  <a:gd name="T3" fmla="*/ 28 h 194"/>
                  <a:gd name="T4" fmla="*/ 262 w 276"/>
                  <a:gd name="T5" fmla="*/ 22 h 194"/>
                  <a:gd name="T6" fmla="*/ 34 w 276"/>
                  <a:gd name="T7" fmla="*/ 0 h 194"/>
                  <a:gd name="T8" fmla="*/ 22 w 276"/>
                  <a:gd name="T9" fmla="*/ 4 h 194"/>
                  <a:gd name="T10" fmla="*/ 18 w 276"/>
                  <a:gd name="T11" fmla="*/ 16 h 194"/>
                  <a:gd name="T12" fmla="*/ 22 w 276"/>
                  <a:gd name="T13" fmla="*/ 172 h 194"/>
                  <a:gd name="T14" fmla="*/ 40 w 276"/>
                  <a:gd name="T15" fmla="*/ 56 h 194"/>
                  <a:gd name="T16" fmla="*/ 42 w 276"/>
                  <a:gd name="T17" fmla="*/ 46 h 194"/>
                  <a:gd name="T18" fmla="*/ 46 w 276"/>
                  <a:gd name="T19" fmla="*/ 34 h 194"/>
                  <a:gd name="T20" fmla="*/ 58 w 276"/>
                  <a:gd name="T21" fmla="*/ 28 h 194"/>
                  <a:gd name="T22" fmla="*/ 58 w 276"/>
                  <a:gd name="T23" fmla="*/ 28 h 194"/>
                  <a:gd name="T24" fmla="*/ 68 w 276"/>
                  <a:gd name="T25" fmla="*/ 36 h 194"/>
                  <a:gd name="T26" fmla="*/ 70 w 276"/>
                  <a:gd name="T27" fmla="*/ 48 h 194"/>
                  <a:gd name="T28" fmla="*/ 76 w 276"/>
                  <a:gd name="T29" fmla="*/ 60 h 194"/>
                  <a:gd name="T30" fmla="*/ 80 w 276"/>
                  <a:gd name="T31" fmla="*/ 176 h 194"/>
                  <a:gd name="T32" fmla="*/ 100 w 276"/>
                  <a:gd name="T33" fmla="*/ 62 h 194"/>
                  <a:gd name="T34" fmla="*/ 100 w 276"/>
                  <a:gd name="T35" fmla="*/ 52 h 194"/>
                  <a:gd name="T36" fmla="*/ 106 w 276"/>
                  <a:gd name="T37" fmla="*/ 38 h 194"/>
                  <a:gd name="T38" fmla="*/ 116 w 276"/>
                  <a:gd name="T39" fmla="*/ 34 h 194"/>
                  <a:gd name="T40" fmla="*/ 118 w 276"/>
                  <a:gd name="T41" fmla="*/ 34 h 194"/>
                  <a:gd name="T42" fmla="*/ 126 w 276"/>
                  <a:gd name="T43" fmla="*/ 40 h 194"/>
                  <a:gd name="T44" fmla="*/ 128 w 276"/>
                  <a:gd name="T45" fmla="*/ 54 h 194"/>
                  <a:gd name="T46" fmla="*/ 134 w 276"/>
                  <a:gd name="T47" fmla="*/ 64 h 194"/>
                  <a:gd name="T48" fmla="*/ 140 w 276"/>
                  <a:gd name="T49" fmla="*/ 182 h 194"/>
                  <a:gd name="T50" fmla="*/ 158 w 276"/>
                  <a:gd name="T51" fmla="*/ 68 h 194"/>
                  <a:gd name="T52" fmla="*/ 160 w 276"/>
                  <a:gd name="T53" fmla="*/ 58 h 194"/>
                  <a:gd name="T54" fmla="*/ 164 w 276"/>
                  <a:gd name="T55" fmla="*/ 44 h 194"/>
                  <a:gd name="T56" fmla="*/ 174 w 276"/>
                  <a:gd name="T57" fmla="*/ 40 h 194"/>
                  <a:gd name="T58" fmla="*/ 176 w 276"/>
                  <a:gd name="T59" fmla="*/ 40 h 194"/>
                  <a:gd name="T60" fmla="*/ 186 w 276"/>
                  <a:gd name="T61" fmla="*/ 46 h 194"/>
                  <a:gd name="T62" fmla="*/ 188 w 276"/>
                  <a:gd name="T63" fmla="*/ 60 h 194"/>
                  <a:gd name="T64" fmla="*/ 192 w 276"/>
                  <a:gd name="T65" fmla="*/ 70 h 194"/>
                  <a:gd name="T66" fmla="*/ 198 w 276"/>
                  <a:gd name="T67" fmla="*/ 188 h 194"/>
                  <a:gd name="T68" fmla="*/ 216 w 276"/>
                  <a:gd name="T69" fmla="*/ 72 h 194"/>
                  <a:gd name="T70" fmla="*/ 218 w 276"/>
                  <a:gd name="T71" fmla="*/ 62 h 194"/>
                  <a:gd name="T72" fmla="*/ 224 w 276"/>
                  <a:gd name="T73" fmla="*/ 50 h 194"/>
                  <a:gd name="T74" fmla="*/ 234 w 276"/>
                  <a:gd name="T75" fmla="*/ 46 h 194"/>
                  <a:gd name="T76" fmla="*/ 234 w 276"/>
                  <a:gd name="T77" fmla="*/ 46 h 194"/>
                  <a:gd name="T78" fmla="*/ 244 w 276"/>
                  <a:gd name="T79" fmla="*/ 52 h 194"/>
                  <a:gd name="T80" fmla="*/ 246 w 276"/>
                  <a:gd name="T81" fmla="*/ 66 h 194"/>
                  <a:gd name="T82" fmla="*/ 252 w 276"/>
                  <a:gd name="T83" fmla="*/ 76 h 194"/>
                  <a:gd name="T84" fmla="*/ 260 w 276"/>
                  <a:gd name="T85" fmla="*/ 194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6" h="194">
                    <a:moveTo>
                      <a:pt x="276" y="42"/>
                    </a:moveTo>
                    <a:lnTo>
                      <a:pt x="276" y="42"/>
                    </a:lnTo>
                    <a:lnTo>
                      <a:pt x="276" y="34"/>
                    </a:lnTo>
                    <a:lnTo>
                      <a:pt x="274" y="28"/>
                    </a:lnTo>
                    <a:lnTo>
                      <a:pt x="268" y="24"/>
                    </a:lnTo>
                    <a:lnTo>
                      <a:pt x="262" y="22"/>
                    </a:lnTo>
                    <a:lnTo>
                      <a:pt x="34" y="0"/>
                    </a:lnTo>
                    <a:lnTo>
                      <a:pt x="34" y="0"/>
                    </a:lnTo>
                    <a:lnTo>
                      <a:pt x="28" y="2"/>
                    </a:lnTo>
                    <a:lnTo>
                      <a:pt x="22" y="4"/>
                    </a:lnTo>
                    <a:lnTo>
                      <a:pt x="20" y="10"/>
                    </a:lnTo>
                    <a:lnTo>
                      <a:pt x="18" y="16"/>
                    </a:lnTo>
                    <a:lnTo>
                      <a:pt x="0" y="170"/>
                    </a:lnTo>
                    <a:lnTo>
                      <a:pt x="22" y="172"/>
                    </a:lnTo>
                    <a:lnTo>
                      <a:pt x="34" y="56"/>
                    </a:lnTo>
                    <a:lnTo>
                      <a:pt x="40" y="56"/>
                    </a:lnTo>
                    <a:lnTo>
                      <a:pt x="42" y="46"/>
                    </a:lnTo>
                    <a:lnTo>
                      <a:pt x="42" y="46"/>
                    </a:lnTo>
                    <a:lnTo>
                      <a:pt x="44" y="38"/>
                    </a:lnTo>
                    <a:lnTo>
                      <a:pt x="46" y="34"/>
                    </a:lnTo>
                    <a:lnTo>
                      <a:pt x="52" y="30"/>
                    </a:lnTo>
                    <a:lnTo>
                      <a:pt x="58" y="28"/>
                    </a:lnTo>
                    <a:lnTo>
                      <a:pt x="58" y="28"/>
                    </a:lnTo>
                    <a:lnTo>
                      <a:pt x="58" y="28"/>
                    </a:lnTo>
                    <a:lnTo>
                      <a:pt x="64" y="30"/>
                    </a:lnTo>
                    <a:lnTo>
                      <a:pt x="68" y="36"/>
                    </a:lnTo>
                    <a:lnTo>
                      <a:pt x="70" y="42"/>
                    </a:lnTo>
                    <a:lnTo>
                      <a:pt x="70" y="48"/>
                    </a:lnTo>
                    <a:lnTo>
                      <a:pt x="68" y="58"/>
                    </a:lnTo>
                    <a:lnTo>
                      <a:pt x="76" y="60"/>
                    </a:lnTo>
                    <a:lnTo>
                      <a:pt x="62" y="176"/>
                    </a:lnTo>
                    <a:lnTo>
                      <a:pt x="80" y="176"/>
                    </a:lnTo>
                    <a:lnTo>
                      <a:pt x="94" y="62"/>
                    </a:lnTo>
                    <a:lnTo>
                      <a:pt x="100" y="62"/>
                    </a:lnTo>
                    <a:lnTo>
                      <a:pt x="100" y="52"/>
                    </a:lnTo>
                    <a:lnTo>
                      <a:pt x="100" y="52"/>
                    </a:lnTo>
                    <a:lnTo>
                      <a:pt x="102" y="44"/>
                    </a:lnTo>
                    <a:lnTo>
                      <a:pt x="106" y="38"/>
                    </a:lnTo>
                    <a:lnTo>
                      <a:pt x="110" y="34"/>
                    </a:lnTo>
                    <a:lnTo>
                      <a:pt x="116" y="34"/>
                    </a:lnTo>
                    <a:lnTo>
                      <a:pt x="118" y="34"/>
                    </a:lnTo>
                    <a:lnTo>
                      <a:pt x="118" y="34"/>
                    </a:lnTo>
                    <a:lnTo>
                      <a:pt x="122" y="36"/>
                    </a:lnTo>
                    <a:lnTo>
                      <a:pt x="126" y="40"/>
                    </a:lnTo>
                    <a:lnTo>
                      <a:pt x="128" y="46"/>
                    </a:lnTo>
                    <a:lnTo>
                      <a:pt x="128" y="54"/>
                    </a:lnTo>
                    <a:lnTo>
                      <a:pt x="128" y="64"/>
                    </a:lnTo>
                    <a:lnTo>
                      <a:pt x="134" y="64"/>
                    </a:lnTo>
                    <a:lnTo>
                      <a:pt x="122" y="180"/>
                    </a:lnTo>
                    <a:lnTo>
                      <a:pt x="140" y="182"/>
                    </a:lnTo>
                    <a:lnTo>
                      <a:pt x="152" y="66"/>
                    </a:lnTo>
                    <a:lnTo>
                      <a:pt x="158" y="68"/>
                    </a:lnTo>
                    <a:lnTo>
                      <a:pt x="160" y="58"/>
                    </a:lnTo>
                    <a:lnTo>
                      <a:pt x="160" y="58"/>
                    </a:lnTo>
                    <a:lnTo>
                      <a:pt x="160" y="50"/>
                    </a:lnTo>
                    <a:lnTo>
                      <a:pt x="164" y="44"/>
                    </a:lnTo>
                    <a:lnTo>
                      <a:pt x="170" y="40"/>
                    </a:lnTo>
                    <a:lnTo>
                      <a:pt x="174" y="40"/>
                    </a:lnTo>
                    <a:lnTo>
                      <a:pt x="176" y="40"/>
                    </a:lnTo>
                    <a:lnTo>
                      <a:pt x="176" y="40"/>
                    </a:lnTo>
                    <a:lnTo>
                      <a:pt x="182" y="42"/>
                    </a:lnTo>
                    <a:lnTo>
                      <a:pt x="186" y="46"/>
                    </a:lnTo>
                    <a:lnTo>
                      <a:pt x="188" y="52"/>
                    </a:lnTo>
                    <a:lnTo>
                      <a:pt x="188" y="60"/>
                    </a:lnTo>
                    <a:lnTo>
                      <a:pt x="186" y="70"/>
                    </a:lnTo>
                    <a:lnTo>
                      <a:pt x="192" y="70"/>
                    </a:lnTo>
                    <a:lnTo>
                      <a:pt x="180" y="186"/>
                    </a:lnTo>
                    <a:lnTo>
                      <a:pt x="198" y="188"/>
                    </a:lnTo>
                    <a:lnTo>
                      <a:pt x="210" y="72"/>
                    </a:lnTo>
                    <a:lnTo>
                      <a:pt x="216" y="72"/>
                    </a:lnTo>
                    <a:lnTo>
                      <a:pt x="218" y="62"/>
                    </a:lnTo>
                    <a:lnTo>
                      <a:pt x="218" y="62"/>
                    </a:lnTo>
                    <a:lnTo>
                      <a:pt x="220" y="56"/>
                    </a:lnTo>
                    <a:lnTo>
                      <a:pt x="224" y="50"/>
                    </a:lnTo>
                    <a:lnTo>
                      <a:pt x="228" y="46"/>
                    </a:lnTo>
                    <a:lnTo>
                      <a:pt x="234" y="46"/>
                    </a:lnTo>
                    <a:lnTo>
                      <a:pt x="234" y="46"/>
                    </a:lnTo>
                    <a:lnTo>
                      <a:pt x="234" y="46"/>
                    </a:lnTo>
                    <a:lnTo>
                      <a:pt x="240" y="48"/>
                    </a:lnTo>
                    <a:lnTo>
                      <a:pt x="244" y="52"/>
                    </a:lnTo>
                    <a:lnTo>
                      <a:pt x="246" y="58"/>
                    </a:lnTo>
                    <a:lnTo>
                      <a:pt x="246" y="66"/>
                    </a:lnTo>
                    <a:lnTo>
                      <a:pt x="246" y="76"/>
                    </a:lnTo>
                    <a:lnTo>
                      <a:pt x="252" y="76"/>
                    </a:lnTo>
                    <a:lnTo>
                      <a:pt x="238" y="192"/>
                    </a:lnTo>
                    <a:lnTo>
                      <a:pt x="260" y="194"/>
                    </a:lnTo>
                    <a:lnTo>
                      <a:pt x="276" y="4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3" name="Freeform 30">
                <a:extLst>
                  <a:ext uri="{FF2B5EF4-FFF2-40B4-BE49-F238E27FC236}">
                    <a16:creationId xmlns:a16="http://schemas.microsoft.com/office/drawing/2014/main" id="{F716BE79-07F9-43F6-AE5C-2FBCB486275B}"/>
                  </a:ext>
                </a:extLst>
              </p:cNvPr>
              <p:cNvSpPr>
                <a:spLocks/>
              </p:cNvSpPr>
              <p:nvPr/>
            </p:nvSpPr>
            <p:spPr bwMode="auto">
              <a:xfrm>
                <a:off x="8087308" y="6188123"/>
                <a:ext cx="170731" cy="27654"/>
              </a:xfrm>
              <a:custGeom>
                <a:avLst/>
                <a:gdLst>
                  <a:gd name="T0" fmla="*/ 284 w 284"/>
                  <a:gd name="T1" fmla="*/ 36 h 46"/>
                  <a:gd name="T2" fmla="*/ 284 w 284"/>
                  <a:gd name="T3" fmla="*/ 36 h 46"/>
                  <a:gd name="T4" fmla="*/ 284 w 284"/>
                  <a:gd name="T5" fmla="*/ 40 h 46"/>
                  <a:gd name="T6" fmla="*/ 282 w 284"/>
                  <a:gd name="T7" fmla="*/ 44 h 46"/>
                  <a:gd name="T8" fmla="*/ 278 w 284"/>
                  <a:gd name="T9" fmla="*/ 46 h 46"/>
                  <a:gd name="T10" fmla="*/ 274 w 284"/>
                  <a:gd name="T11" fmla="*/ 46 h 46"/>
                  <a:gd name="T12" fmla="*/ 8 w 284"/>
                  <a:gd name="T13" fmla="*/ 20 h 46"/>
                  <a:gd name="T14" fmla="*/ 8 w 284"/>
                  <a:gd name="T15" fmla="*/ 20 h 46"/>
                  <a:gd name="T16" fmla="*/ 4 w 284"/>
                  <a:gd name="T17" fmla="*/ 20 h 46"/>
                  <a:gd name="T18" fmla="*/ 2 w 284"/>
                  <a:gd name="T19" fmla="*/ 18 h 46"/>
                  <a:gd name="T20" fmla="*/ 0 w 284"/>
                  <a:gd name="T21" fmla="*/ 14 h 46"/>
                  <a:gd name="T22" fmla="*/ 0 w 284"/>
                  <a:gd name="T23" fmla="*/ 10 h 46"/>
                  <a:gd name="T24" fmla="*/ 0 w 284"/>
                  <a:gd name="T25" fmla="*/ 8 h 46"/>
                  <a:gd name="T26" fmla="*/ 0 w 284"/>
                  <a:gd name="T27" fmla="*/ 8 h 46"/>
                  <a:gd name="T28" fmla="*/ 0 w 284"/>
                  <a:gd name="T29" fmla="*/ 4 h 46"/>
                  <a:gd name="T30" fmla="*/ 2 w 284"/>
                  <a:gd name="T31" fmla="*/ 2 h 46"/>
                  <a:gd name="T32" fmla="*/ 6 w 284"/>
                  <a:gd name="T33" fmla="*/ 0 h 46"/>
                  <a:gd name="T34" fmla="*/ 10 w 284"/>
                  <a:gd name="T35" fmla="*/ 0 h 46"/>
                  <a:gd name="T36" fmla="*/ 276 w 284"/>
                  <a:gd name="T37" fmla="*/ 24 h 46"/>
                  <a:gd name="T38" fmla="*/ 276 w 284"/>
                  <a:gd name="T39" fmla="*/ 24 h 46"/>
                  <a:gd name="T40" fmla="*/ 280 w 284"/>
                  <a:gd name="T41" fmla="*/ 26 h 46"/>
                  <a:gd name="T42" fmla="*/ 282 w 284"/>
                  <a:gd name="T43" fmla="*/ 28 h 46"/>
                  <a:gd name="T44" fmla="*/ 284 w 284"/>
                  <a:gd name="T45" fmla="*/ 32 h 46"/>
                  <a:gd name="T46" fmla="*/ 284 w 284"/>
                  <a:gd name="T47" fmla="*/ 36 h 46"/>
                  <a:gd name="T48" fmla="*/ 284 w 284"/>
                  <a:gd name="T49" fmla="*/ 3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4" h="46">
                    <a:moveTo>
                      <a:pt x="284" y="36"/>
                    </a:moveTo>
                    <a:lnTo>
                      <a:pt x="284" y="36"/>
                    </a:lnTo>
                    <a:lnTo>
                      <a:pt x="284" y="40"/>
                    </a:lnTo>
                    <a:lnTo>
                      <a:pt x="282" y="44"/>
                    </a:lnTo>
                    <a:lnTo>
                      <a:pt x="278" y="46"/>
                    </a:lnTo>
                    <a:lnTo>
                      <a:pt x="274" y="46"/>
                    </a:lnTo>
                    <a:lnTo>
                      <a:pt x="8" y="20"/>
                    </a:lnTo>
                    <a:lnTo>
                      <a:pt x="8" y="20"/>
                    </a:lnTo>
                    <a:lnTo>
                      <a:pt x="4" y="20"/>
                    </a:lnTo>
                    <a:lnTo>
                      <a:pt x="2" y="18"/>
                    </a:lnTo>
                    <a:lnTo>
                      <a:pt x="0" y="14"/>
                    </a:lnTo>
                    <a:lnTo>
                      <a:pt x="0" y="10"/>
                    </a:lnTo>
                    <a:lnTo>
                      <a:pt x="0" y="8"/>
                    </a:lnTo>
                    <a:lnTo>
                      <a:pt x="0" y="8"/>
                    </a:lnTo>
                    <a:lnTo>
                      <a:pt x="0" y="4"/>
                    </a:lnTo>
                    <a:lnTo>
                      <a:pt x="2" y="2"/>
                    </a:lnTo>
                    <a:lnTo>
                      <a:pt x="6" y="0"/>
                    </a:lnTo>
                    <a:lnTo>
                      <a:pt x="10" y="0"/>
                    </a:lnTo>
                    <a:lnTo>
                      <a:pt x="276" y="24"/>
                    </a:lnTo>
                    <a:lnTo>
                      <a:pt x="276" y="24"/>
                    </a:lnTo>
                    <a:lnTo>
                      <a:pt x="280" y="26"/>
                    </a:lnTo>
                    <a:lnTo>
                      <a:pt x="282" y="28"/>
                    </a:lnTo>
                    <a:lnTo>
                      <a:pt x="284" y="32"/>
                    </a:lnTo>
                    <a:lnTo>
                      <a:pt x="284" y="36"/>
                    </a:lnTo>
                    <a:lnTo>
                      <a:pt x="284" y="3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4" name="Freeform 31">
                <a:extLst>
                  <a:ext uri="{FF2B5EF4-FFF2-40B4-BE49-F238E27FC236}">
                    <a16:creationId xmlns:a16="http://schemas.microsoft.com/office/drawing/2014/main" id="{1B713CDC-3E25-4685-82B2-FCF3E9A9519D}"/>
                  </a:ext>
                </a:extLst>
              </p:cNvPr>
              <p:cNvSpPr>
                <a:spLocks/>
              </p:cNvSpPr>
              <p:nvPr/>
            </p:nvSpPr>
            <p:spPr bwMode="auto">
              <a:xfrm>
                <a:off x="8060856" y="6388912"/>
                <a:ext cx="167124" cy="127447"/>
              </a:xfrm>
              <a:custGeom>
                <a:avLst/>
                <a:gdLst>
                  <a:gd name="T0" fmla="*/ 278 w 278"/>
                  <a:gd name="T1" fmla="*/ 40 h 212"/>
                  <a:gd name="T2" fmla="*/ 276 w 278"/>
                  <a:gd name="T3" fmla="*/ 28 h 212"/>
                  <a:gd name="T4" fmla="*/ 266 w 278"/>
                  <a:gd name="T5" fmla="*/ 22 h 212"/>
                  <a:gd name="T6" fmla="*/ 36 w 278"/>
                  <a:gd name="T7" fmla="*/ 0 h 212"/>
                  <a:gd name="T8" fmla="*/ 26 w 278"/>
                  <a:gd name="T9" fmla="*/ 4 h 212"/>
                  <a:gd name="T10" fmla="*/ 20 w 278"/>
                  <a:gd name="T11" fmla="*/ 16 h 212"/>
                  <a:gd name="T12" fmla="*/ 22 w 278"/>
                  <a:gd name="T13" fmla="*/ 190 h 212"/>
                  <a:gd name="T14" fmla="*/ 42 w 278"/>
                  <a:gd name="T15" fmla="*/ 56 h 212"/>
                  <a:gd name="T16" fmla="*/ 44 w 278"/>
                  <a:gd name="T17" fmla="*/ 44 h 212"/>
                  <a:gd name="T18" fmla="*/ 50 w 278"/>
                  <a:gd name="T19" fmla="*/ 32 h 212"/>
                  <a:gd name="T20" fmla="*/ 60 w 278"/>
                  <a:gd name="T21" fmla="*/ 28 h 212"/>
                  <a:gd name="T22" fmla="*/ 60 w 278"/>
                  <a:gd name="T23" fmla="*/ 28 h 212"/>
                  <a:gd name="T24" fmla="*/ 70 w 278"/>
                  <a:gd name="T25" fmla="*/ 34 h 212"/>
                  <a:gd name="T26" fmla="*/ 72 w 278"/>
                  <a:gd name="T27" fmla="*/ 48 h 212"/>
                  <a:gd name="T28" fmla="*/ 78 w 278"/>
                  <a:gd name="T29" fmla="*/ 58 h 212"/>
                  <a:gd name="T30" fmla="*/ 80 w 278"/>
                  <a:gd name="T31" fmla="*/ 194 h 212"/>
                  <a:gd name="T32" fmla="*/ 102 w 278"/>
                  <a:gd name="T33" fmla="*/ 60 h 212"/>
                  <a:gd name="T34" fmla="*/ 102 w 278"/>
                  <a:gd name="T35" fmla="*/ 50 h 212"/>
                  <a:gd name="T36" fmla="*/ 108 w 278"/>
                  <a:gd name="T37" fmla="*/ 38 h 212"/>
                  <a:gd name="T38" fmla="*/ 118 w 278"/>
                  <a:gd name="T39" fmla="*/ 32 h 212"/>
                  <a:gd name="T40" fmla="*/ 120 w 278"/>
                  <a:gd name="T41" fmla="*/ 34 h 212"/>
                  <a:gd name="T42" fmla="*/ 128 w 278"/>
                  <a:gd name="T43" fmla="*/ 40 h 212"/>
                  <a:gd name="T44" fmla="*/ 132 w 278"/>
                  <a:gd name="T45" fmla="*/ 54 h 212"/>
                  <a:gd name="T46" fmla="*/ 136 w 278"/>
                  <a:gd name="T47" fmla="*/ 64 h 212"/>
                  <a:gd name="T48" fmla="*/ 140 w 278"/>
                  <a:gd name="T49" fmla="*/ 200 h 212"/>
                  <a:gd name="T50" fmla="*/ 160 w 278"/>
                  <a:gd name="T51" fmla="*/ 66 h 212"/>
                  <a:gd name="T52" fmla="*/ 162 w 278"/>
                  <a:gd name="T53" fmla="*/ 56 h 212"/>
                  <a:gd name="T54" fmla="*/ 166 w 278"/>
                  <a:gd name="T55" fmla="*/ 44 h 212"/>
                  <a:gd name="T56" fmla="*/ 176 w 278"/>
                  <a:gd name="T57" fmla="*/ 38 h 212"/>
                  <a:gd name="T58" fmla="*/ 178 w 278"/>
                  <a:gd name="T59" fmla="*/ 38 h 212"/>
                  <a:gd name="T60" fmla="*/ 188 w 278"/>
                  <a:gd name="T61" fmla="*/ 46 h 212"/>
                  <a:gd name="T62" fmla="*/ 190 w 278"/>
                  <a:gd name="T63" fmla="*/ 58 h 212"/>
                  <a:gd name="T64" fmla="*/ 194 w 278"/>
                  <a:gd name="T65" fmla="*/ 70 h 212"/>
                  <a:gd name="T66" fmla="*/ 198 w 278"/>
                  <a:gd name="T67" fmla="*/ 206 h 212"/>
                  <a:gd name="T68" fmla="*/ 218 w 278"/>
                  <a:gd name="T69" fmla="*/ 72 h 212"/>
                  <a:gd name="T70" fmla="*/ 220 w 278"/>
                  <a:gd name="T71" fmla="*/ 62 h 212"/>
                  <a:gd name="T72" fmla="*/ 226 w 278"/>
                  <a:gd name="T73" fmla="*/ 48 h 212"/>
                  <a:gd name="T74" fmla="*/ 236 w 278"/>
                  <a:gd name="T75" fmla="*/ 44 h 212"/>
                  <a:gd name="T76" fmla="*/ 238 w 278"/>
                  <a:gd name="T77" fmla="*/ 44 h 212"/>
                  <a:gd name="T78" fmla="*/ 246 w 278"/>
                  <a:gd name="T79" fmla="*/ 50 h 212"/>
                  <a:gd name="T80" fmla="*/ 248 w 278"/>
                  <a:gd name="T81" fmla="*/ 64 h 212"/>
                  <a:gd name="T82" fmla="*/ 254 w 278"/>
                  <a:gd name="T83" fmla="*/ 74 h 212"/>
                  <a:gd name="T84" fmla="*/ 260 w 278"/>
                  <a:gd name="T85" fmla="*/ 21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8" h="212">
                    <a:moveTo>
                      <a:pt x="278" y="40"/>
                    </a:moveTo>
                    <a:lnTo>
                      <a:pt x="278" y="40"/>
                    </a:lnTo>
                    <a:lnTo>
                      <a:pt x="278" y="34"/>
                    </a:lnTo>
                    <a:lnTo>
                      <a:pt x="276" y="28"/>
                    </a:lnTo>
                    <a:lnTo>
                      <a:pt x="272" y="24"/>
                    </a:lnTo>
                    <a:lnTo>
                      <a:pt x="266" y="22"/>
                    </a:lnTo>
                    <a:lnTo>
                      <a:pt x="36" y="0"/>
                    </a:lnTo>
                    <a:lnTo>
                      <a:pt x="36" y="0"/>
                    </a:lnTo>
                    <a:lnTo>
                      <a:pt x="30" y="0"/>
                    </a:lnTo>
                    <a:lnTo>
                      <a:pt x="26" y="4"/>
                    </a:lnTo>
                    <a:lnTo>
                      <a:pt x="22" y="8"/>
                    </a:lnTo>
                    <a:lnTo>
                      <a:pt x="20" y="16"/>
                    </a:lnTo>
                    <a:lnTo>
                      <a:pt x="0" y="188"/>
                    </a:lnTo>
                    <a:lnTo>
                      <a:pt x="22" y="190"/>
                    </a:lnTo>
                    <a:lnTo>
                      <a:pt x="36" y="54"/>
                    </a:lnTo>
                    <a:lnTo>
                      <a:pt x="42" y="56"/>
                    </a:lnTo>
                    <a:lnTo>
                      <a:pt x="44" y="44"/>
                    </a:lnTo>
                    <a:lnTo>
                      <a:pt x="44" y="44"/>
                    </a:lnTo>
                    <a:lnTo>
                      <a:pt x="46" y="38"/>
                    </a:lnTo>
                    <a:lnTo>
                      <a:pt x="50" y="32"/>
                    </a:lnTo>
                    <a:lnTo>
                      <a:pt x="54" y="28"/>
                    </a:lnTo>
                    <a:lnTo>
                      <a:pt x="60" y="28"/>
                    </a:lnTo>
                    <a:lnTo>
                      <a:pt x="60" y="28"/>
                    </a:lnTo>
                    <a:lnTo>
                      <a:pt x="60" y="28"/>
                    </a:lnTo>
                    <a:lnTo>
                      <a:pt x="66" y="30"/>
                    </a:lnTo>
                    <a:lnTo>
                      <a:pt x="70" y="34"/>
                    </a:lnTo>
                    <a:lnTo>
                      <a:pt x="72" y="40"/>
                    </a:lnTo>
                    <a:lnTo>
                      <a:pt x="72" y="48"/>
                    </a:lnTo>
                    <a:lnTo>
                      <a:pt x="72" y="58"/>
                    </a:lnTo>
                    <a:lnTo>
                      <a:pt x="78" y="58"/>
                    </a:lnTo>
                    <a:lnTo>
                      <a:pt x="62" y="194"/>
                    </a:lnTo>
                    <a:lnTo>
                      <a:pt x="80" y="194"/>
                    </a:lnTo>
                    <a:lnTo>
                      <a:pt x="96" y="60"/>
                    </a:lnTo>
                    <a:lnTo>
                      <a:pt x="102" y="60"/>
                    </a:lnTo>
                    <a:lnTo>
                      <a:pt x="102" y="50"/>
                    </a:lnTo>
                    <a:lnTo>
                      <a:pt x="102" y="50"/>
                    </a:lnTo>
                    <a:lnTo>
                      <a:pt x="104" y="44"/>
                    </a:lnTo>
                    <a:lnTo>
                      <a:pt x="108" y="38"/>
                    </a:lnTo>
                    <a:lnTo>
                      <a:pt x="112" y="34"/>
                    </a:lnTo>
                    <a:lnTo>
                      <a:pt x="118" y="32"/>
                    </a:lnTo>
                    <a:lnTo>
                      <a:pt x="120" y="34"/>
                    </a:lnTo>
                    <a:lnTo>
                      <a:pt x="120" y="34"/>
                    </a:lnTo>
                    <a:lnTo>
                      <a:pt x="124" y="36"/>
                    </a:lnTo>
                    <a:lnTo>
                      <a:pt x="128" y="40"/>
                    </a:lnTo>
                    <a:lnTo>
                      <a:pt x="130" y="46"/>
                    </a:lnTo>
                    <a:lnTo>
                      <a:pt x="132" y="54"/>
                    </a:lnTo>
                    <a:lnTo>
                      <a:pt x="130" y="64"/>
                    </a:lnTo>
                    <a:lnTo>
                      <a:pt x="136" y="64"/>
                    </a:lnTo>
                    <a:lnTo>
                      <a:pt x="122" y="198"/>
                    </a:lnTo>
                    <a:lnTo>
                      <a:pt x="140" y="200"/>
                    </a:lnTo>
                    <a:lnTo>
                      <a:pt x="154" y="66"/>
                    </a:lnTo>
                    <a:lnTo>
                      <a:pt x="160" y="66"/>
                    </a:lnTo>
                    <a:lnTo>
                      <a:pt x="162" y="56"/>
                    </a:lnTo>
                    <a:lnTo>
                      <a:pt x="162" y="56"/>
                    </a:lnTo>
                    <a:lnTo>
                      <a:pt x="164" y="48"/>
                    </a:lnTo>
                    <a:lnTo>
                      <a:pt x="166" y="44"/>
                    </a:lnTo>
                    <a:lnTo>
                      <a:pt x="172" y="40"/>
                    </a:lnTo>
                    <a:lnTo>
                      <a:pt x="176" y="38"/>
                    </a:lnTo>
                    <a:lnTo>
                      <a:pt x="178" y="38"/>
                    </a:lnTo>
                    <a:lnTo>
                      <a:pt x="178" y="38"/>
                    </a:lnTo>
                    <a:lnTo>
                      <a:pt x="184" y="40"/>
                    </a:lnTo>
                    <a:lnTo>
                      <a:pt x="188" y="46"/>
                    </a:lnTo>
                    <a:lnTo>
                      <a:pt x="190" y="52"/>
                    </a:lnTo>
                    <a:lnTo>
                      <a:pt x="190" y="58"/>
                    </a:lnTo>
                    <a:lnTo>
                      <a:pt x="188" y="68"/>
                    </a:lnTo>
                    <a:lnTo>
                      <a:pt x="194" y="70"/>
                    </a:lnTo>
                    <a:lnTo>
                      <a:pt x="180" y="204"/>
                    </a:lnTo>
                    <a:lnTo>
                      <a:pt x="198" y="206"/>
                    </a:lnTo>
                    <a:lnTo>
                      <a:pt x="212" y="72"/>
                    </a:lnTo>
                    <a:lnTo>
                      <a:pt x="218" y="72"/>
                    </a:lnTo>
                    <a:lnTo>
                      <a:pt x="220" y="62"/>
                    </a:lnTo>
                    <a:lnTo>
                      <a:pt x="220" y="62"/>
                    </a:lnTo>
                    <a:lnTo>
                      <a:pt x="222" y="54"/>
                    </a:lnTo>
                    <a:lnTo>
                      <a:pt x="226" y="48"/>
                    </a:lnTo>
                    <a:lnTo>
                      <a:pt x="230" y="46"/>
                    </a:lnTo>
                    <a:lnTo>
                      <a:pt x="236" y="44"/>
                    </a:lnTo>
                    <a:lnTo>
                      <a:pt x="238" y="44"/>
                    </a:lnTo>
                    <a:lnTo>
                      <a:pt x="238" y="44"/>
                    </a:lnTo>
                    <a:lnTo>
                      <a:pt x="242" y="46"/>
                    </a:lnTo>
                    <a:lnTo>
                      <a:pt x="246" y="50"/>
                    </a:lnTo>
                    <a:lnTo>
                      <a:pt x="248" y="56"/>
                    </a:lnTo>
                    <a:lnTo>
                      <a:pt x="248" y="64"/>
                    </a:lnTo>
                    <a:lnTo>
                      <a:pt x="248" y="74"/>
                    </a:lnTo>
                    <a:lnTo>
                      <a:pt x="254" y="74"/>
                    </a:lnTo>
                    <a:lnTo>
                      <a:pt x="238" y="210"/>
                    </a:lnTo>
                    <a:lnTo>
                      <a:pt x="260" y="212"/>
                    </a:lnTo>
                    <a:lnTo>
                      <a:pt x="278" y="4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5" name="Freeform 32">
                <a:extLst>
                  <a:ext uri="{FF2B5EF4-FFF2-40B4-BE49-F238E27FC236}">
                    <a16:creationId xmlns:a16="http://schemas.microsoft.com/office/drawing/2014/main" id="{18C901EB-D559-4E7A-9F7A-22D525841CDB}"/>
                  </a:ext>
                </a:extLst>
              </p:cNvPr>
              <p:cNvSpPr>
                <a:spLocks/>
              </p:cNvSpPr>
              <p:nvPr/>
            </p:nvSpPr>
            <p:spPr bwMode="auto">
              <a:xfrm>
                <a:off x="8065666" y="6385305"/>
                <a:ext cx="171933" cy="27654"/>
              </a:xfrm>
              <a:custGeom>
                <a:avLst/>
                <a:gdLst>
                  <a:gd name="T0" fmla="*/ 284 w 286"/>
                  <a:gd name="T1" fmla="*/ 38 h 46"/>
                  <a:gd name="T2" fmla="*/ 284 w 286"/>
                  <a:gd name="T3" fmla="*/ 38 h 46"/>
                  <a:gd name="T4" fmla="*/ 284 w 286"/>
                  <a:gd name="T5" fmla="*/ 42 h 46"/>
                  <a:gd name="T6" fmla="*/ 282 w 286"/>
                  <a:gd name="T7" fmla="*/ 44 h 46"/>
                  <a:gd name="T8" fmla="*/ 278 w 286"/>
                  <a:gd name="T9" fmla="*/ 46 h 46"/>
                  <a:gd name="T10" fmla="*/ 274 w 286"/>
                  <a:gd name="T11" fmla="*/ 46 h 46"/>
                  <a:gd name="T12" fmla="*/ 8 w 286"/>
                  <a:gd name="T13" fmla="*/ 22 h 46"/>
                  <a:gd name="T14" fmla="*/ 8 w 286"/>
                  <a:gd name="T15" fmla="*/ 22 h 46"/>
                  <a:gd name="T16" fmla="*/ 4 w 286"/>
                  <a:gd name="T17" fmla="*/ 20 h 46"/>
                  <a:gd name="T18" fmla="*/ 2 w 286"/>
                  <a:gd name="T19" fmla="*/ 18 h 46"/>
                  <a:gd name="T20" fmla="*/ 0 w 286"/>
                  <a:gd name="T21" fmla="*/ 14 h 46"/>
                  <a:gd name="T22" fmla="*/ 0 w 286"/>
                  <a:gd name="T23" fmla="*/ 10 h 46"/>
                  <a:gd name="T24" fmla="*/ 0 w 286"/>
                  <a:gd name="T25" fmla="*/ 10 h 46"/>
                  <a:gd name="T26" fmla="*/ 0 w 286"/>
                  <a:gd name="T27" fmla="*/ 10 h 46"/>
                  <a:gd name="T28" fmla="*/ 0 w 286"/>
                  <a:gd name="T29" fmla="*/ 6 h 46"/>
                  <a:gd name="T30" fmla="*/ 4 w 286"/>
                  <a:gd name="T31" fmla="*/ 2 h 46"/>
                  <a:gd name="T32" fmla="*/ 6 w 286"/>
                  <a:gd name="T33" fmla="*/ 0 h 46"/>
                  <a:gd name="T34" fmla="*/ 10 w 286"/>
                  <a:gd name="T35" fmla="*/ 0 h 46"/>
                  <a:gd name="T36" fmla="*/ 276 w 286"/>
                  <a:gd name="T37" fmla="*/ 26 h 46"/>
                  <a:gd name="T38" fmla="*/ 276 w 286"/>
                  <a:gd name="T39" fmla="*/ 26 h 46"/>
                  <a:gd name="T40" fmla="*/ 280 w 286"/>
                  <a:gd name="T41" fmla="*/ 26 h 46"/>
                  <a:gd name="T42" fmla="*/ 284 w 286"/>
                  <a:gd name="T43" fmla="*/ 28 h 46"/>
                  <a:gd name="T44" fmla="*/ 284 w 286"/>
                  <a:gd name="T45" fmla="*/ 32 h 46"/>
                  <a:gd name="T46" fmla="*/ 286 w 286"/>
                  <a:gd name="T47" fmla="*/ 36 h 46"/>
                  <a:gd name="T48" fmla="*/ 284 w 286"/>
                  <a:gd name="T49" fmla="*/ 3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46">
                    <a:moveTo>
                      <a:pt x="284" y="38"/>
                    </a:moveTo>
                    <a:lnTo>
                      <a:pt x="284" y="38"/>
                    </a:lnTo>
                    <a:lnTo>
                      <a:pt x="284" y="42"/>
                    </a:lnTo>
                    <a:lnTo>
                      <a:pt x="282" y="44"/>
                    </a:lnTo>
                    <a:lnTo>
                      <a:pt x="278" y="46"/>
                    </a:lnTo>
                    <a:lnTo>
                      <a:pt x="274" y="46"/>
                    </a:lnTo>
                    <a:lnTo>
                      <a:pt x="8" y="22"/>
                    </a:lnTo>
                    <a:lnTo>
                      <a:pt x="8" y="22"/>
                    </a:lnTo>
                    <a:lnTo>
                      <a:pt x="4" y="20"/>
                    </a:lnTo>
                    <a:lnTo>
                      <a:pt x="2" y="18"/>
                    </a:lnTo>
                    <a:lnTo>
                      <a:pt x="0" y="14"/>
                    </a:lnTo>
                    <a:lnTo>
                      <a:pt x="0" y="10"/>
                    </a:lnTo>
                    <a:lnTo>
                      <a:pt x="0" y="10"/>
                    </a:lnTo>
                    <a:lnTo>
                      <a:pt x="0" y="10"/>
                    </a:lnTo>
                    <a:lnTo>
                      <a:pt x="0" y="6"/>
                    </a:lnTo>
                    <a:lnTo>
                      <a:pt x="4" y="2"/>
                    </a:lnTo>
                    <a:lnTo>
                      <a:pt x="6" y="0"/>
                    </a:lnTo>
                    <a:lnTo>
                      <a:pt x="10" y="0"/>
                    </a:lnTo>
                    <a:lnTo>
                      <a:pt x="276" y="26"/>
                    </a:lnTo>
                    <a:lnTo>
                      <a:pt x="276" y="26"/>
                    </a:lnTo>
                    <a:lnTo>
                      <a:pt x="280" y="26"/>
                    </a:lnTo>
                    <a:lnTo>
                      <a:pt x="284" y="28"/>
                    </a:lnTo>
                    <a:lnTo>
                      <a:pt x="284" y="32"/>
                    </a:lnTo>
                    <a:lnTo>
                      <a:pt x="286" y="36"/>
                    </a:lnTo>
                    <a:lnTo>
                      <a:pt x="284" y="38"/>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6" name="Freeform 33">
                <a:extLst>
                  <a:ext uri="{FF2B5EF4-FFF2-40B4-BE49-F238E27FC236}">
                    <a16:creationId xmlns:a16="http://schemas.microsoft.com/office/drawing/2014/main" id="{E01A06E7-C37E-4100-A30E-8A1F78831125}"/>
                  </a:ext>
                </a:extLst>
              </p:cNvPr>
              <p:cNvSpPr>
                <a:spLocks/>
              </p:cNvSpPr>
              <p:nvPr/>
            </p:nvSpPr>
            <p:spPr bwMode="auto">
              <a:xfrm>
                <a:off x="8074082" y="6287916"/>
                <a:ext cx="165921" cy="115424"/>
              </a:xfrm>
              <a:custGeom>
                <a:avLst/>
                <a:gdLst>
                  <a:gd name="T0" fmla="*/ 276 w 276"/>
                  <a:gd name="T1" fmla="*/ 40 h 192"/>
                  <a:gd name="T2" fmla="*/ 272 w 276"/>
                  <a:gd name="T3" fmla="*/ 28 h 192"/>
                  <a:gd name="T4" fmla="*/ 262 w 276"/>
                  <a:gd name="T5" fmla="*/ 20 h 192"/>
                  <a:gd name="T6" fmla="*/ 34 w 276"/>
                  <a:gd name="T7" fmla="*/ 0 h 192"/>
                  <a:gd name="T8" fmla="*/ 22 w 276"/>
                  <a:gd name="T9" fmla="*/ 4 h 192"/>
                  <a:gd name="T10" fmla="*/ 16 w 276"/>
                  <a:gd name="T11" fmla="*/ 16 h 192"/>
                  <a:gd name="T12" fmla="*/ 20 w 276"/>
                  <a:gd name="T13" fmla="*/ 170 h 192"/>
                  <a:gd name="T14" fmla="*/ 38 w 276"/>
                  <a:gd name="T15" fmla="*/ 54 h 192"/>
                  <a:gd name="T16" fmla="*/ 40 w 276"/>
                  <a:gd name="T17" fmla="*/ 44 h 192"/>
                  <a:gd name="T18" fmla="*/ 46 w 276"/>
                  <a:gd name="T19" fmla="*/ 32 h 192"/>
                  <a:gd name="T20" fmla="*/ 56 w 276"/>
                  <a:gd name="T21" fmla="*/ 28 h 192"/>
                  <a:gd name="T22" fmla="*/ 58 w 276"/>
                  <a:gd name="T23" fmla="*/ 28 h 192"/>
                  <a:gd name="T24" fmla="*/ 66 w 276"/>
                  <a:gd name="T25" fmla="*/ 34 h 192"/>
                  <a:gd name="T26" fmla="*/ 68 w 276"/>
                  <a:gd name="T27" fmla="*/ 48 h 192"/>
                  <a:gd name="T28" fmla="*/ 74 w 276"/>
                  <a:gd name="T29" fmla="*/ 58 h 192"/>
                  <a:gd name="T30" fmla="*/ 80 w 276"/>
                  <a:gd name="T31" fmla="*/ 176 h 192"/>
                  <a:gd name="T32" fmla="*/ 98 w 276"/>
                  <a:gd name="T33" fmla="*/ 60 h 192"/>
                  <a:gd name="T34" fmla="*/ 98 w 276"/>
                  <a:gd name="T35" fmla="*/ 50 h 192"/>
                  <a:gd name="T36" fmla="*/ 104 w 276"/>
                  <a:gd name="T37" fmla="*/ 38 h 192"/>
                  <a:gd name="T38" fmla="*/ 114 w 276"/>
                  <a:gd name="T39" fmla="*/ 32 h 192"/>
                  <a:gd name="T40" fmla="*/ 116 w 276"/>
                  <a:gd name="T41" fmla="*/ 32 h 192"/>
                  <a:gd name="T42" fmla="*/ 124 w 276"/>
                  <a:gd name="T43" fmla="*/ 40 h 192"/>
                  <a:gd name="T44" fmla="*/ 128 w 276"/>
                  <a:gd name="T45" fmla="*/ 52 h 192"/>
                  <a:gd name="T46" fmla="*/ 132 w 276"/>
                  <a:gd name="T47" fmla="*/ 64 h 192"/>
                  <a:gd name="T48" fmla="*/ 138 w 276"/>
                  <a:gd name="T49" fmla="*/ 182 h 192"/>
                  <a:gd name="T50" fmla="*/ 156 w 276"/>
                  <a:gd name="T51" fmla="*/ 66 h 192"/>
                  <a:gd name="T52" fmla="*/ 158 w 276"/>
                  <a:gd name="T53" fmla="*/ 56 h 192"/>
                  <a:gd name="T54" fmla="*/ 164 w 276"/>
                  <a:gd name="T55" fmla="*/ 42 h 192"/>
                  <a:gd name="T56" fmla="*/ 174 w 276"/>
                  <a:gd name="T57" fmla="*/ 38 h 192"/>
                  <a:gd name="T58" fmla="*/ 174 w 276"/>
                  <a:gd name="T59" fmla="*/ 38 h 192"/>
                  <a:gd name="T60" fmla="*/ 184 w 276"/>
                  <a:gd name="T61" fmla="*/ 44 h 192"/>
                  <a:gd name="T62" fmla="*/ 186 w 276"/>
                  <a:gd name="T63" fmla="*/ 58 h 192"/>
                  <a:gd name="T64" fmla="*/ 192 w 276"/>
                  <a:gd name="T65" fmla="*/ 70 h 192"/>
                  <a:gd name="T66" fmla="*/ 196 w 276"/>
                  <a:gd name="T67" fmla="*/ 186 h 192"/>
                  <a:gd name="T68" fmla="*/ 216 w 276"/>
                  <a:gd name="T69" fmla="*/ 72 h 192"/>
                  <a:gd name="T70" fmla="*/ 216 w 276"/>
                  <a:gd name="T71" fmla="*/ 62 h 192"/>
                  <a:gd name="T72" fmla="*/ 222 w 276"/>
                  <a:gd name="T73" fmla="*/ 48 h 192"/>
                  <a:gd name="T74" fmla="*/ 232 w 276"/>
                  <a:gd name="T75" fmla="*/ 44 h 192"/>
                  <a:gd name="T76" fmla="*/ 234 w 276"/>
                  <a:gd name="T77" fmla="*/ 44 h 192"/>
                  <a:gd name="T78" fmla="*/ 242 w 276"/>
                  <a:gd name="T79" fmla="*/ 50 h 192"/>
                  <a:gd name="T80" fmla="*/ 244 w 276"/>
                  <a:gd name="T81" fmla="*/ 64 h 192"/>
                  <a:gd name="T82" fmla="*/ 250 w 276"/>
                  <a:gd name="T83" fmla="*/ 74 h 192"/>
                  <a:gd name="T84" fmla="*/ 258 w 276"/>
                  <a:gd name="T85" fmla="*/ 192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6" h="192">
                    <a:moveTo>
                      <a:pt x="276" y="40"/>
                    </a:moveTo>
                    <a:lnTo>
                      <a:pt x="276" y="40"/>
                    </a:lnTo>
                    <a:lnTo>
                      <a:pt x="274" y="32"/>
                    </a:lnTo>
                    <a:lnTo>
                      <a:pt x="272" y="28"/>
                    </a:lnTo>
                    <a:lnTo>
                      <a:pt x="268" y="22"/>
                    </a:lnTo>
                    <a:lnTo>
                      <a:pt x="262" y="20"/>
                    </a:lnTo>
                    <a:lnTo>
                      <a:pt x="34" y="0"/>
                    </a:lnTo>
                    <a:lnTo>
                      <a:pt x="34" y="0"/>
                    </a:lnTo>
                    <a:lnTo>
                      <a:pt x="26" y="0"/>
                    </a:lnTo>
                    <a:lnTo>
                      <a:pt x="22" y="4"/>
                    </a:lnTo>
                    <a:lnTo>
                      <a:pt x="18" y="8"/>
                    </a:lnTo>
                    <a:lnTo>
                      <a:pt x="16" y="16"/>
                    </a:lnTo>
                    <a:lnTo>
                      <a:pt x="0" y="168"/>
                    </a:lnTo>
                    <a:lnTo>
                      <a:pt x="20" y="170"/>
                    </a:lnTo>
                    <a:lnTo>
                      <a:pt x="32" y="54"/>
                    </a:lnTo>
                    <a:lnTo>
                      <a:pt x="38" y="54"/>
                    </a:lnTo>
                    <a:lnTo>
                      <a:pt x="40" y="44"/>
                    </a:lnTo>
                    <a:lnTo>
                      <a:pt x="40" y="44"/>
                    </a:lnTo>
                    <a:lnTo>
                      <a:pt x="42" y="38"/>
                    </a:lnTo>
                    <a:lnTo>
                      <a:pt x="46" y="32"/>
                    </a:lnTo>
                    <a:lnTo>
                      <a:pt x="50" y="28"/>
                    </a:lnTo>
                    <a:lnTo>
                      <a:pt x="56" y="28"/>
                    </a:lnTo>
                    <a:lnTo>
                      <a:pt x="58" y="28"/>
                    </a:lnTo>
                    <a:lnTo>
                      <a:pt x="58" y="28"/>
                    </a:lnTo>
                    <a:lnTo>
                      <a:pt x="62" y="30"/>
                    </a:lnTo>
                    <a:lnTo>
                      <a:pt x="66" y="34"/>
                    </a:lnTo>
                    <a:lnTo>
                      <a:pt x="68" y="40"/>
                    </a:lnTo>
                    <a:lnTo>
                      <a:pt x="68" y="48"/>
                    </a:lnTo>
                    <a:lnTo>
                      <a:pt x="68" y="58"/>
                    </a:lnTo>
                    <a:lnTo>
                      <a:pt x="74" y="58"/>
                    </a:lnTo>
                    <a:lnTo>
                      <a:pt x="60" y="174"/>
                    </a:lnTo>
                    <a:lnTo>
                      <a:pt x="80" y="176"/>
                    </a:lnTo>
                    <a:lnTo>
                      <a:pt x="92" y="60"/>
                    </a:lnTo>
                    <a:lnTo>
                      <a:pt x="98" y="60"/>
                    </a:lnTo>
                    <a:lnTo>
                      <a:pt x="98" y="50"/>
                    </a:lnTo>
                    <a:lnTo>
                      <a:pt x="98" y="50"/>
                    </a:lnTo>
                    <a:lnTo>
                      <a:pt x="100" y="44"/>
                    </a:lnTo>
                    <a:lnTo>
                      <a:pt x="104" y="38"/>
                    </a:lnTo>
                    <a:lnTo>
                      <a:pt x="108" y="34"/>
                    </a:lnTo>
                    <a:lnTo>
                      <a:pt x="114" y="32"/>
                    </a:lnTo>
                    <a:lnTo>
                      <a:pt x="116" y="32"/>
                    </a:lnTo>
                    <a:lnTo>
                      <a:pt x="116" y="32"/>
                    </a:lnTo>
                    <a:lnTo>
                      <a:pt x="122" y="34"/>
                    </a:lnTo>
                    <a:lnTo>
                      <a:pt x="124" y="40"/>
                    </a:lnTo>
                    <a:lnTo>
                      <a:pt x="128" y="46"/>
                    </a:lnTo>
                    <a:lnTo>
                      <a:pt x="128" y="52"/>
                    </a:lnTo>
                    <a:lnTo>
                      <a:pt x="126" y="64"/>
                    </a:lnTo>
                    <a:lnTo>
                      <a:pt x="132" y="64"/>
                    </a:lnTo>
                    <a:lnTo>
                      <a:pt x="120" y="180"/>
                    </a:lnTo>
                    <a:lnTo>
                      <a:pt x="138" y="182"/>
                    </a:lnTo>
                    <a:lnTo>
                      <a:pt x="150" y="66"/>
                    </a:lnTo>
                    <a:lnTo>
                      <a:pt x="156" y="66"/>
                    </a:lnTo>
                    <a:lnTo>
                      <a:pt x="158" y="56"/>
                    </a:lnTo>
                    <a:lnTo>
                      <a:pt x="158" y="56"/>
                    </a:lnTo>
                    <a:lnTo>
                      <a:pt x="160" y="48"/>
                    </a:lnTo>
                    <a:lnTo>
                      <a:pt x="164" y="42"/>
                    </a:lnTo>
                    <a:lnTo>
                      <a:pt x="168" y="40"/>
                    </a:lnTo>
                    <a:lnTo>
                      <a:pt x="174" y="38"/>
                    </a:lnTo>
                    <a:lnTo>
                      <a:pt x="174" y="38"/>
                    </a:lnTo>
                    <a:lnTo>
                      <a:pt x="174" y="38"/>
                    </a:lnTo>
                    <a:lnTo>
                      <a:pt x="180" y="40"/>
                    </a:lnTo>
                    <a:lnTo>
                      <a:pt x="184" y="44"/>
                    </a:lnTo>
                    <a:lnTo>
                      <a:pt x="186" y="52"/>
                    </a:lnTo>
                    <a:lnTo>
                      <a:pt x="186" y="58"/>
                    </a:lnTo>
                    <a:lnTo>
                      <a:pt x="186" y="68"/>
                    </a:lnTo>
                    <a:lnTo>
                      <a:pt x="192" y="70"/>
                    </a:lnTo>
                    <a:lnTo>
                      <a:pt x="178" y="184"/>
                    </a:lnTo>
                    <a:lnTo>
                      <a:pt x="196" y="186"/>
                    </a:lnTo>
                    <a:lnTo>
                      <a:pt x="210" y="70"/>
                    </a:lnTo>
                    <a:lnTo>
                      <a:pt x="216" y="72"/>
                    </a:lnTo>
                    <a:lnTo>
                      <a:pt x="216" y="62"/>
                    </a:lnTo>
                    <a:lnTo>
                      <a:pt x="216" y="62"/>
                    </a:lnTo>
                    <a:lnTo>
                      <a:pt x="218" y="54"/>
                    </a:lnTo>
                    <a:lnTo>
                      <a:pt x="222" y="48"/>
                    </a:lnTo>
                    <a:lnTo>
                      <a:pt x="226" y="44"/>
                    </a:lnTo>
                    <a:lnTo>
                      <a:pt x="232" y="44"/>
                    </a:lnTo>
                    <a:lnTo>
                      <a:pt x="234" y="44"/>
                    </a:lnTo>
                    <a:lnTo>
                      <a:pt x="234" y="44"/>
                    </a:lnTo>
                    <a:lnTo>
                      <a:pt x="238" y="46"/>
                    </a:lnTo>
                    <a:lnTo>
                      <a:pt x="242" y="50"/>
                    </a:lnTo>
                    <a:lnTo>
                      <a:pt x="244" y="56"/>
                    </a:lnTo>
                    <a:lnTo>
                      <a:pt x="244" y="64"/>
                    </a:lnTo>
                    <a:lnTo>
                      <a:pt x="244" y="74"/>
                    </a:lnTo>
                    <a:lnTo>
                      <a:pt x="250" y="74"/>
                    </a:lnTo>
                    <a:lnTo>
                      <a:pt x="238" y="190"/>
                    </a:lnTo>
                    <a:lnTo>
                      <a:pt x="258" y="192"/>
                    </a:lnTo>
                    <a:lnTo>
                      <a:pt x="276" y="4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7" name="Freeform 34">
                <a:extLst>
                  <a:ext uri="{FF2B5EF4-FFF2-40B4-BE49-F238E27FC236}">
                    <a16:creationId xmlns:a16="http://schemas.microsoft.com/office/drawing/2014/main" id="{9E9690EB-2F51-4023-9E84-4FE98C6DB9DE}"/>
                  </a:ext>
                </a:extLst>
              </p:cNvPr>
              <p:cNvSpPr>
                <a:spLocks/>
              </p:cNvSpPr>
              <p:nvPr/>
            </p:nvSpPr>
            <p:spPr bwMode="auto">
              <a:xfrm>
                <a:off x="8076487" y="6284309"/>
                <a:ext cx="171933" cy="27654"/>
              </a:xfrm>
              <a:custGeom>
                <a:avLst/>
                <a:gdLst>
                  <a:gd name="T0" fmla="*/ 286 w 286"/>
                  <a:gd name="T1" fmla="*/ 38 h 46"/>
                  <a:gd name="T2" fmla="*/ 286 w 286"/>
                  <a:gd name="T3" fmla="*/ 38 h 46"/>
                  <a:gd name="T4" fmla="*/ 284 w 286"/>
                  <a:gd name="T5" fmla="*/ 42 h 46"/>
                  <a:gd name="T6" fmla="*/ 282 w 286"/>
                  <a:gd name="T7" fmla="*/ 44 h 46"/>
                  <a:gd name="T8" fmla="*/ 278 w 286"/>
                  <a:gd name="T9" fmla="*/ 46 h 46"/>
                  <a:gd name="T10" fmla="*/ 274 w 286"/>
                  <a:gd name="T11" fmla="*/ 46 h 46"/>
                  <a:gd name="T12" fmla="*/ 8 w 286"/>
                  <a:gd name="T13" fmla="*/ 22 h 46"/>
                  <a:gd name="T14" fmla="*/ 8 w 286"/>
                  <a:gd name="T15" fmla="*/ 22 h 46"/>
                  <a:gd name="T16" fmla="*/ 4 w 286"/>
                  <a:gd name="T17" fmla="*/ 20 h 46"/>
                  <a:gd name="T18" fmla="*/ 2 w 286"/>
                  <a:gd name="T19" fmla="*/ 18 h 46"/>
                  <a:gd name="T20" fmla="*/ 0 w 286"/>
                  <a:gd name="T21" fmla="*/ 14 h 46"/>
                  <a:gd name="T22" fmla="*/ 0 w 286"/>
                  <a:gd name="T23" fmla="*/ 10 h 46"/>
                  <a:gd name="T24" fmla="*/ 0 w 286"/>
                  <a:gd name="T25" fmla="*/ 10 h 46"/>
                  <a:gd name="T26" fmla="*/ 0 w 286"/>
                  <a:gd name="T27" fmla="*/ 10 h 46"/>
                  <a:gd name="T28" fmla="*/ 2 w 286"/>
                  <a:gd name="T29" fmla="*/ 6 h 46"/>
                  <a:gd name="T30" fmla="*/ 4 w 286"/>
                  <a:gd name="T31" fmla="*/ 2 h 46"/>
                  <a:gd name="T32" fmla="*/ 6 w 286"/>
                  <a:gd name="T33" fmla="*/ 0 h 46"/>
                  <a:gd name="T34" fmla="*/ 10 w 286"/>
                  <a:gd name="T35" fmla="*/ 0 h 46"/>
                  <a:gd name="T36" fmla="*/ 278 w 286"/>
                  <a:gd name="T37" fmla="*/ 24 h 46"/>
                  <a:gd name="T38" fmla="*/ 278 w 286"/>
                  <a:gd name="T39" fmla="*/ 24 h 46"/>
                  <a:gd name="T40" fmla="*/ 280 w 286"/>
                  <a:gd name="T41" fmla="*/ 26 h 46"/>
                  <a:gd name="T42" fmla="*/ 284 w 286"/>
                  <a:gd name="T43" fmla="*/ 28 h 46"/>
                  <a:gd name="T44" fmla="*/ 286 w 286"/>
                  <a:gd name="T45" fmla="*/ 32 h 46"/>
                  <a:gd name="T46" fmla="*/ 286 w 286"/>
                  <a:gd name="T47" fmla="*/ 36 h 46"/>
                  <a:gd name="T48" fmla="*/ 286 w 286"/>
                  <a:gd name="T49" fmla="*/ 3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86" h="46">
                    <a:moveTo>
                      <a:pt x="286" y="38"/>
                    </a:moveTo>
                    <a:lnTo>
                      <a:pt x="286" y="38"/>
                    </a:lnTo>
                    <a:lnTo>
                      <a:pt x="284" y="42"/>
                    </a:lnTo>
                    <a:lnTo>
                      <a:pt x="282" y="44"/>
                    </a:lnTo>
                    <a:lnTo>
                      <a:pt x="278" y="46"/>
                    </a:lnTo>
                    <a:lnTo>
                      <a:pt x="274" y="46"/>
                    </a:lnTo>
                    <a:lnTo>
                      <a:pt x="8" y="22"/>
                    </a:lnTo>
                    <a:lnTo>
                      <a:pt x="8" y="22"/>
                    </a:lnTo>
                    <a:lnTo>
                      <a:pt x="4" y="20"/>
                    </a:lnTo>
                    <a:lnTo>
                      <a:pt x="2" y="18"/>
                    </a:lnTo>
                    <a:lnTo>
                      <a:pt x="0" y="14"/>
                    </a:lnTo>
                    <a:lnTo>
                      <a:pt x="0" y="10"/>
                    </a:lnTo>
                    <a:lnTo>
                      <a:pt x="0" y="10"/>
                    </a:lnTo>
                    <a:lnTo>
                      <a:pt x="0" y="10"/>
                    </a:lnTo>
                    <a:lnTo>
                      <a:pt x="2" y="6"/>
                    </a:lnTo>
                    <a:lnTo>
                      <a:pt x="4" y="2"/>
                    </a:lnTo>
                    <a:lnTo>
                      <a:pt x="6" y="0"/>
                    </a:lnTo>
                    <a:lnTo>
                      <a:pt x="10" y="0"/>
                    </a:lnTo>
                    <a:lnTo>
                      <a:pt x="278" y="24"/>
                    </a:lnTo>
                    <a:lnTo>
                      <a:pt x="278" y="24"/>
                    </a:lnTo>
                    <a:lnTo>
                      <a:pt x="280" y="26"/>
                    </a:lnTo>
                    <a:lnTo>
                      <a:pt x="284" y="28"/>
                    </a:lnTo>
                    <a:lnTo>
                      <a:pt x="286" y="32"/>
                    </a:lnTo>
                    <a:lnTo>
                      <a:pt x="286" y="36"/>
                    </a:lnTo>
                    <a:lnTo>
                      <a:pt x="286" y="38"/>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8" name="Freeform 35">
                <a:extLst>
                  <a:ext uri="{FF2B5EF4-FFF2-40B4-BE49-F238E27FC236}">
                    <a16:creationId xmlns:a16="http://schemas.microsoft.com/office/drawing/2014/main" id="{39EFAC7C-6911-42F8-98D1-28DC23D3EA74}"/>
                  </a:ext>
                </a:extLst>
              </p:cNvPr>
              <p:cNvSpPr>
                <a:spLocks/>
              </p:cNvSpPr>
              <p:nvPr/>
            </p:nvSpPr>
            <p:spPr bwMode="auto">
              <a:xfrm>
                <a:off x="8039214" y="6492312"/>
                <a:ext cx="185159" cy="144280"/>
              </a:xfrm>
              <a:custGeom>
                <a:avLst/>
                <a:gdLst>
                  <a:gd name="T0" fmla="*/ 308 w 308"/>
                  <a:gd name="T1" fmla="*/ 44 h 240"/>
                  <a:gd name="T2" fmla="*/ 304 w 308"/>
                  <a:gd name="T3" fmla="*/ 30 h 240"/>
                  <a:gd name="T4" fmla="*/ 294 w 308"/>
                  <a:gd name="T5" fmla="*/ 24 h 240"/>
                  <a:gd name="T6" fmla="*/ 44 w 308"/>
                  <a:gd name="T7" fmla="*/ 0 h 240"/>
                  <a:gd name="T8" fmla="*/ 30 w 308"/>
                  <a:gd name="T9" fmla="*/ 4 h 240"/>
                  <a:gd name="T10" fmla="*/ 24 w 308"/>
                  <a:gd name="T11" fmla="*/ 16 h 240"/>
                  <a:gd name="T12" fmla="*/ 22 w 308"/>
                  <a:gd name="T13" fmla="*/ 240 h 240"/>
                  <a:gd name="T14" fmla="*/ 50 w 308"/>
                  <a:gd name="T15" fmla="*/ 60 h 240"/>
                  <a:gd name="T16" fmla="*/ 50 w 308"/>
                  <a:gd name="T17" fmla="*/ 50 h 240"/>
                  <a:gd name="T18" fmla="*/ 56 w 308"/>
                  <a:gd name="T19" fmla="*/ 36 h 240"/>
                  <a:gd name="T20" fmla="*/ 68 w 308"/>
                  <a:gd name="T21" fmla="*/ 30 h 240"/>
                  <a:gd name="T22" fmla="*/ 70 w 308"/>
                  <a:gd name="T23" fmla="*/ 30 h 240"/>
                  <a:gd name="T24" fmla="*/ 80 w 308"/>
                  <a:gd name="T25" fmla="*/ 38 h 240"/>
                  <a:gd name="T26" fmla="*/ 82 w 308"/>
                  <a:gd name="T27" fmla="*/ 52 h 240"/>
                  <a:gd name="T28" fmla="*/ 88 w 308"/>
                  <a:gd name="T29" fmla="*/ 64 h 240"/>
                  <a:gd name="T30" fmla="*/ 88 w 308"/>
                  <a:gd name="T31" fmla="*/ 240 h 240"/>
                  <a:gd name="T32" fmla="*/ 114 w 308"/>
                  <a:gd name="T33" fmla="*/ 66 h 240"/>
                  <a:gd name="T34" fmla="*/ 116 w 308"/>
                  <a:gd name="T35" fmla="*/ 56 h 240"/>
                  <a:gd name="T36" fmla="*/ 122 w 308"/>
                  <a:gd name="T37" fmla="*/ 42 h 240"/>
                  <a:gd name="T38" fmla="*/ 132 w 308"/>
                  <a:gd name="T39" fmla="*/ 36 h 240"/>
                  <a:gd name="T40" fmla="*/ 134 w 308"/>
                  <a:gd name="T41" fmla="*/ 36 h 240"/>
                  <a:gd name="T42" fmla="*/ 144 w 308"/>
                  <a:gd name="T43" fmla="*/ 44 h 240"/>
                  <a:gd name="T44" fmla="*/ 146 w 308"/>
                  <a:gd name="T45" fmla="*/ 58 h 240"/>
                  <a:gd name="T46" fmla="*/ 152 w 308"/>
                  <a:gd name="T47" fmla="*/ 70 h 240"/>
                  <a:gd name="T48" fmla="*/ 152 w 308"/>
                  <a:gd name="T49" fmla="*/ 240 h 240"/>
                  <a:gd name="T50" fmla="*/ 178 w 308"/>
                  <a:gd name="T51" fmla="*/ 72 h 240"/>
                  <a:gd name="T52" fmla="*/ 180 w 308"/>
                  <a:gd name="T53" fmla="*/ 62 h 240"/>
                  <a:gd name="T54" fmla="*/ 186 w 308"/>
                  <a:gd name="T55" fmla="*/ 48 h 240"/>
                  <a:gd name="T56" fmla="*/ 196 w 308"/>
                  <a:gd name="T57" fmla="*/ 42 h 240"/>
                  <a:gd name="T58" fmla="*/ 198 w 308"/>
                  <a:gd name="T59" fmla="*/ 42 h 240"/>
                  <a:gd name="T60" fmla="*/ 208 w 308"/>
                  <a:gd name="T61" fmla="*/ 50 h 240"/>
                  <a:gd name="T62" fmla="*/ 210 w 308"/>
                  <a:gd name="T63" fmla="*/ 64 h 240"/>
                  <a:gd name="T64" fmla="*/ 216 w 308"/>
                  <a:gd name="T65" fmla="*/ 76 h 240"/>
                  <a:gd name="T66" fmla="*/ 218 w 308"/>
                  <a:gd name="T67" fmla="*/ 240 h 240"/>
                  <a:gd name="T68" fmla="*/ 242 w 308"/>
                  <a:gd name="T69" fmla="*/ 78 h 240"/>
                  <a:gd name="T70" fmla="*/ 244 w 308"/>
                  <a:gd name="T71" fmla="*/ 68 h 240"/>
                  <a:gd name="T72" fmla="*/ 250 w 308"/>
                  <a:gd name="T73" fmla="*/ 54 h 240"/>
                  <a:gd name="T74" fmla="*/ 260 w 308"/>
                  <a:gd name="T75" fmla="*/ 48 h 240"/>
                  <a:gd name="T76" fmla="*/ 262 w 308"/>
                  <a:gd name="T77" fmla="*/ 48 h 240"/>
                  <a:gd name="T78" fmla="*/ 272 w 308"/>
                  <a:gd name="T79" fmla="*/ 56 h 240"/>
                  <a:gd name="T80" fmla="*/ 276 w 308"/>
                  <a:gd name="T81" fmla="*/ 70 h 240"/>
                  <a:gd name="T82" fmla="*/ 280 w 308"/>
                  <a:gd name="T83" fmla="*/ 82 h 240"/>
                  <a:gd name="T84" fmla="*/ 286 w 308"/>
                  <a:gd name="T85" fmla="*/ 240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8" h="240">
                    <a:moveTo>
                      <a:pt x="308" y="44"/>
                    </a:moveTo>
                    <a:lnTo>
                      <a:pt x="308" y="44"/>
                    </a:lnTo>
                    <a:lnTo>
                      <a:pt x="308" y="36"/>
                    </a:lnTo>
                    <a:lnTo>
                      <a:pt x="304" y="30"/>
                    </a:lnTo>
                    <a:lnTo>
                      <a:pt x="300" y="26"/>
                    </a:lnTo>
                    <a:lnTo>
                      <a:pt x="294" y="24"/>
                    </a:lnTo>
                    <a:lnTo>
                      <a:pt x="44" y="0"/>
                    </a:lnTo>
                    <a:lnTo>
                      <a:pt x="44" y="0"/>
                    </a:lnTo>
                    <a:lnTo>
                      <a:pt x="36" y="0"/>
                    </a:lnTo>
                    <a:lnTo>
                      <a:pt x="30" y="4"/>
                    </a:lnTo>
                    <a:lnTo>
                      <a:pt x="26" y="10"/>
                    </a:lnTo>
                    <a:lnTo>
                      <a:pt x="24" y="16"/>
                    </a:lnTo>
                    <a:lnTo>
                      <a:pt x="0" y="240"/>
                    </a:lnTo>
                    <a:lnTo>
                      <a:pt x="22" y="240"/>
                    </a:lnTo>
                    <a:lnTo>
                      <a:pt x="44" y="60"/>
                    </a:lnTo>
                    <a:lnTo>
                      <a:pt x="50" y="60"/>
                    </a:lnTo>
                    <a:lnTo>
                      <a:pt x="50" y="50"/>
                    </a:lnTo>
                    <a:lnTo>
                      <a:pt x="50" y="50"/>
                    </a:lnTo>
                    <a:lnTo>
                      <a:pt x="52" y="42"/>
                    </a:lnTo>
                    <a:lnTo>
                      <a:pt x="56" y="36"/>
                    </a:lnTo>
                    <a:lnTo>
                      <a:pt x="62" y="32"/>
                    </a:lnTo>
                    <a:lnTo>
                      <a:pt x="68" y="30"/>
                    </a:lnTo>
                    <a:lnTo>
                      <a:pt x="70" y="30"/>
                    </a:lnTo>
                    <a:lnTo>
                      <a:pt x="70" y="30"/>
                    </a:lnTo>
                    <a:lnTo>
                      <a:pt x="76" y="32"/>
                    </a:lnTo>
                    <a:lnTo>
                      <a:pt x="80" y="38"/>
                    </a:lnTo>
                    <a:lnTo>
                      <a:pt x="82" y="44"/>
                    </a:lnTo>
                    <a:lnTo>
                      <a:pt x="82" y="52"/>
                    </a:lnTo>
                    <a:lnTo>
                      <a:pt x="80" y="64"/>
                    </a:lnTo>
                    <a:lnTo>
                      <a:pt x="88" y="64"/>
                    </a:lnTo>
                    <a:lnTo>
                      <a:pt x="68" y="240"/>
                    </a:lnTo>
                    <a:lnTo>
                      <a:pt x="88" y="240"/>
                    </a:lnTo>
                    <a:lnTo>
                      <a:pt x="108" y="66"/>
                    </a:lnTo>
                    <a:lnTo>
                      <a:pt x="114" y="66"/>
                    </a:lnTo>
                    <a:lnTo>
                      <a:pt x="116" y="56"/>
                    </a:lnTo>
                    <a:lnTo>
                      <a:pt x="116" y="56"/>
                    </a:lnTo>
                    <a:lnTo>
                      <a:pt x="118" y="48"/>
                    </a:lnTo>
                    <a:lnTo>
                      <a:pt x="122" y="42"/>
                    </a:lnTo>
                    <a:lnTo>
                      <a:pt x="126" y="38"/>
                    </a:lnTo>
                    <a:lnTo>
                      <a:pt x="132" y="36"/>
                    </a:lnTo>
                    <a:lnTo>
                      <a:pt x="134" y="36"/>
                    </a:lnTo>
                    <a:lnTo>
                      <a:pt x="134" y="36"/>
                    </a:lnTo>
                    <a:lnTo>
                      <a:pt x="140" y="38"/>
                    </a:lnTo>
                    <a:lnTo>
                      <a:pt x="144" y="44"/>
                    </a:lnTo>
                    <a:lnTo>
                      <a:pt x="146" y="50"/>
                    </a:lnTo>
                    <a:lnTo>
                      <a:pt x="146" y="58"/>
                    </a:lnTo>
                    <a:lnTo>
                      <a:pt x="146" y="70"/>
                    </a:lnTo>
                    <a:lnTo>
                      <a:pt x="152" y="70"/>
                    </a:lnTo>
                    <a:lnTo>
                      <a:pt x="132" y="240"/>
                    </a:lnTo>
                    <a:lnTo>
                      <a:pt x="152" y="240"/>
                    </a:lnTo>
                    <a:lnTo>
                      <a:pt x="172" y="72"/>
                    </a:lnTo>
                    <a:lnTo>
                      <a:pt x="178" y="72"/>
                    </a:lnTo>
                    <a:lnTo>
                      <a:pt x="180" y="62"/>
                    </a:lnTo>
                    <a:lnTo>
                      <a:pt x="180" y="62"/>
                    </a:lnTo>
                    <a:lnTo>
                      <a:pt x="182" y="54"/>
                    </a:lnTo>
                    <a:lnTo>
                      <a:pt x="186" y="48"/>
                    </a:lnTo>
                    <a:lnTo>
                      <a:pt x="190" y="44"/>
                    </a:lnTo>
                    <a:lnTo>
                      <a:pt x="196" y="42"/>
                    </a:lnTo>
                    <a:lnTo>
                      <a:pt x="198" y="42"/>
                    </a:lnTo>
                    <a:lnTo>
                      <a:pt x="198" y="42"/>
                    </a:lnTo>
                    <a:lnTo>
                      <a:pt x="204" y="44"/>
                    </a:lnTo>
                    <a:lnTo>
                      <a:pt x="208" y="50"/>
                    </a:lnTo>
                    <a:lnTo>
                      <a:pt x="210" y="56"/>
                    </a:lnTo>
                    <a:lnTo>
                      <a:pt x="210" y="64"/>
                    </a:lnTo>
                    <a:lnTo>
                      <a:pt x="210" y="76"/>
                    </a:lnTo>
                    <a:lnTo>
                      <a:pt x="216" y="76"/>
                    </a:lnTo>
                    <a:lnTo>
                      <a:pt x="198" y="240"/>
                    </a:lnTo>
                    <a:lnTo>
                      <a:pt x="218" y="240"/>
                    </a:lnTo>
                    <a:lnTo>
                      <a:pt x="236" y="78"/>
                    </a:lnTo>
                    <a:lnTo>
                      <a:pt x="242" y="78"/>
                    </a:lnTo>
                    <a:lnTo>
                      <a:pt x="244" y="68"/>
                    </a:lnTo>
                    <a:lnTo>
                      <a:pt x="244" y="68"/>
                    </a:lnTo>
                    <a:lnTo>
                      <a:pt x="246" y="60"/>
                    </a:lnTo>
                    <a:lnTo>
                      <a:pt x="250" y="54"/>
                    </a:lnTo>
                    <a:lnTo>
                      <a:pt x="254" y="50"/>
                    </a:lnTo>
                    <a:lnTo>
                      <a:pt x="260" y="48"/>
                    </a:lnTo>
                    <a:lnTo>
                      <a:pt x="262" y="48"/>
                    </a:lnTo>
                    <a:lnTo>
                      <a:pt x="262" y="48"/>
                    </a:lnTo>
                    <a:lnTo>
                      <a:pt x="268" y="50"/>
                    </a:lnTo>
                    <a:lnTo>
                      <a:pt x="272" y="56"/>
                    </a:lnTo>
                    <a:lnTo>
                      <a:pt x="274" y="62"/>
                    </a:lnTo>
                    <a:lnTo>
                      <a:pt x="276" y="70"/>
                    </a:lnTo>
                    <a:lnTo>
                      <a:pt x="274" y="82"/>
                    </a:lnTo>
                    <a:lnTo>
                      <a:pt x="280" y="82"/>
                    </a:lnTo>
                    <a:lnTo>
                      <a:pt x="262" y="240"/>
                    </a:lnTo>
                    <a:lnTo>
                      <a:pt x="286" y="240"/>
                    </a:lnTo>
                    <a:lnTo>
                      <a:pt x="308" y="4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29" name="Freeform 36">
                <a:extLst>
                  <a:ext uri="{FF2B5EF4-FFF2-40B4-BE49-F238E27FC236}">
                    <a16:creationId xmlns:a16="http://schemas.microsoft.com/office/drawing/2014/main" id="{EA822D40-8BBC-4C0F-BB5F-F5A540B52933}"/>
                  </a:ext>
                </a:extLst>
              </p:cNvPr>
              <p:cNvSpPr>
                <a:spLocks/>
              </p:cNvSpPr>
              <p:nvPr/>
            </p:nvSpPr>
            <p:spPr bwMode="auto">
              <a:xfrm>
                <a:off x="8039214" y="6558441"/>
                <a:ext cx="179147" cy="78151"/>
              </a:xfrm>
              <a:custGeom>
                <a:avLst/>
                <a:gdLst>
                  <a:gd name="T0" fmla="*/ 298 w 298"/>
                  <a:gd name="T1" fmla="*/ 26 h 130"/>
                  <a:gd name="T2" fmla="*/ 14 w 298"/>
                  <a:gd name="T3" fmla="*/ 0 h 130"/>
                  <a:gd name="T4" fmla="*/ 0 w 298"/>
                  <a:gd name="T5" fmla="*/ 130 h 130"/>
                  <a:gd name="T6" fmla="*/ 286 w 298"/>
                  <a:gd name="T7" fmla="*/ 130 h 130"/>
                  <a:gd name="T8" fmla="*/ 298 w 298"/>
                  <a:gd name="T9" fmla="*/ 26 h 130"/>
                </a:gdLst>
                <a:ahLst/>
                <a:cxnLst>
                  <a:cxn ang="0">
                    <a:pos x="T0" y="T1"/>
                  </a:cxn>
                  <a:cxn ang="0">
                    <a:pos x="T2" y="T3"/>
                  </a:cxn>
                  <a:cxn ang="0">
                    <a:pos x="T4" y="T5"/>
                  </a:cxn>
                  <a:cxn ang="0">
                    <a:pos x="T6" y="T7"/>
                  </a:cxn>
                  <a:cxn ang="0">
                    <a:pos x="T8" y="T9"/>
                  </a:cxn>
                </a:cxnLst>
                <a:rect l="0" t="0" r="r" b="b"/>
                <a:pathLst>
                  <a:path w="298" h="130">
                    <a:moveTo>
                      <a:pt x="298" y="26"/>
                    </a:moveTo>
                    <a:lnTo>
                      <a:pt x="14" y="0"/>
                    </a:lnTo>
                    <a:lnTo>
                      <a:pt x="0" y="130"/>
                    </a:lnTo>
                    <a:lnTo>
                      <a:pt x="286" y="130"/>
                    </a:lnTo>
                    <a:lnTo>
                      <a:pt x="298" y="2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130" name="Group 2129">
            <a:extLst>
              <a:ext uri="{FF2B5EF4-FFF2-40B4-BE49-F238E27FC236}">
                <a16:creationId xmlns:a16="http://schemas.microsoft.com/office/drawing/2014/main" id="{D39553FE-8ECF-4B76-A862-8E6281608A07}"/>
              </a:ext>
            </a:extLst>
          </p:cNvPr>
          <p:cNvGrpSpPr/>
          <p:nvPr/>
        </p:nvGrpSpPr>
        <p:grpSpPr>
          <a:xfrm>
            <a:off x="3881449" y="4756107"/>
            <a:ext cx="612000" cy="612000"/>
            <a:chOff x="2049085" y="5357300"/>
            <a:chExt cx="612000" cy="612000"/>
          </a:xfrm>
        </p:grpSpPr>
        <p:sp>
          <p:nvSpPr>
            <p:cNvPr id="2131" name="Oval 2130">
              <a:extLst>
                <a:ext uri="{FF2B5EF4-FFF2-40B4-BE49-F238E27FC236}">
                  <a16:creationId xmlns:a16="http://schemas.microsoft.com/office/drawing/2014/main" id="{CD30AE99-38F5-475B-8F6D-26510295FF11}"/>
                </a:ext>
              </a:extLst>
            </p:cNvPr>
            <p:cNvSpPr/>
            <p:nvPr/>
          </p:nvSpPr>
          <p:spPr bwMode="ltGray">
            <a:xfrm>
              <a:off x="2049085" y="5357300"/>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132" name="Group 2131">
              <a:extLst>
                <a:ext uri="{FF2B5EF4-FFF2-40B4-BE49-F238E27FC236}">
                  <a16:creationId xmlns:a16="http://schemas.microsoft.com/office/drawing/2014/main" id="{A98E3024-F15B-4E18-AABF-C1C0350086CA}"/>
                </a:ext>
              </a:extLst>
            </p:cNvPr>
            <p:cNvGrpSpPr/>
            <p:nvPr/>
          </p:nvGrpSpPr>
          <p:grpSpPr>
            <a:xfrm>
              <a:off x="2220676" y="5406156"/>
              <a:ext cx="323426" cy="485742"/>
              <a:chOff x="4980488" y="6149648"/>
              <a:chExt cx="323426" cy="485742"/>
            </a:xfrm>
            <a:solidFill>
              <a:srgbClr val="3C3C3E"/>
            </a:solidFill>
          </p:grpSpPr>
          <p:sp>
            <p:nvSpPr>
              <p:cNvPr id="2133" name="Freeform 37">
                <a:extLst>
                  <a:ext uri="{FF2B5EF4-FFF2-40B4-BE49-F238E27FC236}">
                    <a16:creationId xmlns:a16="http://schemas.microsoft.com/office/drawing/2014/main" id="{ED1B34A6-32FA-43FE-BC4F-0F2DFBEC20A9}"/>
                  </a:ext>
                </a:extLst>
              </p:cNvPr>
              <p:cNvSpPr>
                <a:spLocks/>
              </p:cNvSpPr>
              <p:nvPr/>
            </p:nvSpPr>
            <p:spPr bwMode="auto">
              <a:xfrm>
                <a:off x="5005737" y="6231407"/>
                <a:ext cx="49296" cy="30058"/>
              </a:xfrm>
              <a:custGeom>
                <a:avLst/>
                <a:gdLst>
                  <a:gd name="T0" fmla="*/ 42 w 82"/>
                  <a:gd name="T1" fmla="*/ 0 h 50"/>
                  <a:gd name="T2" fmla="*/ 0 w 82"/>
                  <a:gd name="T3" fmla="*/ 50 h 50"/>
                  <a:gd name="T4" fmla="*/ 82 w 82"/>
                  <a:gd name="T5" fmla="*/ 50 h 50"/>
                  <a:gd name="T6" fmla="*/ 42 w 82"/>
                  <a:gd name="T7" fmla="*/ 0 h 50"/>
                </a:gdLst>
                <a:ahLst/>
                <a:cxnLst>
                  <a:cxn ang="0">
                    <a:pos x="T0" y="T1"/>
                  </a:cxn>
                  <a:cxn ang="0">
                    <a:pos x="T2" y="T3"/>
                  </a:cxn>
                  <a:cxn ang="0">
                    <a:pos x="T4" y="T5"/>
                  </a:cxn>
                  <a:cxn ang="0">
                    <a:pos x="T6" y="T7"/>
                  </a:cxn>
                </a:cxnLst>
                <a:rect l="0" t="0" r="r" b="b"/>
                <a:pathLst>
                  <a:path w="82" h="50">
                    <a:moveTo>
                      <a:pt x="42" y="0"/>
                    </a:moveTo>
                    <a:lnTo>
                      <a:pt x="0" y="50"/>
                    </a:lnTo>
                    <a:lnTo>
                      <a:pt x="82" y="50"/>
                    </a:lnTo>
                    <a:lnTo>
                      <a:pt x="42"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34" name="Freeform 38">
                <a:extLst>
                  <a:ext uri="{FF2B5EF4-FFF2-40B4-BE49-F238E27FC236}">
                    <a16:creationId xmlns:a16="http://schemas.microsoft.com/office/drawing/2014/main" id="{8D101FA4-C98C-486C-93FA-59561B18E85D}"/>
                  </a:ext>
                </a:extLst>
              </p:cNvPr>
              <p:cNvSpPr>
                <a:spLocks/>
              </p:cNvSpPr>
              <p:nvPr/>
            </p:nvSpPr>
            <p:spPr bwMode="auto">
              <a:xfrm>
                <a:off x="5023772" y="6149648"/>
                <a:ext cx="13226" cy="97389"/>
              </a:xfrm>
              <a:custGeom>
                <a:avLst/>
                <a:gdLst>
                  <a:gd name="T0" fmla="*/ 12 w 22"/>
                  <a:gd name="T1" fmla="*/ 0 h 162"/>
                  <a:gd name="T2" fmla="*/ 0 w 22"/>
                  <a:gd name="T3" fmla="*/ 162 h 162"/>
                  <a:gd name="T4" fmla="*/ 22 w 22"/>
                  <a:gd name="T5" fmla="*/ 162 h 162"/>
                  <a:gd name="T6" fmla="*/ 12 w 22"/>
                  <a:gd name="T7" fmla="*/ 0 h 162"/>
                </a:gdLst>
                <a:ahLst/>
                <a:cxnLst>
                  <a:cxn ang="0">
                    <a:pos x="T0" y="T1"/>
                  </a:cxn>
                  <a:cxn ang="0">
                    <a:pos x="T2" y="T3"/>
                  </a:cxn>
                  <a:cxn ang="0">
                    <a:pos x="T4" y="T5"/>
                  </a:cxn>
                  <a:cxn ang="0">
                    <a:pos x="T6" y="T7"/>
                  </a:cxn>
                </a:cxnLst>
                <a:rect l="0" t="0" r="r" b="b"/>
                <a:pathLst>
                  <a:path w="22" h="162">
                    <a:moveTo>
                      <a:pt x="12" y="0"/>
                    </a:moveTo>
                    <a:lnTo>
                      <a:pt x="0" y="162"/>
                    </a:lnTo>
                    <a:lnTo>
                      <a:pt x="22" y="162"/>
                    </a:lnTo>
                    <a:lnTo>
                      <a:pt x="12"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35" name="Rectangle 39">
                <a:extLst>
                  <a:ext uri="{FF2B5EF4-FFF2-40B4-BE49-F238E27FC236}">
                    <a16:creationId xmlns:a16="http://schemas.microsoft.com/office/drawing/2014/main" id="{F6C6F3EF-B917-4DBB-B053-BA2405D07855}"/>
                  </a:ext>
                </a:extLst>
              </p:cNvPr>
              <p:cNvSpPr>
                <a:spLocks noChangeArrowheads="1"/>
              </p:cNvSpPr>
              <p:nvPr/>
            </p:nvSpPr>
            <p:spPr bwMode="auto">
              <a:xfrm>
                <a:off x="5004535" y="6265072"/>
                <a:ext cx="51700" cy="21642"/>
              </a:xfrm>
              <a:prstGeom prst="rect">
                <a:avLst/>
              </a:pr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36" name="Freeform 40">
                <a:extLst>
                  <a:ext uri="{FF2B5EF4-FFF2-40B4-BE49-F238E27FC236}">
                    <a16:creationId xmlns:a16="http://schemas.microsoft.com/office/drawing/2014/main" id="{D7689F54-F4DA-467F-8405-E50B0D600A2C}"/>
                  </a:ext>
                </a:extLst>
              </p:cNvPr>
              <p:cNvSpPr>
                <a:spLocks noEditPoints="1"/>
              </p:cNvSpPr>
              <p:nvPr/>
            </p:nvSpPr>
            <p:spPr bwMode="auto">
              <a:xfrm>
                <a:off x="4992511" y="6397328"/>
                <a:ext cx="74544" cy="238061"/>
              </a:xfrm>
              <a:custGeom>
                <a:avLst/>
                <a:gdLst>
                  <a:gd name="T0" fmla="*/ 0 w 124"/>
                  <a:gd name="T1" fmla="*/ 0 h 396"/>
                  <a:gd name="T2" fmla="*/ 0 w 124"/>
                  <a:gd name="T3" fmla="*/ 396 h 396"/>
                  <a:gd name="T4" fmla="*/ 124 w 124"/>
                  <a:gd name="T5" fmla="*/ 396 h 396"/>
                  <a:gd name="T6" fmla="*/ 124 w 124"/>
                  <a:gd name="T7" fmla="*/ 0 h 396"/>
                  <a:gd name="T8" fmla="*/ 0 w 124"/>
                  <a:gd name="T9" fmla="*/ 0 h 396"/>
                  <a:gd name="T10" fmla="*/ 40 w 124"/>
                  <a:gd name="T11" fmla="*/ 376 h 396"/>
                  <a:gd name="T12" fmla="*/ 40 w 124"/>
                  <a:gd name="T13" fmla="*/ 376 h 396"/>
                  <a:gd name="T14" fmla="*/ 40 w 124"/>
                  <a:gd name="T15" fmla="*/ 378 h 396"/>
                  <a:gd name="T16" fmla="*/ 38 w 124"/>
                  <a:gd name="T17" fmla="*/ 380 h 396"/>
                  <a:gd name="T18" fmla="*/ 26 w 124"/>
                  <a:gd name="T19" fmla="*/ 380 h 396"/>
                  <a:gd name="T20" fmla="*/ 26 w 124"/>
                  <a:gd name="T21" fmla="*/ 380 h 396"/>
                  <a:gd name="T22" fmla="*/ 24 w 124"/>
                  <a:gd name="T23" fmla="*/ 378 h 396"/>
                  <a:gd name="T24" fmla="*/ 24 w 124"/>
                  <a:gd name="T25" fmla="*/ 376 h 396"/>
                  <a:gd name="T26" fmla="*/ 24 w 124"/>
                  <a:gd name="T27" fmla="*/ 26 h 396"/>
                  <a:gd name="T28" fmla="*/ 24 w 124"/>
                  <a:gd name="T29" fmla="*/ 26 h 396"/>
                  <a:gd name="T30" fmla="*/ 24 w 124"/>
                  <a:gd name="T31" fmla="*/ 24 h 396"/>
                  <a:gd name="T32" fmla="*/ 26 w 124"/>
                  <a:gd name="T33" fmla="*/ 24 h 396"/>
                  <a:gd name="T34" fmla="*/ 38 w 124"/>
                  <a:gd name="T35" fmla="*/ 24 h 396"/>
                  <a:gd name="T36" fmla="*/ 38 w 124"/>
                  <a:gd name="T37" fmla="*/ 24 h 396"/>
                  <a:gd name="T38" fmla="*/ 40 w 124"/>
                  <a:gd name="T39" fmla="*/ 24 h 396"/>
                  <a:gd name="T40" fmla="*/ 40 w 124"/>
                  <a:gd name="T41" fmla="*/ 26 h 396"/>
                  <a:gd name="T42" fmla="*/ 40 w 124"/>
                  <a:gd name="T43" fmla="*/ 376 h 396"/>
                  <a:gd name="T44" fmla="*/ 72 w 124"/>
                  <a:gd name="T45" fmla="*/ 376 h 396"/>
                  <a:gd name="T46" fmla="*/ 72 w 124"/>
                  <a:gd name="T47" fmla="*/ 376 h 396"/>
                  <a:gd name="T48" fmla="*/ 72 w 124"/>
                  <a:gd name="T49" fmla="*/ 378 h 396"/>
                  <a:gd name="T50" fmla="*/ 70 w 124"/>
                  <a:gd name="T51" fmla="*/ 380 h 396"/>
                  <a:gd name="T52" fmla="*/ 58 w 124"/>
                  <a:gd name="T53" fmla="*/ 380 h 396"/>
                  <a:gd name="T54" fmla="*/ 58 w 124"/>
                  <a:gd name="T55" fmla="*/ 380 h 396"/>
                  <a:gd name="T56" fmla="*/ 56 w 124"/>
                  <a:gd name="T57" fmla="*/ 378 h 396"/>
                  <a:gd name="T58" fmla="*/ 56 w 124"/>
                  <a:gd name="T59" fmla="*/ 376 h 396"/>
                  <a:gd name="T60" fmla="*/ 56 w 124"/>
                  <a:gd name="T61" fmla="*/ 26 h 396"/>
                  <a:gd name="T62" fmla="*/ 56 w 124"/>
                  <a:gd name="T63" fmla="*/ 26 h 396"/>
                  <a:gd name="T64" fmla="*/ 56 w 124"/>
                  <a:gd name="T65" fmla="*/ 24 h 396"/>
                  <a:gd name="T66" fmla="*/ 58 w 124"/>
                  <a:gd name="T67" fmla="*/ 24 h 396"/>
                  <a:gd name="T68" fmla="*/ 70 w 124"/>
                  <a:gd name="T69" fmla="*/ 24 h 396"/>
                  <a:gd name="T70" fmla="*/ 70 w 124"/>
                  <a:gd name="T71" fmla="*/ 24 h 396"/>
                  <a:gd name="T72" fmla="*/ 72 w 124"/>
                  <a:gd name="T73" fmla="*/ 24 h 396"/>
                  <a:gd name="T74" fmla="*/ 72 w 124"/>
                  <a:gd name="T75" fmla="*/ 26 h 396"/>
                  <a:gd name="T76" fmla="*/ 72 w 124"/>
                  <a:gd name="T77" fmla="*/ 376 h 396"/>
                  <a:gd name="T78" fmla="*/ 104 w 124"/>
                  <a:gd name="T79" fmla="*/ 376 h 396"/>
                  <a:gd name="T80" fmla="*/ 104 w 124"/>
                  <a:gd name="T81" fmla="*/ 376 h 396"/>
                  <a:gd name="T82" fmla="*/ 102 w 124"/>
                  <a:gd name="T83" fmla="*/ 378 h 396"/>
                  <a:gd name="T84" fmla="*/ 100 w 124"/>
                  <a:gd name="T85" fmla="*/ 380 h 396"/>
                  <a:gd name="T86" fmla="*/ 90 w 124"/>
                  <a:gd name="T87" fmla="*/ 380 h 396"/>
                  <a:gd name="T88" fmla="*/ 90 w 124"/>
                  <a:gd name="T89" fmla="*/ 380 h 396"/>
                  <a:gd name="T90" fmla="*/ 88 w 124"/>
                  <a:gd name="T91" fmla="*/ 378 h 396"/>
                  <a:gd name="T92" fmla="*/ 86 w 124"/>
                  <a:gd name="T93" fmla="*/ 376 h 396"/>
                  <a:gd name="T94" fmla="*/ 86 w 124"/>
                  <a:gd name="T95" fmla="*/ 26 h 396"/>
                  <a:gd name="T96" fmla="*/ 86 w 124"/>
                  <a:gd name="T97" fmla="*/ 26 h 396"/>
                  <a:gd name="T98" fmla="*/ 88 w 124"/>
                  <a:gd name="T99" fmla="*/ 24 h 396"/>
                  <a:gd name="T100" fmla="*/ 90 w 124"/>
                  <a:gd name="T101" fmla="*/ 24 h 396"/>
                  <a:gd name="T102" fmla="*/ 100 w 124"/>
                  <a:gd name="T103" fmla="*/ 24 h 396"/>
                  <a:gd name="T104" fmla="*/ 100 w 124"/>
                  <a:gd name="T105" fmla="*/ 24 h 396"/>
                  <a:gd name="T106" fmla="*/ 102 w 124"/>
                  <a:gd name="T107" fmla="*/ 24 h 396"/>
                  <a:gd name="T108" fmla="*/ 104 w 124"/>
                  <a:gd name="T109" fmla="*/ 26 h 396"/>
                  <a:gd name="T110" fmla="*/ 104 w 124"/>
                  <a:gd name="T111" fmla="*/ 37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4" h="396">
                    <a:moveTo>
                      <a:pt x="0" y="0"/>
                    </a:moveTo>
                    <a:lnTo>
                      <a:pt x="0" y="396"/>
                    </a:lnTo>
                    <a:lnTo>
                      <a:pt x="124" y="396"/>
                    </a:lnTo>
                    <a:lnTo>
                      <a:pt x="124" y="0"/>
                    </a:lnTo>
                    <a:lnTo>
                      <a:pt x="0" y="0"/>
                    </a:lnTo>
                    <a:close/>
                    <a:moveTo>
                      <a:pt x="40" y="376"/>
                    </a:moveTo>
                    <a:lnTo>
                      <a:pt x="40" y="376"/>
                    </a:lnTo>
                    <a:lnTo>
                      <a:pt x="40" y="378"/>
                    </a:lnTo>
                    <a:lnTo>
                      <a:pt x="38" y="380"/>
                    </a:lnTo>
                    <a:lnTo>
                      <a:pt x="26" y="380"/>
                    </a:lnTo>
                    <a:lnTo>
                      <a:pt x="26" y="380"/>
                    </a:lnTo>
                    <a:lnTo>
                      <a:pt x="24" y="378"/>
                    </a:lnTo>
                    <a:lnTo>
                      <a:pt x="24" y="376"/>
                    </a:lnTo>
                    <a:lnTo>
                      <a:pt x="24" y="26"/>
                    </a:lnTo>
                    <a:lnTo>
                      <a:pt x="24" y="26"/>
                    </a:lnTo>
                    <a:lnTo>
                      <a:pt x="24" y="24"/>
                    </a:lnTo>
                    <a:lnTo>
                      <a:pt x="26" y="24"/>
                    </a:lnTo>
                    <a:lnTo>
                      <a:pt x="38" y="24"/>
                    </a:lnTo>
                    <a:lnTo>
                      <a:pt x="38" y="24"/>
                    </a:lnTo>
                    <a:lnTo>
                      <a:pt x="40" y="24"/>
                    </a:lnTo>
                    <a:lnTo>
                      <a:pt x="40" y="26"/>
                    </a:lnTo>
                    <a:lnTo>
                      <a:pt x="40" y="376"/>
                    </a:lnTo>
                    <a:close/>
                    <a:moveTo>
                      <a:pt x="72" y="376"/>
                    </a:moveTo>
                    <a:lnTo>
                      <a:pt x="72" y="376"/>
                    </a:lnTo>
                    <a:lnTo>
                      <a:pt x="72" y="378"/>
                    </a:lnTo>
                    <a:lnTo>
                      <a:pt x="70" y="380"/>
                    </a:lnTo>
                    <a:lnTo>
                      <a:pt x="58" y="380"/>
                    </a:lnTo>
                    <a:lnTo>
                      <a:pt x="58" y="380"/>
                    </a:lnTo>
                    <a:lnTo>
                      <a:pt x="56" y="378"/>
                    </a:lnTo>
                    <a:lnTo>
                      <a:pt x="56" y="376"/>
                    </a:lnTo>
                    <a:lnTo>
                      <a:pt x="56" y="26"/>
                    </a:lnTo>
                    <a:lnTo>
                      <a:pt x="56" y="26"/>
                    </a:lnTo>
                    <a:lnTo>
                      <a:pt x="56" y="24"/>
                    </a:lnTo>
                    <a:lnTo>
                      <a:pt x="58" y="24"/>
                    </a:lnTo>
                    <a:lnTo>
                      <a:pt x="70" y="24"/>
                    </a:lnTo>
                    <a:lnTo>
                      <a:pt x="70" y="24"/>
                    </a:lnTo>
                    <a:lnTo>
                      <a:pt x="72" y="24"/>
                    </a:lnTo>
                    <a:lnTo>
                      <a:pt x="72" y="26"/>
                    </a:lnTo>
                    <a:lnTo>
                      <a:pt x="72" y="376"/>
                    </a:lnTo>
                    <a:close/>
                    <a:moveTo>
                      <a:pt x="104" y="376"/>
                    </a:moveTo>
                    <a:lnTo>
                      <a:pt x="104" y="376"/>
                    </a:lnTo>
                    <a:lnTo>
                      <a:pt x="102" y="378"/>
                    </a:lnTo>
                    <a:lnTo>
                      <a:pt x="100" y="380"/>
                    </a:lnTo>
                    <a:lnTo>
                      <a:pt x="90" y="380"/>
                    </a:lnTo>
                    <a:lnTo>
                      <a:pt x="90" y="380"/>
                    </a:lnTo>
                    <a:lnTo>
                      <a:pt x="88" y="378"/>
                    </a:lnTo>
                    <a:lnTo>
                      <a:pt x="86" y="376"/>
                    </a:lnTo>
                    <a:lnTo>
                      <a:pt x="86" y="26"/>
                    </a:lnTo>
                    <a:lnTo>
                      <a:pt x="86" y="26"/>
                    </a:lnTo>
                    <a:lnTo>
                      <a:pt x="88" y="24"/>
                    </a:lnTo>
                    <a:lnTo>
                      <a:pt x="90" y="24"/>
                    </a:lnTo>
                    <a:lnTo>
                      <a:pt x="100" y="24"/>
                    </a:lnTo>
                    <a:lnTo>
                      <a:pt x="100" y="24"/>
                    </a:lnTo>
                    <a:lnTo>
                      <a:pt x="102" y="24"/>
                    </a:lnTo>
                    <a:lnTo>
                      <a:pt x="104" y="26"/>
                    </a:lnTo>
                    <a:lnTo>
                      <a:pt x="104" y="37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37" name="Freeform 41">
                <a:extLst>
                  <a:ext uri="{FF2B5EF4-FFF2-40B4-BE49-F238E27FC236}">
                    <a16:creationId xmlns:a16="http://schemas.microsoft.com/office/drawing/2014/main" id="{A7F68952-75BE-437E-9068-9696B48B4910}"/>
                  </a:ext>
                </a:extLst>
              </p:cNvPr>
              <p:cNvSpPr>
                <a:spLocks noEditPoints="1"/>
              </p:cNvSpPr>
              <p:nvPr/>
            </p:nvSpPr>
            <p:spPr bwMode="auto">
              <a:xfrm>
                <a:off x="4991309" y="6285512"/>
                <a:ext cx="76949" cy="27654"/>
              </a:xfrm>
              <a:custGeom>
                <a:avLst/>
                <a:gdLst>
                  <a:gd name="T0" fmla="*/ 0 w 128"/>
                  <a:gd name="T1" fmla="*/ 46 h 46"/>
                  <a:gd name="T2" fmla="*/ 128 w 128"/>
                  <a:gd name="T3" fmla="*/ 0 h 46"/>
                  <a:gd name="T4" fmla="*/ 18 w 128"/>
                  <a:gd name="T5" fmla="*/ 30 h 46"/>
                  <a:gd name="T6" fmla="*/ 18 w 128"/>
                  <a:gd name="T7" fmla="*/ 32 h 46"/>
                  <a:gd name="T8" fmla="*/ 12 w 128"/>
                  <a:gd name="T9" fmla="*/ 32 h 46"/>
                  <a:gd name="T10" fmla="*/ 8 w 128"/>
                  <a:gd name="T11" fmla="*/ 32 h 46"/>
                  <a:gd name="T12" fmla="*/ 8 w 128"/>
                  <a:gd name="T13" fmla="*/ 12 h 46"/>
                  <a:gd name="T14" fmla="*/ 8 w 128"/>
                  <a:gd name="T15" fmla="*/ 10 h 46"/>
                  <a:gd name="T16" fmla="*/ 16 w 128"/>
                  <a:gd name="T17" fmla="*/ 8 h 46"/>
                  <a:gd name="T18" fmla="*/ 18 w 128"/>
                  <a:gd name="T19" fmla="*/ 10 h 46"/>
                  <a:gd name="T20" fmla="*/ 18 w 128"/>
                  <a:gd name="T21" fmla="*/ 30 h 46"/>
                  <a:gd name="T22" fmla="*/ 36 w 128"/>
                  <a:gd name="T23" fmla="*/ 30 h 46"/>
                  <a:gd name="T24" fmla="*/ 32 w 128"/>
                  <a:gd name="T25" fmla="*/ 32 h 46"/>
                  <a:gd name="T26" fmla="*/ 28 w 128"/>
                  <a:gd name="T27" fmla="*/ 32 h 46"/>
                  <a:gd name="T28" fmla="*/ 26 w 128"/>
                  <a:gd name="T29" fmla="*/ 30 h 46"/>
                  <a:gd name="T30" fmla="*/ 26 w 128"/>
                  <a:gd name="T31" fmla="*/ 12 h 46"/>
                  <a:gd name="T32" fmla="*/ 28 w 128"/>
                  <a:gd name="T33" fmla="*/ 8 h 46"/>
                  <a:gd name="T34" fmla="*/ 32 w 128"/>
                  <a:gd name="T35" fmla="*/ 8 h 46"/>
                  <a:gd name="T36" fmla="*/ 36 w 128"/>
                  <a:gd name="T37" fmla="*/ 12 h 46"/>
                  <a:gd name="T38" fmla="*/ 52 w 128"/>
                  <a:gd name="T39" fmla="*/ 30 h 46"/>
                  <a:gd name="T40" fmla="*/ 52 w 128"/>
                  <a:gd name="T41" fmla="*/ 32 h 46"/>
                  <a:gd name="T42" fmla="*/ 46 w 128"/>
                  <a:gd name="T43" fmla="*/ 32 h 46"/>
                  <a:gd name="T44" fmla="*/ 44 w 128"/>
                  <a:gd name="T45" fmla="*/ 32 h 46"/>
                  <a:gd name="T46" fmla="*/ 42 w 128"/>
                  <a:gd name="T47" fmla="*/ 12 h 46"/>
                  <a:gd name="T48" fmla="*/ 44 w 128"/>
                  <a:gd name="T49" fmla="*/ 10 h 46"/>
                  <a:gd name="T50" fmla="*/ 50 w 128"/>
                  <a:gd name="T51" fmla="*/ 8 h 46"/>
                  <a:gd name="T52" fmla="*/ 52 w 128"/>
                  <a:gd name="T53" fmla="*/ 10 h 46"/>
                  <a:gd name="T54" fmla="*/ 52 w 128"/>
                  <a:gd name="T55" fmla="*/ 30 h 46"/>
                  <a:gd name="T56" fmla="*/ 70 w 128"/>
                  <a:gd name="T57" fmla="*/ 30 h 46"/>
                  <a:gd name="T58" fmla="*/ 66 w 128"/>
                  <a:gd name="T59" fmla="*/ 32 h 46"/>
                  <a:gd name="T60" fmla="*/ 62 w 128"/>
                  <a:gd name="T61" fmla="*/ 32 h 46"/>
                  <a:gd name="T62" fmla="*/ 60 w 128"/>
                  <a:gd name="T63" fmla="*/ 30 h 46"/>
                  <a:gd name="T64" fmla="*/ 60 w 128"/>
                  <a:gd name="T65" fmla="*/ 12 h 46"/>
                  <a:gd name="T66" fmla="*/ 62 w 128"/>
                  <a:gd name="T67" fmla="*/ 8 h 46"/>
                  <a:gd name="T68" fmla="*/ 66 w 128"/>
                  <a:gd name="T69" fmla="*/ 8 h 46"/>
                  <a:gd name="T70" fmla="*/ 70 w 128"/>
                  <a:gd name="T71" fmla="*/ 12 h 46"/>
                  <a:gd name="T72" fmla="*/ 88 w 128"/>
                  <a:gd name="T73" fmla="*/ 30 h 46"/>
                  <a:gd name="T74" fmla="*/ 86 w 128"/>
                  <a:gd name="T75" fmla="*/ 32 h 46"/>
                  <a:gd name="T76" fmla="*/ 80 w 128"/>
                  <a:gd name="T77" fmla="*/ 32 h 46"/>
                  <a:gd name="T78" fmla="*/ 78 w 128"/>
                  <a:gd name="T79" fmla="*/ 32 h 46"/>
                  <a:gd name="T80" fmla="*/ 76 w 128"/>
                  <a:gd name="T81" fmla="*/ 12 h 46"/>
                  <a:gd name="T82" fmla="*/ 78 w 128"/>
                  <a:gd name="T83" fmla="*/ 10 h 46"/>
                  <a:gd name="T84" fmla="*/ 84 w 128"/>
                  <a:gd name="T85" fmla="*/ 8 h 46"/>
                  <a:gd name="T86" fmla="*/ 86 w 128"/>
                  <a:gd name="T87" fmla="*/ 10 h 46"/>
                  <a:gd name="T88" fmla="*/ 88 w 128"/>
                  <a:gd name="T89" fmla="*/ 30 h 46"/>
                  <a:gd name="T90" fmla="*/ 104 w 128"/>
                  <a:gd name="T91" fmla="*/ 30 h 46"/>
                  <a:gd name="T92" fmla="*/ 102 w 128"/>
                  <a:gd name="T93" fmla="*/ 32 h 46"/>
                  <a:gd name="T94" fmla="*/ 98 w 128"/>
                  <a:gd name="T95" fmla="*/ 32 h 46"/>
                  <a:gd name="T96" fmla="*/ 94 w 128"/>
                  <a:gd name="T97" fmla="*/ 30 h 46"/>
                  <a:gd name="T98" fmla="*/ 94 w 128"/>
                  <a:gd name="T99" fmla="*/ 12 h 46"/>
                  <a:gd name="T100" fmla="*/ 98 w 128"/>
                  <a:gd name="T101" fmla="*/ 8 h 46"/>
                  <a:gd name="T102" fmla="*/ 102 w 128"/>
                  <a:gd name="T103" fmla="*/ 8 h 46"/>
                  <a:gd name="T104" fmla="*/ 104 w 128"/>
                  <a:gd name="T105" fmla="*/ 12 h 46"/>
                  <a:gd name="T106" fmla="*/ 122 w 128"/>
                  <a:gd name="T107" fmla="*/ 30 h 46"/>
                  <a:gd name="T108" fmla="*/ 122 w 128"/>
                  <a:gd name="T109" fmla="*/ 32 h 46"/>
                  <a:gd name="T110" fmla="*/ 114 w 128"/>
                  <a:gd name="T111" fmla="*/ 32 h 46"/>
                  <a:gd name="T112" fmla="*/ 112 w 128"/>
                  <a:gd name="T113" fmla="*/ 32 h 46"/>
                  <a:gd name="T114" fmla="*/ 112 w 128"/>
                  <a:gd name="T115" fmla="*/ 12 h 46"/>
                  <a:gd name="T116" fmla="*/ 112 w 128"/>
                  <a:gd name="T117" fmla="*/ 10 h 46"/>
                  <a:gd name="T118" fmla="*/ 118 w 128"/>
                  <a:gd name="T119" fmla="*/ 8 h 46"/>
                  <a:gd name="T120" fmla="*/ 122 w 128"/>
                  <a:gd name="T121" fmla="*/ 10 h 46"/>
                  <a:gd name="T122" fmla="*/ 122 w 128"/>
                  <a:gd name="T123" fmla="*/ 3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8" h="46">
                    <a:moveTo>
                      <a:pt x="0" y="0"/>
                    </a:moveTo>
                    <a:lnTo>
                      <a:pt x="0" y="46"/>
                    </a:lnTo>
                    <a:lnTo>
                      <a:pt x="128" y="46"/>
                    </a:lnTo>
                    <a:lnTo>
                      <a:pt x="128" y="0"/>
                    </a:lnTo>
                    <a:lnTo>
                      <a:pt x="0" y="0"/>
                    </a:lnTo>
                    <a:close/>
                    <a:moveTo>
                      <a:pt x="18" y="30"/>
                    </a:moveTo>
                    <a:lnTo>
                      <a:pt x="18" y="30"/>
                    </a:lnTo>
                    <a:lnTo>
                      <a:pt x="18" y="32"/>
                    </a:lnTo>
                    <a:lnTo>
                      <a:pt x="16" y="32"/>
                    </a:lnTo>
                    <a:lnTo>
                      <a:pt x="12" y="32"/>
                    </a:lnTo>
                    <a:lnTo>
                      <a:pt x="12" y="32"/>
                    </a:lnTo>
                    <a:lnTo>
                      <a:pt x="8" y="32"/>
                    </a:lnTo>
                    <a:lnTo>
                      <a:pt x="8" y="30"/>
                    </a:lnTo>
                    <a:lnTo>
                      <a:pt x="8" y="12"/>
                    </a:lnTo>
                    <a:lnTo>
                      <a:pt x="8" y="12"/>
                    </a:lnTo>
                    <a:lnTo>
                      <a:pt x="8" y="10"/>
                    </a:lnTo>
                    <a:lnTo>
                      <a:pt x="12" y="8"/>
                    </a:lnTo>
                    <a:lnTo>
                      <a:pt x="16" y="8"/>
                    </a:lnTo>
                    <a:lnTo>
                      <a:pt x="16" y="8"/>
                    </a:lnTo>
                    <a:lnTo>
                      <a:pt x="18" y="10"/>
                    </a:lnTo>
                    <a:lnTo>
                      <a:pt x="18" y="12"/>
                    </a:lnTo>
                    <a:lnTo>
                      <a:pt x="18" y="30"/>
                    </a:lnTo>
                    <a:close/>
                    <a:moveTo>
                      <a:pt x="36" y="30"/>
                    </a:moveTo>
                    <a:lnTo>
                      <a:pt x="36" y="30"/>
                    </a:lnTo>
                    <a:lnTo>
                      <a:pt x="34" y="32"/>
                    </a:lnTo>
                    <a:lnTo>
                      <a:pt x="32" y="32"/>
                    </a:lnTo>
                    <a:lnTo>
                      <a:pt x="28" y="32"/>
                    </a:lnTo>
                    <a:lnTo>
                      <a:pt x="28" y="32"/>
                    </a:lnTo>
                    <a:lnTo>
                      <a:pt x="26" y="32"/>
                    </a:lnTo>
                    <a:lnTo>
                      <a:pt x="26" y="30"/>
                    </a:lnTo>
                    <a:lnTo>
                      <a:pt x="26" y="12"/>
                    </a:lnTo>
                    <a:lnTo>
                      <a:pt x="26" y="12"/>
                    </a:lnTo>
                    <a:lnTo>
                      <a:pt x="26" y="10"/>
                    </a:lnTo>
                    <a:lnTo>
                      <a:pt x="28" y="8"/>
                    </a:lnTo>
                    <a:lnTo>
                      <a:pt x="32" y="8"/>
                    </a:lnTo>
                    <a:lnTo>
                      <a:pt x="32" y="8"/>
                    </a:lnTo>
                    <a:lnTo>
                      <a:pt x="34" y="10"/>
                    </a:lnTo>
                    <a:lnTo>
                      <a:pt x="36" y="12"/>
                    </a:lnTo>
                    <a:lnTo>
                      <a:pt x="36" y="30"/>
                    </a:lnTo>
                    <a:close/>
                    <a:moveTo>
                      <a:pt x="52" y="30"/>
                    </a:moveTo>
                    <a:lnTo>
                      <a:pt x="52" y="30"/>
                    </a:lnTo>
                    <a:lnTo>
                      <a:pt x="52" y="32"/>
                    </a:lnTo>
                    <a:lnTo>
                      <a:pt x="50" y="32"/>
                    </a:lnTo>
                    <a:lnTo>
                      <a:pt x="46" y="32"/>
                    </a:lnTo>
                    <a:lnTo>
                      <a:pt x="46" y="32"/>
                    </a:lnTo>
                    <a:lnTo>
                      <a:pt x="44" y="32"/>
                    </a:lnTo>
                    <a:lnTo>
                      <a:pt x="42" y="30"/>
                    </a:lnTo>
                    <a:lnTo>
                      <a:pt x="42" y="12"/>
                    </a:lnTo>
                    <a:lnTo>
                      <a:pt x="42" y="12"/>
                    </a:lnTo>
                    <a:lnTo>
                      <a:pt x="44" y="10"/>
                    </a:lnTo>
                    <a:lnTo>
                      <a:pt x="46" y="8"/>
                    </a:lnTo>
                    <a:lnTo>
                      <a:pt x="50" y="8"/>
                    </a:lnTo>
                    <a:lnTo>
                      <a:pt x="50" y="8"/>
                    </a:lnTo>
                    <a:lnTo>
                      <a:pt x="52" y="10"/>
                    </a:lnTo>
                    <a:lnTo>
                      <a:pt x="52" y="12"/>
                    </a:lnTo>
                    <a:lnTo>
                      <a:pt x="52" y="30"/>
                    </a:lnTo>
                    <a:close/>
                    <a:moveTo>
                      <a:pt x="70" y="30"/>
                    </a:moveTo>
                    <a:lnTo>
                      <a:pt x="70" y="30"/>
                    </a:lnTo>
                    <a:lnTo>
                      <a:pt x="70" y="32"/>
                    </a:lnTo>
                    <a:lnTo>
                      <a:pt x="66" y="32"/>
                    </a:lnTo>
                    <a:lnTo>
                      <a:pt x="62" y="32"/>
                    </a:lnTo>
                    <a:lnTo>
                      <a:pt x="62" y="32"/>
                    </a:lnTo>
                    <a:lnTo>
                      <a:pt x="60" y="32"/>
                    </a:lnTo>
                    <a:lnTo>
                      <a:pt x="60" y="30"/>
                    </a:lnTo>
                    <a:lnTo>
                      <a:pt x="60" y="12"/>
                    </a:lnTo>
                    <a:lnTo>
                      <a:pt x="60" y="12"/>
                    </a:lnTo>
                    <a:lnTo>
                      <a:pt x="60" y="10"/>
                    </a:lnTo>
                    <a:lnTo>
                      <a:pt x="62" y="8"/>
                    </a:lnTo>
                    <a:lnTo>
                      <a:pt x="66" y="8"/>
                    </a:lnTo>
                    <a:lnTo>
                      <a:pt x="66" y="8"/>
                    </a:lnTo>
                    <a:lnTo>
                      <a:pt x="70" y="10"/>
                    </a:lnTo>
                    <a:lnTo>
                      <a:pt x="70" y="12"/>
                    </a:lnTo>
                    <a:lnTo>
                      <a:pt x="70" y="30"/>
                    </a:lnTo>
                    <a:close/>
                    <a:moveTo>
                      <a:pt x="88" y="30"/>
                    </a:moveTo>
                    <a:lnTo>
                      <a:pt x="88" y="30"/>
                    </a:lnTo>
                    <a:lnTo>
                      <a:pt x="86" y="32"/>
                    </a:lnTo>
                    <a:lnTo>
                      <a:pt x="84" y="32"/>
                    </a:lnTo>
                    <a:lnTo>
                      <a:pt x="80" y="32"/>
                    </a:lnTo>
                    <a:lnTo>
                      <a:pt x="80" y="32"/>
                    </a:lnTo>
                    <a:lnTo>
                      <a:pt x="78" y="32"/>
                    </a:lnTo>
                    <a:lnTo>
                      <a:pt x="76" y="30"/>
                    </a:lnTo>
                    <a:lnTo>
                      <a:pt x="76" y="12"/>
                    </a:lnTo>
                    <a:lnTo>
                      <a:pt x="76" y="12"/>
                    </a:lnTo>
                    <a:lnTo>
                      <a:pt x="78" y="10"/>
                    </a:lnTo>
                    <a:lnTo>
                      <a:pt x="80" y="8"/>
                    </a:lnTo>
                    <a:lnTo>
                      <a:pt x="84" y="8"/>
                    </a:lnTo>
                    <a:lnTo>
                      <a:pt x="84" y="8"/>
                    </a:lnTo>
                    <a:lnTo>
                      <a:pt x="86" y="10"/>
                    </a:lnTo>
                    <a:lnTo>
                      <a:pt x="88" y="12"/>
                    </a:lnTo>
                    <a:lnTo>
                      <a:pt x="88" y="30"/>
                    </a:lnTo>
                    <a:close/>
                    <a:moveTo>
                      <a:pt x="104" y="30"/>
                    </a:moveTo>
                    <a:lnTo>
                      <a:pt x="104" y="30"/>
                    </a:lnTo>
                    <a:lnTo>
                      <a:pt x="104" y="32"/>
                    </a:lnTo>
                    <a:lnTo>
                      <a:pt x="102" y="32"/>
                    </a:lnTo>
                    <a:lnTo>
                      <a:pt x="98" y="32"/>
                    </a:lnTo>
                    <a:lnTo>
                      <a:pt x="98" y="32"/>
                    </a:lnTo>
                    <a:lnTo>
                      <a:pt x="96" y="32"/>
                    </a:lnTo>
                    <a:lnTo>
                      <a:pt x="94" y="30"/>
                    </a:lnTo>
                    <a:lnTo>
                      <a:pt x="94" y="12"/>
                    </a:lnTo>
                    <a:lnTo>
                      <a:pt x="94" y="12"/>
                    </a:lnTo>
                    <a:lnTo>
                      <a:pt x="96" y="10"/>
                    </a:lnTo>
                    <a:lnTo>
                      <a:pt x="98" y="8"/>
                    </a:lnTo>
                    <a:lnTo>
                      <a:pt x="102" y="8"/>
                    </a:lnTo>
                    <a:lnTo>
                      <a:pt x="102" y="8"/>
                    </a:lnTo>
                    <a:lnTo>
                      <a:pt x="104" y="10"/>
                    </a:lnTo>
                    <a:lnTo>
                      <a:pt x="104" y="12"/>
                    </a:lnTo>
                    <a:lnTo>
                      <a:pt x="104" y="30"/>
                    </a:lnTo>
                    <a:close/>
                    <a:moveTo>
                      <a:pt x="122" y="30"/>
                    </a:moveTo>
                    <a:lnTo>
                      <a:pt x="122" y="30"/>
                    </a:lnTo>
                    <a:lnTo>
                      <a:pt x="122" y="32"/>
                    </a:lnTo>
                    <a:lnTo>
                      <a:pt x="118" y="32"/>
                    </a:lnTo>
                    <a:lnTo>
                      <a:pt x="114" y="32"/>
                    </a:lnTo>
                    <a:lnTo>
                      <a:pt x="114" y="32"/>
                    </a:lnTo>
                    <a:lnTo>
                      <a:pt x="112" y="32"/>
                    </a:lnTo>
                    <a:lnTo>
                      <a:pt x="112" y="30"/>
                    </a:lnTo>
                    <a:lnTo>
                      <a:pt x="112" y="12"/>
                    </a:lnTo>
                    <a:lnTo>
                      <a:pt x="112" y="12"/>
                    </a:lnTo>
                    <a:lnTo>
                      <a:pt x="112" y="10"/>
                    </a:lnTo>
                    <a:lnTo>
                      <a:pt x="114" y="8"/>
                    </a:lnTo>
                    <a:lnTo>
                      <a:pt x="118" y="8"/>
                    </a:lnTo>
                    <a:lnTo>
                      <a:pt x="118" y="8"/>
                    </a:lnTo>
                    <a:lnTo>
                      <a:pt x="122" y="10"/>
                    </a:lnTo>
                    <a:lnTo>
                      <a:pt x="122" y="12"/>
                    </a:lnTo>
                    <a:lnTo>
                      <a:pt x="122" y="3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38" name="Freeform 42">
                <a:extLst>
                  <a:ext uri="{FF2B5EF4-FFF2-40B4-BE49-F238E27FC236}">
                    <a16:creationId xmlns:a16="http://schemas.microsoft.com/office/drawing/2014/main" id="{A5C987EC-24B0-4CEF-8464-D808BA8A2F68}"/>
                  </a:ext>
                </a:extLst>
              </p:cNvPr>
              <p:cNvSpPr>
                <a:spLocks noEditPoints="1"/>
              </p:cNvSpPr>
              <p:nvPr/>
            </p:nvSpPr>
            <p:spPr bwMode="auto">
              <a:xfrm>
                <a:off x="4980488" y="6309558"/>
                <a:ext cx="99793" cy="96186"/>
              </a:xfrm>
              <a:custGeom>
                <a:avLst/>
                <a:gdLst>
                  <a:gd name="T0" fmla="*/ 160 w 166"/>
                  <a:gd name="T1" fmla="*/ 0 h 160"/>
                  <a:gd name="T2" fmla="*/ 6 w 166"/>
                  <a:gd name="T3" fmla="*/ 0 h 160"/>
                  <a:gd name="T4" fmla="*/ 6 w 166"/>
                  <a:gd name="T5" fmla="*/ 0 h 160"/>
                  <a:gd name="T6" fmla="*/ 2 w 166"/>
                  <a:gd name="T7" fmla="*/ 2 h 160"/>
                  <a:gd name="T8" fmla="*/ 0 w 166"/>
                  <a:gd name="T9" fmla="*/ 8 h 160"/>
                  <a:gd name="T10" fmla="*/ 0 w 166"/>
                  <a:gd name="T11" fmla="*/ 154 h 160"/>
                  <a:gd name="T12" fmla="*/ 0 w 166"/>
                  <a:gd name="T13" fmla="*/ 154 h 160"/>
                  <a:gd name="T14" fmla="*/ 2 w 166"/>
                  <a:gd name="T15" fmla="*/ 158 h 160"/>
                  <a:gd name="T16" fmla="*/ 6 w 166"/>
                  <a:gd name="T17" fmla="*/ 160 h 160"/>
                  <a:gd name="T18" fmla="*/ 160 w 166"/>
                  <a:gd name="T19" fmla="*/ 160 h 160"/>
                  <a:gd name="T20" fmla="*/ 160 w 166"/>
                  <a:gd name="T21" fmla="*/ 160 h 160"/>
                  <a:gd name="T22" fmla="*/ 164 w 166"/>
                  <a:gd name="T23" fmla="*/ 158 h 160"/>
                  <a:gd name="T24" fmla="*/ 166 w 166"/>
                  <a:gd name="T25" fmla="*/ 154 h 160"/>
                  <a:gd name="T26" fmla="*/ 166 w 166"/>
                  <a:gd name="T27" fmla="*/ 8 h 160"/>
                  <a:gd name="T28" fmla="*/ 166 w 166"/>
                  <a:gd name="T29" fmla="*/ 8 h 160"/>
                  <a:gd name="T30" fmla="*/ 164 w 166"/>
                  <a:gd name="T31" fmla="*/ 2 h 160"/>
                  <a:gd name="T32" fmla="*/ 160 w 166"/>
                  <a:gd name="T33" fmla="*/ 0 h 160"/>
                  <a:gd name="T34" fmla="*/ 160 w 166"/>
                  <a:gd name="T35" fmla="*/ 0 h 160"/>
                  <a:gd name="T36" fmla="*/ 150 w 166"/>
                  <a:gd name="T37" fmla="*/ 132 h 160"/>
                  <a:gd name="T38" fmla="*/ 150 w 166"/>
                  <a:gd name="T39" fmla="*/ 132 h 160"/>
                  <a:gd name="T40" fmla="*/ 148 w 166"/>
                  <a:gd name="T41" fmla="*/ 136 h 160"/>
                  <a:gd name="T42" fmla="*/ 142 w 166"/>
                  <a:gd name="T43" fmla="*/ 138 h 160"/>
                  <a:gd name="T44" fmla="*/ 26 w 166"/>
                  <a:gd name="T45" fmla="*/ 138 h 160"/>
                  <a:gd name="T46" fmla="*/ 26 w 166"/>
                  <a:gd name="T47" fmla="*/ 138 h 160"/>
                  <a:gd name="T48" fmla="*/ 22 w 166"/>
                  <a:gd name="T49" fmla="*/ 136 h 160"/>
                  <a:gd name="T50" fmla="*/ 20 w 166"/>
                  <a:gd name="T51" fmla="*/ 132 h 160"/>
                  <a:gd name="T52" fmla="*/ 20 w 166"/>
                  <a:gd name="T53" fmla="*/ 20 h 160"/>
                  <a:gd name="T54" fmla="*/ 20 w 166"/>
                  <a:gd name="T55" fmla="*/ 20 h 160"/>
                  <a:gd name="T56" fmla="*/ 22 w 166"/>
                  <a:gd name="T57" fmla="*/ 16 h 160"/>
                  <a:gd name="T58" fmla="*/ 26 w 166"/>
                  <a:gd name="T59" fmla="*/ 14 h 160"/>
                  <a:gd name="T60" fmla="*/ 142 w 166"/>
                  <a:gd name="T61" fmla="*/ 14 h 160"/>
                  <a:gd name="T62" fmla="*/ 142 w 166"/>
                  <a:gd name="T63" fmla="*/ 14 h 160"/>
                  <a:gd name="T64" fmla="*/ 148 w 166"/>
                  <a:gd name="T65" fmla="*/ 16 h 160"/>
                  <a:gd name="T66" fmla="*/ 150 w 166"/>
                  <a:gd name="T67" fmla="*/ 20 h 160"/>
                  <a:gd name="T68" fmla="*/ 150 w 166"/>
                  <a:gd name="T69" fmla="*/ 13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160">
                    <a:moveTo>
                      <a:pt x="160" y="0"/>
                    </a:moveTo>
                    <a:lnTo>
                      <a:pt x="6" y="0"/>
                    </a:lnTo>
                    <a:lnTo>
                      <a:pt x="6" y="0"/>
                    </a:lnTo>
                    <a:lnTo>
                      <a:pt x="2" y="2"/>
                    </a:lnTo>
                    <a:lnTo>
                      <a:pt x="0" y="8"/>
                    </a:lnTo>
                    <a:lnTo>
                      <a:pt x="0" y="154"/>
                    </a:lnTo>
                    <a:lnTo>
                      <a:pt x="0" y="154"/>
                    </a:lnTo>
                    <a:lnTo>
                      <a:pt x="2" y="158"/>
                    </a:lnTo>
                    <a:lnTo>
                      <a:pt x="6" y="160"/>
                    </a:lnTo>
                    <a:lnTo>
                      <a:pt x="160" y="160"/>
                    </a:lnTo>
                    <a:lnTo>
                      <a:pt x="160" y="160"/>
                    </a:lnTo>
                    <a:lnTo>
                      <a:pt x="164" y="158"/>
                    </a:lnTo>
                    <a:lnTo>
                      <a:pt x="166" y="154"/>
                    </a:lnTo>
                    <a:lnTo>
                      <a:pt x="166" y="8"/>
                    </a:lnTo>
                    <a:lnTo>
                      <a:pt x="166" y="8"/>
                    </a:lnTo>
                    <a:lnTo>
                      <a:pt x="164" y="2"/>
                    </a:lnTo>
                    <a:lnTo>
                      <a:pt x="160" y="0"/>
                    </a:lnTo>
                    <a:lnTo>
                      <a:pt x="160" y="0"/>
                    </a:lnTo>
                    <a:close/>
                    <a:moveTo>
                      <a:pt x="150" y="132"/>
                    </a:moveTo>
                    <a:lnTo>
                      <a:pt x="150" y="132"/>
                    </a:lnTo>
                    <a:lnTo>
                      <a:pt x="148" y="136"/>
                    </a:lnTo>
                    <a:lnTo>
                      <a:pt x="142" y="138"/>
                    </a:lnTo>
                    <a:lnTo>
                      <a:pt x="26" y="138"/>
                    </a:lnTo>
                    <a:lnTo>
                      <a:pt x="26" y="138"/>
                    </a:lnTo>
                    <a:lnTo>
                      <a:pt x="22" y="136"/>
                    </a:lnTo>
                    <a:lnTo>
                      <a:pt x="20" y="132"/>
                    </a:lnTo>
                    <a:lnTo>
                      <a:pt x="20" y="20"/>
                    </a:lnTo>
                    <a:lnTo>
                      <a:pt x="20" y="20"/>
                    </a:lnTo>
                    <a:lnTo>
                      <a:pt x="22" y="16"/>
                    </a:lnTo>
                    <a:lnTo>
                      <a:pt x="26" y="14"/>
                    </a:lnTo>
                    <a:lnTo>
                      <a:pt x="142" y="14"/>
                    </a:lnTo>
                    <a:lnTo>
                      <a:pt x="142" y="14"/>
                    </a:lnTo>
                    <a:lnTo>
                      <a:pt x="148" y="16"/>
                    </a:lnTo>
                    <a:lnTo>
                      <a:pt x="150" y="20"/>
                    </a:lnTo>
                    <a:lnTo>
                      <a:pt x="150" y="13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39" name="Freeform 43">
                <a:extLst>
                  <a:ext uri="{FF2B5EF4-FFF2-40B4-BE49-F238E27FC236}">
                    <a16:creationId xmlns:a16="http://schemas.microsoft.com/office/drawing/2014/main" id="{D5C19CBE-F29C-4668-896E-D0D2890B7D99}"/>
                  </a:ext>
                </a:extLst>
              </p:cNvPr>
              <p:cNvSpPr>
                <a:spLocks noEditPoints="1"/>
              </p:cNvSpPr>
              <p:nvPr/>
            </p:nvSpPr>
            <p:spPr bwMode="auto">
              <a:xfrm>
                <a:off x="4996118" y="6320379"/>
                <a:ext cx="68533" cy="69735"/>
              </a:xfrm>
              <a:custGeom>
                <a:avLst/>
                <a:gdLst>
                  <a:gd name="T0" fmla="*/ 56 w 114"/>
                  <a:gd name="T1" fmla="*/ 0 h 116"/>
                  <a:gd name="T2" fmla="*/ 34 w 114"/>
                  <a:gd name="T3" fmla="*/ 6 h 116"/>
                  <a:gd name="T4" fmla="*/ 16 w 114"/>
                  <a:gd name="T5" fmla="*/ 18 h 116"/>
                  <a:gd name="T6" fmla="*/ 4 w 114"/>
                  <a:gd name="T7" fmla="*/ 36 h 116"/>
                  <a:gd name="T8" fmla="*/ 0 w 114"/>
                  <a:gd name="T9" fmla="*/ 58 h 116"/>
                  <a:gd name="T10" fmla="*/ 0 w 114"/>
                  <a:gd name="T11" fmla="*/ 70 h 116"/>
                  <a:gd name="T12" fmla="*/ 10 w 114"/>
                  <a:gd name="T13" fmla="*/ 90 h 116"/>
                  <a:gd name="T14" fmla="*/ 24 w 114"/>
                  <a:gd name="T15" fmla="*/ 106 h 116"/>
                  <a:gd name="T16" fmla="*/ 46 w 114"/>
                  <a:gd name="T17" fmla="*/ 114 h 116"/>
                  <a:gd name="T18" fmla="*/ 56 w 114"/>
                  <a:gd name="T19" fmla="*/ 116 h 116"/>
                  <a:gd name="T20" fmla="*/ 80 w 114"/>
                  <a:gd name="T21" fmla="*/ 112 h 116"/>
                  <a:gd name="T22" fmla="*/ 98 w 114"/>
                  <a:gd name="T23" fmla="*/ 100 h 116"/>
                  <a:gd name="T24" fmla="*/ 110 w 114"/>
                  <a:gd name="T25" fmla="*/ 80 h 116"/>
                  <a:gd name="T26" fmla="*/ 114 w 114"/>
                  <a:gd name="T27" fmla="*/ 58 h 116"/>
                  <a:gd name="T28" fmla="*/ 114 w 114"/>
                  <a:gd name="T29" fmla="*/ 46 h 116"/>
                  <a:gd name="T30" fmla="*/ 104 w 114"/>
                  <a:gd name="T31" fmla="*/ 26 h 116"/>
                  <a:gd name="T32" fmla="*/ 88 w 114"/>
                  <a:gd name="T33" fmla="*/ 10 h 116"/>
                  <a:gd name="T34" fmla="*/ 68 w 114"/>
                  <a:gd name="T35" fmla="*/ 2 h 116"/>
                  <a:gd name="T36" fmla="*/ 56 w 114"/>
                  <a:gd name="T37" fmla="*/ 0 h 116"/>
                  <a:gd name="T38" fmla="*/ 56 w 114"/>
                  <a:gd name="T39" fmla="*/ 96 h 116"/>
                  <a:gd name="T40" fmla="*/ 42 w 114"/>
                  <a:gd name="T41" fmla="*/ 94 h 116"/>
                  <a:gd name="T42" fmla="*/ 30 w 114"/>
                  <a:gd name="T43" fmla="*/ 86 h 116"/>
                  <a:gd name="T44" fmla="*/ 22 w 114"/>
                  <a:gd name="T45" fmla="*/ 74 h 116"/>
                  <a:gd name="T46" fmla="*/ 18 w 114"/>
                  <a:gd name="T47" fmla="*/ 58 h 116"/>
                  <a:gd name="T48" fmla="*/ 20 w 114"/>
                  <a:gd name="T49" fmla="*/ 50 h 116"/>
                  <a:gd name="T50" fmla="*/ 26 w 114"/>
                  <a:gd name="T51" fmla="*/ 38 h 116"/>
                  <a:gd name="T52" fmla="*/ 36 w 114"/>
                  <a:gd name="T53" fmla="*/ 26 h 116"/>
                  <a:gd name="T54" fmla="*/ 50 w 114"/>
                  <a:gd name="T55" fmla="*/ 22 h 116"/>
                  <a:gd name="T56" fmla="*/ 56 w 114"/>
                  <a:gd name="T57" fmla="*/ 20 h 116"/>
                  <a:gd name="T58" fmla="*/ 72 w 114"/>
                  <a:gd name="T59" fmla="*/ 24 h 116"/>
                  <a:gd name="T60" fmla="*/ 84 w 114"/>
                  <a:gd name="T61" fmla="*/ 32 h 116"/>
                  <a:gd name="T62" fmla="*/ 92 w 114"/>
                  <a:gd name="T63" fmla="*/ 44 h 116"/>
                  <a:gd name="T64" fmla="*/ 94 w 114"/>
                  <a:gd name="T65" fmla="*/ 58 h 116"/>
                  <a:gd name="T66" fmla="*/ 94 w 114"/>
                  <a:gd name="T67" fmla="*/ 66 h 116"/>
                  <a:gd name="T68" fmla="*/ 88 w 114"/>
                  <a:gd name="T69" fmla="*/ 80 h 116"/>
                  <a:gd name="T70" fmla="*/ 78 w 114"/>
                  <a:gd name="T71" fmla="*/ 90 h 116"/>
                  <a:gd name="T72" fmla="*/ 64 w 114"/>
                  <a:gd name="T73" fmla="*/ 96 h 116"/>
                  <a:gd name="T74" fmla="*/ 56 w 114"/>
                  <a:gd name="T75" fmla="*/ 9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4" h="116">
                    <a:moveTo>
                      <a:pt x="56" y="0"/>
                    </a:moveTo>
                    <a:lnTo>
                      <a:pt x="56" y="0"/>
                    </a:lnTo>
                    <a:lnTo>
                      <a:pt x="46" y="2"/>
                    </a:lnTo>
                    <a:lnTo>
                      <a:pt x="34" y="6"/>
                    </a:lnTo>
                    <a:lnTo>
                      <a:pt x="24" y="10"/>
                    </a:lnTo>
                    <a:lnTo>
                      <a:pt x="16" y="18"/>
                    </a:lnTo>
                    <a:lnTo>
                      <a:pt x="10" y="26"/>
                    </a:lnTo>
                    <a:lnTo>
                      <a:pt x="4" y="36"/>
                    </a:lnTo>
                    <a:lnTo>
                      <a:pt x="0" y="46"/>
                    </a:lnTo>
                    <a:lnTo>
                      <a:pt x="0" y="58"/>
                    </a:lnTo>
                    <a:lnTo>
                      <a:pt x="0" y="58"/>
                    </a:lnTo>
                    <a:lnTo>
                      <a:pt x="0" y="70"/>
                    </a:lnTo>
                    <a:lnTo>
                      <a:pt x="4" y="80"/>
                    </a:lnTo>
                    <a:lnTo>
                      <a:pt x="10" y="90"/>
                    </a:lnTo>
                    <a:lnTo>
                      <a:pt x="16" y="100"/>
                    </a:lnTo>
                    <a:lnTo>
                      <a:pt x="24" y="106"/>
                    </a:lnTo>
                    <a:lnTo>
                      <a:pt x="34" y="112"/>
                    </a:lnTo>
                    <a:lnTo>
                      <a:pt x="46" y="114"/>
                    </a:lnTo>
                    <a:lnTo>
                      <a:pt x="56" y="116"/>
                    </a:lnTo>
                    <a:lnTo>
                      <a:pt x="56" y="116"/>
                    </a:lnTo>
                    <a:lnTo>
                      <a:pt x="68" y="114"/>
                    </a:lnTo>
                    <a:lnTo>
                      <a:pt x="80" y="112"/>
                    </a:lnTo>
                    <a:lnTo>
                      <a:pt x="88" y="106"/>
                    </a:lnTo>
                    <a:lnTo>
                      <a:pt x="98" y="100"/>
                    </a:lnTo>
                    <a:lnTo>
                      <a:pt x="104" y="90"/>
                    </a:lnTo>
                    <a:lnTo>
                      <a:pt x="110" y="80"/>
                    </a:lnTo>
                    <a:lnTo>
                      <a:pt x="114" y="70"/>
                    </a:lnTo>
                    <a:lnTo>
                      <a:pt x="114" y="58"/>
                    </a:lnTo>
                    <a:lnTo>
                      <a:pt x="114" y="58"/>
                    </a:lnTo>
                    <a:lnTo>
                      <a:pt x="114" y="46"/>
                    </a:lnTo>
                    <a:lnTo>
                      <a:pt x="110" y="36"/>
                    </a:lnTo>
                    <a:lnTo>
                      <a:pt x="104" y="26"/>
                    </a:lnTo>
                    <a:lnTo>
                      <a:pt x="98" y="18"/>
                    </a:lnTo>
                    <a:lnTo>
                      <a:pt x="88" y="10"/>
                    </a:lnTo>
                    <a:lnTo>
                      <a:pt x="80" y="6"/>
                    </a:lnTo>
                    <a:lnTo>
                      <a:pt x="68" y="2"/>
                    </a:lnTo>
                    <a:lnTo>
                      <a:pt x="56" y="0"/>
                    </a:lnTo>
                    <a:lnTo>
                      <a:pt x="56" y="0"/>
                    </a:lnTo>
                    <a:close/>
                    <a:moveTo>
                      <a:pt x="56" y="96"/>
                    </a:moveTo>
                    <a:lnTo>
                      <a:pt x="56" y="96"/>
                    </a:lnTo>
                    <a:lnTo>
                      <a:pt x="50" y="96"/>
                    </a:lnTo>
                    <a:lnTo>
                      <a:pt x="42" y="94"/>
                    </a:lnTo>
                    <a:lnTo>
                      <a:pt x="36" y="90"/>
                    </a:lnTo>
                    <a:lnTo>
                      <a:pt x="30" y="86"/>
                    </a:lnTo>
                    <a:lnTo>
                      <a:pt x="26" y="80"/>
                    </a:lnTo>
                    <a:lnTo>
                      <a:pt x="22" y="74"/>
                    </a:lnTo>
                    <a:lnTo>
                      <a:pt x="20" y="66"/>
                    </a:lnTo>
                    <a:lnTo>
                      <a:pt x="18" y="58"/>
                    </a:lnTo>
                    <a:lnTo>
                      <a:pt x="18" y="58"/>
                    </a:lnTo>
                    <a:lnTo>
                      <a:pt x="20" y="50"/>
                    </a:lnTo>
                    <a:lnTo>
                      <a:pt x="22" y="44"/>
                    </a:lnTo>
                    <a:lnTo>
                      <a:pt x="26" y="38"/>
                    </a:lnTo>
                    <a:lnTo>
                      <a:pt x="30" y="32"/>
                    </a:lnTo>
                    <a:lnTo>
                      <a:pt x="36" y="26"/>
                    </a:lnTo>
                    <a:lnTo>
                      <a:pt x="42" y="24"/>
                    </a:lnTo>
                    <a:lnTo>
                      <a:pt x="50" y="22"/>
                    </a:lnTo>
                    <a:lnTo>
                      <a:pt x="56" y="20"/>
                    </a:lnTo>
                    <a:lnTo>
                      <a:pt x="56" y="20"/>
                    </a:lnTo>
                    <a:lnTo>
                      <a:pt x="64" y="22"/>
                    </a:lnTo>
                    <a:lnTo>
                      <a:pt x="72" y="24"/>
                    </a:lnTo>
                    <a:lnTo>
                      <a:pt x="78" y="26"/>
                    </a:lnTo>
                    <a:lnTo>
                      <a:pt x="84" y="32"/>
                    </a:lnTo>
                    <a:lnTo>
                      <a:pt x="88" y="38"/>
                    </a:lnTo>
                    <a:lnTo>
                      <a:pt x="92" y="44"/>
                    </a:lnTo>
                    <a:lnTo>
                      <a:pt x="94" y="50"/>
                    </a:lnTo>
                    <a:lnTo>
                      <a:pt x="94" y="58"/>
                    </a:lnTo>
                    <a:lnTo>
                      <a:pt x="94" y="58"/>
                    </a:lnTo>
                    <a:lnTo>
                      <a:pt x="94" y="66"/>
                    </a:lnTo>
                    <a:lnTo>
                      <a:pt x="92" y="74"/>
                    </a:lnTo>
                    <a:lnTo>
                      <a:pt x="88" y="80"/>
                    </a:lnTo>
                    <a:lnTo>
                      <a:pt x="84" y="86"/>
                    </a:lnTo>
                    <a:lnTo>
                      <a:pt x="78" y="90"/>
                    </a:lnTo>
                    <a:lnTo>
                      <a:pt x="72" y="94"/>
                    </a:lnTo>
                    <a:lnTo>
                      <a:pt x="64" y="96"/>
                    </a:lnTo>
                    <a:lnTo>
                      <a:pt x="56" y="96"/>
                    </a:lnTo>
                    <a:lnTo>
                      <a:pt x="56" y="9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0" name="Freeform 44">
                <a:extLst>
                  <a:ext uri="{FF2B5EF4-FFF2-40B4-BE49-F238E27FC236}">
                    <a16:creationId xmlns:a16="http://schemas.microsoft.com/office/drawing/2014/main" id="{742E7148-630F-457E-943C-FB3450443EC3}"/>
                  </a:ext>
                </a:extLst>
              </p:cNvPr>
              <p:cNvSpPr>
                <a:spLocks/>
              </p:cNvSpPr>
              <p:nvPr/>
            </p:nvSpPr>
            <p:spPr bwMode="auto">
              <a:xfrm>
                <a:off x="5024974" y="6351640"/>
                <a:ext cx="9619" cy="9619"/>
              </a:xfrm>
              <a:custGeom>
                <a:avLst/>
                <a:gdLst>
                  <a:gd name="T0" fmla="*/ 16 w 16"/>
                  <a:gd name="T1" fmla="*/ 8 h 16"/>
                  <a:gd name="T2" fmla="*/ 16 w 16"/>
                  <a:gd name="T3" fmla="*/ 8 h 16"/>
                  <a:gd name="T4" fmla="*/ 16 w 16"/>
                  <a:gd name="T5" fmla="*/ 10 h 16"/>
                  <a:gd name="T6" fmla="*/ 14 w 16"/>
                  <a:gd name="T7" fmla="*/ 14 h 16"/>
                  <a:gd name="T8" fmla="*/ 12 w 16"/>
                  <a:gd name="T9" fmla="*/ 14 h 16"/>
                  <a:gd name="T10" fmla="*/ 8 w 16"/>
                  <a:gd name="T11" fmla="*/ 16 h 16"/>
                  <a:gd name="T12" fmla="*/ 8 w 16"/>
                  <a:gd name="T13" fmla="*/ 16 h 16"/>
                  <a:gd name="T14" fmla="*/ 6 w 16"/>
                  <a:gd name="T15" fmla="*/ 14 h 16"/>
                  <a:gd name="T16" fmla="*/ 4 w 16"/>
                  <a:gd name="T17" fmla="*/ 14 h 16"/>
                  <a:gd name="T18" fmla="*/ 2 w 16"/>
                  <a:gd name="T19" fmla="*/ 10 h 16"/>
                  <a:gd name="T20" fmla="*/ 0 w 16"/>
                  <a:gd name="T21" fmla="*/ 8 h 16"/>
                  <a:gd name="T22" fmla="*/ 0 w 16"/>
                  <a:gd name="T23" fmla="*/ 8 h 16"/>
                  <a:gd name="T24" fmla="*/ 2 w 16"/>
                  <a:gd name="T25" fmla="*/ 4 h 16"/>
                  <a:gd name="T26" fmla="*/ 4 w 16"/>
                  <a:gd name="T27" fmla="*/ 2 h 16"/>
                  <a:gd name="T28" fmla="*/ 6 w 16"/>
                  <a:gd name="T29" fmla="*/ 0 h 16"/>
                  <a:gd name="T30" fmla="*/ 8 w 16"/>
                  <a:gd name="T31" fmla="*/ 0 h 16"/>
                  <a:gd name="T32" fmla="*/ 8 w 16"/>
                  <a:gd name="T33" fmla="*/ 0 h 16"/>
                  <a:gd name="T34" fmla="*/ 12 w 16"/>
                  <a:gd name="T35" fmla="*/ 0 h 16"/>
                  <a:gd name="T36" fmla="*/ 14 w 16"/>
                  <a:gd name="T37" fmla="*/ 2 h 16"/>
                  <a:gd name="T38" fmla="*/ 16 w 16"/>
                  <a:gd name="T39" fmla="*/ 4 h 16"/>
                  <a:gd name="T40" fmla="*/ 16 w 16"/>
                  <a:gd name="T41" fmla="*/ 8 h 16"/>
                  <a:gd name="T42" fmla="*/ 16 w 16"/>
                  <a:gd name="T43"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6">
                    <a:moveTo>
                      <a:pt x="16" y="8"/>
                    </a:moveTo>
                    <a:lnTo>
                      <a:pt x="16" y="8"/>
                    </a:lnTo>
                    <a:lnTo>
                      <a:pt x="16" y="10"/>
                    </a:lnTo>
                    <a:lnTo>
                      <a:pt x="14" y="14"/>
                    </a:lnTo>
                    <a:lnTo>
                      <a:pt x="12" y="14"/>
                    </a:lnTo>
                    <a:lnTo>
                      <a:pt x="8" y="16"/>
                    </a:lnTo>
                    <a:lnTo>
                      <a:pt x="8" y="16"/>
                    </a:lnTo>
                    <a:lnTo>
                      <a:pt x="6" y="14"/>
                    </a:lnTo>
                    <a:lnTo>
                      <a:pt x="4" y="14"/>
                    </a:lnTo>
                    <a:lnTo>
                      <a:pt x="2" y="10"/>
                    </a:lnTo>
                    <a:lnTo>
                      <a:pt x="0" y="8"/>
                    </a:lnTo>
                    <a:lnTo>
                      <a:pt x="0" y="8"/>
                    </a:lnTo>
                    <a:lnTo>
                      <a:pt x="2" y="4"/>
                    </a:lnTo>
                    <a:lnTo>
                      <a:pt x="4" y="2"/>
                    </a:lnTo>
                    <a:lnTo>
                      <a:pt x="6" y="0"/>
                    </a:lnTo>
                    <a:lnTo>
                      <a:pt x="8" y="0"/>
                    </a:lnTo>
                    <a:lnTo>
                      <a:pt x="8" y="0"/>
                    </a:lnTo>
                    <a:lnTo>
                      <a:pt x="12" y="0"/>
                    </a:lnTo>
                    <a:lnTo>
                      <a:pt x="14" y="2"/>
                    </a:lnTo>
                    <a:lnTo>
                      <a:pt x="16" y="4"/>
                    </a:lnTo>
                    <a:lnTo>
                      <a:pt x="16" y="8"/>
                    </a:lnTo>
                    <a:lnTo>
                      <a:pt x="16" y="8"/>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1" name="Rectangle 45">
                <a:extLst>
                  <a:ext uri="{FF2B5EF4-FFF2-40B4-BE49-F238E27FC236}">
                    <a16:creationId xmlns:a16="http://schemas.microsoft.com/office/drawing/2014/main" id="{42EF0D0B-012E-4C4D-B538-DF494C995F2E}"/>
                  </a:ext>
                </a:extLst>
              </p:cNvPr>
              <p:cNvSpPr>
                <a:spLocks noChangeArrowheads="1"/>
              </p:cNvSpPr>
              <p:nvPr/>
            </p:nvSpPr>
            <p:spPr bwMode="auto">
              <a:xfrm>
                <a:off x="5028581" y="6336010"/>
                <a:ext cx="2405" cy="20440"/>
              </a:xfrm>
              <a:prstGeom prst="rect">
                <a:avLst/>
              </a:pr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2" name="Freeform 46">
                <a:extLst>
                  <a:ext uri="{FF2B5EF4-FFF2-40B4-BE49-F238E27FC236}">
                    <a16:creationId xmlns:a16="http://schemas.microsoft.com/office/drawing/2014/main" id="{21C77DB4-BBA9-43BE-BB38-D4D86D85A310}"/>
                  </a:ext>
                </a:extLst>
              </p:cNvPr>
              <p:cNvSpPr>
                <a:spLocks/>
              </p:cNvSpPr>
              <p:nvPr/>
            </p:nvSpPr>
            <p:spPr bwMode="auto">
              <a:xfrm>
                <a:off x="5028581" y="6355247"/>
                <a:ext cx="18035" cy="13226"/>
              </a:xfrm>
              <a:custGeom>
                <a:avLst/>
                <a:gdLst>
                  <a:gd name="T0" fmla="*/ 0 w 30"/>
                  <a:gd name="T1" fmla="*/ 4 h 22"/>
                  <a:gd name="T2" fmla="*/ 2 w 30"/>
                  <a:gd name="T3" fmla="*/ 0 h 22"/>
                  <a:gd name="T4" fmla="*/ 30 w 30"/>
                  <a:gd name="T5" fmla="*/ 18 h 22"/>
                  <a:gd name="T6" fmla="*/ 28 w 30"/>
                  <a:gd name="T7" fmla="*/ 22 h 22"/>
                  <a:gd name="T8" fmla="*/ 0 w 30"/>
                  <a:gd name="T9" fmla="*/ 4 h 22"/>
                </a:gdLst>
                <a:ahLst/>
                <a:cxnLst>
                  <a:cxn ang="0">
                    <a:pos x="T0" y="T1"/>
                  </a:cxn>
                  <a:cxn ang="0">
                    <a:pos x="T2" y="T3"/>
                  </a:cxn>
                  <a:cxn ang="0">
                    <a:pos x="T4" y="T5"/>
                  </a:cxn>
                  <a:cxn ang="0">
                    <a:pos x="T6" y="T7"/>
                  </a:cxn>
                  <a:cxn ang="0">
                    <a:pos x="T8" y="T9"/>
                  </a:cxn>
                </a:cxnLst>
                <a:rect l="0" t="0" r="r" b="b"/>
                <a:pathLst>
                  <a:path w="30" h="22">
                    <a:moveTo>
                      <a:pt x="0" y="4"/>
                    </a:moveTo>
                    <a:lnTo>
                      <a:pt x="2" y="0"/>
                    </a:lnTo>
                    <a:lnTo>
                      <a:pt x="30" y="18"/>
                    </a:lnTo>
                    <a:lnTo>
                      <a:pt x="28" y="22"/>
                    </a:lnTo>
                    <a:lnTo>
                      <a:pt x="0" y="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3" name="Freeform 47">
                <a:extLst>
                  <a:ext uri="{FF2B5EF4-FFF2-40B4-BE49-F238E27FC236}">
                    <a16:creationId xmlns:a16="http://schemas.microsoft.com/office/drawing/2014/main" id="{DFF6C3D0-A13C-4AA2-901D-46391412684E}"/>
                  </a:ext>
                </a:extLst>
              </p:cNvPr>
              <p:cNvSpPr>
                <a:spLocks/>
              </p:cNvSpPr>
              <p:nvPr/>
            </p:nvSpPr>
            <p:spPr bwMode="auto">
              <a:xfrm>
                <a:off x="5119958" y="6452636"/>
                <a:ext cx="137066" cy="14428"/>
              </a:xfrm>
              <a:custGeom>
                <a:avLst/>
                <a:gdLst>
                  <a:gd name="T0" fmla="*/ 20 w 228"/>
                  <a:gd name="T1" fmla="*/ 0 h 24"/>
                  <a:gd name="T2" fmla="*/ 0 w 228"/>
                  <a:gd name="T3" fmla="*/ 24 h 24"/>
                  <a:gd name="T4" fmla="*/ 228 w 228"/>
                  <a:gd name="T5" fmla="*/ 24 h 24"/>
                  <a:gd name="T6" fmla="*/ 208 w 228"/>
                  <a:gd name="T7" fmla="*/ 0 h 24"/>
                  <a:gd name="T8" fmla="*/ 20 w 228"/>
                  <a:gd name="T9" fmla="*/ 0 h 24"/>
                </a:gdLst>
                <a:ahLst/>
                <a:cxnLst>
                  <a:cxn ang="0">
                    <a:pos x="T0" y="T1"/>
                  </a:cxn>
                  <a:cxn ang="0">
                    <a:pos x="T2" y="T3"/>
                  </a:cxn>
                  <a:cxn ang="0">
                    <a:pos x="T4" y="T5"/>
                  </a:cxn>
                  <a:cxn ang="0">
                    <a:pos x="T6" y="T7"/>
                  </a:cxn>
                  <a:cxn ang="0">
                    <a:pos x="T8" y="T9"/>
                  </a:cxn>
                </a:cxnLst>
                <a:rect l="0" t="0" r="r" b="b"/>
                <a:pathLst>
                  <a:path w="228" h="24">
                    <a:moveTo>
                      <a:pt x="20" y="0"/>
                    </a:moveTo>
                    <a:lnTo>
                      <a:pt x="0" y="24"/>
                    </a:lnTo>
                    <a:lnTo>
                      <a:pt x="228" y="24"/>
                    </a:lnTo>
                    <a:lnTo>
                      <a:pt x="208" y="0"/>
                    </a:lnTo>
                    <a:lnTo>
                      <a:pt x="2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4" name="Freeform 48">
                <a:extLst>
                  <a:ext uri="{FF2B5EF4-FFF2-40B4-BE49-F238E27FC236}">
                    <a16:creationId xmlns:a16="http://schemas.microsoft.com/office/drawing/2014/main" id="{2C972DE2-B996-40B1-B13B-A79285FDD6EF}"/>
                  </a:ext>
                </a:extLst>
              </p:cNvPr>
              <p:cNvSpPr>
                <a:spLocks/>
              </p:cNvSpPr>
              <p:nvPr/>
            </p:nvSpPr>
            <p:spPr bwMode="auto">
              <a:xfrm>
                <a:off x="5131982" y="6396126"/>
                <a:ext cx="113019" cy="51700"/>
              </a:xfrm>
              <a:custGeom>
                <a:avLst/>
                <a:gdLst>
                  <a:gd name="T0" fmla="*/ 94 w 188"/>
                  <a:gd name="T1" fmla="*/ 0 h 86"/>
                  <a:gd name="T2" fmla="*/ 94 w 188"/>
                  <a:gd name="T3" fmla="*/ 0 h 86"/>
                  <a:gd name="T4" fmla="*/ 76 w 188"/>
                  <a:gd name="T5" fmla="*/ 2 h 86"/>
                  <a:gd name="T6" fmla="*/ 58 w 188"/>
                  <a:gd name="T7" fmla="*/ 6 h 86"/>
                  <a:gd name="T8" fmla="*/ 44 w 188"/>
                  <a:gd name="T9" fmla="*/ 14 h 86"/>
                  <a:gd name="T10" fmla="*/ 30 w 188"/>
                  <a:gd name="T11" fmla="*/ 24 h 86"/>
                  <a:gd name="T12" fmla="*/ 18 w 188"/>
                  <a:gd name="T13" fmla="*/ 38 h 86"/>
                  <a:gd name="T14" fmla="*/ 10 w 188"/>
                  <a:gd name="T15" fmla="*/ 52 h 86"/>
                  <a:gd name="T16" fmla="*/ 2 w 188"/>
                  <a:gd name="T17" fmla="*/ 68 h 86"/>
                  <a:gd name="T18" fmla="*/ 0 w 188"/>
                  <a:gd name="T19" fmla="*/ 86 h 86"/>
                  <a:gd name="T20" fmla="*/ 188 w 188"/>
                  <a:gd name="T21" fmla="*/ 86 h 86"/>
                  <a:gd name="T22" fmla="*/ 188 w 188"/>
                  <a:gd name="T23" fmla="*/ 86 h 86"/>
                  <a:gd name="T24" fmla="*/ 184 w 188"/>
                  <a:gd name="T25" fmla="*/ 68 h 86"/>
                  <a:gd name="T26" fmla="*/ 178 w 188"/>
                  <a:gd name="T27" fmla="*/ 52 h 86"/>
                  <a:gd name="T28" fmla="*/ 170 w 188"/>
                  <a:gd name="T29" fmla="*/ 38 h 86"/>
                  <a:gd name="T30" fmla="*/ 158 w 188"/>
                  <a:gd name="T31" fmla="*/ 24 h 86"/>
                  <a:gd name="T32" fmla="*/ 144 w 188"/>
                  <a:gd name="T33" fmla="*/ 14 h 86"/>
                  <a:gd name="T34" fmla="*/ 128 w 188"/>
                  <a:gd name="T35" fmla="*/ 6 h 86"/>
                  <a:gd name="T36" fmla="*/ 112 w 188"/>
                  <a:gd name="T37" fmla="*/ 2 h 86"/>
                  <a:gd name="T38" fmla="*/ 94 w 188"/>
                  <a:gd name="T39" fmla="*/ 0 h 86"/>
                  <a:gd name="T40" fmla="*/ 94 w 188"/>
                  <a:gd name="T41" fmla="*/ 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86">
                    <a:moveTo>
                      <a:pt x="94" y="0"/>
                    </a:moveTo>
                    <a:lnTo>
                      <a:pt x="94" y="0"/>
                    </a:lnTo>
                    <a:lnTo>
                      <a:pt x="76" y="2"/>
                    </a:lnTo>
                    <a:lnTo>
                      <a:pt x="58" y="6"/>
                    </a:lnTo>
                    <a:lnTo>
                      <a:pt x="44" y="14"/>
                    </a:lnTo>
                    <a:lnTo>
                      <a:pt x="30" y="24"/>
                    </a:lnTo>
                    <a:lnTo>
                      <a:pt x="18" y="38"/>
                    </a:lnTo>
                    <a:lnTo>
                      <a:pt x="10" y="52"/>
                    </a:lnTo>
                    <a:lnTo>
                      <a:pt x="2" y="68"/>
                    </a:lnTo>
                    <a:lnTo>
                      <a:pt x="0" y="86"/>
                    </a:lnTo>
                    <a:lnTo>
                      <a:pt x="188" y="86"/>
                    </a:lnTo>
                    <a:lnTo>
                      <a:pt x="188" y="86"/>
                    </a:lnTo>
                    <a:lnTo>
                      <a:pt x="184" y="68"/>
                    </a:lnTo>
                    <a:lnTo>
                      <a:pt x="178" y="52"/>
                    </a:lnTo>
                    <a:lnTo>
                      <a:pt x="170" y="38"/>
                    </a:lnTo>
                    <a:lnTo>
                      <a:pt x="158" y="24"/>
                    </a:lnTo>
                    <a:lnTo>
                      <a:pt x="144" y="14"/>
                    </a:lnTo>
                    <a:lnTo>
                      <a:pt x="128" y="6"/>
                    </a:lnTo>
                    <a:lnTo>
                      <a:pt x="112" y="2"/>
                    </a:lnTo>
                    <a:lnTo>
                      <a:pt x="94" y="0"/>
                    </a:lnTo>
                    <a:lnTo>
                      <a:pt x="94"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5" name="Freeform 49">
                <a:extLst>
                  <a:ext uri="{FF2B5EF4-FFF2-40B4-BE49-F238E27FC236}">
                    <a16:creationId xmlns:a16="http://schemas.microsoft.com/office/drawing/2014/main" id="{A2F81F4F-0CC4-4420-9BEE-5F737987C922}"/>
                  </a:ext>
                </a:extLst>
              </p:cNvPr>
              <p:cNvSpPr>
                <a:spLocks/>
              </p:cNvSpPr>
              <p:nvPr/>
            </p:nvSpPr>
            <p:spPr bwMode="auto">
              <a:xfrm>
                <a:off x="5181277" y="6296333"/>
                <a:ext cx="13226" cy="79354"/>
              </a:xfrm>
              <a:custGeom>
                <a:avLst/>
                <a:gdLst>
                  <a:gd name="T0" fmla="*/ 12 w 22"/>
                  <a:gd name="T1" fmla="*/ 0 h 132"/>
                  <a:gd name="T2" fmla="*/ 0 w 22"/>
                  <a:gd name="T3" fmla="*/ 132 h 132"/>
                  <a:gd name="T4" fmla="*/ 22 w 22"/>
                  <a:gd name="T5" fmla="*/ 132 h 132"/>
                  <a:gd name="T6" fmla="*/ 12 w 22"/>
                  <a:gd name="T7" fmla="*/ 0 h 132"/>
                </a:gdLst>
                <a:ahLst/>
                <a:cxnLst>
                  <a:cxn ang="0">
                    <a:pos x="T0" y="T1"/>
                  </a:cxn>
                  <a:cxn ang="0">
                    <a:pos x="T2" y="T3"/>
                  </a:cxn>
                  <a:cxn ang="0">
                    <a:pos x="T4" y="T5"/>
                  </a:cxn>
                  <a:cxn ang="0">
                    <a:pos x="T6" y="T7"/>
                  </a:cxn>
                </a:cxnLst>
                <a:rect l="0" t="0" r="r" b="b"/>
                <a:pathLst>
                  <a:path w="22" h="132">
                    <a:moveTo>
                      <a:pt x="12" y="0"/>
                    </a:moveTo>
                    <a:lnTo>
                      <a:pt x="0" y="132"/>
                    </a:lnTo>
                    <a:lnTo>
                      <a:pt x="22" y="132"/>
                    </a:lnTo>
                    <a:lnTo>
                      <a:pt x="12"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6" name="Rectangle 50">
                <a:extLst>
                  <a:ext uri="{FF2B5EF4-FFF2-40B4-BE49-F238E27FC236}">
                    <a16:creationId xmlns:a16="http://schemas.microsoft.com/office/drawing/2014/main" id="{47A02AF0-FF26-4CCC-8CC6-00B0D6353443}"/>
                  </a:ext>
                </a:extLst>
              </p:cNvPr>
              <p:cNvSpPr>
                <a:spLocks noChangeArrowheads="1"/>
              </p:cNvSpPr>
              <p:nvPr/>
            </p:nvSpPr>
            <p:spPr bwMode="auto">
              <a:xfrm>
                <a:off x="5175265" y="6370877"/>
                <a:ext cx="26451" cy="37272"/>
              </a:xfrm>
              <a:prstGeom prst="rect">
                <a:avLst/>
              </a:pr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7" name="Freeform 51">
                <a:extLst>
                  <a:ext uri="{FF2B5EF4-FFF2-40B4-BE49-F238E27FC236}">
                    <a16:creationId xmlns:a16="http://schemas.microsoft.com/office/drawing/2014/main" id="{F8069E82-45AD-422C-A639-F73B7F587B37}"/>
                  </a:ext>
                </a:extLst>
              </p:cNvPr>
              <p:cNvSpPr>
                <a:spLocks noEditPoints="1"/>
              </p:cNvSpPr>
              <p:nvPr/>
            </p:nvSpPr>
            <p:spPr bwMode="auto">
              <a:xfrm>
                <a:off x="5128375" y="6470670"/>
                <a:ext cx="120233" cy="42082"/>
              </a:xfrm>
              <a:custGeom>
                <a:avLst/>
                <a:gdLst>
                  <a:gd name="T0" fmla="*/ 8 w 200"/>
                  <a:gd name="T1" fmla="*/ 0 h 70"/>
                  <a:gd name="T2" fmla="*/ 6 w 200"/>
                  <a:gd name="T3" fmla="*/ 2 h 70"/>
                  <a:gd name="T4" fmla="*/ 0 w 200"/>
                  <a:gd name="T5" fmla="*/ 6 h 70"/>
                  <a:gd name="T6" fmla="*/ 0 w 200"/>
                  <a:gd name="T7" fmla="*/ 70 h 70"/>
                  <a:gd name="T8" fmla="*/ 200 w 200"/>
                  <a:gd name="T9" fmla="*/ 10 h 70"/>
                  <a:gd name="T10" fmla="*/ 198 w 200"/>
                  <a:gd name="T11" fmla="*/ 6 h 70"/>
                  <a:gd name="T12" fmla="*/ 194 w 200"/>
                  <a:gd name="T13" fmla="*/ 2 h 70"/>
                  <a:gd name="T14" fmla="*/ 190 w 200"/>
                  <a:gd name="T15" fmla="*/ 0 h 70"/>
                  <a:gd name="T16" fmla="*/ 36 w 200"/>
                  <a:gd name="T17" fmla="*/ 48 h 70"/>
                  <a:gd name="T18" fmla="*/ 30 w 200"/>
                  <a:gd name="T19" fmla="*/ 52 h 70"/>
                  <a:gd name="T20" fmla="*/ 24 w 200"/>
                  <a:gd name="T21" fmla="*/ 52 h 70"/>
                  <a:gd name="T22" fmla="*/ 20 w 200"/>
                  <a:gd name="T23" fmla="*/ 48 h 70"/>
                  <a:gd name="T24" fmla="*/ 20 w 200"/>
                  <a:gd name="T25" fmla="*/ 16 h 70"/>
                  <a:gd name="T26" fmla="*/ 24 w 200"/>
                  <a:gd name="T27" fmla="*/ 10 h 70"/>
                  <a:gd name="T28" fmla="*/ 30 w 200"/>
                  <a:gd name="T29" fmla="*/ 10 h 70"/>
                  <a:gd name="T30" fmla="*/ 36 w 200"/>
                  <a:gd name="T31" fmla="*/ 16 h 70"/>
                  <a:gd name="T32" fmla="*/ 72 w 200"/>
                  <a:gd name="T33" fmla="*/ 48 h 70"/>
                  <a:gd name="T34" fmla="*/ 70 w 200"/>
                  <a:gd name="T35" fmla="*/ 50 h 70"/>
                  <a:gd name="T36" fmla="*/ 60 w 200"/>
                  <a:gd name="T37" fmla="*/ 52 h 70"/>
                  <a:gd name="T38" fmla="*/ 56 w 200"/>
                  <a:gd name="T39" fmla="*/ 50 h 70"/>
                  <a:gd name="T40" fmla="*/ 56 w 200"/>
                  <a:gd name="T41" fmla="*/ 16 h 70"/>
                  <a:gd name="T42" fmla="*/ 56 w 200"/>
                  <a:gd name="T43" fmla="*/ 12 h 70"/>
                  <a:gd name="T44" fmla="*/ 66 w 200"/>
                  <a:gd name="T45" fmla="*/ 10 h 70"/>
                  <a:gd name="T46" fmla="*/ 70 w 200"/>
                  <a:gd name="T47" fmla="*/ 12 h 70"/>
                  <a:gd name="T48" fmla="*/ 72 w 200"/>
                  <a:gd name="T49" fmla="*/ 48 h 70"/>
                  <a:gd name="T50" fmla="*/ 108 w 200"/>
                  <a:gd name="T51" fmla="*/ 48 h 70"/>
                  <a:gd name="T52" fmla="*/ 102 w 200"/>
                  <a:gd name="T53" fmla="*/ 52 h 70"/>
                  <a:gd name="T54" fmla="*/ 96 w 200"/>
                  <a:gd name="T55" fmla="*/ 52 h 70"/>
                  <a:gd name="T56" fmla="*/ 92 w 200"/>
                  <a:gd name="T57" fmla="*/ 48 h 70"/>
                  <a:gd name="T58" fmla="*/ 92 w 200"/>
                  <a:gd name="T59" fmla="*/ 16 h 70"/>
                  <a:gd name="T60" fmla="*/ 96 w 200"/>
                  <a:gd name="T61" fmla="*/ 10 h 70"/>
                  <a:gd name="T62" fmla="*/ 102 w 200"/>
                  <a:gd name="T63" fmla="*/ 10 h 70"/>
                  <a:gd name="T64" fmla="*/ 108 w 200"/>
                  <a:gd name="T65" fmla="*/ 16 h 70"/>
                  <a:gd name="T66" fmla="*/ 144 w 200"/>
                  <a:gd name="T67" fmla="*/ 48 h 70"/>
                  <a:gd name="T68" fmla="*/ 142 w 200"/>
                  <a:gd name="T69" fmla="*/ 50 h 70"/>
                  <a:gd name="T70" fmla="*/ 132 w 200"/>
                  <a:gd name="T71" fmla="*/ 52 h 70"/>
                  <a:gd name="T72" fmla="*/ 130 w 200"/>
                  <a:gd name="T73" fmla="*/ 50 h 70"/>
                  <a:gd name="T74" fmla="*/ 128 w 200"/>
                  <a:gd name="T75" fmla="*/ 16 h 70"/>
                  <a:gd name="T76" fmla="*/ 130 w 200"/>
                  <a:gd name="T77" fmla="*/ 12 h 70"/>
                  <a:gd name="T78" fmla="*/ 140 w 200"/>
                  <a:gd name="T79" fmla="*/ 10 h 70"/>
                  <a:gd name="T80" fmla="*/ 142 w 200"/>
                  <a:gd name="T81" fmla="*/ 12 h 70"/>
                  <a:gd name="T82" fmla="*/ 144 w 200"/>
                  <a:gd name="T83" fmla="*/ 48 h 70"/>
                  <a:gd name="T84" fmla="*/ 180 w 200"/>
                  <a:gd name="T85" fmla="*/ 48 h 70"/>
                  <a:gd name="T86" fmla="*/ 176 w 200"/>
                  <a:gd name="T87" fmla="*/ 52 h 70"/>
                  <a:gd name="T88" fmla="*/ 170 w 200"/>
                  <a:gd name="T89" fmla="*/ 52 h 70"/>
                  <a:gd name="T90" fmla="*/ 164 w 200"/>
                  <a:gd name="T91" fmla="*/ 48 h 70"/>
                  <a:gd name="T92" fmla="*/ 164 w 200"/>
                  <a:gd name="T93" fmla="*/ 16 h 70"/>
                  <a:gd name="T94" fmla="*/ 170 w 200"/>
                  <a:gd name="T95" fmla="*/ 10 h 70"/>
                  <a:gd name="T96" fmla="*/ 176 w 200"/>
                  <a:gd name="T97" fmla="*/ 10 h 70"/>
                  <a:gd name="T98" fmla="*/ 180 w 200"/>
                  <a:gd name="T99" fmla="*/ 1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00" h="70">
                    <a:moveTo>
                      <a:pt x="190" y="0"/>
                    </a:moveTo>
                    <a:lnTo>
                      <a:pt x="8" y="0"/>
                    </a:lnTo>
                    <a:lnTo>
                      <a:pt x="8" y="0"/>
                    </a:lnTo>
                    <a:lnTo>
                      <a:pt x="6" y="2"/>
                    </a:lnTo>
                    <a:lnTo>
                      <a:pt x="2" y="4"/>
                    </a:lnTo>
                    <a:lnTo>
                      <a:pt x="0" y="6"/>
                    </a:lnTo>
                    <a:lnTo>
                      <a:pt x="0" y="10"/>
                    </a:lnTo>
                    <a:lnTo>
                      <a:pt x="0" y="70"/>
                    </a:lnTo>
                    <a:lnTo>
                      <a:pt x="200" y="70"/>
                    </a:lnTo>
                    <a:lnTo>
                      <a:pt x="200" y="10"/>
                    </a:lnTo>
                    <a:lnTo>
                      <a:pt x="200" y="10"/>
                    </a:lnTo>
                    <a:lnTo>
                      <a:pt x="198" y="6"/>
                    </a:lnTo>
                    <a:lnTo>
                      <a:pt x="196" y="4"/>
                    </a:lnTo>
                    <a:lnTo>
                      <a:pt x="194" y="2"/>
                    </a:lnTo>
                    <a:lnTo>
                      <a:pt x="190" y="0"/>
                    </a:lnTo>
                    <a:lnTo>
                      <a:pt x="190" y="0"/>
                    </a:lnTo>
                    <a:close/>
                    <a:moveTo>
                      <a:pt x="36" y="48"/>
                    </a:moveTo>
                    <a:lnTo>
                      <a:pt x="36" y="48"/>
                    </a:lnTo>
                    <a:lnTo>
                      <a:pt x="34" y="50"/>
                    </a:lnTo>
                    <a:lnTo>
                      <a:pt x="30" y="52"/>
                    </a:lnTo>
                    <a:lnTo>
                      <a:pt x="24" y="52"/>
                    </a:lnTo>
                    <a:lnTo>
                      <a:pt x="24" y="52"/>
                    </a:lnTo>
                    <a:lnTo>
                      <a:pt x="20" y="50"/>
                    </a:lnTo>
                    <a:lnTo>
                      <a:pt x="20" y="48"/>
                    </a:lnTo>
                    <a:lnTo>
                      <a:pt x="20" y="16"/>
                    </a:lnTo>
                    <a:lnTo>
                      <a:pt x="20" y="16"/>
                    </a:lnTo>
                    <a:lnTo>
                      <a:pt x="20" y="12"/>
                    </a:lnTo>
                    <a:lnTo>
                      <a:pt x="24" y="10"/>
                    </a:lnTo>
                    <a:lnTo>
                      <a:pt x="30" y="10"/>
                    </a:lnTo>
                    <a:lnTo>
                      <a:pt x="30" y="10"/>
                    </a:lnTo>
                    <a:lnTo>
                      <a:pt x="34" y="12"/>
                    </a:lnTo>
                    <a:lnTo>
                      <a:pt x="36" y="16"/>
                    </a:lnTo>
                    <a:lnTo>
                      <a:pt x="36" y="48"/>
                    </a:lnTo>
                    <a:close/>
                    <a:moveTo>
                      <a:pt x="72" y="48"/>
                    </a:moveTo>
                    <a:lnTo>
                      <a:pt x="72" y="48"/>
                    </a:lnTo>
                    <a:lnTo>
                      <a:pt x="70" y="50"/>
                    </a:lnTo>
                    <a:lnTo>
                      <a:pt x="66" y="52"/>
                    </a:lnTo>
                    <a:lnTo>
                      <a:pt x="60" y="52"/>
                    </a:lnTo>
                    <a:lnTo>
                      <a:pt x="60" y="52"/>
                    </a:lnTo>
                    <a:lnTo>
                      <a:pt x="56" y="50"/>
                    </a:lnTo>
                    <a:lnTo>
                      <a:pt x="56" y="48"/>
                    </a:lnTo>
                    <a:lnTo>
                      <a:pt x="56" y="16"/>
                    </a:lnTo>
                    <a:lnTo>
                      <a:pt x="56" y="16"/>
                    </a:lnTo>
                    <a:lnTo>
                      <a:pt x="56" y="12"/>
                    </a:lnTo>
                    <a:lnTo>
                      <a:pt x="60" y="10"/>
                    </a:lnTo>
                    <a:lnTo>
                      <a:pt x="66" y="10"/>
                    </a:lnTo>
                    <a:lnTo>
                      <a:pt x="66" y="10"/>
                    </a:lnTo>
                    <a:lnTo>
                      <a:pt x="70" y="12"/>
                    </a:lnTo>
                    <a:lnTo>
                      <a:pt x="72" y="16"/>
                    </a:lnTo>
                    <a:lnTo>
                      <a:pt x="72" y="48"/>
                    </a:lnTo>
                    <a:close/>
                    <a:moveTo>
                      <a:pt x="108" y="48"/>
                    </a:moveTo>
                    <a:lnTo>
                      <a:pt x="108" y="48"/>
                    </a:lnTo>
                    <a:lnTo>
                      <a:pt x="106" y="50"/>
                    </a:lnTo>
                    <a:lnTo>
                      <a:pt x="102" y="52"/>
                    </a:lnTo>
                    <a:lnTo>
                      <a:pt x="96" y="52"/>
                    </a:lnTo>
                    <a:lnTo>
                      <a:pt x="96" y="52"/>
                    </a:lnTo>
                    <a:lnTo>
                      <a:pt x="94" y="50"/>
                    </a:lnTo>
                    <a:lnTo>
                      <a:pt x="92" y="48"/>
                    </a:lnTo>
                    <a:lnTo>
                      <a:pt x="92" y="16"/>
                    </a:lnTo>
                    <a:lnTo>
                      <a:pt x="92" y="16"/>
                    </a:lnTo>
                    <a:lnTo>
                      <a:pt x="94" y="12"/>
                    </a:lnTo>
                    <a:lnTo>
                      <a:pt x="96" y="10"/>
                    </a:lnTo>
                    <a:lnTo>
                      <a:pt x="102" y="10"/>
                    </a:lnTo>
                    <a:lnTo>
                      <a:pt x="102" y="10"/>
                    </a:lnTo>
                    <a:lnTo>
                      <a:pt x="106" y="12"/>
                    </a:lnTo>
                    <a:lnTo>
                      <a:pt x="108" y="16"/>
                    </a:lnTo>
                    <a:lnTo>
                      <a:pt x="108" y="48"/>
                    </a:lnTo>
                    <a:close/>
                    <a:moveTo>
                      <a:pt x="144" y="48"/>
                    </a:moveTo>
                    <a:lnTo>
                      <a:pt x="144" y="48"/>
                    </a:lnTo>
                    <a:lnTo>
                      <a:pt x="142" y="50"/>
                    </a:lnTo>
                    <a:lnTo>
                      <a:pt x="140" y="52"/>
                    </a:lnTo>
                    <a:lnTo>
                      <a:pt x="132" y="52"/>
                    </a:lnTo>
                    <a:lnTo>
                      <a:pt x="132" y="52"/>
                    </a:lnTo>
                    <a:lnTo>
                      <a:pt x="130" y="50"/>
                    </a:lnTo>
                    <a:lnTo>
                      <a:pt x="128" y="48"/>
                    </a:lnTo>
                    <a:lnTo>
                      <a:pt x="128" y="16"/>
                    </a:lnTo>
                    <a:lnTo>
                      <a:pt x="128" y="16"/>
                    </a:lnTo>
                    <a:lnTo>
                      <a:pt x="130" y="12"/>
                    </a:lnTo>
                    <a:lnTo>
                      <a:pt x="132" y="10"/>
                    </a:lnTo>
                    <a:lnTo>
                      <a:pt x="140" y="10"/>
                    </a:lnTo>
                    <a:lnTo>
                      <a:pt x="140" y="10"/>
                    </a:lnTo>
                    <a:lnTo>
                      <a:pt x="142" y="12"/>
                    </a:lnTo>
                    <a:lnTo>
                      <a:pt x="144" y="16"/>
                    </a:lnTo>
                    <a:lnTo>
                      <a:pt x="144" y="48"/>
                    </a:lnTo>
                    <a:close/>
                    <a:moveTo>
                      <a:pt x="180" y="48"/>
                    </a:moveTo>
                    <a:lnTo>
                      <a:pt x="180" y="48"/>
                    </a:lnTo>
                    <a:lnTo>
                      <a:pt x="178" y="50"/>
                    </a:lnTo>
                    <a:lnTo>
                      <a:pt x="176" y="52"/>
                    </a:lnTo>
                    <a:lnTo>
                      <a:pt x="170" y="52"/>
                    </a:lnTo>
                    <a:lnTo>
                      <a:pt x="170" y="52"/>
                    </a:lnTo>
                    <a:lnTo>
                      <a:pt x="166" y="50"/>
                    </a:lnTo>
                    <a:lnTo>
                      <a:pt x="164" y="48"/>
                    </a:lnTo>
                    <a:lnTo>
                      <a:pt x="164" y="16"/>
                    </a:lnTo>
                    <a:lnTo>
                      <a:pt x="164" y="16"/>
                    </a:lnTo>
                    <a:lnTo>
                      <a:pt x="166" y="12"/>
                    </a:lnTo>
                    <a:lnTo>
                      <a:pt x="170" y="10"/>
                    </a:lnTo>
                    <a:lnTo>
                      <a:pt x="176" y="10"/>
                    </a:lnTo>
                    <a:lnTo>
                      <a:pt x="176" y="10"/>
                    </a:lnTo>
                    <a:lnTo>
                      <a:pt x="178" y="12"/>
                    </a:lnTo>
                    <a:lnTo>
                      <a:pt x="180" y="16"/>
                    </a:lnTo>
                    <a:lnTo>
                      <a:pt x="180" y="48"/>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8" name="Freeform 52">
                <a:extLst>
                  <a:ext uri="{FF2B5EF4-FFF2-40B4-BE49-F238E27FC236}">
                    <a16:creationId xmlns:a16="http://schemas.microsoft.com/office/drawing/2014/main" id="{6CD7F9B3-C463-4EE8-925F-97A035AC7D80}"/>
                  </a:ext>
                </a:extLst>
              </p:cNvPr>
              <p:cNvSpPr>
                <a:spLocks noEditPoints="1"/>
              </p:cNvSpPr>
              <p:nvPr/>
            </p:nvSpPr>
            <p:spPr bwMode="auto">
              <a:xfrm>
                <a:off x="5117554" y="6504336"/>
                <a:ext cx="141875" cy="76949"/>
              </a:xfrm>
              <a:custGeom>
                <a:avLst/>
                <a:gdLst>
                  <a:gd name="T0" fmla="*/ 226 w 236"/>
                  <a:gd name="T1" fmla="*/ 0 h 128"/>
                  <a:gd name="T2" fmla="*/ 10 w 236"/>
                  <a:gd name="T3" fmla="*/ 0 h 128"/>
                  <a:gd name="T4" fmla="*/ 10 w 236"/>
                  <a:gd name="T5" fmla="*/ 0 h 128"/>
                  <a:gd name="T6" fmla="*/ 6 w 236"/>
                  <a:gd name="T7" fmla="*/ 2 h 128"/>
                  <a:gd name="T8" fmla="*/ 2 w 236"/>
                  <a:gd name="T9" fmla="*/ 4 h 128"/>
                  <a:gd name="T10" fmla="*/ 0 w 236"/>
                  <a:gd name="T11" fmla="*/ 6 h 128"/>
                  <a:gd name="T12" fmla="*/ 0 w 236"/>
                  <a:gd name="T13" fmla="*/ 10 h 128"/>
                  <a:gd name="T14" fmla="*/ 0 w 236"/>
                  <a:gd name="T15" fmla="*/ 128 h 128"/>
                  <a:gd name="T16" fmla="*/ 236 w 236"/>
                  <a:gd name="T17" fmla="*/ 128 h 128"/>
                  <a:gd name="T18" fmla="*/ 236 w 236"/>
                  <a:gd name="T19" fmla="*/ 10 h 128"/>
                  <a:gd name="T20" fmla="*/ 236 w 236"/>
                  <a:gd name="T21" fmla="*/ 10 h 128"/>
                  <a:gd name="T22" fmla="*/ 234 w 236"/>
                  <a:gd name="T23" fmla="*/ 6 h 128"/>
                  <a:gd name="T24" fmla="*/ 232 w 236"/>
                  <a:gd name="T25" fmla="*/ 4 h 128"/>
                  <a:gd name="T26" fmla="*/ 230 w 236"/>
                  <a:gd name="T27" fmla="*/ 2 h 128"/>
                  <a:gd name="T28" fmla="*/ 226 w 236"/>
                  <a:gd name="T29" fmla="*/ 0 h 128"/>
                  <a:gd name="T30" fmla="*/ 226 w 236"/>
                  <a:gd name="T31" fmla="*/ 0 h 128"/>
                  <a:gd name="T32" fmla="*/ 38 w 236"/>
                  <a:gd name="T33" fmla="*/ 110 h 128"/>
                  <a:gd name="T34" fmla="*/ 20 w 236"/>
                  <a:gd name="T35" fmla="*/ 110 h 128"/>
                  <a:gd name="T36" fmla="*/ 20 w 236"/>
                  <a:gd name="T37" fmla="*/ 20 h 128"/>
                  <a:gd name="T38" fmla="*/ 38 w 236"/>
                  <a:gd name="T39" fmla="*/ 20 h 128"/>
                  <a:gd name="T40" fmla="*/ 38 w 236"/>
                  <a:gd name="T41" fmla="*/ 110 h 128"/>
                  <a:gd name="T42" fmla="*/ 72 w 236"/>
                  <a:gd name="T43" fmla="*/ 110 h 128"/>
                  <a:gd name="T44" fmla="*/ 56 w 236"/>
                  <a:gd name="T45" fmla="*/ 110 h 128"/>
                  <a:gd name="T46" fmla="*/ 56 w 236"/>
                  <a:gd name="T47" fmla="*/ 20 h 128"/>
                  <a:gd name="T48" fmla="*/ 72 w 236"/>
                  <a:gd name="T49" fmla="*/ 20 h 128"/>
                  <a:gd name="T50" fmla="*/ 72 w 236"/>
                  <a:gd name="T51" fmla="*/ 110 h 128"/>
                  <a:gd name="T52" fmla="*/ 108 w 236"/>
                  <a:gd name="T53" fmla="*/ 110 h 128"/>
                  <a:gd name="T54" fmla="*/ 92 w 236"/>
                  <a:gd name="T55" fmla="*/ 110 h 128"/>
                  <a:gd name="T56" fmla="*/ 92 w 236"/>
                  <a:gd name="T57" fmla="*/ 20 h 128"/>
                  <a:gd name="T58" fmla="*/ 108 w 236"/>
                  <a:gd name="T59" fmla="*/ 20 h 128"/>
                  <a:gd name="T60" fmla="*/ 108 w 236"/>
                  <a:gd name="T61" fmla="*/ 110 h 128"/>
                  <a:gd name="T62" fmla="*/ 144 w 236"/>
                  <a:gd name="T63" fmla="*/ 110 h 128"/>
                  <a:gd name="T64" fmla="*/ 128 w 236"/>
                  <a:gd name="T65" fmla="*/ 110 h 128"/>
                  <a:gd name="T66" fmla="*/ 128 w 236"/>
                  <a:gd name="T67" fmla="*/ 20 h 128"/>
                  <a:gd name="T68" fmla="*/ 144 w 236"/>
                  <a:gd name="T69" fmla="*/ 20 h 128"/>
                  <a:gd name="T70" fmla="*/ 144 w 236"/>
                  <a:gd name="T71" fmla="*/ 110 h 128"/>
                  <a:gd name="T72" fmla="*/ 180 w 236"/>
                  <a:gd name="T73" fmla="*/ 110 h 128"/>
                  <a:gd name="T74" fmla="*/ 162 w 236"/>
                  <a:gd name="T75" fmla="*/ 110 h 128"/>
                  <a:gd name="T76" fmla="*/ 162 w 236"/>
                  <a:gd name="T77" fmla="*/ 20 h 128"/>
                  <a:gd name="T78" fmla="*/ 180 w 236"/>
                  <a:gd name="T79" fmla="*/ 20 h 128"/>
                  <a:gd name="T80" fmla="*/ 180 w 236"/>
                  <a:gd name="T81" fmla="*/ 110 h 128"/>
                  <a:gd name="T82" fmla="*/ 214 w 236"/>
                  <a:gd name="T83" fmla="*/ 110 h 128"/>
                  <a:gd name="T84" fmla="*/ 198 w 236"/>
                  <a:gd name="T85" fmla="*/ 110 h 128"/>
                  <a:gd name="T86" fmla="*/ 198 w 236"/>
                  <a:gd name="T87" fmla="*/ 20 h 128"/>
                  <a:gd name="T88" fmla="*/ 214 w 236"/>
                  <a:gd name="T89" fmla="*/ 20 h 128"/>
                  <a:gd name="T90" fmla="*/ 214 w 236"/>
                  <a:gd name="T91" fmla="*/ 11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6" h="128">
                    <a:moveTo>
                      <a:pt x="226" y="0"/>
                    </a:moveTo>
                    <a:lnTo>
                      <a:pt x="10" y="0"/>
                    </a:lnTo>
                    <a:lnTo>
                      <a:pt x="10" y="0"/>
                    </a:lnTo>
                    <a:lnTo>
                      <a:pt x="6" y="2"/>
                    </a:lnTo>
                    <a:lnTo>
                      <a:pt x="2" y="4"/>
                    </a:lnTo>
                    <a:lnTo>
                      <a:pt x="0" y="6"/>
                    </a:lnTo>
                    <a:lnTo>
                      <a:pt x="0" y="10"/>
                    </a:lnTo>
                    <a:lnTo>
                      <a:pt x="0" y="128"/>
                    </a:lnTo>
                    <a:lnTo>
                      <a:pt x="236" y="128"/>
                    </a:lnTo>
                    <a:lnTo>
                      <a:pt x="236" y="10"/>
                    </a:lnTo>
                    <a:lnTo>
                      <a:pt x="236" y="10"/>
                    </a:lnTo>
                    <a:lnTo>
                      <a:pt x="234" y="6"/>
                    </a:lnTo>
                    <a:lnTo>
                      <a:pt x="232" y="4"/>
                    </a:lnTo>
                    <a:lnTo>
                      <a:pt x="230" y="2"/>
                    </a:lnTo>
                    <a:lnTo>
                      <a:pt x="226" y="0"/>
                    </a:lnTo>
                    <a:lnTo>
                      <a:pt x="226" y="0"/>
                    </a:lnTo>
                    <a:close/>
                    <a:moveTo>
                      <a:pt x="38" y="110"/>
                    </a:moveTo>
                    <a:lnTo>
                      <a:pt x="20" y="110"/>
                    </a:lnTo>
                    <a:lnTo>
                      <a:pt x="20" y="20"/>
                    </a:lnTo>
                    <a:lnTo>
                      <a:pt x="38" y="20"/>
                    </a:lnTo>
                    <a:lnTo>
                      <a:pt x="38" y="110"/>
                    </a:lnTo>
                    <a:close/>
                    <a:moveTo>
                      <a:pt x="72" y="110"/>
                    </a:moveTo>
                    <a:lnTo>
                      <a:pt x="56" y="110"/>
                    </a:lnTo>
                    <a:lnTo>
                      <a:pt x="56" y="20"/>
                    </a:lnTo>
                    <a:lnTo>
                      <a:pt x="72" y="20"/>
                    </a:lnTo>
                    <a:lnTo>
                      <a:pt x="72" y="110"/>
                    </a:lnTo>
                    <a:close/>
                    <a:moveTo>
                      <a:pt x="108" y="110"/>
                    </a:moveTo>
                    <a:lnTo>
                      <a:pt x="92" y="110"/>
                    </a:lnTo>
                    <a:lnTo>
                      <a:pt x="92" y="20"/>
                    </a:lnTo>
                    <a:lnTo>
                      <a:pt x="108" y="20"/>
                    </a:lnTo>
                    <a:lnTo>
                      <a:pt x="108" y="110"/>
                    </a:lnTo>
                    <a:close/>
                    <a:moveTo>
                      <a:pt x="144" y="110"/>
                    </a:moveTo>
                    <a:lnTo>
                      <a:pt x="128" y="110"/>
                    </a:lnTo>
                    <a:lnTo>
                      <a:pt x="128" y="20"/>
                    </a:lnTo>
                    <a:lnTo>
                      <a:pt x="144" y="20"/>
                    </a:lnTo>
                    <a:lnTo>
                      <a:pt x="144" y="110"/>
                    </a:lnTo>
                    <a:close/>
                    <a:moveTo>
                      <a:pt x="180" y="110"/>
                    </a:moveTo>
                    <a:lnTo>
                      <a:pt x="162" y="110"/>
                    </a:lnTo>
                    <a:lnTo>
                      <a:pt x="162" y="20"/>
                    </a:lnTo>
                    <a:lnTo>
                      <a:pt x="180" y="20"/>
                    </a:lnTo>
                    <a:lnTo>
                      <a:pt x="180" y="110"/>
                    </a:lnTo>
                    <a:close/>
                    <a:moveTo>
                      <a:pt x="214" y="110"/>
                    </a:moveTo>
                    <a:lnTo>
                      <a:pt x="198" y="110"/>
                    </a:lnTo>
                    <a:lnTo>
                      <a:pt x="198" y="20"/>
                    </a:lnTo>
                    <a:lnTo>
                      <a:pt x="214" y="20"/>
                    </a:lnTo>
                    <a:lnTo>
                      <a:pt x="214" y="11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49" name="Freeform 53">
                <a:extLst>
                  <a:ext uri="{FF2B5EF4-FFF2-40B4-BE49-F238E27FC236}">
                    <a16:creationId xmlns:a16="http://schemas.microsoft.com/office/drawing/2014/main" id="{E760EF41-EBCE-4C99-9AF9-A03593E59907}"/>
                  </a:ext>
                </a:extLst>
              </p:cNvPr>
              <p:cNvSpPr>
                <a:spLocks/>
              </p:cNvSpPr>
              <p:nvPr/>
            </p:nvSpPr>
            <p:spPr bwMode="auto">
              <a:xfrm>
                <a:off x="5080281" y="6565655"/>
                <a:ext cx="223633" cy="69735"/>
              </a:xfrm>
              <a:custGeom>
                <a:avLst/>
                <a:gdLst>
                  <a:gd name="T0" fmla="*/ 14 w 372"/>
                  <a:gd name="T1" fmla="*/ 0 h 116"/>
                  <a:gd name="T2" fmla="*/ 14 w 372"/>
                  <a:gd name="T3" fmla="*/ 0 h 116"/>
                  <a:gd name="T4" fmla="*/ 8 w 372"/>
                  <a:gd name="T5" fmla="*/ 0 h 116"/>
                  <a:gd name="T6" fmla="*/ 4 w 372"/>
                  <a:gd name="T7" fmla="*/ 2 h 116"/>
                  <a:gd name="T8" fmla="*/ 2 w 372"/>
                  <a:gd name="T9" fmla="*/ 6 h 116"/>
                  <a:gd name="T10" fmla="*/ 0 w 372"/>
                  <a:gd name="T11" fmla="*/ 12 h 116"/>
                  <a:gd name="T12" fmla="*/ 0 w 372"/>
                  <a:gd name="T13" fmla="*/ 116 h 116"/>
                  <a:gd name="T14" fmla="*/ 26 w 372"/>
                  <a:gd name="T15" fmla="*/ 116 h 116"/>
                  <a:gd name="T16" fmla="*/ 26 w 372"/>
                  <a:gd name="T17" fmla="*/ 116 h 116"/>
                  <a:gd name="T18" fmla="*/ 28 w 372"/>
                  <a:gd name="T19" fmla="*/ 104 h 116"/>
                  <a:gd name="T20" fmla="*/ 34 w 372"/>
                  <a:gd name="T21" fmla="*/ 92 h 116"/>
                  <a:gd name="T22" fmla="*/ 44 w 372"/>
                  <a:gd name="T23" fmla="*/ 82 h 116"/>
                  <a:gd name="T24" fmla="*/ 54 w 372"/>
                  <a:gd name="T25" fmla="*/ 74 h 116"/>
                  <a:gd name="T26" fmla="*/ 68 w 372"/>
                  <a:gd name="T27" fmla="*/ 66 h 116"/>
                  <a:gd name="T28" fmla="*/ 82 w 372"/>
                  <a:gd name="T29" fmla="*/ 62 h 116"/>
                  <a:gd name="T30" fmla="*/ 98 w 372"/>
                  <a:gd name="T31" fmla="*/ 58 h 116"/>
                  <a:gd name="T32" fmla="*/ 116 w 372"/>
                  <a:gd name="T33" fmla="*/ 56 h 116"/>
                  <a:gd name="T34" fmla="*/ 116 w 372"/>
                  <a:gd name="T35" fmla="*/ 56 h 116"/>
                  <a:gd name="T36" fmla="*/ 134 w 372"/>
                  <a:gd name="T37" fmla="*/ 58 h 116"/>
                  <a:gd name="T38" fmla="*/ 150 w 372"/>
                  <a:gd name="T39" fmla="*/ 62 h 116"/>
                  <a:gd name="T40" fmla="*/ 166 w 372"/>
                  <a:gd name="T41" fmla="*/ 66 h 116"/>
                  <a:gd name="T42" fmla="*/ 178 w 372"/>
                  <a:gd name="T43" fmla="*/ 74 h 116"/>
                  <a:gd name="T44" fmla="*/ 190 w 372"/>
                  <a:gd name="T45" fmla="*/ 82 h 116"/>
                  <a:gd name="T46" fmla="*/ 198 w 372"/>
                  <a:gd name="T47" fmla="*/ 92 h 116"/>
                  <a:gd name="T48" fmla="*/ 204 w 372"/>
                  <a:gd name="T49" fmla="*/ 104 h 116"/>
                  <a:gd name="T50" fmla="*/ 206 w 372"/>
                  <a:gd name="T51" fmla="*/ 116 h 116"/>
                  <a:gd name="T52" fmla="*/ 222 w 372"/>
                  <a:gd name="T53" fmla="*/ 116 h 116"/>
                  <a:gd name="T54" fmla="*/ 222 w 372"/>
                  <a:gd name="T55" fmla="*/ 116 h 116"/>
                  <a:gd name="T56" fmla="*/ 224 w 372"/>
                  <a:gd name="T57" fmla="*/ 104 h 116"/>
                  <a:gd name="T58" fmla="*/ 230 w 372"/>
                  <a:gd name="T59" fmla="*/ 92 h 116"/>
                  <a:gd name="T60" fmla="*/ 238 w 372"/>
                  <a:gd name="T61" fmla="*/ 82 h 116"/>
                  <a:gd name="T62" fmla="*/ 250 w 372"/>
                  <a:gd name="T63" fmla="*/ 74 h 116"/>
                  <a:gd name="T64" fmla="*/ 262 w 372"/>
                  <a:gd name="T65" fmla="*/ 66 h 116"/>
                  <a:gd name="T66" fmla="*/ 278 w 372"/>
                  <a:gd name="T67" fmla="*/ 62 h 116"/>
                  <a:gd name="T68" fmla="*/ 294 w 372"/>
                  <a:gd name="T69" fmla="*/ 58 h 116"/>
                  <a:gd name="T70" fmla="*/ 312 w 372"/>
                  <a:gd name="T71" fmla="*/ 56 h 116"/>
                  <a:gd name="T72" fmla="*/ 312 w 372"/>
                  <a:gd name="T73" fmla="*/ 56 h 116"/>
                  <a:gd name="T74" fmla="*/ 328 w 372"/>
                  <a:gd name="T75" fmla="*/ 58 h 116"/>
                  <a:gd name="T76" fmla="*/ 344 w 372"/>
                  <a:gd name="T77" fmla="*/ 62 h 116"/>
                  <a:gd name="T78" fmla="*/ 360 w 372"/>
                  <a:gd name="T79" fmla="*/ 66 h 116"/>
                  <a:gd name="T80" fmla="*/ 372 w 372"/>
                  <a:gd name="T81" fmla="*/ 74 h 116"/>
                  <a:gd name="T82" fmla="*/ 372 w 372"/>
                  <a:gd name="T83" fmla="*/ 0 h 116"/>
                  <a:gd name="T84" fmla="*/ 14 w 372"/>
                  <a:gd name="T85" fmla="*/ 0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72" h="116">
                    <a:moveTo>
                      <a:pt x="14" y="0"/>
                    </a:moveTo>
                    <a:lnTo>
                      <a:pt x="14" y="0"/>
                    </a:lnTo>
                    <a:lnTo>
                      <a:pt x="8" y="0"/>
                    </a:lnTo>
                    <a:lnTo>
                      <a:pt x="4" y="2"/>
                    </a:lnTo>
                    <a:lnTo>
                      <a:pt x="2" y="6"/>
                    </a:lnTo>
                    <a:lnTo>
                      <a:pt x="0" y="12"/>
                    </a:lnTo>
                    <a:lnTo>
                      <a:pt x="0" y="116"/>
                    </a:lnTo>
                    <a:lnTo>
                      <a:pt x="26" y="116"/>
                    </a:lnTo>
                    <a:lnTo>
                      <a:pt x="26" y="116"/>
                    </a:lnTo>
                    <a:lnTo>
                      <a:pt x="28" y="104"/>
                    </a:lnTo>
                    <a:lnTo>
                      <a:pt x="34" y="92"/>
                    </a:lnTo>
                    <a:lnTo>
                      <a:pt x="44" y="82"/>
                    </a:lnTo>
                    <a:lnTo>
                      <a:pt x="54" y="74"/>
                    </a:lnTo>
                    <a:lnTo>
                      <a:pt x="68" y="66"/>
                    </a:lnTo>
                    <a:lnTo>
                      <a:pt x="82" y="62"/>
                    </a:lnTo>
                    <a:lnTo>
                      <a:pt x="98" y="58"/>
                    </a:lnTo>
                    <a:lnTo>
                      <a:pt x="116" y="56"/>
                    </a:lnTo>
                    <a:lnTo>
                      <a:pt x="116" y="56"/>
                    </a:lnTo>
                    <a:lnTo>
                      <a:pt x="134" y="58"/>
                    </a:lnTo>
                    <a:lnTo>
                      <a:pt x="150" y="62"/>
                    </a:lnTo>
                    <a:lnTo>
                      <a:pt x="166" y="66"/>
                    </a:lnTo>
                    <a:lnTo>
                      <a:pt x="178" y="74"/>
                    </a:lnTo>
                    <a:lnTo>
                      <a:pt x="190" y="82"/>
                    </a:lnTo>
                    <a:lnTo>
                      <a:pt x="198" y="92"/>
                    </a:lnTo>
                    <a:lnTo>
                      <a:pt x="204" y="104"/>
                    </a:lnTo>
                    <a:lnTo>
                      <a:pt x="206" y="116"/>
                    </a:lnTo>
                    <a:lnTo>
                      <a:pt x="222" y="116"/>
                    </a:lnTo>
                    <a:lnTo>
                      <a:pt x="222" y="116"/>
                    </a:lnTo>
                    <a:lnTo>
                      <a:pt x="224" y="104"/>
                    </a:lnTo>
                    <a:lnTo>
                      <a:pt x="230" y="92"/>
                    </a:lnTo>
                    <a:lnTo>
                      <a:pt x="238" y="82"/>
                    </a:lnTo>
                    <a:lnTo>
                      <a:pt x="250" y="74"/>
                    </a:lnTo>
                    <a:lnTo>
                      <a:pt x="262" y="66"/>
                    </a:lnTo>
                    <a:lnTo>
                      <a:pt x="278" y="62"/>
                    </a:lnTo>
                    <a:lnTo>
                      <a:pt x="294" y="58"/>
                    </a:lnTo>
                    <a:lnTo>
                      <a:pt x="312" y="56"/>
                    </a:lnTo>
                    <a:lnTo>
                      <a:pt x="312" y="56"/>
                    </a:lnTo>
                    <a:lnTo>
                      <a:pt x="328" y="58"/>
                    </a:lnTo>
                    <a:lnTo>
                      <a:pt x="344" y="62"/>
                    </a:lnTo>
                    <a:lnTo>
                      <a:pt x="360" y="66"/>
                    </a:lnTo>
                    <a:lnTo>
                      <a:pt x="372" y="74"/>
                    </a:lnTo>
                    <a:lnTo>
                      <a:pt x="372" y="0"/>
                    </a:lnTo>
                    <a:lnTo>
                      <a:pt x="14"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150" name="Group 2149">
            <a:extLst>
              <a:ext uri="{FF2B5EF4-FFF2-40B4-BE49-F238E27FC236}">
                <a16:creationId xmlns:a16="http://schemas.microsoft.com/office/drawing/2014/main" id="{523A5CB2-D58E-4256-BB41-FBA644F2A877}"/>
              </a:ext>
            </a:extLst>
          </p:cNvPr>
          <p:cNvGrpSpPr/>
          <p:nvPr/>
        </p:nvGrpSpPr>
        <p:grpSpPr>
          <a:xfrm>
            <a:off x="8253383" y="4756107"/>
            <a:ext cx="612775" cy="612775"/>
            <a:chOff x="6421019" y="5357300"/>
            <a:chExt cx="612775" cy="612775"/>
          </a:xfrm>
        </p:grpSpPr>
        <p:sp>
          <p:nvSpPr>
            <p:cNvPr id="2151" name="Oval 2150">
              <a:extLst>
                <a:ext uri="{FF2B5EF4-FFF2-40B4-BE49-F238E27FC236}">
                  <a16:creationId xmlns:a16="http://schemas.microsoft.com/office/drawing/2014/main" id="{FE3C791B-B146-49BF-9B2D-D27A977DEFA7}"/>
                </a:ext>
              </a:extLst>
            </p:cNvPr>
            <p:cNvSpPr/>
            <p:nvPr/>
          </p:nvSpPr>
          <p:spPr bwMode="ltGray">
            <a:xfrm>
              <a:off x="6421019" y="5357300"/>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152" name="Group 2151">
              <a:extLst>
                <a:ext uri="{FF2B5EF4-FFF2-40B4-BE49-F238E27FC236}">
                  <a16:creationId xmlns:a16="http://schemas.microsoft.com/office/drawing/2014/main" id="{EAEC1909-A7D6-4C37-BF0C-6B6B510E64E6}"/>
                </a:ext>
              </a:extLst>
            </p:cNvPr>
            <p:cNvGrpSpPr/>
            <p:nvPr/>
          </p:nvGrpSpPr>
          <p:grpSpPr>
            <a:xfrm>
              <a:off x="6521216" y="5518485"/>
              <a:ext cx="437096" cy="248880"/>
              <a:chOff x="7553473" y="6444219"/>
              <a:chExt cx="337855" cy="192373"/>
            </a:xfrm>
            <a:solidFill>
              <a:srgbClr val="3C3C3E"/>
            </a:solidFill>
          </p:grpSpPr>
          <p:sp>
            <p:nvSpPr>
              <p:cNvPr id="2153" name="Freeform 157">
                <a:extLst>
                  <a:ext uri="{FF2B5EF4-FFF2-40B4-BE49-F238E27FC236}">
                    <a16:creationId xmlns:a16="http://schemas.microsoft.com/office/drawing/2014/main" id="{2D950017-0633-48EF-92D1-02CA55E07EBB}"/>
                  </a:ext>
                </a:extLst>
              </p:cNvPr>
              <p:cNvSpPr>
                <a:spLocks/>
              </p:cNvSpPr>
              <p:nvPr/>
            </p:nvSpPr>
            <p:spPr bwMode="auto">
              <a:xfrm>
                <a:off x="7553473" y="6611343"/>
                <a:ext cx="114221" cy="25249"/>
              </a:xfrm>
              <a:custGeom>
                <a:avLst/>
                <a:gdLst>
                  <a:gd name="T0" fmla="*/ 0 w 190"/>
                  <a:gd name="T1" fmla="*/ 0 h 42"/>
                  <a:gd name="T2" fmla="*/ 0 w 190"/>
                  <a:gd name="T3" fmla="*/ 42 h 42"/>
                  <a:gd name="T4" fmla="*/ 178 w 190"/>
                  <a:gd name="T5" fmla="*/ 42 h 42"/>
                  <a:gd name="T6" fmla="*/ 190 w 190"/>
                  <a:gd name="T7" fmla="*/ 0 h 42"/>
                  <a:gd name="T8" fmla="*/ 0 w 190"/>
                  <a:gd name="T9" fmla="*/ 0 h 42"/>
                </a:gdLst>
                <a:ahLst/>
                <a:cxnLst>
                  <a:cxn ang="0">
                    <a:pos x="T0" y="T1"/>
                  </a:cxn>
                  <a:cxn ang="0">
                    <a:pos x="T2" y="T3"/>
                  </a:cxn>
                  <a:cxn ang="0">
                    <a:pos x="T4" y="T5"/>
                  </a:cxn>
                  <a:cxn ang="0">
                    <a:pos x="T6" y="T7"/>
                  </a:cxn>
                  <a:cxn ang="0">
                    <a:pos x="T8" y="T9"/>
                  </a:cxn>
                </a:cxnLst>
                <a:rect l="0" t="0" r="r" b="b"/>
                <a:pathLst>
                  <a:path w="190" h="42">
                    <a:moveTo>
                      <a:pt x="0" y="0"/>
                    </a:moveTo>
                    <a:lnTo>
                      <a:pt x="0" y="42"/>
                    </a:lnTo>
                    <a:lnTo>
                      <a:pt x="178" y="42"/>
                    </a:lnTo>
                    <a:lnTo>
                      <a:pt x="190" y="0"/>
                    </a:lnTo>
                    <a:lnTo>
                      <a:pt x="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54" name="Freeform 158">
                <a:extLst>
                  <a:ext uri="{FF2B5EF4-FFF2-40B4-BE49-F238E27FC236}">
                    <a16:creationId xmlns:a16="http://schemas.microsoft.com/office/drawing/2014/main" id="{7BBC1BBA-5607-47D1-ACEB-E0A699733989}"/>
                  </a:ext>
                </a:extLst>
              </p:cNvPr>
              <p:cNvSpPr>
                <a:spLocks/>
              </p:cNvSpPr>
              <p:nvPr/>
            </p:nvSpPr>
            <p:spPr bwMode="auto">
              <a:xfrm>
                <a:off x="7767488" y="6611343"/>
                <a:ext cx="123840" cy="25249"/>
              </a:xfrm>
              <a:custGeom>
                <a:avLst/>
                <a:gdLst>
                  <a:gd name="T0" fmla="*/ 206 w 206"/>
                  <a:gd name="T1" fmla="*/ 0 h 42"/>
                  <a:gd name="T2" fmla="*/ 0 w 206"/>
                  <a:gd name="T3" fmla="*/ 0 h 42"/>
                  <a:gd name="T4" fmla="*/ 12 w 206"/>
                  <a:gd name="T5" fmla="*/ 42 h 42"/>
                  <a:gd name="T6" fmla="*/ 206 w 206"/>
                  <a:gd name="T7" fmla="*/ 42 h 42"/>
                  <a:gd name="T8" fmla="*/ 206 w 206"/>
                  <a:gd name="T9" fmla="*/ 0 h 42"/>
                </a:gdLst>
                <a:ahLst/>
                <a:cxnLst>
                  <a:cxn ang="0">
                    <a:pos x="T0" y="T1"/>
                  </a:cxn>
                  <a:cxn ang="0">
                    <a:pos x="T2" y="T3"/>
                  </a:cxn>
                  <a:cxn ang="0">
                    <a:pos x="T4" y="T5"/>
                  </a:cxn>
                  <a:cxn ang="0">
                    <a:pos x="T6" y="T7"/>
                  </a:cxn>
                  <a:cxn ang="0">
                    <a:pos x="T8" y="T9"/>
                  </a:cxn>
                </a:cxnLst>
                <a:rect l="0" t="0" r="r" b="b"/>
                <a:pathLst>
                  <a:path w="206" h="42">
                    <a:moveTo>
                      <a:pt x="206" y="0"/>
                    </a:moveTo>
                    <a:lnTo>
                      <a:pt x="0" y="0"/>
                    </a:lnTo>
                    <a:lnTo>
                      <a:pt x="12" y="42"/>
                    </a:lnTo>
                    <a:lnTo>
                      <a:pt x="206" y="42"/>
                    </a:lnTo>
                    <a:lnTo>
                      <a:pt x="206"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55" name="Freeform 159">
                <a:extLst>
                  <a:ext uri="{FF2B5EF4-FFF2-40B4-BE49-F238E27FC236}">
                    <a16:creationId xmlns:a16="http://schemas.microsoft.com/office/drawing/2014/main" id="{E5D8BE3A-910B-4BD7-9055-BC436EBCB65C}"/>
                  </a:ext>
                </a:extLst>
              </p:cNvPr>
              <p:cNvSpPr>
                <a:spLocks/>
              </p:cNvSpPr>
              <p:nvPr/>
            </p:nvSpPr>
            <p:spPr bwMode="auto">
              <a:xfrm>
                <a:off x="7757869" y="6580082"/>
                <a:ext cx="114221" cy="25249"/>
              </a:xfrm>
              <a:custGeom>
                <a:avLst/>
                <a:gdLst>
                  <a:gd name="T0" fmla="*/ 190 w 190"/>
                  <a:gd name="T1" fmla="*/ 42 h 42"/>
                  <a:gd name="T2" fmla="*/ 190 w 190"/>
                  <a:gd name="T3" fmla="*/ 0 h 42"/>
                  <a:gd name="T4" fmla="*/ 0 w 190"/>
                  <a:gd name="T5" fmla="*/ 0 h 42"/>
                  <a:gd name="T6" fmla="*/ 14 w 190"/>
                  <a:gd name="T7" fmla="*/ 42 h 42"/>
                  <a:gd name="T8" fmla="*/ 190 w 190"/>
                  <a:gd name="T9" fmla="*/ 42 h 42"/>
                </a:gdLst>
                <a:ahLst/>
                <a:cxnLst>
                  <a:cxn ang="0">
                    <a:pos x="T0" y="T1"/>
                  </a:cxn>
                  <a:cxn ang="0">
                    <a:pos x="T2" y="T3"/>
                  </a:cxn>
                  <a:cxn ang="0">
                    <a:pos x="T4" y="T5"/>
                  </a:cxn>
                  <a:cxn ang="0">
                    <a:pos x="T6" y="T7"/>
                  </a:cxn>
                  <a:cxn ang="0">
                    <a:pos x="T8" y="T9"/>
                  </a:cxn>
                </a:cxnLst>
                <a:rect l="0" t="0" r="r" b="b"/>
                <a:pathLst>
                  <a:path w="190" h="42">
                    <a:moveTo>
                      <a:pt x="190" y="42"/>
                    </a:moveTo>
                    <a:lnTo>
                      <a:pt x="190" y="0"/>
                    </a:lnTo>
                    <a:lnTo>
                      <a:pt x="0" y="0"/>
                    </a:lnTo>
                    <a:lnTo>
                      <a:pt x="14" y="42"/>
                    </a:lnTo>
                    <a:lnTo>
                      <a:pt x="190" y="4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56" name="Freeform 160">
                <a:extLst>
                  <a:ext uri="{FF2B5EF4-FFF2-40B4-BE49-F238E27FC236}">
                    <a16:creationId xmlns:a16="http://schemas.microsoft.com/office/drawing/2014/main" id="{2577627D-129A-4D83-A149-BAEA7CC0EDC8}"/>
                  </a:ext>
                </a:extLst>
              </p:cNvPr>
              <p:cNvSpPr>
                <a:spLocks/>
              </p:cNvSpPr>
              <p:nvPr/>
            </p:nvSpPr>
            <p:spPr bwMode="auto">
              <a:xfrm>
                <a:off x="7572711" y="6580082"/>
                <a:ext cx="104603" cy="25249"/>
              </a:xfrm>
              <a:custGeom>
                <a:avLst/>
                <a:gdLst>
                  <a:gd name="T0" fmla="*/ 0 w 174"/>
                  <a:gd name="T1" fmla="*/ 0 h 42"/>
                  <a:gd name="T2" fmla="*/ 0 w 174"/>
                  <a:gd name="T3" fmla="*/ 42 h 42"/>
                  <a:gd name="T4" fmla="*/ 162 w 174"/>
                  <a:gd name="T5" fmla="*/ 42 h 42"/>
                  <a:gd name="T6" fmla="*/ 174 w 174"/>
                  <a:gd name="T7" fmla="*/ 0 h 42"/>
                  <a:gd name="T8" fmla="*/ 0 w 174"/>
                  <a:gd name="T9" fmla="*/ 0 h 42"/>
                </a:gdLst>
                <a:ahLst/>
                <a:cxnLst>
                  <a:cxn ang="0">
                    <a:pos x="T0" y="T1"/>
                  </a:cxn>
                  <a:cxn ang="0">
                    <a:pos x="T2" y="T3"/>
                  </a:cxn>
                  <a:cxn ang="0">
                    <a:pos x="T4" y="T5"/>
                  </a:cxn>
                  <a:cxn ang="0">
                    <a:pos x="T6" y="T7"/>
                  </a:cxn>
                  <a:cxn ang="0">
                    <a:pos x="T8" y="T9"/>
                  </a:cxn>
                </a:cxnLst>
                <a:rect l="0" t="0" r="r" b="b"/>
                <a:pathLst>
                  <a:path w="174" h="42">
                    <a:moveTo>
                      <a:pt x="0" y="0"/>
                    </a:moveTo>
                    <a:lnTo>
                      <a:pt x="0" y="42"/>
                    </a:lnTo>
                    <a:lnTo>
                      <a:pt x="162" y="42"/>
                    </a:lnTo>
                    <a:lnTo>
                      <a:pt x="174" y="0"/>
                    </a:lnTo>
                    <a:lnTo>
                      <a:pt x="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57" name="Freeform 161">
                <a:extLst>
                  <a:ext uri="{FF2B5EF4-FFF2-40B4-BE49-F238E27FC236}">
                    <a16:creationId xmlns:a16="http://schemas.microsoft.com/office/drawing/2014/main" id="{4DFDC985-C5C3-4600-B80F-302854BEDBB8}"/>
                  </a:ext>
                </a:extLst>
              </p:cNvPr>
              <p:cNvSpPr>
                <a:spLocks/>
              </p:cNvSpPr>
              <p:nvPr/>
            </p:nvSpPr>
            <p:spPr bwMode="auto">
              <a:xfrm>
                <a:off x="7749453" y="6548822"/>
                <a:ext cx="102198" cy="25249"/>
              </a:xfrm>
              <a:custGeom>
                <a:avLst/>
                <a:gdLst>
                  <a:gd name="T0" fmla="*/ 170 w 170"/>
                  <a:gd name="T1" fmla="*/ 42 h 42"/>
                  <a:gd name="T2" fmla="*/ 170 w 170"/>
                  <a:gd name="T3" fmla="*/ 0 h 42"/>
                  <a:gd name="T4" fmla="*/ 0 w 170"/>
                  <a:gd name="T5" fmla="*/ 0 h 42"/>
                  <a:gd name="T6" fmla="*/ 12 w 170"/>
                  <a:gd name="T7" fmla="*/ 42 h 42"/>
                  <a:gd name="T8" fmla="*/ 170 w 170"/>
                  <a:gd name="T9" fmla="*/ 42 h 42"/>
                </a:gdLst>
                <a:ahLst/>
                <a:cxnLst>
                  <a:cxn ang="0">
                    <a:pos x="T0" y="T1"/>
                  </a:cxn>
                  <a:cxn ang="0">
                    <a:pos x="T2" y="T3"/>
                  </a:cxn>
                  <a:cxn ang="0">
                    <a:pos x="T4" y="T5"/>
                  </a:cxn>
                  <a:cxn ang="0">
                    <a:pos x="T6" y="T7"/>
                  </a:cxn>
                  <a:cxn ang="0">
                    <a:pos x="T8" y="T9"/>
                  </a:cxn>
                </a:cxnLst>
                <a:rect l="0" t="0" r="r" b="b"/>
                <a:pathLst>
                  <a:path w="170" h="42">
                    <a:moveTo>
                      <a:pt x="170" y="42"/>
                    </a:moveTo>
                    <a:lnTo>
                      <a:pt x="170" y="0"/>
                    </a:lnTo>
                    <a:lnTo>
                      <a:pt x="0" y="0"/>
                    </a:lnTo>
                    <a:lnTo>
                      <a:pt x="12" y="42"/>
                    </a:lnTo>
                    <a:lnTo>
                      <a:pt x="170" y="4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58" name="Freeform 162">
                <a:extLst>
                  <a:ext uri="{FF2B5EF4-FFF2-40B4-BE49-F238E27FC236}">
                    <a16:creationId xmlns:a16="http://schemas.microsoft.com/office/drawing/2014/main" id="{E16FC153-6ECD-4CF7-B524-8689CB7471E9}"/>
                  </a:ext>
                </a:extLst>
              </p:cNvPr>
              <p:cNvSpPr>
                <a:spLocks/>
              </p:cNvSpPr>
              <p:nvPr/>
            </p:nvSpPr>
            <p:spPr bwMode="auto">
              <a:xfrm>
                <a:off x="7593150" y="6548822"/>
                <a:ext cx="93782" cy="25249"/>
              </a:xfrm>
              <a:custGeom>
                <a:avLst/>
                <a:gdLst>
                  <a:gd name="T0" fmla="*/ 0 w 156"/>
                  <a:gd name="T1" fmla="*/ 0 h 42"/>
                  <a:gd name="T2" fmla="*/ 0 w 156"/>
                  <a:gd name="T3" fmla="*/ 42 h 42"/>
                  <a:gd name="T4" fmla="*/ 142 w 156"/>
                  <a:gd name="T5" fmla="*/ 42 h 42"/>
                  <a:gd name="T6" fmla="*/ 156 w 156"/>
                  <a:gd name="T7" fmla="*/ 0 h 42"/>
                  <a:gd name="T8" fmla="*/ 0 w 156"/>
                  <a:gd name="T9" fmla="*/ 0 h 42"/>
                </a:gdLst>
                <a:ahLst/>
                <a:cxnLst>
                  <a:cxn ang="0">
                    <a:pos x="T0" y="T1"/>
                  </a:cxn>
                  <a:cxn ang="0">
                    <a:pos x="T2" y="T3"/>
                  </a:cxn>
                  <a:cxn ang="0">
                    <a:pos x="T4" y="T5"/>
                  </a:cxn>
                  <a:cxn ang="0">
                    <a:pos x="T6" y="T7"/>
                  </a:cxn>
                  <a:cxn ang="0">
                    <a:pos x="T8" y="T9"/>
                  </a:cxn>
                </a:cxnLst>
                <a:rect l="0" t="0" r="r" b="b"/>
                <a:pathLst>
                  <a:path w="156" h="42">
                    <a:moveTo>
                      <a:pt x="0" y="0"/>
                    </a:moveTo>
                    <a:lnTo>
                      <a:pt x="0" y="42"/>
                    </a:lnTo>
                    <a:lnTo>
                      <a:pt x="142" y="42"/>
                    </a:lnTo>
                    <a:lnTo>
                      <a:pt x="156" y="0"/>
                    </a:lnTo>
                    <a:lnTo>
                      <a:pt x="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59" name="Freeform 163">
                <a:extLst>
                  <a:ext uri="{FF2B5EF4-FFF2-40B4-BE49-F238E27FC236}">
                    <a16:creationId xmlns:a16="http://schemas.microsoft.com/office/drawing/2014/main" id="{0D1A5EF6-E4DF-4069-BCEE-D898EDBBB7C5}"/>
                  </a:ext>
                </a:extLst>
              </p:cNvPr>
              <p:cNvSpPr>
                <a:spLocks/>
              </p:cNvSpPr>
              <p:nvPr/>
            </p:nvSpPr>
            <p:spPr bwMode="auto">
              <a:xfrm>
                <a:off x="7739834" y="6517561"/>
                <a:ext cx="88972" cy="25249"/>
              </a:xfrm>
              <a:custGeom>
                <a:avLst/>
                <a:gdLst>
                  <a:gd name="T0" fmla="*/ 148 w 148"/>
                  <a:gd name="T1" fmla="*/ 42 h 42"/>
                  <a:gd name="T2" fmla="*/ 148 w 148"/>
                  <a:gd name="T3" fmla="*/ 0 h 42"/>
                  <a:gd name="T4" fmla="*/ 0 w 148"/>
                  <a:gd name="T5" fmla="*/ 0 h 42"/>
                  <a:gd name="T6" fmla="*/ 12 w 148"/>
                  <a:gd name="T7" fmla="*/ 42 h 42"/>
                  <a:gd name="T8" fmla="*/ 148 w 148"/>
                  <a:gd name="T9" fmla="*/ 42 h 42"/>
                </a:gdLst>
                <a:ahLst/>
                <a:cxnLst>
                  <a:cxn ang="0">
                    <a:pos x="T0" y="T1"/>
                  </a:cxn>
                  <a:cxn ang="0">
                    <a:pos x="T2" y="T3"/>
                  </a:cxn>
                  <a:cxn ang="0">
                    <a:pos x="T4" y="T5"/>
                  </a:cxn>
                  <a:cxn ang="0">
                    <a:pos x="T6" y="T7"/>
                  </a:cxn>
                  <a:cxn ang="0">
                    <a:pos x="T8" y="T9"/>
                  </a:cxn>
                </a:cxnLst>
                <a:rect l="0" t="0" r="r" b="b"/>
                <a:pathLst>
                  <a:path w="148" h="42">
                    <a:moveTo>
                      <a:pt x="148" y="42"/>
                    </a:moveTo>
                    <a:lnTo>
                      <a:pt x="148" y="0"/>
                    </a:lnTo>
                    <a:lnTo>
                      <a:pt x="0" y="0"/>
                    </a:lnTo>
                    <a:lnTo>
                      <a:pt x="12" y="42"/>
                    </a:lnTo>
                    <a:lnTo>
                      <a:pt x="148" y="4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60" name="Freeform 164">
                <a:extLst>
                  <a:ext uri="{FF2B5EF4-FFF2-40B4-BE49-F238E27FC236}">
                    <a16:creationId xmlns:a16="http://schemas.microsoft.com/office/drawing/2014/main" id="{DC3150B7-89D4-4968-975C-E1BDDBA5EA87}"/>
                  </a:ext>
                </a:extLst>
              </p:cNvPr>
              <p:cNvSpPr>
                <a:spLocks/>
              </p:cNvSpPr>
              <p:nvPr/>
            </p:nvSpPr>
            <p:spPr bwMode="auto">
              <a:xfrm>
                <a:off x="7615994" y="6517561"/>
                <a:ext cx="79354" cy="25249"/>
              </a:xfrm>
              <a:custGeom>
                <a:avLst/>
                <a:gdLst>
                  <a:gd name="T0" fmla="*/ 0 w 132"/>
                  <a:gd name="T1" fmla="*/ 0 h 42"/>
                  <a:gd name="T2" fmla="*/ 0 w 132"/>
                  <a:gd name="T3" fmla="*/ 42 h 42"/>
                  <a:gd name="T4" fmla="*/ 120 w 132"/>
                  <a:gd name="T5" fmla="*/ 42 h 42"/>
                  <a:gd name="T6" fmla="*/ 132 w 132"/>
                  <a:gd name="T7" fmla="*/ 0 h 42"/>
                  <a:gd name="T8" fmla="*/ 0 w 132"/>
                  <a:gd name="T9" fmla="*/ 0 h 42"/>
                </a:gdLst>
                <a:ahLst/>
                <a:cxnLst>
                  <a:cxn ang="0">
                    <a:pos x="T0" y="T1"/>
                  </a:cxn>
                  <a:cxn ang="0">
                    <a:pos x="T2" y="T3"/>
                  </a:cxn>
                  <a:cxn ang="0">
                    <a:pos x="T4" y="T5"/>
                  </a:cxn>
                  <a:cxn ang="0">
                    <a:pos x="T6" y="T7"/>
                  </a:cxn>
                  <a:cxn ang="0">
                    <a:pos x="T8" y="T9"/>
                  </a:cxn>
                </a:cxnLst>
                <a:rect l="0" t="0" r="r" b="b"/>
                <a:pathLst>
                  <a:path w="132" h="42">
                    <a:moveTo>
                      <a:pt x="0" y="0"/>
                    </a:moveTo>
                    <a:lnTo>
                      <a:pt x="0" y="42"/>
                    </a:lnTo>
                    <a:lnTo>
                      <a:pt x="120" y="42"/>
                    </a:lnTo>
                    <a:lnTo>
                      <a:pt x="132" y="0"/>
                    </a:lnTo>
                    <a:lnTo>
                      <a:pt x="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61" name="Freeform 165">
                <a:extLst>
                  <a:ext uri="{FF2B5EF4-FFF2-40B4-BE49-F238E27FC236}">
                    <a16:creationId xmlns:a16="http://schemas.microsoft.com/office/drawing/2014/main" id="{55ABD86E-C6BB-482B-85F1-E4AEF88B38AF}"/>
                  </a:ext>
                </a:extLst>
              </p:cNvPr>
              <p:cNvSpPr>
                <a:spLocks/>
              </p:cNvSpPr>
              <p:nvPr/>
            </p:nvSpPr>
            <p:spPr bwMode="auto">
              <a:xfrm>
                <a:off x="7730216" y="6486301"/>
                <a:ext cx="80556" cy="25249"/>
              </a:xfrm>
              <a:custGeom>
                <a:avLst/>
                <a:gdLst>
                  <a:gd name="T0" fmla="*/ 134 w 134"/>
                  <a:gd name="T1" fmla="*/ 42 h 42"/>
                  <a:gd name="T2" fmla="*/ 134 w 134"/>
                  <a:gd name="T3" fmla="*/ 0 h 42"/>
                  <a:gd name="T4" fmla="*/ 0 w 134"/>
                  <a:gd name="T5" fmla="*/ 0 h 42"/>
                  <a:gd name="T6" fmla="*/ 14 w 134"/>
                  <a:gd name="T7" fmla="*/ 42 h 42"/>
                  <a:gd name="T8" fmla="*/ 134 w 134"/>
                  <a:gd name="T9" fmla="*/ 42 h 42"/>
                </a:gdLst>
                <a:ahLst/>
                <a:cxnLst>
                  <a:cxn ang="0">
                    <a:pos x="T0" y="T1"/>
                  </a:cxn>
                  <a:cxn ang="0">
                    <a:pos x="T2" y="T3"/>
                  </a:cxn>
                  <a:cxn ang="0">
                    <a:pos x="T4" y="T5"/>
                  </a:cxn>
                  <a:cxn ang="0">
                    <a:pos x="T6" y="T7"/>
                  </a:cxn>
                  <a:cxn ang="0">
                    <a:pos x="T8" y="T9"/>
                  </a:cxn>
                </a:cxnLst>
                <a:rect l="0" t="0" r="r" b="b"/>
                <a:pathLst>
                  <a:path w="134" h="42">
                    <a:moveTo>
                      <a:pt x="134" y="42"/>
                    </a:moveTo>
                    <a:lnTo>
                      <a:pt x="134" y="0"/>
                    </a:lnTo>
                    <a:lnTo>
                      <a:pt x="0" y="0"/>
                    </a:lnTo>
                    <a:lnTo>
                      <a:pt x="14" y="42"/>
                    </a:lnTo>
                    <a:lnTo>
                      <a:pt x="134" y="4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62" name="Freeform 166">
                <a:extLst>
                  <a:ext uri="{FF2B5EF4-FFF2-40B4-BE49-F238E27FC236}">
                    <a16:creationId xmlns:a16="http://schemas.microsoft.com/office/drawing/2014/main" id="{AD4F74A7-6184-4891-A549-5EDB5742262E}"/>
                  </a:ext>
                </a:extLst>
              </p:cNvPr>
              <p:cNvSpPr>
                <a:spLocks/>
              </p:cNvSpPr>
              <p:nvPr/>
            </p:nvSpPr>
            <p:spPr bwMode="auto">
              <a:xfrm>
                <a:off x="7634029" y="6486301"/>
                <a:ext cx="70937" cy="25249"/>
              </a:xfrm>
              <a:custGeom>
                <a:avLst/>
                <a:gdLst>
                  <a:gd name="T0" fmla="*/ 0 w 118"/>
                  <a:gd name="T1" fmla="*/ 0 h 42"/>
                  <a:gd name="T2" fmla="*/ 0 w 118"/>
                  <a:gd name="T3" fmla="*/ 42 h 42"/>
                  <a:gd name="T4" fmla="*/ 106 w 118"/>
                  <a:gd name="T5" fmla="*/ 42 h 42"/>
                  <a:gd name="T6" fmla="*/ 118 w 118"/>
                  <a:gd name="T7" fmla="*/ 0 h 42"/>
                  <a:gd name="T8" fmla="*/ 0 w 118"/>
                  <a:gd name="T9" fmla="*/ 0 h 42"/>
                </a:gdLst>
                <a:ahLst/>
                <a:cxnLst>
                  <a:cxn ang="0">
                    <a:pos x="T0" y="T1"/>
                  </a:cxn>
                  <a:cxn ang="0">
                    <a:pos x="T2" y="T3"/>
                  </a:cxn>
                  <a:cxn ang="0">
                    <a:pos x="T4" y="T5"/>
                  </a:cxn>
                  <a:cxn ang="0">
                    <a:pos x="T6" y="T7"/>
                  </a:cxn>
                  <a:cxn ang="0">
                    <a:pos x="T8" y="T9"/>
                  </a:cxn>
                </a:cxnLst>
                <a:rect l="0" t="0" r="r" b="b"/>
                <a:pathLst>
                  <a:path w="118" h="42">
                    <a:moveTo>
                      <a:pt x="0" y="0"/>
                    </a:moveTo>
                    <a:lnTo>
                      <a:pt x="0" y="42"/>
                    </a:lnTo>
                    <a:lnTo>
                      <a:pt x="106" y="42"/>
                    </a:lnTo>
                    <a:lnTo>
                      <a:pt x="118" y="0"/>
                    </a:lnTo>
                    <a:lnTo>
                      <a:pt x="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63" name="Freeform 167">
                <a:extLst>
                  <a:ext uri="{FF2B5EF4-FFF2-40B4-BE49-F238E27FC236}">
                    <a16:creationId xmlns:a16="http://schemas.microsoft.com/office/drawing/2014/main" id="{C224481A-0E91-425A-814F-5AA10B772E8D}"/>
                  </a:ext>
                </a:extLst>
              </p:cNvPr>
              <p:cNvSpPr>
                <a:spLocks/>
              </p:cNvSpPr>
              <p:nvPr/>
            </p:nvSpPr>
            <p:spPr bwMode="auto">
              <a:xfrm>
                <a:off x="7670099" y="6488705"/>
                <a:ext cx="94984" cy="147887"/>
              </a:xfrm>
              <a:custGeom>
                <a:avLst/>
                <a:gdLst>
                  <a:gd name="T0" fmla="*/ 158 w 158"/>
                  <a:gd name="T1" fmla="*/ 246 h 246"/>
                  <a:gd name="T2" fmla="*/ 0 w 158"/>
                  <a:gd name="T3" fmla="*/ 246 h 246"/>
                  <a:gd name="T4" fmla="*/ 74 w 158"/>
                  <a:gd name="T5" fmla="*/ 0 h 246"/>
                  <a:gd name="T6" fmla="*/ 86 w 158"/>
                  <a:gd name="T7" fmla="*/ 0 h 246"/>
                  <a:gd name="T8" fmla="*/ 158 w 158"/>
                  <a:gd name="T9" fmla="*/ 246 h 246"/>
                  <a:gd name="T10" fmla="*/ 158 w 158"/>
                  <a:gd name="T11" fmla="*/ 246 h 246"/>
                </a:gdLst>
                <a:ahLst/>
                <a:cxnLst>
                  <a:cxn ang="0">
                    <a:pos x="T0" y="T1"/>
                  </a:cxn>
                  <a:cxn ang="0">
                    <a:pos x="T2" y="T3"/>
                  </a:cxn>
                  <a:cxn ang="0">
                    <a:pos x="T4" y="T5"/>
                  </a:cxn>
                  <a:cxn ang="0">
                    <a:pos x="T6" y="T7"/>
                  </a:cxn>
                  <a:cxn ang="0">
                    <a:pos x="T8" y="T9"/>
                  </a:cxn>
                  <a:cxn ang="0">
                    <a:pos x="T10" y="T11"/>
                  </a:cxn>
                </a:cxnLst>
                <a:rect l="0" t="0" r="r" b="b"/>
                <a:pathLst>
                  <a:path w="158" h="246">
                    <a:moveTo>
                      <a:pt x="158" y="246"/>
                    </a:moveTo>
                    <a:lnTo>
                      <a:pt x="0" y="246"/>
                    </a:lnTo>
                    <a:lnTo>
                      <a:pt x="74" y="0"/>
                    </a:lnTo>
                    <a:lnTo>
                      <a:pt x="86" y="0"/>
                    </a:lnTo>
                    <a:lnTo>
                      <a:pt x="158" y="246"/>
                    </a:lnTo>
                    <a:lnTo>
                      <a:pt x="158" y="24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64" name="Rectangle 168">
                <a:extLst>
                  <a:ext uri="{FF2B5EF4-FFF2-40B4-BE49-F238E27FC236}">
                    <a16:creationId xmlns:a16="http://schemas.microsoft.com/office/drawing/2014/main" id="{E7E18CCD-6979-48CA-AAF8-0912D1FD281C}"/>
                  </a:ext>
                </a:extLst>
              </p:cNvPr>
              <p:cNvSpPr>
                <a:spLocks noChangeArrowheads="1"/>
              </p:cNvSpPr>
              <p:nvPr/>
            </p:nvSpPr>
            <p:spPr bwMode="auto">
              <a:xfrm>
                <a:off x="7671302" y="6444219"/>
                <a:ext cx="98591" cy="34868"/>
              </a:xfrm>
              <a:prstGeom prst="rect">
                <a:avLst/>
              </a:pr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165" name="Group 2164">
            <a:extLst>
              <a:ext uri="{FF2B5EF4-FFF2-40B4-BE49-F238E27FC236}">
                <a16:creationId xmlns:a16="http://schemas.microsoft.com/office/drawing/2014/main" id="{EBD93EAA-6D82-466D-A9B8-F461177C1755}"/>
              </a:ext>
            </a:extLst>
          </p:cNvPr>
          <p:cNvGrpSpPr/>
          <p:nvPr/>
        </p:nvGrpSpPr>
        <p:grpSpPr>
          <a:xfrm>
            <a:off x="6066641" y="4756107"/>
            <a:ext cx="612775" cy="612775"/>
            <a:chOff x="4234277" y="5357300"/>
            <a:chExt cx="612775" cy="612775"/>
          </a:xfrm>
        </p:grpSpPr>
        <p:sp>
          <p:nvSpPr>
            <p:cNvPr id="2166" name="Oval 2165">
              <a:extLst>
                <a:ext uri="{FF2B5EF4-FFF2-40B4-BE49-F238E27FC236}">
                  <a16:creationId xmlns:a16="http://schemas.microsoft.com/office/drawing/2014/main" id="{7F8A0913-912B-440F-B318-F14B4E2B7E93}"/>
                </a:ext>
              </a:extLst>
            </p:cNvPr>
            <p:cNvSpPr/>
            <p:nvPr/>
          </p:nvSpPr>
          <p:spPr bwMode="ltGray">
            <a:xfrm>
              <a:off x="4234277" y="5357300"/>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167" name="Freeform 169">
              <a:extLst>
                <a:ext uri="{FF2B5EF4-FFF2-40B4-BE49-F238E27FC236}">
                  <a16:creationId xmlns:a16="http://schemas.microsoft.com/office/drawing/2014/main" id="{0A0115CB-F6D2-476D-8E03-4ABA492F6501}"/>
                </a:ext>
              </a:extLst>
            </p:cNvPr>
            <p:cNvSpPr>
              <a:spLocks noEditPoints="1"/>
            </p:cNvSpPr>
            <p:nvPr/>
          </p:nvSpPr>
          <p:spPr bwMode="auto">
            <a:xfrm>
              <a:off x="4336320" y="5456653"/>
              <a:ext cx="424610" cy="342568"/>
            </a:xfrm>
            <a:custGeom>
              <a:avLst/>
              <a:gdLst>
                <a:gd name="T0" fmla="*/ 276 w 590"/>
                <a:gd name="T1" fmla="*/ 290 h 476"/>
                <a:gd name="T2" fmla="*/ 354 w 590"/>
                <a:gd name="T3" fmla="*/ 306 h 476"/>
                <a:gd name="T4" fmla="*/ 354 w 590"/>
                <a:gd name="T5" fmla="*/ 248 h 476"/>
                <a:gd name="T6" fmla="*/ 326 w 590"/>
                <a:gd name="T7" fmla="*/ 186 h 476"/>
                <a:gd name="T8" fmla="*/ 262 w 590"/>
                <a:gd name="T9" fmla="*/ 186 h 476"/>
                <a:gd name="T10" fmla="*/ 234 w 590"/>
                <a:gd name="T11" fmla="*/ 248 h 476"/>
                <a:gd name="T12" fmla="*/ 302 w 590"/>
                <a:gd name="T13" fmla="*/ 156 h 476"/>
                <a:gd name="T14" fmla="*/ 306 w 590"/>
                <a:gd name="T15" fmla="*/ 80 h 476"/>
                <a:gd name="T16" fmla="*/ 302 w 590"/>
                <a:gd name="T17" fmla="*/ 6 h 476"/>
                <a:gd name="T18" fmla="*/ 288 w 590"/>
                <a:gd name="T19" fmla="*/ 2 h 476"/>
                <a:gd name="T20" fmla="*/ 294 w 590"/>
                <a:gd name="T21" fmla="*/ 16 h 476"/>
                <a:gd name="T22" fmla="*/ 278 w 590"/>
                <a:gd name="T23" fmla="*/ 154 h 476"/>
                <a:gd name="T24" fmla="*/ 142 w 590"/>
                <a:gd name="T25" fmla="*/ 368 h 476"/>
                <a:gd name="T26" fmla="*/ 202 w 590"/>
                <a:gd name="T27" fmla="*/ 348 h 476"/>
                <a:gd name="T28" fmla="*/ 186 w 590"/>
                <a:gd name="T29" fmla="*/ 320 h 476"/>
                <a:gd name="T30" fmla="*/ 154 w 590"/>
                <a:gd name="T31" fmla="*/ 316 h 476"/>
                <a:gd name="T32" fmla="*/ 132 w 590"/>
                <a:gd name="T33" fmla="*/ 344 h 476"/>
                <a:gd name="T34" fmla="*/ 108 w 590"/>
                <a:gd name="T35" fmla="*/ 398 h 476"/>
                <a:gd name="T36" fmla="*/ 46 w 590"/>
                <a:gd name="T37" fmla="*/ 396 h 476"/>
                <a:gd name="T38" fmla="*/ 38 w 590"/>
                <a:gd name="T39" fmla="*/ 360 h 476"/>
                <a:gd name="T40" fmla="*/ 8 w 590"/>
                <a:gd name="T41" fmla="*/ 366 h 476"/>
                <a:gd name="T42" fmla="*/ 6 w 590"/>
                <a:gd name="T43" fmla="*/ 396 h 476"/>
                <a:gd name="T44" fmla="*/ 68 w 590"/>
                <a:gd name="T45" fmla="*/ 356 h 476"/>
                <a:gd name="T46" fmla="*/ 82 w 590"/>
                <a:gd name="T47" fmla="*/ 404 h 476"/>
                <a:gd name="T48" fmla="*/ 448 w 590"/>
                <a:gd name="T49" fmla="*/ 368 h 476"/>
                <a:gd name="T50" fmla="*/ 456 w 590"/>
                <a:gd name="T51" fmla="*/ 344 h 476"/>
                <a:gd name="T52" fmla="*/ 436 w 590"/>
                <a:gd name="T53" fmla="*/ 316 h 476"/>
                <a:gd name="T54" fmla="*/ 402 w 590"/>
                <a:gd name="T55" fmla="*/ 320 h 476"/>
                <a:gd name="T56" fmla="*/ 386 w 590"/>
                <a:gd name="T57" fmla="*/ 348 h 476"/>
                <a:gd name="T58" fmla="*/ 480 w 590"/>
                <a:gd name="T59" fmla="*/ 398 h 476"/>
                <a:gd name="T60" fmla="*/ 454 w 590"/>
                <a:gd name="T61" fmla="*/ 372 h 476"/>
                <a:gd name="T62" fmla="*/ 378 w 590"/>
                <a:gd name="T63" fmla="*/ 344 h 476"/>
                <a:gd name="T64" fmla="*/ 330 w 590"/>
                <a:gd name="T65" fmla="*/ 302 h 476"/>
                <a:gd name="T66" fmla="*/ 268 w 590"/>
                <a:gd name="T67" fmla="*/ 298 h 476"/>
                <a:gd name="T68" fmla="*/ 210 w 590"/>
                <a:gd name="T69" fmla="*/ 338 h 476"/>
                <a:gd name="T70" fmla="*/ 200 w 590"/>
                <a:gd name="T71" fmla="*/ 372 h 476"/>
                <a:gd name="T72" fmla="*/ 42 w 590"/>
                <a:gd name="T73" fmla="*/ 406 h 476"/>
                <a:gd name="T74" fmla="*/ 258 w 590"/>
                <a:gd name="T75" fmla="*/ 432 h 476"/>
                <a:gd name="T76" fmla="*/ 272 w 590"/>
                <a:gd name="T77" fmla="*/ 404 h 476"/>
                <a:gd name="T78" fmla="*/ 302 w 590"/>
                <a:gd name="T79" fmla="*/ 398 h 476"/>
                <a:gd name="T80" fmla="*/ 328 w 590"/>
                <a:gd name="T81" fmla="*/ 422 h 476"/>
                <a:gd name="T82" fmla="*/ 580 w 590"/>
                <a:gd name="T83" fmla="*/ 406 h 476"/>
                <a:gd name="T84" fmla="*/ 42 w 590"/>
                <a:gd name="T85" fmla="*/ 442 h 476"/>
                <a:gd name="T86" fmla="*/ 76 w 590"/>
                <a:gd name="T87" fmla="*/ 460 h 476"/>
                <a:gd name="T88" fmla="*/ 140 w 590"/>
                <a:gd name="T89" fmla="*/ 460 h 476"/>
                <a:gd name="T90" fmla="*/ 448 w 590"/>
                <a:gd name="T91" fmla="*/ 460 h 476"/>
                <a:gd name="T92" fmla="*/ 476 w 590"/>
                <a:gd name="T93" fmla="*/ 428 h 476"/>
                <a:gd name="T94" fmla="*/ 538 w 590"/>
                <a:gd name="T95" fmla="*/ 440 h 476"/>
                <a:gd name="T96" fmla="*/ 546 w 590"/>
                <a:gd name="T97" fmla="*/ 442 h 476"/>
                <a:gd name="T98" fmla="*/ 536 w 590"/>
                <a:gd name="T99" fmla="*/ 374 h 476"/>
                <a:gd name="T100" fmla="*/ 542 w 590"/>
                <a:gd name="T101" fmla="*/ 402 h 476"/>
                <a:gd name="T102" fmla="*/ 590 w 590"/>
                <a:gd name="T103" fmla="*/ 384 h 476"/>
                <a:gd name="T104" fmla="*/ 562 w 590"/>
                <a:gd name="T105" fmla="*/ 358 h 476"/>
                <a:gd name="T106" fmla="*/ 372 w 590"/>
                <a:gd name="T107" fmla="*/ 260 h 476"/>
                <a:gd name="T108" fmla="*/ 506 w 590"/>
                <a:gd name="T109" fmla="*/ 404 h 476"/>
                <a:gd name="T110" fmla="*/ 272 w 590"/>
                <a:gd name="T111" fmla="*/ 414 h 476"/>
                <a:gd name="T112" fmla="*/ 322 w 590"/>
                <a:gd name="T113" fmla="*/ 432 h 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0" h="476">
                  <a:moveTo>
                    <a:pt x="236" y="262"/>
                  </a:moveTo>
                  <a:lnTo>
                    <a:pt x="234" y="304"/>
                  </a:lnTo>
                  <a:lnTo>
                    <a:pt x="234" y="304"/>
                  </a:lnTo>
                  <a:lnTo>
                    <a:pt x="248" y="298"/>
                  </a:lnTo>
                  <a:lnTo>
                    <a:pt x="262" y="292"/>
                  </a:lnTo>
                  <a:lnTo>
                    <a:pt x="276" y="290"/>
                  </a:lnTo>
                  <a:lnTo>
                    <a:pt x="292" y="288"/>
                  </a:lnTo>
                  <a:lnTo>
                    <a:pt x="292" y="288"/>
                  </a:lnTo>
                  <a:lnTo>
                    <a:pt x="308" y="290"/>
                  </a:lnTo>
                  <a:lnTo>
                    <a:pt x="324" y="292"/>
                  </a:lnTo>
                  <a:lnTo>
                    <a:pt x="340" y="298"/>
                  </a:lnTo>
                  <a:lnTo>
                    <a:pt x="354" y="306"/>
                  </a:lnTo>
                  <a:lnTo>
                    <a:pt x="352" y="262"/>
                  </a:lnTo>
                  <a:lnTo>
                    <a:pt x="236" y="262"/>
                  </a:lnTo>
                  <a:close/>
                  <a:moveTo>
                    <a:pt x="354" y="256"/>
                  </a:moveTo>
                  <a:lnTo>
                    <a:pt x="354" y="256"/>
                  </a:lnTo>
                  <a:lnTo>
                    <a:pt x="354" y="248"/>
                  </a:lnTo>
                  <a:lnTo>
                    <a:pt x="354" y="248"/>
                  </a:lnTo>
                  <a:lnTo>
                    <a:pt x="354" y="238"/>
                  </a:lnTo>
                  <a:lnTo>
                    <a:pt x="352" y="230"/>
                  </a:lnTo>
                  <a:lnTo>
                    <a:pt x="344" y="210"/>
                  </a:lnTo>
                  <a:lnTo>
                    <a:pt x="338" y="202"/>
                  </a:lnTo>
                  <a:lnTo>
                    <a:pt x="332" y="192"/>
                  </a:lnTo>
                  <a:lnTo>
                    <a:pt x="326" y="186"/>
                  </a:lnTo>
                  <a:lnTo>
                    <a:pt x="318" y="180"/>
                  </a:lnTo>
                  <a:lnTo>
                    <a:pt x="318" y="162"/>
                  </a:lnTo>
                  <a:lnTo>
                    <a:pt x="270" y="162"/>
                  </a:lnTo>
                  <a:lnTo>
                    <a:pt x="270" y="180"/>
                  </a:lnTo>
                  <a:lnTo>
                    <a:pt x="270" y="180"/>
                  </a:lnTo>
                  <a:lnTo>
                    <a:pt x="262" y="186"/>
                  </a:lnTo>
                  <a:lnTo>
                    <a:pt x="256" y="194"/>
                  </a:lnTo>
                  <a:lnTo>
                    <a:pt x="248" y="202"/>
                  </a:lnTo>
                  <a:lnTo>
                    <a:pt x="244" y="210"/>
                  </a:lnTo>
                  <a:lnTo>
                    <a:pt x="236" y="230"/>
                  </a:lnTo>
                  <a:lnTo>
                    <a:pt x="234" y="238"/>
                  </a:lnTo>
                  <a:lnTo>
                    <a:pt x="234" y="248"/>
                  </a:lnTo>
                  <a:lnTo>
                    <a:pt x="234" y="248"/>
                  </a:lnTo>
                  <a:lnTo>
                    <a:pt x="234" y="256"/>
                  </a:lnTo>
                  <a:lnTo>
                    <a:pt x="354" y="256"/>
                  </a:lnTo>
                  <a:close/>
                  <a:moveTo>
                    <a:pt x="294" y="156"/>
                  </a:moveTo>
                  <a:lnTo>
                    <a:pt x="294" y="156"/>
                  </a:lnTo>
                  <a:lnTo>
                    <a:pt x="302" y="156"/>
                  </a:lnTo>
                  <a:lnTo>
                    <a:pt x="310" y="154"/>
                  </a:lnTo>
                  <a:lnTo>
                    <a:pt x="316" y="150"/>
                  </a:lnTo>
                  <a:lnTo>
                    <a:pt x="318" y="142"/>
                  </a:lnTo>
                  <a:lnTo>
                    <a:pt x="318" y="142"/>
                  </a:lnTo>
                  <a:lnTo>
                    <a:pt x="314" y="118"/>
                  </a:lnTo>
                  <a:lnTo>
                    <a:pt x="306" y="80"/>
                  </a:lnTo>
                  <a:lnTo>
                    <a:pt x="294" y="16"/>
                  </a:lnTo>
                  <a:lnTo>
                    <a:pt x="294" y="16"/>
                  </a:lnTo>
                  <a:lnTo>
                    <a:pt x="300" y="14"/>
                  </a:lnTo>
                  <a:lnTo>
                    <a:pt x="302" y="8"/>
                  </a:lnTo>
                  <a:lnTo>
                    <a:pt x="302" y="8"/>
                  </a:lnTo>
                  <a:lnTo>
                    <a:pt x="302" y="6"/>
                  </a:lnTo>
                  <a:lnTo>
                    <a:pt x="300" y="2"/>
                  </a:lnTo>
                  <a:lnTo>
                    <a:pt x="298" y="2"/>
                  </a:lnTo>
                  <a:lnTo>
                    <a:pt x="294" y="0"/>
                  </a:lnTo>
                  <a:lnTo>
                    <a:pt x="294" y="0"/>
                  </a:lnTo>
                  <a:lnTo>
                    <a:pt x="290" y="2"/>
                  </a:lnTo>
                  <a:lnTo>
                    <a:pt x="288" y="2"/>
                  </a:lnTo>
                  <a:lnTo>
                    <a:pt x="286" y="6"/>
                  </a:lnTo>
                  <a:lnTo>
                    <a:pt x="286" y="8"/>
                  </a:lnTo>
                  <a:lnTo>
                    <a:pt x="286" y="8"/>
                  </a:lnTo>
                  <a:lnTo>
                    <a:pt x="288" y="14"/>
                  </a:lnTo>
                  <a:lnTo>
                    <a:pt x="294" y="16"/>
                  </a:lnTo>
                  <a:lnTo>
                    <a:pt x="294" y="16"/>
                  </a:lnTo>
                  <a:lnTo>
                    <a:pt x="282" y="80"/>
                  </a:lnTo>
                  <a:lnTo>
                    <a:pt x="274" y="118"/>
                  </a:lnTo>
                  <a:lnTo>
                    <a:pt x="270" y="142"/>
                  </a:lnTo>
                  <a:lnTo>
                    <a:pt x="270" y="142"/>
                  </a:lnTo>
                  <a:lnTo>
                    <a:pt x="272" y="150"/>
                  </a:lnTo>
                  <a:lnTo>
                    <a:pt x="278" y="154"/>
                  </a:lnTo>
                  <a:lnTo>
                    <a:pt x="284" y="156"/>
                  </a:lnTo>
                  <a:lnTo>
                    <a:pt x="294" y="156"/>
                  </a:lnTo>
                  <a:lnTo>
                    <a:pt x="294" y="156"/>
                  </a:lnTo>
                  <a:close/>
                  <a:moveTo>
                    <a:pt x="142" y="360"/>
                  </a:moveTo>
                  <a:lnTo>
                    <a:pt x="142" y="360"/>
                  </a:lnTo>
                  <a:lnTo>
                    <a:pt x="142" y="368"/>
                  </a:lnTo>
                  <a:lnTo>
                    <a:pt x="192" y="368"/>
                  </a:lnTo>
                  <a:lnTo>
                    <a:pt x="192" y="360"/>
                  </a:lnTo>
                  <a:lnTo>
                    <a:pt x="192" y="360"/>
                  </a:lnTo>
                  <a:lnTo>
                    <a:pt x="192" y="360"/>
                  </a:lnTo>
                  <a:lnTo>
                    <a:pt x="200" y="352"/>
                  </a:lnTo>
                  <a:lnTo>
                    <a:pt x="202" y="348"/>
                  </a:lnTo>
                  <a:lnTo>
                    <a:pt x="202" y="344"/>
                  </a:lnTo>
                  <a:lnTo>
                    <a:pt x="202" y="344"/>
                  </a:lnTo>
                  <a:lnTo>
                    <a:pt x="202" y="338"/>
                  </a:lnTo>
                  <a:lnTo>
                    <a:pt x="200" y="334"/>
                  </a:lnTo>
                  <a:lnTo>
                    <a:pt x="192" y="324"/>
                  </a:lnTo>
                  <a:lnTo>
                    <a:pt x="186" y="320"/>
                  </a:lnTo>
                  <a:lnTo>
                    <a:pt x="180" y="316"/>
                  </a:lnTo>
                  <a:lnTo>
                    <a:pt x="174" y="314"/>
                  </a:lnTo>
                  <a:lnTo>
                    <a:pt x="166" y="312"/>
                  </a:lnTo>
                  <a:lnTo>
                    <a:pt x="166" y="312"/>
                  </a:lnTo>
                  <a:lnTo>
                    <a:pt x="160" y="314"/>
                  </a:lnTo>
                  <a:lnTo>
                    <a:pt x="154" y="316"/>
                  </a:lnTo>
                  <a:lnTo>
                    <a:pt x="148" y="320"/>
                  </a:lnTo>
                  <a:lnTo>
                    <a:pt x="142" y="324"/>
                  </a:lnTo>
                  <a:lnTo>
                    <a:pt x="134" y="334"/>
                  </a:lnTo>
                  <a:lnTo>
                    <a:pt x="132" y="338"/>
                  </a:lnTo>
                  <a:lnTo>
                    <a:pt x="132" y="344"/>
                  </a:lnTo>
                  <a:lnTo>
                    <a:pt x="132" y="344"/>
                  </a:lnTo>
                  <a:lnTo>
                    <a:pt x="132" y="348"/>
                  </a:lnTo>
                  <a:lnTo>
                    <a:pt x="134" y="352"/>
                  </a:lnTo>
                  <a:lnTo>
                    <a:pt x="142" y="360"/>
                  </a:lnTo>
                  <a:lnTo>
                    <a:pt x="142" y="360"/>
                  </a:lnTo>
                  <a:close/>
                  <a:moveTo>
                    <a:pt x="118" y="304"/>
                  </a:moveTo>
                  <a:lnTo>
                    <a:pt x="108" y="398"/>
                  </a:lnTo>
                  <a:lnTo>
                    <a:pt x="128" y="398"/>
                  </a:lnTo>
                  <a:lnTo>
                    <a:pt x="118" y="304"/>
                  </a:lnTo>
                  <a:close/>
                  <a:moveTo>
                    <a:pt x="46" y="402"/>
                  </a:moveTo>
                  <a:lnTo>
                    <a:pt x="46" y="396"/>
                  </a:lnTo>
                  <a:lnTo>
                    <a:pt x="46" y="396"/>
                  </a:lnTo>
                  <a:lnTo>
                    <a:pt x="46" y="396"/>
                  </a:lnTo>
                  <a:lnTo>
                    <a:pt x="52" y="390"/>
                  </a:lnTo>
                  <a:lnTo>
                    <a:pt x="54" y="384"/>
                  </a:lnTo>
                  <a:lnTo>
                    <a:pt x="54" y="384"/>
                  </a:lnTo>
                  <a:lnTo>
                    <a:pt x="52" y="374"/>
                  </a:lnTo>
                  <a:lnTo>
                    <a:pt x="46" y="366"/>
                  </a:lnTo>
                  <a:lnTo>
                    <a:pt x="38" y="360"/>
                  </a:lnTo>
                  <a:lnTo>
                    <a:pt x="32" y="360"/>
                  </a:lnTo>
                  <a:lnTo>
                    <a:pt x="26" y="358"/>
                  </a:lnTo>
                  <a:lnTo>
                    <a:pt x="26" y="358"/>
                  </a:lnTo>
                  <a:lnTo>
                    <a:pt x="22" y="360"/>
                  </a:lnTo>
                  <a:lnTo>
                    <a:pt x="16" y="360"/>
                  </a:lnTo>
                  <a:lnTo>
                    <a:pt x="8" y="366"/>
                  </a:lnTo>
                  <a:lnTo>
                    <a:pt x="2" y="374"/>
                  </a:lnTo>
                  <a:lnTo>
                    <a:pt x="0" y="384"/>
                  </a:lnTo>
                  <a:lnTo>
                    <a:pt x="0" y="384"/>
                  </a:lnTo>
                  <a:lnTo>
                    <a:pt x="2" y="390"/>
                  </a:lnTo>
                  <a:lnTo>
                    <a:pt x="6" y="396"/>
                  </a:lnTo>
                  <a:lnTo>
                    <a:pt x="6" y="396"/>
                  </a:lnTo>
                  <a:lnTo>
                    <a:pt x="6" y="402"/>
                  </a:lnTo>
                  <a:lnTo>
                    <a:pt x="46" y="402"/>
                  </a:lnTo>
                  <a:close/>
                  <a:moveTo>
                    <a:pt x="68" y="356"/>
                  </a:moveTo>
                  <a:lnTo>
                    <a:pt x="60" y="408"/>
                  </a:lnTo>
                  <a:lnTo>
                    <a:pt x="74" y="408"/>
                  </a:lnTo>
                  <a:lnTo>
                    <a:pt x="68" y="356"/>
                  </a:lnTo>
                  <a:close/>
                  <a:moveTo>
                    <a:pt x="216" y="260"/>
                  </a:moveTo>
                  <a:lnTo>
                    <a:pt x="210" y="312"/>
                  </a:lnTo>
                  <a:lnTo>
                    <a:pt x="224" y="312"/>
                  </a:lnTo>
                  <a:lnTo>
                    <a:pt x="216" y="260"/>
                  </a:lnTo>
                  <a:close/>
                  <a:moveTo>
                    <a:pt x="92" y="330"/>
                  </a:moveTo>
                  <a:lnTo>
                    <a:pt x="82" y="404"/>
                  </a:lnTo>
                  <a:lnTo>
                    <a:pt x="100" y="404"/>
                  </a:lnTo>
                  <a:lnTo>
                    <a:pt x="92" y="330"/>
                  </a:lnTo>
                  <a:close/>
                  <a:moveTo>
                    <a:pt x="396" y="360"/>
                  </a:moveTo>
                  <a:lnTo>
                    <a:pt x="396" y="360"/>
                  </a:lnTo>
                  <a:lnTo>
                    <a:pt x="396" y="368"/>
                  </a:lnTo>
                  <a:lnTo>
                    <a:pt x="448" y="368"/>
                  </a:lnTo>
                  <a:lnTo>
                    <a:pt x="448" y="360"/>
                  </a:lnTo>
                  <a:lnTo>
                    <a:pt x="448" y="360"/>
                  </a:lnTo>
                  <a:lnTo>
                    <a:pt x="448" y="360"/>
                  </a:lnTo>
                  <a:lnTo>
                    <a:pt x="454" y="352"/>
                  </a:lnTo>
                  <a:lnTo>
                    <a:pt x="456" y="348"/>
                  </a:lnTo>
                  <a:lnTo>
                    <a:pt x="456" y="344"/>
                  </a:lnTo>
                  <a:lnTo>
                    <a:pt x="456" y="344"/>
                  </a:lnTo>
                  <a:lnTo>
                    <a:pt x="456" y="338"/>
                  </a:lnTo>
                  <a:lnTo>
                    <a:pt x="454" y="334"/>
                  </a:lnTo>
                  <a:lnTo>
                    <a:pt x="446" y="324"/>
                  </a:lnTo>
                  <a:lnTo>
                    <a:pt x="442" y="320"/>
                  </a:lnTo>
                  <a:lnTo>
                    <a:pt x="436" y="316"/>
                  </a:lnTo>
                  <a:lnTo>
                    <a:pt x="428" y="314"/>
                  </a:lnTo>
                  <a:lnTo>
                    <a:pt x="422" y="312"/>
                  </a:lnTo>
                  <a:lnTo>
                    <a:pt x="422" y="312"/>
                  </a:lnTo>
                  <a:lnTo>
                    <a:pt x="414" y="314"/>
                  </a:lnTo>
                  <a:lnTo>
                    <a:pt x="408" y="316"/>
                  </a:lnTo>
                  <a:lnTo>
                    <a:pt x="402" y="320"/>
                  </a:lnTo>
                  <a:lnTo>
                    <a:pt x="396" y="324"/>
                  </a:lnTo>
                  <a:lnTo>
                    <a:pt x="390" y="334"/>
                  </a:lnTo>
                  <a:lnTo>
                    <a:pt x="386" y="338"/>
                  </a:lnTo>
                  <a:lnTo>
                    <a:pt x="386" y="344"/>
                  </a:lnTo>
                  <a:lnTo>
                    <a:pt x="386" y="344"/>
                  </a:lnTo>
                  <a:lnTo>
                    <a:pt x="386" y="348"/>
                  </a:lnTo>
                  <a:lnTo>
                    <a:pt x="388" y="352"/>
                  </a:lnTo>
                  <a:lnTo>
                    <a:pt x="396" y="360"/>
                  </a:lnTo>
                  <a:lnTo>
                    <a:pt x="396" y="360"/>
                  </a:lnTo>
                  <a:close/>
                  <a:moveTo>
                    <a:pt x="470" y="304"/>
                  </a:moveTo>
                  <a:lnTo>
                    <a:pt x="460" y="398"/>
                  </a:lnTo>
                  <a:lnTo>
                    <a:pt x="480" y="398"/>
                  </a:lnTo>
                  <a:lnTo>
                    <a:pt x="470" y="304"/>
                  </a:lnTo>
                  <a:close/>
                  <a:moveTo>
                    <a:pt x="546" y="418"/>
                  </a:moveTo>
                  <a:lnTo>
                    <a:pt x="448" y="400"/>
                  </a:lnTo>
                  <a:lnTo>
                    <a:pt x="448" y="382"/>
                  </a:lnTo>
                  <a:lnTo>
                    <a:pt x="454" y="382"/>
                  </a:lnTo>
                  <a:lnTo>
                    <a:pt x="454" y="372"/>
                  </a:lnTo>
                  <a:lnTo>
                    <a:pt x="388" y="372"/>
                  </a:lnTo>
                  <a:lnTo>
                    <a:pt x="388" y="364"/>
                  </a:lnTo>
                  <a:lnTo>
                    <a:pt x="388" y="364"/>
                  </a:lnTo>
                  <a:lnTo>
                    <a:pt x="380" y="354"/>
                  </a:lnTo>
                  <a:lnTo>
                    <a:pt x="378" y="350"/>
                  </a:lnTo>
                  <a:lnTo>
                    <a:pt x="378" y="344"/>
                  </a:lnTo>
                  <a:lnTo>
                    <a:pt x="378" y="344"/>
                  </a:lnTo>
                  <a:lnTo>
                    <a:pt x="380" y="334"/>
                  </a:lnTo>
                  <a:lnTo>
                    <a:pt x="380" y="334"/>
                  </a:lnTo>
                  <a:lnTo>
                    <a:pt x="362" y="320"/>
                  </a:lnTo>
                  <a:lnTo>
                    <a:pt x="340" y="308"/>
                  </a:lnTo>
                  <a:lnTo>
                    <a:pt x="330" y="302"/>
                  </a:lnTo>
                  <a:lnTo>
                    <a:pt x="318" y="300"/>
                  </a:lnTo>
                  <a:lnTo>
                    <a:pt x="306" y="296"/>
                  </a:lnTo>
                  <a:lnTo>
                    <a:pt x="292" y="296"/>
                  </a:lnTo>
                  <a:lnTo>
                    <a:pt x="292" y="296"/>
                  </a:lnTo>
                  <a:lnTo>
                    <a:pt x="280" y="296"/>
                  </a:lnTo>
                  <a:lnTo>
                    <a:pt x="268" y="298"/>
                  </a:lnTo>
                  <a:lnTo>
                    <a:pt x="256" y="302"/>
                  </a:lnTo>
                  <a:lnTo>
                    <a:pt x="246" y="306"/>
                  </a:lnTo>
                  <a:lnTo>
                    <a:pt x="224" y="318"/>
                  </a:lnTo>
                  <a:lnTo>
                    <a:pt x="208" y="332"/>
                  </a:lnTo>
                  <a:lnTo>
                    <a:pt x="208" y="332"/>
                  </a:lnTo>
                  <a:lnTo>
                    <a:pt x="210" y="338"/>
                  </a:lnTo>
                  <a:lnTo>
                    <a:pt x="210" y="344"/>
                  </a:lnTo>
                  <a:lnTo>
                    <a:pt x="210" y="344"/>
                  </a:lnTo>
                  <a:lnTo>
                    <a:pt x="210" y="350"/>
                  </a:lnTo>
                  <a:lnTo>
                    <a:pt x="208" y="354"/>
                  </a:lnTo>
                  <a:lnTo>
                    <a:pt x="200" y="364"/>
                  </a:lnTo>
                  <a:lnTo>
                    <a:pt x="200" y="372"/>
                  </a:lnTo>
                  <a:lnTo>
                    <a:pt x="134" y="372"/>
                  </a:lnTo>
                  <a:lnTo>
                    <a:pt x="134" y="382"/>
                  </a:lnTo>
                  <a:lnTo>
                    <a:pt x="140" y="382"/>
                  </a:lnTo>
                  <a:lnTo>
                    <a:pt x="140" y="400"/>
                  </a:lnTo>
                  <a:lnTo>
                    <a:pt x="42" y="418"/>
                  </a:lnTo>
                  <a:lnTo>
                    <a:pt x="42" y="406"/>
                  </a:lnTo>
                  <a:lnTo>
                    <a:pt x="8" y="406"/>
                  </a:lnTo>
                  <a:lnTo>
                    <a:pt x="8" y="476"/>
                  </a:lnTo>
                  <a:lnTo>
                    <a:pt x="252" y="476"/>
                  </a:lnTo>
                  <a:lnTo>
                    <a:pt x="252" y="476"/>
                  </a:lnTo>
                  <a:lnTo>
                    <a:pt x="258" y="476"/>
                  </a:lnTo>
                  <a:lnTo>
                    <a:pt x="258" y="432"/>
                  </a:lnTo>
                  <a:lnTo>
                    <a:pt x="258" y="432"/>
                  </a:lnTo>
                  <a:lnTo>
                    <a:pt x="258" y="424"/>
                  </a:lnTo>
                  <a:lnTo>
                    <a:pt x="260" y="418"/>
                  </a:lnTo>
                  <a:lnTo>
                    <a:pt x="264" y="412"/>
                  </a:lnTo>
                  <a:lnTo>
                    <a:pt x="268" y="408"/>
                  </a:lnTo>
                  <a:lnTo>
                    <a:pt x="272" y="404"/>
                  </a:lnTo>
                  <a:lnTo>
                    <a:pt x="278" y="400"/>
                  </a:lnTo>
                  <a:lnTo>
                    <a:pt x="284" y="398"/>
                  </a:lnTo>
                  <a:lnTo>
                    <a:pt x="290" y="398"/>
                  </a:lnTo>
                  <a:lnTo>
                    <a:pt x="296" y="398"/>
                  </a:lnTo>
                  <a:lnTo>
                    <a:pt x="296" y="398"/>
                  </a:lnTo>
                  <a:lnTo>
                    <a:pt x="302" y="398"/>
                  </a:lnTo>
                  <a:lnTo>
                    <a:pt x="302" y="398"/>
                  </a:lnTo>
                  <a:lnTo>
                    <a:pt x="314" y="404"/>
                  </a:lnTo>
                  <a:lnTo>
                    <a:pt x="314" y="404"/>
                  </a:lnTo>
                  <a:lnTo>
                    <a:pt x="320" y="408"/>
                  </a:lnTo>
                  <a:lnTo>
                    <a:pt x="326" y="416"/>
                  </a:lnTo>
                  <a:lnTo>
                    <a:pt x="328" y="422"/>
                  </a:lnTo>
                  <a:lnTo>
                    <a:pt x="330" y="432"/>
                  </a:lnTo>
                  <a:lnTo>
                    <a:pt x="330" y="476"/>
                  </a:lnTo>
                  <a:lnTo>
                    <a:pt x="336" y="476"/>
                  </a:lnTo>
                  <a:lnTo>
                    <a:pt x="336" y="476"/>
                  </a:lnTo>
                  <a:lnTo>
                    <a:pt x="580" y="476"/>
                  </a:lnTo>
                  <a:lnTo>
                    <a:pt x="580" y="406"/>
                  </a:lnTo>
                  <a:lnTo>
                    <a:pt x="546" y="406"/>
                  </a:lnTo>
                  <a:lnTo>
                    <a:pt x="546" y="418"/>
                  </a:lnTo>
                  <a:close/>
                  <a:moveTo>
                    <a:pt x="42" y="460"/>
                  </a:moveTo>
                  <a:lnTo>
                    <a:pt x="24" y="460"/>
                  </a:lnTo>
                  <a:lnTo>
                    <a:pt x="24" y="444"/>
                  </a:lnTo>
                  <a:lnTo>
                    <a:pt x="42" y="442"/>
                  </a:lnTo>
                  <a:lnTo>
                    <a:pt x="42" y="460"/>
                  </a:lnTo>
                  <a:close/>
                  <a:moveTo>
                    <a:pt x="76" y="460"/>
                  </a:moveTo>
                  <a:lnTo>
                    <a:pt x="50" y="460"/>
                  </a:lnTo>
                  <a:lnTo>
                    <a:pt x="50" y="440"/>
                  </a:lnTo>
                  <a:lnTo>
                    <a:pt x="76" y="434"/>
                  </a:lnTo>
                  <a:lnTo>
                    <a:pt x="76" y="460"/>
                  </a:lnTo>
                  <a:close/>
                  <a:moveTo>
                    <a:pt x="112" y="460"/>
                  </a:moveTo>
                  <a:lnTo>
                    <a:pt x="86" y="460"/>
                  </a:lnTo>
                  <a:lnTo>
                    <a:pt x="86" y="432"/>
                  </a:lnTo>
                  <a:lnTo>
                    <a:pt x="112" y="428"/>
                  </a:lnTo>
                  <a:lnTo>
                    <a:pt x="112" y="460"/>
                  </a:lnTo>
                  <a:close/>
                  <a:moveTo>
                    <a:pt x="140" y="460"/>
                  </a:moveTo>
                  <a:lnTo>
                    <a:pt x="120" y="460"/>
                  </a:lnTo>
                  <a:lnTo>
                    <a:pt x="120" y="426"/>
                  </a:lnTo>
                  <a:lnTo>
                    <a:pt x="140" y="422"/>
                  </a:lnTo>
                  <a:lnTo>
                    <a:pt x="140" y="460"/>
                  </a:lnTo>
                  <a:close/>
                  <a:moveTo>
                    <a:pt x="468" y="460"/>
                  </a:moveTo>
                  <a:lnTo>
                    <a:pt x="448" y="460"/>
                  </a:lnTo>
                  <a:lnTo>
                    <a:pt x="448" y="422"/>
                  </a:lnTo>
                  <a:lnTo>
                    <a:pt x="468" y="426"/>
                  </a:lnTo>
                  <a:lnTo>
                    <a:pt x="468" y="460"/>
                  </a:lnTo>
                  <a:close/>
                  <a:moveTo>
                    <a:pt x="502" y="460"/>
                  </a:moveTo>
                  <a:lnTo>
                    <a:pt x="476" y="460"/>
                  </a:lnTo>
                  <a:lnTo>
                    <a:pt x="476" y="428"/>
                  </a:lnTo>
                  <a:lnTo>
                    <a:pt x="502" y="432"/>
                  </a:lnTo>
                  <a:lnTo>
                    <a:pt x="502" y="460"/>
                  </a:lnTo>
                  <a:close/>
                  <a:moveTo>
                    <a:pt x="538" y="460"/>
                  </a:moveTo>
                  <a:lnTo>
                    <a:pt x="512" y="460"/>
                  </a:lnTo>
                  <a:lnTo>
                    <a:pt x="512" y="434"/>
                  </a:lnTo>
                  <a:lnTo>
                    <a:pt x="538" y="440"/>
                  </a:lnTo>
                  <a:lnTo>
                    <a:pt x="538" y="460"/>
                  </a:lnTo>
                  <a:close/>
                  <a:moveTo>
                    <a:pt x="546" y="442"/>
                  </a:moveTo>
                  <a:lnTo>
                    <a:pt x="564" y="444"/>
                  </a:lnTo>
                  <a:lnTo>
                    <a:pt x="564" y="460"/>
                  </a:lnTo>
                  <a:lnTo>
                    <a:pt x="546" y="460"/>
                  </a:lnTo>
                  <a:lnTo>
                    <a:pt x="546" y="442"/>
                  </a:lnTo>
                  <a:close/>
                  <a:moveTo>
                    <a:pt x="562" y="358"/>
                  </a:moveTo>
                  <a:lnTo>
                    <a:pt x="562" y="358"/>
                  </a:lnTo>
                  <a:lnTo>
                    <a:pt x="556" y="360"/>
                  </a:lnTo>
                  <a:lnTo>
                    <a:pt x="550" y="360"/>
                  </a:lnTo>
                  <a:lnTo>
                    <a:pt x="542" y="366"/>
                  </a:lnTo>
                  <a:lnTo>
                    <a:pt x="536" y="374"/>
                  </a:lnTo>
                  <a:lnTo>
                    <a:pt x="534" y="384"/>
                  </a:lnTo>
                  <a:lnTo>
                    <a:pt x="534" y="384"/>
                  </a:lnTo>
                  <a:lnTo>
                    <a:pt x="536" y="390"/>
                  </a:lnTo>
                  <a:lnTo>
                    <a:pt x="542" y="396"/>
                  </a:lnTo>
                  <a:lnTo>
                    <a:pt x="542" y="396"/>
                  </a:lnTo>
                  <a:lnTo>
                    <a:pt x="542" y="402"/>
                  </a:lnTo>
                  <a:lnTo>
                    <a:pt x="582" y="402"/>
                  </a:lnTo>
                  <a:lnTo>
                    <a:pt x="582" y="396"/>
                  </a:lnTo>
                  <a:lnTo>
                    <a:pt x="582" y="396"/>
                  </a:lnTo>
                  <a:lnTo>
                    <a:pt x="582" y="396"/>
                  </a:lnTo>
                  <a:lnTo>
                    <a:pt x="588" y="390"/>
                  </a:lnTo>
                  <a:lnTo>
                    <a:pt x="590" y="384"/>
                  </a:lnTo>
                  <a:lnTo>
                    <a:pt x="590" y="384"/>
                  </a:lnTo>
                  <a:lnTo>
                    <a:pt x="588" y="374"/>
                  </a:lnTo>
                  <a:lnTo>
                    <a:pt x="582" y="366"/>
                  </a:lnTo>
                  <a:lnTo>
                    <a:pt x="572" y="360"/>
                  </a:lnTo>
                  <a:lnTo>
                    <a:pt x="568" y="360"/>
                  </a:lnTo>
                  <a:lnTo>
                    <a:pt x="562" y="358"/>
                  </a:lnTo>
                  <a:lnTo>
                    <a:pt x="562" y="358"/>
                  </a:lnTo>
                  <a:close/>
                  <a:moveTo>
                    <a:pt x="520" y="356"/>
                  </a:moveTo>
                  <a:lnTo>
                    <a:pt x="514" y="408"/>
                  </a:lnTo>
                  <a:lnTo>
                    <a:pt x="528" y="408"/>
                  </a:lnTo>
                  <a:lnTo>
                    <a:pt x="520" y="356"/>
                  </a:lnTo>
                  <a:close/>
                  <a:moveTo>
                    <a:pt x="372" y="260"/>
                  </a:moveTo>
                  <a:lnTo>
                    <a:pt x="364" y="312"/>
                  </a:lnTo>
                  <a:lnTo>
                    <a:pt x="378" y="312"/>
                  </a:lnTo>
                  <a:lnTo>
                    <a:pt x="372" y="260"/>
                  </a:lnTo>
                  <a:close/>
                  <a:moveTo>
                    <a:pt x="496" y="330"/>
                  </a:moveTo>
                  <a:lnTo>
                    <a:pt x="488" y="404"/>
                  </a:lnTo>
                  <a:lnTo>
                    <a:pt x="506" y="404"/>
                  </a:lnTo>
                  <a:lnTo>
                    <a:pt x="496" y="330"/>
                  </a:lnTo>
                  <a:close/>
                  <a:moveTo>
                    <a:pt x="296" y="406"/>
                  </a:moveTo>
                  <a:lnTo>
                    <a:pt x="290" y="406"/>
                  </a:lnTo>
                  <a:lnTo>
                    <a:pt x="290" y="406"/>
                  </a:lnTo>
                  <a:lnTo>
                    <a:pt x="280" y="408"/>
                  </a:lnTo>
                  <a:lnTo>
                    <a:pt x="272" y="414"/>
                  </a:lnTo>
                  <a:lnTo>
                    <a:pt x="268" y="422"/>
                  </a:lnTo>
                  <a:lnTo>
                    <a:pt x="264" y="432"/>
                  </a:lnTo>
                  <a:lnTo>
                    <a:pt x="264" y="476"/>
                  </a:lnTo>
                  <a:lnTo>
                    <a:pt x="322" y="476"/>
                  </a:lnTo>
                  <a:lnTo>
                    <a:pt x="322" y="432"/>
                  </a:lnTo>
                  <a:lnTo>
                    <a:pt x="322" y="432"/>
                  </a:lnTo>
                  <a:lnTo>
                    <a:pt x="320" y="422"/>
                  </a:lnTo>
                  <a:lnTo>
                    <a:pt x="314" y="414"/>
                  </a:lnTo>
                  <a:lnTo>
                    <a:pt x="306" y="408"/>
                  </a:lnTo>
                  <a:lnTo>
                    <a:pt x="296" y="406"/>
                  </a:lnTo>
                  <a:lnTo>
                    <a:pt x="296" y="40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168" name="Group 2167">
            <a:extLst>
              <a:ext uri="{FF2B5EF4-FFF2-40B4-BE49-F238E27FC236}">
                <a16:creationId xmlns:a16="http://schemas.microsoft.com/office/drawing/2014/main" id="{5CB7A44D-A329-4378-9121-7E06AC4FF096}"/>
              </a:ext>
            </a:extLst>
          </p:cNvPr>
          <p:cNvGrpSpPr/>
          <p:nvPr/>
        </p:nvGrpSpPr>
        <p:grpSpPr>
          <a:xfrm>
            <a:off x="4609588" y="4756107"/>
            <a:ext cx="612000" cy="612000"/>
            <a:chOff x="2777224" y="5357300"/>
            <a:chExt cx="612000" cy="612000"/>
          </a:xfrm>
        </p:grpSpPr>
        <p:sp>
          <p:nvSpPr>
            <p:cNvPr id="2169" name="Oval 2168">
              <a:extLst>
                <a:ext uri="{FF2B5EF4-FFF2-40B4-BE49-F238E27FC236}">
                  <a16:creationId xmlns:a16="http://schemas.microsoft.com/office/drawing/2014/main" id="{FBA39D64-1799-4FDC-85F2-FF5661C8527C}"/>
                </a:ext>
              </a:extLst>
            </p:cNvPr>
            <p:cNvSpPr/>
            <p:nvPr/>
          </p:nvSpPr>
          <p:spPr bwMode="ltGray">
            <a:xfrm>
              <a:off x="2777224" y="5357300"/>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170" name="Group 2169">
              <a:extLst>
                <a:ext uri="{FF2B5EF4-FFF2-40B4-BE49-F238E27FC236}">
                  <a16:creationId xmlns:a16="http://schemas.microsoft.com/office/drawing/2014/main" id="{EB8FF52D-4580-45EB-93E4-47B227889F58}"/>
                </a:ext>
              </a:extLst>
            </p:cNvPr>
            <p:cNvGrpSpPr/>
            <p:nvPr/>
          </p:nvGrpSpPr>
          <p:grpSpPr>
            <a:xfrm>
              <a:off x="2838615" y="5502442"/>
              <a:ext cx="496450" cy="324280"/>
              <a:chOff x="5364031" y="6403340"/>
              <a:chExt cx="357093" cy="233252"/>
            </a:xfrm>
            <a:solidFill>
              <a:srgbClr val="3C3C3E"/>
            </a:solidFill>
          </p:grpSpPr>
          <p:sp>
            <p:nvSpPr>
              <p:cNvPr id="2171" name="Freeform 263">
                <a:extLst>
                  <a:ext uri="{FF2B5EF4-FFF2-40B4-BE49-F238E27FC236}">
                    <a16:creationId xmlns:a16="http://schemas.microsoft.com/office/drawing/2014/main" id="{4CE9E4F1-6B47-4361-BDA0-74197B15F189}"/>
                  </a:ext>
                </a:extLst>
              </p:cNvPr>
              <p:cNvSpPr>
                <a:spLocks/>
              </p:cNvSpPr>
              <p:nvPr/>
            </p:nvSpPr>
            <p:spPr bwMode="auto">
              <a:xfrm>
                <a:off x="5485467" y="6403340"/>
                <a:ext cx="235657" cy="137066"/>
              </a:xfrm>
              <a:custGeom>
                <a:avLst/>
                <a:gdLst>
                  <a:gd name="T0" fmla="*/ 384 w 392"/>
                  <a:gd name="T1" fmla="*/ 110 h 228"/>
                  <a:gd name="T2" fmla="*/ 392 w 392"/>
                  <a:gd name="T3" fmla="*/ 122 h 228"/>
                  <a:gd name="T4" fmla="*/ 384 w 392"/>
                  <a:gd name="T5" fmla="*/ 132 h 228"/>
                  <a:gd name="T6" fmla="*/ 374 w 392"/>
                  <a:gd name="T7" fmla="*/ 134 h 228"/>
                  <a:gd name="T8" fmla="*/ 348 w 392"/>
                  <a:gd name="T9" fmla="*/ 136 h 228"/>
                  <a:gd name="T10" fmla="*/ 328 w 392"/>
                  <a:gd name="T11" fmla="*/ 134 h 228"/>
                  <a:gd name="T12" fmla="*/ 320 w 392"/>
                  <a:gd name="T13" fmla="*/ 152 h 228"/>
                  <a:gd name="T14" fmla="*/ 308 w 392"/>
                  <a:gd name="T15" fmla="*/ 168 h 228"/>
                  <a:gd name="T16" fmla="*/ 286 w 392"/>
                  <a:gd name="T17" fmla="*/ 182 h 228"/>
                  <a:gd name="T18" fmla="*/ 270 w 392"/>
                  <a:gd name="T19" fmla="*/ 186 h 228"/>
                  <a:gd name="T20" fmla="*/ 242 w 392"/>
                  <a:gd name="T21" fmla="*/ 182 h 228"/>
                  <a:gd name="T22" fmla="*/ 210 w 392"/>
                  <a:gd name="T23" fmla="*/ 170 h 228"/>
                  <a:gd name="T24" fmla="*/ 202 w 392"/>
                  <a:gd name="T25" fmla="*/ 166 h 228"/>
                  <a:gd name="T26" fmla="*/ 192 w 392"/>
                  <a:gd name="T27" fmla="*/ 186 h 228"/>
                  <a:gd name="T28" fmla="*/ 168 w 392"/>
                  <a:gd name="T29" fmla="*/ 210 h 228"/>
                  <a:gd name="T30" fmla="*/ 150 w 392"/>
                  <a:gd name="T31" fmla="*/ 220 h 228"/>
                  <a:gd name="T32" fmla="*/ 126 w 392"/>
                  <a:gd name="T33" fmla="*/ 226 h 228"/>
                  <a:gd name="T34" fmla="*/ 94 w 392"/>
                  <a:gd name="T35" fmla="*/ 228 h 228"/>
                  <a:gd name="T36" fmla="*/ 78 w 392"/>
                  <a:gd name="T37" fmla="*/ 226 h 228"/>
                  <a:gd name="T38" fmla="*/ 52 w 392"/>
                  <a:gd name="T39" fmla="*/ 220 h 228"/>
                  <a:gd name="T40" fmla="*/ 34 w 392"/>
                  <a:gd name="T41" fmla="*/ 210 h 228"/>
                  <a:gd name="T42" fmla="*/ 14 w 392"/>
                  <a:gd name="T43" fmla="*/ 192 h 228"/>
                  <a:gd name="T44" fmla="*/ 2 w 392"/>
                  <a:gd name="T45" fmla="*/ 168 h 228"/>
                  <a:gd name="T46" fmla="*/ 0 w 392"/>
                  <a:gd name="T47" fmla="*/ 158 h 228"/>
                  <a:gd name="T48" fmla="*/ 2 w 392"/>
                  <a:gd name="T49" fmla="*/ 132 h 228"/>
                  <a:gd name="T50" fmla="*/ 10 w 392"/>
                  <a:gd name="T51" fmla="*/ 92 h 228"/>
                  <a:gd name="T52" fmla="*/ 22 w 392"/>
                  <a:gd name="T53" fmla="*/ 64 h 228"/>
                  <a:gd name="T54" fmla="*/ 42 w 392"/>
                  <a:gd name="T55" fmla="*/ 36 h 228"/>
                  <a:gd name="T56" fmla="*/ 72 w 392"/>
                  <a:gd name="T57" fmla="*/ 14 h 228"/>
                  <a:gd name="T58" fmla="*/ 112 w 392"/>
                  <a:gd name="T59" fmla="*/ 2 h 228"/>
                  <a:gd name="T60" fmla="*/ 136 w 392"/>
                  <a:gd name="T61" fmla="*/ 0 h 228"/>
                  <a:gd name="T62" fmla="*/ 164 w 392"/>
                  <a:gd name="T63" fmla="*/ 8 h 228"/>
                  <a:gd name="T64" fmla="*/ 186 w 392"/>
                  <a:gd name="T65" fmla="*/ 26 h 228"/>
                  <a:gd name="T66" fmla="*/ 222 w 392"/>
                  <a:gd name="T67" fmla="*/ 68 h 228"/>
                  <a:gd name="T68" fmla="*/ 236 w 392"/>
                  <a:gd name="T69" fmla="*/ 80 h 228"/>
                  <a:gd name="T70" fmla="*/ 262 w 392"/>
                  <a:gd name="T71" fmla="*/ 90 h 228"/>
                  <a:gd name="T72" fmla="*/ 288 w 392"/>
                  <a:gd name="T73" fmla="*/ 90 h 228"/>
                  <a:gd name="T74" fmla="*/ 332 w 392"/>
                  <a:gd name="T75" fmla="*/ 72 h 228"/>
                  <a:gd name="T76" fmla="*/ 350 w 392"/>
                  <a:gd name="T77" fmla="*/ 86 h 228"/>
                  <a:gd name="T78" fmla="*/ 384 w 392"/>
                  <a:gd name="T79" fmla="*/ 11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92" h="228">
                    <a:moveTo>
                      <a:pt x="384" y="110"/>
                    </a:moveTo>
                    <a:lnTo>
                      <a:pt x="384" y="110"/>
                    </a:lnTo>
                    <a:lnTo>
                      <a:pt x="390" y="116"/>
                    </a:lnTo>
                    <a:lnTo>
                      <a:pt x="392" y="122"/>
                    </a:lnTo>
                    <a:lnTo>
                      <a:pt x="390" y="128"/>
                    </a:lnTo>
                    <a:lnTo>
                      <a:pt x="384" y="132"/>
                    </a:lnTo>
                    <a:lnTo>
                      <a:pt x="384" y="132"/>
                    </a:lnTo>
                    <a:lnTo>
                      <a:pt x="374" y="134"/>
                    </a:lnTo>
                    <a:lnTo>
                      <a:pt x="366" y="136"/>
                    </a:lnTo>
                    <a:lnTo>
                      <a:pt x="348" y="136"/>
                    </a:lnTo>
                    <a:lnTo>
                      <a:pt x="328" y="134"/>
                    </a:lnTo>
                    <a:lnTo>
                      <a:pt x="328" y="134"/>
                    </a:lnTo>
                    <a:lnTo>
                      <a:pt x="328" y="138"/>
                    </a:lnTo>
                    <a:lnTo>
                      <a:pt x="320" y="152"/>
                    </a:lnTo>
                    <a:lnTo>
                      <a:pt x="316" y="160"/>
                    </a:lnTo>
                    <a:lnTo>
                      <a:pt x="308" y="168"/>
                    </a:lnTo>
                    <a:lnTo>
                      <a:pt x="298" y="176"/>
                    </a:lnTo>
                    <a:lnTo>
                      <a:pt x="286" y="182"/>
                    </a:lnTo>
                    <a:lnTo>
                      <a:pt x="286" y="182"/>
                    </a:lnTo>
                    <a:lnTo>
                      <a:pt x="270" y="186"/>
                    </a:lnTo>
                    <a:lnTo>
                      <a:pt x="256" y="186"/>
                    </a:lnTo>
                    <a:lnTo>
                      <a:pt x="242" y="182"/>
                    </a:lnTo>
                    <a:lnTo>
                      <a:pt x="230" y="178"/>
                    </a:lnTo>
                    <a:lnTo>
                      <a:pt x="210" y="170"/>
                    </a:lnTo>
                    <a:lnTo>
                      <a:pt x="202" y="166"/>
                    </a:lnTo>
                    <a:lnTo>
                      <a:pt x="202" y="166"/>
                    </a:lnTo>
                    <a:lnTo>
                      <a:pt x="198" y="176"/>
                    </a:lnTo>
                    <a:lnTo>
                      <a:pt x="192" y="186"/>
                    </a:lnTo>
                    <a:lnTo>
                      <a:pt x="182" y="198"/>
                    </a:lnTo>
                    <a:lnTo>
                      <a:pt x="168" y="210"/>
                    </a:lnTo>
                    <a:lnTo>
                      <a:pt x="160" y="216"/>
                    </a:lnTo>
                    <a:lnTo>
                      <a:pt x="150" y="220"/>
                    </a:lnTo>
                    <a:lnTo>
                      <a:pt x="138" y="224"/>
                    </a:lnTo>
                    <a:lnTo>
                      <a:pt x="126" y="226"/>
                    </a:lnTo>
                    <a:lnTo>
                      <a:pt x="110" y="228"/>
                    </a:lnTo>
                    <a:lnTo>
                      <a:pt x="94" y="228"/>
                    </a:lnTo>
                    <a:lnTo>
                      <a:pt x="94" y="228"/>
                    </a:lnTo>
                    <a:lnTo>
                      <a:pt x="78" y="226"/>
                    </a:lnTo>
                    <a:lnTo>
                      <a:pt x="64" y="224"/>
                    </a:lnTo>
                    <a:lnTo>
                      <a:pt x="52" y="220"/>
                    </a:lnTo>
                    <a:lnTo>
                      <a:pt x="42" y="216"/>
                    </a:lnTo>
                    <a:lnTo>
                      <a:pt x="34" y="210"/>
                    </a:lnTo>
                    <a:lnTo>
                      <a:pt x="26" y="204"/>
                    </a:lnTo>
                    <a:lnTo>
                      <a:pt x="14" y="192"/>
                    </a:lnTo>
                    <a:lnTo>
                      <a:pt x="6" y="180"/>
                    </a:lnTo>
                    <a:lnTo>
                      <a:pt x="2" y="168"/>
                    </a:lnTo>
                    <a:lnTo>
                      <a:pt x="0" y="158"/>
                    </a:lnTo>
                    <a:lnTo>
                      <a:pt x="0" y="158"/>
                    </a:lnTo>
                    <a:lnTo>
                      <a:pt x="0" y="150"/>
                    </a:lnTo>
                    <a:lnTo>
                      <a:pt x="2" y="132"/>
                    </a:lnTo>
                    <a:lnTo>
                      <a:pt x="6" y="108"/>
                    </a:lnTo>
                    <a:lnTo>
                      <a:pt x="10" y="92"/>
                    </a:lnTo>
                    <a:lnTo>
                      <a:pt x="16" y="78"/>
                    </a:lnTo>
                    <a:lnTo>
                      <a:pt x="22" y="64"/>
                    </a:lnTo>
                    <a:lnTo>
                      <a:pt x="32" y="48"/>
                    </a:lnTo>
                    <a:lnTo>
                      <a:pt x="42" y="36"/>
                    </a:lnTo>
                    <a:lnTo>
                      <a:pt x="56" y="24"/>
                    </a:lnTo>
                    <a:lnTo>
                      <a:pt x="72" y="14"/>
                    </a:lnTo>
                    <a:lnTo>
                      <a:pt x="90" y="6"/>
                    </a:lnTo>
                    <a:lnTo>
                      <a:pt x="112" y="2"/>
                    </a:lnTo>
                    <a:lnTo>
                      <a:pt x="136" y="0"/>
                    </a:lnTo>
                    <a:lnTo>
                      <a:pt x="136" y="0"/>
                    </a:lnTo>
                    <a:lnTo>
                      <a:pt x="152" y="2"/>
                    </a:lnTo>
                    <a:lnTo>
                      <a:pt x="164" y="8"/>
                    </a:lnTo>
                    <a:lnTo>
                      <a:pt x="176" y="16"/>
                    </a:lnTo>
                    <a:lnTo>
                      <a:pt x="186" y="26"/>
                    </a:lnTo>
                    <a:lnTo>
                      <a:pt x="204" y="46"/>
                    </a:lnTo>
                    <a:lnTo>
                      <a:pt x="222" y="68"/>
                    </a:lnTo>
                    <a:lnTo>
                      <a:pt x="222" y="68"/>
                    </a:lnTo>
                    <a:lnTo>
                      <a:pt x="236" y="80"/>
                    </a:lnTo>
                    <a:lnTo>
                      <a:pt x="248" y="86"/>
                    </a:lnTo>
                    <a:lnTo>
                      <a:pt x="262" y="90"/>
                    </a:lnTo>
                    <a:lnTo>
                      <a:pt x="274" y="92"/>
                    </a:lnTo>
                    <a:lnTo>
                      <a:pt x="288" y="90"/>
                    </a:lnTo>
                    <a:lnTo>
                      <a:pt x="302" y="86"/>
                    </a:lnTo>
                    <a:lnTo>
                      <a:pt x="332" y="72"/>
                    </a:lnTo>
                    <a:lnTo>
                      <a:pt x="332" y="72"/>
                    </a:lnTo>
                    <a:lnTo>
                      <a:pt x="350" y="86"/>
                    </a:lnTo>
                    <a:lnTo>
                      <a:pt x="384" y="110"/>
                    </a:lnTo>
                    <a:lnTo>
                      <a:pt x="384" y="11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72" name="Freeform 264">
                <a:extLst>
                  <a:ext uri="{FF2B5EF4-FFF2-40B4-BE49-F238E27FC236}">
                    <a16:creationId xmlns:a16="http://schemas.microsoft.com/office/drawing/2014/main" id="{1EC9A582-F635-46FD-B583-E997351DD1EC}"/>
                  </a:ext>
                </a:extLst>
              </p:cNvPr>
              <p:cNvSpPr>
                <a:spLocks/>
              </p:cNvSpPr>
              <p:nvPr/>
            </p:nvSpPr>
            <p:spPr bwMode="auto">
              <a:xfrm>
                <a:off x="5658602" y="6430994"/>
                <a:ext cx="28856" cy="24047"/>
              </a:xfrm>
              <a:custGeom>
                <a:avLst/>
                <a:gdLst>
                  <a:gd name="T0" fmla="*/ 32 w 48"/>
                  <a:gd name="T1" fmla="*/ 10 h 40"/>
                  <a:gd name="T2" fmla="*/ 32 w 48"/>
                  <a:gd name="T3" fmla="*/ 10 h 40"/>
                  <a:gd name="T4" fmla="*/ 40 w 48"/>
                  <a:gd name="T5" fmla="*/ 20 h 40"/>
                  <a:gd name="T6" fmla="*/ 46 w 48"/>
                  <a:gd name="T7" fmla="*/ 30 h 40"/>
                  <a:gd name="T8" fmla="*/ 48 w 48"/>
                  <a:gd name="T9" fmla="*/ 40 h 40"/>
                  <a:gd name="T10" fmla="*/ 48 w 48"/>
                  <a:gd name="T11" fmla="*/ 40 h 40"/>
                  <a:gd name="T12" fmla="*/ 38 w 48"/>
                  <a:gd name="T13" fmla="*/ 40 h 40"/>
                  <a:gd name="T14" fmla="*/ 26 w 48"/>
                  <a:gd name="T15" fmla="*/ 36 h 40"/>
                  <a:gd name="T16" fmla="*/ 16 w 48"/>
                  <a:gd name="T17" fmla="*/ 30 h 40"/>
                  <a:gd name="T18" fmla="*/ 16 w 48"/>
                  <a:gd name="T19" fmla="*/ 30 h 40"/>
                  <a:gd name="T20" fmla="*/ 8 w 48"/>
                  <a:gd name="T21" fmla="*/ 20 h 40"/>
                  <a:gd name="T22" fmla="*/ 2 w 48"/>
                  <a:gd name="T23" fmla="*/ 10 h 40"/>
                  <a:gd name="T24" fmla="*/ 0 w 48"/>
                  <a:gd name="T25" fmla="*/ 0 h 40"/>
                  <a:gd name="T26" fmla="*/ 0 w 48"/>
                  <a:gd name="T27" fmla="*/ 0 h 40"/>
                  <a:gd name="T28" fmla="*/ 10 w 48"/>
                  <a:gd name="T29" fmla="*/ 0 h 40"/>
                  <a:gd name="T30" fmla="*/ 22 w 48"/>
                  <a:gd name="T31" fmla="*/ 4 h 40"/>
                  <a:gd name="T32" fmla="*/ 32 w 48"/>
                  <a:gd name="T33" fmla="*/ 10 h 40"/>
                  <a:gd name="T34" fmla="*/ 32 w 48"/>
                  <a:gd name="T35" fmla="*/ 1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40">
                    <a:moveTo>
                      <a:pt x="32" y="10"/>
                    </a:moveTo>
                    <a:lnTo>
                      <a:pt x="32" y="10"/>
                    </a:lnTo>
                    <a:lnTo>
                      <a:pt x="40" y="20"/>
                    </a:lnTo>
                    <a:lnTo>
                      <a:pt x="46" y="30"/>
                    </a:lnTo>
                    <a:lnTo>
                      <a:pt x="48" y="40"/>
                    </a:lnTo>
                    <a:lnTo>
                      <a:pt x="48" y="40"/>
                    </a:lnTo>
                    <a:lnTo>
                      <a:pt x="38" y="40"/>
                    </a:lnTo>
                    <a:lnTo>
                      <a:pt x="26" y="36"/>
                    </a:lnTo>
                    <a:lnTo>
                      <a:pt x="16" y="30"/>
                    </a:lnTo>
                    <a:lnTo>
                      <a:pt x="16" y="30"/>
                    </a:lnTo>
                    <a:lnTo>
                      <a:pt x="8" y="20"/>
                    </a:lnTo>
                    <a:lnTo>
                      <a:pt x="2" y="10"/>
                    </a:lnTo>
                    <a:lnTo>
                      <a:pt x="0" y="0"/>
                    </a:lnTo>
                    <a:lnTo>
                      <a:pt x="0" y="0"/>
                    </a:lnTo>
                    <a:lnTo>
                      <a:pt x="10" y="0"/>
                    </a:lnTo>
                    <a:lnTo>
                      <a:pt x="22" y="4"/>
                    </a:lnTo>
                    <a:lnTo>
                      <a:pt x="32" y="10"/>
                    </a:lnTo>
                    <a:lnTo>
                      <a:pt x="32" y="1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73" name="Freeform 265">
                <a:extLst>
                  <a:ext uri="{FF2B5EF4-FFF2-40B4-BE49-F238E27FC236}">
                    <a16:creationId xmlns:a16="http://schemas.microsoft.com/office/drawing/2014/main" id="{8569E8E8-0F28-410B-9137-6ECDB83DE17A}"/>
                  </a:ext>
                </a:extLst>
              </p:cNvPr>
              <p:cNvSpPr>
                <a:spLocks/>
              </p:cNvSpPr>
              <p:nvPr/>
            </p:nvSpPr>
            <p:spPr bwMode="auto">
              <a:xfrm>
                <a:off x="5364031" y="6440612"/>
                <a:ext cx="163517" cy="127447"/>
              </a:xfrm>
              <a:custGeom>
                <a:avLst/>
                <a:gdLst>
                  <a:gd name="T0" fmla="*/ 224 w 272"/>
                  <a:gd name="T1" fmla="*/ 4 h 212"/>
                  <a:gd name="T2" fmla="*/ 224 w 272"/>
                  <a:gd name="T3" fmla="*/ 4 h 212"/>
                  <a:gd name="T4" fmla="*/ 208 w 272"/>
                  <a:gd name="T5" fmla="*/ 36 h 212"/>
                  <a:gd name="T6" fmla="*/ 188 w 272"/>
                  <a:gd name="T7" fmla="*/ 72 h 212"/>
                  <a:gd name="T8" fmla="*/ 166 w 272"/>
                  <a:gd name="T9" fmla="*/ 108 h 212"/>
                  <a:gd name="T10" fmla="*/ 152 w 272"/>
                  <a:gd name="T11" fmla="*/ 124 h 212"/>
                  <a:gd name="T12" fmla="*/ 138 w 272"/>
                  <a:gd name="T13" fmla="*/ 140 h 212"/>
                  <a:gd name="T14" fmla="*/ 122 w 272"/>
                  <a:gd name="T15" fmla="*/ 154 h 212"/>
                  <a:gd name="T16" fmla="*/ 106 w 272"/>
                  <a:gd name="T17" fmla="*/ 164 h 212"/>
                  <a:gd name="T18" fmla="*/ 90 w 272"/>
                  <a:gd name="T19" fmla="*/ 172 h 212"/>
                  <a:gd name="T20" fmla="*/ 74 w 272"/>
                  <a:gd name="T21" fmla="*/ 178 h 212"/>
                  <a:gd name="T22" fmla="*/ 56 w 272"/>
                  <a:gd name="T23" fmla="*/ 178 h 212"/>
                  <a:gd name="T24" fmla="*/ 38 w 272"/>
                  <a:gd name="T25" fmla="*/ 174 h 212"/>
                  <a:gd name="T26" fmla="*/ 20 w 272"/>
                  <a:gd name="T27" fmla="*/ 166 h 212"/>
                  <a:gd name="T28" fmla="*/ 0 w 272"/>
                  <a:gd name="T29" fmla="*/ 152 h 212"/>
                  <a:gd name="T30" fmla="*/ 0 w 272"/>
                  <a:gd name="T31" fmla="*/ 152 h 212"/>
                  <a:gd name="T32" fmla="*/ 10 w 272"/>
                  <a:gd name="T33" fmla="*/ 168 h 212"/>
                  <a:gd name="T34" fmla="*/ 22 w 272"/>
                  <a:gd name="T35" fmla="*/ 184 h 212"/>
                  <a:gd name="T36" fmla="*/ 38 w 272"/>
                  <a:gd name="T37" fmla="*/ 194 h 212"/>
                  <a:gd name="T38" fmla="*/ 54 w 272"/>
                  <a:gd name="T39" fmla="*/ 204 h 212"/>
                  <a:gd name="T40" fmla="*/ 72 w 272"/>
                  <a:gd name="T41" fmla="*/ 210 h 212"/>
                  <a:gd name="T42" fmla="*/ 90 w 272"/>
                  <a:gd name="T43" fmla="*/ 212 h 212"/>
                  <a:gd name="T44" fmla="*/ 110 w 272"/>
                  <a:gd name="T45" fmla="*/ 212 h 212"/>
                  <a:gd name="T46" fmla="*/ 128 w 272"/>
                  <a:gd name="T47" fmla="*/ 210 h 212"/>
                  <a:gd name="T48" fmla="*/ 128 w 272"/>
                  <a:gd name="T49" fmla="*/ 210 h 212"/>
                  <a:gd name="T50" fmla="*/ 156 w 272"/>
                  <a:gd name="T51" fmla="*/ 200 h 212"/>
                  <a:gd name="T52" fmla="*/ 184 w 272"/>
                  <a:gd name="T53" fmla="*/ 188 h 212"/>
                  <a:gd name="T54" fmla="*/ 210 w 272"/>
                  <a:gd name="T55" fmla="*/ 172 h 212"/>
                  <a:gd name="T56" fmla="*/ 234 w 272"/>
                  <a:gd name="T57" fmla="*/ 154 h 212"/>
                  <a:gd name="T58" fmla="*/ 252 w 272"/>
                  <a:gd name="T59" fmla="*/ 134 h 212"/>
                  <a:gd name="T60" fmla="*/ 260 w 272"/>
                  <a:gd name="T61" fmla="*/ 124 h 212"/>
                  <a:gd name="T62" fmla="*/ 266 w 272"/>
                  <a:gd name="T63" fmla="*/ 114 h 212"/>
                  <a:gd name="T64" fmla="*/ 270 w 272"/>
                  <a:gd name="T65" fmla="*/ 102 h 212"/>
                  <a:gd name="T66" fmla="*/ 272 w 272"/>
                  <a:gd name="T67" fmla="*/ 92 h 212"/>
                  <a:gd name="T68" fmla="*/ 272 w 272"/>
                  <a:gd name="T69" fmla="*/ 82 h 212"/>
                  <a:gd name="T70" fmla="*/ 270 w 272"/>
                  <a:gd name="T71" fmla="*/ 70 h 212"/>
                  <a:gd name="T72" fmla="*/ 232 w 272"/>
                  <a:gd name="T73" fmla="*/ 6 h 212"/>
                  <a:gd name="T74" fmla="*/ 232 w 272"/>
                  <a:gd name="T75" fmla="*/ 6 h 212"/>
                  <a:gd name="T76" fmla="*/ 230 w 272"/>
                  <a:gd name="T77" fmla="*/ 2 h 212"/>
                  <a:gd name="T78" fmla="*/ 228 w 272"/>
                  <a:gd name="T79" fmla="*/ 0 h 212"/>
                  <a:gd name="T80" fmla="*/ 226 w 272"/>
                  <a:gd name="T81" fmla="*/ 2 h 212"/>
                  <a:gd name="T82" fmla="*/ 224 w 272"/>
                  <a:gd name="T83" fmla="*/ 4 h 212"/>
                  <a:gd name="T84" fmla="*/ 224 w 272"/>
                  <a:gd name="T85" fmla="*/ 4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2" h="212">
                    <a:moveTo>
                      <a:pt x="224" y="4"/>
                    </a:moveTo>
                    <a:lnTo>
                      <a:pt x="224" y="4"/>
                    </a:lnTo>
                    <a:lnTo>
                      <a:pt x="208" y="36"/>
                    </a:lnTo>
                    <a:lnTo>
                      <a:pt x="188" y="72"/>
                    </a:lnTo>
                    <a:lnTo>
                      <a:pt x="166" y="108"/>
                    </a:lnTo>
                    <a:lnTo>
                      <a:pt x="152" y="124"/>
                    </a:lnTo>
                    <a:lnTo>
                      <a:pt x="138" y="140"/>
                    </a:lnTo>
                    <a:lnTo>
                      <a:pt x="122" y="154"/>
                    </a:lnTo>
                    <a:lnTo>
                      <a:pt x="106" y="164"/>
                    </a:lnTo>
                    <a:lnTo>
                      <a:pt x="90" y="172"/>
                    </a:lnTo>
                    <a:lnTo>
                      <a:pt x="74" y="178"/>
                    </a:lnTo>
                    <a:lnTo>
                      <a:pt x="56" y="178"/>
                    </a:lnTo>
                    <a:lnTo>
                      <a:pt x="38" y="174"/>
                    </a:lnTo>
                    <a:lnTo>
                      <a:pt x="20" y="166"/>
                    </a:lnTo>
                    <a:lnTo>
                      <a:pt x="0" y="152"/>
                    </a:lnTo>
                    <a:lnTo>
                      <a:pt x="0" y="152"/>
                    </a:lnTo>
                    <a:lnTo>
                      <a:pt x="10" y="168"/>
                    </a:lnTo>
                    <a:lnTo>
                      <a:pt x="22" y="184"/>
                    </a:lnTo>
                    <a:lnTo>
                      <a:pt x="38" y="194"/>
                    </a:lnTo>
                    <a:lnTo>
                      <a:pt x="54" y="204"/>
                    </a:lnTo>
                    <a:lnTo>
                      <a:pt x="72" y="210"/>
                    </a:lnTo>
                    <a:lnTo>
                      <a:pt x="90" y="212"/>
                    </a:lnTo>
                    <a:lnTo>
                      <a:pt x="110" y="212"/>
                    </a:lnTo>
                    <a:lnTo>
                      <a:pt x="128" y="210"/>
                    </a:lnTo>
                    <a:lnTo>
                      <a:pt x="128" y="210"/>
                    </a:lnTo>
                    <a:lnTo>
                      <a:pt x="156" y="200"/>
                    </a:lnTo>
                    <a:lnTo>
                      <a:pt x="184" y="188"/>
                    </a:lnTo>
                    <a:lnTo>
                      <a:pt x="210" y="172"/>
                    </a:lnTo>
                    <a:lnTo>
                      <a:pt x="234" y="154"/>
                    </a:lnTo>
                    <a:lnTo>
                      <a:pt x="252" y="134"/>
                    </a:lnTo>
                    <a:lnTo>
                      <a:pt x="260" y="124"/>
                    </a:lnTo>
                    <a:lnTo>
                      <a:pt x="266" y="114"/>
                    </a:lnTo>
                    <a:lnTo>
                      <a:pt x="270" y="102"/>
                    </a:lnTo>
                    <a:lnTo>
                      <a:pt x="272" y="92"/>
                    </a:lnTo>
                    <a:lnTo>
                      <a:pt x="272" y="82"/>
                    </a:lnTo>
                    <a:lnTo>
                      <a:pt x="270" y="70"/>
                    </a:lnTo>
                    <a:lnTo>
                      <a:pt x="232" y="6"/>
                    </a:lnTo>
                    <a:lnTo>
                      <a:pt x="232" y="6"/>
                    </a:lnTo>
                    <a:lnTo>
                      <a:pt x="230" y="2"/>
                    </a:lnTo>
                    <a:lnTo>
                      <a:pt x="228" y="0"/>
                    </a:lnTo>
                    <a:lnTo>
                      <a:pt x="226" y="2"/>
                    </a:lnTo>
                    <a:lnTo>
                      <a:pt x="224" y="4"/>
                    </a:lnTo>
                    <a:lnTo>
                      <a:pt x="224" y="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74" name="Freeform 266">
                <a:extLst>
                  <a:ext uri="{FF2B5EF4-FFF2-40B4-BE49-F238E27FC236}">
                    <a16:creationId xmlns:a16="http://schemas.microsoft.com/office/drawing/2014/main" id="{B7AEDAB5-7F0C-4CF0-B718-70BD258F05A1}"/>
                  </a:ext>
                </a:extLst>
              </p:cNvPr>
              <p:cNvSpPr>
                <a:spLocks/>
              </p:cNvSpPr>
              <p:nvPr/>
            </p:nvSpPr>
            <p:spPr bwMode="auto">
              <a:xfrm>
                <a:off x="5499894" y="6516359"/>
                <a:ext cx="149089" cy="120233"/>
              </a:xfrm>
              <a:custGeom>
                <a:avLst/>
                <a:gdLst>
                  <a:gd name="T0" fmla="*/ 0 w 248"/>
                  <a:gd name="T1" fmla="*/ 0 h 200"/>
                  <a:gd name="T2" fmla="*/ 84 w 248"/>
                  <a:gd name="T3" fmla="*/ 154 h 200"/>
                  <a:gd name="T4" fmla="*/ 248 w 248"/>
                  <a:gd name="T5" fmla="*/ 200 h 200"/>
                  <a:gd name="T6" fmla="*/ 248 w 248"/>
                  <a:gd name="T7" fmla="*/ 200 h 200"/>
                  <a:gd name="T8" fmla="*/ 248 w 248"/>
                  <a:gd name="T9" fmla="*/ 196 h 200"/>
                  <a:gd name="T10" fmla="*/ 248 w 248"/>
                  <a:gd name="T11" fmla="*/ 192 h 200"/>
                  <a:gd name="T12" fmla="*/ 246 w 248"/>
                  <a:gd name="T13" fmla="*/ 186 h 200"/>
                  <a:gd name="T14" fmla="*/ 240 w 248"/>
                  <a:gd name="T15" fmla="*/ 180 h 200"/>
                  <a:gd name="T16" fmla="*/ 234 w 248"/>
                  <a:gd name="T17" fmla="*/ 174 h 200"/>
                  <a:gd name="T18" fmla="*/ 222 w 248"/>
                  <a:gd name="T19" fmla="*/ 168 h 200"/>
                  <a:gd name="T20" fmla="*/ 206 w 248"/>
                  <a:gd name="T21" fmla="*/ 160 h 200"/>
                  <a:gd name="T22" fmla="*/ 206 w 248"/>
                  <a:gd name="T23" fmla="*/ 160 h 200"/>
                  <a:gd name="T24" fmla="*/ 168 w 248"/>
                  <a:gd name="T25" fmla="*/ 150 h 200"/>
                  <a:gd name="T26" fmla="*/ 138 w 248"/>
                  <a:gd name="T27" fmla="*/ 142 h 200"/>
                  <a:gd name="T28" fmla="*/ 110 w 248"/>
                  <a:gd name="T29" fmla="*/ 136 h 200"/>
                  <a:gd name="T30" fmla="*/ 132 w 248"/>
                  <a:gd name="T31" fmla="*/ 8 h 200"/>
                  <a:gd name="T32" fmla="*/ 0 w 248"/>
                  <a:gd name="T33"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8" h="200">
                    <a:moveTo>
                      <a:pt x="0" y="0"/>
                    </a:moveTo>
                    <a:lnTo>
                      <a:pt x="84" y="154"/>
                    </a:lnTo>
                    <a:lnTo>
                      <a:pt x="248" y="200"/>
                    </a:lnTo>
                    <a:lnTo>
                      <a:pt x="248" y="200"/>
                    </a:lnTo>
                    <a:lnTo>
                      <a:pt x="248" y="196"/>
                    </a:lnTo>
                    <a:lnTo>
                      <a:pt x="248" y="192"/>
                    </a:lnTo>
                    <a:lnTo>
                      <a:pt x="246" y="186"/>
                    </a:lnTo>
                    <a:lnTo>
                      <a:pt x="240" y="180"/>
                    </a:lnTo>
                    <a:lnTo>
                      <a:pt x="234" y="174"/>
                    </a:lnTo>
                    <a:lnTo>
                      <a:pt x="222" y="168"/>
                    </a:lnTo>
                    <a:lnTo>
                      <a:pt x="206" y="160"/>
                    </a:lnTo>
                    <a:lnTo>
                      <a:pt x="206" y="160"/>
                    </a:lnTo>
                    <a:lnTo>
                      <a:pt x="168" y="150"/>
                    </a:lnTo>
                    <a:lnTo>
                      <a:pt x="138" y="142"/>
                    </a:lnTo>
                    <a:lnTo>
                      <a:pt x="110" y="136"/>
                    </a:lnTo>
                    <a:lnTo>
                      <a:pt x="132" y="8"/>
                    </a:lnTo>
                    <a:lnTo>
                      <a:pt x="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75" name="Freeform 267">
                <a:extLst>
                  <a:ext uri="{FF2B5EF4-FFF2-40B4-BE49-F238E27FC236}">
                    <a16:creationId xmlns:a16="http://schemas.microsoft.com/office/drawing/2014/main" id="{A066E0B3-AADA-415A-B164-C42785CE39D1}"/>
                  </a:ext>
                </a:extLst>
              </p:cNvPr>
              <p:cNvSpPr>
                <a:spLocks/>
              </p:cNvSpPr>
              <p:nvPr/>
            </p:nvSpPr>
            <p:spPr bwMode="auto">
              <a:xfrm>
                <a:off x="5626139" y="6503133"/>
                <a:ext cx="42082" cy="49296"/>
              </a:xfrm>
              <a:custGeom>
                <a:avLst/>
                <a:gdLst>
                  <a:gd name="T0" fmla="*/ 70 w 70"/>
                  <a:gd name="T1" fmla="*/ 0 h 82"/>
                  <a:gd name="T2" fmla="*/ 30 w 70"/>
                  <a:gd name="T3" fmla="*/ 76 h 82"/>
                  <a:gd name="T4" fmla="*/ 0 w 70"/>
                  <a:gd name="T5" fmla="*/ 82 h 82"/>
                  <a:gd name="T6" fmla="*/ 0 w 70"/>
                  <a:gd name="T7" fmla="*/ 82 h 82"/>
                  <a:gd name="T8" fmla="*/ 0 w 70"/>
                  <a:gd name="T9" fmla="*/ 80 h 82"/>
                  <a:gd name="T10" fmla="*/ 2 w 70"/>
                  <a:gd name="T11" fmla="*/ 72 h 82"/>
                  <a:gd name="T12" fmla="*/ 6 w 70"/>
                  <a:gd name="T13" fmla="*/ 64 h 82"/>
                  <a:gd name="T14" fmla="*/ 10 w 70"/>
                  <a:gd name="T15" fmla="*/ 60 h 82"/>
                  <a:gd name="T16" fmla="*/ 16 w 70"/>
                  <a:gd name="T17" fmla="*/ 58 h 82"/>
                  <a:gd name="T18" fmla="*/ 16 w 70"/>
                  <a:gd name="T19" fmla="*/ 58 h 82"/>
                  <a:gd name="T20" fmla="*/ 20 w 70"/>
                  <a:gd name="T21" fmla="*/ 54 h 82"/>
                  <a:gd name="T22" fmla="*/ 24 w 70"/>
                  <a:gd name="T23" fmla="*/ 48 h 82"/>
                  <a:gd name="T24" fmla="*/ 26 w 70"/>
                  <a:gd name="T25" fmla="*/ 38 h 82"/>
                  <a:gd name="T26" fmla="*/ 26 w 70"/>
                  <a:gd name="T27" fmla="*/ 28 h 82"/>
                  <a:gd name="T28" fmla="*/ 26 w 70"/>
                  <a:gd name="T29" fmla="*/ 10 h 82"/>
                  <a:gd name="T30" fmla="*/ 26 w 70"/>
                  <a:gd name="T31" fmla="*/ 2 h 82"/>
                  <a:gd name="T32" fmla="*/ 70 w 70"/>
                  <a:gd name="T33"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0" h="82">
                    <a:moveTo>
                      <a:pt x="70" y="0"/>
                    </a:moveTo>
                    <a:lnTo>
                      <a:pt x="30" y="76"/>
                    </a:lnTo>
                    <a:lnTo>
                      <a:pt x="0" y="82"/>
                    </a:lnTo>
                    <a:lnTo>
                      <a:pt x="0" y="82"/>
                    </a:lnTo>
                    <a:lnTo>
                      <a:pt x="0" y="80"/>
                    </a:lnTo>
                    <a:lnTo>
                      <a:pt x="2" y="72"/>
                    </a:lnTo>
                    <a:lnTo>
                      <a:pt x="6" y="64"/>
                    </a:lnTo>
                    <a:lnTo>
                      <a:pt x="10" y="60"/>
                    </a:lnTo>
                    <a:lnTo>
                      <a:pt x="16" y="58"/>
                    </a:lnTo>
                    <a:lnTo>
                      <a:pt x="16" y="58"/>
                    </a:lnTo>
                    <a:lnTo>
                      <a:pt x="20" y="54"/>
                    </a:lnTo>
                    <a:lnTo>
                      <a:pt x="24" y="48"/>
                    </a:lnTo>
                    <a:lnTo>
                      <a:pt x="26" y="38"/>
                    </a:lnTo>
                    <a:lnTo>
                      <a:pt x="26" y="28"/>
                    </a:lnTo>
                    <a:lnTo>
                      <a:pt x="26" y="10"/>
                    </a:lnTo>
                    <a:lnTo>
                      <a:pt x="26" y="2"/>
                    </a:lnTo>
                    <a:lnTo>
                      <a:pt x="7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176" name="Group 2175">
            <a:extLst>
              <a:ext uri="{FF2B5EF4-FFF2-40B4-BE49-F238E27FC236}">
                <a16:creationId xmlns:a16="http://schemas.microsoft.com/office/drawing/2014/main" id="{6B690ED8-5724-4729-8936-DF6CF8681469}"/>
              </a:ext>
            </a:extLst>
          </p:cNvPr>
          <p:cNvGrpSpPr/>
          <p:nvPr/>
        </p:nvGrpSpPr>
        <p:grpSpPr>
          <a:xfrm>
            <a:off x="3153310" y="4756107"/>
            <a:ext cx="612000" cy="612000"/>
            <a:chOff x="1320946" y="5357300"/>
            <a:chExt cx="612000" cy="612000"/>
          </a:xfrm>
        </p:grpSpPr>
        <p:sp>
          <p:nvSpPr>
            <p:cNvPr id="2177" name="Oval 2176">
              <a:extLst>
                <a:ext uri="{FF2B5EF4-FFF2-40B4-BE49-F238E27FC236}">
                  <a16:creationId xmlns:a16="http://schemas.microsoft.com/office/drawing/2014/main" id="{6B46FF78-CF39-435A-9BEE-65DFF635F01A}"/>
                </a:ext>
              </a:extLst>
            </p:cNvPr>
            <p:cNvSpPr/>
            <p:nvPr/>
          </p:nvSpPr>
          <p:spPr bwMode="ltGray">
            <a:xfrm>
              <a:off x="1320946" y="5357300"/>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178" name="Group 2177">
              <a:extLst>
                <a:ext uri="{FF2B5EF4-FFF2-40B4-BE49-F238E27FC236}">
                  <a16:creationId xmlns:a16="http://schemas.microsoft.com/office/drawing/2014/main" id="{E8293A75-C37C-478C-ACAE-869E8F3080C3}"/>
                </a:ext>
              </a:extLst>
            </p:cNvPr>
            <p:cNvGrpSpPr/>
            <p:nvPr/>
          </p:nvGrpSpPr>
          <p:grpSpPr>
            <a:xfrm>
              <a:off x="1395663" y="5445199"/>
              <a:ext cx="481344" cy="481344"/>
              <a:chOff x="4518794" y="6302344"/>
              <a:chExt cx="334248" cy="334248"/>
            </a:xfrm>
            <a:solidFill>
              <a:srgbClr val="3C3C3E"/>
            </a:solidFill>
          </p:grpSpPr>
          <p:sp>
            <p:nvSpPr>
              <p:cNvPr id="2179" name="Freeform 268">
                <a:extLst>
                  <a:ext uri="{FF2B5EF4-FFF2-40B4-BE49-F238E27FC236}">
                    <a16:creationId xmlns:a16="http://schemas.microsoft.com/office/drawing/2014/main" id="{B58AF019-D23C-43A2-849D-1CE769F90A18}"/>
                  </a:ext>
                </a:extLst>
              </p:cNvPr>
              <p:cNvSpPr>
                <a:spLocks/>
              </p:cNvSpPr>
              <p:nvPr/>
            </p:nvSpPr>
            <p:spPr bwMode="auto">
              <a:xfrm>
                <a:off x="4669085" y="6531989"/>
                <a:ext cx="0" cy="1202"/>
              </a:xfrm>
              <a:custGeom>
                <a:avLst/>
                <a:gdLst>
                  <a:gd name="T0" fmla="*/ 0 h 2"/>
                  <a:gd name="T1" fmla="*/ 0 h 2"/>
                  <a:gd name="T2" fmla="*/ 0 h 2"/>
                  <a:gd name="T3" fmla="*/ 0 h 2"/>
                  <a:gd name="T4" fmla="*/ 0 h 2"/>
                  <a:gd name="T5" fmla="*/ 0 h 2"/>
                  <a:gd name="T6" fmla="*/ 2 h 2"/>
                  <a:gd name="T7" fmla="*/ 0 h 2"/>
                  <a:gd name="T8" fmla="*/ 0 h 2"/>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2">
                    <a:moveTo>
                      <a:pt x="0" y="0"/>
                    </a:moveTo>
                    <a:lnTo>
                      <a:pt x="0" y="0"/>
                    </a:lnTo>
                    <a:lnTo>
                      <a:pt x="0" y="0"/>
                    </a:lnTo>
                    <a:lnTo>
                      <a:pt x="0" y="0"/>
                    </a:lnTo>
                    <a:lnTo>
                      <a:pt x="0" y="0"/>
                    </a:lnTo>
                    <a:lnTo>
                      <a:pt x="0" y="0"/>
                    </a:lnTo>
                    <a:lnTo>
                      <a:pt x="0" y="2"/>
                    </a:lnTo>
                    <a:lnTo>
                      <a:pt x="0"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0" name="Freeform 269">
                <a:extLst>
                  <a:ext uri="{FF2B5EF4-FFF2-40B4-BE49-F238E27FC236}">
                    <a16:creationId xmlns:a16="http://schemas.microsoft.com/office/drawing/2014/main" id="{766C0DD1-F2BB-4497-B72D-7375A6A0217B}"/>
                  </a:ext>
                </a:extLst>
              </p:cNvPr>
              <p:cNvSpPr>
                <a:spLocks/>
              </p:cNvSpPr>
              <p:nvPr/>
            </p:nvSpPr>
            <p:spPr bwMode="auto">
              <a:xfrm>
                <a:off x="4630610" y="6393721"/>
                <a:ext cx="119031" cy="242871"/>
              </a:xfrm>
              <a:custGeom>
                <a:avLst/>
                <a:gdLst>
                  <a:gd name="T0" fmla="*/ 198 w 198"/>
                  <a:gd name="T1" fmla="*/ 0 h 404"/>
                  <a:gd name="T2" fmla="*/ 198 w 198"/>
                  <a:gd name="T3" fmla="*/ 0 h 404"/>
                  <a:gd name="T4" fmla="*/ 182 w 198"/>
                  <a:gd name="T5" fmla="*/ 8 h 404"/>
                  <a:gd name="T6" fmla="*/ 168 w 198"/>
                  <a:gd name="T7" fmla="*/ 18 h 404"/>
                  <a:gd name="T8" fmla="*/ 156 w 198"/>
                  <a:gd name="T9" fmla="*/ 30 h 404"/>
                  <a:gd name="T10" fmla="*/ 144 w 198"/>
                  <a:gd name="T11" fmla="*/ 42 h 404"/>
                  <a:gd name="T12" fmla="*/ 132 w 198"/>
                  <a:gd name="T13" fmla="*/ 54 h 404"/>
                  <a:gd name="T14" fmla="*/ 122 w 198"/>
                  <a:gd name="T15" fmla="*/ 68 h 404"/>
                  <a:gd name="T16" fmla="*/ 106 w 198"/>
                  <a:gd name="T17" fmla="*/ 98 h 404"/>
                  <a:gd name="T18" fmla="*/ 92 w 198"/>
                  <a:gd name="T19" fmla="*/ 130 h 404"/>
                  <a:gd name="T20" fmla="*/ 82 w 198"/>
                  <a:gd name="T21" fmla="*/ 164 h 404"/>
                  <a:gd name="T22" fmla="*/ 72 w 198"/>
                  <a:gd name="T23" fmla="*/ 196 h 404"/>
                  <a:gd name="T24" fmla="*/ 64 w 198"/>
                  <a:gd name="T25" fmla="*/ 230 h 404"/>
                  <a:gd name="T26" fmla="*/ 64 w 198"/>
                  <a:gd name="T27" fmla="*/ 230 h 404"/>
                  <a:gd name="T28" fmla="*/ 64 w 198"/>
                  <a:gd name="T29" fmla="*/ 230 h 404"/>
                  <a:gd name="T30" fmla="*/ 64 w 198"/>
                  <a:gd name="T31" fmla="*/ 230 h 404"/>
                  <a:gd name="T32" fmla="*/ 64 w 198"/>
                  <a:gd name="T33" fmla="*/ 232 h 404"/>
                  <a:gd name="T34" fmla="*/ 64 w 198"/>
                  <a:gd name="T35" fmla="*/ 230 h 404"/>
                  <a:gd name="T36" fmla="*/ 64 w 198"/>
                  <a:gd name="T37" fmla="*/ 230 h 404"/>
                  <a:gd name="T38" fmla="*/ 64 w 198"/>
                  <a:gd name="T39" fmla="*/ 230 h 404"/>
                  <a:gd name="T40" fmla="*/ 64 w 198"/>
                  <a:gd name="T41" fmla="*/ 230 h 404"/>
                  <a:gd name="T42" fmla="*/ 52 w 198"/>
                  <a:gd name="T43" fmla="*/ 200 h 404"/>
                  <a:gd name="T44" fmla="*/ 38 w 198"/>
                  <a:gd name="T45" fmla="*/ 176 h 404"/>
                  <a:gd name="T46" fmla="*/ 20 w 198"/>
                  <a:gd name="T47" fmla="*/ 154 h 404"/>
                  <a:gd name="T48" fmla="*/ 0 w 198"/>
                  <a:gd name="T49" fmla="*/ 136 h 404"/>
                  <a:gd name="T50" fmla="*/ 0 w 198"/>
                  <a:gd name="T51" fmla="*/ 136 h 404"/>
                  <a:gd name="T52" fmla="*/ 16 w 198"/>
                  <a:gd name="T53" fmla="*/ 166 h 404"/>
                  <a:gd name="T54" fmla="*/ 28 w 198"/>
                  <a:gd name="T55" fmla="*/ 198 h 404"/>
                  <a:gd name="T56" fmla="*/ 36 w 198"/>
                  <a:gd name="T57" fmla="*/ 234 h 404"/>
                  <a:gd name="T58" fmla="*/ 42 w 198"/>
                  <a:gd name="T59" fmla="*/ 272 h 404"/>
                  <a:gd name="T60" fmla="*/ 48 w 198"/>
                  <a:gd name="T61" fmla="*/ 308 h 404"/>
                  <a:gd name="T62" fmla="*/ 50 w 198"/>
                  <a:gd name="T63" fmla="*/ 344 h 404"/>
                  <a:gd name="T64" fmla="*/ 50 w 198"/>
                  <a:gd name="T65" fmla="*/ 376 h 404"/>
                  <a:gd name="T66" fmla="*/ 50 w 198"/>
                  <a:gd name="T67" fmla="*/ 404 h 404"/>
                  <a:gd name="T68" fmla="*/ 112 w 198"/>
                  <a:gd name="T69" fmla="*/ 404 h 404"/>
                  <a:gd name="T70" fmla="*/ 112 w 198"/>
                  <a:gd name="T71" fmla="*/ 404 h 404"/>
                  <a:gd name="T72" fmla="*/ 104 w 198"/>
                  <a:gd name="T73" fmla="*/ 344 h 404"/>
                  <a:gd name="T74" fmla="*/ 98 w 198"/>
                  <a:gd name="T75" fmla="*/ 284 h 404"/>
                  <a:gd name="T76" fmla="*/ 98 w 198"/>
                  <a:gd name="T77" fmla="*/ 254 h 404"/>
                  <a:gd name="T78" fmla="*/ 100 w 198"/>
                  <a:gd name="T79" fmla="*/ 226 h 404"/>
                  <a:gd name="T80" fmla="*/ 102 w 198"/>
                  <a:gd name="T81" fmla="*/ 198 h 404"/>
                  <a:gd name="T82" fmla="*/ 106 w 198"/>
                  <a:gd name="T83" fmla="*/ 172 h 404"/>
                  <a:gd name="T84" fmla="*/ 110 w 198"/>
                  <a:gd name="T85" fmla="*/ 146 h 404"/>
                  <a:gd name="T86" fmla="*/ 118 w 198"/>
                  <a:gd name="T87" fmla="*/ 120 h 404"/>
                  <a:gd name="T88" fmla="*/ 126 w 198"/>
                  <a:gd name="T89" fmla="*/ 98 h 404"/>
                  <a:gd name="T90" fmla="*/ 136 w 198"/>
                  <a:gd name="T91" fmla="*/ 74 h 404"/>
                  <a:gd name="T92" fmla="*/ 148 w 198"/>
                  <a:gd name="T93" fmla="*/ 54 h 404"/>
                  <a:gd name="T94" fmla="*/ 162 w 198"/>
                  <a:gd name="T95" fmla="*/ 34 h 404"/>
                  <a:gd name="T96" fmla="*/ 180 w 198"/>
                  <a:gd name="T97" fmla="*/ 16 h 404"/>
                  <a:gd name="T98" fmla="*/ 198 w 198"/>
                  <a:gd name="T99" fmla="*/ 0 h 404"/>
                  <a:gd name="T100" fmla="*/ 198 w 198"/>
                  <a:gd name="T101" fmla="*/ 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8" h="404">
                    <a:moveTo>
                      <a:pt x="198" y="0"/>
                    </a:moveTo>
                    <a:lnTo>
                      <a:pt x="198" y="0"/>
                    </a:lnTo>
                    <a:lnTo>
                      <a:pt x="182" y="8"/>
                    </a:lnTo>
                    <a:lnTo>
                      <a:pt x="168" y="18"/>
                    </a:lnTo>
                    <a:lnTo>
                      <a:pt x="156" y="30"/>
                    </a:lnTo>
                    <a:lnTo>
                      <a:pt x="144" y="42"/>
                    </a:lnTo>
                    <a:lnTo>
                      <a:pt x="132" y="54"/>
                    </a:lnTo>
                    <a:lnTo>
                      <a:pt x="122" y="68"/>
                    </a:lnTo>
                    <a:lnTo>
                      <a:pt x="106" y="98"/>
                    </a:lnTo>
                    <a:lnTo>
                      <a:pt x="92" y="130"/>
                    </a:lnTo>
                    <a:lnTo>
                      <a:pt x="82" y="164"/>
                    </a:lnTo>
                    <a:lnTo>
                      <a:pt x="72" y="196"/>
                    </a:lnTo>
                    <a:lnTo>
                      <a:pt x="64" y="230"/>
                    </a:lnTo>
                    <a:lnTo>
                      <a:pt x="64" y="230"/>
                    </a:lnTo>
                    <a:lnTo>
                      <a:pt x="64" y="230"/>
                    </a:lnTo>
                    <a:lnTo>
                      <a:pt x="64" y="230"/>
                    </a:lnTo>
                    <a:lnTo>
                      <a:pt x="64" y="232"/>
                    </a:lnTo>
                    <a:lnTo>
                      <a:pt x="64" y="230"/>
                    </a:lnTo>
                    <a:lnTo>
                      <a:pt x="64" y="230"/>
                    </a:lnTo>
                    <a:lnTo>
                      <a:pt x="64" y="230"/>
                    </a:lnTo>
                    <a:lnTo>
                      <a:pt x="64" y="230"/>
                    </a:lnTo>
                    <a:lnTo>
                      <a:pt x="52" y="200"/>
                    </a:lnTo>
                    <a:lnTo>
                      <a:pt x="38" y="176"/>
                    </a:lnTo>
                    <a:lnTo>
                      <a:pt x="20" y="154"/>
                    </a:lnTo>
                    <a:lnTo>
                      <a:pt x="0" y="136"/>
                    </a:lnTo>
                    <a:lnTo>
                      <a:pt x="0" y="136"/>
                    </a:lnTo>
                    <a:lnTo>
                      <a:pt x="16" y="166"/>
                    </a:lnTo>
                    <a:lnTo>
                      <a:pt x="28" y="198"/>
                    </a:lnTo>
                    <a:lnTo>
                      <a:pt x="36" y="234"/>
                    </a:lnTo>
                    <a:lnTo>
                      <a:pt x="42" y="272"/>
                    </a:lnTo>
                    <a:lnTo>
                      <a:pt x="48" y="308"/>
                    </a:lnTo>
                    <a:lnTo>
                      <a:pt x="50" y="344"/>
                    </a:lnTo>
                    <a:lnTo>
                      <a:pt x="50" y="376"/>
                    </a:lnTo>
                    <a:lnTo>
                      <a:pt x="50" y="404"/>
                    </a:lnTo>
                    <a:lnTo>
                      <a:pt x="112" y="404"/>
                    </a:lnTo>
                    <a:lnTo>
                      <a:pt x="112" y="404"/>
                    </a:lnTo>
                    <a:lnTo>
                      <a:pt x="104" y="344"/>
                    </a:lnTo>
                    <a:lnTo>
                      <a:pt x="98" y="284"/>
                    </a:lnTo>
                    <a:lnTo>
                      <a:pt x="98" y="254"/>
                    </a:lnTo>
                    <a:lnTo>
                      <a:pt x="100" y="226"/>
                    </a:lnTo>
                    <a:lnTo>
                      <a:pt x="102" y="198"/>
                    </a:lnTo>
                    <a:lnTo>
                      <a:pt x="106" y="172"/>
                    </a:lnTo>
                    <a:lnTo>
                      <a:pt x="110" y="146"/>
                    </a:lnTo>
                    <a:lnTo>
                      <a:pt x="118" y="120"/>
                    </a:lnTo>
                    <a:lnTo>
                      <a:pt x="126" y="98"/>
                    </a:lnTo>
                    <a:lnTo>
                      <a:pt x="136" y="74"/>
                    </a:lnTo>
                    <a:lnTo>
                      <a:pt x="148" y="54"/>
                    </a:lnTo>
                    <a:lnTo>
                      <a:pt x="162" y="34"/>
                    </a:lnTo>
                    <a:lnTo>
                      <a:pt x="180" y="16"/>
                    </a:lnTo>
                    <a:lnTo>
                      <a:pt x="198" y="0"/>
                    </a:lnTo>
                    <a:lnTo>
                      <a:pt x="198"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1" name="Freeform 270">
                <a:extLst>
                  <a:ext uri="{FF2B5EF4-FFF2-40B4-BE49-F238E27FC236}">
                    <a16:creationId xmlns:a16="http://schemas.microsoft.com/office/drawing/2014/main" id="{F05F5CAF-7D19-4C75-8038-1848FAF302B8}"/>
                  </a:ext>
                </a:extLst>
              </p:cNvPr>
              <p:cNvSpPr>
                <a:spLocks/>
              </p:cNvSpPr>
              <p:nvPr/>
            </p:nvSpPr>
            <p:spPr bwMode="auto">
              <a:xfrm>
                <a:off x="4683513" y="6426184"/>
                <a:ext cx="98591" cy="90175"/>
              </a:xfrm>
              <a:custGeom>
                <a:avLst/>
                <a:gdLst>
                  <a:gd name="T0" fmla="*/ 4 w 164"/>
                  <a:gd name="T1" fmla="*/ 84 h 150"/>
                  <a:gd name="T2" fmla="*/ 4 w 164"/>
                  <a:gd name="T3" fmla="*/ 84 h 150"/>
                  <a:gd name="T4" fmla="*/ 16 w 164"/>
                  <a:gd name="T5" fmla="*/ 68 h 150"/>
                  <a:gd name="T6" fmla="*/ 28 w 164"/>
                  <a:gd name="T7" fmla="*/ 54 h 150"/>
                  <a:gd name="T8" fmla="*/ 42 w 164"/>
                  <a:gd name="T9" fmla="*/ 40 h 150"/>
                  <a:gd name="T10" fmla="*/ 58 w 164"/>
                  <a:gd name="T11" fmla="*/ 26 h 150"/>
                  <a:gd name="T12" fmla="*/ 78 w 164"/>
                  <a:gd name="T13" fmla="*/ 16 h 150"/>
                  <a:gd name="T14" fmla="*/ 102 w 164"/>
                  <a:gd name="T15" fmla="*/ 8 h 150"/>
                  <a:gd name="T16" fmla="*/ 130 w 164"/>
                  <a:gd name="T17" fmla="*/ 2 h 150"/>
                  <a:gd name="T18" fmla="*/ 164 w 164"/>
                  <a:gd name="T19" fmla="*/ 0 h 150"/>
                  <a:gd name="T20" fmla="*/ 164 w 164"/>
                  <a:gd name="T21" fmla="*/ 0 h 150"/>
                  <a:gd name="T22" fmla="*/ 146 w 164"/>
                  <a:gd name="T23" fmla="*/ 2 h 150"/>
                  <a:gd name="T24" fmla="*/ 128 w 164"/>
                  <a:gd name="T25" fmla="*/ 6 h 150"/>
                  <a:gd name="T26" fmla="*/ 112 w 164"/>
                  <a:gd name="T27" fmla="*/ 12 h 150"/>
                  <a:gd name="T28" fmla="*/ 96 w 164"/>
                  <a:gd name="T29" fmla="*/ 18 h 150"/>
                  <a:gd name="T30" fmla="*/ 82 w 164"/>
                  <a:gd name="T31" fmla="*/ 26 h 150"/>
                  <a:gd name="T32" fmla="*/ 70 w 164"/>
                  <a:gd name="T33" fmla="*/ 36 h 150"/>
                  <a:gd name="T34" fmla="*/ 58 w 164"/>
                  <a:gd name="T35" fmla="*/ 44 h 150"/>
                  <a:gd name="T36" fmla="*/ 46 w 164"/>
                  <a:gd name="T37" fmla="*/ 56 h 150"/>
                  <a:gd name="T38" fmla="*/ 36 w 164"/>
                  <a:gd name="T39" fmla="*/ 66 h 150"/>
                  <a:gd name="T40" fmla="*/ 28 w 164"/>
                  <a:gd name="T41" fmla="*/ 78 h 150"/>
                  <a:gd name="T42" fmla="*/ 14 w 164"/>
                  <a:gd name="T43" fmla="*/ 102 h 150"/>
                  <a:gd name="T44" fmla="*/ 4 w 164"/>
                  <a:gd name="T45" fmla="*/ 126 h 150"/>
                  <a:gd name="T46" fmla="*/ 0 w 164"/>
                  <a:gd name="T47" fmla="*/ 150 h 150"/>
                  <a:gd name="T48" fmla="*/ 4 w 164"/>
                  <a:gd name="T49" fmla="*/ 84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50">
                    <a:moveTo>
                      <a:pt x="4" y="84"/>
                    </a:moveTo>
                    <a:lnTo>
                      <a:pt x="4" y="84"/>
                    </a:lnTo>
                    <a:lnTo>
                      <a:pt x="16" y="68"/>
                    </a:lnTo>
                    <a:lnTo>
                      <a:pt x="28" y="54"/>
                    </a:lnTo>
                    <a:lnTo>
                      <a:pt x="42" y="40"/>
                    </a:lnTo>
                    <a:lnTo>
                      <a:pt x="58" y="26"/>
                    </a:lnTo>
                    <a:lnTo>
                      <a:pt x="78" y="16"/>
                    </a:lnTo>
                    <a:lnTo>
                      <a:pt x="102" y="8"/>
                    </a:lnTo>
                    <a:lnTo>
                      <a:pt x="130" y="2"/>
                    </a:lnTo>
                    <a:lnTo>
                      <a:pt x="164" y="0"/>
                    </a:lnTo>
                    <a:lnTo>
                      <a:pt x="164" y="0"/>
                    </a:lnTo>
                    <a:lnTo>
                      <a:pt x="146" y="2"/>
                    </a:lnTo>
                    <a:lnTo>
                      <a:pt x="128" y="6"/>
                    </a:lnTo>
                    <a:lnTo>
                      <a:pt x="112" y="12"/>
                    </a:lnTo>
                    <a:lnTo>
                      <a:pt x="96" y="18"/>
                    </a:lnTo>
                    <a:lnTo>
                      <a:pt x="82" y="26"/>
                    </a:lnTo>
                    <a:lnTo>
                      <a:pt x="70" y="36"/>
                    </a:lnTo>
                    <a:lnTo>
                      <a:pt x="58" y="44"/>
                    </a:lnTo>
                    <a:lnTo>
                      <a:pt x="46" y="56"/>
                    </a:lnTo>
                    <a:lnTo>
                      <a:pt x="36" y="66"/>
                    </a:lnTo>
                    <a:lnTo>
                      <a:pt x="28" y="78"/>
                    </a:lnTo>
                    <a:lnTo>
                      <a:pt x="14" y="102"/>
                    </a:lnTo>
                    <a:lnTo>
                      <a:pt x="4" y="126"/>
                    </a:lnTo>
                    <a:lnTo>
                      <a:pt x="0" y="150"/>
                    </a:lnTo>
                    <a:lnTo>
                      <a:pt x="4" y="8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2" name="Freeform 271">
                <a:extLst>
                  <a:ext uri="{FF2B5EF4-FFF2-40B4-BE49-F238E27FC236}">
                    <a16:creationId xmlns:a16="http://schemas.microsoft.com/office/drawing/2014/main" id="{82EF6139-4AE4-4038-9A86-F175F79A8CA8}"/>
                  </a:ext>
                </a:extLst>
              </p:cNvPr>
              <p:cNvSpPr>
                <a:spLocks/>
              </p:cNvSpPr>
              <p:nvPr/>
            </p:nvSpPr>
            <p:spPr bwMode="auto">
              <a:xfrm>
                <a:off x="4589731" y="6495919"/>
                <a:ext cx="67330" cy="34868"/>
              </a:xfrm>
              <a:custGeom>
                <a:avLst/>
                <a:gdLst>
                  <a:gd name="T0" fmla="*/ 0 w 112"/>
                  <a:gd name="T1" fmla="*/ 10 h 58"/>
                  <a:gd name="T2" fmla="*/ 0 w 112"/>
                  <a:gd name="T3" fmla="*/ 10 h 58"/>
                  <a:gd name="T4" fmla="*/ 18 w 112"/>
                  <a:gd name="T5" fmla="*/ 8 h 58"/>
                  <a:gd name="T6" fmla="*/ 34 w 112"/>
                  <a:gd name="T7" fmla="*/ 8 h 58"/>
                  <a:gd name="T8" fmla="*/ 50 w 112"/>
                  <a:gd name="T9" fmla="*/ 10 h 58"/>
                  <a:gd name="T10" fmla="*/ 64 w 112"/>
                  <a:gd name="T11" fmla="*/ 14 h 58"/>
                  <a:gd name="T12" fmla="*/ 78 w 112"/>
                  <a:gd name="T13" fmla="*/ 22 h 58"/>
                  <a:gd name="T14" fmla="*/ 90 w 112"/>
                  <a:gd name="T15" fmla="*/ 32 h 58"/>
                  <a:gd name="T16" fmla="*/ 100 w 112"/>
                  <a:gd name="T17" fmla="*/ 44 h 58"/>
                  <a:gd name="T18" fmla="*/ 110 w 112"/>
                  <a:gd name="T19" fmla="*/ 58 h 58"/>
                  <a:gd name="T20" fmla="*/ 110 w 112"/>
                  <a:gd name="T21" fmla="*/ 58 h 58"/>
                  <a:gd name="T22" fmla="*/ 112 w 112"/>
                  <a:gd name="T23" fmla="*/ 46 h 58"/>
                  <a:gd name="T24" fmla="*/ 112 w 112"/>
                  <a:gd name="T25" fmla="*/ 36 h 58"/>
                  <a:gd name="T26" fmla="*/ 110 w 112"/>
                  <a:gd name="T27" fmla="*/ 28 h 58"/>
                  <a:gd name="T28" fmla="*/ 106 w 112"/>
                  <a:gd name="T29" fmla="*/ 20 h 58"/>
                  <a:gd name="T30" fmla="*/ 100 w 112"/>
                  <a:gd name="T31" fmla="*/ 14 h 58"/>
                  <a:gd name="T32" fmla="*/ 94 w 112"/>
                  <a:gd name="T33" fmla="*/ 10 h 58"/>
                  <a:gd name="T34" fmla="*/ 86 w 112"/>
                  <a:gd name="T35" fmla="*/ 6 h 58"/>
                  <a:gd name="T36" fmla="*/ 76 w 112"/>
                  <a:gd name="T37" fmla="*/ 4 h 58"/>
                  <a:gd name="T38" fmla="*/ 58 w 112"/>
                  <a:gd name="T39" fmla="*/ 0 h 58"/>
                  <a:gd name="T40" fmla="*/ 38 w 112"/>
                  <a:gd name="T41" fmla="*/ 2 h 58"/>
                  <a:gd name="T42" fmla="*/ 18 w 112"/>
                  <a:gd name="T43" fmla="*/ 4 h 58"/>
                  <a:gd name="T44" fmla="*/ 0 w 112"/>
                  <a:gd name="T45" fmla="*/ 10 h 58"/>
                  <a:gd name="T46" fmla="*/ 0 w 112"/>
                  <a:gd name="T47" fmla="*/ 1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2" h="58">
                    <a:moveTo>
                      <a:pt x="0" y="10"/>
                    </a:moveTo>
                    <a:lnTo>
                      <a:pt x="0" y="10"/>
                    </a:lnTo>
                    <a:lnTo>
                      <a:pt x="18" y="8"/>
                    </a:lnTo>
                    <a:lnTo>
                      <a:pt x="34" y="8"/>
                    </a:lnTo>
                    <a:lnTo>
                      <a:pt x="50" y="10"/>
                    </a:lnTo>
                    <a:lnTo>
                      <a:pt x="64" y="14"/>
                    </a:lnTo>
                    <a:lnTo>
                      <a:pt x="78" y="22"/>
                    </a:lnTo>
                    <a:lnTo>
                      <a:pt x="90" y="32"/>
                    </a:lnTo>
                    <a:lnTo>
                      <a:pt x="100" y="44"/>
                    </a:lnTo>
                    <a:lnTo>
                      <a:pt x="110" y="58"/>
                    </a:lnTo>
                    <a:lnTo>
                      <a:pt x="110" y="58"/>
                    </a:lnTo>
                    <a:lnTo>
                      <a:pt x="112" y="46"/>
                    </a:lnTo>
                    <a:lnTo>
                      <a:pt x="112" y="36"/>
                    </a:lnTo>
                    <a:lnTo>
                      <a:pt x="110" y="28"/>
                    </a:lnTo>
                    <a:lnTo>
                      <a:pt x="106" y="20"/>
                    </a:lnTo>
                    <a:lnTo>
                      <a:pt x="100" y="14"/>
                    </a:lnTo>
                    <a:lnTo>
                      <a:pt x="94" y="10"/>
                    </a:lnTo>
                    <a:lnTo>
                      <a:pt x="86" y="6"/>
                    </a:lnTo>
                    <a:lnTo>
                      <a:pt x="76" y="4"/>
                    </a:lnTo>
                    <a:lnTo>
                      <a:pt x="58" y="0"/>
                    </a:lnTo>
                    <a:lnTo>
                      <a:pt x="38" y="2"/>
                    </a:lnTo>
                    <a:lnTo>
                      <a:pt x="18" y="4"/>
                    </a:lnTo>
                    <a:lnTo>
                      <a:pt x="0" y="10"/>
                    </a:lnTo>
                    <a:lnTo>
                      <a:pt x="0" y="1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3" name="Freeform 272">
                <a:extLst>
                  <a:ext uri="{FF2B5EF4-FFF2-40B4-BE49-F238E27FC236}">
                    <a16:creationId xmlns:a16="http://schemas.microsoft.com/office/drawing/2014/main" id="{32DD86B5-5664-466E-8549-8C590D0583FA}"/>
                  </a:ext>
                </a:extLst>
              </p:cNvPr>
              <p:cNvSpPr>
                <a:spLocks/>
              </p:cNvSpPr>
              <p:nvPr/>
            </p:nvSpPr>
            <p:spPr bwMode="auto">
              <a:xfrm>
                <a:off x="4547649" y="6468266"/>
                <a:ext cx="45689" cy="43284"/>
              </a:xfrm>
              <a:custGeom>
                <a:avLst/>
                <a:gdLst>
                  <a:gd name="T0" fmla="*/ 34 w 76"/>
                  <a:gd name="T1" fmla="*/ 20 h 72"/>
                  <a:gd name="T2" fmla="*/ 34 w 76"/>
                  <a:gd name="T3" fmla="*/ 20 h 72"/>
                  <a:gd name="T4" fmla="*/ 2 w 76"/>
                  <a:gd name="T5" fmla="*/ 42 h 72"/>
                  <a:gd name="T6" fmla="*/ 2 w 76"/>
                  <a:gd name="T7" fmla="*/ 42 h 72"/>
                  <a:gd name="T8" fmla="*/ 44 w 76"/>
                  <a:gd name="T9" fmla="*/ 40 h 72"/>
                  <a:gd name="T10" fmla="*/ 44 w 76"/>
                  <a:gd name="T11" fmla="*/ 40 h 72"/>
                  <a:gd name="T12" fmla="*/ 42 w 76"/>
                  <a:gd name="T13" fmla="*/ 72 h 72"/>
                  <a:gd name="T14" fmla="*/ 42 w 76"/>
                  <a:gd name="T15" fmla="*/ 72 h 72"/>
                  <a:gd name="T16" fmla="*/ 62 w 76"/>
                  <a:gd name="T17" fmla="*/ 42 h 72"/>
                  <a:gd name="T18" fmla="*/ 62 w 76"/>
                  <a:gd name="T19" fmla="*/ 42 h 72"/>
                  <a:gd name="T20" fmla="*/ 74 w 76"/>
                  <a:gd name="T21" fmla="*/ 58 h 72"/>
                  <a:gd name="T22" fmla="*/ 74 w 76"/>
                  <a:gd name="T23" fmla="*/ 58 h 72"/>
                  <a:gd name="T24" fmla="*/ 76 w 76"/>
                  <a:gd name="T25" fmla="*/ 44 h 72"/>
                  <a:gd name="T26" fmla="*/ 76 w 76"/>
                  <a:gd name="T27" fmla="*/ 24 h 72"/>
                  <a:gd name="T28" fmla="*/ 0 w 76"/>
                  <a:gd name="T29" fmla="*/ 0 h 72"/>
                  <a:gd name="T30" fmla="*/ 0 w 76"/>
                  <a:gd name="T31" fmla="*/ 0 h 72"/>
                  <a:gd name="T32" fmla="*/ 34 w 76"/>
                  <a:gd name="T33" fmla="*/ 20 h 72"/>
                  <a:gd name="T34" fmla="*/ 34 w 76"/>
                  <a:gd name="T35" fmla="*/ 2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6" h="72">
                    <a:moveTo>
                      <a:pt x="34" y="20"/>
                    </a:moveTo>
                    <a:lnTo>
                      <a:pt x="34" y="20"/>
                    </a:lnTo>
                    <a:lnTo>
                      <a:pt x="2" y="42"/>
                    </a:lnTo>
                    <a:lnTo>
                      <a:pt x="2" y="42"/>
                    </a:lnTo>
                    <a:lnTo>
                      <a:pt x="44" y="40"/>
                    </a:lnTo>
                    <a:lnTo>
                      <a:pt x="44" y="40"/>
                    </a:lnTo>
                    <a:lnTo>
                      <a:pt x="42" y="72"/>
                    </a:lnTo>
                    <a:lnTo>
                      <a:pt x="42" y="72"/>
                    </a:lnTo>
                    <a:lnTo>
                      <a:pt x="62" y="42"/>
                    </a:lnTo>
                    <a:lnTo>
                      <a:pt x="62" y="42"/>
                    </a:lnTo>
                    <a:lnTo>
                      <a:pt x="74" y="58"/>
                    </a:lnTo>
                    <a:lnTo>
                      <a:pt x="74" y="58"/>
                    </a:lnTo>
                    <a:lnTo>
                      <a:pt x="76" y="44"/>
                    </a:lnTo>
                    <a:lnTo>
                      <a:pt x="76" y="24"/>
                    </a:lnTo>
                    <a:lnTo>
                      <a:pt x="0" y="0"/>
                    </a:lnTo>
                    <a:lnTo>
                      <a:pt x="0" y="0"/>
                    </a:lnTo>
                    <a:lnTo>
                      <a:pt x="34" y="20"/>
                    </a:lnTo>
                    <a:lnTo>
                      <a:pt x="34" y="2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4" name="Freeform 273">
                <a:extLst>
                  <a:ext uri="{FF2B5EF4-FFF2-40B4-BE49-F238E27FC236}">
                    <a16:creationId xmlns:a16="http://schemas.microsoft.com/office/drawing/2014/main" id="{4F6C06E1-D542-4D14-ABE6-1FA15051FDA2}"/>
                  </a:ext>
                </a:extLst>
              </p:cNvPr>
              <p:cNvSpPr>
                <a:spLocks/>
              </p:cNvSpPr>
              <p:nvPr/>
            </p:nvSpPr>
            <p:spPr bwMode="auto">
              <a:xfrm>
                <a:off x="4544042" y="6445422"/>
                <a:ext cx="61319" cy="37272"/>
              </a:xfrm>
              <a:custGeom>
                <a:avLst/>
                <a:gdLst>
                  <a:gd name="T0" fmla="*/ 84 w 102"/>
                  <a:gd name="T1" fmla="*/ 60 h 62"/>
                  <a:gd name="T2" fmla="*/ 84 w 102"/>
                  <a:gd name="T3" fmla="*/ 60 h 62"/>
                  <a:gd name="T4" fmla="*/ 90 w 102"/>
                  <a:gd name="T5" fmla="*/ 54 h 62"/>
                  <a:gd name="T6" fmla="*/ 96 w 102"/>
                  <a:gd name="T7" fmla="*/ 44 h 62"/>
                  <a:gd name="T8" fmla="*/ 102 w 102"/>
                  <a:gd name="T9" fmla="*/ 30 h 62"/>
                  <a:gd name="T10" fmla="*/ 102 w 102"/>
                  <a:gd name="T11" fmla="*/ 30 h 62"/>
                  <a:gd name="T12" fmla="*/ 84 w 102"/>
                  <a:gd name="T13" fmla="*/ 36 h 62"/>
                  <a:gd name="T14" fmla="*/ 84 w 102"/>
                  <a:gd name="T15" fmla="*/ 36 h 62"/>
                  <a:gd name="T16" fmla="*/ 82 w 102"/>
                  <a:gd name="T17" fmla="*/ 0 h 62"/>
                  <a:gd name="T18" fmla="*/ 82 w 102"/>
                  <a:gd name="T19" fmla="*/ 0 h 62"/>
                  <a:gd name="T20" fmla="*/ 66 w 102"/>
                  <a:gd name="T21" fmla="*/ 28 h 62"/>
                  <a:gd name="T22" fmla="*/ 66 w 102"/>
                  <a:gd name="T23" fmla="*/ 28 h 62"/>
                  <a:gd name="T24" fmla="*/ 32 w 102"/>
                  <a:gd name="T25" fmla="*/ 2 h 62"/>
                  <a:gd name="T26" fmla="*/ 32 w 102"/>
                  <a:gd name="T27" fmla="*/ 2 h 62"/>
                  <a:gd name="T28" fmla="*/ 48 w 102"/>
                  <a:gd name="T29" fmla="*/ 38 h 62"/>
                  <a:gd name="T30" fmla="*/ 48 w 102"/>
                  <a:gd name="T31" fmla="*/ 38 h 62"/>
                  <a:gd name="T32" fmla="*/ 0 w 102"/>
                  <a:gd name="T33" fmla="*/ 36 h 62"/>
                  <a:gd name="T34" fmla="*/ 0 w 102"/>
                  <a:gd name="T35" fmla="*/ 36 h 62"/>
                  <a:gd name="T36" fmla="*/ 6 w 102"/>
                  <a:gd name="T37" fmla="*/ 38 h 62"/>
                  <a:gd name="T38" fmla="*/ 82 w 102"/>
                  <a:gd name="T39" fmla="*/ 62 h 62"/>
                  <a:gd name="T40" fmla="*/ 82 w 102"/>
                  <a:gd name="T41" fmla="*/ 62 h 62"/>
                  <a:gd name="T42" fmla="*/ 82 w 102"/>
                  <a:gd name="T43" fmla="*/ 62 h 62"/>
                  <a:gd name="T44" fmla="*/ 84 w 102"/>
                  <a:gd name="T45" fmla="*/ 6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2" h="62">
                    <a:moveTo>
                      <a:pt x="84" y="60"/>
                    </a:moveTo>
                    <a:lnTo>
                      <a:pt x="84" y="60"/>
                    </a:lnTo>
                    <a:lnTo>
                      <a:pt x="90" y="54"/>
                    </a:lnTo>
                    <a:lnTo>
                      <a:pt x="96" y="44"/>
                    </a:lnTo>
                    <a:lnTo>
                      <a:pt x="102" y="30"/>
                    </a:lnTo>
                    <a:lnTo>
                      <a:pt x="102" y="30"/>
                    </a:lnTo>
                    <a:lnTo>
                      <a:pt x="84" y="36"/>
                    </a:lnTo>
                    <a:lnTo>
                      <a:pt x="84" y="36"/>
                    </a:lnTo>
                    <a:lnTo>
                      <a:pt x="82" y="0"/>
                    </a:lnTo>
                    <a:lnTo>
                      <a:pt x="82" y="0"/>
                    </a:lnTo>
                    <a:lnTo>
                      <a:pt x="66" y="28"/>
                    </a:lnTo>
                    <a:lnTo>
                      <a:pt x="66" y="28"/>
                    </a:lnTo>
                    <a:lnTo>
                      <a:pt x="32" y="2"/>
                    </a:lnTo>
                    <a:lnTo>
                      <a:pt x="32" y="2"/>
                    </a:lnTo>
                    <a:lnTo>
                      <a:pt x="48" y="38"/>
                    </a:lnTo>
                    <a:lnTo>
                      <a:pt x="48" y="38"/>
                    </a:lnTo>
                    <a:lnTo>
                      <a:pt x="0" y="36"/>
                    </a:lnTo>
                    <a:lnTo>
                      <a:pt x="0" y="36"/>
                    </a:lnTo>
                    <a:lnTo>
                      <a:pt x="6" y="38"/>
                    </a:lnTo>
                    <a:lnTo>
                      <a:pt x="82" y="62"/>
                    </a:lnTo>
                    <a:lnTo>
                      <a:pt x="82" y="62"/>
                    </a:lnTo>
                    <a:lnTo>
                      <a:pt x="82" y="62"/>
                    </a:lnTo>
                    <a:lnTo>
                      <a:pt x="84" y="6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5" name="Freeform 274">
                <a:extLst>
                  <a:ext uri="{FF2B5EF4-FFF2-40B4-BE49-F238E27FC236}">
                    <a16:creationId xmlns:a16="http://schemas.microsoft.com/office/drawing/2014/main" id="{43D5C09B-7DCB-400C-8E56-C2890550E848}"/>
                  </a:ext>
                </a:extLst>
              </p:cNvPr>
              <p:cNvSpPr>
                <a:spLocks/>
              </p:cNvSpPr>
              <p:nvPr/>
            </p:nvSpPr>
            <p:spPr bwMode="auto">
              <a:xfrm>
                <a:off x="4707559" y="6343224"/>
                <a:ext cx="44486" cy="45689"/>
              </a:xfrm>
              <a:custGeom>
                <a:avLst/>
                <a:gdLst>
                  <a:gd name="T0" fmla="*/ 52 w 74"/>
                  <a:gd name="T1" fmla="*/ 34 h 76"/>
                  <a:gd name="T2" fmla="*/ 52 w 74"/>
                  <a:gd name="T3" fmla="*/ 34 h 76"/>
                  <a:gd name="T4" fmla="*/ 32 w 74"/>
                  <a:gd name="T5" fmla="*/ 2 h 76"/>
                  <a:gd name="T6" fmla="*/ 32 w 74"/>
                  <a:gd name="T7" fmla="*/ 2 h 76"/>
                  <a:gd name="T8" fmla="*/ 32 w 74"/>
                  <a:gd name="T9" fmla="*/ 42 h 76"/>
                  <a:gd name="T10" fmla="*/ 32 w 74"/>
                  <a:gd name="T11" fmla="*/ 42 h 76"/>
                  <a:gd name="T12" fmla="*/ 0 w 74"/>
                  <a:gd name="T13" fmla="*/ 38 h 76"/>
                  <a:gd name="T14" fmla="*/ 0 w 74"/>
                  <a:gd name="T15" fmla="*/ 38 h 76"/>
                  <a:gd name="T16" fmla="*/ 28 w 74"/>
                  <a:gd name="T17" fmla="*/ 60 h 76"/>
                  <a:gd name="T18" fmla="*/ 28 w 74"/>
                  <a:gd name="T19" fmla="*/ 60 h 76"/>
                  <a:gd name="T20" fmla="*/ 12 w 74"/>
                  <a:gd name="T21" fmla="*/ 72 h 76"/>
                  <a:gd name="T22" fmla="*/ 12 w 74"/>
                  <a:gd name="T23" fmla="*/ 72 h 76"/>
                  <a:gd name="T24" fmla="*/ 26 w 74"/>
                  <a:gd name="T25" fmla="*/ 74 h 76"/>
                  <a:gd name="T26" fmla="*/ 48 w 74"/>
                  <a:gd name="T27" fmla="*/ 76 h 76"/>
                  <a:gd name="T28" fmla="*/ 74 w 74"/>
                  <a:gd name="T29" fmla="*/ 0 h 76"/>
                  <a:gd name="T30" fmla="*/ 74 w 74"/>
                  <a:gd name="T31" fmla="*/ 0 h 76"/>
                  <a:gd name="T32" fmla="*/ 52 w 74"/>
                  <a:gd name="T33" fmla="*/ 34 h 76"/>
                  <a:gd name="T34" fmla="*/ 52 w 74"/>
                  <a:gd name="T35" fmla="*/ 3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4" h="76">
                    <a:moveTo>
                      <a:pt x="52" y="34"/>
                    </a:moveTo>
                    <a:lnTo>
                      <a:pt x="52" y="34"/>
                    </a:lnTo>
                    <a:lnTo>
                      <a:pt x="32" y="2"/>
                    </a:lnTo>
                    <a:lnTo>
                      <a:pt x="32" y="2"/>
                    </a:lnTo>
                    <a:lnTo>
                      <a:pt x="32" y="42"/>
                    </a:lnTo>
                    <a:lnTo>
                      <a:pt x="32" y="42"/>
                    </a:lnTo>
                    <a:lnTo>
                      <a:pt x="0" y="38"/>
                    </a:lnTo>
                    <a:lnTo>
                      <a:pt x="0" y="38"/>
                    </a:lnTo>
                    <a:lnTo>
                      <a:pt x="28" y="60"/>
                    </a:lnTo>
                    <a:lnTo>
                      <a:pt x="28" y="60"/>
                    </a:lnTo>
                    <a:lnTo>
                      <a:pt x="12" y="72"/>
                    </a:lnTo>
                    <a:lnTo>
                      <a:pt x="12" y="72"/>
                    </a:lnTo>
                    <a:lnTo>
                      <a:pt x="26" y="74"/>
                    </a:lnTo>
                    <a:lnTo>
                      <a:pt x="48" y="76"/>
                    </a:lnTo>
                    <a:lnTo>
                      <a:pt x="74" y="0"/>
                    </a:lnTo>
                    <a:lnTo>
                      <a:pt x="74" y="0"/>
                    </a:lnTo>
                    <a:lnTo>
                      <a:pt x="52" y="34"/>
                    </a:lnTo>
                    <a:lnTo>
                      <a:pt x="52" y="3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6" name="Freeform 275">
                <a:extLst>
                  <a:ext uri="{FF2B5EF4-FFF2-40B4-BE49-F238E27FC236}">
                    <a16:creationId xmlns:a16="http://schemas.microsoft.com/office/drawing/2014/main" id="{3A29E187-5947-4ECB-8E0C-1C12014E2624}"/>
                  </a:ext>
                </a:extLst>
              </p:cNvPr>
              <p:cNvSpPr>
                <a:spLocks/>
              </p:cNvSpPr>
              <p:nvPr/>
            </p:nvSpPr>
            <p:spPr bwMode="auto">
              <a:xfrm>
                <a:off x="4736415" y="6340819"/>
                <a:ext cx="36070" cy="61319"/>
              </a:xfrm>
              <a:custGeom>
                <a:avLst/>
                <a:gdLst>
                  <a:gd name="T0" fmla="*/ 0 w 60"/>
                  <a:gd name="T1" fmla="*/ 82 h 102"/>
                  <a:gd name="T2" fmla="*/ 0 w 60"/>
                  <a:gd name="T3" fmla="*/ 82 h 102"/>
                  <a:gd name="T4" fmla="*/ 6 w 60"/>
                  <a:gd name="T5" fmla="*/ 88 h 102"/>
                  <a:gd name="T6" fmla="*/ 16 w 60"/>
                  <a:gd name="T7" fmla="*/ 94 h 102"/>
                  <a:gd name="T8" fmla="*/ 30 w 60"/>
                  <a:gd name="T9" fmla="*/ 102 h 102"/>
                  <a:gd name="T10" fmla="*/ 30 w 60"/>
                  <a:gd name="T11" fmla="*/ 102 h 102"/>
                  <a:gd name="T12" fmla="*/ 24 w 60"/>
                  <a:gd name="T13" fmla="*/ 82 h 102"/>
                  <a:gd name="T14" fmla="*/ 24 w 60"/>
                  <a:gd name="T15" fmla="*/ 82 h 102"/>
                  <a:gd name="T16" fmla="*/ 60 w 60"/>
                  <a:gd name="T17" fmla="*/ 84 h 102"/>
                  <a:gd name="T18" fmla="*/ 60 w 60"/>
                  <a:gd name="T19" fmla="*/ 84 h 102"/>
                  <a:gd name="T20" fmla="*/ 34 w 60"/>
                  <a:gd name="T21" fmla="*/ 66 h 102"/>
                  <a:gd name="T22" fmla="*/ 34 w 60"/>
                  <a:gd name="T23" fmla="*/ 66 h 102"/>
                  <a:gd name="T24" fmla="*/ 60 w 60"/>
                  <a:gd name="T25" fmla="*/ 34 h 102"/>
                  <a:gd name="T26" fmla="*/ 60 w 60"/>
                  <a:gd name="T27" fmla="*/ 34 h 102"/>
                  <a:gd name="T28" fmla="*/ 26 w 60"/>
                  <a:gd name="T29" fmla="*/ 46 h 102"/>
                  <a:gd name="T30" fmla="*/ 26 w 60"/>
                  <a:gd name="T31" fmla="*/ 46 h 102"/>
                  <a:gd name="T32" fmla="*/ 30 w 60"/>
                  <a:gd name="T33" fmla="*/ 0 h 102"/>
                  <a:gd name="T34" fmla="*/ 30 w 60"/>
                  <a:gd name="T35" fmla="*/ 0 h 102"/>
                  <a:gd name="T36" fmla="*/ 26 w 60"/>
                  <a:gd name="T37" fmla="*/ 4 h 102"/>
                  <a:gd name="T38" fmla="*/ 0 w 60"/>
                  <a:gd name="T39" fmla="*/ 80 h 102"/>
                  <a:gd name="T40" fmla="*/ 0 w 60"/>
                  <a:gd name="T41" fmla="*/ 80 h 102"/>
                  <a:gd name="T42" fmla="*/ 0 w 60"/>
                  <a:gd name="T43" fmla="*/ 80 h 102"/>
                  <a:gd name="T44" fmla="*/ 0 w 60"/>
                  <a:gd name="T45" fmla="*/ 8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102">
                    <a:moveTo>
                      <a:pt x="0" y="82"/>
                    </a:moveTo>
                    <a:lnTo>
                      <a:pt x="0" y="82"/>
                    </a:lnTo>
                    <a:lnTo>
                      <a:pt x="6" y="88"/>
                    </a:lnTo>
                    <a:lnTo>
                      <a:pt x="16" y="94"/>
                    </a:lnTo>
                    <a:lnTo>
                      <a:pt x="30" y="102"/>
                    </a:lnTo>
                    <a:lnTo>
                      <a:pt x="30" y="102"/>
                    </a:lnTo>
                    <a:lnTo>
                      <a:pt x="24" y="82"/>
                    </a:lnTo>
                    <a:lnTo>
                      <a:pt x="24" y="82"/>
                    </a:lnTo>
                    <a:lnTo>
                      <a:pt x="60" y="84"/>
                    </a:lnTo>
                    <a:lnTo>
                      <a:pt x="60" y="84"/>
                    </a:lnTo>
                    <a:lnTo>
                      <a:pt x="34" y="66"/>
                    </a:lnTo>
                    <a:lnTo>
                      <a:pt x="34" y="66"/>
                    </a:lnTo>
                    <a:lnTo>
                      <a:pt x="60" y="34"/>
                    </a:lnTo>
                    <a:lnTo>
                      <a:pt x="60" y="34"/>
                    </a:lnTo>
                    <a:lnTo>
                      <a:pt x="26" y="46"/>
                    </a:lnTo>
                    <a:lnTo>
                      <a:pt x="26" y="46"/>
                    </a:lnTo>
                    <a:lnTo>
                      <a:pt x="30" y="0"/>
                    </a:lnTo>
                    <a:lnTo>
                      <a:pt x="30" y="0"/>
                    </a:lnTo>
                    <a:lnTo>
                      <a:pt x="26" y="4"/>
                    </a:lnTo>
                    <a:lnTo>
                      <a:pt x="0" y="80"/>
                    </a:lnTo>
                    <a:lnTo>
                      <a:pt x="0" y="80"/>
                    </a:lnTo>
                    <a:lnTo>
                      <a:pt x="0" y="80"/>
                    </a:lnTo>
                    <a:lnTo>
                      <a:pt x="0" y="8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7" name="Freeform 276">
                <a:extLst>
                  <a:ext uri="{FF2B5EF4-FFF2-40B4-BE49-F238E27FC236}">
                    <a16:creationId xmlns:a16="http://schemas.microsoft.com/office/drawing/2014/main" id="{C97FEAEC-4537-4F61-8A10-B923A2E8D74A}"/>
                  </a:ext>
                </a:extLst>
              </p:cNvPr>
              <p:cNvSpPr>
                <a:spLocks/>
              </p:cNvSpPr>
              <p:nvPr/>
            </p:nvSpPr>
            <p:spPr bwMode="auto">
              <a:xfrm>
                <a:off x="4646240" y="6390114"/>
                <a:ext cx="43284" cy="56510"/>
              </a:xfrm>
              <a:custGeom>
                <a:avLst/>
                <a:gdLst>
                  <a:gd name="T0" fmla="*/ 18 w 72"/>
                  <a:gd name="T1" fmla="*/ 0 h 94"/>
                  <a:gd name="T2" fmla="*/ 18 w 72"/>
                  <a:gd name="T3" fmla="*/ 0 h 94"/>
                  <a:gd name="T4" fmla="*/ 38 w 72"/>
                  <a:gd name="T5" fmla="*/ 40 h 94"/>
                  <a:gd name="T6" fmla="*/ 38 w 72"/>
                  <a:gd name="T7" fmla="*/ 40 h 94"/>
                  <a:gd name="T8" fmla="*/ 0 w 72"/>
                  <a:gd name="T9" fmla="*/ 42 h 94"/>
                  <a:gd name="T10" fmla="*/ 0 w 72"/>
                  <a:gd name="T11" fmla="*/ 42 h 94"/>
                  <a:gd name="T12" fmla="*/ 36 w 72"/>
                  <a:gd name="T13" fmla="*/ 62 h 94"/>
                  <a:gd name="T14" fmla="*/ 36 w 72"/>
                  <a:gd name="T15" fmla="*/ 62 h 94"/>
                  <a:gd name="T16" fmla="*/ 18 w 72"/>
                  <a:gd name="T17" fmla="*/ 88 h 94"/>
                  <a:gd name="T18" fmla="*/ 18 w 72"/>
                  <a:gd name="T19" fmla="*/ 88 h 94"/>
                  <a:gd name="T20" fmla="*/ 50 w 72"/>
                  <a:gd name="T21" fmla="*/ 74 h 94"/>
                  <a:gd name="T22" fmla="*/ 50 w 72"/>
                  <a:gd name="T23" fmla="*/ 74 h 94"/>
                  <a:gd name="T24" fmla="*/ 52 w 72"/>
                  <a:gd name="T25" fmla="*/ 94 h 94"/>
                  <a:gd name="T26" fmla="*/ 52 w 72"/>
                  <a:gd name="T27" fmla="*/ 94 h 94"/>
                  <a:gd name="T28" fmla="*/ 62 w 72"/>
                  <a:gd name="T29" fmla="*/ 82 h 94"/>
                  <a:gd name="T30" fmla="*/ 72 w 72"/>
                  <a:gd name="T31" fmla="*/ 66 h 94"/>
                  <a:gd name="T32" fmla="*/ 72 w 72"/>
                  <a:gd name="T33" fmla="*/ 66 h 94"/>
                  <a:gd name="T34" fmla="*/ 18 w 72"/>
                  <a:gd name="T35" fmla="*/ 2 h 94"/>
                  <a:gd name="T36" fmla="*/ 18 w 72"/>
                  <a:gd name="T37" fmla="*/ 2 h 94"/>
                  <a:gd name="T38" fmla="*/ 18 w 72"/>
                  <a:gd name="T39" fmla="*/ 0 h 94"/>
                  <a:gd name="T40" fmla="*/ 18 w 72"/>
                  <a:gd name="T41" fmla="*/ 0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94">
                    <a:moveTo>
                      <a:pt x="18" y="0"/>
                    </a:moveTo>
                    <a:lnTo>
                      <a:pt x="18" y="0"/>
                    </a:lnTo>
                    <a:lnTo>
                      <a:pt x="38" y="40"/>
                    </a:lnTo>
                    <a:lnTo>
                      <a:pt x="38" y="40"/>
                    </a:lnTo>
                    <a:lnTo>
                      <a:pt x="0" y="42"/>
                    </a:lnTo>
                    <a:lnTo>
                      <a:pt x="0" y="42"/>
                    </a:lnTo>
                    <a:lnTo>
                      <a:pt x="36" y="62"/>
                    </a:lnTo>
                    <a:lnTo>
                      <a:pt x="36" y="62"/>
                    </a:lnTo>
                    <a:lnTo>
                      <a:pt x="18" y="88"/>
                    </a:lnTo>
                    <a:lnTo>
                      <a:pt x="18" y="88"/>
                    </a:lnTo>
                    <a:lnTo>
                      <a:pt x="50" y="74"/>
                    </a:lnTo>
                    <a:lnTo>
                      <a:pt x="50" y="74"/>
                    </a:lnTo>
                    <a:lnTo>
                      <a:pt x="52" y="94"/>
                    </a:lnTo>
                    <a:lnTo>
                      <a:pt x="52" y="94"/>
                    </a:lnTo>
                    <a:lnTo>
                      <a:pt x="62" y="82"/>
                    </a:lnTo>
                    <a:lnTo>
                      <a:pt x="72" y="66"/>
                    </a:lnTo>
                    <a:lnTo>
                      <a:pt x="72" y="66"/>
                    </a:lnTo>
                    <a:lnTo>
                      <a:pt x="18" y="2"/>
                    </a:lnTo>
                    <a:lnTo>
                      <a:pt x="18" y="2"/>
                    </a:lnTo>
                    <a:lnTo>
                      <a:pt x="18" y="0"/>
                    </a:lnTo>
                    <a:lnTo>
                      <a:pt x="18"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8" name="Freeform 277">
                <a:extLst>
                  <a:ext uri="{FF2B5EF4-FFF2-40B4-BE49-F238E27FC236}">
                    <a16:creationId xmlns:a16="http://schemas.microsoft.com/office/drawing/2014/main" id="{FBE6A11F-6347-4F19-BAFE-CD55299D3AC8}"/>
                  </a:ext>
                </a:extLst>
              </p:cNvPr>
              <p:cNvSpPr>
                <a:spLocks/>
              </p:cNvSpPr>
              <p:nvPr/>
            </p:nvSpPr>
            <p:spPr bwMode="auto">
              <a:xfrm>
                <a:off x="4657061" y="6384103"/>
                <a:ext cx="52902" cy="45689"/>
              </a:xfrm>
              <a:custGeom>
                <a:avLst/>
                <a:gdLst>
                  <a:gd name="T0" fmla="*/ 88 w 88"/>
                  <a:gd name="T1" fmla="*/ 24 h 76"/>
                  <a:gd name="T2" fmla="*/ 88 w 88"/>
                  <a:gd name="T3" fmla="*/ 24 h 76"/>
                  <a:gd name="T4" fmla="*/ 58 w 88"/>
                  <a:gd name="T5" fmla="*/ 40 h 76"/>
                  <a:gd name="T6" fmla="*/ 58 w 88"/>
                  <a:gd name="T7" fmla="*/ 40 h 76"/>
                  <a:gd name="T8" fmla="*/ 44 w 88"/>
                  <a:gd name="T9" fmla="*/ 0 h 76"/>
                  <a:gd name="T10" fmla="*/ 44 w 88"/>
                  <a:gd name="T11" fmla="*/ 0 h 76"/>
                  <a:gd name="T12" fmla="*/ 38 w 88"/>
                  <a:gd name="T13" fmla="*/ 38 h 76"/>
                  <a:gd name="T14" fmla="*/ 38 w 88"/>
                  <a:gd name="T15" fmla="*/ 38 h 76"/>
                  <a:gd name="T16" fmla="*/ 0 w 88"/>
                  <a:gd name="T17" fmla="*/ 12 h 76"/>
                  <a:gd name="T18" fmla="*/ 54 w 88"/>
                  <a:gd name="T19" fmla="*/ 76 h 76"/>
                  <a:gd name="T20" fmla="*/ 56 w 88"/>
                  <a:gd name="T21" fmla="*/ 76 h 76"/>
                  <a:gd name="T22" fmla="*/ 56 w 88"/>
                  <a:gd name="T23" fmla="*/ 76 h 76"/>
                  <a:gd name="T24" fmla="*/ 64 w 88"/>
                  <a:gd name="T25" fmla="*/ 74 h 76"/>
                  <a:gd name="T26" fmla="*/ 74 w 88"/>
                  <a:gd name="T27" fmla="*/ 68 h 76"/>
                  <a:gd name="T28" fmla="*/ 88 w 88"/>
                  <a:gd name="T29" fmla="*/ 60 h 76"/>
                  <a:gd name="T30" fmla="*/ 88 w 88"/>
                  <a:gd name="T31" fmla="*/ 60 h 76"/>
                  <a:gd name="T32" fmla="*/ 68 w 88"/>
                  <a:gd name="T33" fmla="*/ 54 h 76"/>
                  <a:gd name="T34" fmla="*/ 68 w 88"/>
                  <a:gd name="T35" fmla="*/ 54 h 76"/>
                  <a:gd name="T36" fmla="*/ 88 w 88"/>
                  <a:gd name="T37" fmla="*/ 24 h 76"/>
                  <a:gd name="T38" fmla="*/ 88 w 88"/>
                  <a:gd name="T39" fmla="*/ 2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8" h="76">
                    <a:moveTo>
                      <a:pt x="88" y="24"/>
                    </a:moveTo>
                    <a:lnTo>
                      <a:pt x="88" y="24"/>
                    </a:lnTo>
                    <a:lnTo>
                      <a:pt x="58" y="40"/>
                    </a:lnTo>
                    <a:lnTo>
                      <a:pt x="58" y="40"/>
                    </a:lnTo>
                    <a:lnTo>
                      <a:pt x="44" y="0"/>
                    </a:lnTo>
                    <a:lnTo>
                      <a:pt x="44" y="0"/>
                    </a:lnTo>
                    <a:lnTo>
                      <a:pt x="38" y="38"/>
                    </a:lnTo>
                    <a:lnTo>
                      <a:pt x="38" y="38"/>
                    </a:lnTo>
                    <a:lnTo>
                      <a:pt x="0" y="12"/>
                    </a:lnTo>
                    <a:lnTo>
                      <a:pt x="54" y="76"/>
                    </a:lnTo>
                    <a:lnTo>
                      <a:pt x="56" y="76"/>
                    </a:lnTo>
                    <a:lnTo>
                      <a:pt x="56" y="76"/>
                    </a:lnTo>
                    <a:lnTo>
                      <a:pt x="64" y="74"/>
                    </a:lnTo>
                    <a:lnTo>
                      <a:pt x="74" y="68"/>
                    </a:lnTo>
                    <a:lnTo>
                      <a:pt x="88" y="60"/>
                    </a:lnTo>
                    <a:lnTo>
                      <a:pt x="88" y="60"/>
                    </a:lnTo>
                    <a:lnTo>
                      <a:pt x="68" y="54"/>
                    </a:lnTo>
                    <a:lnTo>
                      <a:pt x="68" y="54"/>
                    </a:lnTo>
                    <a:lnTo>
                      <a:pt x="88" y="24"/>
                    </a:lnTo>
                    <a:lnTo>
                      <a:pt x="88" y="2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89" name="Freeform 278">
                <a:extLst>
                  <a:ext uri="{FF2B5EF4-FFF2-40B4-BE49-F238E27FC236}">
                    <a16:creationId xmlns:a16="http://schemas.microsoft.com/office/drawing/2014/main" id="{F36F93A7-C64F-458D-96D2-D65A09529E62}"/>
                  </a:ext>
                </a:extLst>
              </p:cNvPr>
              <p:cNvSpPr>
                <a:spLocks/>
              </p:cNvSpPr>
              <p:nvPr/>
            </p:nvSpPr>
            <p:spPr bwMode="auto">
              <a:xfrm>
                <a:off x="4758057" y="6394924"/>
                <a:ext cx="54105" cy="32463"/>
              </a:xfrm>
              <a:custGeom>
                <a:avLst/>
                <a:gdLst>
                  <a:gd name="T0" fmla="*/ 90 w 90"/>
                  <a:gd name="T1" fmla="*/ 26 h 54"/>
                  <a:gd name="T2" fmla="*/ 90 w 90"/>
                  <a:gd name="T3" fmla="*/ 26 h 54"/>
                  <a:gd name="T4" fmla="*/ 50 w 90"/>
                  <a:gd name="T5" fmla="*/ 32 h 54"/>
                  <a:gd name="T6" fmla="*/ 50 w 90"/>
                  <a:gd name="T7" fmla="*/ 32 h 54"/>
                  <a:gd name="T8" fmla="*/ 60 w 90"/>
                  <a:gd name="T9" fmla="*/ 0 h 54"/>
                  <a:gd name="T10" fmla="*/ 60 w 90"/>
                  <a:gd name="T11" fmla="*/ 0 h 54"/>
                  <a:gd name="T12" fmla="*/ 32 w 90"/>
                  <a:gd name="T13" fmla="*/ 24 h 54"/>
                  <a:gd name="T14" fmla="*/ 32 w 90"/>
                  <a:gd name="T15" fmla="*/ 24 h 54"/>
                  <a:gd name="T16" fmla="*/ 16 w 90"/>
                  <a:gd name="T17" fmla="*/ 0 h 54"/>
                  <a:gd name="T18" fmla="*/ 16 w 90"/>
                  <a:gd name="T19" fmla="*/ 0 h 54"/>
                  <a:gd name="T20" fmla="*/ 18 w 90"/>
                  <a:gd name="T21" fmla="*/ 32 h 54"/>
                  <a:gd name="T22" fmla="*/ 18 w 90"/>
                  <a:gd name="T23" fmla="*/ 32 h 54"/>
                  <a:gd name="T24" fmla="*/ 0 w 90"/>
                  <a:gd name="T25" fmla="*/ 28 h 54"/>
                  <a:gd name="T26" fmla="*/ 0 w 90"/>
                  <a:gd name="T27" fmla="*/ 28 h 54"/>
                  <a:gd name="T28" fmla="*/ 8 w 90"/>
                  <a:gd name="T29" fmla="*/ 40 h 54"/>
                  <a:gd name="T30" fmla="*/ 18 w 90"/>
                  <a:gd name="T31" fmla="*/ 54 h 54"/>
                  <a:gd name="T32" fmla="*/ 18 w 90"/>
                  <a:gd name="T33" fmla="*/ 54 h 54"/>
                  <a:gd name="T34" fmla="*/ 88 w 90"/>
                  <a:gd name="T35" fmla="*/ 28 h 54"/>
                  <a:gd name="T36" fmla="*/ 88 w 90"/>
                  <a:gd name="T37" fmla="*/ 28 h 54"/>
                  <a:gd name="T38" fmla="*/ 90 w 90"/>
                  <a:gd name="T39" fmla="*/ 26 h 54"/>
                  <a:gd name="T40" fmla="*/ 90 w 90"/>
                  <a:gd name="T41"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54">
                    <a:moveTo>
                      <a:pt x="90" y="26"/>
                    </a:moveTo>
                    <a:lnTo>
                      <a:pt x="90" y="26"/>
                    </a:lnTo>
                    <a:lnTo>
                      <a:pt x="50" y="32"/>
                    </a:lnTo>
                    <a:lnTo>
                      <a:pt x="50" y="32"/>
                    </a:lnTo>
                    <a:lnTo>
                      <a:pt x="60" y="0"/>
                    </a:lnTo>
                    <a:lnTo>
                      <a:pt x="60" y="0"/>
                    </a:lnTo>
                    <a:lnTo>
                      <a:pt x="32" y="24"/>
                    </a:lnTo>
                    <a:lnTo>
                      <a:pt x="32" y="24"/>
                    </a:lnTo>
                    <a:lnTo>
                      <a:pt x="16" y="0"/>
                    </a:lnTo>
                    <a:lnTo>
                      <a:pt x="16" y="0"/>
                    </a:lnTo>
                    <a:lnTo>
                      <a:pt x="18" y="32"/>
                    </a:lnTo>
                    <a:lnTo>
                      <a:pt x="18" y="32"/>
                    </a:lnTo>
                    <a:lnTo>
                      <a:pt x="0" y="28"/>
                    </a:lnTo>
                    <a:lnTo>
                      <a:pt x="0" y="28"/>
                    </a:lnTo>
                    <a:lnTo>
                      <a:pt x="8" y="40"/>
                    </a:lnTo>
                    <a:lnTo>
                      <a:pt x="18" y="54"/>
                    </a:lnTo>
                    <a:lnTo>
                      <a:pt x="18" y="54"/>
                    </a:lnTo>
                    <a:lnTo>
                      <a:pt x="88" y="28"/>
                    </a:lnTo>
                    <a:lnTo>
                      <a:pt x="88" y="28"/>
                    </a:lnTo>
                    <a:lnTo>
                      <a:pt x="90" y="26"/>
                    </a:lnTo>
                    <a:lnTo>
                      <a:pt x="90" y="2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0" name="Freeform 279">
                <a:extLst>
                  <a:ext uri="{FF2B5EF4-FFF2-40B4-BE49-F238E27FC236}">
                    <a16:creationId xmlns:a16="http://schemas.microsoft.com/office/drawing/2014/main" id="{0FE1289F-18F7-4B5B-AC8C-26DB707DF745}"/>
                  </a:ext>
                </a:extLst>
              </p:cNvPr>
              <p:cNvSpPr>
                <a:spLocks/>
              </p:cNvSpPr>
              <p:nvPr/>
            </p:nvSpPr>
            <p:spPr bwMode="auto">
              <a:xfrm>
                <a:off x="4768878" y="6411756"/>
                <a:ext cx="42082" cy="40879"/>
              </a:xfrm>
              <a:custGeom>
                <a:avLst/>
                <a:gdLst>
                  <a:gd name="T0" fmla="*/ 34 w 70"/>
                  <a:gd name="T1" fmla="*/ 68 h 68"/>
                  <a:gd name="T2" fmla="*/ 34 w 70"/>
                  <a:gd name="T3" fmla="*/ 68 h 68"/>
                  <a:gd name="T4" fmla="*/ 30 w 70"/>
                  <a:gd name="T5" fmla="*/ 40 h 68"/>
                  <a:gd name="T6" fmla="*/ 30 w 70"/>
                  <a:gd name="T7" fmla="*/ 40 h 68"/>
                  <a:gd name="T8" fmla="*/ 68 w 70"/>
                  <a:gd name="T9" fmla="*/ 38 h 68"/>
                  <a:gd name="T10" fmla="*/ 68 w 70"/>
                  <a:gd name="T11" fmla="*/ 38 h 68"/>
                  <a:gd name="T12" fmla="*/ 38 w 70"/>
                  <a:gd name="T13" fmla="*/ 22 h 68"/>
                  <a:gd name="T14" fmla="*/ 38 w 70"/>
                  <a:gd name="T15" fmla="*/ 22 h 68"/>
                  <a:gd name="T16" fmla="*/ 70 w 70"/>
                  <a:gd name="T17" fmla="*/ 0 h 68"/>
                  <a:gd name="T18" fmla="*/ 0 w 70"/>
                  <a:gd name="T19" fmla="*/ 26 h 68"/>
                  <a:gd name="T20" fmla="*/ 0 w 70"/>
                  <a:gd name="T21" fmla="*/ 28 h 68"/>
                  <a:gd name="T22" fmla="*/ 0 w 70"/>
                  <a:gd name="T23" fmla="*/ 28 h 68"/>
                  <a:gd name="T24" fmla="*/ 0 w 70"/>
                  <a:gd name="T25" fmla="*/ 34 h 68"/>
                  <a:gd name="T26" fmla="*/ 2 w 70"/>
                  <a:gd name="T27" fmla="*/ 46 h 68"/>
                  <a:gd name="T28" fmla="*/ 4 w 70"/>
                  <a:gd name="T29" fmla="*/ 58 h 68"/>
                  <a:gd name="T30" fmla="*/ 4 w 70"/>
                  <a:gd name="T31" fmla="*/ 58 h 68"/>
                  <a:gd name="T32" fmla="*/ 14 w 70"/>
                  <a:gd name="T33" fmla="*/ 44 h 68"/>
                  <a:gd name="T34" fmla="*/ 14 w 70"/>
                  <a:gd name="T35" fmla="*/ 44 h 68"/>
                  <a:gd name="T36" fmla="*/ 34 w 70"/>
                  <a:gd name="T37" fmla="*/ 68 h 68"/>
                  <a:gd name="T38" fmla="*/ 34 w 70"/>
                  <a:gd name="T39"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68">
                    <a:moveTo>
                      <a:pt x="34" y="68"/>
                    </a:moveTo>
                    <a:lnTo>
                      <a:pt x="34" y="68"/>
                    </a:lnTo>
                    <a:lnTo>
                      <a:pt x="30" y="40"/>
                    </a:lnTo>
                    <a:lnTo>
                      <a:pt x="30" y="40"/>
                    </a:lnTo>
                    <a:lnTo>
                      <a:pt x="68" y="38"/>
                    </a:lnTo>
                    <a:lnTo>
                      <a:pt x="68" y="38"/>
                    </a:lnTo>
                    <a:lnTo>
                      <a:pt x="38" y="22"/>
                    </a:lnTo>
                    <a:lnTo>
                      <a:pt x="38" y="22"/>
                    </a:lnTo>
                    <a:lnTo>
                      <a:pt x="70" y="0"/>
                    </a:lnTo>
                    <a:lnTo>
                      <a:pt x="0" y="26"/>
                    </a:lnTo>
                    <a:lnTo>
                      <a:pt x="0" y="28"/>
                    </a:lnTo>
                    <a:lnTo>
                      <a:pt x="0" y="28"/>
                    </a:lnTo>
                    <a:lnTo>
                      <a:pt x="0" y="34"/>
                    </a:lnTo>
                    <a:lnTo>
                      <a:pt x="2" y="46"/>
                    </a:lnTo>
                    <a:lnTo>
                      <a:pt x="4" y="58"/>
                    </a:lnTo>
                    <a:lnTo>
                      <a:pt x="4" y="58"/>
                    </a:lnTo>
                    <a:lnTo>
                      <a:pt x="14" y="44"/>
                    </a:lnTo>
                    <a:lnTo>
                      <a:pt x="14" y="44"/>
                    </a:lnTo>
                    <a:lnTo>
                      <a:pt x="34" y="68"/>
                    </a:lnTo>
                    <a:lnTo>
                      <a:pt x="34" y="68"/>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1" name="Freeform 280">
                <a:extLst>
                  <a:ext uri="{FF2B5EF4-FFF2-40B4-BE49-F238E27FC236}">
                    <a16:creationId xmlns:a16="http://schemas.microsoft.com/office/drawing/2014/main" id="{66D45760-D6FD-4B6B-8EA9-E7A68A29BEFF}"/>
                  </a:ext>
                </a:extLst>
              </p:cNvPr>
              <p:cNvSpPr>
                <a:spLocks/>
              </p:cNvSpPr>
              <p:nvPr/>
            </p:nvSpPr>
            <p:spPr bwMode="auto">
              <a:xfrm>
                <a:off x="4773687" y="6340819"/>
                <a:ext cx="43284" cy="40879"/>
              </a:xfrm>
              <a:custGeom>
                <a:avLst/>
                <a:gdLst>
                  <a:gd name="T0" fmla="*/ 72 w 72"/>
                  <a:gd name="T1" fmla="*/ 0 h 68"/>
                  <a:gd name="T2" fmla="*/ 72 w 72"/>
                  <a:gd name="T3" fmla="*/ 0 h 68"/>
                  <a:gd name="T4" fmla="*/ 46 w 72"/>
                  <a:gd name="T5" fmla="*/ 30 h 68"/>
                  <a:gd name="T6" fmla="*/ 46 w 72"/>
                  <a:gd name="T7" fmla="*/ 30 h 68"/>
                  <a:gd name="T8" fmla="*/ 30 w 72"/>
                  <a:gd name="T9" fmla="*/ 0 h 68"/>
                  <a:gd name="T10" fmla="*/ 30 w 72"/>
                  <a:gd name="T11" fmla="*/ 0 h 68"/>
                  <a:gd name="T12" fmla="*/ 28 w 72"/>
                  <a:gd name="T13" fmla="*/ 36 h 68"/>
                  <a:gd name="T14" fmla="*/ 28 w 72"/>
                  <a:gd name="T15" fmla="*/ 36 h 68"/>
                  <a:gd name="T16" fmla="*/ 0 w 72"/>
                  <a:gd name="T17" fmla="*/ 30 h 68"/>
                  <a:gd name="T18" fmla="*/ 0 w 72"/>
                  <a:gd name="T19" fmla="*/ 30 h 68"/>
                  <a:gd name="T20" fmla="*/ 22 w 72"/>
                  <a:gd name="T21" fmla="*/ 52 h 68"/>
                  <a:gd name="T22" fmla="*/ 22 w 72"/>
                  <a:gd name="T23" fmla="*/ 52 h 68"/>
                  <a:gd name="T24" fmla="*/ 8 w 72"/>
                  <a:gd name="T25" fmla="*/ 62 h 68"/>
                  <a:gd name="T26" fmla="*/ 8 w 72"/>
                  <a:gd name="T27" fmla="*/ 62 h 68"/>
                  <a:gd name="T28" fmla="*/ 20 w 72"/>
                  <a:gd name="T29" fmla="*/ 64 h 68"/>
                  <a:gd name="T30" fmla="*/ 38 w 72"/>
                  <a:gd name="T31" fmla="*/ 68 h 68"/>
                  <a:gd name="T32" fmla="*/ 38 w 72"/>
                  <a:gd name="T33" fmla="*/ 68 h 68"/>
                  <a:gd name="T34" fmla="*/ 72 w 72"/>
                  <a:gd name="T35" fmla="*/ 0 h 68"/>
                  <a:gd name="T36" fmla="*/ 72 w 72"/>
                  <a:gd name="T37" fmla="*/ 0 h 68"/>
                  <a:gd name="T38" fmla="*/ 72 w 72"/>
                  <a:gd name="T39" fmla="*/ 0 h 68"/>
                  <a:gd name="T40" fmla="*/ 72 w 72"/>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2" h="68">
                    <a:moveTo>
                      <a:pt x="72" y="0"/>
                    </a:moveTo>
                    <a:lnTo>
                      <a:pt x="72" y="0"/>
                    </a:lnTo>
                    <a:lnTo>
                      <a:pt x="46" y="30"/>
                    </a:lnTo>
                    <a:lnTo>
                      <a:pt x="46" y="30"/>
                    </a:lnTo>
                    <a:lnTo>
                      <a:pt x="30" y="0"/>
                    </a:lnTo>
                    <a:lnTo>
                      <a:pt x="30" y="0"/>
                    </a:lnTo>
                    <a:lnTo>
                      <a:pt x="28" y="36"/>
                    </a:lnTo>
                    <a:lnTo>
                      <a:pt x="28" y="36"/>
                    </a:lnTo>
                    <a:lnTo>
                      <a:pt x="0" y="30"/>
                    </a:lnTo>
                    <a:lnTo>
                      <a:pt x="0" y="30"/>
                    </a:lnTo>
                    <a:lnTo>
                      <a:pt x="22" y="52"/>
                    </a:lnTo>
                    <a:lnTo>
                      <a:pt x="22" y="52"/>
                    </a:lnTo>
                    <a:lnTo>
                      <a:pt x="8" y="62"/>
                    </a:lnTo>
                    <a:lnTo>
                      <a:pt x="8" y="62"/>
                    </a:lnTo>
                    <a:lnTo>
                      <a:pt x="20" y="64"/>
                    </a:lnTo>
                    <a:lnTo>
                      <a:pt x="38" y="68"/>
                    </a:lnTo>
                    <a:lnTo>
                      <a:pt x="38" y="68"/>
                    </a:lnTo>
                    <a:lnTo>
                      <a:pt x="72" y="0"/>
                    </a:lnTo>
                    <a:lnTo>
                      <a:pt x="72" y="0"/>
                    </a:lnTo>
                    <a:lnTo>
                      <a:pt x="72" y="0"/>
                    </a:lnTo>
                    <a:lnTo>
                      <a:pt x="72"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2" name="Freeform 281">
                <a:extLst>
                  <a:ext uri="{FF2B5EF4-FFF2-40B4-BE49-F238E27FC236}">
                    <a16:creationId xmlns:a16="http://schemas.microsoft.com/office/drawing/2014/main" id="{943D5EF3-C13D-4957-8195-94E8D462FFC1}"/>
                  </a:ext>
                </a:extLst>
              </p:cNvPr>
              <p:cNvSpPr>
                <a:spLocks/>
              </p:cNvSpPr>
              <p:nvPr/>
            </p:nvSpPr>
            <p:spPr bwMode="auto">
              <a:xfrm>
                <a:off x="4796532" y="6340819"/>
                <a:ext cx="34868" cy="54105"/>
              </a:xfrm>
              <a:custGeom>
                <a:avLst/>
                <a:gdLst>
                  <a:gd name="T0" fmla="*/ 54 w 58"/>
                  <a:gd name="T1" fmla="*/ 76 h 90"/>
                  <a:gd name="T2" fmla="*/ 54 w 58"/>
                  <a:gd name="T3" fmla="*/ 76 h 90"/>
                  <a:gd name="T4" fmla="*/ 32 w 58"/>
                  <a:gd name="T5" fmla="*/ 58 h 90"/>
                  <a:gd name="T6" fmla="*/ 32 w 58"/>
                  <a:gd name="T7" fmla="*/ 58 h 90"/>
                  <a:gd name="T8" fmla="*/ 58 w 58"/>
                  <a:gd name="T9" fmla="*/ 32 h 90"/>
                  <a:gd name="T10" fmla="*/ 58 w 58"/>
                  <a:gd name="T11" fmla="*/ 32 h 90"/>
                  <a:gd name="T12" fmla="*/ 26 w 58"/>
                  <a:gd name="T13" fmla="*/ 40 h 90"/>
                  <a:gd name="T14" fmla="*/ 26 w 58"/>
                  <a:gd name="T15" fmla="*/ 40 h 90"/>
                  <a:gd name="T16" fmla="*/ 34 w 58"/>
                  <a:gd name="T17" fmla="*/ 0 h 90"/>
                  <a:gd name="T18" fmla="*/ 0 w 58"/>
                  <a:gd name="T19" fmla="*/ 68 h 90"/>
                  <a:gd name="T20" fmla="*/ 0 w 58"/>
                  <a:gd name="T21" fmla="*/ 70 h 90"/>
                  <a:gd name="T22" fmla="*/ 0 w 58"/>
                  <a:gd name="T23" fmla="*/ 70 h 90"/>
                  <a:gd name="T24" fmla="*/ 6 w 58"/>
                  <a:gd name="T25" fmla="*/ 74 h 90"/>
                  <a:gd name="T26" fmla="*/ 14 w 58"/>
                  <a:gd name="T27" fmla="*/ 82 h 90"/>
                  <a:gd name="T28" fmla="*/ 26 w 58"/>
                  <a:gd name="T29" fmla="*/ 90 h 90"/>
                  <a:gd name="T30" fmla="*/ 26 w 58"/>
                  <a:gd name="T31" fmla="*/ 90 h 90"/>
                  <a:gd name="T32" fmla="*/ 22 w 58"/>
                  <a:gd name="T33" fmla="*/ 72 h 90"/>
                  <a:gd name="T34" fmla="*/ 22 w 58"/>
                  <a:gd name="T35" fmla="*/ 72 h 90"/>
                  <a:gd name="T36" fmla="*/ 54 w 58"/>
                  <a:gd name="T37" fmla="*/ 76 h 90"/>
                  <a:gd name="T38" fmla="*/ 54 w 58"/>
                  <a:gd name="T39" fmla="*/ 76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90">
                    <a:moveTo>
                      <a:pt x="54" y="76"/>
                    </a:moveTo>
                    <a:lnTo>
                      <a:pt x="54" y="76"/>
                    </a:lnTo>
                    <a:lnTo>
                      <a:pt x="32" y="58"/>
                    </a:lnTo>
                    <a:lnTo>
                      <a:pt x="32" y="58"/>
                    </a:lnTo>
                    <a:lnTo>
                      <a:pt x="58" y="32"/>
                    </a:lnTo>
                    <a:lnTo>
                      <a:pt x="58" y="32"/>
                    </a:lnTo>
                    <a:lnTo>
                      <a:pt x="26" y="40"/>
                    </a:lnTo>
                    <a:lnTo>
                      <a:pt x="26" y="40"/>
                    </a:lnTo>
                    <a:lnTo>
                      <a:pt x="34" y="0"/>
                    </a:lnTo>
                    <a:lnTo>
                      <a:pt x="0" y="68"/>
                    </a:lnTo>
                    <a:lnTo>
                      <a:pt x="0" y="70"/>
                    </a:lnTo>
                    <a:lnTo>
                      <a:pt x="0" y="70"/>
                    </a:lnTo>
                    <a:lnTo>
                      <a:pt x="6" y="74"/>
                    </a:lnTo>
                    <a:lnTo>
                      <a:pt x="14" y="82"/>
                    </a:lnTo>
                    <a:lnTo>
                      <a:pt x="26" y="90"/>
                    </a:lnTo>
                    <a:lnTo>
                      <a:pt x="26" y="90"/>
                    </a:lnTo>
                    <a:lnTo>
                      <a:pt x="22" y="72"/>
                    </a:lnTo>
                    <a:lnTo>
                      <a:pt x="22" y="72"/>
                    </a:lnTo>
                    <a:lnTo>
                      <a:pt x="54" y="76"/>
                    </a:lnTo>
                    <a:lnTo>
                      <a:pt x="54" y="7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3" name="Freeform 282">
                <a:extLst>
                  <a:ext uri="{FF2B5EF4-FFF2-40B4-BE49-F238E27FC236}">
                    <a16:creationId xmlns:a16="http://schemas.microsoft.com/office/drawing/2014/main" id="{3BA34986-DC8C-4FD2-A50A-9D0C3DA9D64E}"/>
                  </a:ext>
                </a:extLst>
              </p:cNvPr>
              <p:cNvSpPr>
                <a:spLocks/>
              </p:cNvSpPr>
              <p:nvPr/>
            </p:nvSpPr>
            <p:spPr bwMode="auto">
              <a:xfrm>
                <a:off x="4596945" y="6422577"/>
                <a:ext cx="32463" cy="31261"/>
              </a:xfrm>
              <a:custGeom>
                <a:avLst/>
                <a:gdLst>
                  <a:gd name="T0" fmla="*/ 54 w 54"/>
                  <a:gd name="T1" fmla="*/ 0 h 52"/>
                  <a:gd name="T2" fmla="*/ 54 w 54"/>
                  <a:gd name="T3" fmla="*/ 0 h 52"/>
                  <a:gd name="T4" fmla="*/ 34 w 54"/>
                  <a:gd name="T5" fmla="*/ 24 h 52"/>
                  <a:gd name="T6" fmla="*/ 34 w 54"/>
                  <a:gd name="T7" fmla="*/ 24 h 52"/>
                  <a:gd name="T8" fmla="*/ 24 w 54"/>
                  <a:gd name="T9" fmla="*/ 0 h 52"/>
                  <a:gd name="T10" fmla="*/ 24 w 54"/>
                  <a:gd name="T11" fmla="*/ 0 h 52"/>
                  <a:gd name="T12" fmla="*/ 22 w 54"/>
                  <a:gd name="T13" fmla="*/ 28 h 52"/>
                  <a:gd name="T14" fmla="*/ 22 w 54"/>
                  <a:gd name="T15" fmla="*/ 28 h 52"/>
                  <a:gd name="T16" fmla="*/ 0 w 54"/>
                  <a:gd name="T17" fmla="*/ 24 h 52"/>
                  <a:gd name="T18" fmla="*/ 0 w 54"/>
                  <a:gd name="T19" fmla="*/ 24 h 52"/>
                  <a:gd name="T20" fmla="*/ 18 w 54"/>
                  <a:gd name="T21" fmla="*/ 40 h 52"/>
                  <a:gd name="T22" fmla="*/ 18 w 54"/>
                  <a:gd name="T23" fmla="*/ 40 h 52"/>
                  <a:gd name="T24" fmla="*/ 6 w 54"/>
                  <a:gd name="T25" fmla="*/ 48 h 52"/>
                  <a:gd name="T26" fmla="*/ 6 w 54"/>
                  <a:gd name="T27" fmla="*/ 48 h 52"/>
                  <a:gd name="T28" fmla="*/ 16 w 54"/>
                  <a:gd name="T29" fmla="*/ 50 h 52"/>
                  <a:gd name="T30" fmla="*/ 28 w 54"/>
                  <a:gd name="T31" fmla="*/ 52 h 52"/>
                  <a:gd name="T32" fmla="*/ 28 w 54"/>
                  <a:gd name="T33" fmla="*/ 52 h 52"/>
                  <a:gd name="T34" fmla="*/ 54 w 54"/>
                  <a:gd name="T35" fmla="*/ 2 h 52"/>
                  <a:gd name="T36" fmla="*/ 54 w 54"/>
                  <a:gd name="T37" fmla="*/ 2 h 52"/>
                  <a:gd name="T38" fmla="*/ 54 w 54"/>
                  <a:gd name="T39" fmla="*/ 0 h 52"/>
                  <a:gd name="T40" fmla="*/ 54 w 54"/>
                  <a:gd name="T4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2">
                    <a:moveTo>
                      <a:pt x="54" y="0"/>
                    </a:moveTo>
                    <a:lnTo>
                      <a:pt x="54" y="0"/>
                    </a:lnTo>
                    <a:lnTo>
                      <a:pt x="34" y="24"/>
                    </a:lnTo>
                    <a:lnTo>
                      <a:pt x="34" y="24"/>
                    </a:lnTo>
                    <a:lnTo>
                      <a:pt x="24" y="0"/>
                    </a:lnTo>
                    <a:lnTo>
                      <a:pt x="24" y="0"/>
                    </a:lnTo>
                    <a:lnTo>
                      <a:pt x="22" y="28"/>
                    </a:lnTo>
                    <a:lnTo>
                      <a:pt x="22" y="28"/>
                    </a:lnTo>
                    <a:lnTo>
                      <a:pt x="0" y="24"/>
                    </a:lnTo>
                    <a:lnTo>
                      <a:pt x="0" y="24"/>
                    </a:lnTo>
                    <a:lnTo>
                      <a:pt x="18" y="40"/>
                    </a:lnTo>
                    <a:lnTo>
                      <a:pt x="18" y="40"/>
                    </a:lnTo>
                    <a:lnTo>
                      <a:pt x="6" y="48"/>
                    </a:lnTo>
                    <a:lnTo>
                      <a:pt x="6" y="48"/>
                    </a:lnTo>
                    <a:lnTo>
                      <a:pt x="16" y="50"/>
                    </a:lnTo>
                    <a:lnTo>
                      <a:pt x="28" y="52"/>
                    </a:lnTo>
                    <a:lnTo>
                      <a:pt x="28" y="52"/>
                    </a:lnTo>
                    <a:lnTo>
                      <a:pt x="54" y="2"/>
                    </a:lnTo>
                    <a:lnTo>
                      <a:pt x="54" y="2"/>
                    </a:lnTo>
                    <a:lnTo>
                      <a:pt x="54" y="0"/>
                    </a:lnTo>
                    <a:lnTo>
                      <a:pt x="54"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4" name="Freeform 283">
                <a:extLst>
                  <a:ext uri="{FF2B5EF4-FFF2-40B4-BE49-F238E27FC236}">
                    <a16:creationId xmlns:a16="http://schemas.microsoft.com/office/drawing/2014/main" id="{4F3554CB-5D6B-4E60-9B24-AC2BF13C50AA}"/>
                  </a:ext>
                </a:extLst>
              </p:cNvPr>
              <p:cNvSpPr>
                <a:spLocks/>
              </p:cNvSpPr>
              <p:nvPr/>
            </p:nvSpPr>
            <p:spPr bwMode="auto">
              <a:xfrm>
                <a:off x="4613778" y="6423780"/>
                <a:ext cx="26451" cy="39677"/>
              </a:xfrm>
              <a:custGeom>
                <a:avLst/>
                <a:gdLst>
                  <a:gd name="T0" fmla="*/ 42 w 44"/>
                  <a:gd name="T1" fmla="*/ 56 h 66"/>
                  <a:gd name="T2" fmla="*/ 42 w 44"/>
                  <a:gd name="T3" fmla="*/ 56 h 66"/>
                  <a:gd name="T4" fmla="*/ 24 w 44"/>
                  <a:gd name="T5" fmla="*/ 42 h 66"/>
                  <a:gd name="T6" fmla="*/ 24 w 44"/>
                  <a:gd name="T7" fmla="*/ 42 h 66"/>
                  <a:gd name="T8" fmla="*/ 44 w 44"/>
                  <a:gd name="T9" fmla="*/ 22 h 66"/>
                  <a:gd name="T10" fmla="*/ 44 w 44"/>
                  <a:gd name="T11" fmla="*/ 22 h 66"/>
                  <a:gd name="T12" fmla="*/ 20 w 44"/>
                  <a:gd name="T13" fmla="*/ 28 h 66"/>
                  <a:gd name="T14" fmla="*/ 20 w 44"/>
                  <a:gd name="T15" fmla="*/ 28 h 66"/>
                  <a:gd name="T16" fmla="*/ 26 w 44"/>
                  <a:gd name="T17" fmla="*/ 0 h 66"/>
                  <a:gd name="T18" fmla="*/ 0 w 44"/>
                  <a:gd name="T19" fmla="*/ 50 h 66"/>
                  <a:gd name="T20" fmla="*/ 2 w 44"/>
                  <a:gd name="T21" fmla="*/ 52 h 66"/>
                  <a:gd name="T22" fmla="*/ 2 w 44"/>
                  <a:gd name="T23" fmla="*/ 52 h 66"/>
                  <a:gd name="T24" fmla="*/ 12 w 44"/>
                  <a:gd name="T25" fmla="*/ 60 h 66"/>
                  <a:gd name="T26" fmla="*/ 20 w 44"/>
                  <a:gd name="T27" fmla="*/ 66 h 66"/>
                  <a:gd name="T28" fmla="*/ 20 w 44"/>
                  <a:gd name="T29" fmla="*/ 66 h 66"/>
                  <a:gd name="T30" fmla="*/ 18 w 44"/>
                  <a:gd name="T31" fmla="*/ 54 h 66"/>
                  <a:gd name="T32" fmla="*/ 18 w 44"/>
                  <a:gd name="T33" fmla="*/ 54 h 66"/>
                  <a:gd name="T34" fmla="*/ 42 w 44"/>
                  <a:gd name="T35" fmla="*/ 56 h 66"/>
                  <a:gd name="T36" fmla="*/ 42 w 44"/>
                  <a:gd name="T37" fmla="*/ 5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4" h="66">
                    <a:moveTo>
                      <a:pt x="42" y="56"/>
                    </a:moveTo>
                    <a:lnTo>
                      <a:pt x="42" y="56"/>
                    </a:lnTo>
                    <a:lnTo>
                      <a:pt x="24" y="42"/>
                    </a:lnTo>
                    <a:lnTo>
                      <a:pt x="24" y="42"/>
                    </a:lnTo>
                    <a:lnTo>
                      <a:pt x="44" y="22"/>
                    </a:lnTo>
                    <a:lnTo>
                      <a:pt x="44" y="22"/>
                    </a:lnTo>
                    <a:lnTo>
                      <a:pt x="20" y="28"/>
                    </a:lnTo>
                    <a:lnTo>
                      <a:pt x="20" y="28"/>
                    </a:lnTo>
                    <a:lnTo>
                      <a:pt x="26" y="0"/>
                    </a:lnTo>
                    <a:lnTo>
                      <a:pt x="0" y="50"/>
                    </a:lnTo>
                    <a:lnTo>
                      <a:pt x="2" y="52"/>
                    </a:lnTo>
                    <a:lnTo>
                      <a:pt x="2" y="52"/>
                    </a:lnTo>
                    <a:lnTo>
                      <a:pt x="12" y="60"/>
                    </a:lnTo>
                    <a:lnTo>
                      <a:pt x="20" y="66"/>
                    </a:lnTo>
                    <a:lnTo>
                      <a:pt x="20" y="66"/>
                    </a:lnTo>
                    <a:lnTo>
                      <a:pt x="18" y="54"/>
                    </a:lnTo>
                    <a:lnTo>
                      <a:pt x="18" y="54"/>
                    </a:lnTo>
                    <a:lnTo>
                      <a:pt x="42" y="56"/>
                    </a:lnTo>
                    <a:lnTo>
                      <a:pt x="42" y="5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5" name="Freeform 284">
                <a:extLst>
                  <a:ext uri="{FF2B5EF4-FFF2-40B4-BE49-F238E27FC236}">
                    <a16:creationId xmlns:a16="http://schemas.microsoft.com/office/drawing/2014/main" id="{FBF06A71-B02D-42B5-B6BB-F5CF9BDECFA1}"/>
                  </a:ext>
                </a:extLst>
              </p:cNvPr>
              <p:cNvSpPr>
                <a:spLocks/>
              </p:cNvSpPr>
              <p:nvPr/>
            </p:nvSpPr>
            <p:spPr bwMode="auto">
              <a:xfrm>
                <a:off x="4562077" y="6398531"/>
                <a:ext cx="25249" cy="40879"/>
              </a:xfrm>
              <a:custGeom>
                <a:avLst/>
                <a:gdLst>
                  <a:gd name="T0" fmla="*/ 20 w 42"/>
                  <a:gd name="T1" fmla="*/ 0 h 68"/>
                  <a:gd name="T2" fmla="*/ 20 w 42"/>
                  <a:gd name="T3" fmla="*/ 0 h 68"/>
                  <a:gd name="T4" fmla="*/ 24 w 42"/>
                  <a:gd name="T5" fmla="*/ 30 h 68"/>
                  <a:gd name="T6" fmla="*/ 24 w 42"/>
                  <a:gd name="T7" fmla="*/ 30 h 68"/>
                  <a:gd name="T8" fmla="*/ 0 w 42"/>
                  <a:gd name="T9" fmla="*/ 24 h 68"/>
                  <a:gd name="T10" fmla="*/ 0 w 42"/>
                  <a:gd name="T11" fmla="*/ 24 h 68"/>
                  <a:gd name="T12" fmla="*/ 18 w 42"/>
                  <a:gd name="T13" fmla="*/ 44 h 68"/>
                  <a:gd name="T14" fmla="*/ 18 w 42"/>
                  <a:gd name="T15" fmla="*/ 44 h 68"/>
                  <a:gd name="T16" fmla="*/ 2 w 42"/>
                  <a:gd name="T17" fmla="*/ 56 h 68"/>
                  <a:gd name="T18" fmla="*/ 2 w 42"/>
                  <a:gd name="T19" fmla="*/ 56 h 68"/>
                  <a:gd name="T20" fmla="*/ 26 w 42"/>
                  <a:gd name="T21" fmla="*/ 54 h 68"/>
                  <a:gd name="T22" fmla="*/ 26 w 42"/>
                  <a:gd name="T23" fmla="*/ 54 h 68"/>
                  <a:gd name="T24" fmla="*/ 22 w 42"/>
                  <a:gd name="T25" fmla="*/ 68 h 68"/>
                  <a:gd name="T26" fmla="*/ 22 w 42"/>
                  <a:gd name="T27" fmla="*/ 68 h 68"/>
                  <a:gd name="T28" fmla="*/ 30 w 42"/>
                  <a:gd name="T29" fmla="*/ 62 h 68"/>
                  <a:gd name="T30" fmla="*/ 42 w 42"/>
                  <a:gd name="T31" fmla="*/ 54 h 68"/>
                  <a:gd name="T32" fmla="*/ 42 w 42"/>
                  <a:gd name="T33" fmla="*/ 54 h 68"/>
                  <a:gd name="T34" fmla="*/ 20 w 42"/>
                  <a:gd name="T35" fmla="*/ 0 h 68"/>
                  <a:gd name="T36" fmla="*/ 20 w 42"/>
                  <a:gd name="T37" fmla="*/ 0 h 68"/>
                  <a:gd name="T38" fmla="*/ 20 w 42"/>
                  <a:gd name="T39" fmla="*/ 0 h 68"/>
                  <a:gd name="T40" fmla="*/ 20 w 42"/>
                  <a:gd name="T41"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 h="68">
                    <a:moveTo>
                      <a:pt x="20" y="0"/>
                    </a:moveTo>
                    <a:lnTo>
                      <a:pt x="20" y="0"/>
                    </a:lnTo>
                    <a:lnTo>
                      <a:pt x="24" y="30"/>
                    </a:lnTo>
                    <a:lnTo>
                      <a:pt x="24" y="30"/>
                    </a:lnTo>
                    <a:lnTo>
                      <a:pt x="0" y="24"/>
                    </a:lnTo>
                    <a:lnTo>
                      <a:pt x="0" y="24"/>
                    </a:lnTo>
                    <a:lnTo>
                      <a:pt x="18" y="44"/>
                    </a:lnTo>
                    <a:lnTo>
                      <a:pt x="18" y="44"/>
                    </a:lnTo>
                    <a:lnTo>
                      <a:pt x="2" y="56"/>
                    </a:lnTo>
                    <a:lnTo>
                      <a:pt x="2" y="56"/>
                    </a:lnTo>
                    <a:lnTo>
                      <a:pt x="26" y="54"/>
                    </a:lnTo>
                    <a:lnTo>
                      <a:pt x="26" y="54"/>
                    </a:lnTo>
                    <a:lnTo>
                      <a:pt x="22" y="68"/>
                    </a:lnTo>
                    <a:lnTo>
                      <a:pt x="22" y="68"/>
                    </a:lnTo>
                    <a:lnTo>
                      <a:pt x="30" y="62"/>
                    </a:lnTo>
                    <a:lnTo>
                      <a:pt x="42" y="54"/>
                    </a:lnTo>
                    <a:lnTo>
                      <a:pt x="42" y="54"/>
                    </a:lnTo>
                    <a:lnTo>
                      <a:pt x="20" y="0"/>
                    </a:lnTo>
                    <a:lnTo>
                      <a:pt x="20" y="0"/>
                    </a:lnTo>
                    <a:lnTo>
                      <a:pt x="20" y="0"/>
                    </a:lnTo>
                    <a:lnTo>
                      <a:pt x="2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6" name="Freeform 285">
                <a:extLst>
                  <a:ext uri="{FF2B5EF4-FFF2-40B4-BE49-F238E27FC236}">
                    <a16:creationId xmlns:a16="http://schemas.microsoft.com/office/drawing/2014/main" id="{1C2F8A7A-0955-496E-825B-AD38F087EEAE}"/>
                  </a:ext>
                </a:extLst>
              </p:cNvPr>
              <p:cNvSpPr>
                <a:spLocks/>
              </p:cNvSpPr>
              <p:nvPr/>
            </p:nvSpPr>
            <p:spPr bwMode="auto">
              <a:xfrm>
                <a:off x="4574101" y="6398531"/>
                <a:ext cx="31261" cy="32463"/>
              </a:xfrm>
              <a:custGeom>
                <a:avLst/>
                <a:gdLst>
                  <a:gd name="T0" fmla="*/ 52 w 52"/>
                  <a:gd name="T1" fmla="*/ 26 h 54"/>
                  <a:gd name="T2" fmla="*/ 52 w 52"/>
                  <a:gd name="T3" fmla="*/ 26 h 54"/>
                  <a:gd name="T4" fmla="*/ 32 w 52"/>
                  <a:gd name="T5" fmla="*/ 30 h 54"/>
                  <a:gd name="T6" fmla="*/ 32 w 52"/>
                  <a:gd name="T7" fmla="*/ 30 h 54"/>
                  <a:gd name="T8" fmla="*/ 30 w 52"/>
                  <a:gd name="T9" fmla="*/ 2 h 54"/>
                  <a:gd name="T10" fmla="*/ 30 w 52"/>
                  <a:gd name="T11" fmla="*/ 2 h 54"/>
                  <a:gd name="T12" fmla="*/ 18 w 52"/>
                  <a:gd name="T13" fmla="*/ 24 h 54"/>
                  <a:gd name="T14" fmla="*/ 18 w 52"/>
                  <a:gd name="T15" fmla="*/ 24 h 54"/>
                  <a:gd name="T16" fmla="*/ 0 w 52"/>
                  <a:gd name="T17" fmla="*/ 0 h 54"/>
                  <a:gd name="T18" fmla="*/ 22 w 52"/>
                  <a:gd name="T19" fmla="*/ 54 h 54"/>
                  <a:gd name="T20" fmla="*/ 22 w 52"/>
                  <a:gd name="T21" fmla="*/ 54 h 54"/>
                  <a:gd name="T22" fmla="*/ 22 w 52"/>
                  <a:gd name="T23" fmla="*/ 54 h 54"/>
                  <a:gd name="T24" fmla="*/ 36 w 52"/>
                  <a:gd name="T25" fmla="*/ 52 h 54"/>
                  <a:gd name="T26" fmla="*/ 46 w 52"/>
                  <a:gd name="T27" fmla="*/ 50 h 54"/>
                  <a:gd name="T28" fmla="*/ 46 w 52"/>
                  <a:gd name="T29" fmla="*/ 50 h 54"/>
                  <a:gd name="T30" fmla="*/ 36 w 52"/>
                  <a:gd name="T31" fmla="*/ 42 h 54"/>
                  <a:gd name="T32" fmla="*/ 36 w 52"/>
                  <a:gd name="T33" fmla="*/ 42 h 54"/>
                  <a:gd name="T34" fmla="*/ 52 w 52"/>
                  <a:gd name="T35" fmla="*/ 26 h 54"/>
                  <a:gd name="T36" fmla="*/ 52 w 52"/>
                  <a:gd name="T37"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2" h="54">
                    <a:moveTo>
                      <a:pt x="52" y="26"/>
                    </a:moveTo>
                    <a:lnTo>
                      <a:pt x="52" y="26"/>
                    </a:lnTo>
                    <a:lnTo>
                      <a:pt x="32" y="30"/>
                    </a:lnTo>
                    <a:lnTo>
                      <a:pt x="32" y="30"/>
                    </a:lnTo>
                    <a:lnTo>
                      <a:pt x="30" y="2"/>
                    </a:lnTo>
                    <a:lnTo>
                      <a:pt x="30" y="2"/>
                    </a:lnTo>
                    <a:lnTo>
                      <a:pt x="18" y="24"/>
                    </a:lnTo>
                    <a:lnTo>
                      <a:pt x="18" y="24"/>
                    </a:lnTo>
                    <a:lnTo>
                      <a:pt x="0" y="0"/>
                    </a:lnTo>
                    <a:lnTo>
                      <a:pt x="22" y="54"/>
                    </a:lnTo>
                    <a:lnTo>
                      <a:pt x="22" y="54"/>
                    </a:lnTo>
                    <a:lnTo>
                      <a:pt x="22" y="54"/>
                    </a:lnTo>
                    <a:lnTo>
                      <a:pt x="36" y="52"/>
                    </a:lnTo>
                    <a:lnTo>
                      <a:pt x="46" y="50"/>
                    </a:lnTo>
                    <a:lnTo>
                      <a:pt x="46" y="50"/>
                    </a:lnTo>
                    <a:lnTo>
                      <a:pt x="36" y="42"/>
                    </a:lnTo>
                    <a:lnTo>
                      <a:pt x="36" y="42"/>
                    </a:lnTo>
                    <a:lnTo>
                      <a:pt x="52" y="26"/>
                    </a:lnTo>
                    <a:lnTo>
                      <a:pt x="52" y="2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7" name="Freeform 286">
                <a:extLst>
                  <a:ext uri="{FF2B5EF4-FFF2-40B4-BE49-F238E27FC236}">
                    <a16:creationId xmlns:a16="http://schemas.microsoft.com/office/drawing/2014/main" id="{8B734242-4E27-44C0-AC35-A4F7D360B10C}"/>
                  </a:ext>
                </a:extLst>
              </p:cNvPr>
              <p:cNvSpPr>
                <a:spLocks/>
              </p:cNvSpPr>
              <p:nvPr/>
            </p:nvSpPr>
            <p:spPr bwMode="auto">
              <a:xfrm>
                <a:off x="4594540" y="6515157"/>
                <a:ext cx="30058" cy="32463"/>
              </a:xfrm>
              <a:custGeom>
                <a:avLst/>
                <a:gdLst>
                  <a:gd name="T0" fmla="*/ 0 w 50"/>
                  <a:gd name="T1" fmla="*/ 54 h 54"/>
                  <a:gd name="T2" fmla="*/ 0 w 50"/>
                  <a:gd name="T3" fmla="*/ 54 h 54"/>
                  <a:gd name="T4" fmla="*/ 16 w 50"/>
                  <a:gd name="T5" fmla="*/ 30 h 54"/>
                  <a:gd name="T6" fmla="*/ 16 w 50"/>
                  <a:gd name="T7" fmla="*/ 30 h 54"/>
                  <a:gd name="T8" fmla="*/ 30 w 50"/>
                  <a:gd name="T9" fmla="*/ 50 h 54"/>
                  <a:gd name="T10" fmla="*/ 30 w 50"/>
                  <a:gd name="T11" fmla="*/ 50 h 54"/>
                  <a:gd name="T12" fmla="*/ 28 w 50"/>
                  <a:gd name="T13" fmla="*/ 22 h 54"/>
                  <a:gd name="T14" fmla="*/ 28 w 50"/>
                  <a:gd name="T15" fmla="*/ 22 h 54"/>
                  <a:gd name="T16" fmla="*/ 50 w 50"/>
                  <a:gd name="T17" fmla="*/ 24 h 54"/>
                  <a:gd name="T18" fmla="*/ 50 w 50"/>
                  <a:gd name="T19" fmla="*/ 24 h 54"/>
                  <a:gd name="T20" fmla="*/ 32 w 50"/>
                  <a:gd name="T21" fmla="*/ 10 h 54"/>
                  <a:gd name="T22" fmla="*/ 32 w 50"/>
                  <a:gd name="T23" fmla="*/ 10 h 54"/>
                  <a:gd name="T24" fmla="*/ 42 w 50"/>
                  <a:gd name="T25" fmla="*/ 2 h 54"/>
                  <a:gd name="T26" fmla="*/ 42 w 50"/>
                  <a:gd name="T27" fmla="*/ 2 h 54"/>
                  <a:gd name="T28" fmla="*/ 32 w 50"/>
                  <a:gd name="T29" fmla="*/ 2 h 54"/>
                  <a:gd name="T30" fmla="*/ 18 w 50"/>
                  <a:gd name="T31" fmla="*/ 0 h 54"/>
                  <a:gd name="T32" fmla="*/ 18 w 50"/>
                  <a:gd name="T33" fmla="*/ 0 h 54"/>
                  <a:gd name="T34" fmla="*/ 0 w 50"/>
                  <a:gd name="T35" fmla="*/ 54 h 54"/>
                  <a:gd name="T36" fmla="*/ 0 w 50"/>
                  <a:gd name="T37" fmla="*/ 54 h 54"/>
                  <a:gd name="T38" fmla="*/ 0 w 50"/>
                  <a:gd name="T39" fmla="*/ 54 h 54"/>
                  <a:gd name="T40" fmla="*/ 0 w 50"/>
                  <a:gd name="T4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54">
                    <a:moveTo>
                      <a:pt x="0" y="54"/>
                    </a:moveTo>
                    <a:lnTo>
                      <a:pt x="0" y="54"/>
                    </a:lnTo>
                    <a:lnTo>
                      <a:pt x="16" y="30"/>
                    </a:lnTo>
                    <a:lnTo>
                      <a:pt x="16" y="30"/>
                    </a:lnTo>
                    <a:lnTo>
                      <a:pt x="30" y="50"/>
                    </a:lnTo>
                    <a:lnTo>
                      <a:pt x="30" y="50"/>
                    </a:lnTo>
                    <a:lnTo>
                      <a:pt x="28" y="22"/>
                    </a:lnTo>
                    <a:lnTo>
                      <a:pt x="28" y="22"/>
                    </a:lnTo>
                    <a:lnTo>
                      <a:pt x="50" y="24"/>
                    </a:lnTo>
                    <a:lnTo>
                      <a:pt x="50" y="24"/>
                    </a:lnTo>
                    <a:lnTo>
                      <a:pt x="32" y="10"/>
                    </a:lnTo>
                    <a:lnTo>
                      <a:pt x="32" y="10"/>
                    </a:lnTo>
                    <a:lnTo>
                      <a:pt x="42" y="2"/>
                    </a:lnTo>
                    <a:lnTo>
                      <a:pt x="42" y="2"/>
                    </a:lnTo>
                    <a:lnTo>
                      <a:pt x="32" y="2"/>
                    </a:lnTo>
                    <a:lnTo>
                      <a:pt x="18" y="0"/>
                    </a:lnTo>
                    <a:lnTo>
                      <a:pt x="18" y="0"/>
                    </a:lnTo>
                    <a:lnTo>
                      <a:pt x="0" y="54"/>
                    </a:lnTo>
                    <a:lnTo>
                      <a:pt x="0" y="54"/>
                    </a:lnTo>
                    <a:lnTo>
                      <a:pt x="0" y="54"/>
                    </a:lnTo>
                    <a:lnTo>
                      <a:pt x="0" y="5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8" name="Freeform 287">
                <a:extLst>
                  <a:ext uri="{FF2B5EF4-FFF2-40B4-BE49-F238E27FC236}">
                    <a16:creationId xmlns:a16="http://schemas.microsoft.com/office/drawing/2014/main" id="{98DBAEF4-904A-44B5-AE5B-6F1998D4CFCF}"/>
                  </a:ext>
                </a:extLst>
              </p:cNvPr>
              <p:cNvSpPr>
                <a:spLocks/>
              </p:cNvSpPr>
              <p:nvPr/>
            </p:nvSpPr>
            <p:spPr bwMode="auto">
              <a:xfrm>
                <a:off x="4581315" y="6506740"/>
                <a:ext cx="24047" cy="40879"/>
              </a:xfrm>
              <a:custGeom>
                <a:avLst/>
                <a:gdLst>
                  <a:gd name="T0" fmla="*/ 0 w 40"/>
                  <a:gd name="T1" fmla="*/ 14 h 68"/>
                  <a:gd name="T2" fmla="*/ 0 w 40"/>
                  <a:gd name="T3" fmla="*/ 14 h 68"/>
                  <a:gd name="T4" fmla="*/ 18 w 40"/>
                  <a:gd name="T5" fmla="*/ 24 h 68"/>
                  <a:gd name="T6" fmla="*/ 18 w 40"/>
                  <a:gd name="T7" fmla="*/ 24 h 68"/>
                  <a:gd name="T8" fmla="*/ 0 w 40"/>
                  <a:gd name="T9" fmla="*/ 46 h 68"/>
                  <a:gd name="T10" fmla="*/ 0 w 40"/>
                  <a:gd name="T11" fmla="*/ 46 h 68"/>
                  <a:gd name="T12" fmla="*/ 24 w 40"/>
                  <a:gd name="T13" fmla="*/ 38 h 68"/>
                  <a:gd name="T14" fmla="*/ 24 w 40"/>
                  <a:gd name="T15" fmla="*/ 38 h 68"/>
                  <a:gd name="T16" fmla="*/ 22 w 40"/>
                  <a:gd name="T17" fmla="*/ 68 h 68"/>
                  <a:gd name="T18" fmla="*/ 40 w 40"/>
                  <a:gd name="T19" fmla="*/ 14 h 68"/>
                  <a:gd name="T20" fmla="*/ 40 w 40"/>
                  <a:gd name="T21" fmla="*/ 14 h 68"/>
                  <a:gd name="T22" fmla="*/ 40 w 40"/>
                  <a:gd name="T23" fmla="*/ 14 h 68"/>
                  <a:gd name="T24" fmla="*/ 28 w 40"/>
                  <a:gd name="T25" fmla="*/ 6 h 68"/>
                  <a:gd name="T26" fmla="*/ 20 w 40"/>
                  <a:gd name="T27" fmla="*/ 0 h 68"/>
                  <a:gd name="T28" fmla="*/ 20 w 40"/>
                  <a:gd name="T29" fmla="*/ 0 h 68"/>
                  <a:gd name="T30" fmla="*/ 24 w 40"/>
                  <a:gd name="T31" fmla="*/ 14 h 68"/>
                  <a:gd name="T32" fmla="*/ 24 w 40"/>
                  <a:gd name="T33" fmla="*/ 14 h 68"/>
                  <a:gd name="T34" fmla="*/ 0 w 40"/>
                  <a:gd name="T35" fmla="*/ 14 h 68"/>
                  <a:gd name="T36" fmla="*/ 0 w 40"/>
                  <a:gd name="T37" fmla="*/ 1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68">
                    <a:moveTo>
                      <a:pt x="0" y="14"/>
                    </a:moveTo>
                    <a:lnTo>
                      <a:pt x="0" y="14"/>
                    </a:lnTo>
                    <a:lnTo>
                      <a:pt x="18" y="24"/>
                    </a:lnTo>
                    <a:lnTo>
                      <a:pt x="18" y="24"/>
                    </a:lnTo>
                    <a:lnTo>
                      <a:pt x="0" y="46"/>
                    </a:lnTo>
                    <a:lnTo>
                      <a:pt x="0" y="46"/>
                    </a:lnTo>
                    <a:lnTo>
                      <a:pt x="24" y="38"/>
                    </a:lnTo>
                    <a:lnTo>
                      <a:pt x="24" y="38"/>
                    </a:lnTo>
                    <a:lnTo>
                      <a:pt x="22" y="68"/>
                    </a:lnTo>
                    <a:lnTo>
                      <a:pt x="40" y="14"/>
                    </a:lnTo>
                    <a:lnTo>
                      <a:pt x="40" y="14"/>
                    </a:lnTo>
                    <a:lnTo>
                      <a:pt x="40" y="14"/>
                    </a:lnTo>
                    <a:lnTo>
                      <a:pt x="28" y="6"/>
                    </a:lnTo>
                    <a:lnTo>
                      <a:pt x="20" y="0"/>
                    </a:lnTo>
                    <a:lnTo>
                      <a:pt x="20" y="0"/>
                    </a:lnTo>
                    <a:lnTo>
                      <a:pt x="24" y="14"/>
                    </a:lnTo>
                    <a:lnTo>
                      <a:pt x="24" y="14"/>
                    </a:lnTo>
                    <a:lnTo>
                      <a:pt x="0" y="14"/>
                    </a:lnTo>
                    <a:lnTo>
                      <a:pt x="0" y="1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199" name="Freeform 288">
                <a:extLst>
                  <a:ext uri="{FF2B5EF4-FFF2-40B4-BE49-F238E27FC236}">
                    <a16:creationId xmlns:a16="http://schemas.microsoft.com/office/drawing/2014/main" id="{AA2A1EB6-F33E-4EB6-95D6-2BB694ED6B35}"/>
                  </a:ext>
                </a:extLst>
              </p:cNvPr>
              <p:cNvSpPr>
                <a:spLocks/>
              </p:cNvSpPr>
              <p:nvPr/>
            </p:nvSpPr>
            <p:spPr bwMode="auto">
              <a:xfrm>
                <a:off x="4814567" y="6388912"/>
                <a:ext cx="38475" cy="24047"/>
              </a:xfrm>
              <a:custGeom>
                <a:avLst/>
                <a:gdLst>
                  <a:gd name="T0" fmla="*/ 64 w 64"/>
                  <a:gd name="T1" fmla="*/ 38 h 40"/>
                  <a:gd name="T2" fmla="*/ 64 w 64"/>
                  <a:gd name="T3" fmla="*/ 38 h 40"/>
                  <a:gd name="T4" fmla="*/ 34 w 64"/>
                  <a:gd name="T5" fmla="*/ 32 h 40"/>
                  <a:gd name="T6" fmla="*/ 34 w 64"/>
                  <a:gd name="T7" fmla="*/ 32 h 40"/>
                  <a:gd name="T8" fmla="*/ 50 w 64"/>
                  <a:gd name="T9" fmla="*/ 12 h 40"/>
                  <a:gd name="T10" fmla="*/ 50 w 64"/>
                  <a:gd name="T11" fmla="*/ 12 h 40"/>
                  <a:gd name="T12" fmla="*/ 24 w 64"/>
                  <a:gd name="T13" fmla="*/ 22 h 40"/>
                  <a:gd name="T14" fmla="*/ 24 w 64"/>
                  <a:gd name="T15" fmla="*/ 22 h 40"/>
                  <a:gd name="T16" fmla="*/ 18 w 64"/>
                  <a:gd name="T17" fmla="*/ 0 h 40"/>
                  <a:gd name="T18" fmla="*/ 18 w 64"/>
                  <a:gd name="T19" fmla="*/ 0 h 40"/>
                  <a:gd name="T20" fmla="*/ 10 w 64"/>
                  <a:gd name="T21" fmla="*/ 22 h 40"/>
                  <a:gd name="T22" fmla="*/ 10 w 64"/>
                  <a:gd name="T23" fmla="*/ 22 h 40"/>
                  <a:gd name="T24" fmla="*/ 0 w 64"/>
                  <a:gd name="T25" fmla="*/ 16 h 40"/>
                  <a:gd name="T26" fmla="*/ 0 w 64"/>
                  <a:gd name="T27" fmla="*/ 16 h 40"/>
                  <a:gd name="T28" fmla="*/ 2 w 64"/>
                  <a:gd name="T29" fmla="*/ 26 h 40"/>
                  <a:gd name="T30" fmla="*/ 6 w 64"/>
                  <a:gd name="T31" fmla="*/ 38 h 40"/>
                  <a:gd name="T32" fmla="*/ 6 w 64"/>
                  <a:gd name="T33" fmla="*/ 38 h 40"/>
                  <a:gd name="T34" fmla="*/ 62 w 64"/>
                  <a:gd name="T35" fmla="*/ 40 h 40"/>
                  <a:gd name="T36" fmla="*/ 62 w 64"/>
                  <a:gd name="T37" fmla="*/ 40 h 40"/>
                  <a:gd name="T38" fmla="*/ 64 w 64"/>
                  <a:gd name="T39" fmla="*/ 38 h 40"/>
                  <a:gd name="T40" fmla="*/ 64 w 64"/>
                  <a:gd name="T41" fmla="*/ 38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4" h="40">
                    <a:moveTo>
                      <a:pt x="64" y="38"/>
                    </a:moveTo>
                    <a:lnTo>
                      <a:pt x="64" y="38"/>
                    </a:lnTo>
                    <a:lnTo>
                      <a:pt x="34" y="32"/>
                    </a:lnTo>
                    <a:lnTo>
                      <a:pt x="34" y="32"/>
                    </a:lnTo>
                    <a:lnTo>
                      <a:pt x="50" y="12"/>
                    </a:lnTo>
                    <a:lnTo>
                      <a:pt x="50" y="12"/>
                    </a:lnTo>
                    <a:lnTo>
                      <a:pt x="24" y="22"/>
                    </a:lnTo>
                    <a:lnTo>
                      <a:pt x="24" y="22"/>
                    </a:lnTo>
                    <a:lnTo>
                      <a:pt x="18" y="0"/>
                    </a:lnTo>
                    <a:lnTo>
                      <a:pt x="18" y="0"/>
                    </a:lnTo>
                    <a:lnTo>
                      <a:pt x="10" y="22"/>
                    </a:lnTo>
                    <a:lnTo>
                      <a:pt x="10" y="22"/>
                    </a:lnTo>
                    <a:lnTo>
                      <a:pt x="0" y="16"/>
                    </a:lnTo>
                    <a:lnTo>
                      <a:pt x="0" y="16"/>
                    </a:lnTo>
                    <a:lnTo>
                      <a:pt x="2" y="26"/>
                    </a:lnTo>
                    <a:lnTo>
                      <a:pt x="6" y="38"/>
                    </a:lnTo>
                    <a:lnTo>
                      <a:pt x="6" y="38"/>
                    </a:lnTo>
                    <a:lnTo>
                      <a:pt x="62" y="40"/>
                    </a:lnTo>
                    <a:lnTo>
                      <a:pt x="62" y="40"/>
                    </a:lnTo>
                    <a:lnTo>
                      <a:pt x="64" y="38"/>
                    </a:lnTo>
                    <a:lnTo>
                      <a:pt x="64" y="38"/>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00" name="Freeform 289">
                <a:extLst>
                  <a:ext uri="{FF2B5EF4-FFF2-40B4-BE49-F238E27FC236}">
                    <a16:creationId xmlns:a16="http://schemas.microsoft.com/office/drawing/2014/main" id="{D48713D3-3E30-48E3-ADED-31BE0E536A55}"/>
                  </a:ext>
                </a:extLst>
              </p:cNvPr>
              <p:cNvSpPr>
                <a:spLocks/>
              </p:cNvSpPr>
              <p:nvPr/>
            </p:nvSpPr>
            <p:spPr bwMode="auto">
              <a:xfrm>
                <a:off x="4813364" y="6411756"/>
                <a:ext cx="38475" cy="24047"/>
              </a:xfrm>
              <a:custGeom>
                <a:avLst/>
                <a:gdLst>
                  <a:gd name="T0" fmla="*/ 20 w 64"/>
                  <a:gd name="T1" fmla="*/ 40 h 40"/>
                  <a:gd name="T2" fmla="*/ 20 w 64"/>
                  <a:gd name="T3" fmla="*/ 40 h 40"/>
                  <a:gd name="T4" fmla="*/ 24 w 64"/>
                  <a:gd name="T5" fmla="*/ 18 h 40"/>
                  <a:gd name="T6" fmla="*/ 24 w 64"/>
                  <a:gd name="T7" fmla="*/ 18 h 40"/>
                  <a:gd name="T8" fmla="*/ 50 w 64"/>
                  <a:gd name="T9" fmla="*/ 28 h 40"/>
                  <a:gd name="T10" fmla="*/ 50 w 64"/>
                  <a:gd name="T11" fmla="*/ 28 h 40"/>
                  <a:gd name="T12" fmla="*/ 34 w 64"/>
                  <a:gd name="T13" fmla="*/ 8 h 40"/>
                  <a:gd name="T14" fmla="*/ 34 w 64"/>
                  <a:gd name="T15" fmla="*/ 8 h 40"/>
                  <a:gd name="T16" fmla="*/ 64 w 64"/>
                  <a:gd name="T17" fmla="*/ 2 h 40"/>
                  <a:gd name="T18" fmla="*/ 8 w 64"/>
                  <a:gd name="T19" fmla="*/ 0 h 40"/>
                  <a:gd name="T20" fmla="*/ 6 w 64"/>
                  <a:gd name="T21" fmla="*/ 2 h 40"/>
                  <a:gd name="T22" fmla="*/ 6 w 64"/>
                  <a:gd name="T23" fmla="*/ 2 h 40"/>
                  <a:gd name="T24" fmla="*/ 2 w 64"/>
                  <a:gd name="T25" fmla="*/ 14 h 40"/>
                  <a:gd name="T26" fmla="*/ 0 w 64"/>
                  <a:gd name="T27" fmla="*/ 24 h 40"/>
                  <a:gd name="T28" fmla="*/ 0 w 64"/>
                  <a:gd name="T29" fmla="*/ 24 h 40"/>
                  <a:gd name="T30" fmla="*/ 12 w 64"/>
                  <a:gd name="T31" fmla="*/ 18 h 40"/>
                  <a:gd name="T32" fmla="*/ 12 w 64"/>
                  <a:gd name="T33" fmla="*/ 18 h 40"/>
                  <a:gd name="T34" fmla="*/ 20 w 64"/>
                  <a:gd name="T35" fmla="*/ 40 h 40"/>
                  <a:gd name="T36" fmla="*/ 20 w 64"/>
                  <a:gd name="T37"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4" h="40">
                    <a:moveTo>
                      <a:pt x="20" y="40"/>
                    </a:moveTo>
                    <a:lnTo>
                      <a:pt x="20" y="40"/>
                    </a:lnTo>
                    <a:lnTo>
                      <a:pt x="24" y="18"/>
                    </a:lnTo>
                    <a:lnTo>
                      <a:pt x="24" y="18"/>
                    </a:lnTo>
                    <a:lnTo>
                      <a:pt x="50" y="28"/>
                    </a:lnTo>
                    <a:lnTo>
                      <a:pt x="50" y="28"/>
                    </a:lnTo>
                    <a:lnTo>
                      <a:pt x="34" y="8"/>
                    </a:lnTo>
                    <a:lnTo>
                      <a:pt x="34" y="8"/>
                    </a:lnTo>
                    <a:lnTo>
                      <a:pt x="64" y="2"/>
                    </a:lnTo>
                    <a:lnTo>
                      <a:pt x="8" y="0"/>
                    </a:lnTo>
                    <a:lnTo>
                      <a:pt x="6" y="2"/>
                    </a:lnTo>
                    <a:lnTo>
                      <a:pt x="6" y="2"/>
                    </a:lnTo>
                    <a:lnTo>
                      <a:pt x="2" y="14"/>
                    </a:lnTo>
                    <a:lnTo>
                      <a:pt x="0" y="24"/>
                    </a:lnTo>
                    <a:lnTo>
                      <a:pt x="0" y="24"/>
                    </a:lnTo>
                    <a:lnTo>
                      <a:pt x="12" y="18"/>
                    </a:lnTo>
                    <a:lnTo>
                      <a:pt x="12" y="18"/>
                    </a:lnTo>
                    <a:lnTo>
                      <a:pt x="20" y="40"/>
                    </a:lnTo>
                    <a:lnTo>
                      <a:pt x="20" y="4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01" name="Freeform 290">
                <a:extLst>
                  <a:ext uri="{FF2B5EF4-FFF2-40B4-BE49-F238E27FC236}">
                    <a16:creationId xmlns:a16="http://schemas.microsoft.com/office/drawing/2014/main" id="{7E4C6FC5-D2BC-40B6-951F-F0F124E3F70A}"/>
                  </a:ext>
                </a:extLst>
              </p:cNvPr>
              <p:cNvSpPr>
                <a:spLocks/>
              </p:cNvSpPr>
              <p:nvPr/>
            </p:nvSpPr>
            <p:spPr bwMode="auto">
              <a:xfrm>
                <a:off x="4738820" y="6443017"/>
                <a:ext cx="27654" cy="39677"/>
              </a:xfrm>
              <a:custGeom>
                <a:avLst/>
                <a:gdLst>
                  <a:gd name="T0" fmla="*/ 32 w 46"/>
                  <a:gd name="T1" fmla="*/ 66 h 66"/>
                  <a:gd name="T2" fmla="*/ 32 w 46"/>
                  <a:gd name="T3" fmla="*/ 66 h 66"/>
                  <a:gd name="T4" fmla="*/ 22 w 46"/>
                  <a:gd name="T5" fmla="*/ 36 h 66"/>
                  <a:gd name="T6" fmla="*/ 22 w 46"/>
                  <a:gd name="T7" fmla="*/ 36 h 66"/>
                  <a:gd name="T8" fmla="*/ 46 w 46"/>
                  <a:gd name="T9" fmla="*/ 38 h 66"/>
                  <a:gd name="T10" fmla="*/ 46 w 46"/>
                  <a:gd name="T11" fmla="*/ 38 h 66"/>
                  <a:gd name="T12" fmla="*/ 24 w 46"/>
                  <a:gd name="T13" fmla="*/ 22 h 66"/>
                  <a:gd name="T14" fmla="*/ 24 w 46"/>
                  <a:gd name="T15" fmla="*/ 22 h 66"/>
                  <a:gd name="T16" fmla="*/ 38 w 46"/>
                  <a:gd name="T17" fmla="*/ 6 h 66"/>
                  <a:gd name="T18" fmla="*/ 38 w 46"/>
                  <a:gd name="T19" fmla="*/ 6 h 66"/>
                  <a:gd name="T20" fmla="*/ 14 w 46"/>
                  <a:gd name="T21" fmla="*/ 14 h 66"/>
                  <a:gd name="T22" fmla="*/ 14 w 46"/>
                  <a:gd name="T23" fmla="*/ 14 h 66"/>
                  <a:gd name="T24" fmla="*/ 14 w 46"/>
                  <a:gd name="T25" fmla="*/ 0 h 66"/>
                  <a:gd name="T26" fmla="*/ 14 w 46"/>
                  <a:gd name="T27" fmla="*/ 0 h 66"/>
                  <a:gd name="T28" fmla="*/ 8 w 46"/>
                  <a:gd name="T29" fmla="*/ 6 h 66"/>
                  <a:gd name="T30" fmla="*/ 0 w 46"/>
                  <a:gd name="T31" fmla="*/ 18 h 66"/>
                  <a:gd name="T32" fmla="*/ 0 w 46"/>
                  <a:gd name="T33" fmla="*/ 18 h 66"/>
                  <a:gd name="T34" fmla="*/ 30 w 46"/>
                  <a:gd name="T35" fmla="*/ 64 h 66"/>
                  <a:gd name="T36" fmla="*/ 30 w 46"/>
                  <a:gd name="T37" fmla="*/ 64 h 66"/>
                  <a:gd name="T38" fmla="*/ 32 w 46"/>
                  <a:gd name="T39" fmla="*/ 66 h 66"/>
                  <a:gd name="T40" fmla="*/ 32 w 46"/>
                  <a:gd name="T41" fmla="*/ 6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66">
                    <a:moveTo>
                      <a:pt x="32" y="66"/>
                    </a:moveTo>
                    <a:lnTo>
                      <a:pt x="32" y="66"/>
                    </a:lnTo>
                    <a:lnTo>
                      <a:pt x="22" y="36"/>
                    </a:lnTo>
                    <a:lnTo>
                      <a:pt x="22" y="36"/>
                    </a:lnTo>
                    <a:lnTo>
                      <a:pt x="46" y="38"/>
                    </a:lnTo>
                    <a:lnTo>
                      <a:pt x="46" y="38"/>
                    </a:lnTo>
                    <a:lnTo>
                      <a:pt x="24" y="22"/>
                    </a:lnTo>
                    <a:lnTo>
                      <a:pt x="24" y="22"/>
                    </a:lnTo>
                    <a:lnTo>
                      <a:pt x="38" y="6"/>
                    </a:lnTo>
                    <a:lnTo>
                      <a:pt x="38" y="6"/>
                    </a:lnTo>
                    <a:lnTo>
                      <a:pt x="14" y="14"/>
                    </a:lnTo>
                    <a:lnTo>
                      <a:pt x="14" y="14"/>
                    </a:lnTo>
                    <a:lnTo>
                      <a:pt x="14" y="0"/>
                    </a:lnTo>
                    <a:lnTo>
                      <a:pt x="14" y="0"/>
                    </a:lnTo>
                    <a:lnTo>
                      <a:pt x="8" y="6"/>
                    </a:lnTo>
                    <a:lnTo>
                      <a:pt x="0" y="18"/>
                    </a:lnTo>
                    <a:lnTo>
                      <a:pt x="0" y="18"/>
                    </a:lnTo>
                    <a:lnTo>
                      <a:pt x="30" y="64"/>
                    </a:lnTo>
                    <a:lnTo>
                      <a:pt x="30" y="64"/>
                    </a:lnTo>
                    <a:lnTo>
                      <a:pt x="32" y="66"/>
                    </a:lnTo>
                    <a:lnTo>
                      <a:pt x="32" y="66"/>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02" name="Freeform 291">
                <a:extLst>
                  <a:ext uri="{FF2B5EF4-FFF2-40B4-BE49-F238E27FC236}">
                    <a16:creationId xmlns:a16="http://schemas.microsoft.com/office/drawing/2014/main" id="{32973E9D-FEDE-45D2-A0E6-F98F364129DD}"/>
                  </a:ext>
                </a:extLst>
              </p:cNvPr>
              <p:cNvSpPr>
                <a:spLocks/>
              </p:cNvSpPr>
              <p:nvPr/>
            </p:nvSpPr>
            <p:spPr bwMode="auto">
              <a:xfrm>
                <a:off x="4723190" y="6453838"/>
                <a:ext cx="33665" cy="30058"/>
              </a:xfrm>
              <a:custGeom>
                <a:avLst/>
                <a:gdLst>
                  <a:gd name="T0" fmla="*/ 0 w 56"/>
                  <a:gd name="T1" fmla="*/ 32 h 50"/>
                  <a:gd name="T2" fmla="*/ 0 w 56"/>
                  <a:gd name="T3" fmla="*/ 32 h 50"/>
                  <a:gd name="T4" fmla="*/ 20 w 56"/>
                  <a:gd name="T5" fmla="*/ 24 h 50"/>
                  <a:gd name="T6" fmla="*/ 20 w 56"/>
                  <a:gd name="T7" fmla="*/ 24 h 50"/>
                  <a:gd name="T8" fmla="*/ 28 w 56"/>
                  <a:gd name="T9" fmla="*/ 50 h 50"/>
                  <a:gd name="T10" fmla="*/ 28 w 56"/>
                  <a:gd name="T11" fmla="*/ 50 h 50"/>
                  <a:gd name="T12" fmla="*/ 34 w 56"/>
                  <a:gd name="T13" fmla="*/ 26 h 50"/>
                  <a:gd name="T14" fmla="*/ 34 w 56"/>
                  <a:gd name="T15" fmla="*/ 26 h 50"/>
                  <a:gd name="T16" fmla="*/ 56 w 56"/>
                  <a:gd name="T17" fmla="*/ 46 h 50"/>
                  <a:gd name="T18" fmla="*/ 26 w 56"/>
                  <a:gd name="T19" fmla="*/ 0 h 50"/>
                  <a:gd name="T20" fmla="*/ 24 w 56"/>
                  <a:gd name="T21" fmla="*/ 0 h 50"/>
                  <a:gd name="T22" fmla="*/ 24 w 56"/>
                  <a:gd name="T23" fmla="*/ 0 h 50"/>
                  <a:gd name="T24" fmla="*/ 10 w 56"/>
                  <a:gd name="T25" fmla="*/ 4 h 50"/>
                  <a:gd name="T26" fmla="*/ 2 w 56"/>
                  <a:gd name="T27" fmla="*/ 8 h 50"/>
                  <a:gd name="T28" fmla="*/ 2 w 56"/>
                  <a:gd name="T29" fmla="*/ 8 h 50"/>
                  <a:gd name="T30" fmla="*/ 14 w 56"/>
                  <a:gd name="T31" fmla="*/ 12 h 50"/>
                  <a:gd name="T32" fmla="*/ 14 w 56"/>
                  <a:gd name="T33" fmla="*/ 12 h 50"/>
                  <a:gd name="T34" fmla="*/ 0 w 56"/>
                  <a:gd name="T35" fmla="*/ 32 h 50"/>
                  <a:gd name="T36" fmla="*/ 0 w 56"/>
                  <a:gd name="T37" fmla="*/ 32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50">
                    <a:moveTo>
                      <a:pt x="0" y="32"/>
                    </a:moveTo>
                    <a:lnTo>
                      <a:pt x="0" y="32"/>
                    </a:lnTo>
                    <a:lnTo>
                      <a:pt x="20" y="24"/>
                    </a:lnTo>
                    <a:lnTo>
                      <a:pt x="20" y="24"/>
                    </a:lnTo>
                    <a:lnTo>
                      <a:pt x="28" y="50"/>
                    </a:lnTo>
                    <a:lnTo>
                      <a:pt x="28" y="50"/>
                    </a:lnTo>
                    <a:lnTo>
                      <a:pt x="34" y="26"/>
                    </a:lnTo>
                    <a:lnTo>
                      <a:pt x="34" y="26"/>
                    </a:lnTo>
                    <a:lnTo>
                      <a:pt x="56" y="46"/>
                    </a:lnTo>
                    <a:lnTo>
                      <a:pt x="26" y="0"/>
                    </a:lnTo>
                    <a:lnTo>
                      <a:pt x="24" y="0"/>
                    </a:lnTo>
                    <a:lnTo>
                      <a:pt x="24" y="0"/>
                    </a:lnTo>
                    <a:lnTo>
                      <a:pt x="10" y="4"/>
                    </a:lnTo>
                    <a:lnTo>
                      <a:pt x="2" y="8"/>
                    </a:lnTo>
                    <a:lnTo>
                      <a:pt x="2" y="8"/>
                    </a:lnTo>
                    <a:lnTo>
                      <a:pt x="14" y="12"/>
                    </a:lnTo>
                    <a:lnTo>
                      <a:pt x="14" y="12"/>
                    </a:lnTo>
                    <a:lnTo>
                      <a:pt x="0" y="32"/>
                    </a:lnTo>
                    <a:lnTo>
                      <a:pt x="0" y="3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03" name="Freeform 292">
                <a:extLst>
                  <a:ext uri="{FF2B5EF4-FFF2-40B4-BE49-F238E27FC236}">
                    <a16:creationId xmlns:a16="http://schemas.microsoft.com/office/drawing/2014/main" id="{1BE36179-9D0F-440B-B260-C47DDBD6A4A5}"/>
                  </a:ext>
                </a:extLst>
              </p:cNvPr>
              <p:cNvSpPr>
                <a:spLocks/>
              </p:cNvSpPr>
              <p:nvPr/>
            </p:nvSpPr>
            <p:spPr bwMode="auto">
              <a:xfrm>
                <a:off x="4664275" y="6342021"/>
                <a:ext cx="28856" cy="38475"/>
              </a:xfrm>
              <a:custGeom>
                <a:avLst/>
                <a:gdLst>
                  <a:gd name="T0" fmla="*/ 14 w 48"/>
                  <a:gd name="T1" fmla="*/ 0 h 64"/>
                  <a:gd name="T2" fmla="*/ 14 w 48"/>
                  <a:gd name="T3" fmla="*/ 0 h 64"/>
                  <a:gd name="T4" fmla="*/ 26 w 48"/>
                  <a:gd name="T5" fmla="*/ 28 h 64"/>
                  <a:gd name="T6" fmla="*/ 26 w 48"/>
                  <a:gd name="T7" fmla="*/ 28 h 64"/>
                  <a:gd name="T8" fmla="*/ 0 w 48"/>
                  <a:gd name="T9" fmla="*/ 26 h 64"/>
                  <a:gd name="T10" fmla="*/ 0 w 48"/>
                  <a:gd name="T11" fmla="*/ 26 h 64"/>
                  <a:gd name="T12" fmla="*/ 24 w 48"/>
                  <a:gd name="T13" fmla="*/ 42 h 64"/>
                  <a:gd name="T14" fmla="*/ 24 w 48"/>
                  <a:gd name="T15" fmla="*/ 42 h 64"/>
                  <a:gd name="T16" fmla="*/ 10 w 48"/>
                  <a:gd name="T17" fmla="*/ 58 h 64"/>
                  <a:gd name="T18" fmla="*/ 10 w 48"/>
                  <a:gd name="T19" fmla="*/ 58 h 64"/>
                  <a:gd name="T20" fmla="*/ 32 w 48"/>
                  <a:gd name="T21" fmla="*/ 50 h 64"/>
                  <a:gd name="T22" fmla="*/ 32 w 48"/>
                  <a:gd name="T23" fmla="*/ 50 h 64"/>
                  <a:gd name="T24" fmla="*/ 32 w 48"/>
                  <a:gd name="T25" fmla="*/ 64 h 64"/>
                  <a:gd name="T26" fmla="*/ 32 w 48"/>
                  <a:gd name="T27" fmla="*/ 64 h 64"/>
                  <a:gd name="T28" fmla="*/ 40 w 48"/>
                  <a:gd name="T29" fmla="*/ 56 h 64"/>
                  <a:gd name="T30" fmla="*/ 48 w 48"/>
                  <a:gd name="T31" fmla="*/ 46 h 64"/>
                  <a:gd name="T32" fmla="*/ 48 w 48"/>
                  <a:gd name="T33" fmla="*/ 46 h 64"/>
                  <a:gd name="T34" fmla="*/ 14 w 48"/>
                  <a:gd name="T35" fmla="*/ 0 h 64"/>
                  <a:gd name="T36" fmla="*/ 14 w 48"/>
                  <a:gd name="T37" fmla="*/ 0 h 64"/>
                  <a:gd name="T38" fmla="*/ 14 w 48"/>
                  <a:gd name="T39" fmla="*/ 0 h 64"/>
                  <a:gd name="T40" fmla="*/ 14 w 48"/>
                  <a:gd name="T41" fmla="*/ 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4">
                    <a:moveTo>
                      <a:pt x="14" y="0"/>
                    </a:moveTo>
                    <a:lnTo>
                      <a:pt x="14" y="0"/>
                    </a:lnTo>
                    <a:lnTo>
                      <a:pt x="26" y="28"/>
                    </a:lnTo>
                    <a:lnTo>
                      <a:pt x="26" y="28"/>
                    </a:lnTo>
                    <a:lnTo>
                      <a:pt x="0" y="26"/>
                    </a:lnTo>
                    <a:lnTo>
                      <a:pt x="0" y="26"/>
                    </a:lnTo>
                    <a:lnTo>
                      <a:pt x="24" y="42"/>
                    </a:lnTo>
                    <a:lnTo>
                      <a:pt x="24" y="42"/>
                    </a:lnTo>
                    <a:lnTo>
                      <a:pt x="10" y="58"/>
                    </a:lnTo>
                    <a:lnTo>
                      <a:pt x="10" y="58"/>
                    </a:lnTo>
                    <a:lnTo>
                      <a:pt x="32" y="50"/>
                    </a:lnTo>
                    <a:lnTo>
                      <a:pt x="32" y="50"/>
                    </a:lnTo>
                    <a:lnTo>
                      <a:pt x="32" y="64"/>
                    </a:lnTo>
                    <a:lnTo>
                      <a:pt x="32" y="64"/>
                    </a:lnTo>
                    <a:lnTo>
                      <a:pt x="40" y="56"/>
                    </a:lnTo>
                    <a:lnTo>
                      <a:pt x="48" y="46"/>
                    </a:lnTo>
                    <a:lnTo>
                      <a:pt x="48" y="46"/>
                    </a:lnTo>
                    <a:lnTo>
                      <a:pt x="14" y="0"/>
                    </a:lnTo>
                    <a:lnTo>
                      <a:pt x="14" y="0"/>
                    </a:lnTo>
                    <a:lnTo>
                      <a:pt x="14" y="0"/>
                    </a:lnTo>
                    <a:lnTo>
                      <a:pt x="14"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04" name="Freeform 293">
                <a:extLst>
                  <a:ext uri="{FF2B5EF4-FFF2-40B4-BE49-F238E27FC236}">
                    <a16:creationId xmlns:a16="http://schemas.microsoft.com/office/drawing/2014/main" id="{B49B08F2-06A4-4479-8394-7B227159A95D}"/>
                  </a:ext>
                </a:extLst>
              </p:cNvPr>
              <p:cNvSpPr>
                <a:spLocks/>
              </p:cNvSpPr>
              <p:nvPr/>
            </p:nvSpPr>
            <p:spPr bwMode="auto">
              <a:xfrm>
                <a:off x="4672692" y="6338414"/>
                <a:ext cx="34868" cy="31261"/>
              </a:xfrm>
              <a:custGeom>
                <a:avLst/>
                <a:gdLst>
                  <a:gd name="T0" fmla="*/ 58 w 58"/>
                  <a:gd name="T1" fmla="*/ 18 h 52"/>
                  <a:gd name="T2" fmla="*/ 58 w 58"/>
                  <a:gd name="T3" fmla="*/ 18 h 52"/>
                  <a:gd name="T4" fmla="*/ 38 w 58"/>
                  <a:gd name="T5" fmla="*/ 28 h 52"/>
                  <a:gd name="T6" fmla="*/ 38 w 58"/>
                  <a:gd name="T7" fmla="*/ 28 h 52"/>
                  <a:gd name="T8" fmla="*/ 30 w 58"/>
                  <a:gd name="T9" fmla="*/ 0 h 52"/>
                  <a:gd name="T10" fmla="*/ 30 w 58"/>
                  <a:gd name="T11" fmla="*/ 0 h 52"/>
                  <a:gd name="T12" fmla="*/ 24 w 58"/>
                  <a:gd name="T13" fmla="*/ 26 h 52"/>
                  <a:gd name="T14" fmla="*/ 24 w 58"/>
                  <a:gd name="T15" fmla="*/ 26 h 52"/>
                  <a:gd name="T16" fmla="*/ 0 w 58"/>
                  <a:gd name="T17" fmla="*/ 6 h 52"/>
                  <a:gd name="T18" fmla="*/ 34 w 58"/>
                  <a:gd name="T19" fmla="*/ 52 h 52"/>
                  <a:gd name="T20" fmla="*/ 34 w 58"/>
                  <a:gd name="T21" fmla="*/ 52 h 52"/>
                  <a:gd name="T22" fmla="*/ 34 w 58"/>
                  <a:gd name="T23" fmla="*/ 52 h 52"/>
                  <a:gd name="T24" fmla="*/ 48 w 58"/>
                  <a:gd name="T25" fmla="*/ 48 h 52"/>
                  <a:gd name="T26" fmla="*/ 56 w 58"/>
                  <a:gd name="T27" fmla="*/ 42 h 52"/>
                  <a:gd name="T28" fmla="*/ 56 w 58"/>
                  <a:gd name="T29" fmla="*/ 42 h 52"/>
                  <a:gd name="T30" fmla="*/ 44 w 58"/>
                  <a:gd name="T31" fmla="*/ 38 h 52"/>
                  <a:gd name="T32" fmla="*/ 44 w 58"/>
                  <a:gd name="T33" fmla="*/ 38 h 52"/>
                  <a:gd name="T34" fmla="*/ 58 w 58"/>
                  <a:gd name="T35" fmla="*/ 18 h 52"/>
                  <a:gd name="T36" fmla="*/ 58 w 58"/>
                  <a:gd name="T37" fmla="*/ 1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52">
                    <a:moveTo>
                      <a:pt x="58" y="18"/>
                    </a:moveTo>
                    <a:lnTo>
                      <a:pt x="58" y="18"/>
                    </a:lnTo>
                    <a:lnTo>
                      <a:pt x="38" y="28"/>
                    </a:lnTo>
                    <a:lnTo>
                      <a:pt x="38" y="28"/>
                    </a:lnTo>
                    <a:lnTo>
                      <a:pt x="30" y="0"/>
                    </a:lnTo>
                    <a:lnTo>
                      <a:pt x="30" y="0"/>
                    </a:lnTo>
                    <a:lnTo>
                      <a:pt x="24" y="26"/>
                    </a:lnTo>
                    <a:lnTo>
                      <a:pt x="24" y="26"/>
                    </a:lnTo>
                    <a:lnTo>
                      <a:pt x="0" y="6"/>
                    </a:lnTo>
                    <a:lnTo>
                      <a:pt x="34" y="52"/>
                    </a:lnTo>
                    <a:lnTo>
                      <a:pt x="34" y="52"/>
                    </a:lnTo>
                    <a:lnTo>
                      <a:pt x="34" y="52"/>
                    </a:lnTo>
                    <a:lnTo>
                      <a:pt x="48" y="48"/>
                    </a:lnTo>
                    <a:lnTo>
                      <a:pt x="56" y="42"/>
                    </a:lnTo>
                    <a:lnTo>
                      <a:pt x="56" y="42"/>
                    </a:lnTo>
                    <a:lnTo>
                      <a:pt x="44" y="38"/>
                    </a:lnTo>
                    <a:lnTo>
                      <a:pt x="44" y="38"/>
                    </a:lnTo>
                    <a:lnTo>
                      <a:pt x="58" y="18"/>
                    </a:lnTo>
                    <a:lnTo>
                      <a:pt x="58" y="18"/>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05" name="Freeform 294">
                <a:extLst>
                  <a:ext uri="{FF2B5EF4-FFF2-40B4-BE49-F238E27FC236}">
                    <a16:creationId xmlns:a16="http://schemas.microsoft.com/office/drawing/2014/main" id="{39B37704-D413-4008-8B79-388212C6BC91}"/>
                  </a:ext>
                </a:extLst>
              </p:cNvPr>
              <p:cNvSpPr>
                <a:spLocks/>
              </p:cNvSpPr>
              <p:nvPr/>
            </p:nvSpPr>
            <p:spPr bwMode="auto">
              <a:xfrm>
                <a:off x="4518794" y="6427387"/>
                <a:ext cx="32463" cy="30058"/>
              </a:xfrm>
              <a:custGeom>
                <a:avLst/>
                <a:gdLst>
                  <a:gd name="T0" fmla="*/ 0 w 54"/>
                  <a:gd name="T1" fmla="*/ 0 h 50"/>
                  <a:gd name="T2" fmla="*/ 0 w 54"/>
                  <a:gd name="T3" fmla="*/ 0 h 50"/>
                  <a:gd name="T4" fmla="*/ 26 w 54"/>
                  <a:gd name="T5" fmla="*/ 16 h 50"/>
                  <a:gd name="T6" fmla="*/ 26 w 54"/>
                  <a:gd name="T7" fmla="*/ 16 h 50"/>
                  <a:gd name="T8" fmla="*/ 4 w 54"/>
                  <a:gd name="T9" fmla="*/ 30 h 50"/>
                  <a:gd name="T10" fmla="*/ 4 w 54"/>
                  <a:gd name="T11" fmla="*/ 30 h 50"/>
                  <a:gd name="T12" fmla="*/ 32 w 54"/>
                  <a:gd name="T13" fmla="*/ 28 h 50"/>
                  <a:gd name="T14" fmla="*/ 32 w 54"/>
                  <a:gd name="T15" fmla="*/ 28 h 50"/>
                  <a:gd name="T16" fmla="*/ 30 w 54"/>
                  <a:gd name="T17" fmla="*/ 50 h 50"/>
                  <a:gd name="T18" fmla="*/ 30 w 54"/>
                  <a:gd name="T19" fmla="*/ 50 h 50"/>
                  <a:gd name="T20" fmla="*/ 44 w 54"/>
                  <a:gd name="T21" fmla="*/ 32 h 50"/>
                  <a:gd name="T22" fmla="*/ 44 w 54"/>
                  <a:gd name="T23" fmla="*/ 32 h 50"/>
                  <a:gd name="T24" fmla="*/ 52 w 54"/>
                  <a:gd name="T25" fmla="*/ 42 h 50"/>
                  <a:gd name="T26" fmla="*/ 52 w 54"/>
                  <a:gd name="T27" fmla="*/ 42 h 50"/>
                  <a:gd name="T28" fmla="*/ 54 w 54"/>
                  <a:gd name="T29" fmla="*/ 32 h 50"/>
                  <a:gd name="T30" fmla="*/ 54 w 54"/>
                  <a:gd name="T31" fmla="*/ 18 h 50"/>
                  <a:gd name="T32" fmla="*/ 54 w 54"/>
                  <a:gd name="T33" fmla="*/ 18 h 50"/>
                  <a:gd name="T34" fmla="*/ 0 w 54"/>
                  <a:gd name="T35" fmla="*/ 0 h 50"/>
                  <a:gd name="T36" fmla="*/ 0 w 54"/>
                  <a:gd name="T37" fmla="*/ 0 h 50"/>
                  <a:gd name="T38" fmla="*/ 0 w 54"/>
                  <a:gd name="T39" fmla="*/ 0 h 50"/>
                  <a:gd name="T40" fmla="*/ 0 w 54"/>
                  <a:gd name="T4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50">
                    <a:moveTo>
                      <a:pt x="0" y="0"/>
                    </a:moveTo>
                    <a:lnTo>
                      <a:pt x="0" y="0"/>
                    </a:lnTo>
                    <a:lnTo>
                      <a:pt x="26" y="16"/>
                    </a:lnTo>
                    <a:lnTo>
                      <a:pt x="26" y="16"/>
                    </a:lnTo>
                    <a:lnTo>
                      <a:pt x="4" y="30"/>
                    </a:lnTo>
                    <a:lnTo>
                      <a:pt x="4" y="30"/>
                    </a:lnTo>
                    <a:lnTo>
                      <a:pt x="32" y="28"/>
                    </a:lnTo>
                    <a:lnTo>
                      <a:pt x="32" y="28"/>
                    </a:lnTo>
                    <a:lnTo>
                      <a:pt x="30" y="50"/>
                    </a:lnTo>
                    <a:lnTo>
                      <a:pt x="30" y="50"/>
                    </a:lnTo>
                    <a:lnTo>
                      <a:pt x="44" y="32"/>
                    </a:lnTo>
                    <a:lnTo>
                      <a:pt x="44" y="32"/>
                    </a:lnTo>
                    <a:lnTo>
                      <a:pt x="52" y="42"/>
                    </a:lnTo>
                    <a:lnTo>
                      <a:pt x="52" y="42"/>
                    </a:lnTo>
                    <a:lnTo>
                      <a:pt x="54" y="32"/>
                    </a:lnTo>
                    <a:lnTo>
                      <a:pt x="54" y="18"/>
                    </a:lnTo>
                    <a:lnTo>
                      <a:pt x="54" y="18"/>
                    </a:lnTo>
                    <a:lnTo>
                      <a:pt x="0" y="0"/>
                    </a:lnTo>
                    <a:lnTo>
                      <a:pt x="0" y="0"/>
                    </a:lnTo>
                    <a:lnTo>
                      <a:pt x="0" y="0"/>
                    </a:lnTo>
                    <a:lnTo>
                      <a:pt x="0"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06" name="Freeform 295">
                <a:extLst>
                  <a:ext uri="{FF2B5EF4-FFF2-40B4-BE49-F238E27FC236}">
                    <a16:creationId xmlns:a16="http://schemas.microsoft.com/office/drawing/2014/main" id="{3B47C11F-5D56-429A-AADB-62185AD12BEC}"/>
                  </a:ext>
                </a:extLst>
              </p:cNvPr>
              <p:cNvSpPr>
                <a:spLocks/>
              </p:cNvSpPr>
              <p:nvPr/>
            </p:nvSpPr>
            <p:spPr bwMode="auto">
              <a:xfrm>
                <a:off x="4518794" y="6414161"/>
                <a:ext cx="40879" cy="24047"/>
              </a:xfrm>
              <a:custGeom>
                <a:avLst/>
                <a:gdLst>
                  <a:gd name="T0" fmla="*/ 54 w 68"/>
                  <a:gd name="T1" fmla="*/ 0 h 40"/>
                  <a:gd name="T2" fmla="*/ 54 w 68"/>
                  <a:gd name="T3" fmla="*/ 0 h 40"/>
                  <a:gd name="T4" fmla="*/ 44 w 68"/>
                  <a:gd name="T5" fmla="*/ 18 h 40"/>
                  <a:gd name="T6" fmla="*/ 44 w 68"/>
                  <a:gd name="T7" fmla="*/ 18 h 40"/>
                  <a:gd name="T8" fmla="*/ 22 w 68"/>
                  <a:gd name="T9" fmla="*/ 0 h 40"/>
                  <a:gd name="T10" fmla="*/ 22 w 68"/>
                  <a:gd name="T11" fmla="*/ 0 h 40"/>
                  <a:gd name="T12" fmla="*/ 30 w 68"/>
                  <a:gd name="T13" fmla="*/ 24 h 40"/>
                  <a:gd name="T14" fmla="*/ 30 w 68"/>
                  <a:gd name="T15" fmla="*/ 24 h 40"/>
                  <a:gd name="T16" fmla="*/ 0 w 68"/>
                  <a:gd name="T17" fmla="*/ 22 h 40"/>
                  <a:gd name="T18" fmla="*/ 54 w 68"/>
                  <a:gd name="T19" fmla="*/ 40 h 40"/>
                  <a:gd name="T20" fmla="*/ 56 w 68"/>
                  <a:gd name="T21" fmla="*/ 40 h 40"/>
                  <a:gd name="T22" fmla="*/ 56 w 68"/>
                  <a:gd name="T23" fmla="*/ 40 h 40"/>
                  <a:gd name="T24" fmla="*/ 62 w 68"/>
                  <a:gd name="T25" fmla="*/ 28 h 40"/>
                  <a:gd name="T26" fmla="*/ 68 w 68"/>
                  <a:gd name="T27" fmla="*/ 20 h 40"/>
                  <a:gd name="T28" fmla="*/ 68 w 68"/>
                  <a:gd name="T29" fmla="*/ 20 h 40"/>
                  <a:gd name="T30" fmla="*/ 56 w 68"/>
                  <a:gd name="T31" fmla="*/ 22 h 40"/>
                  <a:gd name="T32" fmla="*/ 56 w 68"/>
                  <a:gd name="T33" fmla="*/ 22 h 40"/>
                  <a:gd name="T34" fmla="*/ 54 w 68"/>
                  <a:gd name="T35" fmla="*/ 0 h 40"/>
                  <a:gd name="T36" fmla="*/ 54 w 68"/>
                  <a:gd name="T3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8" h="40">
                    <a:moveTo>
                      <a:pt x="54" y="0"/>
                    </a:moveTo>
                    <a:lnTo>
                      <a:pt x="54" y="0"/>
                    </a:lnTo>
                    <a:lnTo>
                      <a:pt x="44" y="18"/>
                    </a:lnTo>
                    <a:lnTo>
                      <a:pt x="44" y="18"/>
                    </a:lnTo>
                    <a:lnTo>
                      <a:pt x="22" y="0"/>
                    </a:lnTo>
                    <a:lnTo>
                      <a:pt x="22" y="0"/>
                    </a:lnTo>
                    <a:lnTo>
                      <a:pt x="30" y="24"/>
                    </a:lnTo>
                    <a:lnTo>
                      <a:pt x="30" y="24"/>
                    </a:lnTo>
                    <a:lnTo>
                      <a:pt x="0" y="22"/>
                    </a:lnTo>
                    <a:lnTo>
                      <a:pt x="54" y="40"/>
                    </a:lnTo>
                    <a:lnTo>
                      <a:pt x="56" y="40"/>
                    </a:lnTo>
                    <a:lnTo>
                      <a:pt x="56" y="40"/>
                    </a:lnTo>
                    <a:lnTo>
                      <a:pt x="62" y="28"/>
                    </a:lnTo>
                    <a:lnTo>
                      <a:pt x="68" y="20"/>
                    </a:lnTo>
                    <a:lnTo>
                      <a:pt x="68" y="20"/>
                    </a:lnTo>
                    <a:lnTo>
                      <a:pt x="56" y="22"/>
                    </a:lnTo>
                    <a:lnTo>
                      <a:pt x="56" y="22"/>
                    </a:lnTo>
                    <a:lnTo>
                      <a:pt x="54" y="0"/>
                    </a:lnTo>
                    <a:lnTo>
                      <a:pt x="54"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07" name="Freeform 296">
                <a:extLst>
                  <a:ext uri="{FF2B5EF4-FFF2-40B4-BE49-F238E27FC236}">
                    <a16:creationId xmlns:a16="http://schemas.microsoft.com/office/drawing/2014/main" id="{AAB4B0C4-665F-4C56-B262-C193A9B61FB1}"/>
                  </a:ext>
                </a:extLst>
              </p:cNvPr>
              <p:cNvSpPr>
                <a:spLocks/>
              </p:cNvSpPr>
              <p:nvPr/>
            </p:nvSpPr>
            <p:spPr bwMode="auto">
              <a:xfrm>
                <a:off x="4750843" y="6302344"/>
                <a:ext cx="27654" cy="34868"/>
              </a:xfrm>
              <a:custGeom>
                <a:avLst/>
                <a:gdLst>
                  <a:gd name="T0" fmla="*/ 46 w 46"/>
                  <a:gd name="T1" fmla="*/ 0 h 58"/>
                  <a:gd name="T2" fmla="*/ 46 w 46"/>
                  <a:gd name="T3" fmla="*/ 0 h 58"/>
                  <a:gd name="T4" fmla="*/ 32 w 46"/>
                  <a:gd name="T5" fmla="*/ 28 h 58"/>
                  <a:gd name="T6" fmla="*/ 32 w 46"/>
                  <a:gd name="T7" fmla="*/ 28 h 58"/>
                  <a:gd name="T8" fmla="*/ 18 w 46"/>
                  <a:gd name="T9" fmla="*/ 8 h 58"/>
                  <a:gd name="T10" fmla="*/ 18 w 46"/>
                  <a:gd name="T11" fmla="*/ 8 h 58"/>
                  <a:gd name="T12" fmla="*/ 22 w 46"/>
                  <a:gd name="T13" fmla="*/ 36 h 58"/>
                  <a:gd name="T14" fmla="*/ 22 w 46"/>
                  <a:gd name="T15" fmla="*/ 36 h 58"/>
                  <a:gd name="T16" fmla="*/ 0 w 46"/>
                  <a:gd name="T17" fmla="*/ 36 h 58"/>
                  <a:gd name="T18" fmla="*/ 0 w 46"/>
                  <a:gd name="T19" fmla="*/ 36 h 58"/>
                  <a:gd name="T20" fmla="*/ 20 w 46"/>
                  <a:gd name="T21" fmla="*/ 48 h 58"/>
                  <a:gd name="T22" fmla="*/ 20 w 46"/>
                  <a:gd name="T23" fmla="*/ 48 h 58"/>
                  <a:gd name="T24" fmla="*/ 10 w 46"/>
                  <a:gd name="T25" fmla="*/ 58 h 58"/>
                  <a:gd name="T26" fmla="*/ 10 w 46"/>
                  <a:gd name="T27" fmla="*/ 58 h 58"/>
                  <a:gd name="T28" fmla="*/ 20 w 46"/>
                  <a:gd name="T29" fmla="*/ 58 h 58"/>
                  <a:gd name="T30" fmla="*/ 34 w 46"/>
                  <a:gd name="T31" fmla="*/ 58 h 58"/>
                  <a:gd name="T32" fmla="*/ 34 w 46"/>
                  <a:gd name="T33" fmla="*/ 58 h 58"/>
                  <a:gd name="T34" fmla="*/ 46 w 46"/>
                  <a:gd name="T35" fmla="*/ 2 h 58"/>
                  <a:gd name="T36" fmla="*/ 46 w 46"/>
                  <a:gd name="T37" fmla="*/ 2 h 58"/>
                  <a:gd name="T38" fmla="*/ 46 w 46"/>
                  <a:gd name="T39" fmla="*/ 0 h 58"/>
                  <a:gd name="T40" fmla="*/ 46 w 4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6" h="58">
                    <a:moveTo>
                      <a:pt x="46" y="0"/>
                    </a:moveTo>
                    <a:lnTo>
                      <a:pt x="46" y="0"/>
                    </a:lnTo>
                    <a:lnTo>
                      <a:pt x="32" y="28"/>
                    </a:lnTo>
                    <a:lnTo>
                      <a:pt x="32" y="28"/>
                    </a:lnTo>
                    <a:lnTo>
                      <a:pt x="18" y="8"/>
                    </a:lnTo>
                    <a:lnTo>
                      <a:pt x="18" y="8"/>
                    </a:lnTo>
                    <a:lnTo>
                      <a:pt x="22" y="36"/>
                    </a:lnTo>
                    <a:lnTo>
                      <a:pt x="22" y="36"/>
                    </a:lnTo>
                    <a:lnTo>
                      <a:pt x="0" y="36"/>
                    </a:lnTo>
                    <a:lnTo>
                      <a:pt x="0" y="36"/>
                    </a:lnTo>
                    <a:lnTo>
                      <a:pt x="20" y="48"/>
                    </a:lnTo>
                    <a:lnTo>
                      <a:pt x="20" y="48"/>
                    </a:lnTo>
                    <a:lnTo>
                      <a:pt x="10" y="58"/>
                    </a:lnTo>
                    <a:lnTo>
                      <a:pt x="10" y="58"/>
                    </a:lnTo>
                    <a:lnTo>
                      <a:pt x="20" y="58"/>
                    </a:lnTo>
                    <a:lnTo>
                      <a:pt x="34" y="58"/>
                    </a:lnTo>
                    <a:lnTo>
                      <a:pt x="34" y="58"/>
                    </a:lnTo>
                    <a:lnTo>
                      <a:pt x="46" y="2"/>
                    </a:lnTo>
                    <a:lnTo>
                      <a:pt x="46" y="2"/>
                    </a:lnTo>
                    <a:lnTo>
                      <a:pt x="46" y="0"/>
                    </a:lnTo>
                    <a:lnTo>
                      <a:pt x="46"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08" name="Freeform 297">
                <a:extLst>
                  <a:ext uri="{FF2B5EF4-FFF2-40B4-BE49-F238E27FC236}">
                    <a16:creationId xmlns:a16="http://schemas.microsoft.com/office/drawing/2014/main" id="{92D12E8F-AA57-426D-A1ED-B1DB007D7D5F}"/>
                  </a:ext>
                </a:extLst>
              </p:cNvPr>
              <p:cNvSpPr>
                <a:spLocks/>
              </p:cNvSpPr>
              <p:nvPr/>
            </p:nvSpPr>
            <p:spPr bwMode="auto">
              <a:xfrm>
                <a:off x="4771283" y="6303547"/>
                <a:ext cx="24047" cy="39677"/>
              </a:xfrm>
              <a:custGeom>
                <a:avLst/>
                <a:gdLst>
                  <a:gd name="T0" fmla="*/ 40 w 40"/>
                  <a:gd name="T1" fmla="*/ 52 h 66"/>
                  <a:gd name="T2" fmla="*/ 40 w 40"/>
                  <a:gd name="T3" fmla="*/ 52 h 66"/>
                  <a:gd name="T4" fmla="*/ 22 w 40"/>
                  <a:gd name="T5" fmla="*/ 42 h 66"/>
                  <a:gd name="T6" fmla="*/ 22 w 40"/>
                  <a:gd name="T7" fmla="*/ 42 h 66"/>
                  <a:gd name="T8" fmla="*/ 36 w 40"/>
                  <a:gd name="T9" fmla="*/ 18 h 66"/>
                  <a:gd name="T10" fmla="*/ 36 w 40"/>
                  <a:gd name="T11" fmla="*/ 18 h 66"/>
                  <a:gd name="T12" fmla="*/ 14 w 40"/>
                  <a:gd name="T13" fmla="*/ 30 h 66"/>
                  <a:gd name="T14" fmla="*/ 14 w 40"/>
                  <a:gd name="T15" fmla="*/ 30 h 66"/>
                  <a:gd name="T16" fmla="*/ 12 w 40"/>
                  <a:gd name="T17" fmla="*/ 0 h 66"/>
                  <a:gd name="T18" fmla="*/ 0 w 40"/>
                  <a:gd name="T19" fmla="*/ 56 h 66"/>
                  <a:gd name="T20" fmla="*/ 0 w 40"/>
                  <a:gd name="T21" fmla="*/ 56 h 66"/>
                  <a:gd name="T22" fmla="*/ 0 w 40"/>
                  <a:gd name="T23" fmla="*/ 56 h 66"/>
                  <a:gd name="T24" fmla="*/ 12 w 40"/>
                  <a:gd name="T25" fmla="*/ 62 h 66"/>
                  <a:gd name="T26" fmla="*/ 22 w 40"/>
                  <a:gd name="T27" fmla="*/ 66 h 66"/>
                  <a:gd name="T28" fmla="*/ 22 w 40"/>
                  <a:gd name="T29" fmla="*/ 66 h 66"/>
                  <a:gd name="T30" fmla="*/ 18 w 40"/>
                  <a:gd name="T31" fmla="*/ 54 h 66"/>
                  <a:gd name="T32" fmla="*/ 18 w 40"/>
                  <a:gd name="T33" fmla="*/ 54 h 66"/>
                  <a:gd name="T34" fmla="*/ 40 w 40"/>
                  <a:gd name="T35" fmla="*/ 52 h 66"/>
                  <a:gd name="T36" fmla="*/ 40 w 40"/>
                  <a:gd name="T37" fmla="*/ 5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66">
                    <a:moveTo>
                      <a:pt x="40" y="52"/>
                    </a:moveTo>
                    <a:lnTo>
                      <a:pt x="40" y="52"/>
                    </a:lnTo>
                    <a:lnTo>
                      <a:pt x="22" y="42"/>
                    </a:lnTo>
                    <a:lnTo>
                      <a:pt x="22" y="42"/>
                    </a:lnTo>
                    <a:lnTo>
                      <a:pt x="36" y="18"/>
                    </a:lnTo>
                    <a:lnTo>
                      <a:pt x="36" y="18"/>
                    </a:lnTo>
                    <a:lnTo>
                      <a:pt x="14" y="30"/>
                    </a:lnTo>
                    <a:lnTo>
                      <a:pt x="14" y="30"/>
                    </a:lnTo>
                    <a:lnTo>
                      <a:pt x="12" y="0"/>
                    </a:lnTo>
                    <a:lnTo>
                      <a:pt x="0" y="56"/>
                    </a:lnTo>
                    <a:lnTo>
                      <a:pt x="0" y="56"/>
                    </a:lnTo>
                    <a:lnTo>
                      <a:pt x="0" y="56"/>
                    </a:lnTo>
                    <a:lnTo>
                      <a:pt x="12" y="62"/>
                    </a:lnTo>
                    <a:lnTo>
                      <a:pt x="22" y="66"/>
                    </a:lnTo>
                    <a:lnTo>
                      <a:pt x="22" y="66"/>
                    </a:lnTo>
                    <a:lnTo>
                      <a:pt x="18" y="54"/>
                    </a:lnTo>
                    <a:lnTo>
                      <a:pt x="18" y="54"/>
                    </a:lnTo>
                    <a:lnTo>
                      <a:pt x="40" y="52"/>
                    </a:lnTo>
                    <a:lnTo>
                      <a:pt x="40" y="5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209" name="Group 2208">
            <a:extLst>
              <a:ext uri="{FF2B5EF4-FFF2-40B4-BE49-F238E27FC236}">
                <a16:creationId xmlns:a16="http://schemas.microsoft.com/office/drawing/2014/main" id="{6ACBFFB2-6E28-46A7-AB28-8B0DE85CA4A5}"/>
              </a:ext>
            </a:extLst>
          </p:cNvPr>
          <p:cNvGrpSpPr/>
          <p:nvPr/>
        </p:nvGrpSpPr>
        <p:grpSpPr>
          <a:xfrm>
            <a:off x="2425171" y="5530909"/>
            <a:ext cx="612000" cy="612000"/>
            <a:chOff x="592807" y="6132102"/>
            <a:chExt cx="612000" cy="612000"/>
          </a:xfrm>
        </p:grpSpPr>
        <p:sp>
          <p:nvSpPr>
            <p:cNvPr id="2210" name="Oval 2209">
              <a:extLst>
                <a:ext uri="{FF2B5EF4-FFF2-40B4-BE49-F238E27FC236}">
                  <a16:creationId xmlns:a16="http://schemas.microsoft.com/office/drawing/2014/main" id="{9886CE9A-CDC7-4EC3-A1AF-C5C7CD855C0C}"/>
                </a:ext>
              </a:extLst>
            </p:cNvPr>
            <p:cNvSpPr/>
            <p:nvPr/>
          </p:nvSpPr>
          <p:spPr bwMode="ltGray">
            <a:xfrm>
              <a:off x="592807" y="613210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211" name="Group 2210">
              <a:extLst>
                <a:ext uri="{FF2B5EF4-FFF2-40B4-BE49-F238E27FC236}">
                  <a16:creationId xmlns:a16="http://schemas.microsoft.com/office/drawing/2014/main" id="{7DB4B87C-C4D2-49CB-90A8-DB3D4D8EDC0C}"/>
                </a:ext>
              </a:extLst>
            </p:cNvPr>
            <p:cNvGrpSpPr/>
            <p:nvPr/>
          </p:nvGrpSpPr>
          <p:grpSpPr>
            <a:xfrm>
              <a:off x="745095" y="6244262"/>
              <a:ext cx="331584" cy="441745"/>
              <a:chOff x="722989" y="6228899"/>
              <a:chExt cx="359201" cy="478537"/>
            </a:xfrm>
          </p:grpSpPr>
          <p:sp>
            <p:nvSpPr>
              <p:cNvPr id="2212" name="Freeform 612">
                <a:extLst>
                  <a:ext uri="{FF2B5EF4-FFF2-40B4-BE49-F238E27FC236}">
                    <a16:creationId xmlns:a16="http://schemas.microsoft.com/office/drawing/2014/main" id="{4997476E-CEFE-4BE5-8A54-93F0283668CB}"/>
                  </a:ext>
                </a:extLst>
              </p:cNvPr>
              <p:cNvSpPr>
                <a:spLocks/>
              </p:cNvSpPr>
              <p:nvPr/>
            </p:nvSpPr>
            <p:spPr bwMode="auto">
              <a:xfrm rot="16200000">
                <a:off x="857019" y="6366950"/>
                <a:ext cx="88460" cy="75057"/>
              </a:xfrm>
              <a:custGeom>
                <a:avLst/>
                <a:gdLst>
                  <a:gd name="T0" fmla="*/ 34 w 331"/>
                  <a:gd name="T1" fmla="*/ 71 h 280"/>
                  <a:gd name="T2" fmla="*/ 19 w 331"/>
                  <a:gd name="T3" fmla="*/ 59 h 280"/>
                  <a:gd name="T4" fmla="*/ 0 w 331"/>
                  <a:gd name="T5" fmla="*/ 43 h 280"/>
                  <a:gd name="T6" fmla="*/ 0 w 331"/>
                  <a:gd name="T7" fmla="*/ 222 h 280"/>
                  <a:gd name="T8" fmla="*/ 14 w 331"/>
                  <a:gd name="T9" fmla="*/ 210 h 280"/>
                  <a:gd name="T10" fmla="*/ 29 w 331"/>
                  <a:gd name="T11" fmla="*/ 198 h 280"/>
                  <a:gd name="T12" fmla="*/ 42 w 331"/>
                  <a:gd name="T13" fmla="*/ 211 h 280"/>
                  <a:gd name="T14" fmla="*/ 112 w 331"/>
                  <a:gd name="T15" fmla="*/ 280 h 280"/>
                  <a:gd name="T16" fmla="*/ 112 w 331"/>
                  <a:gd name="T17" fmla="*/ 280 h 280"/>
                  <a:gd name="T18" fmla="*/ 221 w 331"/>
                  <a:gd name="T19" fmla="*/ 212 h 280"/>
                  <a:gd name="T20" fmla="*/ 331 w 331"/>
                  <a:gd name="T21" fmla="*/ 142 h 280"/>
                  <a:gd name="T22" fmla="*/ 331 w 331"/>
                  <a:gd name="T23" fmla="*/ 142 h 280"/>
                  <a:gd name="T24" fmla="*/ 219 w 331"/>
                  <a:gd name="T25" fmla="*/ 70 h 280"/>
                  <a:gd name="T26" fmla="*/ 108 w 331"/>
                  <a:gd name="T27" fmla="*/ 0 h 280"/>
                  <a:gd name="T28" fmla="*/ 47 w 331"/>
                  <a:gd name="T29" fmla="*/ 59 h 280"/>
                  <a:gd name="T30" fmla="*/ 34 w 331"/>
                  <a:gd name="T31" fmla="*/ 7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1" h="280">
                    <a:moveTo>
                      <a:pt x="34" y="71"/>
                    </a:moveTo>
                    <a:lnTo>
                      <a:pt x="19" y="59"/>
                    </a:lnTo>
                    <a:lnTo>
                      <a:pt x="0" y="43"/>
                    </a:lnTo>
                    <a:lnTo>
                      <a:pt x="0" y="222"/>
                    </a:lnTo>
                    <a:lnTo>
                      <a:pt x="14" y="210"/>
                    </a:lnTo>
                    <a:lnTo>
                      <a:pt x="29" y="198"/>
                    </a:lnTo>
                    <a:lnTo>
                      <a:pt x="42" y="211"/>
                    </a:lnTo>
                    <a:lnTo>
                      <a:pt x="112" y="280"/>
                    </a:lnTo>
                    <a:lnTo>
                      <a:pt x="112" y="280"/>
                    </a:lnTo>
                    <a:lnTo>
                      <a:pt x="221" y="212"/>
                    </a:lnTo>
                    <a:lnTo>
                      <a:pt x="331" y="142"/>
                    </a:lnTo>
                    <a:lnTo>
                      <a:pt x="331" y="142"/>
                    </a:lnTo>
                    <a:lnTo>
                      <a:pt x="219" y="70"/>
                    </a:lnTo>
                    <a:lnTo>
                      <a:pt x="108" y="0"/>
                    </a:lnTo>
                    <a:lnTo>
                      <a:pt x="47" y="59"/>
                    </a:lnTo>
                    <a:lnTo>
                      <a:pt x="34" y="71"/>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13" name="Freeform 613">
                <a:extLst>
                  <a:ext uri="{FF2B5EF4-FFF2-40B4-BE49-F238E27FC236}">
                    <a16:creationId xmlns:a16="http://schemas.microsoft.com/office/drawing/2014/main" id="{1CA950D5-349C-40F3-9778-9E240C3BFCFA}"/>
                  </a:ext>
                </a:extLst>
              </p:cNvPr>
              <p:cNvSpPr>
                <a:spLocks/>
              </p:cNvSpPr>
              <p:nvPr/>
            </p:nvSpPr>
            <p:spPr bwMode="auto">
              <a:xfrm rot="16200000">
                <a:off x="899239" y="6425253"/>
                <a:ext cx="1341" cy="48251"/>
              </a:xfrm>
              <a:custGeom>
                <a:avLst/>
                <a:gdLst>
                  <a:gd name="T0" fmla="*/ 2 w 2"/>
                  <a:gd name="T1" fmla="*/ 2 h 183"/>
                  <a:gd name="T2" fmla="*/ 1 w 2"/>
                  <a:gd name="T3" fmla="*/ 0 h 183"/>
                  <a:gd name="T4" fmla="*/ 0 w 2"/>
                  <a:gd name="T5" fmla="*/ 183 h 183"/>
                  <a:gd name="T6" fmla="*/ 2 w 2"/>
                  <a:gd name="T7" fmla="*/ 181 h 183"/>
                  <a:gd name="T8" fmla="*/ 2 w 2"/>
                  <a:gd name="T9" fmla="*/ 2 h 183"/>
                </a:gdLst>
                <a:ahLst/>
                <a:cxnLst>
                  <a:cxn ang="0">
                    <a:pos x="T0" y="T1"/>
                  </a:cxn>
                  <a:cxn ang="0">
                    <a:pos x="T2" y="T3"/>
                  </a:cxn>
                  <a:cxn ang="0">
                    <a:pos x="T4" y="T5"/>
                  </a:cxn>
                  <a:cxn ang="0">
                    <a:pos x="T6" y="T7"/>
                  </a:cxn>
                  <a:cxn ang="0">
                    <a:pos x="T8" y="T9"/>
                  </a:cxn>
                </a:cxnLst>
                <a:rect l="0" t="0" r="r" b="b"/>
                <a:pathLst>
                  <a:path w="2" h="183">
                    <a:moveTo>
                      <a:pt x="2" y="2"/>
                    </a:moveTo>
                    <a:lnTo>
                      <a:pt x="1" y="0"/>
                    </a:lnTo>
                    <a:lnTo>
                      <a:pt x="0" y="183"/>
                    </a:lnTo>
                    <a:lnTo>
                      <a:pt x="2" y="181"/>
                    </a:lnTo>
                    <a:lnTo>
                      <a:pt x="2" y="2"/>
                    </a:lnTo>
                    <a:close/>
                  </a:path>
                </a:pathLst>
              </a:custGeom>
              <a:solidFill>
                <a:srgbClr val="3C3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14" name="Freeform 614">
                <a:extLst>
                  <a:ext uri="{FF2B5EF4-FFF2-40B4-BE49-F238E27FC236}">
                    <a16:creationId xmlns:a16="http://schemas.microsoft.com/office/drawing/2014/main" id="{76C6139C-5CE6-4D4D-A8D7-A6BF186EB2EF}"/>
                  </a:ext>
                </a:extLst>
              </p:cNvPr>
              <p:cNvSpPr>
                <a:spLocks/>
              </p:cNvSpPr>
              <p:nvPr/>
            </p:nvSpPr>
            <p:spPr bwMode="auto">
              <a:xfrm rot="16200000">
                <a:off x="907951" y="6239621"/>
                <a:ext cx="152794" cy="168878"/>
              </a:xfrm>
              <a:custGeom>
                <a:avLst/>
                <a:gdLst>
                  <a:gd name="T0" fmla="*/ 552 w 572"/>
                  <a:gd name="T1" fmla="*/ 632 h 632"/>
                  <a:gd name="T2" fmla="*/ 572 w 572"/>
                  <a:gd name="T3" fmla="*/ 615 h 632"/>
                  <a:gd name="T4" fmla="*/ 572 w 572"/>
                  <a:gd name="T5" fmla="*/ 615 h 632"/>
                  <a:gd name="T6" fmla="*/ 505 w 572"/>
                  <a:gd name="T7" fmla="*/ 533 h 632"/>
                  <a:gd name="T8" fmla="*/ 439 w 572"/>
                  <a:gd name="T9" fmla="*/ 452 h 632"/>
                  <a:gd name="T10" fmla="*/ 371 w 572"/>
                  <a:gd name="T11" fmla="*/ 372 h 632"/>
                  <a:gd name="T12" fmla="*/ 303 w 572"/>
                  <a:gd name="T13" fmla="*/ 295 h 632"/>
                  <a:gd name="T14" fmla="*/ 233 w 572"/>
                  <a:gd name="T15" fmla="*/ 219 h 632"/>
                  <a:gd name="T16" fmla="*/ 163 w 572"/>
                  <a:gd name="T17" fmla="*/ 144 h 632"/>
                  <a:gd name="T18" fmla="*/ 91 w 572"/>
                  <a:gd name="T19" fmla="*/ 72 h 632"/>
                  <a:gd name="T20" fmla="*/ 18 w 572"/>
                  <a:gd name="T21" fmla="*/ 0 h 632"/>
                  <a:gd name="T22" fmla="*/ 0 w 572"/>
                  <a:gd name="T23" fmla="*/ 17 h 632"/>
                  <a:gd name="T24" fmla="*/ 0 w 572"/>
                  <a:gd name="T25" fmla="*/ 17 h 632"/>
                  <a:gd name="T26" fmla="*/ 73 w 572"/>
                  <a:gd name="T27" fmla="*/ 88 h 632"/>
                  <a:gd name="T28" fmla="*/ 144 w 572"/>
                  <a:gd name="T29" fmla="*/ 161 h 632"/>
                  <a:gd name="T30" fmla="*/ 215 w 572"/>
                  <a:gd name="T31" fmla="*/ 236 h 632"/>
                  <a:gd name="T32" fmla="*/ 284 w 572"/>
                  <a:gd name="T33" fmla="*/ 312 h 632"/>
                  <a:gd name="T34" fmla="*/ 353 w 572"/>
                  <a:gd name="T35" fmla="*/ 390 h 632"/>
                  <a:gd name="T36" fmla="*/ 419 w 572"/>
                  <a:gd name="T37" fmla="*/ 469 h 632"/>
                  <a:gd name="T38" fmla="*/ 486 w 572"/>
                  <a:gd name="T39" fmla="*/ 550 h 632"/>
                  <a:gd name="T40" fmla="*/ 552 w 572"/>
                  <a:gd name="T41" fmla="*/ 632 h 632"/>
                  <a:gd name="T42" fmla="*/ 552 w 572"/>
                  <a:gd name="T43" fmla="*/ 632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2" h="632">
                    <a:moveTo>
                      <a:pt x="552" y="632"/>
                    </a:moveTo>
                    <a:lnTo>
                      <a:pt x="572" y="615"/>
                    </a:lnTo>
                    <a:lnTo>
                      <a:pt x="572" y="615"/>
                    </a:lnTo>
                    <a:lnTo>
                      <a:pt x="505" y="533"/>
                    </a:lnTo>
                    <a:lnTo>
                      <a:pt x="439" y="452"/>
                    </a:lnTo>
                    <a:lnTo>
                      <a:pt x="371" y="372"/>
                    </a:lnTo>
                    <a:lnTo>
                      <a:pt x="303" y="295"/>
                    </a:lnTo>
                    <a:lnTo>
                      <a:pt x="233" y="219"/>
                    </a:lnTo>
                    <a:lnTo>
                      <a:pt x="163" y="144"/>
                    </a:lnTo>
                    <a:lnTo>
                      <a:pt x="91" y="72"/>
                    </a:lnTo>
                    <a:lnTo>
                      <a:pt x="18" y="0"/>
                    </a:lnTo>
                    <a:lnTo>
                      <a:pt x="0" y="17"/>
                    </a:lnTo>
                    <a:lnTo>
                      <a:pt x="0" y="17"/>
                    </a:lnTo>
                    <a:lnTo>
                      <a:pt x="73" y="88"/>
                    </a:lnTo>
                    <a:lnTo>
                      <a:pt x="144" y="161"/>
                    </a:lnTo>
                    <a:lnTo>
                      <a:pt x="215" y="236"/>
                    </a:lnTo>
                    <a:lnTo>
                      <a:pt x="284" y="312"/>
                    </a:lnTo>
                    <a:lnTo>
                      <a:pt x="353" y="390"/>
                    </a:lnTo>
                    <a:lnTo>
                      <a:pt x="419" y="469"/>
                    </a:lnTo>
                    <a:lnTo>
                      <a:pt x="486" y="550"/>
                    </a:lnTo>
                    <a:lnTo>
                      <a:pt x="552" y="632"/>
                    </a:lnTo>
                    <a:lnTo>
                      <a:pt x="552" y="632"/>
                    </a:lnTo>
                    <a:close/>
                  </a:path>
                </a:pathLst>
              </a:custGeom>
              <a:solidFill>
                <a:srgbClr val="3C3C3E"/>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15" name="Freeform 615">
                <a:extLst>
                  <a:ext uri="{FF2B5EF4-FFF2-40B4-BE49-F238E27FC236}">
                    <a16:creationId xmlns:a16="http://schemas.microsoft.com/office/drawing/2014/main" id="{F045A04F-ACE2-451C-801D-3D9F7C57F74C}"/>
                  </a:ext>
                </a:extLst>
              </p:cNvPr>
              <p:cNvSpPr>
                <a:spLocks/>
              </p:cNvSpPr>
              <p:nvPr/>
            </p:nvSpPr>
            <p:spPr bwMode="auto">
              <a:xfrm rot="16200000">
                <a:off x="934087" y="6224208"/>
                <a:ext cx="140732" cy="155475"/>
              </a:xfrm>
              <a:custGeom>
                <a:avLst/>
                <a:gdLst>
                  <a:gd name="T0" fmla="*/ 0 w 524"/>
                  <a:gd name="T1" fmla="*/ 68 h 578"/>
                  <a:gd name="T2" fmla="*/ 0 w 524"/>
                  <a:gd name="T3" fmla="*/ 68 h 578"/>
                  <a:gd name="T4" fmla="*/ 37 w 524"/>
                  <a:gd name="T5" fmla="*/ 34 h 578"/>
                  <a:gd name="T6" fmla="*/ 73 w 524"/>
                  <a:gd name="T7" fmla="*/ 0 h 578"/>
                  <a:gd name="T8" fmla="*/ 73 w 524"/>
                  <a:gd name="T9" fmla="*/ 0 h 578"/>
                  <a:gd name="T10" fmla="*/ 131 w 524"/>
                  <a:gd name="T11" fmla="*/ 54 h 578"/>
                  <a:gd name="T12" fmla="*/ 188 w 524"/>
                  <a:gd name="T13" fmla="*/ 111 h 578"/>
                  <a:gd name="T14" fmla="*/ 245 w 524"/>
                  <a:gd name="T15" fmla="*/ 169 h 578"/>
                  <a:gd name="T16" fmla="*/ 302 w 524"/>
                  <a:gd name="T17" fmla="*/ 227 h 578"/>
                  <a:gd name="T18" fmla="*/ 358 w 524"/>
                  <a:gd name="T19" fmla="*/ 286 h 578"/>
                  <a:gd name="T20" fmla="*/ 414 w 524"/>
                  <a:gd name="T21" fmla="*/ 347 h 578"/>
                  <a:gd name="T22" fmla="*/ 470 w 524"/>
                  <a:gd name="T23" fmla="*/ 408 h 578"/>
                  <a:gd name="T24" fmla="*/ 524 w 524"/>
                  <a:gd name="T25" fmla="*/ 470 h 578"/>
                  <a:gd name="T26" fmla="*/ 400 w 524"/>
                  <a:gd name="T27" fmla="*/ 578 h 578"/>
                  <a:gd name="T28" fmla="*/ 400 w 524"/>
                  <a:gd name="T29" fmla="*/ 578 h 578"/>
                  <a:gd name="T30" fmla="*/ 352 w 524"/>
                  <a:gd name="T31" fmla="*/ 510 h 578"/>
                  <a:gd name="T32" fmla="*/ 304 w 524"/>
                  <a:gd name="T33" fmla="*/ 445 h 578"/>
                  <a:gd name="T34" fmla="*/ 255 w 524"/>
                  <a:gd name="T35" fmla="*/ 379 h 578"/>
                  <a:gd name="T36" fmla="*/ 205 w 524"/>
                  <a:gd name="T37" fmla="*/ 315 h 578"/>
                  <a:gd name="T38" fmla="*/ 154 w 524"/>
                  <a:gd name="T39" fmla="*/ 251 h 578"/>
                  <a:gd name="T40" fmla="*/ 102 w 524"/>
                  <a:gd name="T41" fmla="*/ 190 h 578"/>
                  <a:gd name="T42" fmla="*/ 0 w 524"/>
                  <a:gd name="T43" fmla="*/ 68 h 578"/>
                  <a:gd name="T44" fmla="*/ 0 w 524"/>
                  <a:gd name="T45" fmla="*/ 68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24" h="578">
                    <a:moveTo>
                      <a:pt x="0" y="68"/>
                    </a:moveTo>
                    <a:lnTo>
                      <a:pt x="0" y="68"/>
                    </a:lnTo>
                    <a:lnTo>
                      <a:pt x="37" y="34"/>
                    </a:lnTo>
                    <a:lnTo>
                      <a:pt x="73" y="0"/>
                    </a:lnTo>
                    <a:lnTo>
                      <a:pt x="73" y="0"/>
                    </a:lnTo>
                    <a:lnTo>
                      <a:pt x="131" y="54"/>
                    </a:lnTo>
                    <a:lnTo>
                      <a:pt x="188" y="111"/>
                    </a:lnTo>
                    <a:lnTo>
                      <a:pt x="245" y="169"/>
                    </a:lnTo>
                    <a:lnTo>
                      <a:pt x="302" y="227"/>
                    </a:lnTo>
                    <a:lnTo>
                      <a:pt x="358" y="286"/>
                    </a:lnTo>
                    <a:lnTo>
                      <a:pt x="414" y="347"/>
                    </a:lnTo>
                    <a:lnTo>
                      <a:pt x="470" y="408"/>
                    </a:lnTo>
                    <a:lnTo>
                      <a:pt x="524" y="470"/>
                    </a:lnTo>
                    <a:lnTo>
                      <a:pt x="400" y="578"/>
                    </a:lnTo>
                    <a:lnTo>
                      <a:pt x="400" y="578"/>
                    </a:lnTo>
                    <a:lnTo>
                      <a:pt x="352" y="510"/>
                    </a:lnTo>
                    <a:lnTo>
                      <a:pt x="304" y="445"/>
                    </a:lnTo>
                    <a:lnTo>
                      <a:pt x="255" y="379"/>
                    </a:lnTo>
                    <a:lnTo>
                      <a:pt x="205" y="315"/>
                    </a:lnTo>
                    <a:lnTo>
                      <a:pt x="154" y="251"/>
                    </a:lnTo>
                    <a:lnTo>
                      <a:pt x="102" y="190"/>
                    </a:lnTo>
                    <a:lnTo>
                      <a:pt x="0" y="68"/>
                    </a:lnTo>
                    <a:lnTo>
                      <a:pt x="0" y="68"/>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16" name="Freeform 616">
                <a:extLst>
                  <a:ext uri="{FF2B5EF4-FFF2-40B4-BE49-F238E27FC236}">
                    <a16:creationId xmlns:a16="http://schemas.microsoft.com/office/drawing/2014/main" id="{9618EA49-5B46-40D5-9E48-BF5334D8EF98}"/>
                  </a:ext>
                </a:extLst>
              </p:cNvPr>
              <p:cNvSpPr>
                <a:spLocks/>
              </p:cNvSpPr>
              <p:nvPr/>
            </p:nvSpPr>
            <p:spPr bwMode="auto">
              <a:xfrm rot="16200000">
                <a:off x="754486" y="6405148"/>
                <a:ext cx="162177" cy="139391"/>
              </a:xfrm>
              <a:custGeom>
                <a:avLst/>
                <a:gdLst>
                  <a:gd name="T0" fmla="*/ 16 w 608"/>
                  <a:gd name="T1" fmla="*/ 0 h 523"/>
                  <a:gd name="T2" fmla="*/ 0 w 608"/>
                  <a:gd name="T3" fmla="*/ 17 h 523"/>
                  <a:gd name="T4" fmla="*/ 0 w 608"/>
                  <a:gd name="T5" fmla="*/ 17 h 523"/>
                  <a:gd name="T6" fmla="*/ 75 w 608"/>
                  <a:gd name="T7" fmla="*/ 75 h 523"/>
                  <a:gd name="T8" fmla="*/ 151 w 608"/>
                  <a:gd name="T9" fmla="*/ 134 h 523"/>
                  <a:gd name="T10" fmla="*/ 226 w 608"/>
                  <a:gd name="T11" fmla="*/ 195 h 523"/>
                  <a:gd name="T12" fmla="*/ 300 w 608"/>
                  <a:gd name="T13" fmla="*/ 257 h 523"/>
                  <a:gd name="T14" fmla="*/ 374 w 608"/>
                  <a:gd name="T15" fmla="*/ 321 h 523"/>
                  <a:gd name="T16" fmla="*/ 447 w 608"/>
                  <a:gd name="T17" fmla="*/ 388 h 523"/>
                  <a:gd name="T18" fmla="*/ 519 w 608"/>
                  <a:gd name="T19" fmla="*/ 454 h 523"/>
                  <a:gd name="T20" fmla="*/ 590 w 608"/>
                  <a:gd name="T21" fmla="*/ 523 h 523"/>
                  <a:gd name="T22" fmla="*/ 608 w 608"/>
                  <a:gd name="T23" fmla="*/ 506 h 523"/>
                  <a:gd name="T24" fmla="*/ 608 w 608"/>
                  <a:gd name="T25" fmla="*/ 506 h 523"/>
                  <a:gd name="T26" fmla="*/ 537 w 608"/>
                  <a:gd name="T27" fmla="*/ 437 h 523"/>
                  <a:gd name="T28" fmla="*/ 464 w 608"/>
                  <a:gd name="T29" fmla="*/ 370 h 523"/>
                  <a:gd name="T30" fmla="*/ 392 w 608"/>
                  <a:gd name="T31" fmla="*/ 305 h 523"/>
                  <a:gd name="T32" fmla="*/ 318 w 608"/>
                  <a:gd name="T33" fmla="*/ 240 h 523"/>
                  <a:gd name="T34" fmla="*/ 243 w 608"/>
                  <a:gd name="T35" fmla="*/ 178 h 523"/>
                  <a:gd name="T36" fmla="*/ 168 w 608"/>
                  <a:gd name="T37" fmla="*/ 117 h 523"/>
                  <a:gd name="T38" fmla="*/ 92 w 608"/>
                  <a:gd name="T39" fmla="*/ 58 h 523"/>
                  <a:gd name="T40" fmla="*/ 16 w 608"/>
                  <a:gd name="T41" fmla="*/ 0 h 523"/>
                  <a:gd name="T42" fmla="*/ 16 w 608"/>
                  <a:gd name="T43"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8" h="523">
                    <a:moveTo>
                      <a:pt x="16" y="0"/>
                    </a:moveTo>
                    <a:lnTo>
                      <a:pt x="0" y="17"/>
                    </a:lnTo>
                    <a:lnTo>
                      <a:pt x="0" y="17"/>
                    </a:lnTo>
                    <a:lnTo>
                      <a:pt x="75" y="75"/>
                    </a:lnTo>
                    <a:lnTo>
                      <a:pt x="151" y="134"/>
                    </a:lnTo>
                    <a:lnTo>
                      <a:pt x="226" y="195"/>
                    </a:lnTo>
                    <a:lnTo>
                      <a:pt x="300" y="257"/>
                    </a:lnTo>
                    <a:lnTo>
                      <a:pt x="374" y="321"/>
                    </a:lnTo>
                    <a:lnTo>
                      <a:pt x="447" y="388"/>
                    </a:lnTo>
                    <a:lnTo>
                      <a:pt x="519" y="454"/>
                    </a:lnTo>
                    <a:lnTo>
                      <a:pt x="590" y="523"/>
                    </a:lnTo>
                    <a:lnTo>
                      <a:pt x="608" y="506"/>
                    </a:lnTo>
                    <a:lnTo>
                      <a:pt x="608" y="506"/>
                    </a:lnTo>
                    <a:lnTo>
                      <a:pt x="537" y="437"/>
                    </a:lnTo>
                    <a:lnTo>
                      <a:pt x="464" y="370"/>
                    </a:lnTo>
                    <a:lnTo>
                      <a:pt x="392" y="305"/>
                    </a:lnTo>
                    <a:lnTo>
                      <a:pt x="318" y="240"/>
                    </a:lnTo>
                    <a:lnTo>
                      <a:pt x="243" y="178"/>
                    </a:lnTo>
                    <a:lnTo>
                      <a:pt x="168" y="117"/>
                    </a:lnTo>
                    <a:lnTo>
                      <a:pt x="92" y="58"/>
                    </a:lnTo>
                    <a:lnTo>
                      <a:pt x="16" y="0"/>
                    </a:lnTo>
                    <a:lnTo>
                      <a:pt x="16" y="0"/>
                    </a:lnTo>
                    <a:close/>
                  </a:path>
                </a:pathLst>
              </a:custGeom>
              <a:solidFill>
                <a:srgbClr val="3C3C3E"/>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17" name="Freeform 617">
                <a:extLst>
                  <a:ext uri="{FF2B5EF4-FFF2-40B4-BE49-F238E27FC236}">
                    <a16:creationId xmlns:a16="http://schemas.microsoft.com/office/drawing/2014/main" id="{FB0B3A68-99A9-4905-898E-09082F678E17}"/>
                  </a:ext>
                </a:extLst>
              </p:cNvPr>
              <p:cNvSpPr>
                <a:spLocks/>
              </p:cNvSpPr>
              <p:nvPr/>
            </p:nvSpPr>
            <p:spPr bwMode="auto">
              <a:xfrm rot="16200000">
                <a:off x="736392" y="6432624"/>
                <a:ext cx="151455" cy="127329"/>
              </a:xfrm>
              <a:custGeom>
                <a:avLst/>
                <a:gdLst>
                  <a:gd name="T0" fmla="*/ 563 w 563"/>
                  <a:gd name="T1" fmla="*/ 411 h 479"/>
                  <a:gd name="T2" fmla="*/ 491 w 563"/>
                  <a:gd name="T3" fmla="*/ 479 h 479"/>
                  <a:gd name="T4" fmla="*/ 491 w 563"/>
                  <a:gd name="T5" fmla="*/ 479 h 479"/>
                  <a:gd name="T6" fmla="*/ 431 w 563"/>
                  <a:gd name="T7" fmla="*/ 429 h 479"/>
                  <a:gd name="T8" fmla="*/ 371 w 563"/>
                  <a:gd name="T9" fmla="*/ 380 h 479"/>
                  <a:gd name="T10" fmla="*/ 309 w 563"/>
                  <a:gd name="T11" fmla="*/ 332 h 479"/>
                  <a:gd name="T12" fmla="*/ 248 w 563"/>
                  <a:gd name="T13" fmla="*/ 285 h 479"/>
                  <a:gd name="T14" fmla="*/ 186 w 563"/>
                  <a:gd name="T15" fmla="*/ 239 h 479"/>
                  <a:gd name="T16" fmla="*/ 124 w 563"/>
                  <a:gd name="T17" fmla="*/ 194 h 479"/>
                  <a:gd name="T18" fmla="*/ 0 w 563"/>
                  <a:gd name="T19" fmla="*/ 107 h 479"/>
                  <a:gd name="T20" fmla="*/ 103 w 563"/>
                  <a:gd name="T21" fmla="*/ 0 h 479"/>
                  <a:gd name="T22" fmla="*/ 103 w 563"/>
                  <a:gd name="T23" fmla="*/ 0 h 479"/>
                  <a:gd name="T24" fmla="*/ 163 w 563"/>
                  <a:gd name="T25" fmla="*/ 47 h 479"/>
                  <a:gd name="T26" fmla="*/ 221 w 563"/>
                  <a:gd name="T27" fmla="*/ 96 h 479"/>
                  <a:gd name="T28" fmla="*/ 279 w 563"/>
                  <a:gd name="T29" fmla="*/ 146 h 479"/>
                  <a:gd name="T30" fmla="*/ 336 w 563"/>
                  <a:gd name="T31" fmla="*/ 197 h 479"/>
                  <a:gd name="T32" fmla="*/ 393 w 563"/>
                  <a:gd name="T33" fmla="*/ 249 h 479"/>
                  <a:gd name="T34" fmla="*/ 450 w 563"/>
                  <a:gd name="T35" fmla="*/ 302 h 479"/>
                  <a:gd name="T36" fmla="*/ 563 w 563"/>
                  <a:gd name="T37" fmla="*/ 411 h 479"/>
                  <a:gd name="T38" fmla="*/ 563 w 563"/>
                  <a:gd name="T39" fmla="*/ 411 h 4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3" h="479">
                    <a:moveTo>
                      <a:pt x="563" y="411"/>
                    </a:moveTo>
                    <a:lnTo>
                      <a:pt x="491" y="479"/>
                    </a:lnTo>
                    <a:lnTo>
                      <a:pt x="491" y="479"/>
                    </a:lnTo>
                    <a:lnTo>
                      <a:pt x="431" y="429"/>
                    </a:lnTo>
                    <a:lnTo>
                      <a:pt x="371" y="380"/>
                    </a:lnTo>
                    <a:lnTo>
                      <a:pt x="309" y="332"/>
                    </a:lnTo>
                    <a:lnTo>
                      <a:pt x="248" y="285"/>
                    </a:lnTo>
                    <a:lnTo>
                      <a:pt x="186" y="239"/>
                    </a:lnTo>
                    <a:lnTo>
                      <a:pt x="124" y="194"/>
                    </a:lnTo>
                    <a:lnTo>
                      <a:pt x="0" y="107"/>
                    </a:lnTo>
                    <a:lnTo>
                      <a:pt x="103" y="0"/>
                    </a:lnTo>
                    <a:lnTo>
                      <a:pt x="103" y="0"/>
                    </a:lnTo>
                    <a:lnTo>
                      <a:pt x="163" y="47"/>
                    </a:lnTo>
                    <a:lnTo>
                      <a:pt x="221" y="96"/>
                    </a:lnTo>
                    <a:lnTo>
                      <a:pt x="279" y="146"/>
                    </a:lnTo>
                    <a:lnTo>
                      <a:pt x="336" y="197"/>
                    </a:lnTo>
                    <a:lnTo>
                      <a:pt x="393" y="249"/>
                    </a:lnTo>
                    <a:lnTo>
                      <a:pt x="450" y="302"/>
                    </a:lnTo>
                    <a:lnTo>
                      <a:pt x="563" y="411"/>
                    </a:lnTo>
                    <a:lnTo>
                      <a:pt x="563" y="411"/>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18" name="Freeform 618">
                <a:extLst>
                  <a:ext uri="{FF2B5EF4-FFF2-40B4-BE49-F238E27FC236}">
                    <a16:creationId xmlns:a16="http://schemas.microsoft.com/office/drawing/2014/main" id="{C31EA124-FC6A-4844-8E2F-746BA5CF8D4F}"/>
                  </a:ext>
                </a:extLst>
              </p:cNvPr>
              <p:cNvSpPr>
                <a:spLocks/>
              </p:cNvSpPr>
              <p:nvPr/>
            </p:nvSpPr>
            <p:spPr bwMode="auto">
              <a:xfrm rot="16200000">
                <a:off x="885836" y="6411850"/>
                <a:ext cx="164858" cy="136711"/>
              </a:xfrm>
              <a:custGeom>
                <a:avLst/>
                <a:gdLst>
                  <a:gd name="T0" fmla="*/ 0 w 615"/>
                  <a:gd name="T1" fmla="*/ 497 h 514"/>
                  <a:gd name="T2" fmla="*/ 17 w 615"/>
                  <a:gd name="T3" fmla="*/ 514 h 514"/>
                  <a:gd name="T4" fmla="*/ 17 w 615"/>
                  <a:gd name="T5" fmla="*/ 514 h 514"/>
                  <a:gd name="T6" fmla="*/ 95 w 615"/>
                  <a:gd name="T7" fmla="*/ 458 h 514"/>
                  <a:gd name="T8" fmla="*/ 171 w 615"/>
                  <a:gd name="T9" fmla="*/ 400 h 514"/>
                  <a:gd name="T10" fmla="*/ 247 w 615"/>
                  <a:gd name="T11" fmla="*/ 340 h 514"/>
                  <a:gd name="T12" fmla="*/ 322 w 615"/>
                  <a:gd name="T13" fmla="*/ 278 h 514"/>
                  <a:gd name="T14" fmla="*/ 397 w 615"/>
                  <a:gd name="T15" fmla="*/ 215 h 514"/>
                  <a:gd name="T16" fmla="*/ 470 w 615"/>
                  <a:gd name="T17" fmla="*/ 151 h 514"/>
                  <a:gd name="T18" fmla="*/ 544 w 615"/>
                  <a:gd name="T19" fmla="*/ 85 h 514"/>
                  <a:gd name="T20" fmla="*/ 615 w 615"/>
                  <a:gd name="T21" fmla="*/ 17 h 514"/>
                  <a:gd name="T22" fmla="*/ 598 w 615"/>
                  <a:gd name="T23" fmla="*/ 0 h 514"/>
                  <a:gd name="T24" fmla="*/ 598 w 615"/>
                  <a:gd name="T25" fmla="*/ 0 h 514"/>
                  <a:gd name="T26" fmla="*/ 526 w 615"/>
                  <a:gd name="T27" fmla="*/ 68 h 514"/>
                  <a:gd name="T28" fmla="*/ 453 w 615"/>
                  <a:gd name="T29" fmla="*/ 134 h 514"/>
                  <a:gd name="T30" fmla="*/ 380 w 615"/>
                  <a:gd name="T31" fmla="*/ 198 h 514"/>
                  <a:gd name="T32" fmla="*/ 305 w 615"/>
                  <a:gd name="T33" fmla="*/ 261 h 514"/>
                  <a:gd name="T34" fmla="*/ 230 w 615"/>
                  <a:gd name="T35" fmla="*/ 323 h 514"/>
                  <a:gd name="T36" fmla="*/ 154 w 615"/>
                  <a:gd name="T37" fmla="*/ 382 h 514"/>
                  <a:gd name="T38" fmla="*/ 78 w 615"/>
                  <a:gd name="T39" fmla="*/ 440 h 514"/>
                  <a:gd name="T40" fmla="*/ 0 w 615"/>
                  <a:gd name="T41" fmla="*/ 497 h 514"/>
                  <a:gd name="T42" fmla="*/ 0 w 615"/>
                  <a:gd name="T43" fmla="*/ 497 h 5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15" h="514">
                    <a:moveTo>
                      <a:pt x="0" y="497"/>
                    </a:moveTo>
                    <a:lnTo>
                      <a:pt x="17" y="514"/>
                    </a:lnTo>
                    <a:lnTo>
                      <a:pt x="17" y="514"/>
                    </a:lnTo>
                    <a:lnTo>
                      <a:pt x="95" y="458"/>
                    </a:lnTo>
                    <a:lnTo>
                      <a:pt x="171" y="400"/>
                    </a:lnTo>
                    <a:lnTo>
                      <a:pt x="247" y="340"/>
                    </a:lnTo>
                    <a:lnTo>
                      <a:pt x="322" y="278"/>
                    </a:lnTo>
                    <a:lnTo>
                      <a:pt x="397" y="215"/>
                    </a:lnTo>
                    <a:lnTo>
                      <a:pt x="470" y="151"/>
                    </a:lnTo>
                    <a:lnTo>
                      <a:pt x="544" y="85"/>
                    </a:lnTo>
                    <a:lnTo>
                      <a:pt x="615" y="17"/>
                    </a:lnTo>
                    <a:lnTo>
                      <a:pt x="598" y="0"/>
                    </a:lnTo>
                    <a:lnTo>
                      <a:pt x="598" y="0"/>
                    </a:lnTo>
                    <a:lnTo>
                      <a:pt x="526" y="68"/>
                    </a:lnTo>
                    <a:lnTo>
                      <a:pt x="453" y="134"/>
                    </a:lnTo>
                    <a:lnTo>
                      <a:pt x="380" y="198"/>
                    </a:lnTo>
                    <a:lnTo>
                      <a:pt x="305" y="261"/>
                    </a:lnTo>
                    <a:lnTo>
                      <a:pt x="230" y="323"/>
                    </a:lnTo>
                    <a:lnTo>
                      <a:pt x="154" y="382"/>
                    </a:lnTo>
                    <a:lnTo>
                      <a:pt x="78" y="440"/>
                    </a:lnTo>
                    <a:lnTo>
                      <a:pt x="0" y="497"/>
                    </a:lnTo>
                    <a:lnTo>
                      <a:pt x="0" y="497"/>
                    </a:lnTo>
                    <a:close/>
                  </a:path>
                </a:pathLst>
              </a:custGeom>
              <a:solidFill>
                <a:srgbClr val="3C3C3E"/>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19" name="Freeform 619">
                <a:extLst>
                  <a:ext uri="{FF2B5EF4-FFF2-40B4-BE49-F238E27FC236}">
                    <a16:creationId xmlns:a16="http://schemas.microsoft.com/office/drawing/2014/main" id="{E1826AD5-50D3-404C-BAD7-CCA7A2D55723}"/>
                  </a:ext>
                </a:extLst>
              </p:cNvPr>
              <p:cNvSpPr>
                <a:spLocks/>
              </p:cNvSpPr>
              <p:nvPr/>
            </p:nvSpPr>
            <p:spPr bwMode="auto">
              <a:xfrm rot="16200000">
                <a:off x="911972" y="6435305"/>
                <a:ext cx="151455" cy="127329"/>
              </a:xfrm>
              <a:custGeom>
                <a:avLst/>
                <a:gdLst>
                  <a:gd name="T0" fmla="*/ 496 w 566"/>
                  <a:gd name="T1" fmla="*/ 0 h 475"/>
                  <a:gd name="T2" fmla="*/ 496 w 566"/>
                  <a:gd name="T3" fmla="*/ 0 h 475"/>
                  <a:gd name="T4" fmla="*/ 532 w 566"/>
                  <a:gd name="T5" fmla="*/ 35 h 475"/>
                  <a:gd name="T6" fmla="*/ 566 w 566"/>
                  <a:gd name="T7" fmla="*/ 70 h 475"/>
                  <a:gd name="T8" fmla="*/ 566 w 566"/>
                  <a:gd name="T9" fmla="*/ 70 h 475"/>
                  <a:gd name="T10" fmla="*/ 452 w 566"/>
                  <a:gd name="T11" fmla="*/ 178 h 475"/>
                  <a:gd name="T12" fmla="*/ 394 w 566"/>
                  <a:gd name="T13" fmla="*/ 230 h 475"/>
                  <a:gd name="T14" fmla="*/ 337 w 566"/>
                  <a:gd name="T15" fmla="*/ 280 h 475"/>
                  <a:gd name="T16" fmla="*/ 279 w 566"/>
                  <a:gd name="T17" fmla="*/ 331 h 475"/>
                  <a:gd name="T18" fmla="*/ 221 w 566"/>
                  <a:gd name="T19" fmla="*/ 379 h 475"/>
                  <a:gd name="T20" fmla="*/ 162 w 566"/>
                  <a:gd name="T21" fmla="*/ 428 h 475"/>
                  <a:gd name="T22" fmla="*/ 102 w 566"/>
                  <a:gd name="T23" fmla="*/ 475 h 475"/>
                  <a:gd name="T24" fmla="*/ 0 w 566"/>
                  <a:gd name="T25" fmla="*/ 366 h 475"/>
                  <a:gd name="T26" fmla="*/ 0 w 566"/>
                  <a:gd name="T27" fmla="*/ 366 h 475"/>
                  <a:gd name="T28" fmla="*/ 63 w 566"/>
                  <a:gd name="T29" fmla="*/ 324 h 475"/>
                  <a:gd name="T30" fmla="*/ 126 w 566"/>
                  <a:gd name="T31" fmla="*/ 282 h 475"/>
                  <a:gd name="T32" fmla="*/ 188 w 566"/>
                  <a:gd name="T33" fmla="*/ 237 h 475"/>
                  <a:gd name="T34" fmla="*/ 250 w 566"/>
                  <a:gd name="T35" fmla="*/ 191 h 475"/>
                  <a:gd name="T36" fmla="*/ 312 w 566"/>
                  <a:gd name="T37" fmla="*/ 145 h 475"/>
                  <a:gd name="T38" fmla="*/ 374 w 566"/>
                  <a:gd name="T39" fmla="*/ 98 h 475"/>
                  <a:gd name="T40" fmla="*/ 435 w 566"/>
                  <a:gd name="T41" fmla="*/ 50 h 475"/>
                  <a:gd name="T42" fmla="*/ 496 w 566"/>
                  <a:gd name="T43" fmla="*/ 0 h 475"/>
                  <a:gd name="T44" fmla="*/ 496 w 566"/>
                  <a:gd name="T45" fmla="*/ 0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6" h="475">
                    <a:moveTo>
                      <a:pt x="496" y="0"/>
                    </a:moveTo>
                    <a:lnTo>
                      <a:pt x="496" y="0"/>
                    </a:lnTo>
                    <a:lnTo>
                      <a:pt x="532" y="35"/>
                    </a:lnTo>
                    <a:lnTo>
                      <a:pt x="566" y="70"/>
                    </a:lnTo>
                    <a:lnTo>
                      <a:pt x="566" y="70"/>
                    </a:lnTo>
                    <a:lnTo>
                      <a:pt x="452" y="178"/>
                    </a:lnTo>
                    <a:lnTo>
                      <a:pt x="394" y="230"/>
                    </a:lnTo>
                    <a:lnTo>
                      <a:pt x="337" y="280"/>
                    </a:lnTo>
                    <a:lnTo>
                      <a:pt x="279" y="331"/>
                    </a:lnTo>
                    <a:lnTo>
                      <a:pt x="221" y="379"/>
                    </a:lnTo>
                    <a:lnTo>
                      <a:pt x="162" y="428"/>
                    </a:lnTo>
                    <a:lnTo>
                      <a:pt x="102" y="475"/>
                    </a:lnTo>
                    <a:lnTo>
                      <a:pt x="0" y="366"/>
                    </a:lnTo>
                    <a:lnTo>
                      <a:pt x="0" y="366"/>
                    </a:lnTo>
                    <a:lnTo>
                      <a:pt x="63" y="324"/>
                    </a:lnTo>
                    <a:lnTo>
                      <a:pt x="126" y="282"/>
                    </a:lnTo>
                    <a:lnTo>
                      <a:pt x="188" y="237"/>
                    </a:lnTo>
                    <a:lnTo>
                      <a:pt x="250" y="191"/>
                    </a:lnTo>
                    <a:lnTo>
                      <a:pt x="312" y="145"/>
                    </a:lnTo>
                    <a:lnTo>
                      <a:pt x="374" y="98"/>
                    </a:lnTo>
                    <a:lnTo>
                      <a:pt x="435" y="50"/>
                    </a:lnTo>
                    <a:lnTo>
                      <a:pt x="496" y="0"/>
                    </a:lnTo>
                    <a:lnTo>
                      <a:pt x="496"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20" name="Freeform 620">
                <a:extLst>
                  <a:ext uri="{FF2B5EF4-FFF2-40B4-BE49-F238E27FC236}">
                    <a16:creationId xmlns:a16="http://schemas.microsoft.com/office/drawing/2014/main" id="{D11F7B32-B46A-418E-B9BD-E6EA21BE9B8E}"/>
                  </a:ext>
                </a:extLst>
              </p:cNvPr>
              <p:cNvSpPr>
                <a:spLocks/>
              </p:cNvSpPr>
              <p:nvPr/>
            </p:nvSpPr>
            <p:spPr bwMode="auto">
              <a:xfrm rot="16200000">
                <a:off x="745105" y="6241631"/>
                <a:ext cx="152794" cy="164858"/>
              </a:xfrm>
              <a:custGeom>
                <a:avLst/>
                <a:gdLst>
                  <a:gd name="T0" fmla="*/ 570 w 570"/>
                  <a:gd name="T1" fmla="*/ 19 h 614"/>
                  <a:gd name="T2" fmla="*/ 550 w 570"/>
                  <a:gd name="T3" fmla="*/ 0 h 614"/>
                  <a:gd name="T4" fmla="*/ 550 w 570"/>
                  <a:gd name="T5" fmla="*/ 0 h 614"/>
                  <a:gd name="T6" fmla="*/ 485 w 570"/>
                  <a:gd name="T7" fmla="*/ 80 h 614"/>
                  <a:gd name="T8" fmla="*/ 418 w 570"/>
                  <a:gd name="T9" fmla="*/ 159 h 614"/>
                  <a:gd name="T10" fmla="*/ 350 w 570"/>
                  <a:gd name="T11" fmla="*/ 236 h 614"/>
                  <a:gd name="T12" fmla="*/ 282 w 570"/>
                  <a:gd name="T13" fmla="*/ 311 h 614"/>
                  <a:gd name="T14" fmla="*/ 213 w 570"/>
                  <a:gd name="T15" fmla="*/ 385 h 614"/>
                  <a:gd name="T16" fmla="*/ 143 w 570"/>
                  <a:gd name="T17" fmla="*/ 457 h 614"/>
                  <a:gd name="T18" fmla="*/ 71 w 570"/>
                  <a:gd name="T19" fmla="*/ 528 h 614"/>
                  <a:gd name="T20" fmla="*/ 0 w 570"/>
                  <a:gd name="T21" fmla="*/ 597 h 614"/>
                  <a:gd name="T22" fmla="*/ 17 w 570"/>
                  <a:gd name="T23" fmla="*/ 614 h 614"/>
                  <a:gd name="T24" fmla="*/ 17 w 570"/>
                  <a:gd name="T25" fmla="*/ 614 h 614"/>
                  <a:gd name="T26" fmla="*/ 89 w 570"/>
                  <a:gd name="T27" fmla="*/ 545 h 614"/>
                  <a:gd name="T28" fmla="*/ 161 w 570"/>
                  <a:gd name="T29" fmla="*/ 475 h 614"/>
                  <a:gd name="T30" fmla="*/ 231 w 570"/>
                  <a:gd name="T31" fmla="*/ 403 h 614"/>
                  <a:gd name="T32" fmla="*/ 301 w 570"/>
                  <a:gd name="T33" fmla="*/ 329 h 614"/>
                  <a:gd name="T34" fmla="*/ 369 w 570"/>
                  <a:gd name="T35" fmla="*/ 253 h 614"/>
                  <a:gd name="T36" fmla="*/ 436 w 570"/>
                  <a:gd name="T37" fmla="*/ 177 h 614"/>
                  <a:gd name="T38" fmla="*/ 504 w 570"/>
                  <a:gd name="T39" fmla="*/ 98 h 614"/>
                  <a:gd name="T40" fmla="*/ 570 w 570"/>
                  <a:gd name="T41" fmla="*/ 19 h 614"/>
                  <a:gd name="T42" fmla="*/ 570 w 570"/>
                  <a:gd name="T43" fmla="*/ 19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70" h="614">
                    <a:moveTo>
                      <a:pt x="570" y="19"/>
                    </a:moveTo>
                    <a:lnTo>
                      <a:pt x="550" y="0"/>
                    </a:lnTo>
                    <a:lnTo>
                      <a:pt x="550" y="0"/>
                    </a:lnTo>
                    <a:lnTo>
                      <a:pt x="485" y="80"/>
                    </a:lnTo>
                    <a:lnTo>
                      <a:pt x="418" y="159"/>
                    </a:lnTo>
                    <a:lnTo>
                      <a:pt x="350" y="236"/>
                    </a:lnTo>
                    <a:lnTo>
                      <a:pt x="282" y="311"/>
                    </a:lnTo>
                    <a:lnTo>
                      <a:pt x="213" y="385"/>
                    </a:lnTo>
                    <a:lnTo>
                      <a:pt x="143" y="457"/>
                    </a:lnTo>
                    <a:lnTo>
                      <a:pt x="71" y="528"/>
                    </a:lnTo>
                    <a:lnTo>
                      <a:pt x="0" y="597"/>
                    </a:lnTo>
                    <a:lnTo>
                      <a:pt x="17" y="614"/>
                    </a:lnTo>
                    <a:lnTo>
                      <a:pt x="17" y="614"/>
                    </a:lnTo>
                    <a:lnTo>
                      <a:pt x="89" y="545"/>
                    </a:lnTo>
                    <a:lnTo>
                      <a:pt x="161" y="475"/>
                    </a:lnTo>
                    <a:lnTo>
                      <a:pt x="231" y="403"/>
                    </a:lnTo>
                    <a:lnTo>
                      <a:pt x="301" y="329"/>
                    </a:lnTo>
                    <a:lnTo>
                      <a:pt x="369" y="253"/>
                    </a:lnTo>
                    <a:lnTo>
                      <a:pt x="436" y="177"/>
                    </a:lnTo>
                    <a:lnTo>
                      <a:pt x="504" y="98"/>
                    </a:lnTo>
                    <a:lnTo>
                      <a:pt x="570" y="19"/>
                    </a:lnTo>
                    <a:lnTo>
                      <a:pt x="570" y="19"/>
                    </a:lnTo>
                    <a:close/>
                  </a:path>
                </a:pathLst>
              </a:custGeom>
              <a:solidFill>
                <a:srgbClr val="3C3C3E"/>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21" name="Freeform 621">
                <a:extLst>
                  <a:ext uri="{FF2B5EF4-FFF2-40B4-BE49-F238E27FC236}">
                    <a16:creationId xmlns:a16="http://schemas.microsoft.com/office/drawing/2014/main" id="{52475178-1C8C-4624-94C2-BFCDBD66601C}"/>
                  </a:ext>
                </a:extLst>
              </p:cNvPr>
              <p:cNvSpPr>
                <a:spLocks/>
              </p:cNvSpPr>
              <p:nvPr/>
            </p:nvSpPr>
            <p:spPr bwMode="auto">
              <a:xfrm rot="16200000">
                <a:off x="729691" y="6222197"/>
                <a:ext cx="140732" cy="154135"/>
              </a:xfrm>
              <a:custGeom>
                <a:avLst/>
                <a:gdLst>
                  <a:gd name="T0" fmla="*/ 71 w 529"/>
                  <a:gd name="T1" fmla="*/ 573 h 573"/>
                  <a:gd name="T2" fmla="*/ 0 w 529"/>
                  <a:gd name="T3" fmla="*/ 504 h 573"/>
                  <a:gd name="T4" fmla="*/ 0 w 529"/>
                  <a:gd name="T5" fmla="*/ 504 h 573"/>
                  <a:gd name="T6" fmla="*/ 104 w 529"/>
                  <a:gd name="T7" fmla="*/ 383 h 573"/>
                  <a:gd name="T8" fmla="*/ 156 w 529"/>
                  <a:gd name="T9" fmla="*/ 321 h 573"/>
                  <a:gd name="T10" fmla="*/ 208 w 529"/>
                  <a:gd name="T11" fmla="*/ 259 h 573"/>
                  <a:gd name="T12" fmla="*/ 258 w 529"/>
                  <a:gd name="T13" fmla="*/ 196 h 573"/>
                  <a:gd name="T14" fmla="*/ 309 w 529"/>
                  <a:gd name="T15" fmla="*/ 132 h 573"/>
                  <a:gd name="T16" fmla="*/ 359 w 529"/>
                  <a:gd name="T17" fmla="*/ 65 h 573"/>
                  <a:gd name="T18" fmla="*/ 406 w 529"/>
                  <a:gd name="T19" fmla="*/ 0 h 573"/>
                  <a:gd name="T20" fmla="*/ 529 w 529"/>
                  <a:gd name="T21" fmla="*/ 109 h 573"/>
                  <a:gd name="T22" fmla="*/ 529 w 529"/>
                  <a:gd name="T23" fmla="*/ 109 h 573"/>
                  <a:gd name="T24" fmla="*/ 417 w 529"/>
                  <a:gd name="T25" fmla="*/ 231 h 573"/>
                  <a:gd name="T26" fmla="*/ 360 w 529"/>
                  <a:gd name="T27" fmla="*/ 290 h 573"/>
                  <a:gd name="T28" fmla="*/ 304 w 529"/>
                  <a:gd name="T29" fmla="*/ 348 h 573"/>
                  <a:gd name="T30" fmla="*/ 246 w 529"/>
                  <a:gd name="T31" fmla="*/ 406 h 573"/>
                  <a:gd name="T32" fmla="*/ 190 w 529"/>
                  <a:gd name="T33" fmla="*/ 463 h 573"/>
                  <a:gd name="T34" fmla="*/ 130 w 529"/>
                  <a:gd name="T35" fmla="*/ 518 h 573"/>
                  <a:gd name="T36" fmla="*/ 71 w 529"/>
                  <a:gd name="T37" fmla="*/ 573 h 573"/>
                  <a:gd name="T38" fmla="*/ 71 w 529"/>
                  <a:gd name="T39"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29" h="573">
                    <a:moveTo>
                      <a:pt x="71" y="573"/>
                    </a:moveTo>
                    <a:lnTo>
                      <a:pt x="0" y="504"/>
                    </a:lnTo>
                    <a:lnTo>
                      <a:pt x="0" y="504"/>
                    </a:lnTo>
                    <a:lnTo>
                      <a:pt x="104" y="383"/>
                    </a:lnTo>
                    <a:lnTo>
                      <a:pt x="156" y="321"/>
                    </a:lnTo>
                    <a:lnTo>
                      <a:pt x="208" y="259"/>
                    </a:lnTo>
                    <a:lnTo>
                      <a:pt x="258" y="196"/>
                    </a:lnTo>
                    <a:lnTo>
                      <a:pt x="309" y="132"/>
                    </a:lnTo>
                    <a:lnTo>
                      <a:pt x="359" y="65"/>
                    </a:lnTo>
                    <a:lnTo>
                      <a:pt x="406" y="0"/>
                    </a:lnTo>
                    <a:lnTo>
                      <a:pt x="529" y="109"/>
                    </a:lnTo>
                    <a:lnTo>
                      <a:pt x="529" y="109"/>
                    </a:lnTo>
                    <a:lnTo>
                      <a:pt x="417" y="231"/>
                    </a:lnTo>
                    <a:lnTo>
                      <a:pt x="360" y="290"/>
                    </a:lnTo>
                    <a:lnTo>
                      <a:pt x="304" y="348"/>
                    </a:lnTo>
                    <a:lnTo>
                      <a:pt x="246" y="406"/>
                    </a:lnTo>
                    <a:lnTo>
                      <a:pt x="190" y="463"/>
                    </a:lnTo>
                    <a:lnTo>
                      <a:pt x="130" y="518"/>
                    </a:lnTo>
                    <a:lnTo>
                      <a:pt x="71" y="573"/>
                    </a:lnTo>
                    <a:lnTo>
                      <a:pt x="71" y="573"/>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22" name="Trapezoid 2221">
                <a:extLst>
                  <a:ext uri="{FF2B5EF4-FFF2-40B4-BE49-F238E27FC236}">
                    <a16:creationId xmlns:a16="http://schemas.microsoft.com/office/drawing/2014/main" id="{60FADBAB-0B67-4AC7-B997-950713E4E772}"/>
                  </a:ext>
                </a:extLst>
              </p:cNvPr>
              <p:cNvSpPr/>
              <p:nvPr/>
            </p:nvSpPr>
            <p:spPr bwMode="ltGray">
              <a:xfrm>
                <a:off x="802595" y="6460122"/>
                <a:ext cx="192334" cy="247314"/>
              </a:xfrm>
              <a:prstGeom prst="trapezoid">
                <a:avLst>
                  <a:gd name="adj" fmla="val 36143"/>
                </a:avLst>
              </a:prstGeom>
              <a:solidFill>
                <a:srgbClr val="505050"/>
              </a:solid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grpSp>
      <p:grpSp>
        <p:nvGrpSpPr>
          <p:cNvPr id="2223" name="Group 2222">
            <a:extLst>
              <a:ext uri="{FF2B5EF4-FFF2-40B4-BE49-F238E27FC236}">
                <a16:creationId xmlns:a16="http://schemas.microsoft.com/office/drawing/2014/main" id="{F9A6C51B-6F45-44EF-925A-1BD27F79F3F6}"/>
              </a:ext>
            </a:extLst>
          </p:cNvPr>
          <p:cNvGrpSpPr/>
          <p:nvPr/>
        </p:nvGrpSpPr>
        <p:grpSpPr>
          <a:xfrm>
            <a:off x="3882481" y="1656899"/>
            <a:ext cx="612775" cy="612775"/>
            <a:chOff x="2050117" y="2258092"/>
            <a:chExt cx="612775" cy="612775"/>
          </a:xfrm>
        </p:grpSpPr>
        <p:sp>
          <p:nvSpPr>
            <p:cNvPr id="2224" name="Oval 2223">
              <a:extLst>
                <a:ext uri="{FF2B5EF4-FFF2-40B4-BE49-F238E27FC236}">
                  <a16:creationId xmlns:a16="http://schemas.microsoft.com/office/drawing/2014/main" id="{6AE15428-6E96-41BD-8B42-E524F12A26AE}"/>
                </a:ext>
              </a:extLst>
            </p:cNvPr>
            <p:cNvSpPr/>
            <p:nvPr/>
          </p:nvSpPr>
          <p:spPr bwMode="ltGray">
            <a:xfrm>
              <a:off x="2050117"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2225" name="Freeform 7">
              <a:extLst>
                <a:ext uri="{FF2B5EF4-FFF2-40B4-BE49-F238E27FC236}">
                  <a16:creationId xmlns:a16="http://schemas.microsoft.com/office/drawing/2014/main" id="{1D065CD1-FC1C-4BA0-8A62-61CE5D5B179B}"/>
                </a:ext>
              </a:extLst>
            </p:cNvPr>
            <p:cNvSpPr>
              <a:spLocks noEditPoints="1"/>
            </p:cNvSpPr>
            <p:nvPr/>
          </p:nvSpPr>
          <p:spPr bwMode="auto">
            <a:xfrm>
              <a:off x="2114123" y="2458761"/>
              <a:ext cx="508879" cy="246122"/>
            </a:xfrm>
            <a:custGeom>
              <a:avLst/>
              <a:gdLst>
                <a:gd name="T0" fmla="*/ 2652 w 2692"/>
                <a:gd name="T1" fmla="*/ 350 h 1302"/>
                <a:gd name="T2" fmla="*/ 2560 w 2692"/>
                <a:gd name="T3" fmla="*/ 304 h 1302"/>
                <a:gd name="T4" fmla="*/ 2478 w 2692"/>
                <a:gd name="T5" fmla="*/ 262 h 1302"/>
                <a:gd name="T6" fmla="*/ 2420 w 2692"/>
                <a:gd name="T7" fmla="*/ 240 h 1302"/>
                <a:gd name="T8" fmla="*/ 2284 w 2692"/>
                <a:gd name="T9" fmla="*/ 246 h 1302"/>
                <a:gd name="T10" fmla="*/ 1512 w 2692"/>
                <a:gd name="T11" fmla="*/ 480 h 1302"/>
                <a:gd name="T12" fmla="*/ 312 w 2692"/>
                <a:gd name="T13" fmla="*/ 6 h 1302"/>
                <a:gd name="T14" fmla="*/ 210 w 2692"/>
                <a:gd name="T15" fmla="*/ 2 h 1302"/>
                <a:gd name="T16" fmla="*/ 100 w 2692"/>
                <a:gd name="T17" fmla="*/ 24 h 1302"/>
                <a:gd name="T18" fmla="*/ 94 w 2692"/>
                <a:gd name="T19" fmla="*/ 48 h 1302"/>
                <a:gd name="T20" fmla="*/ 1016 w 2692"/>
                <a:gd name="T21" fmla="*/ 618 h 1302"/>
                <a:gd name="T22" fmla="*/ 500 w 2692"/>
                <a:gd name="T23" fmla="*/ 486 h 1302"/>
                <a:gd name="T24" fmla="*/ 464 w 2692"/>
                <a:gd name="T25" fmla="*/ 458 h 1302"/>
                <a:gd name="T26" fmla="*/ 404 w 2692"/>
                <a:gd name="T27" fmla="*/ 438 h 1302"/>
                <a:gd name="T28" fmla="*/ 366 w 2692"/>
                <a:gd name="T29" fmla="*/ 442 h 1302"/>
                <a:gd name="T30" fmla="*/ 336 w 2692"/>
                <a:gd name="T31" fmla="*/ 480 h 1302"/>
                <a:gd name="T32" fmla="*/ 140 w 2692"/>
                <a:gd name="T33" fmla="*/ 760 h 1302"/>
                <a:gd name="T34" fmla="*/ 46 w 2692"/>
                <a:gd name="T35" fmla="*/ 752 h 1302"/>
                <a:gd name="T36" fmla="*/ 10 w 2692"/>
                <a:gd name="T37" fmla="*/ 760 h 1302"/>
                <a:gd name="T38" fmla="*/ 4 w 2692"/>
                <a:gd name="T39" fmla="*/ 782 h 1302"/>
                <a:gd name="T40" fmla="*/ 286 w 2692"/>
                <a:gd name="T41" fmla="*/ 916 h 1302"/>
                <a:gd name="T42" fmla="*/ 250 w 2692"/>
                <a:gd name="T43" fmla="*/ 938 h 1302"/>
                <a:gd name="T44" fmla="*/ 214 w 2692"/>
                <a:gd name="T45" fmla="*/ 984 h 1302"/>
                <a:gd name="T46" fmla="*/ 226 w 2692"/>
                <a:gd name="T47" fmla="*/ 998 h 1302"/>
                <a:gd name="T48" fmla="*/ 282 w 2692"/>
                <a:gd name="T49" fmla="*/ 1010 h 1302"/>
                <a:gd name="T50" fmla="*/ 546 w 2692"/>
                <a:gd name="T51" fmla="*/ 1116 h 1302"/>
                <a:gd name="T52" fmla="*/ 578 w 2692"/>
                <a:gd name="T53" fmla="*/ 1140 h 1302"/>
                <a:gd name="T54" fmla="*/ 618 w 2692"/>
                <a:gd name="T55" fmla="*/ 1150 h 1302"/>
                <a:gd name="T56" fmla="*/ 634 w 2692"/>
                <a:gd name="T57" fmla="*/ 1136 h 1302"/>
                <a:gd name="T58" fmla="*/ 638 w 2692"/>
                <a:gd name="T59" fmla="*/ 1092 h 1302"/>
                <a:gd name="T60" fmla="*/ 610 w 2692"/>
                <a:gd name="T61" fmla="*/ 1008 h 1302"/>
                <a:gd name="T62" fmla="*/ 928 w 2692"/>
                <a:gd name="T63" fmla="*/ 1002 h 1302"/>
                <a:gd name="T64" fmla="*/ 1354 w 2692"/>
                <a:gd name="T65" fmla="*/ 896 h 1302"/>
                <a:gd name="T66" fmla="*/ 1922 w 2692"/>
                <a:gd name="T67" fmla="*/ 1284 h 1302"/>
                <a:gd name="T68" fmla="*/ 1974 w 2692"/>
                <a:gd name="T69" fmla="*/ 1302 h 1302"/>
                <a:gd name="T70" fmla="*/ 2022 w 2692"/>
                <a:gd name="T71" fmla="*/ 1290 h 1302"/>
                <a:gd name="T72" fmla="*/ 2042 w 2692"/>
                <a:gd name="T73" fmla="*/ 1262 h 1302"/>
                <a:gd name="T74" fmla="*/ 2044 w 2692"/>
                <a:gd name="T75" fmla="*/ 1208 h 1302"/>
                <a:gd name="T76" fmla="*/ 2232 w 2692"/>
                <a:gd name="T77" fmla="*/ 644 h 1302"/>
                <a:gd name="T78" fmla="*/ 2496 w 2692"/>
                <a:gd name="T79" fmla="*/ 562 h 1302"/>
                <a:gd name="T80" fmla="*/ 2614 w 2692"/>
                <a:gd name="T81" fmla="*/ 506 h 1302"/>
                <a:gd name="T82" fmla="*/ 2678 w 2692"/>
                <a:gd name="T83" fmla="*/ 450 h 1302"/>
                <a:gd name="T84" fmla="*/ 2692 w 2692"/>
                <a:gd name="T85" fmla="*/ 400 h 1302"/>
                <a:gd name="T86" fmla="*/ 864 w 2692"/>
                <a:gd name="T87" fmla="*/ 746 h 1302"/>
                <a:gd name="T88" fmla="*/ 808 w 2692"/>
                <a:gd name="T89" fmla="*/ 754 h 1302"/>
                <a:gd name="T90" fmla="*/ 808 w 2692"/>
                <a:gd name="T91" fmla="*/ 746 h 1302"/>
                <a:gd name="T92" fmla="*/ 864 w 2692"/>
                <a:gd name="T93" fmla="*/ 746 h 1302"/>
                <a:gd name="T94" fmla="*/ 2222 w 2692"/>
                <a:gd name="T95" fmla="*/ 318 h 1302"/>
                <a:gd name="T96" fmla="*/ 2276 w 2692"/>
                <a:gd name="T97" fmla="*/ 312 h 1302"/>
                <a:gd name="T98" fmla="*/ 2320 w 2692"/>
                <a:gd name="T99" fmla="*/ 324 h 1302"/>
                <a:gd name="T100" fmla="*/ 2328 w 2692"/>
                <a:gd name="T101" fmla="*/ 342 h 1302"/>
                <a:gd name="T102" fmla="*/ 2302 w 2692"/>
                <a:gd name="T103" fmla="*/ 364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692" h="1302">
                  <a:moveTo>
                    <a:pt x="2680" y="378"/>
                  </a:moveTo>
                  <a:lnTo>
                    <a:pt x="2680" y="378"/>
                  </a:lnTo>
                  <a:lnTo>
                    <a:pt x="2668" y="364"/>
                  </a:lnTo>
                  <a:lnTo>
                    <a:pt x="2652" y="350"/>
                  </a:lnTo>
                  <a:lnTo>
                    <a:pt x="2638" y="338"/>
                  </a:lnTo>
                  <a:lnTo>
                    <a:pt x="2620" y="330"/>
                  </a:lnTo>
                  <a:lnTo>
                    <a:pt x="2620" y="330"/>
                  </a:lnTo>
                  <a:lnTo>
                    <a:pt x="2560" y="304"/>
                  </a:lnTo>
                  <a:lnTo>
                    <a:pt x="2530" y="290"/>
                  </a:lnTo>
                  <a:lnTo>
                    <a:pt x="2504" y="276"/>
                  </a:lnTo>
                  <a:lnTo>
                    <a:pt x="2504" y="276"/>
                  </a:lnTo>
                  <a:lnTo>
                    <a:pt x="2478" y="262"/>
                  </a:lnTo>
                  <a:lnTo>
                    <a:pt x="2448" y="248"/>
                  </a:lnTo>
                  <a:lnTo>
                    <a:pt x="2448" y="248"/>
                  </a:lnTo>
                  <a:lnTo>
                    <a:pt x="2434" y="244"/>
                  </a:lnTo>
                  <a:lnTo>
                    <a:pt x="2420" y="240"/>
                  </a:lnTo>
                  <a:lnTo>
                    <a:pt x="2386" y="238"/>
                  </a:lnTo>
                  <a:lnTo>
                    <a:pt x="2350" y="240"/>
                  </a:lnTo>
                  <a:lnTo>
                    <a:pt x="2316" y="242"/>
                  </a:lnTo>
                  <a:lnTo>
                    <a:pt x="2284" y="246"/>
                  </a:lnTo>
                  <a:lnTo>
                    <a:pt x="2258" y="252"/>
                  </a:lnTo>
                  <a:lnTo>
                    <a:pt x="2236" y="256"/>
                  </a:lnTo>
                  <a:lnTo>
                    <a:pt x="2236" y="256"/>
                  </a:lnTo>
                  <a:lnTo>
                    <a:pt x="1512" y="480"/>
                  </a:lnTo>
                  <a:lnTo>
                    <a:pt x="342" y="16"/>
                  </a:lnTo>
                  <a:lnTo>
                    <a:pt x="342" y="16"/>
                  </a:lnTo>
                  <a:lnTo>
                    <a:pt x="328" y="10"/>
                  </a:lnTo>
                  <a:lnTo>
                    <a:pt x="312" y="6"/>
                  </a:lnTo>
                  <a:lnTo>
                    <a:pt x="278" y="2"/>
                  </a:lnTo>
                  <a:lnTo>
                    <a:pt x="242" y="0"/>
                  </a:lnTo>
                  <a:lnTo>
                    <a:pt x="226" y="0"/>
                  </a:lnTo>
                  <a:lnTo>
                    <a:pt x="210" y="2"/>
                  </a:lnTo>
                  <a:lnTo>
                    <a:pt x="122" y="16"/>
                  </a:lnTo>
                  <a:lnTo>
                    <a:pt x="122" y="16"/>
                  </a:lnTo>
                  <a:lnTo>
                    <a:pt x="110" y="20"/>
                  </a:lnTo>
                  <a:lnTo>
                    <a:pt x="100" y="24"/>
                  </a:lnTo>
                  <a:lnTo>
                    <a:pt x="94" y="28"/>
                  </a:lnTo>
                  <a:lnTo>
                    <a:pt x="90" y="34"/>
                  </a:lnTo>
                  <a:lnTo>
                    <a:pt x="92" y="42"/>
                  </a:lnTo>
                  <a:lnTo>
                    <a:pt x="94" y="48"/>
                  </a:lnTo>
                  <a:lnTo>
                    <a:pt x="102" y="56"/>
                  </a:lnTo>
                  <a:lnTo>
                    <a:pt x="112" y="64"/>
                  </a:lnTo>
                  <a:lnTo>
                    <a:pt x="1016" y="618"/>
                  </a:lnTo>
                  <a:lnTo>
                    <a:pt x="1016" y="618"/>
                  </a:lnTo>
                  <a:lnTo>
                    <a:pt x="1032" y="628"/>
                  </a:lnTo>
                  <a:lnTo>
                    <a:pt x="1032" y="628"/>
                  </a:lnTo>
                  <a:lnTo>
                    <a:pt x="736" y="720"/>
                  </a:lnTo>
                  <a:lnTo>
                    <a:pt x="500" y="486"/>
                  </a:lnTo>
                  <a:lnTo>
                    <a:pt x="500" y="486"/>
                  </a:lnTo>
                  <a:lnTo>
                    <a:pt x="490" y="476"/>
                  </a:lnTo>
                  <a:lnTo>
                    <a:pt x="478" y="466"/>
                  </a:lnTo>
                  <a:lnTo>
                    <a:pt x="464" y="458"/>
                  </a:lnTo>
                  <a:lnTo>
                    <a:pt x="448" y="450"/>
                  </a:lnTo>
                  <a:lnTo>
                    <a:pt x="434" y="444"/>
                  </a:lnTo>
                  <a:lnTo>
                    <a:pt x="418" y="440"/>
                  </a:lnTo>
                  <a:lnTo>
                    <a:pt x="404" y="438"/>
                  </a:lnTo>
                  <a:lnTo>
                    <a:pt x="390" y="436"/>
                  </a:lnTo>
                  <a:lnTo>
                    <a:pt x="390" y="436"/>
                  </a:lnTo>
                  <a:lnTo>
                    <a:pt x="378" y="438"/>
                  </a:lnTo>
                  <a:lnTo>
                    <a:pt x="366" y="442"/>
                  </a:lnTo>
                  <a:lnTo>
                    <a:pt x="356" y="448"/>
                  </a:lnTo>
                  <a:lnTo>
                    <a:pt x="348" y="458"/>
                  </a:lnTo>
                  <a:lnTo>
                    <a:pt x="340" y="468"/>
                  </a:lnTo>
                  <a:lnTo>
                    <a:pt x="336" y="480"/>
                  </a:lnTo>
                  <a:lnTo>
                    <a:pt x="334" y="492"/>
                  </a:lnTo>
                  <a:lnTo>
                    <a:pt x="334" y="506"/>
                  </a:lnTo>
                  <a:lnTo>
                    <a:pt x="366" y="824"/>
                  </a:lnTo>
                  <a:lnTo>
                    <a:pt x="140" y="760"/>
                  </a:lnTo>
                  <a:lnTo>
                    <a:pt x="140" y="760"/>
                  </a:lnTo>
                  <a:lnTo>
                    <a:pt x="110" y="754"/>
                  </a:lnTo>
                  <a:lnTo>
                    <a:pt x="78" y="750"/>
                  </a:lnTo>
                  <a:lnTo>
                    <a:pt x="46" y="752"/>
                  </a:lnTo>
                  <a:lnTo>
                    <a:pt x="32" y="754"/>
                  </a:lnTo>
                  <a:lnTo>
                    <a:pt x="20" y="756"/>
                  </a:lnTo>
                  <a:lnTo>
                    <a:pt x="20" y="756"/>
                  </a:lnTo>
                  <a:lnTo>
                    <a:pt x="10" y="760"/>
                  </a:lnTo>
                  <a:lnTo>
                    <a:pt x="4" y="764"/>
                  </a:lnTo>
                  <a:lnTo>
                    <a:pt x="2" y="770"/>
                  </a:lnTo>
                  <a:lnTo>
                    <a:pt x="0" y="776"/>
                  </a:lnTo>
                  <a:lnTo>
                    <a:pt x="4" y="782"/>
                  </a:lnTo>
                  <a:lnTo>
                    <a:pt x="10" y="788"/>
                  </a:lnTo>
                  <a:lnTo>
                    <a:pt x="18" y="794"/>
                  </a:lnTo>
                  <a:lnTo>
                    <a:pt x="30" y="800"/>
                  </a:lnTo>
                  <a:lnTo>
                    <a:pt x="286" y="916"/>
                  </a:lnTo>
                  <a:lnTo>
                    <a:pt x="286" y="916"/>
                  </a:lnTo>
                  <a:lnTo>
                    <a:pt x="274" y="922"/>
                  </a:lnTo>
                  <a:lnTo>
                    <a:pt x="274" y="922"/>
                  </a:lnTo>
                  <a:lnTo>
                    <a:pt x="250" y="938"/>
                  </a:lnTo>
                  <a:lnTo>
                    <a:pt x="232" y="954"/>
                  </a:lnTo>
                  <a:lnTo>
                    <a:pt x="220" y="970"/>
                  </a:lnTo>
                  <a:lnTo>
                    <a:pt x="216" y="978"/>
                  </a:lnTo>
                  <a:lnTo>
                    <a:pt x="214" y="984"/>
                  </a:lnTo>
                  <a:lnTo>
                    <a:pt x="214" y="984"/>
                  </a:lnTo>
                  <a:lnTo>
                    <a:pt x="216" y="988"/>
                  </a:lnTo>
                  <a:lnTo>
                    <a:pt x="220" y="994"/>
                  </a:lnTo>
                  <a:lnTo>
                    <a:pt x="226" y="998"/>
                  </a:lnTo>
                  <a:lnTo>
                    <a:pt x="234" y="1002"/>
                  </a:lnTo>
                  <a:lnTo>
                    <a:pt x="256" y="1008"/>
                  </a:lnTo>
                  <a:lnTo>
                    <a:pt x="282" y="1010"/>
                  </a:lnTo>
                  <a:lnTo>
                    <a:pt x="282" y="1010"/>
                  </a:lnTo>
                  <a:lnTo>
                    <a:pt x="438" y="1010"/>
                  </a:lnTo>
                  <a:lnTo>
                    <a:pt x="438" y="1010"/>
                  </a:lnTo>
                  <a:lnTo>
                    <a:pt x="440" y="1010"/>
                  </a:lnTo>
                  <a:lnTo>
                    <a:pt x="546" y="1116"/>
                  </a:lnTo>
                  <a:lnTo>
                    <a:pt x="546" y="1116"/>
                  </a:lnTo>
                  <a:lnTo>
                    <a:pt x="556" y="1124"/>
                  </a:lnTo>
                  <a:lnTo>
                    <a:pt x="566" y="1132"/>
                  </a:lnTo>
                  <a:lnTo>
                    <a:pt x="578" y="1140"/>
                  </a:lnTo>
                  <a:lnTo>
                    <a:pt x="588" y="1144"/>
                  </a:lnTo>
                  <a:lnTo>
                    <a:pt x="600" y="1148"/>
                  </a:lnTo>
                  <a:lnTo>
                    <a:pt x="610" y="1150"/>
                  </a:lnTo>
                  <a:lnTo>
                    <a:pt x="618" y="1150"/>
                  </a:lnTo>
                  <a:lnTo>
                    <a:pt x="626" y="1148"/>
                  </a:lnTo>
                  <a:lnTo>
                    <a:pt x="626" y="1148"/>
                  </a:lnTo>
                  <a:lnTo>
                    <a:pt x="630" y="1142"/>
                  </a:lnTo>
                  <a:lnTo>
                    <a:pt x="634" y="1136"/>
                  </a:lnTo>
                  <a:lnTo>
                    <a:pt x="638" y="1126"/>
                  </a:lnTo>
                  <a:lnTo>
                    <a:pt x="640" y="1116"/>
                  </a:lnTo>
                  <a:lnTo>
                    <a:pt x="640" y="1106"/>
                  </a:lnTo>
                  <a:lnTo>
                    <a:pt x="638" y="1092"/>
                  </a:lnTo>
                  <a:lnTo>
                    <a:pt x="636" y="1080"/>
                  </a:lnTo>
                  <a:lnTo>
                    <a:pt x="632" y="1066"/>
                  </a:lnTo>
                  <a:lnTo>
                    <a:pt x="610" y="1008"/>
                  </a:lnTo>
                  <a:lnTo>
                    <a:pt x="610" y="1008"/>
                  </a:lnTo>
                  <a:lnTo>
                    <a:pt x="788" y="1008"/>
                  </a:lnTo>
                  <a:lnTo>
                    <a:pt x="906" y="1006"/>
                  </a:lnTo>
                  <a:lnTo>
                    <a:pt x="906" y="1006"/>
                  </a:lnTo>
                  <a:lnTo>
                    <a:pt x="928" y="1002"/>
                  </a:lnTo>
                  <a:lnTo>
                    <a:pt x="962" y="996"/>
                  </a:lnTo>
                  <a:lnTo>
                    <a:pt x="1062" y="972"/>
                  </a:lnTo>
                  <a:lnTo>
                    <a:pt x="1196" y="938"/>
                  </a:lnTo>
                  <a:lnTo>
                    <a:pt x="1354" y="896"/>
                  </a:lnTo>
                  <a:lnTo>
                    <a:pt x="1354" y="896"/>
                  </a:lnTo>
                  <a:lnTo>
                    <a:pt x="1372" y="908"/>
                  </a:lnTo>
                  <a:lnTo>
                    <a:pt x="1922" y="1284"/>
                  </a:lnTo>
                  <a:lnTo>
                    <a:pt x="1922" y="1284"/>
                  </a:lnTo>
                  <a:lnTo>
                    <a:pt x="1934" y="1290"/>
                  </a:lnTo>
                  <a:lnTo>
                    <a:pt x="1948" y="1296"/>
                  </a:lnTo>
                  <a:lnTo>
                    <a:pt x="1960" y="1300"/>
                  </a:lnTo>
                  <a:lnTo>
                    <a:pt x="1974" y="1302"/>
                  </a:lnTo>
                  <a:lnTo>
                    <a:pt x="1988" y="1302"/>
                  </a:lnTo>
                  <a:lnTo>
                    <a:pt x="2000" y="1300"/>
                  </a:lnTo>
                  <a:lnTo>
                    <a:pt x="2012" y="1296"/>
                  </a:lnTo>
                  <a:lnTo>
                    <a:pt x="2022" y="1290"/>
                  </a:lnTo>
                  <a:lnTo>
                    <a:pt x="2022" y="1290"/>
                  </a:lnTo>
                  <a:lnTo>
                    <a:pt x="2030" y="1282"/>
                  </a:lnTo>
                  <a:lnTo>
                    <a:pt x="2036" y="1272"/>
                  </a:lnTo>
                  <a:lnTo>
                    <a:pt x="2042" y="1262"/>
                  </a:lnTo>
                  <a:lnTo>
                    <a:pt x="2044" y="1248"/>
                  </a:lnTo>
                  <a:lnTo>
                    <a:pt x="2046" y="1236"/>
                  </a:lnTo>
                  <a:lnTo>
                    <a:pt x="2046" y="1222"/>
                  </a:lnTo>
                  <a:lnTo>
                    <a:pt x="2044" y="1208"/>
                  </a:lnTo>
                  <a:lnTo>
                    <a:pt x="2042" y="1194"/>
                  </a:lnTo>
                  <a:lnTo>
                    <a:pt x="1884" y="746"/>
                  </a:lnTo>
                  <a:lnTo>
                    <a:pt x="1884" y="746"/>
                  </a:lnTo>
                  <a:lnTo>
                    <a:pt x="2232" y="644"/>
                  </a:lnTo>
                  <a:lnTo>
                    <a:pt x="2416" y="590"/>
                  </a:lnTo>
                  <a:lnTo>
                    <a:pt x="2416" y="590"/>
                  </a:lnTo>
                  <a:lnTo>
                    <a:pt x="2458" y="576"/>
                  </a:lnTo>
                  <a:lnTo>
                    <a:pt x="2496" y="562"/>
                  </a:lnTo>
                  <a:lnTo>
                    <a:pt x="2530" y="548"/>
                  </a:lnTo>
                  <a:lnTo>
                    <a:pt x="2562" y="534"/>
                  </a:lnTo>
                  <a:lnTo>
                    <a:pt x="2590" y="520"/>
                  </a:lnTo>
                  <a:lnTo>
                    <a:pt x="2614" y="506"/>
                  </a:lnTo>
                  <a:lnTo>
                    <a:pt x="2634" y="492"/>
                  </a:lnTo>
                  <a:lnTo>
                    <a:pt x="2652" y="478"/>
                  </a:lnTo>
                  <a:lnTo>
                    <a:pt x="2666" y="464"/>
                  </a:lnTo>
                  <a:lnTo>
                    <a:pt x="2678" y="450"/>
                  </a:lnTo>
                  <a:lnTo>
                    <a:pt x="2686" y="438"/>
                  </a:lnTo>
                  <a:lnTo>
                    <a:pt x="2690" y="424"/>
                  </a:lnTo>
                  <a:lnTo>
                    <a:pt x="2692" y="412"/>
                  </a:lnTo>
                  <a:lnTo>
                    <a:pt x="2692" y="400"/>
                  </a:lnTo>
                  <a:lnTo>
                    <a:pt x="2688" y="390"/>
                  </a:lnTo>
                  <a:lnTo>
                    <a:pt x="2680" y="378"/>
                  </a:lnTo>
                  <a:lnTo>
                    <a:pt x="2680" y="378"/>
                  </a:lnTo>
                  <a:close/>
                  <a:moveTo>
                    <a:pt x="864" y="746"/>
                  </a:moveTo>
                  <a:lnTo>
                    <a:pt x="864" y="746"/>
                  </a:lnTo>
                  <a:lnTo>
                    <a:pt x="840" y="752"/>
                  </a:lnTo>
                  <a:lnTo>
                    <a:pt x="820" y="754"/>
                  </a:lnTo>
                  <a:lnTo>
                    <a:pt x="808" y="754"/>
                  </a:lnTo>
                  <a:lnTo>
                    <a:pt x="806" y="752"/>
                  </a:lnTo>
                  <a:lnTo>
                    <a:pt x="804" y="750"/>
                  </a:lnTo>
                  <a:lnTo>
                    <a:pt x="810" y="738"/>
                  </a:lnTo>
                  <a:lnTo>
                    <a:pt x="808" y="746"/>
                  </a:lnTo>
                  <a:lnTo>
                    <a:pt x="1082" y="664"/>
                  </a:lnTo>
                  <a:lnTo>
                    <a:pt x="1082" y="664"/>
                  </a:lnTo>
                  <a:lnTo>
                    <a:pt x="1106" y="682"/>
                  </a:lnTo>
                  <a:lnTo>
                    <a:pt x="864" y="746"/>
                  </a:lnTo>
                  <a:close/>
                  <a:moveTo>
                    <a:pt x="2290" y="368"/>
                  </a:moveTo>
                  <a:lnTo>
                    <a:pt x="1642" y="540"/>
                  </a:lnTo>
                  <a:lnTo>
                    <a:pt x="1582" y="512"/>
                  </a:lnTo>
                  <a:lnTo>
                    <a:pt x="2222" y="318"/>
                  </a:lnTo>
                  <a:lnTo>
                    <a:pt x="2222" y="318"/>
                  </a:lnTo>
                  <a:lnTo>
                    <a:pt x="2234" y="314"/>
                  </a:lnTo>
                  <a:lnTo>
                    <a:pt x="2248" y="312"/>
                  </a:lnTo>
                  <a:lnTo>
                    <a:pt x="2276" y="312"/>
                  </a:lnTo>
                  <a:lnTo>
                    <a:pt x="2290" y="314"/>
                  </a:lnTo>
                  <a:lnTo>
                    <a:pt x="2302" y="316"/>
                  </a:lnTo>
                  <a:lnTo>
                    <a:pt x="2312" y="320"/>
                  </a:lnTo>
                  <a:lnTo>
                    <a:pt x="2320" y="324"/>
                  </a:lnTo>
                  <a:lnTo>
                    <a:pt x="2320" y="324"/>
                  </a:lnTo>
                  <a:lnTo>
                    <a:pt x="2326" y="330"/>
                  </a:lnTo>
                  <a:lnTo>
                    <a:pt x="2328" y="336"/>
                  </a:lnTo>
                  <a:lnTo>
                    <a:pt x="2328" y="342"/>
                  </a:lnTo>
                  <a:lnTo>
                    <a:pt x="2326" y="348"/>
                  </a:lnTo>
                  <a:lnTo>
                    <a:pt x="2320" y="354"/>
                  </a:lnTo>
                  <a:lnTo>
                    <a:pt x="2312" y="360"/>
                  </a:lnTo>
                  <a:lnTo>
                    <a:pt x="2302" y="364"/>
                  </a:lnTo>
                  <a:lnTo>
                    <a:pt x="2290" y="368"/>
                  </a:lnTo>
                  <a:lnTo>
                    <a:pt x="2290" y="36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2226" name="Group 2225">
            <a:extLst>
              <a:ext uri="{FF2B5EF4-FFF2-40B4-BE49-F238E27FC236}">
                <a16:creationId xmlns:a16="http://schemas.microsoft.com/office/drawing/2014/main" id="{03286D47-CF5B-4939-AD5C-B266188AB94E}"/>
              </a:ext>
            </a:extLst>
          </p:cNvPr>
          <p:cNvGrpSpPr/>
          <p:nvPr/>
        </p:nvGrpSpPr>
        <p:grpSpPr>
          <a:xfrm>
            <a:off x="6795555" y="3980530"/>
            <a:ext cx="612775" cy="612775"/>
            <a:chOff x="4963191" y="4581723"/>
            <a:chExt cx="612775" cy="612775"/>
          </a:xfrm>
        </p:grpSpPr>
        <p:sp>
          <p:nvSpPr>
            <p:cNvPr id="2227" name="Oval 2226">
              <a:extLst>
                <a:ext uri="{FF2B5EF4-FFF2-40B4-BE49-F238E27FC236}">
                  <a16:creationId xmlns:a16="http://schemas.microsoft.com/office/drawing/2014/main" id="{5E09C9A5-872C-4632-8B4D-2D8DD1019802}"/>
                </a:ext>
              </a:extLst>
            </p:cNvPr>
            <p:cNvSpPr/>
            <p:nvPr/>
          </p:nvSpPr>
          <p:spPr bwMode="ltGray">
            <a:xfrm>
              <a:off x="4963191"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228" name="Group 5">
              <a:extLst>
                <a:ext uri="{FF2B5EF4-FFF2-40B4-BE49-F238E27FC236}">
                  <a16:creationId xmlns:a16="http://schemas.microsoft.com/office/drawing/2014/main" id="{D0E2681F-91D0-42C1-A9F9-7AD36E8D9204}"/>
                </a:ext>
              </a:extLst>
            </p:cNvPr>
            <p:cNvGrpSpPr>
              <a:grpSpLocks noChangeAspect="1"/>
            </p:cNvGrpSpPr>
            <p:nvPr/>
          </p:nvGrpSpPr>
          <p:grpSpPr bwMode="auto">
            <a:xfrm>
              <a:off x="5112514" y="4690864"/>
              <a:ext cx="350597" cy="411092"/>
              <a:chOff x="803" y="611"/>
              <a:chExt cx="2040" cy="2392"/>
            </a:xfrm>
          </p:grpSpPr>
          <p:sp>
            <p:nvSpPr>
              <p:cNvPr id="2229" name="Freeform 7">
                <a:extLst>
                  <a:ext uri="{FF2B5EF4-FFF2-40B4-BE49-F238E27FC236}">
                    <a16:creationId xmlns:a16="http://schemas.microsoft.com/office/drawing/2014/main" id="{9DF768E1-F70B-4C18-B1AD-955E1AFD493D}"/>
                  </a:ext>
                </a:extLst>
              </p:cNvPr>
              <p:cNvSpPr>
                <a:spLocks/>
              </p:cNvSpPr>
              <p:nvPr/>
            </p:nvSpPr>
            <p:spPr bwMode="auto">
              <a:xfrm>
                <a:off x="1115" y="1407"/>
                <a:ext cx="636" cy="1046"/>
              </a:xfrm>
              <a:custGeom>
                <a:avLst/>
                <a:gdLst>
                  <a:gd name="T0" fmla="*/ 284 w 636"/>
                  <a:gd name="T1" fmla="*/ 532 h 1046"/>
                  <a:gd name="T2" fmla="*/ 636 w 636"/>
                  <a:gd name="T3" fmla="*/ 564 h 1046"/>
                  <a:gd name="T4" fmla="*/ 530 w 636"/>
                  <a:gd name="T5" fmla="*/ 370 h 1046"/>
                  <a:gd name="T6" fmla="*/ 328 w 636"/>
                  <a:gd name="T7" fmla="*/ 0 h 1046"/>
                  <a:gd name="T8" fmla="*/ 328 w 636"/>
                  <a:gd name="T9" fmla="*/ 0 h 1046"/>
                  <a:gd name="T10" fmla="*/ 328 w 636"/>
                  <a:gd name="T11" fmla="*/ 0 h 1046"/>
                  <a:gd name="T12" fmla="*/ 328 w 636"/>
                  <a:gd name="T13" fmla="*/ 0 h 1046"/>
                  <a:gd name="T14" fmla="*/ 296 w 636"/>
                  <a:gd name="T15" fmla="*/ 24 h 1046"/>
                  <a:gd name="T16" fmla="*/ 266 w 636"/>
                  <a:gd name="T17" fmla="*/ 48 h 1046"/>
                  <a:gd name="T18" fmla="*/ 238 w 636"/>
                  <a:gd name="T19" fmla="*/ 72 h 1046"/>
                  <a:gd name="T20" fmla="*/ 210 w 636"/>
                  <a:gd name="T21" fmla="*/ 98 h 1046"/>
                  <a:gd name="T22" fmla="*/ 186 w 636"/>
                  <a:gd name="T23" fmla="*/ 126 h 1046"/>
                  <a:gd name="T24" fmla="*/ 162 w 636"/>
                  <a:gd name="T25" fmla="*/ 154 h 1046"/>
                  <a:gd name="T26" fmla="*/ 140 w 636"/>
                  <a:gd name="T27" fmla="*/ 184 h 1046"/>
                  <a:gd name="T28" fmla="*/ 118 w 636"/>
                  <a:gd name="T29" fmla="*/ 214 h 1046"/>
                  <a:gd name="T30" fmla="*/ 100 w 636"/>
                  <a:gd name="T31" fmla="*/ 246 h 1046"/>
                  <a:gd name="T32" fmla="*/ 82 w 636"/>
                  <a:gd name="T33" fmla="*/ 278 h 1046"/>
                  <a:gd name="T34" fmla="*/ 66 w 636"/>
                  <a:gd name="T35" fmla="*/ 310 h 1046"/>
                  <a:gd name="T36" fmla="*/ 52 w 636"/>
                  <a:gd name="T37" fmla="*/ 344 h 1046"/>
                  <a:gd name="T38" fmla="*/ 40 w 636"/>
                  <a:gd name="T39" fmla="*/ 378 h 1046"/>
                  <a:gd name="T40" fmla="*/ 30 w 636"/>
                  <a:gd name="T41" fmla="*/ 412 h 1046"/>
                  <a:gd name="T42" fmla="*/ 20 w 636"/>
                  <a:gd name="T43" fmla="*/ 446 h 1046"/>
                  <a:gd name="T44" fmla="*/ 12 w 636"/>
                  <a:gd name="T45" fmla="*/ 482 h 1046"/>
                  <a:gd name="T46" fmla="*/ 6 w 636"/>
                  <a:gd name="T47" fmla="*/ 518 h 1046"/>
                  <a:gd name="T48" fmla="*/ 2 w 636"/>
                  <a:gd name="T49" fmla="*/ 554 h 1046"/>
                  <a:gd name="T50" fmla="*/ 0 w 636"/>
                  <a:gd name="T51" fmla="*/ 590 h 1046"/>
                  <a:gd name="T52" fmla="*/ 0 w 636"/>
                  <a:gd name="T53" fmla="*/ 626 h 1046"/>
                  <a:gd name="T54" fmla="*/ 0 w 636"/>
                  <a:gd name="T55" fmla="*/ 662 h 1046"/>
                  <a:gd name="T56" fmla="*/ 2 w 636"/>
                  <a:gd name="T57" fmla="*/ 698 h 1046"/>
                  <a:gd name="T58" fmla="*/ 8 w 636"/>
                  <a:gd name="T59" fmla="*/ 734 h 1046"/>
                  <a:gd name="T60" fmla="*/ 14 w 636"/>
                  <a:gd name="T61" fmla="*/ 770 h 1046"/>
                  <a:gd name="T62" fmla="*/ 22 w 636"/>
                  <a:gd name="T63" fmla="*/ 806 h 1046"/>
                  <a:gd name="T64" fmla="*/ 32 w 636"/>
                  <a:gd name="T65" fmla="*/ 842 h 1046"/>
                  <a:gd name="T66" fmla="*/ 44 w 636"/>
                  <a:gd name="T67" fmla="*/ 876 h 1046"/>
                  <a:gd name="T68" fmla="*/ 56 w 636"/>
                  <a:gd name="T69" fmla="*/ 912 h 1046"/>
                  <a:gd name="T70" fmla="*/ 72 w 636"/>
                  <a:gd name="T71" fmla="*/ 946 h 1046"/>
                  <a:gd name="T72" fmla="*/ 90 w 636"/>
                  <a:gd name="T73" fmla="*/ 980 h 1046"/>
                  <a:gd name="T74" fmla="*/ 108 w 636"/>
                  <a:gd name="T75" fmla="*/ 1012 h 1046"/>
                  <a:gd name="T76" fmla="*/ 130 w 636"/>
                  <a:gd name="T77" fmla="*/ 1046 h 1046"/>
                  <a:gd name="T78" fmla="*/ 624 w 636"/>
                  <a:gd name="T79" fmla="*/ 632 h 1046"/>
                  <a:gd name="T80" fmla="*/ 284 w 636"/>
                  <a:gd name="T81" fmla="*/ 532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6" h="1046">
                    <a:moveTo>
                      <a:pt x="284" y="532"/>
                    </a:moveTo>
                    <a:lnTo>
                      <a:pt x="636" y="564"/>
                    </a:lnTo>
                    <a:lnTo>
                      <a:pt x="530" y="370"/>
                    </a:lnTo>
                    <a:lnTo>
                      <a:pt x="328" y="0"/>
                    </a:lnTo>
                    <a:lnTo>
                      <a:pt x="328" y="0"/>
                    </a:lnTo>
                    <a:lnTo>
                      <a:pt x="328" y="0"/>
                    </a:lnTo>
                    <a:lnTo>
                      <a:pt x="328" y="0"/>
                    </a:lnTo>
                    <a:lnTo>
                      <a:pt x="296" y="24"/>
                    </a:lnTo>
                    <a:lnTo>
                      <a:pt x="266" y="48"/>
                    </a:lnTo>
                    <a:lnTo>
                      <a:pt x="238" y="72"/>
                    </a:lnTo>
                    <a:lnTo>
                      <a:pt x="210" y="98"/>
                    </a:lnTo>
                    <a:lnTo>
                      <a:pt x="186" y="126"/>
                    </a:lnTo>
                    <a:lnTo>
                      <a:pt x="162" y="154"/>
                    </a:lnTo>
                    <a:lnTo>
                      <a:pt x="140" y="184"/>
                    </a:lnTo>
                    <a:lnTo>
                      <a:pt x="118" y="214"/>
                    </a:lnTo>
                    <a:lnTo>
                      <a:pt x="100" y="246"/>
                    </a:lnTo>
                    <a:lnTo>
                      <a:pt x="82" y="278"/>
                    </a:lnTo>
                    <a:lnTo>
                      <a:pt x="66" y="310"/>
                    </a:lnTo>
                    <a:lnTo>
                      <a:pt x="52" y="344"/>
                    </a:lnTo>
                    <a:lnTo>
                      <a:pt x="40" y="378"/>
                    </a:lnTo>
                    <a:lnTo>
                      <a:pt x="30" y="412"/>
                    </a:lnTo>
                    <a:lnTo>
                      <a:pt x="20" y="446"/>
                    </a:lnTo>
                    <a:lnTo>
                      <a:pt x="12" y="482"/>
                    </a:lnTo>
                    <a:lnTo>
                      <a:pt x="6" y="518"/>
                    </a:lnTo>
                    <a:lnTo>
                      <a:pt x="2" y="554"/>
                    </a:lnTo>
                    <a:lnTo>
                      <a:pt x="0" y="590"/>
                    </a:lnTo>
                    <a:lnTo>
                      <a:pt x="0" y="626"/>
                    </a:lnTo>
                    <a:lnTo>
                      <a:pt x="0" y="662"/>
                    </a:lnTo>
                    <a:lnTo>
                      <a:pt x="2" y="698"/>
                    </a:lnTo>
                    <a:lnTo>
                      <a:pt x="8" y="734"/>
                    </a:lnTo>
                    <a:lnTo>
                      <a:pt x="14" y="770"/>
                    </a:lnTo>
                    <a:lnTo>
                      <a:pt x="22" y="806"/>
                    </a:lnTo>
                    <a:lnTo>
                      <a:pt x="32" y="842"/>
                    </a:lnTo>
                    <a:lnTo>
                      <a:pt x="44" y="876"/>
                    </a:lnTo>
                    <a:lnTo>
                      <a:pt x="56" y="912"/>
                    </a:lnTo>
                    <a:lnTo>
                      <a:pt x="72" y="946"/>
                    </a:lnTo>
                    <a:lnTo>
                      <a:pt x="90" y="980"/>
                    </a:lnTo>
                    <a:lnTo>
                      <a:pt x="108" y="1012"/>
                    </a:lnTo>
                    <a:lnTo>
                      <a:pt x="130" y="1046"/>
                    </a:lnTo>
                    <a:lnTo>
                      <a:pt x="624" y="632"/>
                    </a:lnTo>
                    <a:lnTo>
                      <a:pt x="284" y="53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30" name="Freeform 8">
                <a:extLst>
                  <a:ext uri="{FF2B5EF4-FFF2-40B4-BE49-F238E27FC236}">
                    <a16:creationId xmlns:a16="http://schemas.microsoft.com/office/drawing/2014/main" id="{0A9AB388-EC66-4321-BAAE-07616F2A1372}"/>
                  </a:ext>
                </a:extLst>
              </p:cNvPr>
              <p:cNvSpPr>
                <a:spLocks/>
              </p:cNvSpPr>
              <p:nvPr/>
            </p:nvSpPr>
            <p:spPr bwMode="auto">
              <a:xfrm>
                <a:off x="1987" y="1607"/>
                <a:ext cx="632" cy="1040"/>
              </a:xfrm>
              <a:custGeom>
                <a:avLst/>
                <a:gdLst>
                  <a:gd name="T0" fmla="*/ 502 w 632"/>
                  <a:gd name="T1" fmla="*/ 0 h 1040"/>
                  <a:gd name="T2" fmla="*/ 12 w 632"/>
                  <a:gd name="T3" fmla="*/ 410 h 1040"/>
                  <a:gd name="T4" fmla="*/ 352 w 632"/>
                  <a:gd name="T5" fmla="*/ 510 h 1040"/>
                  <a:gd name="T6" fmla="*/ 0 w 632"/>
                  <a:gd name="T7" fmla="*/ 478 h 1040"/>
                  <a:gd name="T8" fmla="*/ 308 w 632"/>
                  <a:gd name="T9" fmla="*/ 1040 h 1040"/>
                  <a:gd name="T10" fmla="*/ 308 w 632"/>
                  <a:gd name="T11" fmla="*/ 1040 h 1040"/>
                  <a:gd name="T12" fmla="*/ 340 w 632"/>
                  <a:gd name="T13" fmla="*/ 1018 h 1040"/>
                  <a:gd name="T14" fmla="*/ 370 w 632"/>
                  <a:gd name="T15" fmla="*/ 994 h 1040"/>
                  <a:gd name="T16" fmla="*/ 398 w 632"/>
                  <a:gd name="T17" fmla="*/ 968 h 1040"/>
                  <a:gd name="T18" fmla="*/ 424 w 632"/>
                  <a:gd name="T19" fmla="*/ 942 h 1040"/>
                  <a:gd name="T20" fmla="*/ 448 w 632"/>
                  <a:gd name="T21" fmla="*/ 916 h 1040"/>
                  <a:gd name="T22" fmla="*/ 472 w 632"/>
                  <a:gd name="T23" fmla="*/ 886 h 1040"/>
                  <a:gd name="T24" fmla="*/ 494 w 632"/>
                  <a:gd name="T25" fmla="*/ 858 h 1040"/>
                  <a:gd name="T26" fmla="*/ 514 w 632"/>
                  <a:gd name="T27" fmla="*/ 828 h 1040"/>
                  <a:gd name="T28" fmla="*/ 534 w 632"/>
                  <a:gd name="T29" fmla="*/ 796 h 1040"/>
                  <a:gd name="T30" fmla="*/ 550 w 632"/>
                  <a:gd name="T31" fmla="*/ 764 h 1040"/>
                  <a:gd name="T32" fmla="*/ 566 w 632"/>
                  <a:gd name="T33" fmla="*/ 732 h 1040"/>
                  <a:gd name="T34" fmla="*/ 580 w 632"/>
                  <a:gd name="T35" fmla="*/ 698 h 1040"/>
                  <a:gd name="T36" fmla="*/ 592 w 632"/>
                  <a:gd name="T37" fmla="*/ 664 h 1040"/>
                  <a:gd name="T38" fmla="*/ 604 w 632"/>
                  <a:gd name="T39" fmla="*/ 630 h 1040"/>
                  <a:gd name="T40" fmla="*/ 612 w 632"/>
                  <a:gd name="T41" fmla="*/ 596 h 1040"/>
                  <a:gd name="T42" fmla="*/ 620 w 632"/>
                  <a:gd name="T43" fmla="*/ 560 h 1040"/>
                  <a:gd name="T44" fmla="*/ 626 w 632"/>
                  <a:gd name="T45" fmla="*/ 524 h 1040"/>
                  <a:gd name="T46" fmla="*/ 630 w 632"/>
                  <a:gd name="T47" fmla="*/ 490 h 1040"/>
                  <a:gd name="T48" fmla="*/ 632 w 632"/>
                  <a:gd name="T49" fmla="*/ 454 h 1040"/>
                  <a:gd name="T50" fmla="*/ 632 w 632"/>
                  <a:gd name="T51" fmla="*/ 418 h 1040"/>
                  <a:gd name="T52" fmla="*/ 632 w 632"/>
                  <a:gd name="T53" fmla="*/ 382 h 1040"/>
                  <a:gd name="T54" fmla="*/ 628 w 632"/>
                  <a:gd name="T55" fmla="*/ 346 h 1040"/>
                  <a:gd name="T56" fmla="*/ 624 w 632"/>
                  <a:gd name="T57" fmla="*/ 310 h 1040"/>
                  <a:gd name="T58" fmla="*/ 618 w 632"/>
                  <a:gd name="T59" fmla="*/ 274 h 1040"/>
                  <a:gd name="T60" fmla="*/ 610 w 632"/>
                  <a:gd name="T61" fmla="*/ 238 h 1040"/>
                  <a:gd name="T62" fmla="*/ 600 w 632"/>
                  <a:gd name="T63" fmla="*/ 202 h 1040"/>
                  <a:gd name="T64" fmla="*/ 588 w 632"/>
                  <a:gd name="T65" fmla="*/ 168 h 1040"/>
                  <a:gd name="T66" fmla="*/ 574 w 632"/>
                  <a:gd name="T67" fmla="*/ 134 h 1040"/>
                  <a:gd name="T68" fmla="*/ 560 w 632"/>
                  <a:gd name="T69" fmla="*/ 98 h 1040"/>
                  <a:gd name="T70" fmla="*/ 542 w 632"/>
                  <a:gd name="T71" fmla="*/ 66 h 1040"/>
                  <a:gd name="T72" fmla="*/ 524 w 632"/>
                  <a:gd name="T73" fmla="*/ 32 h 1040"/>
                  <a:gd name="T74" fmla="*/ 502 w 632"/>
                  <a:gd name="T75" fmla="*/ 0 h 1040"/>
                  <a:gd name="T76" fmla="*/ 502 w 632"/>
                  <a:gd name="T77" fmla="*/ 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2" h="1040">
                    <a:moveTo>
                      <a:pt x="502" y="0"/>
                    </a:moveTo>
                    <a:lnTo>
                      <a:pt x="12" y="410"/>
                    </a:lnTo>
                    <a:lnTo>
                      <a:pt x="352" y="510"/>
                    </a:lnTo>
                    <a:lnTo>
                      <a:pt x="0" y="478"/>
                    </a:lnTo>
                    <a:lnTo>
                      <a:pt x="308" y="1040"/>
                    </a:lnTo>
                    <a:lnTo>
                      <a:pt x="308" y="1040"/>
                    </a:lnTo>
                    <a:lnTo>
                      <a:pt x="340" y="1018"/>
                    </a:lnTo>
                    <a:lnTo>
                      <a:pt x="370" y="994"/>
                    </a:lnTo>
                    <a:lnTo>
                      <a:pt x="398" y="968"/>
                    </a:lnTo>
                    <a:lnTo>
                      <a:pt x="424" y="942"/>
                    </a:lnTo>
                    <a:lnTo>
                      <a:pt x="448" y="916"/>
                    </a:lnTo>
                    <a:lnTo>
                      <a:pt x="472" y="886"/>
                    </a:lnTo>
                    <a:lnTo>
                      <a:pt x="494" y="858"/>
                    </a:lnTo>
                    <a:lnTo>
                      <a:pt x="514" y="828"/>
                    </a:lnTo>
                    <a:lnTo>
                      <a:pt x="534" y="796"/>
                    </a:lnTo>
                    <a:lnTo>
                      <a:pt x="550" y="764"/>
                    </a:lnTo>
                    <a:lnTo>
                      <a:pt x="566" y="732"/>
                    </a:lnTo>
                    <a:lnTo>
                      <a:pt x="580" y="698"/>
                    </a:lnTo>
                    <a:lnTo>
                      <a:pt x="592" y="664"/>
                    </a:lnTo>
                    <a:lnTo>
                      <a:pt x="604" y="630"/>
                    </a:lnTo>
                    <a:lnTo>
                      <a:pt x="612" y="596"/>
                    </a:lnTo>
                    <a:lnTo>
                      <a:pt x="620" y="560"/>
                    </a:lnTo>
                    <a:lnTo>
                      <a:pt x="626" y="524"/>
                    </a:lnTo>
                    <a:lnTo>
                      <a:pt x="630" y="490"/>
                    </a:lnTo>
                    <a:lnTo>
                      <a:pt x="632" y="454"/>
                    </a:lnTo>
                    <a:lnTo>
                      <a:pt x="632" y="418"/>
                    </a:lnTo>
                    <a:lnTo>
                      <a:pt x="632" y="382"/>
                    </a:lnTo>
                    <a:lnTo>
                      <a:pt x="628" y="346"/>
                    </a:lnTo>
                    <a:lnTo>
                      <a:pt x="624" y="310"/>
                    </a:lnTo>
                    <a:lnTo>
                      <a:pt x="618" y="274"/>
                    </a:lnTo>
                    <a:lnTo>
                      <a:pt x="610" y="238"/>
                    </a:lnTo>
                    <a:lnTo>
                      <a:pt x="600" y="202"/>
                    </a:lnTo>
                    <a:lnTo>
                      <a:pt x="588" y="168"/>
                    </a:lnTo>
                    <a:lnTo>
                      <a:pt x="574" y="134"/>
                    </a:lnTo>
                    <a:lnTo>
                      <a:pt x="560" y="98"/>
                    </a:lnTo>
                    <a:lnTo>
                      <a:pt x="542" y="66"/>
                    </a:lnTo>
                    <a:lnTo>
                      <a:pt x="524" y="32"/>
                    </a:lnTo>
                    <a:lnTo>
                      <a:pt x="502" y="0"/>
                    </a:lnTo>
                    <a:lnTo>
                      <a:pt x="502"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31" name="Freeform 9">
                <a:extLst>
                  <a:ext uri="{FF2B5EF4-FFF2-40B4-BE49-F238E27FC236}">
                    <a16:creationId xmlns:a16="http://schemas.microsoft.com/office/drawing/2014/main" id="{299922BA-D8D6-4C6E-A0AF-DA28858F38A3}"/>
                  </a:ext>
                </a:extLst>
              </p:cNvPr>
              <p:cNvSpPr>
                <a:spLocks/>
              </p:cNvSpPr>
              <p:nvPr/>
            </p:nvSpPr>
            <p:spPr bwMode="auto">
              <a:xfrm>
                <a:off x="1247" y="2145"/>
                <a:ext cx="1044" cy="638"/>
              </a:xfrm>
              <a:custGeom>
                <a:avLst/>
                <a:gdLst>
                  <a:gd name="T0" fmla="*/ 534 w 1044"/>
                  <a:gd name="T1" fmla="*/ 352 h 638"/>
                  <a:gd name="T2" fmla="*/ 566 w 1044"/>
                  <a:gd name="T3" fmla="*/ 0 h 638"/>
                  <a:gd name="T4" fmla="*/ 0 w 1044"/>
                  <a:gd name="T5" fmla="*/ 310 h 638"/>
                  <a:gd name="T6" fmla="*/ 0 w 1044"/>
                  <a:gd name="T7" fmla="*/ 310 h 638"/>
                  <a:gd name="T8" fmla="*/ 22 w 1044"/>
                  <a:gd name="T9" fmla="*/ 342 h 638"/>
                  <a:gd name="T10" fmla="*/ 46 w 1044"/>
                  <a:gd name="T11" fmla="*/ 372 h 638"/>
                  <a:gd name="T12" fmla="*/ 72 w 1044"/>
                  <a:gd name="T13" fmla="*/ 400 h 638"/>
                  <a:gd name="T14" fmla="*/ 98 w 1044"/>
                  <a:gd name="T15" fmla="*/ 426 h 638"/>
                  <a:gd name="T16" fmla="*/ 126 w 1044"/>
                  <a:gd name="T17" fmla="*/ 452 h 638"/>
                  <a:gd name="T18" fmla="*/ 154 w 1044"/>
                  <a:gd name="T19" fmla="*/ 476 h 638"/>
                  <a:gd name="T20" fmla="*/ 184 w 1044"/>
                  <a:gd name="T21" fmla="*/ 498 h 638"/>
                  <a:gd name="T22" fmla="*/ 214 w 1044"/>
                  <a:gd name="T23" fmla="*/ 518 h 638"/>
                  <a:gd name="T24" fmla="*/ 246 w 1044"/>
                  <a:gd name="T25" fmla="*/ 538 h 638"/>
                  <a:gd name="T26" fmla="*/ 278 w 1044"/>
                  <a:gd name="T27" fmla="*/ 554 h 638"/>
                  <a:gd name="T28" fmla="*/ 310 w 1044"/>
                  <a:gd name="T29" fmla="*/ 570 h 638"/>
                  <a:gd name="T30" fmla="*/ 344 w 1044"/>
                  <a:gd name="T31" fmla="*/ 584 h 638"/>
                  <a:gd name="T32" fmla="*/ 378 w 1044"/>
                  <a:gd name="T33" fmla="*/ 596 h 638"/>
                  <a:gd name="T34" fmla="*/ 412 w 1044"/>
                  <a:gd name="T35" fmla="*/ 608 h 638"/>
                  <a:gd name="T36" fmla="*/ 446 w 1044"/>
                  <a:gd name="T37" fmla="*/ 616 h 638"/>
                  <a:gd name="T38" fmla="*/ 482 w 1044"/>
                  <a:gd name="T39" fmla="*/ 624 h 638"/>
                  <a:gd name="T40" fmla="*/ 518 w 1044"/>
                  <a:gd name="T41" fmla="*/ 630 h 638"/>
                  <a:gd name="T42" fmla="*/ 554 w 1044"/>
                  <a:gd name="T43" fmla="*/ 634 h 638"/>
                  <a:gd name="T44" fmla="*/ 590 w 1044"/>
                  <a:gd name="T45" fmla="*/ 636 h 638"/>
                  <a:gd name="T46" fmla="*/ 626 w 1044"/>
                  <a:gd name="T47" fmla="*/ 638 h 638"/>
                  <a:gd name="T48" fmla="*/ 662 w 1044"/>
                  <a:gd name="T49" fmla="*/ 636 h 638"/>
                  <a:gd name="T50" fmla="*/ 698 w 1044"/>
                  <a:gd name="T51" fmla="*/ 634 h 638"/>
                  <a:gd name="T52" fmla="*/ 734 w 1044"/>
                  <a:gd name="T53" fmla="*/ 628 h 638"/>
                  <a:gd name="T54" fmla="*/ 770 w 1044"/>
                  <a:gd name="T55" fmla="*/ 622 h 638"/>
                  <a:gd name="T56" fmla="*/ 806 w 1044"/>
                  <a:gd name="T57" fmla="*/ 614 h 638"/>
                  <a:gd name="T58" fmla="*/ 840 w 1044"/>
                  <a:gd name="T59" fmla="*/ 604 h 638"/>
                  <a:gd name="T60" fmla="*/ 876 w 1044"/>
                  <a:gd name="T61" fmla="*/ 592 h 638"/>
                  <a:gd name="T62" fmla="*/ 910 w 1044"/>
                  <a:gd name="T63" fmla="*/ 578 h 638"/>
                  <a:gd name="T64" fmla="*/ 946 w 1044"/>
                  <a:gd name="T65" fmla="*/ 564 h 638"/>
                  <a:gd name="T66" fmla="*/ 978 w 1044"/>
                  <a:gd name="T67" fmla="*/ 546 h 638"/>
                  <a:gd name="T68" fmla="*/ 1012 w 1044"/>
                  <a:gd name="T69" fmla="*/ 526 h 638"/>
                  <a:gd name="T70" fmla="*/ 1044 w 1044"/>
                  <a:gd name="T71" fmla="*/ 506 h 638"/>
                  <a:gd name="T72" fmla="*/ 1044 w 1044"/>
                  <a:gd name="T73" fmla="*/ 506 h 638"/>
                  <a:gd name="T74" fmla="*/ 1044 w 1044"/>
                  <a:gd name="T75" fmla="*/ 506 h 638"/>
                  <a:gd name="T76" fmla="*/ 632 w 1044"/>
                  <a:gd name="T77" fmla="*/ 12 h 638"/>
                  <a:gd name="T78" fmla="*/ 534 w 1044"/>
                  <a:gd name="T79" fmla="*/ 352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4" h="638">
                    <a:moveTo>
                      <a:pt x="534" y="352"/>
                    </a:moveTo>
                    <a:lnTo>
                      <a:pt x="566" y="0"/>
                    </a:lnTo>
                    <a:lnTo>
                      <a:pt x="0" y="310"/>
                    </a:lnTo>
                    <a:lnTo>
                      <a:pt x="0" y="310"/>
                    </a:lnTo>
                    <a:lnTo>
                      <a:pt x="22" y="342"/>
                    </a:lnTo>
                    <a:lnTo>
                      <a:pt x="46" y="372"/>
                    </a:lnTo>
                    <a:lnTo>
                      <a:pt x="72" y="400"/>
                    </a:lnTo>
                    <a:lnTo>
                      <a:pt x="98" y="426"/>
                    </a:lnTo>
                    <a:lnTo>
                      <a:pt x="126" y="452"/>
                    </a:lnTo>
                    <a:lnTo>
                      <a:pt x="154" y="476"/>
                    </a:lnTo>
                    <a:lnTo>
                      <a:pt x="184" y="498"/>
                    </a:lnTo>
                    <a:lnTo>
                      <a:pt x="214" y="518"/>
                    </a:lnTo>
                    <a:lnTo>
                      <a:pt x="246" y="538"/>
                    </a:lnTo>
                    <a:lnTo>
                      <a:pt x="278" y="554"/>
                    </a:lnTo>
                    <a:lnTo>
                      <a:pt x="310" y="570"/>
                    </a:lnTo>
                    <a:lnTo>
                      <a:pt x="344" y="584"/>
                    </a:lnTo>
                    <a:lnTo>
                      <a:pt x="378" y="596"/>
                    </a:lnTo>
                    <a:lnTo>
                      <a:pt x="412" y="608"/>
                    </a:lnTo>
                    <a:lnTo>
                      <a:pt x="446" y="616"/>
                    </a:lnTo>
                    <a:lnTo>
                      <a:pt x="482" y="624"/>
                    </a:lnTo>
                    <a:lnTo>
                      <a:pt x="518" y="630"/>
                    </a:lnTo>
                    <a:lnTo>
                      <a:pt x="554" y="634"/>
                    </a:lnTo>
                    <a:lnTo>
                      <a:pt x="590" y="636"/>
                    </a:lnTo>
                    <a:lnTo>
                      <a:pt x="626" y="638"/>
                    </a:lnTo>
                    <a:lnTo>
                      <a:pt x="662" y="636"/>
                    </a:lnTo>
                    <a:lnTo>
                      <a:pt x="698" y="634"/>
                    </a:lnTo>
                    <a:lnTo>
                      <a:pt x="734" y="628"/>
                    </a:lnTo>
                    <a:lnTo>
                      <a:pt x="770" y="622"/>
                    </a:lnTo>
                    <a:lnTo>
                      <a:pt x="806" y="614"/>
                    </a:lnTo>
                    <a:lnTo>
                      <a:pt x="840" y="604"/>
                    </a:lnTo>
                    <a:lnTo>
                      <a:pt x="876" y="592"/>
                    </a:lnTo>
                    <a:lnTo>
                      <a:pt x="910" y="578"/>
                    </a:lnTo>
                    <a:lnTo>
                      <a:pt x="946" y="564"/>
                    </a:lnTo>
                    <a:lnTo>
                      <a:pt x="978" y="546"/>
                    </a:lnTo>
                    <a:lnTo>
                      <a:pt x="1012" y="526"/>
                    </a:lnTo>
                    <a:lnTo>
                      <a:pt x="1044" y="506"/>
                    </a:lnTo>
                    <a:lnTo>
                      <a:pt x="1044" y="506"/>
                    </a:lnTo>
                    <a:lnTo>
                      <a:pt x="1044" y="506"/>
                    </a:lnTo>
                    <a:lnTo>
                      <a:pt x="632" y="12"/>
                    </a:lnTo>
                    <a:lnTo>
                      <a:pt x="534" y="3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32" name="Freeform 10">
                <a:extLst>
                  <a:ext uri="{FF2B5EF4-FFF2-40B4-BE49-F238E27FC236}">
                    <a16:creationId xmlns:a16="http://schemas.microsoft.com/office/drawing/2014/main" id="{D5199125-BE1D-4AAC-B21B-12F932FE8521}"/>
                  </a:ext>
                </a:extLst>
              </p:cNvPr>
              <p:cNvSpPr>
                <a:spLocks/>
              </p:cNvSpPr>
              <p:nvPr/>
            </p:nvSpPr>
            <p:spPr bwMode="auto">
              <a:xfrm>
                <a:off x="1447" y="1277"/>
                <a:ext cx="1040" cy="634"/>
              </a:xfrm>
              <a:custGeom>
                <a:avLst/>
                <a:gdLst>
                  <a:gd name="T0" fmla="*/ 412 w 1040"/>
                  <a:gd name="T1" fmla="*/ 620 h 634"/>
                  <a:gd name="T2" fmla="*/ 510 w 1040"/>
                  <a:gd name="T3" fmla="*/ 282 h 634"/>
                  <a:gd name="T4" fmla="*/ 478 w 1040"/>
                  <a:gd name="T5" fmla="*/ 634 h 634"/>
                  <a:gd name="T6" fmla="*/ 1040 w 1040"/>
                  <a:gd name="T7" fmla="*/ 326 h 634"/>
                  <a:gd name="T8" fmla="*/ 1040 w 1040"/>
                  <a:gd name="T9" fmla="*/ 326 h 634"/>
                  <a:gd name="T10" fmla="*/ 1018 w 1040"/>
                  <a:gd name="T11" fmla="*/ 294 h 634"/>
                  <a:gd name="T12" fmla="*/ 994 w 1040"/>
                  <a:gd name="T13" fmla="*/ 264 h 634"/>
                  <a:gd name="T14" fmla="*/ 968 w 1040"/>
                  <a:gd name="T15" fmla="*/ 236 h 634"/>
                  <a:gd name="T16" fmla="*/ 942 w 1040"/>
                  <a:gd name="T17" fmla="*/ 210 h 634"/>
                  <a:gd name="T18" fmla="*/ 914 w 1040"/>
                  <a:gd name="T19" fmla="*/ 184 h 634"/>
                  <a:gd name="T20" fmla="*/ 886 w 1040"/>
                  <a:gd name="T21" fmla="*/ 162 h 634"/>
                  <a:gd name="T22" fmla="*/ 856 w 1040"/>
                  <a:gd name="T23" fmla="*/ 140 h 634"/>
                  <a:gd name="T24" fmla="*/ 826 w 1040"/>
                  <a:gd name="T25" fmla="*/ 118 h 634"/>
                  <a:gd name="T26" fmla="*/ 796 w 1040"/>
                  <a:gd name="T27" fmla="*/ 100 h 634"/>
                  <a:gd name="T28" fmla="*/ 764 w 1040"/>
                  <a:gd name="T29" fmla="*/ 82 h 634"/>
                  <a:gd name="T30" fmla="*/ 732 w 1040"/>
                  <a:gd name="T31" fmla="*/ 66 h 634"/>
                  <a:gd name="T32" fmla="*/ 698 w 1040"/>
                  <a:gd name="T33" fmla="*/ 52 h 634"/>
                  <a:gd name="T34" fmla="*/ 664 w 1040"/>
                  <a:gd name="T35" fmla="*/ 40 h 634"/>
                  <a:gd name="T36" fmla="*/ 630 w 1040"/>
                  <a:gd name="T37" fmla="*/ 30 h 634"/>
                  <a:gd name="T38" fmla="*/ 596 w 1040"/>
                  <a:gd name="T39" fmla="*/ 20 h 634"/>
                  <a:gd name="T40" fmla="*/ 560 w 1040"/>
                  <a:gd name="T41" fmla="*/ 12 h 634"/>
                  <a:gd name="T42" fmla="*/ 524 w 1040"/>
                  <a:gd name="T43" fmla="*/ 6 h 634"/>
                  <a:gd name="T44" fmla="*/ 490 w 1040"/>
                  <a:gd name="T45" fmla="*/ 2 h 634"/>
                  <a:gd name="T46" fmla="*/ 454 w 1040"/>
                  <a:gd name="T47" fmla="*/ 0 h 634"/>
                  <a:gd name="T48" fmla="*/ 418 w 1040"/>
                  <a:gd name="T49" fmla="*/ 0 h 634"/>
                  <a:gd name="T50" fmla="*/ 382 w 1040"/>
                  <a:gd name="T51" fmla="*/ 0 h 634"/>
                  <a:gd name="T52" fmla="*/ 346 w 1040"/>
                  <a:gd name="T53" fmla="*/ 4 h 634"/>
                  <a:gd name="T54" fmla="*/ 310 w 1040"/>
                  <a:gd name="T55" fmla="*/ 8 h 634"/>
                  <a:gd name="T56" fmla="*/ 274 w 1040"/>
                  <a:gd name="T57" fmla="*/ 14 h 634"/>
                  <a:gd name="T58" fmla="*/ 238 w 1040"/>
                  <a:gd name="T59" fmla="*/ 22 h 634"/>
                  <a:gd name="T60" fmla="*/ 202 w 1040"/>
                  <a:gd name="T61" fmla="*/ 32 h 634"/>
                  <a:gd name="T62" fmla="*/ 168 w 1040"/>
                  <a:gd name="T63" fmla="*/ 44 h 634"/>
                  <a:gd name="T64" fmla="*/ 132 w 1040"/>
                  <a:gd name="T65" fmla="*/ 56 h 634"/>
                  <a:gd name="T66" fmla="*/ 98 w 1040"/>
                  <a:gd name="T67" fmla="*/ 72 h 634"/>
                  <a:gd name="T68" fmla="*/ 66 w 1040"/>
                  <a:gd name="T69" fmla="*/ 88 h 634"/>
                  <a:gd name="T70" fmla="*/ 32 w 1040"/>
                  <a:gd name="T71" fmla="*/ 108 h 634"/>
                  <a:gd name="T72" fmla="*/ 0 w 1040"/>
                  <a:gd name="T73" fmla="*/ 128 h 634"/>
                  <a:gd name="T74" fmla="*/ 270 w 1040"/>
                  <a:gd name="T75" fmla="*/ 450 h 634"/>
                  <a:gd name="T76" fmla="*/ 412 w 1040"/>
                  <a:gd name="T77" fmla="*/ 62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0" h="634">
                    <a:moveTo>
                      <a:pt x="412" y="620"/>
                    </a:moveTo>
                    <a:lnTo>
                      <a:pt x="510" y="282"/>
                    </a:lnTo>
                    <a:lnTo>
                      <a:pt x="478" y="634"/>
                    </a:lnTo>
                    <a:lnTo>
                      <a:pt x="1040" y="326"/>
                    </a:lnTo>
                    <a:lnTo>
                      <a:pt x="1040" y="326"/>
                    </a:lnTo>
                    <a:lnTo>
                      <a:pt x="1018" y="294"/>
                    </a:lnTo>
                    <a:lnTo>
                      <a:pt x="994" y="264"/>
                    </a:lnTo>
                    <a:lnTo>
                      <a:pt x="968" y="236"/>
                    </a:lnTo>
                    <a:lnTo>
                      <a:pt x="942" y="210"/>
                    </a:lnTo>
                    <a:lnTo>
                      <a:pt x="914" y="184"/>
                    </a:lnTo>
                    <a:lnTo>
                      <a:pt x="886" y="162"/>
                    </a:lnTo>
                    <a:lnTo>
                      <a:pt x="856" y="140"/>
                    </a:lnTo>
                    <a:lnTo>
                      <a:pt x="826" y="118"/>
                    </a:lnTo>
                    <a:lnTo>
                      <a:pt x="796" y="100"/>
                    </a:lnTo>
                    <a:lnTo>
                      <a:pt x="764" y="82"/>
                    </a:lnTo>
                    <a:lnTo>
                      <a:pt x="732" y="66"/>
                    </a:lnTo>
                    <a:lnTo>
                      <a:pt x="698" y="52"/>
                    </a:lnTo>
                    <a:lnTo>
                      <a:pt x="664" y="40"/>
                    </a:lnTo>
                    <a:lnTo>
                      <a:pt x="630" y="30"/>
                    </a:lnTo>
                    <a:lnTo>
                      <a:pt x="596" y="20"/>
                    </a:lnTo>
                    <a:lnTo>
                      <a:pt x="560" y="12"/>
                    </a:lnTo>
                    <a:lnTo>
                      <a:pt x="524" y="6"/>
                    </a:lnTo>
                    <a:lnTo>
                      <a:pt x="490" y="2"/>
                    </a:lnTo>
                    <a:lnTo>
                      <a:pt x="454" y="0"/>
                    </a:lnTo>
                    <a:lnTo>
                      <a:pt x="418" y="0"/>
                    </a:lnTo>
                    <a:lnTo>
                      <a:pt x="382" y="0"/>
                    </a:lnTo>
                    <a:lnTo>
                      <a:pt x="346" y="4"/>
                    </a:lnTo>
                    <a:lnTo>
                      <a:pt x="310" y="8"/>
                    </a:lnTo>
                    <a:lnTo>
                      <a:pt x="274" y="14"/>
                    </a:lnTo>
                    <a:lnTo>
                      <a:pt x="238" y="22"/>
                    </a:lnTo>
                    <a:lnTo>
                      <a:pt x="202" y="32"/>
                    </a:lnTo>
                    <a:lnTo>
                      <a:pt x="168" y="44"/>
                    </a:lnTo>
                    <a:lnTo>
                      <a:pt x="132" y="56"/>
                    </a:lnTo>
                    <a:lnTo>
                      <a:pt x="98" y="72"/>
                    </a:lnTo>
                    <a:lnTo>
                      <a:pt x="66" y="88"/>
                    </a:lnTo>
                    <a:lnTo>
                      <a:pt x="32" y="108"/>
                    </a:lnTo>
                    <a:lnTo>
                      <a:pt x="0" y="128"/>
                    </a:lnTo>
                    <a:lnTo>
                      <a:pt x="270" y="450"/>
                    </a:lnTo>
                    <a:lnTo>
                      <a:pt x="412" y="62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33" name="Freeform 11">
                <a:extLst>
                  <a:ext uri="{FF2B5EF4-FFF2-40B4-BE49-F238E27FC236}">
                    <a16:creationId xmlns:a16="http://schemas.microsoft.com/office/drawing/2014/main" id="{DF451128-44D5-45F8-8DCA-7D04B978AEDC}"/>
                  </a:ext>
                </a:extLst>
              </p:cNvPr>
              <p:cNvSpPr>
                <a:spLocks noEditPoints="1"/>
              </p:cNvSpPr>
              <p:nvPr/>
            </p:nvSpPr>
            <p:spPr bwMode="auto">
              <a:xfrm>
                <a:off x="803" y="611"/>
                <a:ext cx="2040" cy="2392"/>
              </a:xfrm>
              <a:custGeom>
                <a:avLst/>
                <a:gdLst>
                  <a:gd name="T0" fmla="*/ 1718 w 2040"/>
                  <a:gd name="T1" fmla="*/ 692 h 2392"/>
                  <a:gd name="T2" fmla="*/ 1456 w 2040"/>
                  <a:gd name="T3" fmla="*/ 524 h 2392"/>
                  <a:gd name="T4" fmla="*/ 1158 w 2040"/>
                  <a:gd name="T5" fmla="*/ 446 h 2392"/>
                  <a:gd name="T6" fmla="*/ 850 w 2040"/>
                  <a:gd name="T7" fmla="*/ 466 h 2392"/>
                  <a:gd name="T8" fmla="*/ 594 w 2040"/>
                  <a:gd name="T9" fmla="*/ 564 h 2392"/>
                  <a:gd name="T10" fmla="*/ 576 w 2040"/>
                  <a:gd name="T11" fmla="*/ 514 h 2392"/>
                  <a:gd name="T12" fmla="*/ 530 w 2040"/>
                  <a:gd name="T13" fmla="*/ 512 h 2392"/>
                  <a:gd name="T14" fmla="*/ 606 w 2040"/>
                  <a:gd name="T15" fmla="*/ 354 h 2392"/>
                  <a:gd name="T16" fmla="*/ 584 w 2040"/>
                  <a:gd name="T17" fmla="*/ 178 h 2392"/>
                  <a:gd name="T18" fmla="*/ 470 w 2040"/>
                  <a:gd name="T19" fmla="*/ 48 h 2392"/>
                  <a:gd name="T20" fmla="*/ 274 w 2040"/>
                  <a:gd name="T21" fmla="*/ 0 h 2392"/>
                  <a:gd name="T22" fmla="*/ 108 w 2040"/>
                  <a:gd name="T23" fmla="*/ 72 h 2392"/>
                  <a:gd name="T24" fmla="*/ 6 w 2040"/>
                  <a:gd name="T25" fmla="*/ 248 h 2392"/>
                  <a:gd name="T26" fmla="*/ 38 w 2040"/>
                  <a:gd name="T27" fmla="*/ 450 h 2392"/>
                  <a:gd name="T28" fmla="*/ 148 w 2040"/>
                  <a:gd name="T29" fmla="*/ 566 h 2392"/>
                  <a:gd name="T30" fmla="*/ 318 w 2040"/>
                  <a:gd name="T31" fmla="*/ 608 h 2392"/>
                  <a:gd name="T32" fmla="*/ 408 w 2040"/>
                  <a:gd name="T33" fmla="*/ 600 h 2392"/>
                  <a:gd name="T34" fmla="*/ 410 w 2040"/>
                  <a:gd name="T35" fmla="*/ 648 h 2392"/>
                  <a:gd name="T36" fmla="*/ 374 w 2040"/>
                  <a:gd name="T37" fmla="*/ 730 h 2392"/>
                  <a:gd name="T38" fmla="*/ 192 w 2040"/>
                  <a:gd name="T39" fmla="*/ 984 h 2392"/>
                  <a:gd name="T40" fmla="*/ 102 w 2040"/>
                  <a:gd name="T41" fmla="*/ 1280 h 2392"/>
                  <a:gd name="T42" fmla="*/ 106 w 2040"/>
                  <a:gd name="T43" fmla="*/ 1588 h 2392"/>
                  <a:gd name="T44" fmla="*/ 212 w 2040"/>
                  <a:gd name="T45" fmla="*/ 1886 h 2392"/>
                  <a:gd name="T46" fmla="*/ 388 w 2040"/>
                  <a:gd name="T47" fmla="*/ 2118 h 2392"/>
                  <a:gd name="T48" fmla="*/ 664 w 2040"/>
                  <a:gd name="T49" fmla="*/ 2304 h 2392"/>
                  <a:gd name="T50" fmla="*/ 978 w 2040"/>
                  <a:gd name="T51" fmla="*/ 2388 h 2392"/>
                  <a:gd name="T52" fmla="*/ 1306 w 2040"/>
                  <a:gd name="T53" fmla="*/ 2362 h 2392"/>
                  <a:gd name="T54" fmla="*/ 1616 w 2040"/>
                  <a:gd name="T55" fmla="*/ 2222 h 2392"/>
                  <a:gd name="T56" fmla="*/ 1830 w 2040"/>
                  <a:gd name="T57" fmla="*/ 2022 h 2392"/>
                  <a:gd name="T58" fmla="*/ 1988 w 2040"/>
                  <a:gd name="T59" fmla="*/ 1732 h 2392"/>
                  <a:gd name="T60" fmla="*/ 2040 w 2040"/>
                  <a:gd name="T61" fmla="*/ 1410 h 2392"/>
                  <a:gd name="T62" fmla="*/ 1982 w 2040"/>
                  <a:gd name="T63" fmla="*/ 1086 h 2392"/>
                  <a:gd name="T64" fmla="*/ 112 w 2040"/>
                  <a:gd name="T65" fmla="*/ 436 h 2392"/>
                  <a:gd name="T66" fmla="*/ 72 w 2040"/>
                  <a:gd name="T67" fmla="*/ 306 h 2392"/>
                  <a:gd name="T68" fmla="*/ 122 w 2040"/>
                  <a:gd name="T69" fmla="*/ 158 h 2392"/>
                  <a:gd name="T70" fmla="*/ 238 w 2040"/>
                  <a:gd name="T71" fmla="*/ 80 h 2392"/>
                  <a:gd name="T72" fmla="*/ 392 w 2040"/>
                  <a:gd name="T73" fmla="*/ 86 h 2392"/>
                  <a:gd name="T74" fmla="*/ 500 w 2040"/>
                  <a:gd name="T75" fmla="*/ 172 h 2392"/>
                  <a:gd name="T76" fmla="*/ 538 w 2040"/>
                  <a:gd name="T77" fmla="*/ 326 h 2392"/>
                  <a:gd name="T78" fmla="*/ 474 w 2040"/>
                  <a:gd name="T79" fmla="*/ 466 h 2392"/>
                  <a:gd name="T80" fmla="*/ 352 w 2040"/>
                  <a:gd name="T81" fmla="*/ 534 h 2392"/>
                  <a:gd name="T82" fmla="*/ 198 w 2040"/>
                  <a:gd name="T83" fmla="*/ 512 h 2392"/>
                  <a:gd name="T84" fmla="*/ 1538 w 2040"/>
                  <a:gd name="T85" fmla="*/ 2108 h 2392"/>
                  <a:gd name="T86" fmla="*/ 1312 w 2040"/>
                  <a:gd name="T87" fmla="*/ 2216 h 2392"/>
                  <a:gd name="T88" fmla="*/ 1030 w 2040"/>
                  <a:gd name="T89" fmla="*/ 2252 h 2392"/>
                  <a:gd name="T90" fmla="*/ 758 w 2040"/>
                  <a:gd name="T91" fmla="*/ 2194 h 2392"/>
                  <a:gd name="T92" fmla="*/ 514 w 2040"/>
                  <a:gd name="T93" fmla="*/ 2046 h 2392"/>
                  <a:gd name="T94" fmla="*/ 352 w 2040"/>
                  <a:gd name="T95" fmla="*/ 1852 h 2392"/>
                  <a:gd name="T96" fmla="*/ 246 w 2040"/>
                  <a:gd name="T97" fmla="*/ 1582 h 2392"/>
                  <a:gd name="T98" fmla="*/ 238 w 2040"/>
                  <a:gd name="T99" fmla="*/ 1302 h 2392"/>
                  <a:gd name="T100" fmla="*/ 322 w 2040"/>
                  <a:gd name="T101" fmla="*/ 1034 h 2392"/>
                  <a:gd name="T102" fmla="*/ 494 w 2040"/>
                  <a:gd name="T103" fmla="*/ 806 h 2392"/>
                  <a:gd name="T104" fmla="*/ 704 w 2040"/>
                  <a:gd name="T105" fmla="*/ 662 h 2392"/>
                  <a:gd name="T106" fmla="*/ 980 w 2040"/>
                  <a:gd name="T107" fmla="*/ 584 h 2392"/>
                  <a:gd name="T108" fmla="*/ 1260 w 2040"/>
                  <a:gd name="T109" fmla="*/ 602 h 2392"/>
                  <a:gd name="T110" fmla="*/ 1518 w 2040"/>
                  <a:gd name="T111" fmla="*/ 712 h 2392"/>
                  <a:gd name="T112" fmla="*/ 1732 w 2040"/>
                  <a:gd name="T113" fmla="*/ 910 h 2392"/>
                  <a:gd name="T114" fmla="*/ 1854 w 2040"/>
                  <a:gd name="T115" fmla="*/ 1132 h 2392"/>
                  <a:gd name="T116" fmla="*/ 1902 w 2040"/>
                  <a:gd name="T117" fmla="*/ 1412 h 2392"/>
                  <a:gd name="T118" fmla="*/ 1858 w 2040"/>
                  <a:gd name="T119" fmla="*/ 1688 h 2392"/>
                  <a:gd name="T120" fmla="*/ 1722 w 2040"/>
                  <a:gd name="T121" fmla="*/ 1936 h 2392"/>
                  <a:gd name="T122" fmla="*/ 1538 w 2040"/>
                  <a:gd name="T123" fmla="*/ 2108 h 2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40" h="2392">
                    <a:moveTo>
                      <a:pt x="1870" y="866"/>
                    </a:moveTo>
                    <a:lnTo>
                      <a:pt x="1870" y="866"/>
                    </a:lnTo>
                    <a:lnTo>
                      <a:pt x="1844" y="828"/>
                    </a:lnTo>
                    <a:lnTo>
                      <a:pt x="1814" y="792"/>
                    </a:lnTo>
                    <a:lnTo>
                      <a:pt x="1784" y="756"/>
                    </a:lnTo>
                    <a:lnTo>
                      <a:pt x="1752" y="724"/>
                    </a:lnTo>
                    <a:lnTo>
                      <a:pt x="1718" y="692"/>
                    </a:lnTo>
                    <a:lnTo>
                      <a:pt x="1684" y="662"/>
                    </a:lnTo>
                    <a:lnTo>
                      <a:pt x="1648" y="634"/>
                    </a:lnTo>
                    <a:lnTo>
                      <a:pt x="1612" y="608"/>
                    </a:lnTo>
                    <a:lnTo>
                      <a:pt x="1574" y="584"/>
                    </a:lnTo>
                    <a:lnTo>
                      <a:pt x="1536" y="562"/>
                    </a:lnTo>
                    <a:lnTo>
                      <a:pt x="1496" y="542"/>
                    </a:lnTo>
                    <a:lnTo>
                      <a:pt x="1456" y="524"/>
                    </a:lnTo>
                    <a:lnTo>
                      <a:pt x="1414" y="506"/>
                    </a:lnTo>
                    <a:lnTo>
                      <a:pt x="1374" y="492"/>
                    </a:lnTo>
                    <a:lnTo>
                      <a:pt x="1332" y="478"/>
                    </a:lnTo>
                    <a:lnTo>
                      <a:pt x="1288" y="468"/>
                    </a:lnTo>
                    <a:lnTo>
                      <a:pt x="1246" y="458"/>
                    </a:lnTo>
                    <a:lnTo>
                      <a:pt x="1202" y="452"/>
                    </a:lnTo>
                    <a:lnTo>
                      <a:pt x="1158" y="446"/>
                    </a:lnTo>
                    <a:lnTo>
                      <a:pt x="1114" y="444"/>
                    </a:lnTo>
                    <a:lnTo>
                      <a:pt x="1070" y="442"/>
                    </a:lnTo>
                    <a:lnTo>
                      <a:pt x="1026" y="442"/>
                    </a:lnTo>
                    <a:lnTo>
                      <a:pt x="982" y="446"/>
                    </a:lnTo>
                    <a:lnTo>
                      <a:pt x="938" y="450"/>
                    </a:lnTo>
                    <a:lnTo>
                      <a:pt x="894" y="458"/>
                    </a:lnTo>
                    <a:lnTo>
                      <a:pt x="850" y="466"/>
                    </a:lnTo>
                    <a:lnTo>
                      <a:pt x="806" y="478"/>
                    </a:lnTo>
                    <a:lnTo>
                      <a:pt x="762" y="490"/>
                    </a:lnTo>
                    <a:lnTo>
                      <a:pt x="720" y="506"/>
                    </a:lnTo>
                    <a:lnTo>
                      <a:pt x="678" y="522"/>
                    </a:lnTo>
                    <a:lnTo>
                      <a:pt x="636" y="542"/>
                    </a:lnTo>
                    <a:lnTo>
                      <a:pt x="594" y="564"/>
                    </a:lnTo>
                    <a:lnTo>
                      <a:pt x="594" y="564"/>
                    </a:lnTo>
                    <a:lnTo>
                      <a:pt x="596" y="554"/>
                    </a:lnTo>
                    <a:lnTo>
                      <a:pt x="596" y="544"/>
                    </a:lnTo>
                    <a:lnTo>
                      <a:pt x="592" y="536"/>
                    </a:lnTo>
                    <a:lnTo>
                      <a:pt x="588" y="526"/>
                    </a:lnTo>
                    <a:lnTo>
                      <a:pt x="588" y="526"/>
                    </a:lnTo>
                    <a:lnTo>
                      <a:pt x="582" y="520"/>
                    </a:lnTo>
                    <a:lnTo>
                      <a:pt x="576" y="514"/>
                    </a:lnTo>
                    <a:lnTo>
                      <a:pt x="568" y="510"/>
                    </a:lnTo>
                    <a:lnTo>
                      <a:pt x="562" y="508"/>
                    </a:lnTo>
                    <a:lnTo>
                      <a:pt x="554" y="506"/>
                    </a:lnTo>
                    <a:lnTo>
                      <a:pt x="546" y="506"/>
                    </a:lnTo>
                    <a:lnTo>
                      <a:pt x="538" y="508"/>
                    </a:lnTo>
                    <a:lnTo>
                      <a:pt x="530" y="512"/>
                    </a:lnTo>
                    <a:lnTo>
                      <a:pt x="530" y="512"/>
                    </a:lnTo>
                    <a:lnTo>
                      <a:pt x="546" y="492"/>
                    </a:lnTo>
                    <a:lnTo>
                      <a:pt x="562" y="470"/>
                    </a:lnTo>
                    <a:lnTo>
                      <a:pt x="574" y="448"/>
                    </a:lnTo>
                    <a:lnTo>
                      <a:pt x="586" y="426"/>
                    </a:lnTo>
                    <a:lnTo>
                      <a:pt x="594" y="402"/>
                    </a:lnTo>
                    <a:lnTo>
                      <a:pt x="602" y="378"/>
                    </a:lnTo>
                    <a:lnTo>
                      <a:pt x="606" y="354"/>
                    </a:lnTo>
                    <a:lnTo>
                      <a:pt x="610" y="328"/>
                    </a:lnTo>
                    <a:lnTo>
                      <a:pt x="610" y="302"/>
                    </a:lnTo>
                    <a:lnTo>
                      <a:pt x="610" y="278"/>
                    </a:lnTo>
                    <a:lnTo>
                      <a:pt x="606" y="252"/>
                    </a:lnTo>
                    <a:lnTo>
                      <a:pt x="600" y="228"/>
                    </a:lnTo>
                    <a:lnTo>
                      <a:pt x="594" y="202"/>
                    </a:lnTo>
                    <a:lnTo>
                      <a:pt x="584" y="178"/>
                    </a:lnTo>
                    <a:lnTo>
                      <a:pt x="572" y="154"/>
                    </a:lnTo>
                    <a:lnTo>
                      <a:pt x="558" y="132"/>
                    </a:lnTo>
                    <a:lnTo>
                      <a:pt x="558" y="132"/>
                    </a:lnTo>
                    <a:lnTo>
                      <a:pt x="538" y="108"/>
                    </a:lnTo>
                    <a:lnTo>
                      <a:pt x="518" y="84"/>
                    </a:lnTo>
                    <a:lnTo>
                      <a:pt x="496" y="64"/>
                    </a:lnTo>
                    <a:lnTo>
                      <a:pt x="470" y="48"/>
                    </a:lnTo>
                    <a:lnTo>
                      <a:pt x="446" y="32"/>
                    </a:lnTo>
                    <a:lnTo>
                      <a:pt x="418" y="20"/>
                    </a:lnTo>
                    <a:lnTo>
                      <a:pt x="390" y="12"/>
                    </a:lnTo>
                    <a:lnTo>
                      <a:pt x="362" y="4"/>
                    </a:lnTo>
                    <a:lnTo>
                      <a:pt x="334" y="0"/>
                    </a:lnTo>
                    <a:lnTo>
                      <a:pt x="304" y="0"/>
                    </a:lnTo>
                    <a:lnTo>
                      <a:pt x="274" y="0"/>
                    </a:lnTo>
                    <a:lnTo>
                      <a:pt x="246" y="6"/>
                    </a:lnTo>
                    <a:lnTo>
                      <a:pt x="216" y="12"/>
                    </a:lnTo>
                    <a:lnTo>
                      <a:pt x="188" y="22"/>
                    </a:lnTo>
                    <a:lnTo>
                      <a:pt x="160" y="36"/>
                    </a:lnTo>
                    <a:lnTo>
                      <a:pt x="134" y="52"/>
                    </a:lnTo>
                    <a:lnTo>
                      <a:pt x="134" y="52"/>
                    </a:lnTo>
                    <a:lnTo>
                      <a:pt x="108" y="72"/>
                    </a:lnTo>
                    <a:lnTo>
                      <a:pt x="86" y="92"/>
                    </a:lnTo>
                    <a:lnTo>
                      <a:pt x="66" y="114"/>
                    </a:lnTo>
                    <a:lnTo>
                      <a:pt x="50" y="140"/>
                    </a:lnTo>
                    <a:lnTo>
                      <a:pt x="34" y="164"/>
                    </a:lnTo>
                    <a:lnTo>
                      <a:pt x="22" y="192"/>
                    </a:lnTo>
                    <a:lnTo>
                      <a:pt x="12" y="220"/>
                    </a:lnTo>
                    <a:lnTo>
                      <a:pt x="6" y="248"/>
                    </a:lnTo>
                    <a:lnTo>
                      <a:pt x="2" y="276"/>
                    </a:lnTo>
                    <a:lnTo>
                      <a:pt x="0" y="306"/>
                    </a:lnTo>
                    <a:lnTo>
                      <a:pt x="2" y="336"/>
                    </a:lnTo>
                    <a:lnTo>
                      <a:pt x="6" y="364"/>
                    </a:lnTo>
                    <a:lnTo>
                      <a:pt x="14" y="394"/>
                    </a:lnTo>
                    <a:lnTo>
                      <a:pt x="24" y="422"/>
                    </a:lnTo>
                    <a:lnTo>
                      <a:pt x="38" y="450"/>
                    </a:lnTo>
                    <a:lnTo>
                      <a:pt x="54" y="476"/>
                    </a:lnTo>
                    <a:lnTo>
                      <a:pt x="54" y="476"/>
                    </a:lnTo>
                    <a:lnTo>
                      <a:pt x="70" y="498"/>
                    </a:lnTo>
                    <a:lnTo>
                      <a:pt x="88" y="518"/>
                    </a:lnTo>
                    <a:lnTo>
                      <a:pt x="106" y="536"/>
                    </a:lnTo>
                    <a:lnTo>
                      <a:pt x="128" y="552"/>
                    </a:lnTo>
                    <a:lnTo>
                      <a:pt x="148" y="566"/>
                    </a:lnTo>
                    <a:lnTo>
                      <a:pt x="170" y="578"/>
                    </a:lnTo>
                    <a:lnTo>
                      <a:pt x="194" y="588"/>
                    </a:lnTo>
                    <a:lnTo>
                      <a:pt x="218" y="596"/>
                    </a:lnTo>
                    <a:lnTo>
                      <a:pt x="242" y="602"/>
                    </a:lnTo>
                    <a:lnTo>
                      <a:pt x="268" y="606"/>
                    </a:lnTo>
                    <a:lnTo>
                      <a:pt x="292" y="608"/>
                    </a:lnTo>
                    <a:lnTo>
                      <a:pt x="318" y="608"/>
                    </a:lnTo>
                    <a:lnTo>
                      <a:pt x="344" y="606"/>
                    </a:lnTo>
                    <a:lnTo>
                      <a:pt x="368" y="602"/>
                    </a:lnTo>
                    <a:lnTo>
                      <a:pt x="394" y="596"/>
                    </a:lnTo>
                    <a:lnTo>
                      <a:pt x="418" y="588"/>
                    </a:lnTo>
                    <a:lnTo>
                      <a:pt x="418" y="588"/>
                    </a:lnTo>
                    <a:lnTo>
                      <a:pt x="412" y="594"/>
                    </a:lnTo>
                    <a:lnTo>
                      <a:pt x="408" y="600"/>
                    </a:lnTo>
                    <a:lnTo>
                      <a:pt x="404" y="608"/>
                    </a:lnTo>
                    <a:lnTo>
                      <a:pt x="402" y="616"/>
                    </a:lnTo>
                    <a:lnTo>
                      <a:pt x="402" y="624"/>
                    </a:lnTo>
                    <a:lnTo>
                      <a:pt x="404" y="632"/>
                    </a:lnTo>
                    <a:lnTo>
                      <a:pt x="406" y="640"/>
                    </a:lnTo>
                    <a:lnTo>
                      <a:pt x="410" y="648"/>
                    </a:lnTo>
                    <a:lnTo>
                      <a:pt x="410" y="648"/>
                    </a:lnTo>
                    <a:lnTo>
                      <a:pt x="418" y="656"/>
                    </a:lnTo>
                    <a:lnTo>
                      <a:pt x="424" y="662"/>
                    </a:lnTo>
                    <a:lnTo>
                      <a:pt x="434" y="666"/>
                    </a:lnTo>
                    <a:lnTo>
                      <a:pt x="442" y="668"/>
                    </a:lnTo>
                    <a:lnTo>
                      <a:pt x="442" y="668"/>
                    </a:lnTo>
                    <a:lnTo>
                      <a:pt x="408" y="698"/>
                    </a:lnTo>
                    <a:lnTo>
                      <a:pt x="374" y="730"/>
                    </a:lnTo>
                    <a:lnTo>
                      <a:pt x="344" y="762"/>
                    </a:lnTo>
                    <a:lnTo>
                      <a:pt x="314" y="798"/>
                    </a:lnTo>
                    <a:lnTo>
                      <a:pt x="286" y="832"/>
                    </a:lnTo>
                    <a:lnTo>
                      <a:pt x="260" y="870"/>
                    </a:lnTo>
                    <a:lnTo>
                      <a:pt x="236" y="908"/>
                    </a:lnTo>
                    <a:lnTo>
                      <a:pt x="212" y="946"/>
                    </a:lnTo>
                    <a:lnTo>
                      <a:pt x="192" y="984"/>
                    </a:lnTo>
                    <a:lnTo>
                      <a:pt x="174" y="1026"/>
                    </a:lnTo>
                    <a:lnTo>
                      <a:pt x="156" y="1066"/>
                    </a:lnTo>
                    <a:lnTo>
                      <a:pt x="142" y="1108"/>
                    </a:lnTo>
                    <a:lnTo>
                      <a:pt x="128" y="1150"/>
                    </a:lnTo>
                    <a:lnTo>
                      <a:pt x="118" y="1192"/>
                    </a:lnTo>
                    <a:lnTo>
                      <a:pt x="108" y="1236"/>
                    </a:lnTo>
                    <a:lnTo>
                      <a:pt x="102" y="1280"/>
                    </a:lnTo>
                    <a:lnTo>
                      <a:pt x="96" y="1322"/>
                    </a:lnTo>
                    <a:lnTo>
                      <a:pt x="92" y="1366"/>
                    </a:lnTo>
                    <a:lnTo>
                      <a:pt x="92" y="1412"/>
                    </a:lnTo>
                    <a:lnTo>
                      <a:pt x="92" y="1456"/>
                    </a:lnTo>
                    <a:lnTo>
                      <a:pt x="94" y="1500"/>
                    </a:lnTo>
                    <a:lnTo>
                      <a:pt x="100" y="1544"/>
                    </a:lnTo>
                    <a:lnTo>
                      <a:pt x="106" y="1588"/>
                    </a:lnTo>
                    <a:lnTo>
                      <a:pt x="116" y="1632"/>
                    </a:lnTo>
                    <a:lnTo>
                      <a:pt x="126" y="1676"/>
                    </a:lnTo>
                    <a:lnTo>
                      <a:pt x="140" y="1718"/>
                    </a:lnTo>
                    <a:lnTo>
                      <a:pt x="154" y="1762"/>
                    </a:lnTo>
                    <a:lnTo>
                      <a:pt x="172" y="1804"/>
                    </a:lnTo>
                    <a:lnTo>
                      <a:pt x="190" y="1846"/>
                    </a:lnTo>
                    <a:lnTo>
                      <a:pt x="212" y="1886"/>
                    </a:lnTo>
                    <a:lnTo>
                      <a:pt x="236" y="1928"/>
                    </a:lnTo>
                    <a:lnTo>
                      <a:pt x="262" y="1966"/>
                    </a:lnTo>
                    <a:lnTo>
                      <a:pt x="262" y="1966"/>
                    </a:lnTo>
                    <a:lnTo>
                      <a:pt x="290" y="2008"/>
                    </a:lnTo>
                    <a:lnTo>
                      <a:pt x="322" y="2046"/>
                    </a:lnTo>
                    <a:lnTo>
                      <a:pt x="354" y="2082"/>
                    </a:lnTo>
                    <a:lnTo>
                      <a:pt x="388" y="2118"/>
                    </a:lnTo>
                    <a:lnTo>
                      <a:pt x="424" y="2150"/>
                    </a:lnTo>
                    <a:lnTo>
                      <a:pt x="462" y="2182"/>
                    </a:lnTo>
                    <a:lnTo>
                      <a:pt x="500" y="2210"/>
                    </a:lnTo>
                    <a:lnTo>
                      <a:pt x="538" y="2236"/>
                    </a:lnTo>
                    <a:lnTo>
                      <a:pt x="580" y="2262"/>
                    </a:lnTo>
                    <a:lnTo>
                      <a:pt x="620" y="2284"/>
                    </a:lnTo>
                    <a:lnTo>
                      <a:pt x="664" y="2304"/>
                    </a:lnTo>
                    <a:lnTo>
                      <a:pt x="706" y="2322"/>
                    </a:lnTo>
                    <a:lnTo>
                      <a:pt x="750" y="2338"/>
                    </a:lnTo>
                    <a:lnTo>
                      <a:pt x="794" y="2352"/>
                    </a:lnTo>
                    <a:lnTo>
                      <a:pt x="840" y="2364"/>
                    </a:lnTo>
                    <a:lnTo>
                      <a:pt x="886" y="2374"/>
                    </a:lnTo>
                    <a:lnTo>
                      <a:pt x="932" y="2382"/>
                    </a:lnTo>
                    <a:lnTo>
                      <a:pt x="978" y="2388"/>
                    </a:lnTo>
                    <a:lnTo>
                      <a:pt x="1026" y="2390"/>
                    </a:lnTo>
                    <a:lnTo>
                      <a:pt x="1072" y="2392"/>
                    </a:lnTo>
                    <a:lnTo>
                      <a:pt x="1120" y="2390"/>
                    </a:lnTo>
                    <a:lnTo>
                      <a:pt x="1166" y="2386"/>
                    </a:lnTo>
                    <a:lnTo>
                      <a:pt x="1212" y="2380"/>
                    </a:lnTo>
                    <a:lnTo>
                      <a:pt x="1260" y="2372"/>
                    </a:lnTo>
                    <a:lnTo>
                      <a:pt x="1306" y="2362"/>
                    </a:lnTo>
                    <a:lnTo>
                      <a:pt x="1352" y="2348"/>
                    </a:lnTo>
                    <a:lnTo>
                      <a:pt x="1398" y="2334"/>
                    </a:lnTo>
                    <a:lnTo>
                      <a:pt x="1442" y="2316"/>
                    </a:lnTo>
                    <a:lnTo>
                      <a:pt x="1488" y="2296"/>
                    </a:lnTo>
                    <a:lnTo>
                      <a:pt x="1530" y="2274"/>
                    </a:lnTo>
                    <a:lnTo>
                      <a:pt x="1574" y="2248"/>
                    </a:lnTo>
                    <a:lnTo>
                      <a:pt x="1616" y="2222"/>
                    </a:lnTo>
                    <a:lnTo>
                      <a:pt x="1616" y="2222"/>
                    </a:lnTo>
                    <a:lnTo>
                      <a:pt x="1656" y="2192"/>
                    </a:lnTo>
                    <a:lnTo>
                      <a:pt x="1696" y="2162"/>
                    </a:lnTo>
                    <a:lnTo>
                      <a:pt x="1732" y="2128"/>
                    </a:lnTo>
                    <a:lnTo>
                      <a:pt x="1766" y="2094"/>
                    </a:lnTo>
                    <a:lnTo>
                      <a:pt x="1800" y="2058"/>
                    </a:lnTo>
                    <a:lnTo>
                      <a:pt x="1830" y="2022"/>
                    </a:lnTo>
                    <a:lnTo>
                      <a:pt x="1860" y="1984"/>
                    </a:lnTo>
                    <a:lnTo>
                      <a:pt x="1886" y="1944"/>
                    </a:lnTo>
                    <a:lnTo>
                      <a:pt x="1910" y="1904"/>
                    </a:lnTo>
                    <a:lnTo>
                      <a:pt x="1934" y="1862"/>
                    </a:lnTo>
                    <a:lnTo>
                      <a:pt x="1954" y="1820"/>
                    </a:lnTo>
                    <a:lnTo>
                      <a:pt x="1972" y="1776"/>
                    </a:lnTo>
                    <a:lnTo>
                      <a:pt x="1988" y="1732"/>
                    </a:lnTo>
                    <a:lnTo>
                      <a:pt x="2002" y="1688"/>
                    </a:lnTo>
                    <a:lnTo>
                      <a:pt x="2014" y="1642"/>
                    </a:lnTo>
                    <a:lnTo>
                      <a:pt x="2024" y="1596"/>
                    </a:lnTo>
                    <a:lnTo>
                      <a:pt x="2032" y="1550"/>
                    </a:lnTo>
                    <a:lnTo>
                      <a:pt x="2036" y="1504"/>
                    </a:lnTo>
                    <a:lnTo>
                      <a:pt x="2040" y="1458"/>
                    </a:lnTo>
                    <a:lnTo>
                      <a:pt x="2040" y="1410"/>
                    </a:lnTo>
                    <a:lnTo>
                      <a:pt x="2040" y="1364"/>
                    </a:lnTo>
                    <a:lnTo>
                      <a:pt x="2036" y="1316"/>
                    </a:lnTo>
                    <a:lnTo>
                      <a:pt x="2030" y="1270"/>
                    </a:lnTo>
                    <a:lnTo>
                      <a:pt x="2022" y="1224"/>
                    </a:lnTo>
                    <a:lnTo>
                      <a:pt x="2010" y="1176"/>
                    </a:lnTo>
                    <a:lnTo>
                      <a:pt x="1998" y="1130"/>
                    </a:lnTo>
                    <a:lnTo>
                      <a:pt x="1982" y="1086"/>
                    </a:lnTo>
                    <a:lnTo>
                      <a:pt x="1966" y="1040"/>
                    </a:lnTo>
                    <a:lnTo>
                      <a:pt x="1946" y="996"/>
                    </a:lnTo>
                    <a:lnTo>
                      <a:pt x="1922" y="952"/>
                    </a:lnTo>
                    <a:lnTo>
                      <a:pt x="1898" y="908"/>
                    </a:lnTo>
                    <a:lnTo>
                      <a:pt x="1870" y="866"/>
                    </a:lnTo>
                    <a:lnTo>
                      <a:pt x="1870" y="866"/>
                    </a:lnTo>
                    <a:close/>
                    <a:moveTo>
                      <a:pt x="112" y="436"/>
                    </a:moveTo>
                    <a:lnTo>
                      <a:pt x="112" y="436"/>
                    </a:lnTo>
                    <a:lnTo>
                      <a:pt x="100" y="416"/>
                    </a:lnTo>
                    <a:lnTo>
                      <a:pt x="90" y="394"/>
                    </a:lnTo>
                    <a:lnTo>
                      <a:pt x="82" y="372"/>
                    </a:lnTo>
                    <a:lnTo>
                      <a:pt x="76" y="350"/>
                    </a:lnTo>
                    <a:lnTo>
                      <a:pt x="74" y="328"/>
                    </a:lnTo>
                    <a:lnTo>
                      <a:pt x="72" y="306"/>
                    </a:lnTo>
                    <a:lnTo>
                      <a:pt x="72" y="284"/>
                    </a:lnTo>
                    <a:lnTo>
                      <a:pt x="76" y="260"/>
                    </a:lnTo>
                    <a:lnTo>
                      <a:pt x="82" y="238"/>
                    </a:lnTo>
                    <a:lnTo>
                      <a:pt x="88" y="218"/>
                    </a:lnTo>
                    <a:lnTo>
                      <a:pt x="98" y="198"/>
                    </a:lnTo>
                    <a:lnTo>
                      <a:pt x="108" y="178"/>
                    </a:lnTo>
                    <a:lnTo>
                      <a:pt x="122" y="158"/>
                    </a:lnTo>
                    <a:lnTo>
                      <a:pt x="138" y="142"/>
                    </a:lnTo>
                    <a:lnTo>
                      <a:pt x="154" y="126"/>
                    </a:lnTo>
                    <a:lnTo>
                      <a:pt x="174" y="110"/>
                    </a:lnTo>
                    <a:lnTo>
                      <a:pt x="174" y="110"/>
                    </a:lnTo>
                    <a:lnTo>
                      <a:pt x="194" y="98"/>
                    </a:lnTo>
                    <a:lnTo>
                      <a:pt x="216" y="88"/>
                    </a:lnTo>
                    <a:lnTo>
                      <a:pt x="238" y="80"/>
                    </a:lnTo>
                    <a:lnTo>
                      <a:pt x="260" y="74"/>
                    </a:lnTo>
                    <a:lnTo>
                      <a:pt x="282" y="72"/>
                    </a:lnTo>
                    <a:lnTo>
                      <a:pt x="304" y="70"/>
                    </a:lnTo>
                    <a:lnTo>
                      <a:pt x="326" y="70"/>
                    </a:lnTo>
                    <a:lnTo>
                      <a:pt x="350" y="74"/>
                    </a:lnTo>
                    <a:lnTo>
                      <a:pt x="370" y="80"/>
                    </a:lnTo>
                    <a:lnTo>
                      <a:pt x="392" y="86"/>
                    </a:lnTo>
                    <a:lnTo>
                      <a:pt x="412" y="96"/>
                    </a:lnTo>
                    <a:lnTo>
                      <a:pt x="432" y="108"/>
                    </a:lnTo>
                    <a:lnTo>
                      <a:pt x="452" y="120"/>
                    </a:lnTo>
                    <a:lnTo>
                      <a:pt x="468" y="136"/>
                    </a:lnTo>
                    <a:lnTo>
                      <a:pt x="484" y="152"/>
                    </a:lnTo>
                    <a:lnTo>
                      <a:pt x="500" y="172"/>
                    </a:lnTo>
                    <a:lnTo>
                      <a:pt x="500" y="172"/>
                    </a:lnTo>
                    <a:lnTo>
                      <a:pt x="512" y="192"/>
                    </a:lnTo>
                    <a:lnTo>
                      <a:pt x="522" y="214"/>
                    </a:lnTo>
                    <a:lnTo>
                      <a:pt x="530" y="236"/>
                    </a:lnTo>
                    <a:lnTo>
                      <a:pt x="536" y="258"/>
                    </a:lnTo>
                    <a:lnTo>
                      <a:pt x="538" y="280"/>
                    </a:lnTo>
                    <a:lnTo>
                      <a:pt x="540" y="302"/>
                    </a:lnTo>
                    <a:lnTo>
                      <a:pt x="538" y="326"/>
                    </a:lnTo>
                    <a:lnTo>
                      <a:pt x="536" y="348"/>
                    </a:lnTo>
                    <a:lnTo>
                      <a:pt x="530" y="370"/>
                    </a:lnTo>
                    <a:lnTo>
                      <a:pt x="524" y="390"/>
                    </a:lnTo>
                    <a:lnTo>
                      <a:pt x="514" y="410"/>
                    </a:lnTo>
                    <a:lnTo>
                      <a:pt x="502" y="430"/>
                    </a:lnTo>
                    <a:lnTo>
                      <a:pt x="490" y="450"/>
                    </a:lnTo>
                    <a:lnTo>
                      <a:pt x="474" y="466"/>
                    </a:lnTo>
                    <a:lnTo>
                      <a:pt x="456" y="482"/>
                    </a:lnTo>
                    <a:lnTo>
                      <a:pt x="438" y="498"/>
                    </a:lnTo>
                    <a:lnTo>
                      <a:pt x="438" y="498"/>
                    </a:lnTo>
                    <a:lnTo>
                      <a:pt x="418" y="510"/>
                    </a:lnTo>
                    <a:lnTo>
                      <a:pt x="396" y="520"/>
                    </a:lnTo>
                    <a:lnTo>
                      <a:pt x="374" y="528"/>
                    </a:lnTo>
                    <a:lnTo>
                      <a:pt x="352" y="534"/>
                    </a:lnTo>
                    <a:lnTo>
                      <a:pt x="330" y="536"/>
                    </a:lnTo>
                    <a:lnTo>
                      <a:pt x="308" y="538"/>
                    </a:lnTo>
                    <a:lnTo>
                      <a:pt x="284" y="538"/>
                    </a:lnTo>
                    <a:lnTo>
                      <a:pt x="262" y="534"/>
                    </a:lnTo>
                    <a:lnTo>
                      <a:pt x="240" y="528"/>
                    </a:lnTo>
                    <a:lnTo>
                      <a:pt x="220" y="522"/>
                    </a:lnTo>
                    <a:lnTo>
                      <a:pt x="198" y="512"/>
                    </a:lnTo>
                    <a:lnTo>
                      <a:pt x="180" y="500"/>
                    </a:lnTo>
                    <a:lnTo>
                      <a:pt x="160" y="488"/>
                    </a:lnTo>
                    <a:lnTo>
                      <a:pt x="144" y="472"/>
                    </a:lnTo>
                    <a:lnTo>
                      <a:pt x="128" y="456"/>
                    </a:lnTo>
                    <a:lnTo>
                      <a:pt x="112" y="436"/>
                    </a:lnTo>
                    <a:lnTo>
                      <a:pt x="112" y="436"/>
                    </a:lnTo>
                    <a:close/>
                    <a:moveTo>
                      <a:pt x="1538" y="2108"/>
                    </a:moveTo>
                    <a:lnTo>
                      <a:pt x="1538" y="2108"/>
                    </a:lnTo>
                    <a:lnTo>
                      <a:pt x="1502" y="2132"/>
                    </a:lnTo>
                    <a:lnTo>
                      <a:pt x="1466" y="2152"/>
                    </a:lnTo>
                    <a:lnTo>
                      <a:pt x="1428" y="2172"/>
                    </a:lnTo>
                    <a:lnTo>
                      <a:pt x="1390" y="2188"/>
                    </a:lnTo>
                    <a:lnTo>
                      <a:pt x="1350" y="2204"/>
                    </a:lnTo>
                    <a:lnTo>
                      <a:pt x="1312" y="2216"/>
                    </a:lnTo>
                    <a:lnTo>
                      <a:pt x="1272" y="2228"/>
                    </a:lnTo>
                    <a:lnTo>
                      <a:pt x="1232" y="2238"/>
                    </a:lnTo>
                    <a:lnTo>
                      <a:pt x="1192" y="2244"/>
                    </a:lnTo>
                    <a:lnTo>
                      <a:pt x="1152" y="2250"/>
                    </a:lnTo>
                    <a:lnTo>
                      <a:pt x="1112" y="2252"/>
                    </a:lnTo>
                    <a:lnTo>
                      <a:pt x="1072" y="2254"/>
                    </a:lnTo>
                    <a:lnTo>
                      <a:pt x="1030" y="2252"/>
                    </a:lnTo>
                    <a:lnTo>
                      <a:pt x="990" y="2250"/>
                    </a:lnTo>
                    <a:lnTo>
                      <a:pt x="950" y="2246"/>
                    </a:lnTo>
                    <a:lnTo>
                      <a:pt x="912" y="2240"/>
                    </a:lnTo>
                    <a:lnTo>
                      <a:pt x="872" y="2230"/>
                    </a:lnTo>
                    <a:lnTo>
                      <a:pt x="834" y="2220"/>
                    </a:lnTo>
                    <a:lnTo>
                      <a:pt x="794" y="2208"/>
                    </a:lnTo>
                    <a:lnTo>
                      <a:pt x="758" y="2194"/>
                    </a:lnTo>
                    <a:lnTo>
                      <a:pt x="720" y="2178"/>
                    </a:lnTo>
                    <a:lnTo>
                      <a:pt x="684" y="2162"/>
                    </a:lnTo>
                    <a:lnTo>
                      <a:pt x="648" y="2142"/>
                    </a:lnTo>
                    <a:lnTo>
                      <a:pt x="614" y="2120"/>
                    </a:lnTo>
                    <a:lnTo>
                      <a:pt x="580" y="2098"/>
                    </a:lnTo>
                    <a:lnTo>
                      <a:pt x="546" y="2074"/>
                    </a:lnTo>
                    <a:lnTo>
                      <a:pt x="514" y="2046"/>
                    </a:lnTo>
                    <a:lnTo>
                      <a:pt x="484" y="2018"/>
                    </a:lnTo>
                    <a:lnTo>
                      <a:pt x="456" y="1988"/>
                    </a:lnTo>
                    <a:lnTo>
                      <a:pt x="428" y="1958"/>
                    </a:lnTo>
                    <a:lnTo>
                      <a:pt x="400" y="1924"/>
                    </a:lnTo>
                    <a:lnTo>
                      <a:pt x="376" y="1888"/>
                    </a:lnTo>
                    <a:lnTo>
                      <a:pt x="376" y="1888"/>
                    </a:lnTo>
                    <a:lnTo>
                      <a:pt x="352" y="1852"/>
                    </a:lnTo>
                    <a:lnTo>
                      <a:pt x="330" y="1816"/>
                    </a:lnTo>
                    <a:lnTo>
                      <a:pt x="312" y="1778"/>
                    </a:lnTo>
                    <a:lnTo>
                      <a:pt x="294" y="1740"/>
                    </a:lnTo>
                    <a:lnTo>
                      <a:pt x="278" y="1702"/>
                    </a:lnTo>
                    <a:lnTo>
                      <a:pt x="266" y="1662"/>
                    </a:lnTo>
                    <a:lnTo>
                      <a:pt x="254" y="1622"/>
                    </a:lnTo>
                    <a:lnTo>
                      <a:pt x="246" y="1582"/>
                    </a:lnTo>
                    <a:lnTo>
                      <a:pt x="238" y="1542"/>
                    </a:lnTo>
                    <a:lnTo>
                      <a:pt x="234" y="1502"/>
                    </a:lnTo>
                    <a:lnTo>
                      <a:pt x="230" y="1462"/>
                    </a:lnTo>
                    <a:lnTo>
                      <a:pt x="230" y="1422"/>
                    </a:lnTo>
                    <a:lnTo>
                      <a:pt x="230" y="1382"/>
                    </a:lnTo>
                    <a:lnTo>
                      <a:pt x="232" y="1342"/>
                    </a:lnTo>
                    <a:lnTo>
                      <a:pt x="238" y="1302"/>
                    </a:lnTo>
                    <a:lnTo>
                      <a:pt x="244" y="1262"/>
                    </a:lnTo>
                    <a:lnTo>
                      <a:pt x="252" y="1222"/>
                    </a:lnTo>
                    <a:lnTo>
                      <a:pt x="262" y="1184"/>
                    </a:lnTo>
                    <a:lnTo>
                      <a:pt x="274" y="1146"/>
                    </a:lnTo>
                    <a:lnTo>
                      <a:pt x="288" y="1108"/>
                    </a:lnTo>
                    <a:lnTo>
                      <a:pt x="304" y="1070"/>
                    </a:lnTo>
                    <a:lnTo>
                      <a:pt x="322" y="1034"/>
                    </a:lnTo>
                    <a:lnTo>
                      <a:pt x="342" y="998"/>
                    </a:lnTo>
                    <a:lnTo>
                      <a:pt x="362" y="964"/>
                    </a:lnTo>
                    <a:lnTo>
                      <a:pt x="386" y="930"/>
                    </a:lnTo>
                    <a:lnTo>
                      <a:pt x="410" y="898"/>
                    </a:lnTo>
                    <a:lnTo>
                      <a:pt x="436" y="866"/>
                    </a:lnTo>
                    <a:lnTo>
                      <a:pt x="464" y="836"/>
                    </a:lnTo>
                    <a:lnTo>
                      <a:pt x="494" y="806"/>
                    </a:lnTo>
                    <a:lnTo>
                      <a:pt x="526" y="778"/>
                    </a:lnTo>
                    <a:lnTo>
                      <a:pt x="560" y="752"/>
                    </a:lnTo>
                    <a:lnTo>
                      <a:pt x="594" y="726"/>
                    </a:lnTo>
                    <a:lnTo>
                      <a:pt x="594" y="726"/>
                    </a:lnTo>
                    <a:lnTo>
                      <a:pt x="630" y="702"/>
                    </a:lnTo>
                    <a:lnTo>
                      <a:pt x="668" y="682"/>
                    </a:lnTo>
                    <a:lnTo>
                      <a:pt x="704" y="662"/>
                    </a:lnTo>
                    <a:lnTo>
                      <a:pt x="742" y="644"/>
                    </a:lnTo>
                    <a:lnTo>
                      <a:pt x="782" y="630"/>
                    </a:lnTo>
                    <a:lnTo>
                      <a:pt x="820" y="616"/>
                    </a:lnTo>
                    <a:lnTo>
                      <a:pt x="860" y="606"/>
                    </a:lnTo>
                    <a:lnTo>
                      <a:pt x="900" y="596"/>
                    </a:lnTo>
                    <a:lnTo>
                      <a:pt x="940" y="590"/>
                    </a:lnTo>
                    <a:lnTo>
                      <a:pt x="980" y="584"/>
                    </a:lnTo>
                    <a:lnTo>
                      <a:pt x="1020" y="582"/>
                    </a:lnTo>
                    <a:lnTo>
                      <a:pt x="1060" y="580"/>
                    </a:lnTo>
                    <a:lnTo>
                      <a:pt x="1102" y="580"/>
                    </a:lnTo>
                    <a:lnTo>
                      <a:pt x="1142" y="584"/>
                    </a:lnTo>
                    <a:lnTo>
                      <a:pt x="1182" y="588"/>
                    </a:lnTo>
                    <a:lnTo>
                      <a:pt x="1220" y="594"/>
                    </a:lnTo>
                    <a:lnTo>
                      <a:pt x="1260" y="602"/>
                    </a:lnTo>
                    <a:lnTo>
                      <a:pt x="1298" y="612"/>
                    </a:lnTo>
                    <a:lnTo>
                      <a:pt x="1338" y="626"/>
                    </a:lnTo>
                    <a:lnTo>
                      <a:pt x="1376" y="640"/>
                    </a:lnTo>
                    <a:lnTo>
                      <a:pt x="1412" y="654"/>
                    </a:lnTo>
                    <a:lnTo>
                      <a:pt x="1448" y="672"/>
                    </a:lnTo>
                    <a:lnTo>
                      <a:pt x="1484" y="692"/>
                    </a:lnTo>
                    <a:lnTo>
                      <a:pt x="1518" y="712"/>
                    </a:lnTo>
                    <a:lnTo>
                      <a:pt x="1552" y="736"/>
                    </a:lnTo>
                    <a:lnTo>
                      <a:pt x="1586" y="760"/>
                    </a:lnTo>
                    <a:lnTo>
                      <a:pt x="1618" y="786"/>
                    </a:lnTo>
                    <a:lnTo>
                      <a:pt x="1648" y="816"/>
                    </a:lnTo>
                    <a:lnTo>
                      <a:pt x="1678" y="844"/>
                    </a:lnTo>
                    <a:lnTo>
                      <a:pt x="1706" y="876"/>
                    </a:lnTo>
                    <a:lnTo>
                      <a:pt x="1732" y="910"/>
                    </a:lnTo>
                    <a:lnTo>
                      <a:pt x="1756" y="944"/>
                    </a:lnTo>
                    <a:lnTo>
                      <a:pt x="1756" y="944"/>
                    </a:lnTo>
                    <a:lnTo>
                      <a:pt x="1780" y="980"/>
                    </a:lnTo>
                    <a:lnTo>
                      <a:pt x="1802" y="1018"/>
                    </a:lnTo>
                    <a:lnTo>
                      <a:pt x="1820" y="1056"/>
                    </a:lnTo>
                    <a:lnTo>
                      <a:pt x="1838" y="1094"/>
                    </a:lnTo>
                    <a:lnTo>
                      <a:pt x="1854" y="1132"/>
                    </a:lnTo>
                    <a:lnTo>
                      <a:pt x="1866" y="1172"/>
                    </a:lnTo>
                    <a:lnTo>
                      <a:pt x="1878" y="1210"/>
                    </a:lnTo>
                    <a:lnTo>
                      <a:pt x="1886" y="1250"/>
                    </a:lnTo>
                    <a:lnTo>
                      <a:pt x="1894" y="1290"/>
                    </a:lnTo>
                    <a:lnTo>
                      <a:pt x="1898" y="1330"/>
                    </a:lnTo>
                    <a:lnTo>
                      <a:pt x="1902" y="1372"/>
                    </a:lnTo>
                    <a:lnTo>
                      <a:pt x="1902" y="1412"/>
                    </a:lnTo>
                    <a:lnTo>
                      <a:pt x="1902" y="1452"/>
                    </a:lnTo>
                    <a:lnTo>
                      <a:pt x="1900" y="1492"/>
                    </a:lnTo>
                    <a:lnTo>
                      <a:pt x="1894" y="1532"/>
                    </a:lnTo>
                    <a:lnTo>
                      <a:pt x="1888" y="1572"/>
                    </a:lnTo>
                    <a:lnTo>
                      <a:pt x="1880" y="1610"/>
                    </a:lnTo>
                    <a:lnTo>
                      <a:pt x="1870" y="1650"/>
                    </a:lnTo>
                    <a:lnTo>
                      <a:pt x="1858" y="1688"/>
                    </a:lnTo>
                    <a:lnTo>
                      <a:pt x="1844" y="1726"/>
                    </a:lnTo>
                    <a:lnTo>
                      <a:pt x="1828" y="1762"/>
                    </a:lnTo>
                    <a:lnTo>
                      <a:pt x="1810" y="1800"/>
                    </a:lnTo>
                    <a:lnTo>
                      <a:pt x="1792" y="1834"/>
                    </a:lnTo>
                    <a:lnTo>
                      <a:pt x="1770" y="1870"/>
                    </a:lnTo>
                    <a:lnTo>
                      <a:pt x="1748" y="1904"/>
                    </a:lnTo>
                    <a:lnTo>
                      <a:pt x="1722" y="1936"/>
                    </a:lnTo>
                    <a:lnTo>
                      <a:pt x="1696" y="1968"/>
                    </a:lnTo>
                    <a:lnTo>
                      <a:pt x="1668" y="1998"/>
                    </a:lnTo>
                    <a:lnTo>
                      <a:pt x="1638" y="2028"/>
                    </a:lnTo>
                    <a:lnTo>
                      <a:pt x="1606" y="2056"/>
                    </a:lnTo>
                    <a:lnTo>
                      <a:pt x="1574" y="2082"/>
                    </a:lnTo>
                    <a:lnTo>
                      <a:pt x="1538" y="2108"/>
                    </a:lnTo>
                    <a:lnTo>
                      <a:pt x="1538" y="210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234" name="Group 2233">
            <a:extLst>
              <a:ext uri="{FF2B5EF4-FFF2-40B4-BE49-F238E27FC236}">
                <a16:creationId xmlns:a16="http://schemas.microsoft.com/office/drawing/2014/main" id="{3F23D5FE-D537-4EA1-AAEA-70AA5E82589F}"/>
              </a:ext>
            </a:extLst>
          </p:cNvPr>
          <p:cNvGrpSpPr/>
          <p:nvPr/>
        </p:nvGrpSpPr>
        <p:grpSpPr>
          <a:xfrm>
            <a:off x="7524469" y="3980530"/>
            <a:ext cx="612775" cy="612775"/>
            <a:chOff x="5692105" y="4581723"/>
            <a:chExt cx="612775" cy="612775"/>
          </a:xfrm>
        </p:grpSpPr>
        <p:sp>
          <p:nvSpPr>
            <p:cNvPr id="2235" name="Oval 2234">
              <a:extLst>
                <a:ext uri="{FF2B5EF4-FFF2-40B4-BE49-F238E27FC236}">
                  <a16:creationId xmlns:a16="http://schemas.microsoft.com/office/drawing/2014/main" id="{C2F3E4E4-FDCA-4474-ABAE-EE2A3D24205F}"/>
                </a:ext>
              </a:extLst>
            </p:cNvPr>
            <p:cNvSpPr/>
            <p:nvPr/>
          </p:nvSpPr>
          <p:spPr bwMode="ltGray">
            <a:xfrm>
              <a:off x="5692105"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236" name="Group 2235">
              <a:extLst>
                <a:ext uri="{FF2B5EF4-FFF2-40B4-BE49-F238E27FC236}">
                  <a16:creationId xmlns:a16="http://schemas.microsoft.com/office/drawing/2014/main" id="{8A4BC8A9-D463-4D32-BC99-D3EF57AFDE5F}"/>
                </a:ext>
              </a:extLst>
            </p:cNvPr>
            <p:cNvGrpSpPr/>
            <p:nvPr/>
          </p:nvGrpSpPr>
          <p:grpSpPr>
            <a:xfrm rot="2015235">
              <a:off x="5751488" y="4637174"/>
              <a:ext cx="501396" cy="502062"/>
              <a:chOff x="5887206" y="4780783"/>
              <a:chExt cx="258479" cy="258822"/>
            </a:xfrm>
          </p:grpSpPr>
          <p:sp>
            <p:nvSpPr>
              <p:cNvPr id="2237" name="Freeform 7">
                <a:extLst>
                  <a:ext uri="{FF2B5EF4-FFF2-40B4-BE49-F238E27FC236}">
                    <a16:creationId xmlns:a16="http://schemas.microsoft.com/office/drawing/2014/main" id="{9C563A7E-4660-408B-B783-39E3DE1F992C}"/>
                  </a:ext>
                </a:extLst>
              </p:cNvPr>
              <p:cNvSpPr>
                <a:spLocks/>
              </p:cNvSpPr>
              <p:nvPr/>
            </p:nvSpPr>
            <p:spPr bwMode="auto">
              <a:xfrm>
                <a:off x="5887206" y="4803125"/>
                <a:ext cx="109304" cy="179767"/>
              </a:xfrm>
              <a:custGeom>
                <a:avLst/>
                <a:gdLst>
                  <a:gd name="T0" fmla="*/ 284 w 636"/>
                  <a:gd name="T1" fmla="*/ 532 h 1046"/>
                  <a:gd name="T2" fmla="*/ 636 w 636"/>
                  <a:gd name="T3" fmla="*/ 564 h 1046"/>
                  <a:gd name="T4" fmla="*/ 530 w 636"/>
                  <a:gd name="T5" fmla="*/ 370 h 1046"/>
                  <a:gd name="T6" fmla="*/ 328 w 636"/>
                  <a:gd name="T7" fmla="*/ 0 h 1046"/>
                  <a:gd name="T8" fmla="*/ 328 w 636"/>
                  <a:gd name="T9" fmla="*/ 0 h 1046"/>
                  <a:gd name="T10" fmla="*/ 328 w 636"/>
                  <a:gd name="T11" fmla="*/ 0 h 1046"/>
                  <a:gd name="T12" fmla="*/ 328 w 636"/>
                  <a:gd name="T13" fmla="*/ 0 h 1046"/>
                  <a:gd name="T14" fmla="*/ 296 w 636"/>
                  <a:gd name="T15" fmla="*/ 24 h 1046"/>
                  <a:gd name="T16" fmla="*/ 266 w 636"/>
                  <a:gd name="T17" fmla="*/ 48 h 1046"/>
                  <a:gd name="T18" fmla="*/ 238 w 636"/>
                  <a:gd name="T19" fmla="*/ 72 h 1046"/>
                  <a:gd name="T20" fmla="*/ 210 w 636"/>
                  <a:gd name="T21" fmla="*/ 98 h 1046"/>
                  <a:gd name="T22" fmla="*/ 186 w 636"/>
                  <a:gd name="T23" fmla="*/ 126 h 1046"/>
                  <a:gd name="T24" fmla="*/ 162 w 636"/>
                  <a:gd name="T25" fmla="*/ 154 h 1046"/>
                  <a:gd name="T26" fmla="*/ 140 w 636"/>
                  <a:gd name="T27" fmla="*/ 184 h 1046"/>
                  <a:gd name="T28" fmla="*/ 118 w 636"/>
                  <a:gd name="T29" fmla="*/ 214 h 1046"/>
                  <a:gd name="T30" fmla="*/ 100 w 636"/>
                  <a:gd name="T31" fmla="*/ 246 h 1046"/>
                  <a:gd name="T32" fmla="*/ 82 w 636"/>
                  <a:gd name="T33" fmla="*/ 278 h 1046"/>
                  <a:gd name="T34" fmla="*/ 66 w 636"/>
                  <a:gd name="T35" fmla="*/ 310 h 1046"/>
                  <a:gd name="T36" fmla="*/ 52 w 636"/>
                  <a:gd name="T37" fmla="*/ 344 h 1046"/>
                  <a:gd name="T38" fmla="*/ 40 w 636"/>
                  <a:gd name="T39" fmla="*/ 378 h 1046"/>
                  <a:gd name="T40" fmla="*/ 30 w 636"/>
                  <a:gd name="T41" fmla="*/ 412 h 1046"/>
                  <a:gd name="T42" fmla="*/ 20 w 636"/>
                  <a:gd name="T43" fmla="*/ 446 h 1046"/>
                  <a:gd name="T44" fmla="*/ 12 w 636"/>
                  <a:gd name="T45" fmla="*/ 482 h 1046"/>
                  <a:gd name="T46" fmla="*/ 6 w 636"/>
                  <a:gd name="T47" fmla="*/ 518 h 1046"/>
                  <a:gd name="T48" fmla="*/ 2 w 636"/>
                  <a:gd name="T49" fmla="*/ 554 h 1046"/>
                  <a:gd name="T50" fmla="*/ 0 w 636"/>
                  <a:gd name="T51" fmla="*/ 590 h 1046"/>
                  <a:gd name="T52" fmla="*/ 0 w 636"/>
                  <a:gd name="T53" fmla="*/ 626 h 1046"/>
                  <a:gd name="T54" fmla="*/ 0 w 636"/>
                  <a:gd name="T55" fmla="*/ 662 h 1046"/>
                  <a:gd name="T56" fmla="*/ 2 w 636"/>
                  <a:gd name="T57" fmla="*/ 698 h 1046"/>
                  <a:gd name="T58" fmla="*/ 8 w 636"/>
                  <a:gd name="T59" fmla="*/ 734 h 1046"/>
                  <a:gd name="T60" fmla="*/ 14 w 636"/>
                  <a:gd name="T61" fmla="*/ 770 h 1046"/>
                  <a:gd name="T62" fmla="*/ 22 w 636"/>
                  <a:gd name="T63" fmla="*/ 806 h 1046"/>
                  <a:gd name="T64" fmla="*/ 32 w 636"/>
                  <a:gd name="T65" fmla="*/ 842 h 1046"/>
                  <a:gd name="T66" fmla="*/ 44 w 636"/>
                  <a:gd name="T67" fmla="*/ 876 h 1046"/>
                  <a:gd name="T68" fmla="*/ 56 w 636"/>
                  <a:gd name="T69" fmla="*/ 912 h 1046"/>
                  <a:gd name="T70" fmla="*/ 72 w 636"/>
                  <a:gd name="T71" fmla="*/ 946 h 1046"/>
                  <a:gd name="T72" fmla="*/ 90 w 636"/>
                  <a:gd name="T73" fmla="*/ 980 h 1046"/>
                  <a:gd name="T74" fmla="*/ 108 w 636"/>
                  <a:gd name="T75" fmla="*/ 1012 h 1046"/>
                  <a:gd name="T76" fmla="*/ 130 w 636"/>
                  <a:gd name="T77" fmla="*/ 1046 h 1046"/>
                  <a:gd name="T78" fmla="*/ 624 w 636"/>
                  <a:gd name="T79" fmla="*/ 632 h 1046"/>
                  <a:gd name="T80" fmla="*/ 284 w 636"/>
                  <a:gd name="T81" fmla="*/ 532 h 1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36" h="1046">
                    <a:moveTo>
                      <a:pt x="284" y="532"/>
                    </a:moveTo>
                    <a:lnTo>
                      <a:pt x="636" y="564"/>
                    </a:lnTo>
                    <a:lnTo>
                      <a:pt x="530" y="370"/>
                    </a:lnTo>
                    <a:lnTo>
                      <a:pt x="328" y="0"/>
                    </a:lnTo>
                    <a:lnTo>
                      <a:pt x="328" y="0"/>
                    </a:lnTo>
                    <a:lnTo>
                      <a:pt x="328" y="0"/>
                    </a:lnTo>
                    <a:lnTo>
                      <a:pt x="328" y="0"/>
                    </a:lnTo>
                    <a:lnTo>
                      <a:pt x="296" y="24"/>
                    </a:lnTo>
                    <a:lnTo>
                      <a:pt x="266" y="48"/>
                    </a:lnTo>
                    <a:lnTo>
                      <a:pt x="238" y="72"/>
                    </a:lnTo>
                    <a:lnTo>
                      <a:pt x="210" y="98"/>
                    </a:lnTo>
                    <a:lnTo>
                      <a:pt x="186" y="126"/>
                    </a:lnTo>
                    <a:lnTo>
                      <a:pt x="162" y="154"/>
                    </a:lnTo>
                    <a:lnTo>
                      <a:pt x="140" y="184"/>
                    </a:lnTo>
                    <a:lnTo>
                      <a:pt x="118" y="214"/>
                    </a:lnTo>
                    <a:lnTo>
                      <a:pt x="100" y="246"/>
                    </a:lnTo>
                    <a:lnTo>
                      <a:pt x="82" y="278"/>
                    </a:lnTo>
                    <a:lnTo>
                      <a:pt x="66" y="310"/>
                    </a:lnTo>
                    <a:lnTo>
                      <a:pt x="52" y="344"/>
                    </a:lnTo>
                    <a:lnTo>
                      <a:pt x="40" y="378"/>
                    </a:lnTo>
                    <a:lnTo>
                      <a:pt x="30" y="412"/>
                    </a:lnTo>
                    <a:lnTo>
                      <a:pt x="20" y="446"/>
                    </a:lnTo>
                    <a:lnTo>
                      <a:pt x="12" y="482"/>
                    </a:lnTo>
                    <a:lnTo>
                      <a:pt x="6" y="518"/>
                    </a:lnTo>
                    <a:lnTo>
                      <a:pt x="2" y="554"/>
                    </a:lnTo>
                    <a:lnTo>
                      <a:pt x="0" y="590"/>
                    </a:lnTo>
                    <a:lnTo>
                      <a:pt x="0" y="626"/>
                    </a:lnTo>
                    <a:lnTo>
                      <a:pt x="0" y="662"/>
                    </a:lnTo>
                    <a:lnTo>
                      <a:pt x="2" y="698"/>
                    </a:lnTo>
                    <a:lnTo>
                      <a:pt x="8" y="734"/>
                    </a:lnTo>
                    <a:lnTo>
                      <a:pt x="14" y="770"/>
                    </a:lnTo>
                    <a:lnTo>
                      <a:pt x="22" y="806"/>
                    </a:lnTo>
                    <a:lnTo>
                      <a:pt x="32" y="842"/>
                    </a:lnTo>
                    <a:lnTo>
                      <a:pt x="44" y="876"/>
                    </a:lnTo>
                    <a:lnTo>
                      <a:pt x="56" y="912"/>
                    </a:lnTo>
                    <a:lnTo>
                      <a:pt x="72" y="946"/>
                    </a:lnTo>
                    <a:lnTo>
                      <a:pt x="90" y="980"/>
                    </a:lnTo>
                    <a:lnTo>
                      <a:pt x="108" y="1012"/>
                    </a:lnTo>
                    <a:lnTo>
                      <a:pt x="130" y="1046"/>
                    </a:lnTo>
                    <a:lnTo>
                      <a:pt x="624" y="632"/>
                    </a:lnTo>
                    <a:lnTo>
                      <a:pt x="284" y="53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38" name="Freeform 8">
                <a:extLst>
                  <a:ext uri="{FF2B5EF4-FFF2-40B4-BE49-F238E27FC236}">
                    <a16:creationId xmlns:a16="http://schemas.microsoft.com/office/drawing/2014/main" id="{5390EEAC-F6E1-48E0-B8C7-447C4D766600}"/>
                  </a:ext>
                </a:extLst>
              </p:cNvPr>
              <p:cNvSpPr>
                <a:spLocks/>
              </p:cNvSpPr>
              <p:nvPr/>
            </p:nvSpPr>
            <p:spPr bwMode="auto">
              <a:xfrm>
                <a:off x="6037069" y="4837497"/>
                <a:ext cx="108616" cy="178736"/>
              </a:xfrm>
              <a:custGeom>
                <a:avLst/>
                <a:gdLst>
                  <a:gd name="T0" fmla="*/ 502 w 632"/>
                  <a:gd name="T1" fmla="*/ 0 h 1040"/>
                  <a:gd name="T2" fmla="*/ 12 w 632"/>
                  <a:gd name="T3" fmla="*/ 410 h 1040"/>
                  <a:gd name="T4" fmla="*/ 352 w 632"/>
                  <a:gd name="T5" fmla="*/ 510 h 1040"/>
                  <a:gd name="T6" fmla="*/ 0 w 632"/>
                  <a:gd name="T7" fmla="*/ 478 h 1040"/>
                  <a:gd name="T8" fmla="*/ 308 w 632"/>
                  <a:gd name="T9" fmla="*/ 1040 h 1040"/>
                  <a:gd name="T10" fmla="*/ 308 w 632"/>
                  <a:gd name="T11" fmla="*/ 1040 h 1040"/>
                  <a:gd name="T12" fmla="*/ 340 w 632"/>
                  <a:gd name="T13" fmla="*/ 1018 h 1040"/>
                  <a:gd name="T14" fmla="*/ 370 w 632"/>
                  <a:gd name="T15" fmla="*/ 994 h 1040"/>
                  <a:gd name="T16" fmla="*/ 398 w 632"/>
                  <a:gd name="T17" fmla="*/ 968 h 1040"/>
                  <a:gd name="T18" fmla="*/ 424 w 632"/>
                  <a:gd name="T19" fmla="*/ 942 h 1040"/>
                  <a:gd name="T20" fmla="*/ 448 w 632"/>
                  <a:gd name="T21" fmla="*/ 916 h 1040"/>
                  <a:gd name="T22" fmla="*/ 472 w 632"/>
                  <a:gd name="T23" fmla="*/ 886 h 1040"/>
                  <a:gd name="T24" fmla="*/ 494 w 632"/>
                  <a:gd name="T25" fmla="*/ 858 h 1040"/>
                  <a:gd name="T26" fmla="*/ 514 w 632"/>
                  <a:gd name="T27" fmla="*/ 828 h 1040"/>
                  <a:gd name="T28" fmla="*/ 534 w 632"/>
                  <a:gd name="T29" fmla="*/ 796 h 1040"/>
                  <a:gd name="T30" fmla="*/ 550 w 632"/>
                  <a:gd name="T31" fmla="*/ 764 h 1040"/>
                  <a:gd name="T32" fmla="*/ 566 w 632"/>
                  <a:gd name="T33" fmla="*/ 732 h 1040"/>
                  <a:gd name="T34" fmla="*/ 580 w 632"/>
                  <a:gd name="T35" fmla="*/ 698 h 1040"/>
                  <a:gd name="T36" fmla="*/ 592 w 632"/>
                  <a:gd name="T37" fmla="*/ 664 h 1040"/>
                  <a:gd name="T38" fmla="*/ 604 w 632"/>
                  <a:gd name="T39" fmla="*/ 630 h 1040"/>
                  <a:gd name="T40" fmla="*/ 612 w 632"/>
                  <a:gd name="T41" fmla="*/ 596 h 1040"/>
                  <a:gd name="T42" fmla="*/ 620 w 632"/>
                  <a:gd name="T43" fmla="*/ 560 h 1040"/>
                  <a:gd name="T44" fmla="*/ 626 w 632"/>
                  <a:gd name="T45" fmla="*/ 524 h 1040"/>
                  <a:gd name="T46" fmla="*/ 630 w 632"/>
                  <a:gd name="T47" fmla="*/ 490 h 1040"/>
                  <a:gd name="T48" fmla="*/ 632 w 632"/>
                  <a:gd name="T49" fmla="*/ 454 h 1040"/>
                  <a:gd name="T50" fmla="*/ 632 w 632"/>
                  <a:gd name="T51" fmla="*/ 418 h 1040"/>
                  <a:gd name="T52" fmla="*/ 632 w 632"/>
                  <a:gd name="T53" fmla="*/ 382 h 1040"/>
                  <a:gd name="T54" fmla="*/ 628 w 632"/>
                  <a:gd name="T55" fmla="*/ 346 h 1040"/>
                  <a:gd name="T56" fmla="*/ 624 w 632"/>
                  <a:gd name="T57" fmla="*/ 310 h 1040"/>
                  <a:gd name="T58" fmla="*/ 618 w 632"/>
                  <a:gd name="T59" fmla="*/ 274 h 1040"/>
                  <a:gd name="T60" fmla="*/ 610 w 632"/>
                  <a:gd name="T61" fmla="*/ 238 h 1040"/>
                  <a:gd name="T62" fmla="*/ 600 w 632"/>
                  <a:gd name="T63" fmla="*/ 202 h 1040"/>
                  <a:gd name="T64" fmla="*/ 588 w 632"/>
                  <a:gd name="T65" fmla="*/ 168 h 1040"/>
                  <a:gd name="T66" fmla="*/ 574 w 632"/>
                  <a:gd name="T67" fmla="*/ 134 h 1040"/>
                  <a:gd name="T68" fmla="*/ 560 w 632"/>
                  <a:gd name="T69" fmla="*/ 98 h 1040"/>
                  <a:gd name="T70" fmla="*/ 542 w 632"/>
                  <a:gd name="T71" fmla="*/ 66 h 1040"/>
                  <a:gd name="T72" fmla="*/ 524 w 632"/>
                  <a:gd name="T73" fmla="*/ 32 h 1040"/>
                  <a:gd name="T74" fmla="*/ 502 w 632"/>
                  <a:gd name="T75" fmla="*/ 0 h 1040"/>
                  <a:gd name="T76" fmla="*/ 502 w 632"/>
                  <a:gd name="T77" fmla="*/ 0 h 1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32" h="1040">
                    <a:moveTo>
                      <a:pt x="502" y="0"/>
                    </a:moveTo>
                    <a:lnTo>
                      <a:pt x="12" y="410"/>
                    </a:lnTo>
                    <a:lnTo>
                      <a:pt x="352" y="510"/>
                    </a:lnTo>
                    <a:lnTo>
                      <a:pt x="0" y="478"/>
                    </a:lnTo>
                    <a:lnTo>
                      <a:pt x="308" y="1040"/>
                    </a:lnTo>
                    <a:lnTo>
                      <a:pt x="308" y="1040"/>
                    </a:lnTo>
                    <a:lnTo>
                      <a:pt x="340" y="1018"/>
                    </a:lnTo>
                    <a:lnTo>
                      <a:pt x="370" y="994"/>
                    </a:lnTo>
                    <a:lnTo>
                      <a:pt x="398" y="968"/>
                    </a:lnTo>
                    <a:lnTo>
                      <a:pt x="424" y="942"/>
                    </a:lnTo>
                    <a:lnTo>
                      <a:pt x="448" y="916"/>
                    </a:lnTo>
                    <a:lnTo>
                      <a:pt x="472" y="886"/>
                    </a:lnTo>
                    <a:lnTo>
                      <a:pt x="494" y="858"/>
                    </a:lnTo>
                    <a:lnTo>
                      <a:pt x="514" y="828"/>
                    </a:lnTo>
                    <a:lnTo>
                      <a:pt x="534" y="796"/>
                    </a:lnTo>
                    <a:lnTo>
                      <a:pt x="550" y="764"/>
                    </a:lnTo>
                    <a:lnTo>
                      <a:pt x="566" y="732"/>
                    </a:lnTo>
                    <a:lnTo>
                      <a:pt x="580" y="698"/>
                    </a:lnTo>
                    <a:lnTo>
                      <a:pt x="592" y="664"/>
                    </a:lnTo>
                    <a:lnTo>
                      <a:pt x="604" y="630"/>
                    </a:lnTo>
                    <a:lnTo>
                      <a:pt x="612" y="596"/>
                    </a:lnTo>
                    <a:lnTo>
                      <a:pt x="620" y="560"/>
                    </a:lnTo>
                    <a:lnTo>
                      <a:pt x="626" y="524"/>
                    </a:lnTo>
                    <a:lnTo>
                      <a:pt x="630" y="490"/>
                    </a:lnTo>
                    <a:lnTo>
                      <a:pt x="632" y="454"/>
                    </a:lnTo>
                    <a:lnTo>
                      <a:pt x="632" y="418"/>
                    </a:lnTo>
                    <a:lnTo>
                      <a:pt x="632" y="382"/>
                    </a:lnTo>
                    <a:lnTo>
                      <a:pt x="628" y="346"/>
                    </a:lnTo>
                    <a:lnTo>
                      <a:pt x="624" y="310"/>
                    </a:lnTo>
                    <a:lnTo>
                      <a:pt x="618" y="274"/>
                    </a:lnTo>
                    <a:lnTo>
                      <a:pt x="610" y="238"/>
                    </a:lnTo>
                    <a:lnTo>
                      <a:pt x="600" y="202"/>
                    </a:lnTo>
                    <a:lnTo>
                      <a:pt x="588" y="168"/>
                    </a:lnTo>
                    <a:lnTo>
                      <a:pt x="574" y="134"/>
                    </a:lnTo>
                    <a:lnTo>
                      <a:pt x="560" y="98"/>
                    </a:lnTo>
                    <a:lnTo>
                      <a:pt x="542" y="66"/>
                    </a:lnTo>
                    <a:lnTo>
                      <a:pt x="524" y="32"/>
                    </a:lnTo>
                    <a:lnTo>
                      <a:pt x="502" y="0"/>
                    </a:lnTo>
                    <a:lnTo>
                      <a:pt x="502"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39" name="Freeform 9">
                <a:extLst>
                  <a:ext uri="{FF2B5EF4-FFF2-40B4-BE49-F238E27FC236}">
                    <a16:creationId xmlns:a16="http://schemas.microsoft.com/office/drawing/2014/main" id="{8246B39E-510F-4461-A2B7-1785C596966A}"/>
                  </a:ext>
                </a:extLst>
              </p:cNvPr>
              <p:cNvSpPr>
                <a:spLocks/>
              </p:cNvSpPr>
              <p:nvPr/>
            </p:nvSpPr>
            <p:spPr bwMode="auto">
              <a:xfrm>
                <a:off x="5909891" y="4929958"/>
                <a:ext cx="179423" cy="109647"/>
              </a:xfrm>
              <a:custGeom>
                <a:avLst/>
                <a:gdLst>
                  <a:gd name="T0" fmla="*/ 534 w 1044"/>
                  <a:gd name="T1" fmla="*/ 352 h 638"/>
                  <a:gd name="T2" fmla="*/ 566 w 1044"/>
                  <a:gd name="T3" fmla="*/ 0 h 638"/>
                  <a:gd name="T4" fmla="*/ 0 w 1044"/>
                  <a:gd name="T5" fmla="*/ 310 h 638"/>
                  <a:gd name="T6" fmla="*/ 0 w 1044"/>
                  <a:gd name="T7" fmla="*/ 310 h 638"/>
                  <a:gd name="T8" fmla="*/ 22 w 1044"/>
                  <a:gd name="T9" fmla="*/ 342 h 638"/>
                  <a:gd name="T10" fmla="*/ 46 w 1044"/>
                  <a:gd name="T11" fmla="*/ 372 h 638"/>
                  <a:gd name="T12" fmla="*/ 72 w 1044"/>
                  <a:gd name="T13" fmla="*/ 400 h 638"/>
                  <a:gd name="T14" fmla="*/ 98 w 1044"/>
                  <a:gd name="T15" fmla="*/ 426 h 638"/>
                  <a:gd name="T16" fmla="*/ 126 w 1044"/>
                  <a:gd name="T17" fmla="*/ 452 h 638"/>
                  <a:gd name="T18" fmla="*/ 154 w 1044"/>
                  <a:gd name="T19" fmla="*/ 476 h 638"/>
                  <a:gd name="T20" fmla="*/ 184 w 1044"/>
                  <a:gd name="T21" fmla="*/ 498 h 638"/>
                  <a:gd name="T22" fmla="*/ 214 w 1044"/>
                  <a:gd name="T23" fmla="*/ 518 h 638"/>
                  <a:gd name="T24" fmla="*/ 246 w 1044"/>
                  <a:gd name="T25" fmla="*/ 538 h 638"/>
                  <a:gd name="T26" fmla="*/ 278 w 1044"/>
                  <a:gd name="T27" fmla="*/ 554 h 638"/>
                  <a:gd name="T28" fmla="*/ 310 w 1044"/>
                  <a:gd name="T29" fmla="*/ 570 h 638"/>
                  <a:gd name="T30" fmla="*/ 344 w 1044"/>
                  <a:gd name="T31" fmla="*/ 584 h 638"/>
                  <a:gd name="T32" fmla="*/ 378 w 1044"/>
                  <a:gd name="T33" fmla="*/ 596 h 638"/>
                  <a:gd name="T34" fmla="*/ 412 w 1044"/>
                  <a:gd name="T35" fmla="*/ 608 h 638"/>
                  <a:gd name="T36" fmla="*/ 446 w 1044"/>
                  <a:gd name="T37" fmla="*/ 616 h 638"/>
                  <a:gd name="T38" fmla="*/ 482 w 1044"/>
                  <a:gd name="T39" fmla="*/ 624 h 638"/>
                  <a:gd name="T40" fmla="*/ 518 w 1044"/>
                  <a:gd name="T41" fmla="*/ 630 h 638"/>
                  <a:gd name="T42" fmla="*/ 554 w 1044"/>
                  <a:gd name="T43" fmla="*/ 634 h 638"/>
                  <a:gd name="T44" fmla="*/ 590 w 1044"/>
                  <a:gd name="T45" fmla="*/ 636 h 638"/>
                  <a:gd name="T46" fmla="*/ 626 w 1044"/>
                  <a:gd name="T47" fmla="*/ 638 h 638"/>
                  <a:gd name="T48" fmla="*/ 662 w 1044"/>
                  <a:gd name="T49" fmla="*/ 636 h 638"/>
                  <a:gd name="T50" fmla="*/ 698 w 1044"/>
                  <a:gd name="T51" fmla="*/ 634 h 638"/>
                  <a:gd name="T52" fmla="*/ 734 w 1044"/>
                  <a:gd name="T53" fmla="*/ 628 h 638"/>
                  <a:gd name="T54" fmla="*/ 770 w 1044"/>
                  <a:gd name="T55" fmla="*/ 622 h 638"/>
                  <a:gd name="T56" fmla="*/ 806 w 1044"/>
                  <a:gd name="T57" fmla="*/ 614 h 638"/>
                  <a:gd name="T58" fmla="*/ 840 w 1044"/>
                  <a:gd name="T59" fmla="*/ 604 h 638"/>
                  <a:gd name="T60" fmla="*/ 876 w 1044"/>
                  <a:gd name="T61" fmla="*/ 592 h 638"/>
                  <a:gd name="T62" fmla="*/ 910 w 1044"/>
                  <a:gd name="T63" fmla="*/ 578 h 638"/>
                  <a:gd name="T64" fmla="*/ 946 w 1044"/>
                  <a:gd name="T65" fmla="*/ 564 h 638"/>
                  <a:gd name="T66" fmla="*/ 978 w 1044"/>
                  <a:gd name="T67" fmla="*/ 546 h 638"/>
                  <a:gd name="T68" fmla="*/ 1012 w 1044"/>
                  <a:gd name="T69" fmla="*/ 526 h 638"/>
                  <a:gd name="T70" fmla="*/ 1044 w 1044"/>
                  <a:gd name="T71" fmla="*/ 506 h 638"/>
                  <a:gd name="T72" fmla="*/ 1044 w 1044"/>
                  <a:gd name="T73" fmla="*/ 506 h 638"/>
                  <a:gd name="T74" fmla="*/ 1044 w 1044"/>
                  <a:gd name="T75" fmla="*/ 506 h 638"/>
                  <a:gd name="T76" fmla="*/ 632 w 1044"/>
                  <a:gd name="T77" fmla="*/ 12 h 638"/>
                  <a:gd name="T78" fmla="*/ 534 w 1044"/>
                  <a:gd name="T79" fmla="*/ 352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044" h="638">
                    <a:moveTo>
                      <a:pt x="534" y="352"/>
                    </a:moveTo>
                    <a:lnTo>
                      <a:pt x="566" y="0"/>
                    </a:lnTo>
                    <a:lnTo>
                      <a:pt x="0" y="310"/>
                    </a:lnTo>
                    <a:lnTo>
                      <a:pt x="0" y="310"/>
                    </a:lnTo>
                    <a:lnTo>
                      <a:pt x="22" y="342"/>
                    </a:lnTo>
                    <a:lnTo>
                      <a:pt x="46" y="372"/>
                    </a:lnTo>
                    <a:lnTo>
                      <a:pt x="72" y="400"/>
                    </a:lnTo>
                    <a:lnTo>
                      <a:pt x="98" y="426"/>
                    </a:lnTo>
                    <a:lnTo>
                      <a:pt x="126" y="452"/>
                    </a:lnTo>
                    <a:lnTo>
                      <a:pt x="154" y="476"/>
                    </a:lnTo>
                    <a:lnTo>
                      <a:pt x="184" y="498"/>
                    </a:lnTo>
                    <a:lnTo>
                      <a:pt x="214" y="518"/>
                    </a:lnTo>
                    <a:lnTo>
                      <a:pt x="246" y="538"/>
                    </a:lnTo>
                    <a:lnTo>
                      <a:pt x="278" y="554"/>
                    </a:lnTo>
                    <a:lnTo>
                      <a:pt x="310" y="570"/>
                    </a:lnTo>
                    <a:lnTo>
                      <a:pt x="344" y="584"/>
                    </a:lnTo>
                    <a:lnTo>
                      <a:pt x="378" y="596"/>
                    </a:lnTo>
                    <a:lnTo>
                      <a:pt x="412" y="608"/>
                    </a:lnTo>
                    <a:lnTo>
                      <a:pt x="446" y="616"/>
                    </a:lnTo>
                    <a:lnTo>
                      <a:pt x="482" y="624"/>
                    </a:lnTo>
                    <a:lnTo>
                      <a:pt x="518" y="630"/>
                    </a:lnTo>
                    <a:lnTo>
                      <a:pt x="554" y="634"/>
                    </a:lnTo>
                    <a:lnTo>
                      <a:pt x="590" y="636"/>
                    </a:lnTo>
                    <a:lnTo>
                      <a:pt x="626" y="638"/>
                    </a:lnTo>
                    <a:lnTo>
                      <a:pt x="662" y="636"/>
                    </a:lnTo>
                    <a:lnTo>
                      <a:pt x="698" y="634"/>
                    </a:lnTo>
                    <a:lnTo>
                      <a:pt x="734" y="628"/>
                    </a:lnTo>
                    <a:lnTo>
                      <a:pt x="770" y="622"/>
                    </a:lnTo>
                    <a:lnTo>
                      <a:pt x="806" y="614"/>
                    </a:lnTo>
                    <a:lnTo>
                      <a:pt x="840" y="604"/>
                    </a:lnTo>
                    <a:lnTo>
                      <a:pt x="876" y="592"/>
                    </a:lnTo>
                    <a:lnTo>
                      <a:pt x="910" y="578"/>
                    </a:lnTo>
                    <a:lnTo>
                      <a:pt x="946" y="564"/>
                    </a:lnTo>
                    <a:lnTo>
                      <a:pt x="978" y="546"/>
                    </a:lnTo>
                    <a:lnTo>
                      <a:pt x="1012" y="526"/>
                    </a:lnTo>
                    <a:lnTo>
                      <a:pt x="1044" y="506"/>
                    </a:lnTo>
                    <a:lnTo>
                      <a:pt x="1044" y="506"/>
                    </a:lnTo>
                    <a:lnTo>
                      <a:pt x="1044" y="506"/>
                    </a:lnTo>
                    <a:lnTo>
                      <a:pt x="632" y="12"/>
                    </a:lnTo>
                    <a:lnTo>
                      <a:pt x="534" y="3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40" name="Freeform 10">
                <a:extLst>
                  <a:ext uri="{FF2B5EF4-FFF2-40B4-BE49-F238E27FC236}">
                    <a16:creationId xmlns:a16="http://schemas.microsoft.com/office/drawing/2014/main" id="{25CCE6F1-2B2E-4CE3-B1F0-CE5D3805FC46}"/>
                  </a:ext>
                </a:extLst>
              </p:cNvPr>
              <p:cNvSpPr>
                <a:spLocks/>
              </p:cNvSpPr>
              <p:nvPr/>
            </p:nvSpPr>
            <p:spPr bwMode="auto">
              <a:xfrm>
                <a:off x="5944264" y="4780783"/>
                <a:ext cx="178736" cy="108960"/>
              </a:xfrm>
              <a:custGeom>
                <a:avLst/>
                <a:gdLst>
                  <a:gd name="T0" fmla="*/ 412 w 1040"/>
                  <a:gd name="T1" fmla="*/ 620 h 634"/>
                  <a:gd name="T2" fmla="*/ 510 w 1040"/>
                  <a:gd name="T3" fmla="*/ 282 h 634"/>
                  <a:gd name="T4" fmla="*/ 478 w 1040"/>
                  <a:gd name="T5" fmla="*/ 634 h 634"/>
                  <a:gd name="T6" fmla="*/ 1040 w 1040"/>
                  <a:gd name="T7" fmla="*/ 326 h 634"/>
                  <a:gd name="T8" fmla="*/ 1040 w 1040"/>
                  <a:gd name="T9" fmla="*/ 326 h 634"/>
                  <a:gd name="T10" fmla="*/ 1018 w 1040"/>
                  <a:gd name="T11" fmla="*/ 294 h 634"/>
                  <a:gd name="T12" fmla="*/ 994 w 1040"/>
                  <a:gd name="T13" fmla="*/ 264 h 634"/>
                  <a:gd name="T14" fmla="*/ 968 w 1040"/>
                  <a:gd name="T15" fmla="*/ 236 h 634"/>
                  <a:gd name="T16" fmla="*/ 942 w 1040"/>
                  <a:gd name="T17" fmla="*/ 210 h 634"/>
                  <a:gd name="T18" fmla="*/ 914 w 1040"/>
                  <a:gd name="T19" fmla="*/ 184 h 634"/>
                  <a:gd name="T20" fmla="*/ 886 w 1040"/>
                  <a:gd name="T21" fmla="*/ 162 h 634"/>
                  <a:gd name="T22" fmla="*/ 856 w 1040"/>
                  <a:gd name="T23" fmla="*/ 140 h 634"/>
                  <a:gd name="T24" fmla="*/ 826 w 1040"/>
                  <a:gd name="T25" fmla="*/ 118 h 634"/>
                  <a:gd name="T26" fmla="*/ 796 w 1040"/>
                  <a:gd name="T27" fmla="*/ 100 h 634"/>
                  <a:gd name="T28" fmla="*/ 764 w 1040"/>
                  <a:gd name="T29" fmla="*/ 82 h 634"/>
                  <a:gd name="T30" fmla="*/ 732 w 1040"/>
                  <a:gd name="T31" fmla="*/ 66 h 634"/>
                  <a:gd name="T32" fmla="*/ 698 w 1040"/>
                  <a:gd name="T33" fmla="*/ 52 h 634"/>
                  <a:gd name="T34" fmla="*/ 664 w 1040"/>
                  <a:gd name="T35" fmla="*/ 40 h 634"/>
                  <a:gd name="T36" fmla="*/ 630 w 1040"/>
                  <a:gd name="T37" fmla="*/ 30 h 634"/>
                  <a:gd name="T38" fmla="*/ 596 w 1040"/>
                  <a:gd name="T39" fmla="*/ 20 h 634"/>
                  <a:gd name="T40" fmla="*/ 560 w 1040"/>
                  <a:gd name="T41" fmla="*/ 12 h 634"/>
                  <a:gd name="T42" fmla="*/ 524 w 1040"/>
                  <a:gd name="T43" fmla="*/ 6 h 634"/>
                  <a:gd name="T44" fmla="*/ 490 w 1040"/>
                  <a:gd name="T45" fmla="*/ 2 h 634"/>
                  <a:gd name="T46" fmla="*/ 454 w 1040"/>
                  <a:gd name="T47" fmla="*/ 0 h 634"/>
                  <a:gd name="T48" fmla="*/ 418 w 1040"/>
                  <a:gd name="T49" fmla="*/ 0 h 634"/>
                  <a:gd name="T50" fmla="*/ 382 w 1040"/>
                  <a:gd name="T51" fmla="*/ 0 h 634"/>
                  <a:gd name="T52" fmla="*/ 346 w 1040"/>
                  <a:gd name="T53" fmla="*/ 4 h 634"/>
                  <a:gd name="T54" fmla="*/ 310 w 1040"/>
                  <a:gd name="T55" fmla="*/ 8 h 634"/>
                  <a:gd name="T56" fmla="*/ 274 w 1040"/>
                  <a:gd name="T57" fmla="*/ 14 h 634"/>
                  <a:gd name="T58" fmla="*/ 238 w 1040"/>
                  <a:gd name="T59" fmla="*/ 22 h 634"/>
                  <a:gd name="T60" fmla="*/ 202 w 1040"/>
                  <a:gd name="T61" fmla="*/ 32 h 634"/>
                  <a:gd name="T62" fmla="*/ 168 w 1040"/>
                  <a:gd name="T63" fmla="*/ 44 h 634"/>
                  <a:gd name="T64" fmla="*/ 132 w 1040"/>
                  <a:gd name="T65" fmla="*/ 56 h 634"/>
                  <a:gd name="T66" fmla="*/ 98 w 1040"/>
                  <a:gd name="T67" fmla="*/ 72 h 634"/>
                  <a:gd name="T68" fmla="*/ 66 w 1040"/>
                  <a:gd name="T69" fmla="*/ 88 h 634"/>
                  <a:gd name="T70" fmla="*/ 32 w 1040"/>
                  <a:gd name="T71" fmla="*/ 108 h 634"/>
                  <a:gd name="T72" fmla="*/ 0 w 1040"/>
                  <a:gd name="T73" fmla="*/ 128 h 634"/>
                  <a:gd name="T74" fmla="*/ 270 w 1040"/>
                  <a:gd name="T75" fmla="*/ 450 h 634"/>
                  <a:gd name="T76" fmla="*/ 412 w 1040"/>
                  <a:gd name="T77" fmla="*/ 62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0" h="634">
                    <a:moveTo>
                      <a:pt x="412" y="620"/>
                    </a:moveTo>
                    <a:lnTo>
                      <a:pt x="510" y="282"/>
                    </a:lnTo>
                    <a:lnTo>
                      <a:pt x="478" y="634"/>
                    </a:lnTo>
                    <a:lnTo>
                      <a:pt x="1040" y="326"/>
                    </a:lnTo>
                    <a:lnTo>
                      <a:pt x="1040" y="326"/>
                    </a:lnTo>
                    <a:lnTo>
                      <a:pt x="1018" y="294"/>
                    </a:lnTo>
                    <a:lnTo>
                      <a:pt x="994" y="264"/>
                    </a:lnTo>
                    <a:lnTo>
                      <a:pt x="968" y="236"/>
                    </a:lnTo>
                    <a:lnTo>
                      <a:pt x="942" y="210"/>
                    </a:lnTo>
                    <a:lnTo>
                      <a:pt x="914" y="184"/>
                    </a:lnTo>
                    <a:lnTo>
                      <a:pt x="886" y="162"/>
                    </a:lnTo>
                    <a:lnTo>
                      <a:pt x="856" y="140"/>
                    </a:lnTo>
                    <a:lnTo>
                      <a:pt x="826" y="118"/>
                    </a:lnTo>
                    <a:lnTo>
                      <a:pt x="796" y="100"/>
                    </a:lnTo>
                    <a:lnTo>
                      <a:pt x="764" y="82"/>
                    </a:lnTo>
                    <a:lnTo>
                      <a:pt x="732" y="66"/>
                    </a:lnTo>
                    <a:lnTo>
                      <a:pt x="698" y="52"/>
                    </a:lnTo>
                    <a:lnTo>
                      <a:pt x="664" y="40"/>
                    </a:lnTo>
                    <a:lnTo>
                      <a:pt x="630" y="30"/>
                    </a:lnTo>
                    <a:lnTo>
                      <a:pt x="596" y="20"/>
                    </a:lnTo>
                    <a:lnTo>
                      <a:pt x="560" y="12"/>
                    </a:lnTo>
                    <a:lnTo>
                      <a:pt x="524" y="6"/>
                    </a:lnTo>
                    <a:lnTo>
                      <a:pt x="490" y="2"/>
                    </a:lnTo>
                    <a:lnTo>
                      <a:pt x="454" y="0"/>
                    </a:lnTo>
                    <a:lnTo>
                      <a:pt x="418" y="0"/>
                    </a:lnTo>
                    <a:lnTo>
                      <a:pt x="382" y="0"/>
                    </a:lnTo>
                    <a:lnTo>
                      <a:pt x="346" y="4"/>
                    </a:lnTo>
                    <a:lnTo>
                      <a:pt x="310" y="8"/>
                    </a:lnTo>
                    <a:lnTo>
                      <a:pt x="274" y="14"/>
                    </a:lnTo>
                    <a:lnTo>
                      <a:pt x="238" y="22"/>
                    </a:lnTo>
                    <a:lnTo>
                      <a:pt x="202" y="32"/>
                    </a:lnTo>
                    <a:lnTo>
                      <a:pt x="168" y="44"/>
                    </a:lnTo>
                    <a:lnTo>
                      <a:pt x="132" y="56"/>
                    </a:lnTo>
                    <a:lnTo>
                      <a:pt x="98" y="72"/>
                    </a:lnTo>
                    <a:lnTo>
                      <a:pt x="66" y="88"/>
                    </a:lnTo>
                    <a:lnTo>
                      <a:pt x="32" y="108"/>
                    </a:lnTo>
                    <a:lnTo>
                      <a:pt x="0" y="128"/>
                    </a:lnTo>
                    <a:lnTo>
                      <a:pt x="270" y="450"/>
                    </a:lnTo>
                    <a:lnTo>
                      <a:pt x="412" y="62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241" name="Group 2240">
            <a:extLst>
              <a:ext uri="{FF2B5EF4-FFF2-40B4-BE49-F238E27FC236}">
                <a16:creationId xmlns:a16="http://schemas.microsoft.com/office/drawing/2014/main" id="{BCF33444-99F5-45B0-A4C3-16039D0EE11E}"/>
              </a:ext>
            </a:extLst>
          </p:cNvPr>
          <p:cNvGrpSpPr/>
          <p:nvPr/>
        </p:nvGrpSpPr>
        <p:grpSpPr>
          <a:xfrm>
            <a:off x="8982297" y="3980530"/>
            <a:ext cx="612775" cy="612775"/>
            <a:chOff x="7149933" y="4581723"/>
            <a:chExt cx="612775" cy="612775"/>
          </a:xfrm>
        </p:grpSpPr>
        <p:sp>
          <p:nvSpPr>
            <p:cNvPr id="2242" name="Oval 2241">
              <a:extLst>
                <a:ext uri="{FF2B5EF4-FFF2-40B4-BE49-F238E27FC236}">
                  <a16:creationId xmlns:a16="http://schemas.microsoft.com/office/drawing/2014/main" id="{6C6F62E0-0DEA-47B2-B742-CDAECF4A12F2}"/>
                </a:ext>
              </a:extLst>
            </p:cNvPr>
            <p:cNvSpPr/>
            <p:nvPr/>
          </p:nvSpPr>
          <p:spPr bwMode="ltGray">
            <a:xfrm>
              <a:off x="7149933" y="4581723"/>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243" name="Group 15">
              <a:extLst>
                <a:ext uri="{FF2B5EF4-FFF2-40B4-BE49-F238E27FC236}">
                  <a16:creationId xmlns:a16="http://schemas.microsoft.com/office/drawing/2014/main" id="{BA44B27D-312B-4801-AD8F-1DC94E63811D}"/>
                </a:ext>
              </a:extLst>
            </p:cNvPr>
            <p:cNvGrpSpPr>
              <a:grpSpLocks noChangeAspect="1"/>
            </p:cNvGrpSpPr>
            <p:nvPr/>
          </p:nvGrpSpPr>
          <p:grpSpPr bwMode="auto">
            <a:xfrm>
              <a:off x="7235203" y="4723392"/>
              <a:ext cx="446758" cy="359113"/>
              <a:chOff x="383" y="771"/>
              <a:chExt cx="2722" cy="2188"/>
            </a:xfrm>
          </p:grpSpPr>
          <p:sp>
            <p:nvSpPr>
              <p:cNvPr id="2244" name="Freeform 17">
                <a:extLst>
                  <a:ext uri="{FF2B5EF4-FFF2-40B4-BE49-F238E27FC236}">
                    <a16:creationId xmlns:a16="http://schemas.microsoft.com/office/drawing/2014/main" id="{05AB2C88-CA05-420D-ABE1-49A01B253F83}"/>
                  </a:ext>
                </a:extLst>
              </p:cNvPr>
              <p:cNvSpPr>
                <a:spLocks/>
              </p:cNvSpPr>
              <p:nvPr/>
            </p:nvSpPr>
            <p:spPr bwMode="auto">
              <a:xfrm>
                <a:off x="1383" y="2085"/>
                <a:ext cx="1048" cy="874"/>
              </a:xfrm>
              <a:custGeom>
                <a:avLst/>
                <a:gdLst>
                  <a:gd name="T0" fmla="*/ 462 w 1048"/>
                  <a:gd name="T1" fmla="*/ 0 h 874"/>
                  <a:gd name="T2" fmla="*/ 570 w 1048"/>
                  <a:gd name="T3" fmla="*/ 96 h 874"/>
                  <a:gd name="T4" fmla="*/ 664 w 1048"/>
                  <a:gd name="T5" fmla="*/ 186 h 874"/>
                  <a:gd name="T6" fmla="*/ 756 w 1048"/>
                  <a:gd name="T7" fmla="*/ 266 h 874"/>
                  <a:gd name="T8" fmla="*/ 822 w 1048"/>
                  <a:gd name="T9" fmla="*/ 314 h 874"/>
                  <a:gd name="T10" fmla="*/ 868 w 1048"/>
                  <a:gd name="T11" fmla="*/ 338 h 874"/>
                  <a:gd name="T12" fmla="*/ 912 w 1048"/>
                  <a:gd name="T13" fmla="*/ 354 h 874"/>
                  <a:gd name="T14" fmla="*/ 934 w 1048"/>
                  <a:gd name="T15" fmla="*/ 358 h 874"/>
                  <a:gd name="T16" fmla="*/ 928 w 1048"/>
                  <a:gd name="T17" fmla="*/ 438 h 874"/>
                  <a:gd name="T18" fmla="*/ 880 w 1048"/>
                  <a:gd name="T19" fmla="*/ 434 h 874"/>
                  <a:gd name="T20" fmla="*/ 786 w 1048"/>
                  <a:gd name="T21" fmla="*/ 436 h 874"/>
                  <a:gd name="T22" fmla="*/ 694 w 1048"/>
                  <a:gd name="T23" fmla="*/ 454 h 874"/>
                  <a:gd name="T24" fmla="*/ 604 w 1048"/>
                  <a:gd name="T25" fmla="*/ 486 h 874"/>
                  <a:gd name="T26" fmla="*/ 560 w 1048"/>
                  <a:gd name="T27" fmla="*/ 506 h 874"/>
                  <a:gd name="T28" fmla="*/ 486 w 1048"/>
                  <a:gd name="T29" fmla="*/ 544 h 874"/>
                  <a:gd name="T30" fmla="*/ 304 w 1048"/>
                  <a:gd name="T31" fmla="*/ 646 h 874"/>
                  <a:gd name="T32" fmla="*/ 204 w 1048"/>
                  <a:gd name="T33" fmla="*/ 696 h 874"/>
                  <a:gd name="T34" fmla="*/ 152 w 1048"/>
                  <a:gd name="T35" fmla="*/ 718 h 874"/>
                  <a:gd name="T36" fmla="*/ 50 w 1048"/>
                  <a:gd name="T37" fmla="*/ 756 h 874"/>
                  <a:gd name="T38" fmla="*/ 0 w 1048"/>
                  <a:gd name="T39" fmla="*/ 768 h 874"/>
                  <a:gd name="T40" fmla="*/ 128 w 1048"/>
                  <a:gd name="T41" fmla="*/ 818 h 874"/>
                  <a:gd name="T42" fmla="*/ 266 w 1048"/>
                  <a:gd name="T43" fmla="*/ 854 h 874"/>
                  <a:gd name="T44" fmla="*/ 334 w 1048"/>
                  <a:gd name="T45" fmla="*/ 866 h 874"/>
                  <a:gd name="T46" fmla="*/ 404 w 1048"/>
                  <a:gd name="T47" fmla="*/ 872 h 874"/>
                  <a:gd name="T48" fmla="*/ 474 w 1048"/>
                  <a:gd name="T49" fmla="*/ 872 h 874"/>
                  <a:gd name="T50" fmla="*/ 542 w 1048"/>
                  <a:gd name="T51" fmla="*/ 868 h 874"/>
                  <a:gd name="T52" fmla="*/ 610 w 1048"/>
                  <a:gd name="T53" fmla="*/ 856 h 874"/>
                  <a:gd name="T54" fmla="*/ 674 w 1048"/>
                  <a:gd name="T55" fmla="*/ 838 h 874"/>
                  <a:gd name="T56" fmla="*/ 736 w 1048"/>
                  <a:gd name="T57" fmla="*/ 810 h 874"/>
                  <a:gd name="T58" fmla="*/ 796 w 1048"/>
                  <a:gd name="T59" fmla="*/ 776 h 874"/>
                  <a:gd name="T60" fmla="*/ 850 w 1048"/>
                  <a:gd name="T61" fmla="*/ 734 h 874"/>
                  <a:gd name="T62" fmla="*/ 902 w 1048"/>
                  <a:gd name="T63" fmla="*/ 684 h 874"/>
                  <a:gd name="T64" fmla="*/ 948 w 1048"/>
                  <a:gd name="T65" fmla="*/ 622 h 874"/>
                  <a:gd name="T66" fmla="*/ 988 w 1048"/>
                  <a:gd name="T67" fmla="*/ 552 h 874"/>
                  <a:gd name="T68" fmla="*/ 1006 w 1048"/>
                  <a:gd name="T69" fmla="*/ 514 h 874"/>
                  <a:gd name="T70" fmla="*/ 1032 w 1048"/>
                  <a:gd name="T71" fmla="*/ 442 h 874"/>
                  <a:gd name="T72" fmla="*/ 1046 w 1048"/>
                  <a:gd name="T73" fmla="*/ 378 h 874"/>
                  <a:gd name="T74" fmla="*/ 1048 w 1048"/>
                  <a:gd name="T75" fmla="*/ 322 h 874"/>
                  <a:gd name="T76" fmla="*/ 1042 w 1048"/>
                  <a:gd name="T77" fmla="*/ 270 h 874"/>
                  <a:gd name="T78" fmla="*/ 1026 w 1048"/>
                  <a:gd name="T79" fmla="*/ 224 h 874"/>
                  <a:gd name="T80" fmla="*/ 1000 w 1048"/>
                  <a:gd name="T81" fmla="*/ 184 h 874"/>
                  <a:gd name="T82" fmla="*/ 966 w 1048"/>
                  <a:gd name="T83" fmla="*/ 150 h 874"/>
                  <a:gd name="T84" fmla="*/ 926 w 1048"/>
                  <a:gd name="T85" fmla="*/ 120 h 874"/>
                  <a:gd name="T86" fmla="*/ 878 w 1048"/>
                  <a:gd name="T87" fmla="*/ 94 h 874"/>
                  <a:gd name="T88" fmla="*/ 824 w 1048"/>
                  <a:gd name="T89" fmla="*/ 72 h 874"/>
                  <a:gd name="T90" fmla="*/ 736 w 1048"/>
                  <a:gd name="T91" fmla="*/ 44 h 874"/>
                  <a:gd name="T92" fmla="*/ 604 w 1048"/>
                  <a:gd name="T93" fmla="*/ 18 h 874"/>
                  <a:gd name="T94" fmla="*/ 462 w 1048"/>
                  <a:gd name="T95" fmla="*/ 0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8" h="874">
                    <a:moveTo>
                      <a:pt x="462" y="0"/>
                    </a:moveTo>
                    <a:lnTo>
                      <a:pt x="462" y="0"/>
                    </a:lnTo>
                    <a:lnTo>
                      <a:pt x="518" y="48"/>
                    </a:lnTo>
                    <a:lnTo>
                      <a:pt x="570" y="96"/>
                    </a:lnTo>
                    <a:lnTo>
                      <a:pt x="570" y="96"/>
                    </a:lnTo>
                    <a:lnTo>
                      <a:pt x="664" y="186"/>
                    </a:lnTo>
                    <a:lnTo>
                      <a:pt x="710" y="228"/>
                    </a:lnTo>
                    <a:lnTo>
                      <a:pt x="756" y="266"/>
                    </a:lnTo>
                    <a:lnTo>
                      <a:pt x="800" y="300"/>
                    </a:lnTo>
                    <a:lnTo>
                      <a:pt x="822" y="314"/>
                    </a:lnTo>
                    <a:lnTo>
                      <a:pt x="846" y="326"/>
                    </a:lnTo>
                    <a:lnTo>
                      <a:pt x="868" y="338"/>
                    </a:lnTo>
                    <a:lnTo>
                      <a:pt x="890" y="348"/>
                    </a:lnTo>
                    <a:lnTo>
                      <a:pt x="912" y="354"/>
                    </a:lnTo>
                    <a:lnTo>
                      <a:pt x="934" y="358"/>
                    </a:lnTo>
                    <a:lnTo>
                      <a:pt x="934" y="358"/>
                    </a:lnTo>
                    <a:lnTo>
                      <a:pt x="938" y="360"/>
                    </a:lnTo>
                    <a:lnTo>
                      <a:pt x="928" y="438"/>
                    </a:lnTo>
                    <a:lnTo>
                      <a:pt x="928" y="438"/>
                    </a:lnTo>
                    <a:lnTo>
                      <a:pt x="880" y="434"/>
                    </a:lnTo>
                    <a:lnTo>
                      <a:pt x="832" y="432"/>
                    </a:lnTo>
                    <a:lnTo>
                      <a:pt x="786" y="436"/>
                    </a:lnTo>
                    <a:lnTo>
                      <a:pt x="740" y="444"/>
                    </a:lnTo>
                    <a:lnTo>
                      <a:pt x="694" y="454"/>
                    </a:lnTo>
                    <a:lnTo>
                      <a:pt x="648" y="468"/>
                    </a:lnTo>
                    <a:lnTo>
                      <a:pt x="604" y="486"/>
                    </a:lnTo>
                    <a:lnTo>
                      <a:pt x="560" y="506"/>
                    </a:lnTo>
                    <a:lnTo>
                      <a:pt x="560" y="506"/>
                    </a:lnTo>
                    <a:lnTo>
                      <a:pt x="524" y="524"/>
                    </a:lnTo>
                    <a:lnTo>
                      <a:pt x="486" y="544"/>
                    </a:lnTo>
                    <a:lnTo>
                      <a:pt x="400" y="594"/>
                    </a:lnTo>
                    <a:lnTo>
                      <a:pt x="304" y="646"/>
                    </a:lnTo>
                    <a:lnTo>
                      <a:pt x="254" y="672"/>
                    </a:lnTo>
                    <a:lnTo>
                      <a:pt x="204" y="696"/>
                    </a:lnTo>
                    <a:lnTo>
                      <a:pt x="204" y="696"/>
                    </a:lnTo>
                    <a:lnTo>
                      <a:pt x="152" y="718"/>
                    </a:lnTo>
                    <a:lnTo>
                      <a:pt x="102" y="738"/>
                    </a:lnTo>
                    <a:lnTo>
                      <a:pt x="50" y="756"/>
                    </a:lnTo>
                    <a:lnTo>
                      <a:pt x="0" y="768"/>
                    </a:lnTo>
                    <a:lnTo>
                      <a:pt x="0" y="768"/>
                    </a:lnTo>
                    <a:lnTo>
                      <a:pt x="62" y="796"/>
                    </a:lnTo>
                    <a:lnTo>
                      <a:pt x="128" y="818"/>
                    </a:lnTo>
                    <a:lnTo>
                      <a:pt x="196" y="838"/>
                    </a:lnTo>
                    <a:lnTo>
                      <a:pt x="266" y="854"/>
                    </a:lnTo>
                    <a:lnTo>
                      <a:pt x="300" y="860"/>
                    </a:lnTo>
                    <a:lnTo>
                      <a:pt x="334" y="866"/>
                    </a:lnTo>
                    <a:lnTo>
                      <a:pt x="370" y="870"/>
                    </a:lnTo>
                    <a:lnTo>
                      <a:pt x="404" y="872"/>
                    </a:lnTo>
                    <a:lnTo>
                      <a:pt x="440" y="874"/>
                    </a:lnTo>
                    <a:lnTo>
                      <a:pt x="474" y="872"/>
                    </a:lnTo>
                    <a:lnTo>
                      <a:pt x="508" y="870"/>
                    </a:lnTo>
                    <a:lnTo>
                      <a:pt x="542" y="868"/>
                    </a:lnTo>
                    <a:lnTo>
                      <a:pt x="576" y="862"/>
                    </a:lnTo>
                    <a:lnTo>
                      <a:pt x="610" y="856"/>
                    </a:lnTo>
                    <a:lnTo>
                      <a:pt x="642" y="848"/>
                    </a:lnTo>
                    <a:lnTo>
                      <a:pt x="674" y="838"/>
                    </a:lnTo>
                    <a:lnTo>
                      <a:pt x="706" y="824"/>
                    </a:lnTo>
                    <a:lnTo>
                      <a:pt x="736" y="810"/>
                    </a:lnTo>
                    <a:lnTo>
                      <a:pt x="766" y="794"/>
                    </a:lnTo>
                    <a:lnTo>
                      <a:pt x="796" y="776"/>
                    </a:lnTo>
                    <a:lnTo>
                      <a:pt x="824" y="756"/>
                    </a:lnTo>
                    <a:lnTo>
                      <a:pt x="850" y="734"/>
                    </a:lnTo>
                    <a:lnTo>
                      <a:pt x="876" y="710"/>
                    </a:lnTo>
                    <a:lnTo>
                      <a:pt x="902" y="684"/>
                    </a:lnTo>
                    <a:lnTo>
                      <a:pt x="924" y="654"/>
                    </a:lnTo>
                    <a:lnTo>
                      <a:pt x="948" y="622"/>
                    </a:lnTo>
                    <a:lnTo>
                      <a:pt x="968" y="588"/>
                    </a:lnTo>
                    <a:lnTo>
                      <a:pt x="988" y="552"/>
                    </a:lnTo>
                    <a:lnTo>
                      <a:pt x="988" y="552"/>
                    </a:lnTo>
                    <a:lnTo>
                      <a:pt x="1006" y="514"/>
                    </a:lnTo>
                    <a:lnTo>
                      <a:pt x="1020" y="478"/>
                    </a:lnTo>
                    <a:lnTo>
                      <a:pt x="1032" y="442"/>
                    </a:lnTo>
                    <a:lnTo>
                      <a:pt x="1040" y="410"/>
                    </a:lnTo>
                    <a:lnTo>
                      <a:pt x="1046" y="378"/>
                    </a:lnTo>
                    <a:lnTo>
                      <a:pt x="1048" y="350"/>
                    </a:lnTo>
                    <a:lnTo>
                      <a:pt x="1048" y="322"/>
                    </a:lnTo>
                    <a:lnTo>
                      <a:pt x="1046" y="294"/>
                    </a:lnTo>
                    <a:lnTo>
                      <a:pt x="1042" y="270"/>
                    </a:lnTo>
                    <a:lnTo>
                      <a:pt x="1034" y="246"/>
                    </a:lnTo>
                    <a:lnTo>
                      <a:pt x="1026" y="224"/>
                    </a:lnTo>
                    <a:lnTo>
                      <a:pt x="1014" y="204"/>
                    </a:lnTo>
                    <a:lnTo>
                      <a:pt x="1000" y="184"/>
                    </a:lnTo>
                    <a:lnTo>
                      <a:pt x="984" y="166"/>
                    </a:lnTo>
                    <a:lnTo>
                      <a:pt x="966" y="150"/>
                    </a:lnTo>
                    <a:lnTo>
                      <a:pt x="946" y="134"/>
                    </a:lnTo>
                    <a:lnTo>
                      <a:pt x="926" y="120"/>
                    </a:lnTo>
                    <a:lnTo>
                      <a:pt x="902" y="106"/>
                    </a:lnTo>
                    <a:lnTo>
                      <a:pt x="878" y="94"/>
                    </a:lnTo>
                    <a:lnTo>
                      <a:pt x="852" y="82"/>
                    </a:lnTo>
                    <a:lnTo>
                      <a:pt x="824" y="72"/>
                    </a:lnTo>
                    <a:lnTo>
                      <a:pt x="796" y="62"/>
                    </a:lnTo>
                    <a:lnTo>
                      <a:pt x="736" y="44"/>
                    </a:lnTo>
                    <a:lnTo>
                      <a:pt x="672" y="30"/>
                    </a:lnTo>
                    <a:lnTo>
                      <a:pt x="604" y="18"/>
                    </a:lnTo>
                    <a:lnTo>
                      <a:pt x="534" y="10"/>
                    </a:lnTo>
                    <a:lnTo>
                      <a:pt x="462" y="0"/>
                    </a:lnTo>
                    <a:lnTo>
                      <a:pt x="462"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45" name="Freeform 18">
                <a:extLst>
                  <a:ext uri="{FF2B5EF4-FFF2-40B4-BE49-F238E27FC236}">
                    <a16:creationId xmlns:a16="http://schemas.microsoft.com/office/drawing/2014/main" id="{F4A9B576-24D5-47D1-ADF3-A3D47D40D96B}"/>
                  </a:ext>
                </a:extLst>
              </p:cNvPr>
              <p:cNvSpPr>
                <a:spLocks/>
              </p:cNvSpPr>
              <p:nvPr/>
            </p:nvSpPr>
            <p:spPr bwMode="auto">
              <a:xfrm>
                <a:off x="383" y="1755"/>
                <a:ext cx="1748" cy="1030"/>
              </a:xfrm>
              <a:custGeom>
                <a:avLst/>
                <a:gdLst>
                  <a:gd name="T0" fmla="*/ 1524 w 1748"/>
                  <a:gd name="T1" fmla="*/ 764 h 1030"/>
                  <a:gd name="T2" fmla="*/ 1634 w 1748"/>
                  <a:gd name="T3" fmla="*/ 718 h 1030"/>
                  <a:gd name="T4" fmla="*/ 1718 w 1748"/>
                  <a:gd name="T5" fmla="*/ 696 h 1030"/>
                  <a:gd name="T6" fmla="*/ 1748 w 1748"/>
                  <a:gd name="T7" fmla="*/ 690 h 1030"/>
                  <a:gd name="T8" fmla="*/ 1688 w 1748"/>
                  <a:gd name="T9" fmla="*/ 644 h 1030"/>
                  <a:gd name="T10" fmla="*/ 1516 w 1748"/>
                  <a:gd name="T11" fmla="*/ 484 h 1030"/>
                  <a:gd name="T12" fmla="*/ 1458 w 1748"/>
                  <a:gd name="T13" fmla="*/ 432 h 1030"/>
                  <a:gd name="T14" fmla="*/ 1400 w 1748"/>
                  <a:gd name="T15" fmla="*/ 384 h 1030"/>
                  <a:gd name="T16" fmla="*/ 1342 w 1748"/>
                  <a:gd name="T17" fmla="*/ 344 h 1030"/>
                  <a:gd name="T18" fmla="*/ 1284 w 1748"/>
                  <a:gd name="T19" fmla="*/ 316 h 1030"/>
                  <a:gd name="T20" fmla="*/ 1174 w 1748"/>
                  <a:gd name="T21" fmla="*/ 306 h 1030"/>
                  <a:gd name="T22" fmla="*/ 974 w 1748"/>
                  <a:gd name="T23" fmla="*/ 286 h 1030"/>
                  <a:gd name="T24" fmla="*/ 888 w 1748"/>
                  <a:gd name="T25" fmla="*/ 270 h 1030"/>
                  <a:gd name="T26" fmla="*/ 846 w 1748"/>
                  <a:gd name="T27" fmla="*/ 260 h 1030"/>
                  <a:gd name="T28" fmla="*/ 770 w 1748"/>
                  <a:gd name="T29" fmla="*/ 230 h 1030"/>
                  <a:gd name="T30" fmla="*/ 702 w 1748"/>
                  <a:gd name="T31" fmla="*/ 194 h 1030"/>
                  <a:gd name="T32" fmla="*/ 608 w 1748"/>
                  <a:gd name="T33" fmla="*/ 134 h 1030"/>
                  <a:gd name="T34" fmla="*/ 516 w 1748"/>
                  <a:gd name="T35" fmla="*/ 74 h 1030"/>
                  <a:gd name="T36" fmla="*/ 450 w 1748"/>
                  <a:gd name="T37" fmla="*/ 40 h 1030"/>
                  <a:gd name="T38" fmla="*/ 374 w 1748"/>
                  <a:gd name="T39" fmla="*/ 14 h 1030"/>
                  <a:gd name="T40" fmla="*/ 334 w 1748"/>
                  <a:gd name="T41" fmla="*/ 4 h 1030"/>
                  <a:gd name="T42" fmla="*/ 292 w 1748"/>
                  <a:gd name="T43" fmla="*/ 0 h 1030"/>
                  <a:gd name="T44" fmla="*/ 254 w 1748"/>
                  <a:gd name="T45" fmla="*/ 0 h 1030"/>
                  <a:gd name="T46" fmla="*/ 216 w 1748"/>
                  <a:gd name="T47" fmla="*/ 8 h 1030"/>
                  <a:gd name="T48" fmla="*/ 182 w 1748"/>
                  <a:gd name="T49" fmla="*/ 18 h 1030"/>
                  <a:gd name="T50" fmla="*/ 150 w 1748"/>
                  <a:gd name="T51" fmla="*/ 34 h 1030"/>
                  <a:gd name="T52" fmla="*/ 96 w 1748"/>
                  <a:gd name="T53" fmla="*/ 78 h 1030"/>
                  <a:gd name="T54" fmla="*/ 52 w 1748"/>
                  <a:gd name="T55" fmla="*/ 134 h 1030"/>
                  <a:gd name="T56" fmla="*/ 22 w 1748"/>
                  <a:gd name="T57" fmla="*/ 198 h 1030"/>
                  <a:gd name="T58" fmla="*/ 4 w 1748"/>
                  <a:gd name="T59" fmla="*/ 268 h 1030"/>
                  <a:gd name="T60" fmla="*/ 0 w 1748"/>
                  <a:gd name="T61" fmla="*/ 340 h 1030"/>
                  <a:gd name="T62" fmla="*/ 4 w 1748"/>
                  <a:gd name="T63" fmla="*/ 376 h 1030"/>
                  <a:gd name="T64" fmla="*/ 22 w 1748"/>
                  <a:gd name="T65" fmla="*/ 446 h 1030"/>
                  <a:gd name="T66" fmla="*/ 48 w 1748"/>
                  <a:gd name="T67" fmla="*/ 510 h 1030"/>
                  <a:gd name="T68" fmla="*/ 82 w 1748"/>
                  <a:gd name="T69" fmla="*/ 566 h 1030"/>
                  <a:gd name="T70" fmla="*/ 124 w 1748"/>
                  <a:gd name="T71" fmla="*/ 620 h 1030"/>
                  <a:gd name="T72" fmla="*/ 172 w 1748"/>
                  <a:gd name="T73" fmla="*/ 666 h 1030"/>
                  <a:gd name="T74" fmla="*/ 224 w 1748"/>
                  <a:gd name="T75" fmla="*/ 710 h 1030"/>
                  <a:gd name="T76" fmla="*/ 282 w 1748"/>
                  <a:gd name="T77" fmla="*/ 750 h 1030"/>
                  <a:gd name="T78" fmla="*/ 408 w 1748"/>
                  <a:gd name="T79" fmla="*/ 820 h 1030"/>
                  <a:gd name="T80" fmla="*/ 542 w 1748"/>
                  <a:gd name="T81" fmla="*/ 882 h 1030"/>
                  <a:gd name="T82" fmla="*/ 740 w 1748"/>
                  <a:gd name="T83" fmla="*/ 968 h 1030"/>
                  <a:gd name="T84" fmla="*/ 862 w 1748"/>
                  <a:gd name="T85" fmla="*/ 1028 h 1030"/>
                  <a:gd name="T86" fmla="*/ 896 w 1748"/>
                  <a:gd name="T87" fmla="*/ 1030 h 1030"/>
                  <a:gd name="T88" fmla="*/ 968 w 1748"/>
                  <a:gd name="T89" fmla="*/ 1022 h 1030"/>
                  <a:gd name="T90" fmla="*/ 1046 w 1748"/>
                  <a:gd name="T91" fmla="*/ 1004 h 1030"/>
                  <a:gd name="T92" fmla="*/ 1128 w 1748"/>
                  <a:gd name="T93" fmla="*/ 972 h 1030"/>
                  <a:gd name="T94" fmla="*/ 1170 w 1748"/>
                  <a:gd name="T95" fmla="*/ 954 h 1030"/>
                  <a:gd name="T96" fmla="*/ 1266 w 1748"/>
                  <a:gd name="T97" fmla="*/ 906 h 1030"/>
                  <a:gd name="T98" fmla="*/ 1446 w 1748"/>
                  <a:gd name="T99" fmla="*/ 804 h 1030"/>
                  <a:gd name="T100" fmla="*/ 1524 w 1748"/>
                  <a:gd name="T101" fmla="*/ 764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48" h="1030">
                    <a:moveTo>
                      <a:pt x="1524" y="764"/>
                    </a:moveTo>
                    <a:lnTo>
                      <a:pt x="1524" y="764"/>
                    </a:lnTo>
                    <a:lnTo>
                      <a:pt x="1578" y="740"/>
                    </a:lnTo>
                    <a:lnTo>
                      <a:pt x="1634" y="718"/>
                    </a:lnTo>
                    <a:lnTo>
                      <a:pt x="1690" y="702"/>
                    </a:lnTo>
                    <a:lnTo>
                      <a:pt x="1718" y="696"/>
                    </a:lnTo>
                    <a:lnTo>
                      <a:pt x="1748" y="690"/>
                    </a:lnTo>
                    <a:lnTo>
                      <a:pt x="1748" y="690"/>
                    </a:lnTo>
                    <a:lnTo>
                      <a:pt x="1718" y="668"/>
                    </a:lnTo>
                    <a:lnTo>
                      <a:pt x="1688" y="644"/>
                    </a:lnTo>
                    <a:lnTo>
                      <a:pt x="1628" y="592"/>
                    </a:lnTo>
                    <a:lnTo>
                      <a:pt x="1516" y="484"/>
                    </a:lnTo>
                    <a:lnTo>
                      <a:pt x="1516" y="484"/>
                    </a:lnTo>
                    <a:lnTo>
                      <a:pt x="1458" y="432"/>
                    </a:lnTo>
                    <a:lnTo>
                      <a:pt x="1428" y="406"/>
                    </a:lnTo>
                    <a:lnTo>
                      <a:pt x="1400" y="384"/>
                    </a:lnTo>
                    <a:lnTo>
                      <a:pt x="1370" y="362"/>
                    </a:lnTo>
                    <a:lnTo>
                      <a:pt x="1342" y="344"/>
                    </a:lnTo>
                    <a:lnTo>
                      <a:pt x="1314" y="328"/>
                    </a:lnTo>
                    <a:lnTo>
                      <a:pt x="1284" y="316"/>
                    </a:lnTo>
                    <a:lnTo>
                      <a:pt x="1284" y="316"/>
                    </a:lnTo>
                    <a:lnTo>
                      <a:pt x="1174" y="306"/>
                    </a:lnTo>
                    <a:lnTo>
                      <a:pt x="1070" y="298"/>
                    </a:lnTo>
                    <a:lnTo>
                      <a:pt x="974" y="286"/>
                    </a:lnTo>
                    <a:lnTo>
                      <a:pt x="930" y="278"/>
                    </a:lnTo>
                    <a:lnTo>
                      <a:pt x="888" y="270"/>
                    </a:lnTo>
                    <a:lnTo>
                      <a:pt x="888" y="270"/>
                    </a:lnTo>
                    <a:lnTo>
                      <a:pt x="846" y="260"/>
                    </a:lnTo>
                    <a:lnTo>
                      <a:pt x="806" y="246"/>
                    </a:lnTo>
                    <a:lnTo>
                      <a:pt x="770" y="230"/>
                    </a:lnTo>
                    <a:lnTo>
                      <a:pt x="734" y="212"/>
                    </a:lnTo>
                    <a:lnTo>
                      <a:pt x="702" y="194"/>
                    </a:lnTo>
                    <a:lnTo>
                      <a:pt x="670" y="174"/>
                    </a:lnTo>
                    <a:lnTo>
                      <a:pt x="608" y="134"/>
                    </a:lnTo>
                    <a:lnTo>
                      <a:pt x="548" y="94"/>
                    </a:lnTo>
                    <a:lnTo>
                      <a:pt x="516" y="74"/>
                    </a:lnTo>
                    <a:lnTo>
                      <a:pt x="484" y="56"/>
                    </a:lnTo>
                    <a:lnTo>
                      <a:pt x="450" y="40"/>
                    </a:lnTo>
                    <a:lnTo>
                      <a:pt x="414" y="26"/>
                    </a:lnTo>
                    <a:lnTo>
                      <a:pt x="374" y="14"/>
                    </a:lnTo>
                    <a:lnTo>
                      <a:pt x="334" y="4"/>
                    </a:lnTo>
                    <a:lnTo>
                      <a:pt x="334" y="4"/>
                    </a:lnTo>
                    <a:lnTo>
                      <a:pt x="312" y="2"/>
                    </a:lnTo>
                    <a:lnTo>
                      <a:pt x="292" y="0"/>
                    </a:lnTo>
                    <a:lnTo>
                      <a:pt x="272" y="0"/>
                    </a:lnTo>
                    <a:lnTo>
                      <a:pt x="254" y="0"/>
                    </a:lnTo>
                    <a:lnTo>
                      <a:pt x="234" y="4"/>
                    </a:lnTo>
                    <a:lnTo>
                      <a:pt x="216" y="8"/>
                    </a:lnTo>
                    <a:lnTo>
                      <a:pt x="198" y="12"/>
                    </a:lnTo>
                    <a:lnTo>
                      <a:pt x="182" y="18"/>
                    </a:lnTo>
                    <a:lnTo>
                      <a:pt x="166" y="26"/>
                    </a:lnTo>
                    <a:lnTo>
                      <a:pt x="150" y="34"/>
                    </a:lnTo>
                    <a:lnTo>
                      <a:pt x="122" y="54"/>
                    </a:lnTo>
                    <a:lnTo>
                      <a:pt x="96" y="78"/>
                    </a:lnTo>
                    <a:lnTo>
                      <a:pt x="72" y="104"/>
                    </a:lnTo>
                    <a:lnTo>
                      <a:pt x="52" y="134"/>
                    </a:lnTo>
                    <a:lnTo>
                      <a:pt x="36" y="164"/>
                    </a:lnTo>
                    <a:lnTo>
                      <a:pt x="22" y="198"/>
                    </a:lnTo>
                    <a:lnTo>
                      <a:pt x="10" y="232"/>
                    </a:lnTo>
                    <a:lnTo>
                      <a:pt x="4" y="268"/>
                    </a:lnTo>
                    <a:lnTo>
                      <a:pt x="0" y="304"/>
                    </a:lnTo>
                    <a:lnTo>
                      <a:pt x="0" y="340"/>
                    </a:lnTo>
                    <a:lnTo>
                      <a:pt x="4" y="376"/>
                    </a:lnTo>
                    <a:lnTo>
                      <a:pt x="4" y="376"/>
                    </a:lnTo>
                    <a:lnTo>
                      <a:pt x="12" y="412"/>
                    </a:lnTo>
                    <a:lnTo>
                      <a:pt x="22" y="446"/>
                    </a:lnTo>
                    <a:lnTo>
                      <a:pt x="34" y="478"/>
                    </a:lnTo>
                    <a:lnTo>
                      <a:pt x="48" y="510"/>
                    </a:lnTo>
                    <a:lnTo>
                      <a:pt x="64" y="538"/>
                    </a:lnTo>
                    <a:lnTo>
                      <a:pt x="82" y="566"/>
                    </a:lnTo>
                    <a:lnTo>
                      <a:pt x="102" y="594"/>
                    </a:lnTo>
                    <a:lnTo>
                      <a:pt x="124" y="620"/>
                    </a:lnTo>
                    <a:lnTo>
                      <a:pt x="146" y="644"/>
                    </a:lnTo>
                    <a:lnTo>
                      <a:pt x="172" y="666"/>
                    </a:lnTo>
                    <a:lnTo>
                      <a:pt x="198" y="690"/>
                    </a:lnTo>
                    <a:lnTo>
                      <a:pt x="224" y="710"/>
                    </a:lnTo>
                    <a:lnTo>
                      <a:pt x="252" y="730"/>
                    </a:lnTo>
                    <a:lnTo>
                      <a:pt x="282" y="750"/>
                    </a:lnTo>
                    <a:lnTo>
                      <a:pt x="344" y="786"/>
                    </a:lnTo>
                    <a:lnTo>
                      <a:pt x="408" y="820"/>
                    </a:lnTo>
                    <a:lnTo>
                      <a:pt x="474" y="852"/>
                    </a:lnTo>
                    <a:lnTo>
                      <a:pt x="542" y="882"/>
                    </a:lnTo>
                    <a:lnTo>
                      <a:pt x="608" y="910"/>
                    </a:lnTo>
                    <a:lnTo>
                      <a:pt x="740" y="968"/>
                    </a:lnTo>
                    <a:lnTo>
                      <a:pt x="802" y="998"/>
                    </a:lnTo>
                    <a:lnTo>
                      <a:pt x="862" y="1028"/>
                    </a:lnTo>
                    <a:lnTo>
                      <a:pt x="862" y="1028"/>
                    </a:lnTo>
                    <a:lnTo>
                      <a:pt x="896" y="1030"/>
                    </a:lnTo>
                    <a:lnTo>
                      <a:pt x="932" y="1028"/>
                    </a:lnTo>
                    <a:lnTo>
                      <a:pt x="968" y="1022"/>
                    </a:lnTo>
                    <a:lnTo>
                      <a:pt x="1008" y="1014"/>
                    </a:lnTo>
                    <a:lnTo>
                      <a:pt x="1046" y="1004"/>
                    </a:lnTo>
                    <a:lnTo>
                      <a:pt x="1088" y="988"/>
                    </a:lnTo>
                    <a:lnTo>
                      <a:pt x="1128" y="972"/>
                    </a:lnTo>
                    <a:lnTo>
                      <a:pt x="1170" y="954"/>
                    </a:lnTo>
                    <a:lnTo>
                      <a:pt x="1170" y="954"/>
                    </a:lnTo>
                    <a:lnTo>
                      <a:pt x="1218" y="930"/>
                    </a:lnTo>
                    <a:lnTo>
                      <a:pt x="1266" y="906"/>
                    </a:lnTo>
                    <a:lnTo>
                      <a:pt x="1360" y="854"/>
                    </a:lnTo>
                    <a:lnTo>
                      <a:pt x="1446" y="804"/>
                    </a:lnTo>
                    <a:lnTo>
                      <a:pt x="1486" y="782"/>
                    </a:lnTo>
                    <a:lnTo>
                      <a:pt x="1524" y="764"/>
                    </a:lnTo>
                    <a:lnTo>
                      <a:pt x="1524" y="76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46" name="Freeform 19">
                <a:extLst>
                  <a:ext uri="{FF2B5EF4-FFF2-40B4-BE49-F238E27FC236}">
                    <a16:creationId xmlns:a16="http://schemas.microsoft.com/office/drawing/2014/main" id="{B91BB99E-B147-4DF1-BA43-149AC1F9DCF6}"/>
                  </a:ext>
                </a:extLst>
              </p:cNvPr>
              <p:cNvSpPr>
                <a:spLocks/>
              </p:cNvSpPr>
              <p:nvPr/>
            </p:nvSpPr>
            <p:spPr bwMode="auto">
              <a:xfrm>
                <a:off x="2195" y="771"/>
                <a:ext cx="910" cy="908"/>
              </a:xfrm>
              <a:custGeom>
                <a:avLst/>
                <a:gdLst>
                  <a:gd name="T0" fmla="*/ 896 w 910"/>
                  <a:gd name="T1" fmla="*/ 486 h 908"/>
                  <a:gd name="T2" fmla="*/ 876 w 910"/>
                  <a:gd name="T3" fmla="*/ 406 h 908"/>
                  <a:gd name="T4" fmla="*/ 848 w 910"/>
                  <a:gd name="T5" fmla="*/ 336 h 908"/>
                  <a:gd name="T6" fmla="*/ 812 w 910"/>
                  <a:gd name="T7" fmla="*/ 272 h 908"/>
                  <a:gd name="T8" fmla="*/ 770 w 910"/>
                  <a:gd name="T9" fmla="*/ 218 h 908"/>
                  <a:gd name="T10" fmla="*/ 722 w 910"/>
                  <a:gd name="T11" fmla="*/ 170 h 908"/>
                  <a:gd name="T12" fmla="*/ 670 w 910"/>
                  <a:gd name="T13" fmla="*/ 128 h 908"/>
                  <a:gd name="T14" fmla="*/ 612 w 910"/>
                  <a:gd name="T15" fmla="*/ 92 h 908"/>
                  <a:gd name="T16" fmla="*/ 550 w 910"/>
                  <a:gd name="T17" fmla="*/ 64 h 908"/>
                  <a:gd name="T18" fmla="*/ 486 w 910"/>
                  <a:gd name="T19" fmla="*/ 40 h 908"/>
                  <a:gd name="T20" fmla="*/ 418 w 910"/>
                  <a:gd name="T21" fmla="*/ 24 h 908"/>
                  <a:gd name="T22" fmla="*/ 350 w 910"/>
                  <a:gd name="T23" fmla="*/ 12 h 908"/>
                  <a:gd name="T24" fmla="*/ 280 w 910"/>
                  <a:gd name="T25" fmla="*/ 4 h 908"/>
                  <a:gd name="T26" fmla="*/ 138 w 910"/>
                  <a:gd name="T27" fmla="*/ 2 h 908"/>
                  <a:gd name="T28" fmla="*/ 0 w 910"/>
                  <a:gd name="T29" fmla="*/ 16 h 908"/>
                  <a:gd name="T30" fmla="*/ 46 w 910"/>
                  <a:gd name="T31" fmla="*/ 42 h 908"/>
                  <a:gd name="T32" fmla="*/ 136 w 910"/>
                  <a:gd name="T33" fmla="*/ 104 h 908"/>
                  <a:gd name="T34" fmla="*/ 178 w 910"/>
                  <a:gd name="T35" fmla="*/ 140 h 908"/>
                  <a:gd name="T36" fmla="*/ 262 w 910"/>
                  <a:gd name="T37" fmla="*/ 216 h 908"/>
                  <a:gd name="T38" fmla="*/ 410 w 910"/>
                  <a:gd name="T39" fmla="*/ 360 h 908"/>
                  <a:gd name="T40" fmla="*/ 472 w 910"/>
                  <a:gd name="T41" fmla="*/ 418 h 908"/>
                  <a:gd name="T42" fmla="*/ 508 w 910"/>
                  <a:gd name="T43" fmla="*/ 448 h 908"/>
                  <a:gd name="T44" fmla="*/ 588 w 910"/>
                  <a:gd name="T45" fmla="*/ 502 h 908"/>
                  <a:gd name="T46" fmla="*/ 672 w 910"/>
                  <a:gd name="T47" fmla="*/ 544 h 908"/>
                  <a:gd name="T48" fmla="*/ 762 w 910"/>
                  <a:gd name="T49" fmla="*/ 572 h 908"/>
                  <a:gd name="T50" fmla="*/ 800 w 910"/>
                  <a:gd name="T51" fmla="*/ 658 h 908"/>
                  <a:gd name="T52" fmla="*/ 796 w 910"/>
                  <a:gd name="T53" fmla="*/ 658 h 908"/>
                  <a:gd name="T54" fmla="*/ 772 w 910"/>
                  <a:gd name="T55" fmla="*/ 656 h 908"/>
                  <a:gd name="T56" fmla="*/ 726 w 910"/>
                  <a:gd name="T57" fmla="*/ 660 h 908"/>
                  <a:gd name="T58" fmla="*/ 676 w 910"/>
                  <a:gd name="T59" fmla="*/ 672 h 908"/>
                  <a:gd name="T60" fmla="*/ 598 w 910"/>
                  <a:gd name="T61" fmla="*/ 700 h 908"/>
                  <a:gd name="T62" fmla="*/ 488 w 910"/>
                  <a:gd name="T63" fmla="*/ 754 h 908"/>
                  <a:gd name="T64" fmla="*/ 376 w 910"/>
                  <a:gd name="T65" fmla="*/ 816 h 908"/>
                  <a:gd name="T66" fmla="*/ 246 w 910"/>
                  <a:gd name="T67" fmla="*/ 878 h 908"/>
                  <a:gd name="T68" fmla="*/ 316 w 910"/>
                  <a:gd name="T69" fmla="*/ 890 h 908"/>
                  <a:gd name="T70" fmla="*/ 456 w 910"/>
                  <a:gd name="T71" fmla="*/ 906 h 908"/>
                  <a:gd name="T72" fmla="*/ 584 w 910"/>
                  <a:gd name="T73" fmla="*/ 908 h 908"/>
                  <a:gd name="T74" fmla="*/ 642 w 910"/>
                  <a:gd name="T75" fmla="*/ 902 h 908"/>
                  <a:gd name="T76" fmla="*/ 698 w 910"/>
                  <a:gd name="T77" fmla="*/ 892 h 908"/>
                  <a:gd name="T78" fmla="*/ 748 w 910"/>
                  <a:gd name="T79" fmla="*/ 878 h 908"/>
                  <a:gd name="T80" fmla="*/ 792 w 910"/>
                  <a:gd name="T81" fmla="*/ 856 h 908"/>
                  <a:gd name="T82" fmla="*/ 830 w 910"/>
                  <a:gd name="T83" fmla="*/ 828 h 908"/>
                  <a:gd name="T84" fmla="*/ 862 w 910"/>
                  <a:gd name="T85" fmla="*/ 792 h 908"/>
                  <a:gd name="T86" fmla="*/ 886 w 910"/>
                  <a:gd name="T87" fmla="*/ 748 h 908"/>
                  <a:gd name="T88" fmla="*/ 902 w 910"/>
                  <a:gd name="T89" fmla="*/ 696 h 908"/>
                  <a:gd name="T90" fmla="*/ 910 w 910"/>
                  <a:gd name="T91" fmla="*/ 636 h 908"/>
                  <a:gd name="T92" fmla="*/ 908 w 910"/>
                  <a:gd name="T93" fmla="*/ 566 h 908"/>
                  <a:gd name="T94" fmla="*/ 896 w 910"/>
                  <a:gd name="T95" fmla="*/ 486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10" h="908">
                    <a:moveTo>
                      <a:pt x="896" y="486"/>
                    </a:moveTo>
                    <a:lnTo>
                      <a:pt x="896" y="486"/>
                    </a:lnTo>
                    <a:lnTo>
                      <a:pt x="888" y="444"/>
                    </a:lnTo>
                    <a:lnTo>
                      <a:pt x="876" y="406"/>
                    </a:lnTo>
                    <a:lnTo>
                      <a:pt x="864" y="370"/>
                    </a:lnTo>
                    <a:lnTo>
                      <a:pt x="848" y="336"/>
                    </a:lnTo>
                    <a:lnTo>
                      <a:pt x="832" y="304"/>
                    </a:lnTo>
                    <a:lnTo>
                      <a:pt x="812" y="272"/>
                    </a:lnTo>
                    <a:lnTo>
                      <a:pt x="792" y="244"/>
                    </a:lnTo>
                    <a:lnTo>
                      <a:pt x="770" y="218"/>
                    </a:lnTo>
                    <a:lnTo>
                      <a:pt x="748" y="192"/>
                    </a:lnTo>
                    <a:lnTo>
                      <a:pt x="722" y="170"/>
                    </a:lnTo>
                    <a:lnTo>
                      <a:pt x="696" y="148"/>
                    </a:lnTo>
                    <a:lnTo>
                      <a:pt x="670" y="128"/>
                    </a:lnTo>
                    <a:lnTo>
                      <a:pt x="642" y="110"/>
                    </a:lnTo>
                    <a:lnTo>
                      <a:pt x="612" y="92"/>
                    </a:lnTo>
                    <a:lnTo>
                      <a:pt x="582" y="78"/>
                    </a:lnTo>
                    <a:lnTo>
                      <a:pt x="550" y="64"/>
                    </a:lnTo>
                    <a:lnTo>
                      <a:pt x="518" y="52"/>
                    </a:lnTo>
                    <a:lnTo>
                      <a:pt x="486" y="40"/>
                    </a:lnTo>
                    <a:lnTo>
                      <a:pt x="452" y="32"/>
                    </a:lnTo>
                    <a:lnTo>
                      <a:pt x="418" y="24"/>
                    </a:lnTo>
                    <a:lnTo>
                      <a:pt x="384" y="16"/>
                    </a:lnTo>
                    <a:lnTo>
                      <a:pt x="350" y="12"/>
                    </a:lnTo>
                    <a:lnTo>
                      <a:pt x="314" y="6"/>
                    </a:lnTo>
                    <a:lnTo>
                      <a:pt x="280" y="4"/>
                    </a:lnTo>
                    <a:lnTo>
                      <a:pt x="208" y="0"/>
                    </a:lnTo>
                    <a:lnTo>
                      <a:pt x="138" y="2"/>
                    </a:lnTo>
                    <a:lnTo>
                      <a:pt x="68" y="8"/>
                    </a:lnTo>
                    <a:lnTo>
                      <a:pt x="0" y="16"/>
                    </a:lnTo>
                    <a:lnTo>
                      <a:pt x="0" y="16"/>
                    </a:lnTo>
                    <a:lnTo>
                      <a:pt x="46" y="42"/>
                    </a:lnTo>
                    <a:lnTo>
                      <a:pt x="92" y="72"/>
                    </a:lnTo>
                    <a:lnTo>
                      <a:pt x="136" y="104"/>
                    </a:lnTo>
                    <a:lnTo>
                      <a:pt x="178" y="140"/>
                    </a:lnTo>
                    <a:lnTo>
                      <a:pt x="178" y="140"/>
                    </a:lnTo>
                    <a:lnTo>
                      <a:pt x="220" y="176"/>
                    </a:lnTo>
                    <a:lnTo>
                      <a:pt x="262" y="216"/>
                    </a:lnTo>
                    <a:lnTo>
                      <a:pt x="340" y="290"/>
                    </a:lnTo>
                    <a:lnTo>
                      <a:pt x="410" y="360"/>
                    </a:lnTo>
                    <a:lnTo>
                      <a:pt x="442" y="390"/>
                    </a:lnTo>
                    <a:lnTo>
                      <a:pt x="472" y="418"/>
                    </a:lnTo>
                    <a:lnTo>
                      <a:pt x="472" y="418"/>
                    </a:lnTo>
                    <a:lnTo>
                      <a:pt x="508" y="448"/>
                    </a:lnTo>
                    <a:lnTo>
                      <a:pt x="548" y="476"/>
                    </a:lnTo>
                    <a:lnTo>
                      <a:pt x="588" y="502"/>
                    </a:lnTo>
                    <a:lnTo>
                      <a:pt x="630" y="524"/>
                    </a:lnTo>
                    <a:lnTo>
                      <a:pt x="672" y="544"/>
                    </a:lnTo>
                    <a:lnTo>
                      <a:pt x="716" y="560"/>
                    </a:lnTo>
                    <a:lnTo>
                      <a:pt x="762" y="572"/>
                    </a:lnTo>
                    <a:lnTo>
                      <a:pt x="810" y="578"/>
                    </a:lnTo>
                    <a:lnTo>
                      <a:pt x="800" y="658"/>
                    </a:lnTo>
                    <a:lnTo>
                      <a:pt x="800" y="658"/>
                    </a:lnTo>
                    <a:lnTo>
                      <a:pt x="796" y="658"/>
                    </a:lnTo>
                    <a:lnTo>
                      <a:pt x="796" y="658"/>
                    </a:lnTo>
                    <a:lnTo>
                      <a:pt x="772" y="656"/>
                    </a:lnTo>
                    <a:lnTo>
                      <a:pt x="750" y="658"/>
                    </a:lnTo>
                    <a:lnTo>
                      <a:pt x="726" y="660"/>
                    </a:lnTo>
                    <a:lnTo>
                      <a:pt x="700" y="664"/>
                    </a:lnTo>
                    <a:lnTo>
                      <a:pt x="676" y="672"/>
                    </a:lnTo>
                    <a:lnTo>
                      <a:pt x="650" y="680"/>
                    </a:lnTo>
                    <a:lnTo>
                      <a:pt x="598" y="700"/>
                    </a:lnTo>
                    <a:lnTo>
                      <a:pt x="544" y="724"/>
                    </a:lnTo>
                    <a:lnTo>
                      <a:pt x="488" y="754"/>
                    </a:lnTo>
                    <a:lnTo>
                      <a:pt x="376" y="816"/>
                    </a:lnTo>
                    <a:lnTo>
                      <a:pt x="376" y="816"/>
                    </a:lnTo>
                    <a:lnTo>
                      <a:pt x="312" y="848"/>
                    </a:lnTo>
                    <a:lnTo>
                      <a:pt x="246" y="878"/>
                    </a:lnTo>
                    <a:lnTo>
                      <a:pt x="246" y="878"/>
                    </a:lnTo>
                    <a:lnTo>
                      <a:pt x="316" y="890"/>
                    </a:lnTo>
                    <a:lnTo>
                      <a:pt x="386" y="898"/>
                    </a:lnTo>
                    <a:lnTo>
                      <a:pt x="456" y="906"/>
                    </a:lnTo>
                    <a:lnTo>
                      <a:pt x="520" y="908"/>
                    </a:lnTo>
                    <a:lnTo>
                      <a:pt x="584" y="908"/>
                    </a:lnTo>
                    <a:lnTo>
                      <a:pt x="614" y="906"/>
                    </a:lnTo>
                    <a:lnTo>
                      <a:pt x="642" y="902"/>
                    </a:lnTo>
                    <a:lnTo>
                      <a:pt x="672" y="898"/>
                    </a:lnTo>
                    <a:lnTo>
                      <a:pt x="698" y="892"/>
                    </a:lnTo>
                    <a:lnTo>
                      <a:pt x="724" y="886"/>
                    </a:lnTo>
                    <a:lnTo>
                      <a:pt x="748" y="878"/>
                    </a:lnTo>
                    <a:lnTo>
                      <a:pt x="770" y="868"/>
                    </a:lnTo>
                    <a:lnTo>
                      <a:pt x="792" y="856"/>
                    </a:lnTo>
                    <a:lnTo>
                      <a:pt x="812" y="842"/>
                    </a:lnTo>
                    <a:lnTo>
                      <a:pt x="830" y="828"/>
                    </a:lnTo>
                    <a:lnTo>
                      <a:pt x="848" y="810"/>
                    </a:lnTo>
                    <a:lnTo>
                      <a:pt x="862" y="792"/>
                    </a:lnTo>
                    <a:lnTo>
                      <a:pt x="876" y="772"/>
                    </a:lnTo>
                    <a:lnTo>
                      <a:pt x="886" y="748"/>
                    </a:lnTo>
                    <a:lnTo>
                      <a:pt x="896" y="724"/>
                    </a:lnTo>
                    <a:lnTo>
                      <a:pt x="902" y="696"/>
                    </a:lnTo>
                    <a:lnTo>
                      <a:pt x="908" y="668"/>
                    </a:lnTo>
                    <a:lnTo>
                      <a:pt x="910" y="636"/>
                    </a:lnTo>
                    <a:lnTo>
                      <a:pt x="910" y="602"/>
                    </a:lnTo>
                    <a:lnTo>
                      <a:pt x="908" y="566"/>
                    </a:lnTo>
                    <a:lnTo>
                      <a:pt x="904" y="526"/>
                    </a:lnTo>
                    <a:lnTo>
                      <a:pt x="896" y="486"/>
                    </a:lnTo>
                    <a:lnTo>
                      <a:pt x="896" y="48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47" name="Freeform 20">
                <a:extLst>
                  <a:ext uri="{FF2B5EF4-FFF2-40B4-BE49-F238E27FC236}">
                    <a16:creationId xmlns:a16="http://schemas.microsoft.com/office/drawing/2014/main" id="{FCD18E86-DC20-4CC4-ADD8-53DB81C95359}"/>
                  </a:ext>
                </a:extLst>
              </p:cNvPr>
              <p:cNvSpPr>
                <a:spLocks/>
              </p:cNvSpPr>
              <p:nvPr/>
            </p:nvSpPr>
            <p:spPr bwMode="auto">
              <a:xfrm>
                <a:off x="1015" y="821"/>
                <a:ext cx="1796" cy="850"/>
              </a:xfrm>
              <a:custGeom>
                <a:avLst/>
                <a:gdLst>
                  <a:gd name="T0" fmla="*/ 250 w 1796"/>
                  <a:gd name="T1" fmla="*/ 848 h 850"/>
                  <a:gd name="T2" fmla="*/ 334 w 1796"/>
                  <a:gd name="T3" fmla="*/ 848 h 850"/>
                  <a:gd name="T4" fmla="*/ 408 w 1796"/>
                  <a:gd name="T5" fmla="*/ 838 h 850"/>
                  <a:gd name="T6" fmla="*/ 480 w 1796"/>
                  <a:gd name="T7" fmla="*/ 818 h 850"/>
                  <a:gd name="T8" fmla="*/ 620 w 1796"/>
                  <a:gd name="T9" fmla="*/ 772 h 850"/>
                  <a:gd name="T10" fmla="*/ 692 w 1796"/>
                  <a:gd name="T11" fmla="*/ 752 h 850"/>
                  <a:gd name="T12" fmla="*/ 770 w 1796"/>
                  <a:gd name="T13" fmla="*/ 738 h 850"/>
                  <a:gd name="T14" fmla="*/ 856 w 1796"/>
                  <a:gd name="T15" fmla="*/ 736 h 850"/>
                  <a:gd name="T16" fmla="*/ 898 w 1796"/>
                  <a:gd name="T17" fmla="*/ 740 h 850"/>
                  <a:gd name="T18" fmla="*/ 1038 w 1796"/>
                  <a:gd name="T19" fmla="*/ 758 h 850"/>
                  <a:gd name="T20" fmla="*/ 1250 w 1796"/>
                  <a:gd name="T21" fmla="*/ 798 h 850"/>
                  <a:gd name="T22" fmla="*/ 1280 w 1796"/>
                  <a:gd name="T23" fmla="*/ 792 h 850"/>
                  <a:gd name="T24" fmla="*/ 1346 w 1796"/>
                  <a:gd name="T25" fmla="*/ 774 h 850"/>
                  <a:gd name="T26" fmla="*/ 1412 w 1796"/>
                  <a:gd name="T27" fmla="*/ 748 h 850"/>
                  <a:gd name="T28" fmla="*/ 1518 w 1796"/>
                  <a:gd name="T29" fmla="*/ 694 h 850"/>
                  <a:gd name="T30" fmla="*/ 1654 w 1796"/>
                  <a:gd name="T31" fmla="*/ 620 h 850"/>
                  <a:gd name="T32" fmla="*/ 1760 w 1796"/>
                  <a:gd name="T33" fmla="*/ 570 h 850"/>
                  <a:gd name="T34" fmla="*/ 1796 w 1796"/>
                  <a:gd name="T35" fmla="*/ 556 h 850"/>
                  <a:gd name="T36" fmla="*/ 1742 w 1796"/>
                  <a:gd name="T37" fmla="*/ 530 h 850"/>
                  <a:gd name="T38" fmla="*/ 1644 w 1796"/>
                  <a:gd name="T39" fmla="*/ 466 h 850"/>
                  <a:gd name="T40" fmla="*/ 1598 w 1796"/>
                  <a:gd name="T41" fmla="*/ 428 h 850"/>
                  <a:gd name="T42" fmla="*/ 1534 w 1796"/>
                  <a:gd name="T43" fmla="*/ 368 h 850"/>
                  <a:gd name="T44" fmla="*/ 1388 w 1796"/>
                  <a:gd name="T45" fmla="*/ 224 h 850"/>
                  <a:gd name="T46" fmla="*/ 1306 w 1796"/>
                  <a:gd name="T47" fmla="*/ 150 h 850"/>
                  <a:gd name="T48" fmla="*/ 1272 w 1796"/>
                  <a:gd name="T49" fmla="*/ 122 h 850"/>
                  <a:gd name="T50" fmla="*/ 1200 w 1796"/>
                  <a:gd name="T51" fmla="*/ 72 h 850"/>
                  <a:gd name="T52" fmla="*/ 1130 w 1796"/>
                  <a:gd name="T53" fmla="*/ 32 h 850"/>
                  <a:gd name="T54" fmla="*/ 1062 w 1796"/>
                  <a:gd name="T55" fmla="*/ 6 h 850"/>
                  <a:gd name="T56" fmla="*/ 1028 w 1796"/>
                  <a:gd name="T57" fmla="*/ 0 h 850"/>
                  <a:gd name="T58" fmla="*/ 896 w 1796"/>
                  <a:gd name="T59" fmla="*/ 24 h 850"/>
                  <a:gd name="T60" fmla="*/ 682 w 1796"/>
                  <a:gd name="T61" fmla="*/ 56 h 850"/>
                  <a:gd name="T62" fmla="*/ 536 w 1796"/>
                  <a:gd name="T63" fmla="*/ 80 h 850"/>
                  <a:gd name="T64" fmla="*/ 396 w 1796"/>
                  <a:gd name="T65" fmla="*/ 114 h 850"/>
                  <a:gd name="T66" fmla="*/ 330 w 1796"/>
                  <a:gd name="T67" fmla="*/ 138 h 850"/>
                  <a:gd name="T68" fmla="*/ 268 w 1796"/>
                  <a:gd name="T69" fmla="*/ 166 h 850"/>
                  <a:gd name="T70" fmla="*/ 210 w 1796"/>
                  <a:gd name="T71" fmla="*/ 200 h 850"/>
                  <a:gd name="T72" fmla="*/ 156 w 1796"/>
                  <a:gd name="T73" fmla="*/ 238 h 850"/>
                  <a:gd name="T74" fmla="*/ 108 w 1796"/>
                  <a:gd name="T75" fmla="*/ 286 h 850"/>
                  <a:gd name="T76" fmla="*/ 66 w 1796"/>
                  <a:gd name="T77" fmla="*/ 340 h 850"/>
                  <a:gd name="T78" fmla="*/ 30 w 1796"/>
                  <a:gd name="T79" fmla="*/ 404 h 850"/>
                  <a:gd name="T80" fmla="*/ 18 w 1796"/>
                  <a:gd name="T81" fmla="*/ 436 h 850"/>
                  <a:gd name="T82" fmla="*/ 2 w 1796"/>
                  <a:gd name="T83" fmla="*/ 506 h 850"/>
                  <a:gd name="T84" fmla="*/ 0 w 1796"/>
                  <a:gd name="T85" fmla="*/ 580 h 850"/>
                  <a:gd name="T86" fmla="*/ 12 w 1796"/>
                  <a:gd name="T87" fmla="*/ 650 h 850"/>
                  <a:gd name="T88" fmla="*/ 40 w 1796"/>
                  <a:gd name="T89" fmla="*/ 714 h 850"/>
                  <a:gd name="T90" fmla="*/ 82 w 1796"/>
                  <a:gd name="T91" fmla="*/ 772 h 850"/>
                  <a:gd name="T92" fmla="*/ 108 w 1796"/>
                  <a:gd name="T93" fmla="*/ 794 h 850"/>
                  <a:gd name="T94" fmla="*/ 138 w 1796"/>
                  <a:gd name="T95" fmla="*/ 814 h 850"/>
                  <a:gd name="T96" fmla="*/ 172 w 1796"/>
                  <a:gd name="T97" fmla="*/ 830 h 850"/>
                  <a:gd name="T98" fmla="*/ 210 w 1796"/>
                  <a:gd name="T99" fmla="*/ 842 h 850"/>
                  <a:gd name="T100" fmla="*/ 250 w 1796"/>
                  <a:gd name="T101" fmla="*/ 848 h 8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96" h="850">
                    <a:moveTo>
                      <a:pt x="250" y="848"/>
                    </a:moveTo>
                    <a:lnTo>
                      <a:pt x="250" y="848"/>
                    </a:lnTo>
                    <a:lnTo>
                      <a:pt x="292" y="850"/>
                    </a:lnTo>
                    <a:lnTo>
                      <a:pt x="334" y="848"/>
                    </a:lnTo>
                    <a:lnTo>
                      <a:pt x="372" y="844"/>
                    </a:lnTo>
                    <a:lnTo>
                      <a:pt x="408" y="838"/>
                    </a:lnTo>
                    <a:lnTo>
                      <a:pt x="444" y="828"/>
                    </a:lnTo>
                    <a:lnTo>
                      <a:pt x="480" y="818"/>
                    </a:lnTo>
                    <a:lnTo>
                      <a:pt x="550" y="796"/>
                    </a:lnTo>
                    <a:lnTo>
                      <a:pt x="620" y="772"/>
                    </a:lnTo>
                    <a:lnTo>
                      <a:pt x="656" y="762"/>
                    </a:lnTo>
                    <a:lnTo>
                      <a:pt x="692" y="752"/>
                    </a:lnTo>
                    <a:lnTo>
                      <a:pt x="730" y="744"/>
                    </a:lnTo>
                    <a:lnTo>
                      <a:pt x="770" y="738"/>
                    </a:lnTo>
                    <a:lnTo>
                      <a:pt x="812" y="736"/>
                    </a:lnTo>
                    <a:lnTo>
                      <a:pt x="856" y="736"/>
                    </a:lnTo>
                    <a:lnTo>
                      <a:pt x="856" y="736"/>
                    </a:lnTo>
                    <a:lnTo>
                      <a:pt x="898" y="740"/>
                    </a:lnTo>
                    <a:lnTo>
                      <a:pt x="942" y="744"/>
                    </a:lnTo>
                    <a:lnTo>
                      <a:pt x="1038" y="758"/>
                    </a:lnTo>
                    <a:lnTo>
                      <a:pt x="1142" y="776"/>
                    </a:lnTo>
                    <a:lnTo>
                      <a:pt x="1250" y="798"/>
                    </a:lnTo>
                    <a:lnTo>
                      <a:pt x="1250" y="798"/>
                    </a:lnTo>
                    <a:lnTo>
                      <a:pt x="1280" y="792"/>
                    </a:lnTo>
                    <a:lnTo>
                      <a:pt x="1312" y="784"/>
                    </a:lnTo>
                    <a:lnTo>
                      <a:pt x="1346" y="774"/>
                    </a:lnTo>
                    <a:lnTo>
                      <a:pt x="1378" y="762"/>
                    </a:lnTo>
                    <a:lnTo>
                      <a:pt x="1412" y="748"/>
                    </a:lnTo>
                    <a:lnTo>
                      <a:pt x="1448" y="732"/>
                    </a:lnTo>
                    <a:lnTo>
                      <a:pt x="1518" y="694"/>
                    </a:lnTo>
                    <a:lnTo>
                      <a:pt x="1518" y="694"/>
                    </a:lnTo>
                    <a:lnTo>
                      <a:pt x="1654" y="620"/>
                    </a:lnTo>
                    <a:lnTo>
                      <a:pt x="1724" y="586"/>
                    </a:lnTo>
                    <a:lnTo>
                      <a:pt x="1760" y="570"/>
                    </a:lnTo>
                    <a:lnTo>
                      <a:pt x="1796" y="556"/>
                    </a:lnTo>
                    <a:lnTo>
                      <a:pt x="1796" y="556"/>
                    </a:lnTo>
                    <a:lnTo>
                      <a:pt x="1768" y="544"/>
                    </a:lnTo>
                    <a:lnTo>
                      <a:pt x="1742" y="530"/>
                    </a:lnTo>
                    <a:lnTo>
                      <a:pt x="1692" y="500"/>
                    </a:lnTo>
                    <a:lnTo>
                      <a:pt x="1644" y="466"/>
                    </a:lnTo>
                    <a:lnTo>
                      <a:pt x="1598" y="428"/>
                    </a:lnTo>
                    <a:lnTo>
                      <a:pt x="1598" y="428"/>
                    </a:lnTo>
                    <a:lnTo>
                      <a:pt x="1568" y="400"/>
                    </a:lnTo>
                    <a:lnTo>
                      <a:pt x="1534" y="368"/>
                    </a:lnTo>
                    <a:lnTo>
                      <a:pt x="1464" y="298"/>
                    </a:lnTo>
                    <a:lnTo>
                      <a:pt x="1388" y="224"/>
                    </a:lnTo>
                    <a:lnTo>
                      <a:pt x="1348" y="186"/>
                    </a:lnTo>
                    <a:lnTo>
                      <a:pt x="1306" y="150"/>
                    </a:lnTo>
                    <a:lnTo>
                      <a:pt x="1306" y="150"/>
                    </a:lnTo>
                    <a:lnTo>
                      <a:pt x="1272" y="122"/>
                    </a:lnTo>
                    <a:lnTo>
                      <a:pt x="1236" y="96"/>
                    </a:lnTo>
                    <a:lnTo>
                      <a:pt x="1200" y="72"/>
                    </a:lnTo>
                    <a:lnTo>
                      <a:pt x="1166" y="50"/>
                    </a:lnTo>
                    <a:lnTo>
                      <a:pt x="1130" y="32"/>
                    </a:lnTo>
                    <a:lnTo>
                      <a:pt x="1096" y="16"/>
                    </a:lnTo>
                    <a:lnTo>
                      <a:pt x="1062" y="6"/>
                    </a:lnTo>
                    <a:lnTo>
                      <a:pt x="1028" y="0"/>
                    </a:lnTo>
                    <a:lnTo>
                      <a:pt x="1028" y="0"/>
                    </a:lnTo>
                    <a:lnTo>
                      <a:pt x="964" y="12"/>
                    </a:lnTo>
                    <a:lnTo>
                      <a:pt x="896" y="24"/>
                    </a:lnTo>
                    <a:lnTo>
                      <a:pt x="754" y="46"/>
                    </a:lnTo>
                    <a:lnTo>
                      <a:pt x="682" y="56"/>
                    </a:lnTo>
                    <a:lnTo>
                      <a:pt x="608" y="68"/>
                    </a:lnTo>
                    <a:lnTo>
                      <a:pt x="536" y="80"/>
                    </a:lnTo>
                    <a:lnTo>
                      <a:pt x="466" y="96"/>
                    </a:lnTo>
                    <a:lnTo>
                      <a:pt x="396" y="114"/>
                    </a:lnTo>
                    <a:lnTo>
                      <a:pt x="364" y="126"/>
                    </a:lnTo>
                    <a:lnTo>
                      <a:pt x="330" y="138"/>
                    </a:lnTo>
                    <a:lnTo>
                      <a:pt x="298" y="152"/>
                    </a:lnTo>
                    <a:lnTo>
                      <a:pt x="268" y="166"/>
                    </a:lnTo>
                    <a:lnTo>
                      <a:pt x="238" y="182"/>
                    </a:lnTo>
                    <a:lnTo>
                      <a:pt x="210" y="200"/>
                    </a:lnTo>
                    <a:lnTo>
                      <a:pt x="182" y="218"/>
                    </a:lnTo>
                    <a:lnTo>
                      <a:pt x="156" y="238"/>
                    </a:lnTo>
                    <a:lnTo>
                      <a:pt x="130" y="262"/>
                    </a:lnTo>
                    <a:lnTo>
                      <a:pt x="108" y="286"/>
                    </a:lnTo>
                    <a:lnTo>
                      <a:pt x="86" y="312"/>
                    </a:lnTo>
                    <a:lnTo>
                      <a:pt x="66" y="340"/>
                    </a:lnTo>
                    <a:lnTo>
                      <a:pt x="48" y="370"/>
                    </a:lnTo>
                    <a:lnTo>
                      <a:pt x="30" y="404"/>
                    </a:lnTo>
                    <a:lnTo>
                      <a:pt x="30" y="404"/>
                    </a:lnTo>
                    <a:lnTo>
                      <a:pt x="18" y="436"/>
                    </a:lnTo>
                    <a:lnTo>
                      <a:pt x="8" y="472"/>
                    </a:lnTo>
                    <a:lnTo>
                      <a:pt x="2" y="506"/>
                    </a:lnTo>
                    <a:lnTo>
                      <a:pt x="0" y="542"/>
                    </a:lnTo>
                    <a:lnTo>
                      <a:pt x="0" y="580"/>
                    </a:lnTo>
                    <a:lnTo>
                      <a:pt x="4" y="614"/>
                    </a:lnTo>
                    <a:lnTo>
                      <a:pt x="12" y="650"/>
                    </a:lnTo>
                    <a:lnTo>
                      <a:pt x="24" y="684"/>
                    </a:lnTo>
                    <a:lnTo>
                      <a:pt x="40" y="714"/>
                    </a:lnTo>
                    <a:lnTo>
                      <a:pt x="60" y="744"/>
                    </a:lnTo>
                    <a:lnTo>
                      <a:pt x="82" y="772"/>
                    </a:lnTo>
                    <a:lnTo>
                      <a:pt x="94" y="784"/>
                    </a:lnTo>
                    <a:lnTo>
                      <a:pt x="108" y="794"/>
                    </a:lnTo>
                    <a:lnTo>
                      <a:pt x="122" y="806"/>
                    </a:lnTo>
                    <a:lnTo>
                      <a:pt x="138" y="814"/>
                    </a:lnTo>
                    <a:lnTo>
                      <a:pt x="154" y="822"/>
                    </a:lnTo>
                    <a:lnTo>
                      <a:pt x="172" y="830"/>
                    </a:lnTo>
                    <a:lnTo>
                      <a:pt x="190" y="836"/>
                    </a:lnTo>
                    <a:lnTo>
                      <a:pt x="210" y="842"/>
                    </a:lnTo>
                    <a:lnTo>
                      <a:pt x="230" y="846"/>
                    </a:lnTo>
                    <a:lnTo>
                      <a:pt x="250" y="848"/>
                    </a:lnTo>
                    <a:lnTo>
                      <a:pt x="250" y="8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248" name="Group 2247">
            <a:extLst>
              <a:ext uri="{FF2B5EF4-FFF2-40B4-BE49-F238E27FC236}">
                <a16:creationId xmlns:a16="http://schemas.microsoft.com/office/drawing/2014/main" id="{CBDE0CB0-77DC-4593-A798-5AE988102EA9}"/>
              </a:ext>
            </a:extLst>
          </p:cNvPr>
          <p:cNvGrpSpPr/>
          <p:nvPr/>
        </p:nvGrpSpPr>
        <p:grpSpPr>
          <a:xfrm>
            <a:off x="8254156" y="1656899"/>
            <a:ext cx="612775" cy="612775"/>
            <a:chOff x="6421792" y="2258092"/>
            <a:chExt cx="612775" cy="612775"/>
          </a:xfrm>
        </p:grpSpPr>
        <p:sp>
          <p:nvSpPr>
            <p:cNvPr id="2249" name="Oval 2248">
              <a:extLst>
                <a:ext uri="{FF2B5EF4-FFF2-40B4-BE49-F238E27FC236}">
                  <a16:creationId xmlns:a16="http://schemas.microsoft.com/office/drawing/2014/main" id="{047D5ACA-17B4-4577-8014-F95FBDA4BA42}"/>
                </a:ext>
              </a:extLst>
            </p:cNvPr>
            <p:cNvSpPr/>
            <p:nvPr/>
          </p:nvSpPr>
          <p:spPr bwMode="ltGray">
            <a:xfrm>
              <a:off x="6421792" y="2258092"/>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250" name="Group 2249">
              <a:extLst>
                <a:ext uri="{FF2B5EF4-FFF2-40B4-BE49-F238E27FC236}">
                  <a16:creationId xmlns:a16="http://schemas.microsoft.com/office/drawing/2014/main" id="{6B07DCDD-7E15-4267-9BB5-3F21E1805F1B}"/>
                </a:ext>
              </a:extLst>
            </p:cNvPr>
            <p:cNvGrpSpPr/>
            <p:nvPr/>
          </p:nvGrpSpPr>
          <p:grpSpPr>
            <a:xfrm>
              <a:off x="6469946" y="2302307"/>
              <a:ext cx="517594" cy="517594"/>
              <a:chOff x="5507038" y="144463"/>
              <a:chExt cx="611187" cy="611187"/>
            </a:xfrm>
          </p:grpSpPr>
          <p:sp>
            <p:nvSpPr>
              <p:cNvPr id="2251" name="AutoShape 100">
                <a:extLst>
                  <a:ext uri="{FF2B5EF4-FFF2-40B4-BE49-F238E27FC236}">
                    <a16:creationId xmlns:a16="http://schemas.microsoft.com/office/drawing/2014/main" id="{E3F2B440-76E3-4961-94A6-4A2442CBBE1E}"/>
                  </a:ext>
                </a:extLst>
              </p:cNvPr>
              <p:cNvSpPr>
                <a:spLocks noChangeAspect="1" noChangeArrowheads="1" noTextEdit="1"/>
              </p:cNvSpPr>
              <p:nvPr/>
            </p:nvSpPr>
            <p:spPr bwMode="auto">
              <a:xfrm>
                <a:off x="5507038" y="144463"/>
                <a:ext cx="611187" cy="611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52" name="Freeform 103">
                <a:extLst>
                  <a:ext uri="{FF2B5EF4-FFF2-40B4-BE49-F238E27FC236}">
                    <a16:creationId xmlns:a16="http://schemas.microsoft.com/office/drawing/2014/main" id="{6EFD9A19-9B11-44ED-BD81-731B4AF7FE81}"/>
                  </a:ext>
                </a:extLst>
              </p:cNvPr>
              <p:cNvSpPr>
                <a:spLocks/>
              </p:cNvSpPr>
              <p:nvPr/>
            </p:nvSpPr>
            <p:spPr bwMode="auto">
              <a:xfrm>
                <a:off x="6002338" y="493713"/>
                <a:ext cx="74612" cy="38100"/>
              </a:xfrm>
              <a:custGeom>
                <a:avLst/>
                <a:gdLst>
                  <a:gd name="T0" fmla="*/ 141 w 141"/>
                  <a:gd name="T1" fmla="*/ 49 h 70"/>
                  <a:gd name="T2" fmla="*/ 141 w 141"/>
                  <a:gd name="T3" fmla="*/ 49 h 70"/>
                  <a:gd name="T4" fmla="*/ 141 w 141"/>
                  <a:gd name="T5" fmla="*/ 54 h 70"/>
                  <a:gd name="T6" fmla="*/ 140 w 141"/>
                  <a:gd name="T7" fmla="*/ 58 h 70"/>
                  <a:gd name="T8" fmla="*/ 137 w 141"/>
                  <a:gd name="T9" fmla="*/ 61 h 70"/>
                  <a:gd name="T10" fmla="*/ 135 w 141"/>
                  <a:gd name="T11" fmla="*/ 64 h 70"/>
                  <a:gd name="T12" fmla="*/ 132 w 141"/>
                  <a:gd name="T13" fmla="*/ 67 h 70"/>
                  <a:gd name="T14" fmla="*/ 129 w 141"/>
                  <a:gd name="T15" fmla="*/ 69 h 70"/>
                  <a:gd name="T16" fmla="*/ 124 w 141"/>
                  <a:gd name="T17" fmla="*/ 70 h 70"/>
                  <a:gd name="T18" fmla="*/ 120 w 141"/>
                  <a:gd name="T19" fmla="*/ 70 h 70"/>
                  <a:gd name="T20" fmla="*/ 21 w 141"/>
                  <a:gd name="T21" fmla="*/ 70 h 70"/>
                  <a:gd name="T22" fmla="*/ 21 w 141"/>
                  <a:gd name="T23" fmla="*/ 70 h 70"/>
                  <a:gd name="T24" fmla="*/ 17 w 141"/>
                  <a:gd name="T25" fmla="*/ 70 h 70"/>
                  <a:gd name="T26" fmla="*/ 12 w 141"/>
                  <a:gd name="T27" fmla="*/ 69 h 70"/>
                  <a:gd name="T28" fmla="*/ 9 w 141"/>
                  <a:gd name="T29" fmla="*/ 67 h 70"/>
                  <a:gd name="T30" fmla="*/ 6 w 141"/>
                  <a:gd name="T31" fmla="*/ 64 h 70"/>
                  <a:gd name="T32" fmla="*/ 4 w 141"/>
                  <a:gd name="T33" fmla="*/ 61 h 70"/>
                  <a:gd name="T34" fmla="*/ 1 w 141"/>
                  <a:gd name="T35" fmla="*/ 58 h 70"/>
                  <a:gd name="T36" fmla="*/ 0 w 141"/>
                  <a:gd name="T37" fmla="*/ 54 h 70"/>
                  <a:gd name="T38" fmla="*/ 0 w 141"/>
                  <a:gd name="T39" fmla="*/ 49 h 70"/>
                  <a:gd name="T40" fmla="*/ 0 w 141"/>
                  <a:gd name="T41" fmla="*/ 20 h 70"/>
                  <a:gd name="T42" fmla="*/ 0 w 141"/>
                  <a:gd name="T43" fmla="*/ 20 h 70"/>
                  <a:gd name="T44" fmla="*/ 0 w 141"/>
                  <a:gd name="T45" fmla="*/ 17 h 70"/>
                  <a:gd name="T46" fmla="*/ 1 w 141"/>
                  <a:gd name="T47" fmla="*/ 12 h 70"/>
                  <a:gd name="T48" fmla="*/ 4 w 141"/>
                  <a:gd name="T49" fmla="*/ 8 h 70"/>
                  <a:gd name="T50" fmla="*/ 6 w 141"/>
                  <a:gd name="T51" fmla="*/ 6 h 70"/>
                  <a:gd name="T52" fmla="*/ 9 w 141"/>
                  <a:gd name="T53" fmla="*/ 4 h 70"/>
                  <a:gd name="T54" fmla="*/ 12 w 141"/>
                  <a:gd name="T55" fmla="*/ 1 h 70"/>
                  <a:gd name="T56" fmla="*/ 17 w 141"/>
                  <a:gd name="T57" fmla="*/ 0 h 70"/>
                  <a:gd name="T58" fmla="*/ 21 w 141"/>
                  <a:gd name="T59" fmla="*/ 0 h 70"/>
                  <a:gd name="T60" fmla="*/ 120 w 141"/>
                  <a:gd name="T61" fmla="*/ 0 h 70"/>
                  <a:gd name="T62" fmla="*/ 120 w 141"/>
                  <a:gd name="T63" fmla="*/ 0 h 70"/>
                  <a:gd name="T64" fmla="*/ 124 w 141"/>
                  <a:gd name="T65" fmla="*/ 0 h 70"/>
                  <a:gd name="T66" fmla="*/ 129 w 141"/>
                  <a:gd name="T67" fmla="*/ 1 h 70"/>
                  <a:gd name="T68" fmla="*/ 132 w 141"/>
                  <a:gd name="T69" fmla="*/ 4 h 70"/>
                  <a:gd name="T70" fmla="*/ 135 w 141"/>
                  <a:gd name="T71" fmla="*/ 6 h 70"/>
                  <a:gd name="T72" fmla="*/ 137 w 141"/>
                  <a:gd name="T73" fmla="*/ 8 h 70"/>
                  <a:gd name="T74" fmla="*/ 140 w 141"/>
                  <a:gd name="T75" fmla="*/ 12 h 70"/>
                  <a:gd name="T76" fmla="*/ 141 w 141"/>
                  <a:gd name="T77" fmla="*/ 17 h 70"/>
                  <a:gd name="T78" fmla="*/ 141 w 141"/>
                  <a:gd name="T79" fmla="*/ 20 h 70"/>
                  <a:gd name="T80" fmla="*/ 141 w 141"/>
                  <a:gd name="T81" fmla="*/ 4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70">
                    <a:moveTo>
                      <a:pt x="141" y="49"/>
                    </a:moveTo>
                    <a:lnTo>
                      <a:pt x="141" y="49"/>
                    </a:lnTo>
                    <a:lnTo>
                      <a:pt x="141" y="54"/>
                    </a:lnTo>
                    <a:lnTo>
                      <a:pt x="140" y="58"/>
                    </a:lnTo>
                    <a:lnTo>
                      <a:pt x="137" y="61"/>
                    </a:lnTo>
                    <a:lnTo>
                      <a:pt x="135" y="64"/>
                    </a:lnTo>
                    <a:lnTo>
                      <a:pt x="132" y="67"/>
                    </a:lnTo>
                    <a:lnTo>
                      <a:pt x="129" y="69"/>
                    </a:lnTo>
                    <a:lnTo>
                      <a:pt x="124" y="70"/>
                    </a:lnTo>
                    <a:lnTo>
                      <a:pt x="120" y="70"/>
                    </a:lnTo>
                    <a:lnTo>
                      <a:pt x="21" y="70"/>
                    </a:lnTo>
                    <a:lnTo>
                      <a:pt x="21" y="70"/>
                    </a:lnTo>
                    <a:lnTo>
                      <a:pt x="17" y="70"/>
                    </a:lnTo>
                    <a:lnTo>
                      <a:pt x="12" y="69"/>
                    </a:lnTo>
                    <a:lnTo>
                      <a:pt x="9" y="67"/>
                    </a:lnTo>
                    <a:lnTo>
                      <a:pt x="6" y="64"/>
                    </a:lnTo>
                    <a:lnTo>
                      <a:pt x="4" y="61"/>
                    </a:lnTo>
                    <a:lnTo>
                      <a:pt x="1" y="58"/>
                    </a:lnTo>
                    <a:lnTo>
                      <a:pt x="0" y="54"/>
                    </a:lnTo>
                    <a:lnTo>
                      <a:pt x="0" y="49"/>
                    </a:lnTo>
                    <a:lnTo>
                      <a:pt x="0" y="20"/>
                    </a:lnTo>
                    <a:lnTo>
                      <a:pt x="0" y="20"/>
                    </a:lnTo>
                    <a:lnTo>
                      <a:pt x="0" y="17"/>
                    </a:lnTo>
                    <a:lnTo>
                      <a:pt x="1" y="12"/>
                    </a:lnTo>
                    <a:lnTo>
                      <a:pt x="4" y="8"/>
                    </a:lnTo>
                    <a:lnTo>
                      <a:pt x="6" y="6"/>
                    </a:lnTo>
                    <a:lnTo>
                      <a:pt x="9" y="4"/>
                    </a:lnTo>
                    <a:lnTo>
                      <a:pt x="12" y="1"/>
                    </a:lnTo>
                    <a:lnTo>
                      <a:pt x="17" y="0"/>
                    </a:lnTo>
                    <a:lnTo>
                      <a:pt x="21" y="0"/>
                    </a:lnTo>
                    <a:lnTo>
                      <a:pt x="120" y="0"/>
                    </a:lnTo>
                    <a:lnTo>
                      <a:pt x="120" y="0"/>
                    </a:lnTo>
                    <a:lnTo>
                      <a:pt x="124" y="0"/>
                    </a:lnTo>
                    <a:lnTo>
                      <a:pt x="129" y="1"/>
                    </a:lnTo>
                    <a:lnTo>
                      <a:pt x="132" y="4"/>
                    </a:lnTo>
                    <a:lnTo>
                      <a:pt x="135" y="6"/>
                    </a:lnTo>
                    <a:lnTo>
                      <a:pt x="137" y="8"/>
                    </a:lnTo>
                    <a:lnTo>
                      <a:pt x="140" y="12"/>
                    </a:lnTo>
                    <a:lnTo>
                      <a:pt x="141" y="17"/>
                    </a:lnTo>
                    <a:lnTo>
                      <a:pt x="141" y="20"/>
                    </a:lnTo>
                    <a:lnTo>
                      <a:pt x="141" y="4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53" name="Freeform 104">
                <a:extLst>
                  <a:ext uri="{FF2B5EF4-FFF2-40B4-BE49-F238E27FC236}">
                    <a16:creationId xmlns:a16="http://schemas.microsoft.com/office/drawing/2014/main" id="{282000AC-20E6-448D-B3D0-3B7A5F328573}"/>
                  </a:ext>
                </a:extLst>
              </p:cNvPr>
              <p:cNvSpPr>
                <a:spLocks/>
              </p:cNvSpPr>
              <p:nvPr/>
            </p:nvSpPr>
            <p:spPr bwMode="auto">
              <a:xfrm>
                <a:off x="5580063" y="325438"/>
                <a:ext cx="276225" cy="206375"/>
              </a:xfrm>
              <a:custGeom>
                <a:avLst/>
                <a:gdLst>
                  <a:gd name="T0" fmla="*/ 524 w 524"/>
                  <a:gd name="T1" fmla="*/ 379 h 390"/>
                  <a:gd name="T2" fmla="*/ 524 w 524"/>
                  <a:gd name="T3" fmla="*/ 379 h 390"/>
                  <a:gd name="T4" fmla="*/ 523 w 524"/>
                  <a:gd name="T5" fmla="*/ 383 h 390"/>
                  <a:gd name="T6" fmla="*/ 520 w 524"/>
                  <a:gd name="T7" fmla="*/ 387 h 390"/>
                  <a:gd name="T8" fmla="*/ 517 w 524"/>
                  <a:gd name="T9" fmla="*/ 390 h 390"/>
                  <a:gd name="T10" fmla="*/ 512 w 524"/>
                  <a:gd name="T11" fmla="*/ 390 h 390"/>
                  <a:gd name="T12" fmla="*/ 12 w 524"/>
                  <a:gd name="T13" fmla="*/ 390 h 390"/>
                  <a:gd name="T14" fmla="*/ 12 w 524"/>
                  <a:gd name="T15" fmla="*/ 390 h 390"/>
                  <a:gd name="T16" fmla="*/ 7 w 524"/>
                  <a:gd name="T17" fmla="*/ 390 h 390"/>
                  <a:gd name="T18" fmla="*/ 4 w 524"/>
                  <a:gd name="T19" fmla="*/ 387 h 390"/>
                  <a:gd name="T20" fmla="*/ 1 w 524"/>
                  <a:gd name="T21" fmla="*/ 383 h 390"/>
                  <a:gd name="T22" fmla="*/ 0 w 524"/>
                  <a:gd name="T23" fmla="*/ 379 h 390"/>
                  <a:gd name="T24" fmla="*/ 0 w 524"/>
                  <a:gd name="T25" fmla="*/ 12 h 390"/>
                  <a:gd name="T26" fmla="*/ 0 w 524"/>
                  <a:gd name="T27" fmla="*/ 12 h 390"/>
                  <a:gd name="T28" fmla="*/ 1 w 524"/>
                  <a:gd name="T29" fmla="*/ 8 h 390"/>
                  <a:gd name="T30" fmla="*/ 4 w 524"/>
                  <a:gd name="T31" fmla="*/ 4 h 390"/>
                  <a:gd name="T32" fmla="*/ 7 w 524"/>
                  <a:gd name="T33" fmla="*/ 2 h 390"/>
                  <a:gd name="T34" fmla="*/ 12 w 524"/>
                  <a:gd name="T35" fmla="*/ 0 h 390"/>
                  <a:gd name="T36" fmla="*/ 512 w 524"/>
                  <a:gd name="T37" fmla="*/ 0 h 390"/>
                  <a:gd name="T38" fmla="*/ 512 w 524"/>
                  <a:gd name="T39" fmla="*/ 0 h 390"/>
                  <a:gd name="T40" fmla="*/ 517 w 524"/>
                  <a:gd name="T41" fmla="*/ 2 h 390"/>
                  <a:gd name="T42" fmla="*/ 520 w 524"/>
                  <a:gd name="T43" fmla="*/ 4 h 390"/>
                  <a:gd name="T44" fmla="*/ 523 w 524"/>
                  <a:gd name="T45" fmla="*/ 8 h 390"/>
                  <a:gd name="T46" fmla="*/ 524 w 524"/>
                  <a:gd name="T47" fmla="*/ 12 h 390"/>
                  <a:gd name="T48" fmla="*/ 524 w 524"/>
                  <a:gd name="T49" fmla="*/ 379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24" h="390">
                    <a:moveTo>
                      <a:pt x="524" y="379"/>
                    </a:moveTo>
                    <a:lnTo>
                      <a:pt x="524" y="379"/>
                    </a:lnTo>
                    <a:lnTo>
                      <a:pt x="523" y="383"/>
                    </a:lnTo>
                    <a:lnTo>
                      <a:pt x="520" y="387"/>
                    </a:lnTo>
                    <a:lnTo>
                      <a:pt x="517" y="390"/>
                    </a:lnTo>
                    <a:lnTo>
                      <a:pt x="512" y="390"/>
                    </a:lnTo>
                    <a:lnTo>
                      <a:pt x="12" y="390"/>
                    </a:lnTo>
                    <a:lnTo>
                      <a:pt x="12" y="390"/>
                    </a:lnTo>
                    <a:lnTo>
                      <a:pt x="7" y="390"/>
                    </a:lnTo>
                    <a:lnTo>
                      <a:pt x="4" y="387"/>
                    </a:lnTo>
                    <a:lnTo>
                      <a:pt x="1" y="383"/>
                    </a:lnTo>
                    <a:lnTo>
                      <a:pt x="0" y="379"/>
                    </a:lnTo>
                    <a:lnTo>
                      <a:pt x="0" y="12"/>
                    </a:lnTo>
                    <a:lnTo>
                      <a:pt x="0" y="12"/>
                    </a:lnTo>
                    <a:lnTo>
                      <a:pt x="1" y="8"/>
                    </a:lnTo>
                    <a:lnTo>
                      <a:pt x="4" y="4"/>
                    </a:lnTo>
                    <a:lnTo>
                      <a:pt x="7" y="2"/>
                    </a:lnTo>
                    <a:lnTo>
                      <a:pt x="12" y="0"/>
                    </a:lnTo>
                    <a:lnTo>
                      <a:pt x="512" y="0"/>
                    </a:lnTo>
                    <a:lnTo>
                      <a:pt x="512" y="0"/>
                    </a:lnTo>
                    <a:lnTo>
                      <a:pt x="517" y="2"/>
                    </a:lnTo>
                    <a:lnTo>
                      <a:pt x="520" y="4"/>
                    </a:lnTo>
                    <a:lnTo>
                      <a:pt x="523" y="8"/>
                    </a:lnTo>
                    <a:lnTo>
                      <a:pt x="524" y="12"/>
                    </a:lnTo>
                    <a:lnTo>
                      <a:pt x="524" y="37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54" name="Freeform 105">
                <a:extLst>
                  <a:ext uri="{FF2B5EF4-FFF2-40B4-BE49-F238E27FC236}">
                    <a16:creationId xmlns:a16="http://schemas.microsoft.com/office/drawing/2014/main" id="{ED07DAAE-0D23-49CA-903A-8C64E4A2998D}"/>
                  </a:ext>
                </a:extLst>
              </p:cNvPr>
              <p:cNvSpPr>
                <a:spLocks/>
              </p:cNvSpPr>
              <p:nvPr/>
            </p:nvSpPr>
            <p:spPr bwMode="auto">
              <a:xfrm>
                <a:off x="5570538" y="493713"/>
                <a:ext cx="74612" cy="38100"/>
              </a:xfrm>
              <a:custGeom>
                <a:avLst/>
                <a:gdLst>
                  <a:gd name="T0" fmla="*/ 141 w 141"/>
                  <a:gd name="T1" fmla="*/ 49 h 70"/>
                  <a:gd name="T2" fmla="*/ 141 w 141"/>
                  <a:gd name="T3" fmla="*/ 49 h 70"/>
                  <a:gd name="T4" fmla="*/ 141 w 141"/>
                  <a:gd name="T5" fmla="*/ 54 h 70"/>
                  <a:gd name="T6" fmla="*/ 139 w 141"/>
                  <a:gd name="T7" fmla="*/ 58 h 70"/>
                  <a:gd name="T8" fmla="*/ 137 w 141"/>
                  <a:gd name="T9" fmla="*/ 61 h 70"/>
                  <a:gd name="T10" fmla="*/ 135 w 141"/>
                  <a:gd name="T11" fmla="*/ 64 h 70"/>
                  <a:gd name="T12" fmla="*/ 132 w 141"/>
                  <a:gd name="T13" fmla="*/ 67 h 70"/>
                  <a:gd name="T14" fmla="*/ 129 w 141"/>
                  <a:gd name="T15" fmla="*/ 69 h 70"/>
                  <a:gd name="T16" fmla="*/ 124 w 141"/>
                  <a:gd name="T17" fmla="*/ 70 h 70"/>
                  <a:gd name="T18" fmla="*/ 120 w 141"/>
                  <a:gd name="T19" fmla="*/ 70 h 70"/>
                  <a:gd name="T20" fmla="*/ 20 w 141"/>
                  <a:gd name="T21" fmla="*/ 70 h 70"/>
                  <a:gd name="T22" fmla="*/ 20 w 141"/>
                  <a:gd name="T23" fmla="*/ 70 h 70"/>
                  <a:gd name="T24" fmla="*/ 17 w 141"/>
                  <a:gd name="T25" fmla="*/ 70 h 70"/>
                  <a:gd name="T26" fmla="*/ 12 w 141"/>
                  <a:gd name="T27" fmla="*/ 69 h 70"/>
                  <a:gd name="T28" fmla="*/ 10 w 141"/>
                  <a:gd name="T29" fmla="*/ 67 h 70"/>
                  <a:gd name="T30" fmla="*/ 6 w 141"/>
                  <a:gd name="T31" fmla="*/ 64 h 70"/>
                  <a:gd name="T32" fmla="*/ 4 w 141"/>
                  <a:gd name="T33" fmla="*/ 61 h 70"/>
                  <a:gd name="T34" fmla="*/ 1 w 141"/>
                  <a:gd name="T35" fmla="*/ 58 h 70"/>
                  <a:gd name="T36" fmla="*/ 0 w 141"/>
                  <a:gd name="T37" fmla="*/ 54 h 70"/>
                  <a:gd name="T38" fmla="*/ 0 w 141"/>
                  <a:gd name="T39" fmla="*/ 49 h 70"/>
                  <a:gd name="T40" fmla="*/ 0 w 141"/>
                  <a:gd name="T41" fmla="*/ 20 h 70"/>
                  <a:gd name="T42" fmla="*/ 0 w 141"/>
                  <a:gd name="T43" fmla="*/ 20 h 70"/>
                  <a:gd name="T44" fmla="*/ 0 w 141"/>
                  <a:gd name="T45" fmla="*/ 17 h 70"/>
                  <a:gd name="T46" fmla="*/ 1 w 141"/>
                  <a:gd name="T47" fmla="*/ 12 h 70"/>
                  <a:gd name="T48" fmla="*/ 4 w 141"/>
                  <a:gd name="T49" fmla="*/ 8 h 70"/>
                  <a:gd name="T50" fmla="*/ 6 w 141"/>
                  <a:gd name="T51" fmla="*/ 6 h 70"/>
                  <a:gd name="T52" fmla="*/ 10 w 141"/>
                  <a:gd name="T53" fmla="*/ 4 h 70"/>
                  <a:gd name="T54" fmla="*/ 12 w 141"/>
                  <a:gd name="T55" fmla="*/ 1 h 70"/>
                  <a:gd name="T56" fmla="*/ 17 w 141"/>
                  <a:gd name="T57" fmla="*/ 0 h 70"/>
                  <a:gd name="T58" fmla="*/ 20 w 141"/>
                  <a:gd name="T59" fmla="*/ 0 h 70"/>
                  <a:gd name="T60" fmla="*/ 120 w 141"/>
                  <a:gd name="T61" fmla="*/ 0 h 70"/>
                  <a:gd name="T62" fmla="*/ 120 w 141"/>
                  <a:gd name="T63" fmla="*/ 0 h 70"/>
                  <a:gd name="T64" fmla="*/ 124 w 141"/>
                  <a:gd name="T65" fmla="*/ 0 h 70"/>
                  <a:gd name="T66" fmla="*/ 129 w 141"/>
                  <a:gd name="T67" fmla="*/ 1 h 70"/>
                  <a:gd name="T68" fmla="*/ 132 w 141"/>
                  <a:gd name="T69" fmla="*/ 4 h 70"/>
                  <a:gd name="T70" fmla="*/ 135 w 141"/>
                  <a:gd name="T71" fmla="*/ 6 h 70"/>
                  <a:gd name="T72" fmla="*/ 137 w 141"/>
                  <a:gd name="T73" fmla="*/ 8 h 70"/>
                  <a:gd name="T74" fmla="*/ 139 w 141"/>
                  <a:gd name="T75" fmla="*/ 12 h 70"/>
                  <a:gd name="T76" fmla="*/ 141 w 141"/>
                  <a:gd name="T77" fmla="*/ 17 h 70"/>
                  <a:gd name="T78" fmla="*/ 141 w 141"/>
                  <a:gd name="T79" fmla="*/ 20 h 70"/>
                  <a:gd name="T80" fmla="*/ 141 w 141"/>
                  <a:gd name="T81" fmla="*/ 49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1" h="70">
                    <a:moveTo>
                      <a:pt x="141" y="49"/>
                    </a:moveTo>
                    <a:lnTo>
                      <a:pt x="141" y="49"/>
                    </a:lnTo>
                    <a:lnTo>
                      <a:pt x="141" y="54"/>
                    </a:lnTo>
                    <a:lnTo>
                      <a:pt x="139" y="58"/>
                    </a:lnTo>
                    <a:lnTo>
                      <a:pt x="137" y="61"/>
                    </a:lnTo>
                    <a:lnTo>
                      <a:pt x="135" y="64"/>
                    </a:lnTo>
                    <a:lnTo>
                      <a:pt x="132" y="67"/>
                    </a:lnTo>
                    <a:lnTo>
                      <a:pt x="129" y="69"/>
                    </a:lnTo>
                    <a:lnTo>
                      <a:pt x="124" y="70"/>
                    </a:lnTo>
                    <a:lnTo>
                      <a:pt x="120" y="70"/>
                    </a:lnTo>
                    <a:lnTo>
                      <a:pt x="20" y="70"/>
                    </a:lnTo>
                    <a:lnTo>
                      <a:pt x="20" y="70"/>
                    </a:lnTo>
                    <a:lnTo>
                      <a:pt x="17" y="70"/>
                    </a:lnTo>
                    <a:lnTo>
                      <a:pt x="12" y="69"/>
                    </a:lnTo>
                    <a:lnTo>
                      <a:pt x="10" y="67"/>
                    </a:lnTo>
                    <a:lnTo>
                      <a:pt x="6" y="64"/>
                    </a:lnTo>
                    <a:lnTo>
                      <a:pt x="4" y="61"/>
                    </a:lnTo>
                    <a:lnTo>
                      <a:pt x="1" y="58"/>
                    </a:lnTo>
                    <a:lnTo>
                      <a:pt x="0" y="54"/>
                    </a:lnTo>
                    <a:lnTo>
                      <a:pt x="0" y="49"/>
                    </a:lnTo>
                    <a:lnTo>
                      <a:pt x="0" y="20"/>
                    </a:lnTo>
                    <a:lnTo>
                      <a:pt x="0" y="20"/>
                    </a:lnTo>
                    <a:lnTo>
                      <a:pt x="0" y="17"/>
                    </a:lnTo>
                    <a:lnTo>
                      <a:pt x="1" y="12"/>
                    </a:lnTo>
                    <a:lnTo>
                      <a:pt x="4" y="8"/>
                    </a:lnTo>
                    <a:lnTo>
                      <a:pt x="6" y="6"/>
                    </a:lnTo>
                    <a:lnTo>
                      <a:pt x="10" y="4"/>
                    </a:lnTo>
                    <a:lnTo>
                      <a:pt x="12" y="1"/>
                    </a:lnTo>
                    <a:lnTo>
                      <a:pt x="17" y="0"/>
                    </a:lnTo>
                    <a:lnTo>
                      <a:pt x="20" y="0"/>
                    </a:lnTo>
                    <a:lnTo>
                      <a:pt x="120" y="0"/>
                    </a:lnTo>
                    <a:lnTo>
                      <a:pt x="120" y="0"/>
                    </a:lnTo>
                    <a:lnTo>
                      <a:pt x="124" y="0"/>
                    </a:lnTo>
                    <a:lnTo>
                      <a:pt x="129" y="1"/>
                    </a:lnTo>
                    <a:lnTo>
                      <a:pt x="132" y="4"/>
                    </a:lnTo>
                    <a:lnTo>
                      <a:pt x="135" y="6"/>
                    </a:lnTo>
                    <a:lnTo>
                      <a:pt x="137" y="8"/>
                    </a:lnTo>
                    <a:lnTo>
                      <a:pt x="139" y="12"/>
                    </a:lnTo>
                    <a:lnTo>
                      <a:pt x="141" y="17"/>
                    </a:lnTo>
                    <a:lnTo>
                      <a:pt x="141" y="20"/>
                    </a:lnTo>
                    <a:lnTo>
                      <a:pt x="141" y="4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55" name="Freeform 106">
                <a:extLst>
                  <a:ext uri="{FF2B5EF4-FFF2-40B4-BE49-F238E27FC236}">
                    <a16:creationId xmlns:a16="http://schemas.microsoft.com/office/drawing/2014/main" id="{FC073295-0677-47C9-B523-92DEDA01669E}"/>
                  </a:ext>
                </a:extLst>
              </p:cNvPr>
              <p:cNvSpPr>
                <a:spLocks/>
              </p:cNvSpPr>
              <p:nvPr/>
            </p:nvSpPr>
            <p:spPr bwMode="auto">
              <a:xfrm>
                <a:off x="5865813" y="344488"/>
                <a:ext cx="203200" cy="187325"/>
              </a:xfrm>
              <a:custGeom>
                <a:avLst/>
                <a:gdLst>
                  <a:gd name="T0" fmla="*/ 0 w 384"/>
                  <a:gd name="T1" fmla="*/ 0 h 354"/>
                  <a:gd name="T2" fmla="*/ 0 w 384"/>
                  <a:gd name="T3" fmla="*/ 0 h 354"/>
                  <a:gd name="T4" fmla="*/ 16 w 384"/>
                  <a:gd name="T5" fmla="*/ 0 h 354"/>
                  <a:gd name="T6" fmla="*/ 57 w 384"/>
                  <a:gd name="T7" fmla="*/ 0 h 354"/>
                  <a:gd name="T8" fmla="*/ 81 w 384"/>
                  <a:gd name="T9" fmla="*/ 2 h 354"/>
                  <a:gd name="T10" fmla="*/ 104 w 384"/>
                  <a:gd name="T11" fmla="*/ 4 h 354"/>
                  <a:gd name="T12" fmla="*/ 127 w 384"/>
                  <a:gd name="T13" fmla="*/ 8 h 354"/>
                  <a:gd name="T14" fmla="*/ 137 w 384"/>
                  <a:gd name="T15" fmla="*/ 10 h 354"/>
                  <a:gd name="T16" fmla="*/ 145 w 384"/>
                  <a:gd name="T17" fmla="*/ 14 h 354"/>
                  <a:gd name="T18" fmla="*/ 145 w 384"/>
                  <a:gd name="T19" fmla="*/ 14 h 354"/>
                  <a:gd name="T20" fmla="*/ 153 w 384"/>
                  <a:gd name="T21" fmla="*/ 18 h 354"/>
                  <a:gd name="T22" fmla="*/ 163 w 384"/>
                  <a:gd name="T23" fmla="*/ 26 h 354"/>
                  <a:gd name="T24" fmla="*/ 184 w 384"/>
                  <a:gd name="T25" fmla="*/ 42 h 354"/>
                  <a:gd name="T26" fmla="*/ 208 w 384"/>
                  <a:gd name="T27" fmla="*/ 64 h 354"/>
                  <a:gd name="T28" fmla="*/ 230 w 384"/>
                  <a:gd name="T29" fmla="*/ 87 h 354"/>
                  <a:gd name="T30" fmla="*/ 268 w 384"/>
                  <a:gd name="T31" fmla="*/ 128 h 354"/>
                  <a:gd name="T32" fmla="*/ 283 w 384"/>
                  <a:gd name="T33" fmla="*/ 146 h 354"/>
                  <a:gd name="T34" fmla="*/ 283 w 384"/>
                  <a:gd name="T35" fmla="*/ 146 h 354"/>
                  <a:gd name="T36" fmla="*/ 297 w 384"/>
                  <a:gd name="T37" fmla="*/ 148 h 354"/>
                  <a:gd name="T38" fmla="*/ 310 w 384"/>
                  <a:gd name="T39" fmla="*/ 151 h 354"/>
                  <a:gd name="T40" fmla="*/ 327 w 384"/>
                  <a:gd name="T41" fmla="*/ 154 h 354"/>
                  <a:gd name="T42" fmla="*/ 342 w 384"/>
                  <a:gd name="T43" fmla="*/ 159 h 354"/>
                  <a:gd name="T44" fmla="*/ 358 w 384"/>
                  <a:gd name="T45" fmla="*/ 166 h 354"/>
                  <a:gd name="T46" fmla="*/ 364 w 384"/>
                  <a:gd name="T47" fmla="*/ 170 h 354"/>
                  <a:gd name="T48" fmla="*/ 370 w 384"/>
                  <a:gd name="T49" fmla="*/ 173 h 354"/>
                  <a:gd name="T50" fmla="*/ 373 w 384"/>
                  <a:gd name="T51" fmla="*/ 178 h 354"/>
                  <a:gd name="T52" fmla="*/ 376 w 384"/>
                  <a:gd name="T53" fmla="*/ 184 h 354"/>
                  <a:gd name="T54" fmla="*/ 376 w 384"/>
                  <a:gd name="T55" fmla="*/ 184 h 354"/>
                  <a:gd name="T56" fmla="*/ 378 w 384"/>
                  <a:gd name="T57" fmla="*/ 193 h 354"/>
                  <a:gd name="T58" fmla="*/ 381 w 384"/>
                  <a:gd name="T59" fmla="*/ 202 h 354"/>
                  <a:gd name="T60" fmla="*/ 383 w 384"/>
                  <a:gd name="T61" fmla="*/ 228 h 354"/>
                  <a:gd name="T62" fmla="*/ 384 w 384"/>
                  <a:gd name="T63" fmla="*/ 255 h 354"/>
                  <a:gd name="T64" fmla="*/ 384 w 384"/>
                  <a:gd name="T65" fmla="*/ 284 h 354"/>
                  <a:gd name="T66" fmla="*/ 384 w 384"/>
                  <a:gd name="T67" fmla="*/ 333 h 354"/>
                  <a:gd name="T68" fmla="*/ 383 w 384"/>
                  <a:gd name="T69" fmla="*/ 354 h 354"/>
                  <a:gd name="T70" fmla="*/ 0 w 384"/>
                  <a:gd name="T71" fmla="*/ 354 h 354"/>
                  <a:gd name="T72" fmla="*/ 0 w 384"/>
                  <a:gd name="T73"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4" h="354">
                    <a:moveTo>
                      <a:pt x="0" y="0"/>
                    </a:moveTo>
                    <a:lnTo>
                      <a:pt x="0" y="0"/>
                    </a:lnTo>
                    <a:lnTo>
                      <a:pt x="16" y="0"/>
                    </a:lnTo>
                    <a:lnTo>
                      <a:pt x="57" y="0"/>
                    </a:lnTo>
                    <a:lnTo>
                      <a:pt x="81" y="2"/>
                    </a:lnTo>
                    <a:lnTo>
                      <a:pt x="104" y="4"/>
                    </a:lnTo>
                    <a:lnTo>
                      <a:pt x="127" y="8"/>
                    </a:lnTo>
                    <a:lnTo>
                      <a:pt x="137" y="10"/>
                    </a:lnTo>
                    <a:lnTo>
                      <a:pt x="145" y="14"/>
                    </a:lnTo>
                    <a:lnTo>
                      <a:pt x="145" y="14"/>
                    </a:lnTo>
                    <a:lnTo>
                      <a:pt x="153" y="18"/>
                    </a:lnTo>
                    <a:lnTo>
                      <a:pt x="163" y="26"/>
                    </a:lnTo>
                    <a:lnTo>
                      <a:pt x="184" y="42"/>
                    </a:lnTo>
                    <a:lnTo>
                      <a:pt x="208" y="64"/>
                    </a:lnTo>
                    <a:lnTo>
                      <a:pt x="230" y="87"/>
                    </a:lnTo>
                    <a:lnTo>
                      <a:pt x="268" y="128"/>
                    </a:lnTo>
                    <a:lnTo>
                      <a:pt x="283" y="146"/>
                    </a:lnTo>
                    <a:lnTo>
                      <a:pt x="283" y="146"/>
                    </a:lnTo>
                    <a:lnTo>
                      <a:pt x="297" y="148"/>
                    </a:lnTo>
                    <a:lnTo>
                      <a:pt x="310" y="151"/>
                    </a:lnTo>
                    <a:lnTo>
                      <a:pt x="327" y="154"/>
                    </a:lnTo>
                    <a:lnTo>
                      <a:pt x="342" y="159"/>
                    </a:lnTo>
                    <a:lnTo>
                      <a:pt x="358" y="166"/>
                    </a:lnTo>
                    <a:lnTo>
                      <a:pt x="364" y="170"/>
                    </a:lnTo>
                    <a:lnTo>
                      <a:pt x="370" y="173"/>
                    </a:lnTo>
                    <a:lnTo>
                      <a:pt x="373" y="178"/>
                    </a:lnTo>
                    <a:lnTo>
                      <a:pt x="376" y="184"/>
                    </a:lnTo>
                    <a:lnTo>
                      <a:pt x="376" y="184"/>
                    </a:lnTo>
                    <a:lnTo>
                      <a:pt x="378" y="193"/>
                    </a:lnTo>
                    <a:lnTo>
                      <a:pt x="381" y="202"/>
                    </a:lnTo>
                    <a:lnTo>
                      <a:pt x="383" y="228"/>
                    </a:lnTo>
                    <a:lnTo>
                      <a:pt x="384" y="255"/>
                    </a:lnTo>
                    <a:lnTo>
                      <a:pt x="384" y="284"/>
                    </a:lnTo>
                    <a:lnTo>
                      <a:pt x="384" y="333"/>
                    </a:lnTo>
                    <a:lnTo>
                      <a:pt x="383" y="354"/>
                    </a:lnTo>
                    <a:lnTo>
                      <a:pt x="0" y="354"/>
                    </a:lnTo>
                    <a:lnTo>
                      <a:pt x="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56" name="Freeform 107">
                <a:extLst>
                  <a:ext uri="{FF2B5EF4-FFF2-40B4-BE49-F238E27FC236}">
                    <a16:creationId xmlns:a16="http://schemas.microsoft.com/office/drawing/2014/main" id="{F8D22937-E15B-4271-8A80-21637754CF76}"/>
                  </a:ext>
                </a:extLst>
              </p:cNvPr>
              <p:cNvSpPr>
                <a:spLocks/>
              </p:cNvSpPr>
              <p:nvPr/>
            </p:nvSpPr>
            <p:spPr bwMode="auto">
              <a:xfrm>
                <a:off x="5881688" y="361950"/>
                <a:ext cx="101600" cy="55562"/>
              </a:xfrm>
              <a:custGeom>
                <a:avLst/>
                <a:gdLst>
                  <a:gd name="T0" fmla="*/ 0 w 193"/>
                  <a:gd name="T1" fmla="*/ 2 h 107"/>
                  <a:gd name="T2" fmla="*/ 0 w 193"/>
                  <a:gd name="T3" fmla="*/ 2 h 107"/>
                  <a:gd name="T4" fmla="*/ 2 w 193"/>
                  <a:gd name="T5" fmla="*/ 1 h 107"/>
                  <a:gd name="T6" fmla="*/ 11 w 193"/>
                  <a:gd name="T7" fmla="*/ 0 h 107"/>
                  <a:gd name="T8" fmla="*/ 38 w 193"/>
                  <a:gd name="T9" fmla="*/ 0 h 107"/>
                  <a:gd name="T10" fmla="*/ 55 w 193"/>
                  <a:gd name="T11" fmla="*/ 1 h 107"/>
                  <a:gd name="T12" fmla="*/ 71 w 193"/>
                  <a:gd name="T13" fmla="*/ 2 h 107"/>
                  <a:gd name="T14" fmla="*/ 86 w 193"/>
                  <a:gd name="T15" fmla="*/ 6 h 107"/>
                  <a:gd name="T16" fmla="*/ 99 w 193"/>
                  <a:gd name="T17" fmla="*/ 9 h 107"/>
                  <a:gd name="T18" fmla="*/ 99 w 193"/>
                  <a:gd name="T19" fmla="*/ 9 h 107"/>
                  <a:gd name="T20" fmla="*/ 109 w 193"/>
                  <a:gd name="T21" fmla="*/ 15 h 107"/>
                  <a:gd name="T22" fmla="*/ 120 w 193"/>
                  <a:gd name="T23" fmla="*/ 23 h 107"/>
                  <a:gd name="T24" fmla="*/ 131 w 193"/>
                  <a:gd name="T25" fmla="*/ 31 h 107"/>
                  <a:gd name="T26" fmla="*/ 143 w 193"/>
                  <a:gd name="T27" fmla="*/ 42 h 107"/>
                  <a:gd name="T28" fmla="*/ 166 w 193"/>
                  <a:gd name="T29" fmla="*/ 64 h 107"/>
                  <a:gd name="T30" fmla="*/ 182 w 193"/>
                  <a:gd name="T31" fmla="*/ 83 h 107"/>
                  <a:gd name="T32" fmla="*/ 182 w 193"/>
                  <a:gd name="T33" fmla="*/ 83 h 107"/>
                  <a:gd name="T34" fmla="*/ 191 w 193"/>
                  <a:gd name="T35" fmla="*/ 94 h 107"/>
                  <a:gd name="T36" fmla="*/ 192 w 193"/>
                  <a:gd name="T37" fmla="*/ 97 h 107"/>
                  <a:gd name="T38" fmla="*/ 193 w 193"/>
                  <a:gd name="T39" fmla="*/ 101 h 107"/>
                  <a:gd name="T40" fmla="*/ 191 w 193"/>
                  <a:gd name="T41" fmla="*/ 103 h 107"/>
                  <a:gd name="T42" fmla="*/ 188 w 193"/>
                  <a:gd name="T43" fmla="*/ 106 h 107"/>
                  <a:gd name="T44" fmla="*/ 184 w 193"/>
                  <a:gd name="T45" fmla="*/ 107 h 107"/>
                  <a:gd name="T46" fmla="*/ 178 w 193"/>
                  <a:gd name="T47" fmla="*/ 107 h 107"/>
                  <a:gd name="T48" fmla="*/ 0 w 193"/>
                  <a:gd name="T49" fmla="*/ 107 h 107"/>
                  <a:gd name="T50" fmla="*/ 0 w 193"/>
                  <a:gd name="T51" fmla="*/ 107 h 107"/>
                  <a:gd name="T52" fmla="*/ 0 w 193"/>
                  <a:gd name="T53" fmla="*/ 2 h 107"/>
                  <a:gd name="T54" fmla="*/ 0 w 193"/>
                  <a:gd name="T55" fmla="*/ 2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93" h="107">
                    <a:moveTo>
                      <a:pt x="0" y="2"/>
                    </a:moveTo>
                    <a:lnTo>
                      <a:pt x="0" y="2"/>
                    </a:lnTo>
                    <a:lnTo>
                      <a:pt x="2" y="1"/>
                    </a:lnTo>
                    <a:lnTo>
                      <a:pt x="11" y="0"/>
                    </a:lnTo>
                    <a:lnTo>
                      <a:pt x="38" y="0"/>
                    </a:lnTo>
                    <a:lnTo>
                      <a:pt x="55" y="1"/>
                    </a:lnTo>
                    <a:lnTo>
                      <a:pt x="71" y="2"/>
                    </a:lnTo>
                    <a:lnTo>
                      <a:pt x="86" y="6"/>
                    </a:lnTo>
                    <a:lnTo>
                      <a:pt x="99" y="9"/>
                    </a:lnTo>
                    <a:lnTo>
                      <a:pt x="99" y="9"/>
                    </a:lnTo>
                    <a:lnTo>
                      <a:pt x="109" y="15"/>
                    </a:lnTo>
                    <a:lnTo>
                      <a:pt x="120" y="23"/>
                    </a:lnTo>
                    <a:lnTo>
                      <a:pt x="131" y="31"/>
                    </a:lnTo>
                    <a:lnTo>
                      <a:pt x="143" y="42"/>
                    </a:lnTo>
                    <a:lnTo>
                      <a:pt x="166" y="64"/>
                    </a:lnTo>
                    <a:lnTo>
                      <a:pt x="182" y="83"/>
                    </a:lnTo>
                    <a:lnTo>
                      <a:pt x="182" y="83"/>
                    </a:lnTo>
                    <a:lnTo>
                      <a:pt x="191" y="94"/>
                    </a:lnTo>
                    <a:lnTo>
                      <a:pt x="192" y="97"/>
                    </a:lnTo>
                    <a:lnTo>
                      <a:pt x="193" y="101"/>
                    </a:lnTo>
                    <a:lnTo>
                      <a:pt x="191" y="103"/>
                    </a:lnTo>
                    <a:lnTo>
                      <a:pt x="188" y="106"/>
                    </a:lnTo>
                    <a:lnTo>
                      <a:pt x="184" y="107"/>
                    </a:lnTo>
                    <a:lnTo>
                      <a:pt x="178" y="107"/>
                    </a:lnTo>
                    <a:lnTo>
                      <a:pt x="0" y="107"/>
                    </a:lnTo>
                    <a:lnTo>
                      <a:pt x="0" y="107"/>
                    </a:lnTo>
                    <a:lnTo>
                      <a:pt x="0" y="2"/>
                    </a:lnTo>
                    <a:lnTo>
                      <a:pt x="0" y="2"/>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57" name="Freeform 108">
                <a:extLst>
                  <a:ext uri="{FF2B5EF4-FFF2-40B4-BE49-F238E27FC236}">
                    <a16:creationId xmlns:a16="http://schemas.microsoft.com/office/drawing/2014/main" id="{0FDE8B3C-B27B-4126-BA89-6B3888DA850C}"/>
                  </a:ext>
                </a:extLst>
              </p:cNvPr>
              <p:cNvSpPr>
                <a:spLocks/>
              </p:cNvSpPr>
              <p:nvPr/>
            </p:nvSpPr>
            <p:spPr bwMode="auto">
              <a:xfrm>
                <a:off x="5926138" y="484188"/>
                <a:ext cx="88900" cy="90487"/>
              </a:xfrm>
              <a:custGeom>
                <a:avLst/>
                <a:gdLst>
                  <a:gd name="T0" fmla="*/ 168 w 168"/>
                  <a:gd name="T1" fmla="*/ 85 h 169"/>
                  <a:gd name="T2" fmla="*/ 167 w 168"/>
                  <a:gd name="T3" fmla="*/ 102 h 169"/>
                  <a:gd name="T4" fmla="*/ 162 w 168"/>
                  <a:gd name="T5" fmla="*/ 118 h 169"/>
                  <a:gd name="T6" fmla="*/ 154 w 168"/>
                  <a:gd name="T7" fmla="*/ 132 h 169"/>
                  <a:gd name="T8" fmla="*/ 143 w 168"/>
                  <a:gd name="T9" fmla="*/ 144 h 169"/>
                  <a:gd name="T10" fmla="*/ 131 w 168"/>
                  <a:gd name="T11" fmla="*/ 155 h 169"/>
                  <a:gd name="T12" fmla="*/ 117 w 168"/>
                  <a:gd name="T13" fmla="*/ 162 h 169"/>
                  <a:gd name="T14" fmla="*/ 101 w 168"/>
                  <a:gd name="T15" fmla="*/ 167 h 169"/>
                  <a:gd name="T16" fmla="*/ 84 w 168"/>
                  <a:gd name="T17" fmla="*/ 169 h 169"/>
                  <a:gd name="T18" fmla="*/ 76 w 168"/>
                  <a:gd name="T19" fmla="*/ 168 h 169"/>
                  <a:gd name="T20" fmla="*/ 59 w 168"/>
                  <a:gd name="T21" fmla="*/ 166 h 169"/>
                  <a:gd name="T22" fmla="*/ 44 w 168"/>
                  <a:gd name="T23" fmla="*/ 159 h 169"/>
                  <a:gd name="T24" fmla="*/ 30 w 168"/>
                  <a:gd name="T25" fmla="*/ 150 h 169"/>
                  <a:gd name="T26" fmla="*/ 19 w 168"/>
                  <a:gd name="T27" fmla="*/ 138 h 169"/>
                  <a:gd name="T28" fmla="*/ 10 w 168"/>
                  <a:gd name="T29" fmla="*/ 125 h 169"/>
                  <a:gd name="T30" fmla="*/ 4 w 168"/>
                  <a:gd name="T31" fmla="*/ 109 h 169"/>
                  <a:gd name="T32" fmla="*/ 0 w 168"/>
                  <a:gd name="T33" fmla="*/ 94 h 169"/>
                  <a:gd name="T34" fmla="*/ 0 w 168"/>
                  <a:gd name="T35" fmla="*/ 85 h 169"/>
                  <a:gd name="T36" fmla="*/ 1 w 168"/>
                  <a:gd name="T37" fmla="*/ 67 h 169"/>
                  <a:gd name="T38" fmla="*/ 6 w 168"/>
                  <a:gd name="T39" fmla="*/ 52 h 169"/>
                  <a:gd name="T40" fmla="*/ 15 w 168"/>
                  <a:gd name="T41" fmla="*/ 37 h 169"/>
                  <a:gd name="T42" fmla="*/ 24 w 168"/>
                  <a:gd name="T43" fmla="*/ 25 h 169"/>
                  <a:gd name="T44" fmla="*/ 37 w 168"/>
                  <a:gd name="T45" fmla="*/ 14 h 169"/>
                  <a:gd name="T46" fmla="*/ 51 w 168"/>
                  <a:gd name="T47" fmla="*/ 7 h 169"/>
                  <a:gd name="T48" fmla="*/ 68 w 168"/>
                  <a:gd name="T49" fmla="*/ 2 h 169"/>
                  <a:gd name="T50" fmla="*/ 84 w 168"/>
                  <a:gd name="T51" fmla="*/ 0 h 169"/>
                  <a:gd name="T52" fmla="*/ 93 w 168"/>
                  <a:gd name="T53" fmla="*/ 1 h 169"/>
                  <a:gd name="T54" fmla="*/ 110 w 168"/>
                  <a:gd name="T55" fmla="*/ 5 h 169"/>
                  <a:gd name="T56" fmla="*/ 124 w 168"/>
                  <a:gd name="T57" fmla="*/ 11 h 169"/>
                  <a:gd name="T58" fmla="*/ 137 w 168"/>
                  <a:gd name="T59" fmla="*/ 19 h 169"/>
                  <a:gd name="T60" fmla="*/ 149 w 168"/>
                  <a:gd name="T61" fmla="*/ 31 h 169"/>
                  <a:gd name="T62" fmla="*/ 159 w 168"/>
                  <a:gd name="T63" fmla="*/ 44 h 169"/>
                  <a:gd name="T64" fmla="*/ 165 w 168"/>
                  <a:gd name="T65" fmla="*/ 60 h 169"/>
                  <a:gd name="T66" fmla="*/ 168 w 168"/>
                  <a:gd name="T67" fmla="*/ 76 h 169"/>
                  <a:gd name="T68" fmla="*/ 168 w 168"/>
                  <a:gd name="T69"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8" h="169">
                    <a:moveTo>
                      <a:pt x="168" y="85"/>
                    </a:moveTo>
                    <a:lnTo>
                      <a:pt x="168" y="85"/>
                    </a:lnTo>
                    <a:lnTo>
                      <a:pt x="168" y="94"/>
                    </a:lnTo>
                    <a:lnTo>
                      <a:pt x="167" y="102"/>
                    </a:lnTo>
                    <a:lnTo>
                      <a:pt x="165" y="109"/>
                    </a:lnTo>
                    <a:lnTo>
                      <a:pt x="162" y="118"/>
                    </a:lnTo>
                    <a:lnTo>
                      <a:pt x="159" y="125"/>
                    </a:lnTo>
                    <a:lnTo>
                      <a:pt x="154" y="132"/>
                    </a:lnTo>
                    <a:lnTo>
                      <a:pt x="149" y="138"/>
                    </a:lnTo>
                    <a:lnTo>
                      <a:pt x="143" y="144"/>
                    </a:lnTo>
                    <a:lnTo>
                      <a:pt x="137" y="150"/>
                    </a:lnTo>
                    <a:lnTo>
                      <a:pt x="131" y="155"/>
                    </a:lnTo>
                    <a:lnTo>
                      <a:pt x="124" y="159"/>
                    </a:lnTo>
                    <a:lnTo>
                      <a:pt x="117" y="162"/>
                    </a:lnTo>
                    <a:lnTo>
                      <a:pt x="110" y="166"/>
                    </a:lnTo>
                    <a:lnTo>
                      <a:pt x="101" y="167"/>
                    </a:lnTo>
                    <a:lnTo>
                      <a:pt x="93" y="168"/>
                    </a:lnTo>
                    <a:lnTo>
                      <a:pt x="84" y="169"/>
                    </a:lnTo>
                    <a:lnTo>
                      <a:pt x="84" y="169"/>
                    </a:lnTo>
                    <a:lnTo>
                      <a:pt x="76" y="168"/>
                    </a:lnTo>
                    <a:lnTo>
                      <a:pt x="68" y="167"/>
                    </a:lnTo>
                    <a:lnTo>
                      <a:pt x="59" y="166"/>
                    </a:lnTo>
                    <a:lnTo>
                      <a:pt x="51" y="162"/>
                    </a:lnTo>
                    <a:lnTo>
                      <a:pt x="44" y="159"/>
                    </a:lnTo>
                    <a:lnTo>
                      <a:pt x="37" y="155"/>
                    </a:lnTo>
                    <a:lnTo>
                      <a:pt x="30" y="150"/>
                    </a:lnTo>
                    <a:lnTo>
                      <a:pt x="24" y="144"/>
                    </a:lnTo>
                    <a:lnTo>
                      <a:pt x="19" y="138"/>
                    </a:lnTo>
                    <a:lnTo>
                      <a:pt x="15" y="132"/>
                    </a:lnTo>
                    <a:lnTo>
                      <a:pt x="10" y="125"/>
                    </a:lnTo>
                    <a:lnTo>
                      <a:pt x="6" y="118"/>
                    </a:lnTo>
                    <a:lnTo>
                      <a:pt x="4" y="109"/>
                    </a:lnTo>
                    <a:lnTo>
                      <a:pt x="1" y="102"/>
                    </a:lnTo>
                    <a:lnTo>
                      <a:pt x="0" y="94"/>
                    </a:lnTo>
                    <a:lnTo>
                      <a:pt x="0" y="85"/>
                    </a:lnTo>
                    <a:lnTo>
                      <a:pt x="0" y="85"/>
                    </a:lnTo>
                    <a:lnTo>
                      <a:pt x="0" y="76"/>
                    </a:lnTo>
                    <a:lnTo>
                      <a:pt x="1" y="67"/>
                    </a:lnTo>
                    <a:lnTo>
                      <a:pt x="4" y="60"/>
                    </a:lnTo>
                    <a:lnTo>
                      <a:pt x="6" y="52"/>
                    </a:lnTo>
                    <a:lnTo>
                      <a:pt x="10" y="44"/>
                    </a:lnTo>
                    <a:lnTo>
                      <a:pt x="15" y="37"/>
                    </a:lnTo>
                    <a:lnTo>
                      <a:pt x="19" y="31"/>
                    </a:lnTo>
                    <a:lnTo>
                      <a:pt x="24" y="25"/>
                    </a:lnTo>
                    <a:lnTo>
                      <a:pt x="30" y="19"/>
                    </a:lnTo>
                    <a:lnTo>
                      <a:pt x="37" y="14"/>
                    </a:lnTo>
                    <a:lnTo>
                      <a:pt x="44" y="11"/>
                    </a:lnTo>
                    <a:lnTo>
                      <a:pt x="51" y="7"/>
                    </a:lnTo>
                    <a:lnTo>
                      <a:pt x="59" y="5"/>
                    </a:lnTo>
                    <a:lnTo>
                      <a:pt x="68" y="2"/>
                    </a:lnTo>
                    <a:lnTo>
                      <a:pt x="76" y="1"/>
                    </a:lnTo>
                    <a:lnTo>
                      <a:pt x="84" y="0"/>
                    </a:lnTo>
                    <a:lnTo>
                      <a:pt x="84" y="0"/>
                    </a:lnTo>
                    <a:lnTo>
                      <a:pt x="93" y="1"/>
                    </a:lnTo>
                    <a:lnTo>
                      <a:pt x="101" y="2"/>
                    </a:lnTo>
                    <a:lnTo>
                      <a:pt x="110" y="5"/>
                    </a:lnTo>
                    <a:lnTo>
                      <a:pt x="117" y="7"/>
                    </a:lnTo>
                    <a:lnTo>
                      <a:pt x="124" y="11"/>
                    </a:lnTo>
                    <a:lnTo>
                      <a:pt x="131" y="14"/>
                    </a:lnTo>
                    <a:lnTo>
                      <a:pt x="137" y="19"/>
                    </a:lnTo>
                    <a:lnTo>
                      <a:pt x="143" y="25"/>
                    </a:lnTo>
                    <a:lnTo>
                      <a:pt x="149" y="31"/>
                    </a:lnTo>
                    <a:lnTo>
                      <a:pt x="154" y="37"/>
                    </a:lnTo>
                    <a:lnTo>
                      <a:pt x="159" y="44"/>
                    </a:lnTo>
                    <a:lnTo>
                      <a:pt x="162" y="52"/>
                    </a:lnTo>
                    <a:lnTo>
                      <a:pt x="165" y="60"/>
                    </a:lnTo>
                    <a:lnTo>
                      <a:pt x="167" y="67"/>
                    </a:lnTo>
                    <a:lnTo>
                      <a:pt x="168" y="76"/>
                    </a:lnTo>
                    <a:lnTo>
                      <a:pt x="168" y="85"/>
                    </a:lnTo>
                    <a:lnTo>
                      <a:pt x="168"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58" name="Freeform 109">
                <a:extLst>
                  <a:ext uri="{FF2B5EF4-FFF2-40B4-BE49-F238E27FC236}">
                    <a16:creationId xmlns:a16="http://schemas.microsoft.com/office/drawing/2014/main" id="{40AEB792-479A-4856-94EA-EDE17CA9BA00}"/>
                  </a:ext>
                </a:extLst>
              </p:cNvPr>
              <p:cNvSpPr>
                <a:spLocks/>
              </p:cNvSpPr>
              <p:nvPr/>
            </p:nvSpPr>
            <p:spPr bwMode="auto">
              <a:xfrm>
                <a:off x="5930900" y="488950"/>
                <a:ext cx="80962" cy="80962"/>
              </a:xfrm>
              <a:custGeom>
                <a:avLst/>
                <a:gdLst>
                  <a:gd name="T0" fmla="*/ 153 w 153"/>
                  <a:gd name="T1" fmla="*/ 77 h 153"/>
                  <a:gd name="T2" fmla="*/ 153 w 153"/>
                  <a:gd name="T3" fmla="*/ 77 h 153"/>
                  <a:gd name="T4" fmla="*/ 153 w 153"/>
                  <a:gd name="T5" fmla="*/ 85 h 153"/>
                  <a:gd name="T6" fmla="*/ 152 w 153"/>
                  <a:gd name="T7" fmla="*/ 92 h 153"/>
                  <a:gd name="T8" fmla="*/ 151 w 153"/>
                  <a:gd name="T9" fmla="*/ 99 h 153"/>
                  <a:gd name="T10" fmla="*/ 147 w 153"/>
                  <a:gd name="T11" fmla="*/ 106 h 153"/>
                  <a:gd name="T12" fmla="*/ 145 w 153"/>
                  <a:gd name="T13" fmla="*/ 113 h 153"/>
                  <a:gd name="T14" fmla="*/ 141 w 153"/>
                  <a:gd name="T15" fmla="*/ 119 h 153"/>
                  <a:gd name="T16" fmla="*/ 131 w 153"/>
                  <a:gd name="T17" fmla="*/ 131 h 153"/>
                  <a:gd name="T18" fmla="*/ 119 w 153"/>
                  <a:gd name="T19" fmla="*/ 140 h 153"/>
                  <a:gd name="T20" fmla="*/ 113 w 153"/>
                  <a:gd name="T21" fmla="*/ 143 h 153"/>
                  <a:gd name="T22" fmla="*/ 107 w 153"/>
                  <a:gd name="T23" fmla="*/ 147 h 153"/>
                  <a:gd name="T24" fmla="*/ 100 w 153"/>
                  <a:gd name="T25" fmla="*/ 149 h 153"/>
                  <a:gd name="T26" fmla="*/ 93 w 153"/>
                  <a:gd name="T27" fmla="*/ 152 h 153"/>
                  <a:gd name="T28" fmla="*/ 85 w 153"/>
                  <a:gd name="T29" fmla="*/ 153 h 153"/>
                  <a:gd name="T30" fmla="*/ 77 w 153"/>
                  <a:gd name="T31" fmla="*/ 153 h 153"/>
                  <a:gd name="T32" fmla="*/ 77 w 153"/>
                  <a:gd name="T33" fmla="*/ 153 h 153"/>
                  <a:gd name="T34" fmla="*/ 69 w 153"/>
                  <a:gd name="T35" fmla="*/ 153 h 153"/>
                  <a:gd name="T36" fmla="*/ 62 w 153"/>
                  <a:gd name="T37" fmla="*/ 152 h 153"/>
                  <a:gd name="T38" fmla="*/ 55 w 153"/>
                  <a:gd name="T39" fmla="*/ 149 h 153"/>
                  <a:gd name="T40" fmla="*/ 47 w 153"/>
                  <a:gd name="T41" fmla="*/ 147 h 153"/>
                  <a:gd name="T42" fmla="*/ 41 w 153"/>
                  <a:gd name="T43" fmla="*/ 143 h 153"/>
                  <a:gd name="T44" fmla="*/ 34 w 153"/>
                  <a:gd name="T45" fmla="*/ 140 h 153"/>
                  <a:gd name="T46" fmla="*/ 23 w 153"/>
                  <a:gd name="T47" fmla="*/ 131 h 153"/>
                  <a:gd name="T48" fmla="*/ 14 w 153"/>
                  <a:gd name="T49" fmla="*/ 119 h 153"/>
                  <a:gd name="T50" fmla="*/ 10 w 153"/>
                  <a:gd name="T51" fmla="*/ 113 h 153"/>
                  <a:gd name="T52" fmla="*/ 6 w 153"/>
                  <a:gd name="T53" fmla="*/ 106 h 153"/>
                  <a:gd name="T54" fmla="*/ 4 w 153"/>
                  <a:gd name="T55" fmla="*/ 99 h 153"/>
                  <a:gd name="T56" fmla="*/ 3 w 153"/>
                  <a:gd name="T57" fmla="*/ 92 h 153"/>
                  <a:gd name="T58" fmla="*/ 2 w 153"/>
                  <a:gd name="T59" fmla="*/ 85 h 153"/>
                  <a:gd name="T60" fmla="*/ 0 w 153"/>
                  <a:gd name="T61" fmla="*/ 77 h 153"/>
                  <a:gd name="T62" fmla="*/ 0 w 153"/>
                  <a:gd name="T63" fmla="*/ 77 h 153"/>
                  <a:gd name="T64" fmla="*/ 2 w 153"/>
                  <a:gd name="T65" fmla="*/ 69 h 153"/>
                  <a:gd name="T66" fmla="*/ 3 w 153"/>
                  <a:gd name="T67" fmla="*/ 62 h 153"/>
                  <a:gd name="T68" fmla="*/ 4 w 153"/>
                  <a:gd name="T69" fmla="*/ 54 h 153"/>
                  <a:gd name="T70" fmla="*/ 6 w 153"/>
                  <a:gd name="T71" fmla="*/ 47 h 153"/>
                  <a:gd name="T72" fmla="*/ 10 w 153"/>
                  <a:gd name="T73" fmla="*/ 40 h 153"/>
                  <a:gd name="T74" fmla="*/ 14 w 153"/>
                  <a:gd name="T75" fmla="*/ 34 h 153"/>
                  <a:gd name="T76" fmla="*/ 23 w 153"/>
                  <a:gd name="T77" fmla="*/ 23 h 153"/>
                  <a:gd name="T78" fmla="*/ 34 w 153"/>
                  <a:gd name="T79" fmla="*/ 14 h 153"/>
                  <a:gd name="T80" fmla="*/ 41 w 153"/>
                  <a:gd name="T81" fmla="*/ 10 h 153"/>
                  <a:gd name="T82" fmla="*/ 47 w 153"/>
                  <a:gd name="T83" fmla="*/ 6 h 153"/>
                  <a:gd name="T84" fmla="*/ 55 w 153"/>
                  <a:gd name="T85" fmla="*/ 4 h 153"/>
                  <a:gd name="T86" fmla="*/ 62 w 153"/>
                  <a:gd name="T87" fmla="*/ 2 h 153"/>
                  <a:gd name="T88" fmla="*/ 69 w 153"/>
                  <a:gd name="T89" fmla="*/ 0 h 153"/>
                  <a:gd name="T90" fmla="*/ 77 w 153"/>
                  <a:gd name="T91" fmla="*/ 0 h 153"/>
                  <a:gd name="T92" fmla="*/ 77 w 153"/>
                  <a:gd name="T93" fmla="*/ 0 h 153"/>
                  <a:gd name="T94" fmla="*/ 85 w 153"/>
                  <a:gd name="T95" fmla="*/ 0 h 153"/>
                  <a:gd name="T96" fmla="*/ 93 w 153"/>
                  <a:gd name="T97" fmla="*/ 2 h 153"/>
                  <a:gd name="T98" fmla="*/ 100 w 153"/>
                  <a:gd name="T99" fmla="*/ 4 h 153"/>
                  <a:gd name="T100" fmla="*/ 107 w 153"/>
                  <a:gd name="T101" fmla="*/ 6 h 153"/>
                  <a:gd name="T102" fmla="*/ 113 w 153"/>
                  <a:gd name="T103" fmla="*/ 10 h 153"/>
                  <a:gd name="T104" fmla="*/ 119 w 153"/>
                  <a:gd name="T105" fmla="*/ 14 h 153"/>
                  <a:gd name="T106" fmla="*/ 131 w 153"/>
                  <a:gd name="T107" fmla="*/ 23 h 153"/>
                  <a:gd name="T108" fmla="*/ 141 w 153"/>
                  <a:gd name="T109" fmla="*/ 34 h 153"/>
                  <a:gd name="T110" fmla="*/ 145 w 153"/>
                  <a:gd name="T111" fmla="*/ 40 h 153"/>
                  <a:gd name="T112" fmla="*/ 147 w 153"/>
                  <a:gd name="T113" fmla="*/ 47 h 153"/>
                  <a:gd name="T114" fmla="*/ 151 w 153"/>
                  <a:gd name="T115" fmla="*/ 54 h 153"/>
                  <a:gd name="T116" fmla="*/ 152 w 153"/>
                  <a:gd name="T117" fmla="*/ 62 h 153"/>
                  <a:gd name="T118" fmla="*/ 153 w 153"/>
                  <a:gd name="T119" fmla="*/ 69 h 153"/>
                  <a:gd name="T120" fmla="*/ 153 w 153"/>
                  <a:gd name="T121" fmla="*/ 77 h 153"/>
                  <a:gd name="T122" fmla="*/ 153 w 153"/>
                  <a:gd name="T123"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 h="153">
                    <a:moveTo>
                      <a:pt x="153" y="77"/>
                    </a:moveTo>
                    <a:lnTo>
                      <a:pt x="153" y="77"/>
                    </a:lnTo>
                    <a:lnTo>
                      <a:pt x="153" y="85"/>
                    </a:lnTo>
                    <a:lnTo>
                      <a:pt x="152" y="92"/>
                    </a:lnTo>
                    <a:lnTo>
                      <a:pt x="151" y="99"/>
                    </a:lnTo>
                    <a:lnTo>
                      <a:pt x="147" y="106"/>
                    </a:lnTo>
                    <a:lnTo>
                      <a:pt x="145" y="113"/>
                    </a:lnTo>
                    <a:lnTo>
                      <a:pt x="141" y="119"/>
                    </a:lnTo>
                    <a:lnTo>
                      <a:pt x="131" y="131"/>
                    </a:lnTo>
                    <a:lnTo>
                      <a:pt x="119" y="140"/>
                    </a:lnTo>
                    <a:lnTo>
                      <a:pt x="113" y="143"/>
                    </a:lnTo>
                    <a:lnTo>
                      <a:pt x="107" y="147"/>
                    </a:lnTo>
                    <a:lnTo>
                      <a:pt x="100" y="149"/>
                    </a:lnTo>
                    <a:lnTo>
                      <a:pt x="93" y="152"/>
                    </a:lnTo>
                    <a:lnTo>
                      <a:pt x="85" y="153"/>
                    </a:lnTo>
                    <a:lnTo>
                      <a:pt x="77" y="153"/>
                    </a:lnTo>
                    <a:lnTo>
                      <a:pt x="77" y="153"/>
                    </a:lnTo>
                    <a:lnTo>
                      <a:pt x="69" y="153"/>
                    </a:lnTo>
                    <a:lnTo>
                      <a:pt x="62" y="152"/>
                    </a:lnTo>
                    <a:lnTo>
                      <a:pt x="55" y="149"/>
                    </a:lnTo>
                    <a:lnTo>
                      <a:pt x="47" y="147"/>
                    </a:lnTo>
                    <a:lnTo>
                      <a:pt x="41" y="143"/>
                    </a:lnTo>
                    <a:lnTo>
                      <a:pt x="34" y="140"/>
                    </a:lnTo>
                    <a:lnTo>
                      <a:pt x="23" y="131"/>
                    </a:lnTo>
                    <a:lnTo>
                      <a:pt x="14" y="119"/>
                    </a:lnTo>
                    <a:lnTo>
                      <a:pt x="10" y="113"/>
                    </a:lnTo>
                    <a:lnTo>
                      <a:pt x="6" y="106"/>
                    </a:lnTo>
                    <a:lnTo>
                      <a:pt x="4" y="99"/>
                    </a:lnTo>
                    <a:lnTo>
                      <a:pt x="3" y="92"/>
                    </a:lnTo>
                    <a:lnTo>
                      <a:pt x="2" y="85"/>
                    </a:lnTo>
                    <a:lnTo>
                      <a:pt x="0" y="77"/>
                    </a:lnTo>
                    <a:lnTo>
                      <a:pt x="0" y="77"/>
                    </a:lnTo>
                    <a:lnTo>
                      <a:pt x="2" y="69"/>
                    </a:lnTo>
                    <a:lnTo>
                      <a:pt x="3" y="62"/>
                    </a:lnTo>
                    <a:lnTo>
                      <a:pt x="4" y="54"/>
                    </a:lnTo>
                    <a:lnTo>
                      <a:pt x="6" y="47"/>
                    </a:lnTo>
                    <a:lnTo>
                      <a:pt x="10" y="40"/>
                    </a:lnTo>
                    <a:lnTo>
                      <a:pt x="14" y="34"/>
                    </a:lnTo>
                    <a:lnTo>
                      <a:pt x="23" y="23"/>
                    </a:lnTo>
                    <a:lnTo>
                      <a:pt x="34" y="14"/>
                    </a:lnTo>
                    <a:lnTo>
                      <a:pt x="41" y="10"/>
                    </a:lnTo>
                    <a:lnTo>
                      <a:pt x="47" y="6"/>
                    </a:lnTo>
                    <a:lnTo>
                      <a:pt x="55" y="4"/>
                    </a:lnTo>
                    <a:lnTo>
                      <a:pt x="62" y="2"/>
                    </a:lnTo>
                    <a:lnTo>
                      <a:pt x="69" y="0"/>
                    </a:lnTo>
                    <a:lnTo>
                      <a:pt x="77" y="0"/>
                    </a:lnTo>
                    <a:lnTo>
                      <a:pt x="77" y="0"/>
                    </a:lnTo>
                    <a:lnTo>
                      <a:pt x="85" y="0"/>
                    </a:lnTo>
                    <a:lnTo>
                      <a:pt x="93" y="2"/>
                    </a:lnTo>
                    <a:lnTo>
                      <a:pt x="100" y="4"/>
                    </a:lnTo>
                    <a:lnTo>
                      <a:pt x="107" y="6"/>
                    </a:lnTo>
                    <a:lnTo>
                      <a:pt x="113" y="10"/>
                    </a:lnTo>
                    <a:lnTo>
                      <a:pt x="119" y="14"/>
                    </a:lnTo>
                    <a:lnTo>
                      <a:pt x="131" y="23"/>
                    </a:lnTo>
                    <a:lnTo>
                      <a:pt x="141" y="34"/>
                    </a:lnTo>
                    <a:lnTo>
                      <a:pt x="145" y="40"/>
                    </a:lnTo>
                    <a:lnTo>
                      <a:pt x="147" y="47"/>
                    </a:lnTo>
                    <a:lnTo>
                      <a:pt x="151" y="54"/>
                    </a:lnTo>
                    <a:lnTo>
                      <a:pt x="152" y="62"/>
                    </a:lnTo>
                    <a:lnTo>
                      <a:pt x="153" y="69"/>
                    </a:lnTo>
                    <a:lnTo>
                      <a:pt x="153" y="77"/>
                    </a:lnTo>
                    <a:lnTo>
                      <a:pt x="153" y="7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59" name="Freeform 110">
                <a:extLst>
                  <a:ext uri="{FF2B5EF4-FFF2-40B4-BE49-F238E27FC236}">
                    <a16:creationId xmlns:a16="http://schemas.microsoft.com/office/drawing/2014/main" id="{9D48D714-2D28-44F5-AFB4-E3E41EA9F22B}"/>
                  </a:ext>
                </a:extLst>
              </p:cNvPr>
              <p:cNvSpPr>
                <a:spLocks/>
              </p:cNvSpPr>
              <p:nvPr/>
            </p:nvSpPr>
            <p:spPr bwMode="auto">
              <a:xfrm>
                <a:off x="5949950" y="508000"/>
                <a:ext cx="42862" cy="42862"/>
              </a:xfrm>
              <a:custGeom>
                <a:avLst/>
                <a:gdLst>
                  <a:gd name="T0" fmla="*/ 81 w 81"/>
                  <a:gd name="T1" fmla="*/ 41 h 82"/>
                  <a:gd name="T2" fmla="*/ 81 w 81"/>
                  <a:gd name="T3" fmla="*/ 41 h 82"/>
                  <a:gd name="T4" fmla="*/ 80 w 81"/>
                  <a:gd name="T5" fmla="*/ 49 h 82"/>
                  <a:gd name="T6" fmla="*/ 78 w 81"/>
                  <a:gd name="T7" fmla="*/ 57 h 82"/>
                  <a:gd name="T8" fmla="*/ 74 w 81"/>
                  <a:gd name="T9" fmla="*/ 64 h 82"/>
                  <a:gd name="T10" fmla="*/ 69 w 81"/>
                  <a:gd name="T11" fmla="*/ 70 h 82"/>
                  <a:gd name="T12" fmla="*/ 63 w 81"/>
                  <a:gd name="T13" fmla="*/ 75 h 82"/>
                  <a:gd name="T14" fmla="*/ 56 w 81"/>
                  <a:gd name="T15" fmla="*/ 79 h 82"/>
                  <a:gd name="T16" fmla="*/ 49 w 81"/>
                  <a:gd name="T17" fmla="*/ 81 h 82"/>
                  <a:gd name="T18" fmla="*/ 40 w 81"/>
                  <a:gd name="T19" fmla="*/ 82 h 82"/>
                  <a:gd name="T20" fmla="*/ 40 w 81"/>
                  <a:gd name="T21" fmla="*/ 82 h 82"/>
                  <a:gd name="T22" fmla="*/ 32 w 81"/>
                  <a:gd name="T23" fmla="*/ 81 h 82"/>
                  <a:gd name="T24" fmla="*/ 25 w 81"/>
                  <a:gd name="T25" fmla="*/ 79 h 82"/>
                  <a:gd name="T26" fmla="*/ 18 w 81"/>
                  <a:gd name="T27" fmla="*/ 75 h 82"/>
                  <a:gd name="T28" fmla="*/ 12 w 81"/>
                  <a:gd name="T29" fmla="*/ 70 h 82"/>
                  <a:gd name="T30" fmla="*/ 7 w 81"/>
                  <a:gd name="T31" fmla="*/ 64 h 82"/>
                  <a:gd name="T32" fmla="*/ 2 w 81"/>
                  <a:gd name="T33" fmla="*/ 57 h 82"/>
                  <a:gd name="T34" fmla="*/ 1 w 81"/>
                  <a:gd name="T35" fmla="*/ 49 h 82"/>
                  <a:gd name="T36" fmla="*/ 0 w 81"/>
                  <a:gd name="T37" fmla="*/ 41 h 82"/>
                  <a:gd name="T38" fmla="*/ 0 w 81"/>
                  <a:gd name="T39" fmla="*/ 41 h 82"/>
                  <a:gd name="T40" fmla="*/ 1 w 81"/>
                  <a:gd name="T41" fmla="*/ 33 h 82"/>
                  <a:gd name="T42" fmla="*/ 2 w 81"/>
                  <a:gd name="T43" fmla="*/ 25 h 82"/>
                  <a:gd name="T44" fmla="*/ 7 w 81"/>
                  <a:gd name="T45" fmla="*/ 18 h 82"/>
                  <a:gd name="T46" fmla="*/ 12 w 81"/>
                  <a:gd name="T47" fmla="*/ 12 h 82"/>
                  <a:gd name="T48" fmla="*/ 18 w 81"/>
                  <a:gd name="T49" fmla="*/ 6 h 82"/>
                  <a:gd name="T50" fmla="*/ 25 w 81"/>
                  <a:gd name="T51" fmla="*/ 3 h 82"/>
                  <a:gd name="T52" fmla="*/ 32 w 81"/>
                  <a:gd name="T53" fmla="*/ 0 h 82"/>
                  <a:gd name="T54" fmla="*/ 40 w 81"/>
                  <a:gd name="T55" fmla="*/ 0 h 82"/>
                  <a:gd name="T56" fmla="*/ 40 w 81"/>
                  <a:gd name="T57" fmla="*/ 0 h 82"/>
                  <a:gd name="T58" fmla="*/ 49 w 81"/>
                  <a:gd name="T59" fmla="*/ 0 h 82"/>
                  <a:gd name="T60" fmla="*/ 56 w 81"/>
                  <a:gd name="T61" fmla="*/ 3 h 82"/>
                  <a:gd name="T62" fmla="*/ 63 w 81"/>
                  <a:gd name="T63" fmla="*/ 6 h 82"/>
                  <a:gd name="T64" fmla="*/ 69 w 81"/>
                  <a:gd name="T65" fmla="*/ 12 h 82"/>
                  <a:gd name="T66" fmla="*/ 74 w 81"/>
                  <a:gd name="T67" fmla="*/ 18 h 82"/>
                  <a:gd name="T68" fmla="*/ 78 w 81"/>
                  <a:gd name="T69" fmla="*/ 25 h 82"/>
                  <a:gd name="T70" fmla="*/ 80 w 81"/>
                  <a:gd name="T71" fmla="*/ 33 h 82"/>
                  <a:gd name="T72" fmla="*/ 81 w 81"/>
                  <a:gd name="T73" fmla="*/ 41 h 82"/>
                  <a:gd name="T74" fmla="*/ 81 w 81"/>
                  <a:gd name="T75"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2">
                    <a:moveTo>
                      <a:pt x="81" y="41"/>
                    </a:moveTo>
                    <a:lnTo>
                      <a:pt x="81" y="41"/>
                    </a:lnTo>
                    <a:lnTo>
                      <a:pt x="80" y="49"/>
                    </a:lnTo>
                    <a:lnTo>
                      <a:pt x="78" y="57"/>
                    </a:lnTo>
                    <a:lnTo>
                      <a:pt x="74" y="64"/>
                    </a:lnTo>
                    <a:lnTo>
                      <a:pt x="69" y="70"/>
                    </a:lnTo>
                    <a:lnTo>
                      <a:pt x="63" y="75"/>
                    </a:lnTo>
                    <a:lnTo>
                      <a:pt x="56" y="79"/>
                    </a:lnTo>
                    <a:lnTo>
                      <a:pt x="49" y="81"/>
                    </a:lnTo>
                    <a:lnTo>
                      <a:pt x="40" y="82"/>
                    </a:lnTo>
                    <a:lnTo>
                      <a:pt x="40" y="82"/>
                    </a:lnTo>
                    <a:lnTo>
                      <a:pt x="32" y="81"/>
                    </a:lnTo>
                    <a:lnTo>
                      <a:pt x="25" y="79"/>
                    </a:lnTo>
                    <a:lnTo>
                      <a:pt x="18" y="75"/>
                    </a:lnTo>
                    <a:lnTo>
                      <a:pt x="12" y="70"/>
                    </a:lnTo>
                    <a:lnTo>
                      <a:pt x="7" y="64"/>
                    </a:lnTo>
                    <a:lnTo>
                      <a:pt x="2" y="57"/>
                    </a:lnTo>
                    <a:lnTo>
                      <a:pt x="1" y="49"/>
                    </a:lnTo>
                    <a:lnTo>
                      <a:pt x="0" y="41"/>
                    </a:lnTo>
                    <a:lnTo>
                      <a:pt x="0" y="41"/>
                    </a:lnTo>
                    <a:lnTo>
                      <a:pt x="1" y="33"/>
                    </a:lnTo>
                    <a:lnTo>
                      <a:pt x="2" y="25"/>
                    </a:lnTo>
                    <a:lnTo>
                      <a:pt x="7" y="18"/>
                    </a:lnTo>
                    <a:lnTo>
                      <a:pt x="12" y="12"/>
                    </a:lnTo>
                    <a:lnTo>
                      <a:pt x="18" y="6"/>
                    </a:lnTo>
                    <a:lnTo>
                      <a:pt x="25" y="3"/>
                    </a:lnTo>
                    <a:lnTo>
                      <a:pt x="32" y="0"/>
                    </a:lnTo>
                    <a:lnTo>
                      <a:pt x="40" y="0"/>
                    </a:lnTo>
                    <a:lnTo>
                      <a:pt x="40" y="0"/>
                    </a:lnTo>
                    <a:lnTo>
                      <a:pt x="49" y="0"/>
                    </a:lnTo>
                    <a:lnTo>
                      <a:pt x="56" y="3"/>
                    </a:lnTo>
                    <a:lnTo>
                      <a:pt x="63" y="6"/>
                    </a:lnTo>
                    <a:lnTo>
                      <a:pt x="69" y="12"/>
                    </a:lnTo>
                    <a:lnTo>
                      <a:pt x="74" y="18"/>
                    </a:lnTo>
                    <a:lnTo>
                      <a:pt x="78" y="25"/>
                    </a:lnTo>
                    <a:lnTo>
                      <a:pt x="80" y="33"/>
                    </a:lnTo>
                    <a:lnTo>
                      <a:pt x="81" y="41"/>
                    </a:lnTo>
                    <a:lnTo>
                      <a:pt x="81" y="41"/>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60" name="Freeform 111">
                <a:extLst>
                  <a:ext uri="{FF2B5EF4-FFF2-40B4-BE49-F238E27FC236}">
                    <a16:creationId xmlns:a16="http://schemas.microsoft.com/office/drawing/2014/main" id="{D8109F6B-5C77-4C76-AD6B-09C019D478B3}"/>
                  </a:ext>
                </a:extLst>
              </p:cNvPr>
              <p:cNvSpPr>
                <a:spLocks/>
              </p:cNvSpPr>
              <p:nvPr/>
            </p:nvSpPr>
            <p:spPr bwMode="auto">
              <a:xfrm>
                <a:off x="5741988" y="484188"/>
                <a:ext cx="88900" cy="90487"/>
              </a:xfrm>
              <a:custGeom>
                <a:avLst/>
                <a:gdLst>
                  <a:gd name="T0" fmla="*/ 169 w 169"/>
                  <a:gd name="T1" fmla="*/ 85 h 169"/>
                  <a:gd name="T2" fmla="*/ 168 w 169"/>
                  <a:gd name="T3" fmla="*/ 102 h 169"/>
                  <a:gd name="T4" fmla="*/ 163 w 169"/>
                  <a:gd name="T5" fmla="*/ 118 h 169"/>
                  <a:gd name="T6" fmla="*/ 154 w 169"/>
                  <a:gd name="T7" fmla="*/ 132 h 169"/>
                  <a:gd name="T8" fmla="*/ 145 w 169"/>
                  <a:gd name="T9" fmla="*/ 144 h 169"/>
                  <a:gd name="T10" fmla="*/ 131 w 169"/>
                  <a:gd name="T11" fmla="*/ 155 h 169"/>
                  <a:gd name="T12" fmla="*/ 117 w 169"/>
                  <a:gd name="T13" fmla="*/ 162 h 169"/>
                  <a:gd name="T14" fmla="*/ 101 w 169"/>
                  <a:gd name="T15" fmla="*/ 167 h 169"/>
                  <a:gd name="T16" fmla="*/ 85 w 169"/>
                  <a:gd name="T17" fmla="*/ 169 h 169"/>
                  <a:gd name="T18" fmla="*/ 76 w 169"/>
                  <a:gd name="T19" fmla="*/ 168 h 169"/>
                  <a:gd name="T20" fmla="*/ 59 w 169"/>
                  <a:gd name="T21" fmla="*/ 166 h 169"/>
                  <a:gd name="T22" fmla="*/ 45 w 169"/>
                  <a:gd name="T23" fmla="*/ 159 h 169"/>
                  <a:gd name="T24" fmla="*/ 31 w 169"/>
                  <a:gd name="T25" fmla="*/ 150 h 169"/>
                  <a:gd name="T26" fmla="*/ 20 w 169"/>
                  <a:gd name="T27" fmla="*/ 138 h 169"/>
                  <a:gd name="T28" fmla="*/ 10 w 169"/>
                  <a:gd name="T29" fmla="*/ 125 h 169"/>
                  <a:gd name="T30" fmla="*/ 4 w 169"/>
                  <a:gd name="T31" fmla="*/ 109 h 169"/>
                  <a:gd name="T32" fmla="*/ 0 w 169"/>
                  <a:gd name="T33" fmla="*/ 94 h 169"/>
                  <a:gd name="T34" fmla="*/ 0 w 169"/>
                  <a:gd name="T35" fmla="*/ 85 h 169"/>
                  <a:gd name="T36" fmla="*/ 2 w 169"/>
                  <a:gd name="T37" fmla="*/ 67 h 169"/>
                  <a:gd name="T38" fmla="*/ 7 w 169"/>
                  <a:gd name="T39" fmla="*/ 52 h 169"/>
                  <a:gd name="T40" fmla="*/ 15 w 169"/>
                  <a:gd name="T41" fmla="*/ 37 h 169"/>
                  <a:gd name="T42" fmla="*/ 25 w 169"/>
                  <a:gd name="T43" fmla="*/ 25 h 169"/>
                  <a:gd name="T44" fmla="*/ 38 w 169"/>
                  <a:gd name="T45" fmla="*/ 14 h 169"/>
                  <a:gd name="T46" fmla="*/ 52 w 169"/>
                  <a:gd name="T47" fmla="*/ 7 h 169"/>
                  <a:gd name="T48" fmla="*/ 68 w 169"/>
                  <a:gd name="T49" fmla="*/ 2 h 169"/>
                  <a:gd name="T50" fmla="*/ 85 w 169"/>
                  <a:gd name="T51" fmla="*/ 0 h 169"/>
                  <a:gd name="T52" fmla="*/ 93 w 169"/>
                  <a:gd name="T53" fmla="*/ 1 h 169"/>
                  <a:gd name="T54" fmla="*/ 110 w 169"/>
                  <a:gd name="T55" fmla="*/ 5 h 169"/>
                  <a:gd name="T56" fmla="*/ 125 w 169"/>
                  <a:gd name="T57" fmla="*/ 11 h 169"/>
                  <a:gd name="T58" fmla="*/ 139 w 169"/>
                  <a:gd name="T59" fmla="*/ 19 h 169"/>
                  <a:gd name="T60" fmla="*/ 150 w 169"/>
                  <a:gd name="T61" fmla="*/ 31 h 169"/>
                  <a:gd name="T62" fmla="*/ 159 w 169"/>
                  <a:gd name="T63" fmla="*/ 44 h 169"/>
                  <a:gd name="T64" fmla="*/ 165 w 169"/>
                  <a:gd name="T65" fmla="*/ 60 h 169"/>
                  <a:gd name="T66" fmla="*/ 169 w 169"/>
                  <a:gd name="T67" fmla="*/ 76 h 169"/>
                  <a:gd name="T68" fmla="*/ 169 w 169"/>
                  <a:gd name="T69"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69">
                    <a:moveTo>
                      <a:pt x="169" y="85"/>
                    </a:moveTo>
                    <a:lnTo>
                      <a:pt x="169" y="85"/>
                    </a:lnTo>
                    <a:lnTo>
                      <a:pt x="169" y="94"/>
                    </a:lnTo>
                    <a:lnTo>
                      <a:pt x="168" y="102"/>
                    </a:lnTo>
                    <a:lnTo>
                      <a:pt x="165" y="109"/>
                    </a:lnTo>
                    <a:lnTo>
                      <a:pt x="163" y="118"/>
                    </a:lnTo>
                    <a:lnTo>
                      <a:pt x="159" y="125"/>
                    </a:lnTo>
                    <a:lnTo>
                      <a:pt x="154" y="132"/>
                    </a:lnTo>
                    <a:lnTo>
                      <a:pt x="150" y="138"/>
                    </a:lnTo>
                    <a:lnTo>
                      <a:pt x="145" y="144"/>
                    </a:lnTo>
                    <a:lnTo>
                      <a:pt x="139" y="150"/>
                    </a:lnTo>
                    <a:lnTo>
                      <a:pt x="131" y="155"/>
                    </a:lnTo>
                    <a:lnTo>
                      <a:pt x="125" y="159"/>
                    </a:lnTo>
                    <a:lnTo>
                      <a:pt x="117" y="162"/>
                    </a:lnTo>
                    <a:lnTo>
                      <a:pt x="110" y="166"/>
                    </a:lnTo>
                    <a:lnTo>
                      <a:pt x="101" y="167"/>
                    </a:lnTo>
                    <a:lnTo>
                      <a:pt x="93" y="168"/>
                    </a:lnTo>
                    <a:lnTo>
                      <a:pt x="85" y="169"/>
                    </a:lnTo>
                    <a:lnTo>
                      <a:pt x="85" y="169"/>
                    </a:lnTo>
                    <a:lnTo>
                      <a:pt x="76" y="168"/>
                    </a:lnTo>
                    <a:lnTo>
                      <a:pt x="68" y="167"/>
                    </a:lnTo>
                    <a:lnTo>
                      <a:pt x="59" y="166"/>
                    </a:lnTo>
                    <a:lnTo>
                      <a:pt x="52" y="162"/>
                    </a:lnTo>
                    <a:lnTo>
                      <a:pt x="45" y="159"/>
                    </a:lnTo>
                    <a:lnTo>
                      <a:pt x="38" y="155"/>
                    </a:lnTo>
                    <a:lnTo>
                      <a:pt x="31" y="150"/>
                    </a:lnTo>
                    <a:lnTo>
                      <a:pt x="25" y="144"/>
                    </a:lnTo>
                    <a:lnTo>
                      <a:pt x="20" y="138"/>
                    </a:lnTo>
                    <a:lnTo>
                      <a:pt x="15" y="132"/>
                    </a:lnTo>
                    <a:lnTo>
                      <a:pt x="10" y="125"/>
                    </a:lnTo>
                    <a:lnTo>
                      <a:pt x="7" y="118"/>
                    </a:lnTo>
                    <a:lnTo>
                      <a:pt x="4" y="109"/>
                    </a:lnTo>
                    <a:lnTo>
                      <a:pt x="2" y="102"/>
                    </a:lnTo>
                    <a:lnTo>
                      <a:pt x="0" y="94"/>
                    </a:lnTo>
                    <a:lnTo>
                      <a:pt x="0" y="85"/>
                    </a:lnTo>
                    <a:lnTo>
                      <a:pt x="0" y="85"/>
                    </a:lnTo>
                    <a:lnTo>
                      <a:pt x="0" y="76"/>
                    </a:lnTo>
                    <a:lnTo>
                      <a:pt x="2" y="67"/>
                    </a:lnTo>
                    <a:lnTo>
                      <a:pt x="4" y="60"/>
                    </a:lnTo>
                    <a:lnTo>
                      <a:pt x="7" y="52"/>
                    </a:lnTo>
                    <a:lnTo>
                      <a:pt x="10" y="44"/>
                    </a:lnTo>
                    <a:lnTo>
                      <a:pt x="15" y="37"/>
                    </a:lnTo>
                    <a:lnTo>
                      <a:pt x="20" y="31"/>
                    </a:lnTo>
                    <a:lnTo>
                      <a:pt x="25" y="25"/>
                    </a:lnTo>
                    <a:lnTo>
                      <a:pt x="31" y="19"/>
                    </a:lnTo>
                    <a:lnTo>
                      <a:pt x="38" y="14"/>
                    </a:lnTo>
                    <a:lnTo>
                      <a:pt x="45" y="11"/>
                    </a:lnTo>
                    <a:lnTo>
                      <a:pt x="52" y="7"/>
                    </a:lnTo>
                    <a:lnTo>
                      <a:pt x="59" y="5"/>
                    </a:lnTo>
                    <a:lnTo>
                      <a:pt x="68" y="2"/>
                    </a:lnTo>
                    <a:lnTo>
                      <a:pt x="76" y="1"/>
                    </a:lnTo>
                    <a:lnTo>
                      <a:pt x="85" y="0"/>
                    </a:lnTo>
                    <a:lnTo>
                      <a:pt x="85" y="0"/>
                    </a:lnTo>
                    <a:lnTo>
                      <a:pt x="93" y="1"/>
                    </a:lnTo>
                    <a:lnTo>
                      <a:pt x="101" y="2"/>
                    </a:lnTo>
                    <a:lnTo>
                      <a:pt x="110" y="5"/>
                    </a:lnTo>
                    <a:lnTo>
                      <a:pt x="117" y="7"/>
                    </a:lnTo>
                    <a:lnTo>
                      <a:pt x="125" y="11"/>
                    </a:lnTo>
                    <a:lnTo>
                      <a:pt x="131" y="14"/>
                    </a:lnTo>
                    <a:lnTo>
                      <a:pt x="139" y="19"/>
                    </a:lnTo>
                    <a:lnTo>
                      <a:pt x="145" y="25"/>
                    </a:lnTo>
                    <a:lnTo>
                      <a:pt x="150" y="31"/>
                    </a:lnTo>
                    <a:lnTo>
                      <a:pt x="154" y="37"/>
                    </a:lnTo>
                    <a:lnTo>
                      <a:pt x="159" y="44"/>
                    </a:lnTo>
                    <a:lnTo>
                      <a:pt x="163" y="52"/>
                    </a:lnTo>
                    <a:lnTo>
                      <a:pt x="165" y="60"/>
                    </a:lnTo>
                    <a:lnTo>
                      <a:pt x="168" y="67"/>
                    </a:lnTo>
                    <a:lnTo>
                      <a:pt x="169" y="76"/>
                    </a:lnTo>
                    <a:lnTo>
                      <a:pt x="169" y="85"/>
                    </a:lnTo>
                    <a:lnTo>
                      <a:pt x="169"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61" name="Freeform 112">
                <a:extLst>
                  <a:ext uri="{FF2B5EF4-FFF2-40B4-BE49-F238E27FC236}">
                    <a16:creationId xmlns:a16="http://schemas.microsoft.com/office/drawing/2014/main" id="{CA9848A7-CF50-4481-BCB7-F087EEF55F24}"/>
                  </a:ext>
                </a:extLst>
              </p:cNvPr>
              <p:cNvSpPr>
                <a:spLocks/>
              </p:cNvSpPr>
              <p:nvPr/>
            </p:nvSpPr>
            <p:spPr bwMode="auto">
              <a:xfrm>
                <a:off x="5746750" y="488950"/>
                <a:ext cx="80962" cy="80962"/>
              </a:xfrm>
              <a:custGeom>
                <a:avLst/>
                <a:gdLst>
                  <a:gd name="T0" fmla="*/ 153 w 153"/>
                  <a:gd name="T1" fmla="*/ 77 h 153"/>
                  <a:gd name="T2" fmla="*/ 153 w 153"/>
                  <a:gd name="T3" fmla="*/ 77 h 153"/>
                  <a:gd name="T4" fmla="*/ 151 w 153"/>
                  <a:gd name="T5" fmla="*/ 85 h 153"/>
                  <a:gd name="T6" fmla="*/ 150 w 153"/>
                  <a:gd name="T7" fmla="*/ 92 h 153"/>
                  <a:gd name="T8" fmla="*/ 149 w 153"/>
                  <a:gd name="T9" fmla="*/ 99 h 153"/>
                  <a:gd name="T10" fmla="*/ 147 w 153"/>
                  <a:gd name="T11" fmla="*/ 106 h 153"/>
                  <a:gd name="T12" fmla="*/ 143 w 153"/>
                  <a:gd name="T13" fmla="*/ 113 h 153"/>
                  <a:gd name="T14" fmla="*/ 139 w 153"/>
                  <a:gd name="T15" fmla="*/ 119 h 153"/>
                  <a:gd name="T16" fmla="*/ 130 w 153"/>
                  <a:gd name="T17" fmla="*/ 131 h 153"/>
                  <a:gd name="T18" fmla="*/ 119 w 153"/>
                  <a:gd name="T19" fmla="*/ 140 h 153"/>
                  <a:gd name="T20" fmla="*/ 112 w 153"/>
                  <a:gd name="T21" fmla="*/ 143 h 153"/>
                  <a:gd name="T22" fmla="*/ 106 w 153"/>
                  <a:gd name="T23" fmla="*/ 147 h 153"/>
                  <a:gd name="T24" fmla="*/ 98 w 153"/>
                  <a:gd name="T25" fmla="*/ 149 h 153"/>
                  <a:gd name="T26" fmla="*/ 91 w 153"/>
                  <a:gd name="T27" fmla="*/ 152 h 153"/>
                  <a:gd name="T28" fmla="*/ 84 w 153"/>
                  <a:gd name="T29" fmla="*/ 153 h 153"/>
                  <a:gd name="T30" fmla="*/ 76 w 153"/>
                  <a:gd name="T31" fmla="*/ 153 h 153"/>
                  <a:gd name="T32" fmla="*/ 76 w 153"/>
                  <a:gd name="T33" fmla="*/ 153 h 153"/>
                  <a:gd name="T34" fmla="*/ 68 w 153"/>
                  <a:gd name="T35" fmla="*/ 153 h 153"/>
                  <a:gd name="T36" fmla="*/ 60 w 153"/>
                  <a:gd name="T37" fmla="*/ 152 h 153"/>
                  <a:gd name="T38" fmla="*/ 53 w 153"/>
                  <a:gd name="T39" fmla="*/ 149 h 153"/>
                  <a:gd name="T40" fmla="*/ 46 w 153"/>
                  <a:gd name="T41" fmla="*/ 147 h 153"/>
                  <a:gd name="T42" fmla="*/ 40 w 153"/>
                  <a:gd name="T43" fmla="*/ 143 h 153"/>
                  <a:gd name="T44" fmla="*/ 34 w 153"/>
                  <a:gd name="T45" fmla="*/ 140 h 153"/>
                  <a:gd name="T46" fmla="*/ 22 w 153"/>
                  <a:gd name="T47" fmla="*/ 131 h 153"/>
                  <a:gd name="T48" fmla="*/ 12 w 153"/>
                  <a:gd name="T49" fmla="*/ 119 h 153"/>
                  <a:gd name="T50" fmla="*/ 8 w 153"/>
                  <a:gd name="T51" fmla="*/ 113 h 153"/>
                  <a:gd name="T52" fmla="*/ 6 w 153"/>
                  <a:gd name="T53" fmla="*/ 106 h 153"/>
                  <a:gd name="T54" fmla="*/ 2 w 153"/>
                  <a:gd name="T55" fmla="*/ 99 h 153"/>
                  <a:gd name="T56" fmla="*/ 1 w 153"/>
                  <a:gd name="T57" fmla="*/ 92 h 153"/>
                  <a:gd name="T58" fmla="*/ 0 w 153"/>
                  <a:gd name="T59" fmla="*/ 85 h 153"/>
                  <a:gd name="T60" fmla="*/ 0 w 153"/>
                  <a:gd name="T61" fmla="*/ 77 h 153"/>
                  <a:gd name="T62" fmla="*/ 0 w 153"/>
                  <a:gd name="T63" fmla="*/ 77 h 153"/>
                  <a:gd name="T64" fmla="*/ 0 w 153"/>
                  <a:gd name="T65" fmla="*/ 69 h 153"/>
                  <a:gd name="T66" fmla="*/ 1 w 153"/>
                  <a:gd name="T67" fmla="*/ 62 h 153"/>
                  <a:gd name="T68" fmla="*/ 2 w 153"/>
                  <a:gd name="T69" fmla="*/ 54 h 153"/>
                  <a:gd name="T70" fmla="*/ 6 w 153"/>
                  <a:gd name="T71" fmla="*/ 47 h 153"/>
                  <a:gd name="T72" fmla="*/ 8 w 153"/>
                  <a:gd name="T73" fmla="*/ 40 h 153"/>
                  <a:gd name="T74" fmla="*/ 12 w 153"/>
                  <a:gd name="T75" fmla="*/ 34 h 153"/>
                  <a:gd name="T76" fmla="*/ 22 w 153"/>
                  <a:gd name="T77" fmla="*/ 23 h 153"/>
                  <a:gd name="T78" fmla="*/ 34 w 153"/>
                  <a:gd name="T79" fmla="*/ 14 h 153"/>
                  <a:gd name="T80" fmla="*/ 40 w 153"/>
                  <a:gd name="T81" fmla="*/ 10 h 153"/>
                  <a:gd name="T82" fmla="*/ 46 w 153"/>
                  <a:gd name="T83" fmla="*/ 6 h 153"/>
                  <a:gd name="T84" fmla="*/ 53 w 153"/>
                  <a:gd name="T85" fmla="*/ 4 h 153"/>
                  <a:gd name="T86" fmla="*/ 60 w 153"/>
                  <a:gd name="T87" fmla="*/ 2 h 153"/>
                  <a:gd name="T88" fmla="*/ 68 w 153"/>
                  <a:gd name="T89" fmla="*/ 0 h 153"/>
                  <a:gd name="T90" fmla="*/ 76 w 153"/>
                  <a:gd name="T91" fmla="*/ 0 h 153"/>
                  <a:gd name="T92" fmla="*/ 76 w 153"/>
                  <a:gd name="T93" fmla="*/ 0 h 153"/>
                  <a:gd name="T94" fmla="*/ 84 w 153"/>
                  <a:gd name="T95" fmla="*/ 0 h 153"/>
                  <a:gd name="T96" fmla="*/ 91 w 153"/>
                  <a:gd name="T97" fmla="*/ 2 h 153"/>
                  <a:gd name="T98" fmla="*/ 98 w 153"/>
                  <a:gd name="T99" fmla="*/ 4 h 153"/>
                  <a:gd name="T100" fmla="*/ 106 w 153"/>
                  <a:gd name="T101" fmla="*/ 6 h 153"/>
                  <a:gd name="T102" fmla="*/ 112 w 153"/>
                  <a:gd name="T103" fmla="*/ 10 h 153"/>
                  <a:gd name="T104" fmla="*/ 119 w 153"/>
                  <a:gd name="T105" fmla="*/ 14 h 153"/>
                  <a:gd name="T106" fmla="*/ 130 w 153"/>
                  <a:gd name="T107" fmla="*/ 23 h 153"/>
                  <a:gd name="T108" fmla="*/ 139 w 153"/>
                  <a:gd name="T109" fmla="*/ 34 h 153"/>
                  <a:gd name="T110" fmla="*/ 143 w 153"/>
                  <a:gd name="T111" fmla="*/ 40 h 153"/>
                  <a:gd name="T112" fmla="*/ 147 w 153"/>
                  <a:gd name="T113" fmla="*/ 47 h 153"/>
                  <a:gd name="T114" fmla="*/ 149 w 153"/>
                  <a:gd name="T115" fmla="*/ 54 h 153"/>
                  <a:gd name="T116" fmla="*/ 150 w 153"/>
                  <a:gd name="T117" fmla="*/ 62 h 153"/>
                  <a:gd name="T118" fmla="*/ 151 w 153"/>
                  <a:gd name="T119" fmla="*/ 69 h 153"/>
                  <a:gd name="T120" fmla="*/ 153 w 153"/>
                  <a:gd name="T121" fmla="*/ 77 h 153"/>
                  <a:gd name="T122" fmla="*/ 153 w 153"/>
                  <a:gd name="T123"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 h="153">
                    <a:moveTo>
                      <a:pt x="153" y="77"/>
                    </a:moveTo>
                    <a:lnTo>
                      <a:pt x="153" y="77"/>
                    </a:lnTo>
                    <a:lnTo>
                      <a:pt x="151" y="85"/>
                    </a:lnTo>
                    <a:lnTo>
                      <a:pt x="150" y="92"/>
                    </a:lnTo>
                    <a:lnTo>
                      <a:pt x="149" y="99"/>
                    </a:lnTo>
                    <a:lnTo>
                      <a:pt x="147" y="106"/>
                    </a:lnTo>
                    <a:lnTo>
                      <a:pt x="143" y="113"/>
                    </a:lnTo>
                    <a:lnTo>
                      <a:pt x="139" y="119"/>
                    </a:lnTo>
                    <a:lnTo>
                      <a:pt x="130" y="131"/>
                    </a:lnTo>
                    <a:lnTo>
                      <a:pt x="119" y="140"/>
                    </a:lnTo>
                    <a:lnTo>
                      <a:pt x="112" y="143"/>
                    </a:lnTo>
                    <a:lnTo>
                      <a:pt x="106" y="147"/>
                    </a:lnTo>
                    <a:lnTo>
                      <a:pt x="98" y="149"/>
                    </a:lnTo>
                    <a:lnTo>
                      <a:pt x="91" y="152"/>
                    </a:lnTo>
                    <a:lnTo>
                      <a:pt x="84" y="153"/>
                    </a:lnTo>
                    <a:lnTo>
                      <a:pt x="76" y="153"/>
                    </a:lnTo>
                    <a:lnTo>
                      <a:pt x="76" y="153"/>
                    </a:lnTo>
                    <a:lnTo>
                      <a:pt x="68" y="153"/>
                    </a:lnTo>
                    <a:lnTo>
                      <a:pt x="60" y="152"/>
                    </a:lnTo>
                    <a:lnTo>
                      <a:pt x="53" y="149"/>
                    </a:lnTo>
                    <a:lnTo>
                      <a:pt x="46" y="147"/>
                    </a:lnTo>
                    <a:lnTo>
                      <a:pt x="40" y="143"/>
                    </a:lnTo>
                    <a:lnTo>
                      <a:pt x="34" y="140"/>
                    </a:lnTo>
                    <a:lnTo>
                      <a:pt x="22" y="131"/>
                    </a:lnTo>
                    <a:lnTo>
                      <a:pt x="12" y="119"/>
                    </a:lnTo>
                    <a:lnTo>
                      <a:pt x="8" y="113"/>
                    </a:lnTo>
                    <a:lnTo>
                      <a:pt x="6" y="106"/>
                    </a:lnTo>
                    <a:lnTo>
                      <a:pt x="2" y="99"/>
                    </a:lnTo>
                    <a:lnTo>
                      <a:pt x="1" y="92"/>
                    </a:lnTo>
                    <a:lnTo>
                      <a:pt x="0" y="85"/>
                    </a:lnTo>
                    <a:lnTo>
                      <a:pt x="0" y="77"/>
                    </a:lnTo>
                    <a:lnTo>
                      <a:pt x="0" y="77"/>
                    </a:lnTo>
                    <a:lnTo>
                      <a:pt x="0" y="69"/>
                    </a:lnTo>
                    <a:lnTo>
                      <a:pt x="1" y="62"/>
                    </a:lnTo>
                    <a:lnTo>
                      <a:pt x="2" y="54"/>
                    </a:lnTo>
                    <a:lnTo>
                      <a:pt x="6" y="47"/>
                    </a:lnTo>
                    <a:lnTo>
                      <a:pt x="8" y="40"/>
                    </a:lnTo>
                    <a:lnTo>
                      <a:pt x="12" y="34"/>
                    </a:lnTo>
                    <a:lnTo>
                      <a:pt x="22" y="23"/>
                    </a:lnTo>
                    <a:lnTo>
                      <a:pt x="34" y="14"/>
                    </a:lnTo>
                    <a:lnTo>
                      <a:pt x="40" y="10"/>
                    </a:lnTo>
                    <a:lnTo>
                      <a:pt x="46" y="6"/>
                    </a:lnTo>
                    <a:lnTo>
                      <a:pt x="53" y="4"/>
                    </a:lnTo>
                    <a:lnTo>
                      <a:pt x="60" y="2"/>
                    </a:lnTo>
                    <a:lnTo>
                      <a:pt x="68" y="0"/>
                    </a:lnTo>
                    <a:lnTo>
                      <a:pt x="76" y="0"/>
                    </a:lnTo>
                    <a:lnTo>
                      <a:pt x="76" y="0"/>
                    </a:lnTo>
                    <a:lnTo>
                      <a:pt x="84" y="0"/>
                    </a:lnTo>
                    <a:lnTo>
                      <a:pt x="91" y="2"/>
                    </a:lnTo>
                    <a:lnTo>
                      <a:pt x="98" y="4"/>
                    </a:lnTo>
                    <a:lnTo>
                      <a:pt x="106" y="6"/>
                    </a:lnTo>
                    <a:lnTo>
                      <a:pt x="112" y="10"/>
                    </a:lnTo>
                    <a:lnTo>
                      <a:pt x="119" y="14"/>
                    </a:lnTo>
                    <a:lnTo>
                      <a:pt x="130" y="23"/>
                    </a:lnTo>
                    <a:lnTo>
                      <a:pt x="139" y="34"/>
                    </a:lnTo>
                    <a:lnTo>
                      <a:pt x="143" y="40"/>
                    </a:lnTo>
                    <a:lnTo>
                      <a:pt x="147" y="47"/>
                    </a:lnTo>
                    <a:lnTo>
                      <a:pt x="149" y="54"/>
                    </a:lnTo>
                    <a:lnTo>
                      <a:pt x="150" y="62"/>
                    </a:lnTo>
                    <a:lnTo>
                      <a:pt x="151" y="69"/>
                    </a:lnTo>
                    <a:lnTo>
                      <a:pt x="153" y="77"/>
                    </a:lnTo>
                    <a:lnTo>
                      <a:pt x="153" y="7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62" name="Freeform 113">
                <a:extLst>
                  <a:ext uri="{FF2B5EF4-FFF2-40B4-BE49-F238E27FC236}">
                    <a16:creationId xmlns:a16="http://schemas.microsoft.com/office/drawing/2014/main" id="{463945F5-9A06-4655-9DB5-E1B586A508A4}"/>
                  </a:ext>
                </a:extLst>
              </p:cNvPr>
              <p:cNvSpPr>
                <a:spLocks/>
              </p:cNvSpPr>
              <p:nvPr/>
            </p:nvSpPr>
            <p:spPr bwMode="auto">
              <a:xfrm>
                <a:off x="5764213" y="508000"/>
                <a:ext cx="42862" cy="42862"/>
              </a:xfrm>
              <a:custGeom>
                <a:avLst/>
                <a:gdLst>
                  <a:gd name="T0" fmla="*/ 81 w 81"/>
                  <a:gd name="T1" fmla="*/ 41 h 82"/>
                  <a:gd name="T2" fmla="*/ 81 w 81"/>
                  <a:gd name="T3" fmla="*/ 41 h 82"/>
                  <a:gd name="T4" fmla="*/ 80 w 81"/>
                  <a:gd name="T5" fmla="*/ 49 h 82"/>
                  <a:gd name="T6" fmla="*/ 78 w 81"/>
                  <a:gd name="T7" fmla="*/ 57 h 82"/>
                  <a:gd name="T8" fmla="*/ 74 w 81"/>
                  <a:gd name="T9" fmla="*/ 64 h 82"/>
                  <a:gd name="T10" fmla="*/ 69 w 81"/>
                  <a:gd name="T11" fmla="*/ 70 h 82"/>
                  <a:gd name="T12" fmla="*/ 63 w 81"/>
                  <a:gd name="T13" fmla="*/ 75 h 82"/>
                  <a:gd name="T14" fmla="*/ 56 w 81"/>
                  <a:gd name="T15" fmla="*/ 79 h 82"/>
                  <a:gd name="T16" fmla="*/ 49 w 81"/>
                  <a:gd name="T17" fmla="*/ 81 h 82"/>
                  <a:gd name="T18" fmla="*/ 41 w 81"/>
                  <a:gd name="T19" fmla="*/ 82 h 82"/>
                  <a:gd name="T20" fmla="*/ 41 w 81"/>
                  <a:gd name="T21" fmla="*/ 82 h 82"/>
                  <a:gd name="T22" fmla="*/ 32 w 81"/>
                  <a:gd name="T23" fmla="*/ 81 h 82"/>
                  <a:gd name="T24" fmla="*/ 25 w 81"/>
                  <a:gd name="T25" fmla="*/ 79 h 82"/>
                  <a:gd name="T26" fmla="*/ 18 w 81"/>
                  <a:gd name="T27" fmla="*/ 75 h 82"/>
                  <a:gd name="T28" fmla="*/ 12 w 81"/>
                  <a:gd name="T29" fmla="*/ 70 h 82"/>
                  <a:gd name="T30" fmla="*/ 7 w 81"/>
                  <a:gd name="T31" fmla="*/ 64 h 82"/>
                  <a:gd name="T32" fmla="*/ 3 w 81"/>
                  <a:gd name="T33" fmla="*/ 57 h 82"/>
                  <a:gd name="T34" fmla="*/ 1 w 81"/>
                  <a:gd name="T35" fmla="*/ 49 h 82"/>
                  <a:gd name="T36" fmla="*/ 0 w 81"/>
                  <a:gd name="T37" fmla="*/ 41 h 82"/>
                  <a:gd name="T38" fmla="*/ 0 w 81"/>
                  <a:gd name="T39" fmla="*/ 41 h 82"/>
                  <a:gd name="T40" fmla="*/ 1 w 81"/>
                  <a:gd name="T41" fmla="*/ 33 h 82"/>
                  <a:gd name="T42" fmla="*/ 3 w 81"/>
                  <a:gd name="T43" fmla="*/ 25 h 82"/>
                  <a:gd name="T44" fmla="*/ 7 w 81"/>
                  <a:gd name="T45" fmla="*/ 18 h 82"/>
                  <a:gd name="T46" fmla="*/ 12 w 81"/>
                  <a:gd name="T47" fmla="*/ 12 h 82"/>
                  <a:gd name="T48" fmla="*/ 18 w 81"/>
                  <a:gd name="T49" fmla="*/ 6 h 82"/>
                  <a:gd name="T50" fmla="*/ 25 w 81"/>
                  <a:gd name="T51" fmla="*/ 3 h 82"/>
                  <a:gd name="T52" fmla="*/ 32 w 81"/>
                  <a:gd name="T53" fmla="*/ 0 h 82"/>
                  <a:gd name="T54" fmla="*/ 41 w 81"/>
                  <a:gd name="T55" fmla="*/ 0 h 82"/>
                  <a:gd name="T56" fmla="*/ 41 w 81"/>
                  <a:gd name="T57" fmla="*/ 0 h 82"/>
                  <a:gd name="T58" fmla="*/ 49 w 81"/>
                  <a:gd name="T59" fmla="*/ 0 h 82"/>
                  <a:gd name="T60" fmla="*/ 56 w 81"/>
                  <a:gd name="T61" fmla="*/ 3 h 82"/>
                  <a:gd name="T62" fmla="*/ 63 w 81"/>
                  <a:gd name="T63" fmla="*/ 6 h 82"/>
                  <a:gd name="T64" fmla="*/ 69 w 81"/>
                  <a:gd name="T65" fmla="*/ 12 h 82"/>
                  <a:gd name="T66" fmla="*/ 74 w 81"/>
                  <a:gd name="T67" fmla="*/ 18 h 82"/>
                  <a:gd name="T68" fmla="*/ 78 w 81"/>
                  <a:gd name="T69" fmla="*/ 25 h 82"/>
                  <a:gd name="T70" fmla="*/ 80 w 81"/>
                  <a:gd name="T71" fmla="*/ 33 h 82"/>
                  <a:gd name="T72" fmla="*/ 81 w 81"/>
                  <a:gd name="T73" fmla="*/ 41 h 82"/>
                  <a:gd name="T74" fmla="*/ 81 w 81"/>
                  <a:gd name="T75"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1" h="82">
                    <a:moveTo>
                      <a:pt x="81" y="41"/>
                    </a:moveTo>
                    <a:lnTo>
                      <a:pt x="81" y="41"/>
                    </a:lnTo>
                    <a:lnTo>
                      <a:pt x="80" y="49"/>
                    </a:lnTo>
                    <a:lnTo>
                      <a:pt x="78" y="57"/>
                    </a:lnTo>
                    <a:lnTo>
                      <a:pt x="74" y="64"/>
                    </a:lnTo>
                    <a:lnTo>
                      <a:pt x="69" y="70"/>
                    </a:lnTo>
                    <a:lnTo>
                      <a:pt x="63" y="75"/>
                    </a:lnTo>
                    <a:lnTo>
                      <a:pt x="56" y="79"/>
                    </a:lnTo>
                    <a:lnTo>
                      <a:pt x="49" y="81"/>
                    </a:lnTo>
                    <a:lnTo>
                      <a:pt x="41" y="82"/>
                    </a:lnTo>
                    <a:lnTo>
                      <a:pt x="41" y="82"/>
                    </a:lnTo>
                    <a:lnTo>
                      <a:pt x="32" y="81"/>
                    </a:lnTo>
                    <a:lnTo>
                      <a:pt x="25" y="79"/>
                    </a:lnTo>
                    <a:lnTo>
                      <a:pt x="18" y="75"/>
                    </a:lnTo>
                    <a:lnTo>
                      <a:pt x="12" y="70"/>
                    </a:lnTo>
                    <a:lnTo>
                      <a:pt x="7" y="64"/>
                    </a:lnTo>
                    <a:lnTo>
                      <a:pt x="3" y="57"/>
                    </a:lnTo>
                    <a:lnTo>
                      <a:pt x="1" y="49"/>
                    </a:lnTo>
                    <a:lnTo>
                      <a:pt x="0" y="41"/>
                    </a:lnTo>
                    <a:lnTo>
                      <a:pt x="0" y="41"/>
                    </a:lnTo>
                    <a:lnTo>
                      <a:pt x="1" y="33"/>
                    </a:lnTo>
                    <a:lnTo>
                      <a:pt x="3" y="25"/>
                    </a:lnTo>
                    <a:lnTo>
                      <a:pt x="7" y="18"/>
                    </a:lnTo>
                    <a:lnTo>
                      <a:pt x="12" y="12"/>
                    </a:lnTo>
                    <a:lnTo>
                      <a:pt x="18" y="6"/>
                    </a:lnTo>
                    <a:lnTo>
                      <a:pt x="25" y="3"/>
                    </a:lnTo>
                    <a:lnTo>
                      <a:pt x="32" y="0"/>
                    </a:lnTo>
                    <a:lnTo>
                      <a:pt x="41" y="0"/>
                    </a:lnTo>
                    <a:lnTo>
                      <a:pt x="41" y="0"/>
                    </a:lnTo>
                    <a:lnTo>
                      <a:pt x="49" y="0"/>
                    </a:lnTo>
                    <a:lnTo>
                      <a:pt x="56" y="3"/>
                    </a:lnTo>
                    <a:lnTo>
                      <a:pt x="63" y="6"/>
                    </a:lnTo>
                    <a:lnTo>
                      <a:pt x="69" y="12"/>
                    </a:lnTo>
                    <a:lnTo>
                      <a:pt x="74" y="18"/>
                    </a:lnTo>
                    <a:lnTo>
                      <a:pt x="78" y="25"/>
                    </a:lnTo>
                    <a:lnTo>
                      <a:pt x="80" y="33"/>
                    </a:lnTo>
                    <a:lnTo>
                      <a:pt x="81" y="41"/>
                    </a:lnTo>
                    <a:lnTo>
                      <a:pt x="81" y="41"/>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63" name="Freeform 114">
                <a:extLst>
                  <a:ext uri="{FF2B5EF4-FFF2-40B4-BE49-F238E27FC236}">
                    <a16:creationId xmlns:a16="http://schemas.microsoft.com/office/drawing/2014/main" id="{9C6C5142-0D20-45AB-AF58-56E1B1C0472D}"/>
                  </a:ext>
                </a:extLst>
              </p:cNvPr>
              <p:cNvSpPr>
                <a:spLocks/>
              </p:cNvSpPr>
              <p:nvPr/>
            </p:nvSpPr>
            <p:spPr bwMode="auto">
              <a:xfrm>
                <a:off x="5610225" y="484188"/>
                <a:ext cx="88900" cy="90487"/>
              </a:xfrm>
              <a:custGeom>
                <a:avLst/>
                <a:gdLst>
                  <a:gd name="T0" fmla="*/ 169 w 169"/>
                  <a:gd name="T1" fmla="*/ 85 h 169"/>
                  <a:gd name="T2" fmla="*/ 167 w 169"/>
                  <a:gd name="T3" fmla="*/ 102 h 169"/>
                  <a:gd name="T4" fmla="*/ 162 w 169"/>
                  <a:gd name="T5" fmla="*/ 118 h 169"/>
                  <a:gd name="T6" fmla="*/ 155 w 169"/>
                  <a:gd name="T7" fmla="*/ 132 h 169"/>
                  <a:gd name="T8" fmla="*/ 144 w 169"/>
                  <a:gd name="T9" fmla="*/ 144 h 169"/>
                  <a:gd name="T10" fmla="*/ 132 w 169"/>
                  <a:gd name="T11" fmla="*/ 155 h 169"/>
                  <a:gd name="T12" fmla="*/ 117 w 169"/>
                  <a:gd name="T13" fmla="*/ 162 h 169"/>
                  <a:gd name="T14" fmla="*/ 102 w 169"/>
                  <a:gd name="T15" fmla="*/ 167 h 169"/>
                  <a:gd name="T16" fmla="*/ 85 w 169"/>
                  <a:gd name="T17" fmla="*/ 169 h 169"/>
                  <a:gd name="T18" fmla="*/ 75 w 169"/>
                  <a:gd name="T19" fmla="*/ 168 h 169"/>
                  <a:gd name="T20" fmla="*/ 60 w 169"/>
                  <a:gd name="T21" fmla="*/ 166 h 169"/>
                  <a:gd name="T22" fmla="*/ 44 w 169"/>
                  <a:gd name="T23" fmla="*/ 159 h 169"/>
                  <a:gd name="T24" fmla="*/ 31 w 169"/>
                  <a:gd name="T25" fmla="*/ 150 h 169"/>
                  <a:gd name="T26" fmla="*/ 19 w 169"/>
                  <a:gd name="T27" fmla="*/ 138 h 169"/>
                  <a:gd name="T28" fmla="*/ 11 w 169"/>
                  <a:gd name="T29" fmla="*/ 125 h 169"/>
                  <a:gd name="T30" fmla="*/ 5 w 169"/>
                  <a:gd name="T31" fmla="*/ 109 h 169"/>
                  <a:gd name="T32" fmla="*/ 1 w 169"/>
                  <a:gd name="T33" fmla="*/ 94 h 169"/>
                  <a:gd name="T34" fmla="*/ 0 w 169"/>
                  <a:gd name="T35" fmla="*/ 85 h 169"/>
                  <a:gd name="T36" fmla="*/ 2 w 169"/>
                  <a:gd name="T37" fmla="*/ 67 h 169"/>
                  <a:gd name="T38" fmla="*/ 7 w 169"/>
                  <a:gd name="T39" fmla="*/ 52 h 169"/>
                  <a:gd name="T40" fmla="*/ 14 w 169"/>
                  <a:gd name="T41" fmla="*/ 37 h 169"/>
                  <a:gd name="T42" fmla="*/ 25 w 169"/>
                  <a:gd name="T43" fmla="*/ 25 h 169"/>
                  <a:gd name="T44" fmla="*/ 37 w 169"/>
                  <a:gd name="T45" fmla="*/ 14 h 169"/>
                  <a:gd name="T46" fmla="*/ 51 w 169"/>
                  <a:gd name="T47" fmla="*/ 7 h 169"/>
                  <a:gd name="T48" fmla="*/ 68 w 169"/>
                  <a:gd name="T49" fmla="*/ 2 h 169"/>
                  <a:gd name="T50" fmla="*/ 85 w 169"/>
                  <a:gd name="T51" fmla="*/ 0 h 169"/>
                  <a:gd name="T52" fmla="*/ 93 w 169"/>
                  <a:gd name="T53" fmla="*/ 1 h 169"/>
                  <a:gd name="T54" fmla="*/ 110 w 169"/>
                  <a:gd name="T55" fmla="*/ 5 h 169"/>
                  <a:gd name="T56" fmla="*/ 125 w 169"/>
                  <a:gd name="T57" fmla="*/ 11 h 169"/>
                  <a:gd name="T58" fmla="*/ 138 w 169"/>
                  <a:gd name="T59" fmla="*/ 19 h 169"/>
                  <a:gd name="T60" fmla="*/ 150 w 169"/>
                  <a:gd name="T61" fmla="*/ 31 h 169"/>
                  <a:gd name="T62" fmla="*/ 158 w 169"/>
                  <a:gd name="T63" fmla="*/ 44 h 169"/>
                  <a:gd name="T64" fmla="*/ 166 w 169"/>
                  <a:gd name="T65" fmla="*/ 60 h 169"/>
                  <a:gd name="T66" fmla="*/ 169 w 169"/>
                  <a:gd name="T67" fmla="*/ 76 h 169"/>
                  <a:gd name="T68" fmla="*/ 169 w 169"/>
                  <a:gd name="T69" fmla="*/ 85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9" h="169">
                    <a:moveTo>
                      <a:pt x="169" y="85"/>
                    </a:moveTo>
                    <a:lnTo>
                      <a:pt x="169" y="85"/>
                    </a:lnTo>
                    <a:lnTo>
                      <a:pt x="169" y="94"/>
                    </a:lnTo>
                    <a:lnTo>
                      <a:pt x="167" y="102"/>
                    </a:lnTo>
                    <a:lnTo>
                      <a:pt x="166" y="109"/>
                    </a:lnTo>
                    <a:lnTo>
                      <a:pt x="162" y="118"/>
                    </a:lnTo>
                    <a:lnTo>
                      <a:pt x="158" y="125"/>
                    </a:lnTo>
                    <a:lnTo>
                      <a:pt x="155" y="132"/>
                    </a:lnTo>
                    <a:lnTo>
                      <a:pt x="150" y="138"/>
                    </a:lnTo>
                    <a:lnTo>
                      <a:pt x="144" y="144"/>
                    </a:lnTo>
                    <a:lnTo>
                      <a:pt x="138" y="150"/>
                    </a:lnTo>
                    <a:lnTo>
                      <a:pt x="132" y="155"/>
                    </a:lnTo>
                    <a:lnTo>
                      <a:pt x="125" y="159"/>
                    </a:lnTo>
                    <a:lnTo>
                      <a:pt x="117" y="162"/>
                    </a:lnTo>
                    <a:lnTo>
                      <a:pt x="110" y="166"/>
                    </a:lnTo>
                    <a:lnTo>
                      <a:pt x="102" y="167"/>
                    </a:lnTo>
                    <a:lnTo>
                      <a:pt x="93" y="168"/>
                    </a:lnTo>
                    <a:lnTo>
                      <a:pt x="85" y="169"/>
                    </a:lnTo>
                    <a:lnTo>
                      <a:pt x="85" y="169"/>
                    </a:lnTo>
                    <a:lnTo>
                      <a:pt x="75" y="168"/>
                    </a:lnTo>
                    <a:lnTo>
                      <a:pt x="68" y="167"/>
                    </a:lnTo>
                    <a:lnTo>
                      <a:pt x="60" y="166"/>
                    </a:lnTo>
                    <a:lnTo>
                      <a:pt x="51" y="162"/>
                    </a:lnTo>
                    <a:lnTo>
                      <a:pt x="44" y="159"/>
                    </a:lnTo>
                    <a:lnTo>
                      <a:pt x="37" y="155"/>
                    </a:lnTo>
                    <a:lnTo>
                      <a:pt x="31" y="150"/>
                    </a:lnTo>
                    <a:lnTo>
                      <a:pt x="25" y="144"/>
                    </a:lnTo>
                    <a:lnTo>
                      <a:pt x="19" y="138"/>
                    </a:lnTo>
                    <a:lnTo>
                      <a:pt x="14" y="132"/>
                    </a:lnTo>
                    <a:lnTo>
                      <a:pt x="11" y="125"/>
                    </a:lnTo>
                    <a:lnTo>
                      <a:pt x="7" y="118"/>
                    </a:lnTo>
                    <a:lnTo>
                      <a:pt x="5" y="109"/>
                    </a:lnTo>
                    <a:lnTo>
                      <a:pt x="2" y="102"/>
                    </a:lnTo>
                    <a:lnTo>
                      <a:pt x="1" y="94"/>
                    </a:lnTo>
                    <a:lnTo>
                      <a:pt x="0" y="85"/>
                    </a:lnTo>
                    <a:lnTo>
                      <a:pt x="0" y="85"/>
                    </a:lnTo>
                    <a:lnTo>
                      <a:pt x="1" y="76"/>
                    </a:lnTo>
                    <a:lnTo>
                      <a:pt x="2" y="67"/>
                    </a:lnTo>
                    <a:lnTo>
                      <a:pt x="5" y="60"/>
                    </a:lnTo>
                    <a:lnTo>
                      <a:pt x="7" y="52"/>
                    </a:lnTo>
                    <a:lnTo>
                      <a:pt x="11" y="44"/>
                    </a:lnTo>
                    <a:lnTo>
                      <a:pt x="14" y="37"/>
                    </a:lnTo>
                    <a:lnTo>
                      <a:pt x="19" y="31"/>
                    </a:lnTo>
                    <a:lnTo>
                      <a:pt x="25" y="25"/>
                    </a:lnTo>
                    <a:lnTo>
                      <a:pt x="31" y="19"/>
                    </a:lnTo>
                    <a:lnTo>
                      <a:pt x="37" y="14"/>
                    </a:lnTo>
                    <a:lnTo>
                      <a:pt x="44" y="11"/>
                    </a:lnTo>
                    <a:lnTo>
                      <a:pt x="51" y="7"/>
                    </a:lnTo>
                    <a:lnTo>
                      <a:pt x="60" y="5"/>
                    </a:lnTo>
                    <a:lnTo>
                      <a:pt x="68" y="2"/>
                    </a:lnTo>
                    <a:lnTo>
                      <a:pt x="75" y="1"/>
                    </a:lnTo>
                    <a:lnTo>
                      <a:pt x="85" y="0"/>
                    </a:lnTo>
                    <a:lnTo>
                      <a:pt x="85" y="0"/>
                    </a:lnTo>
                    <a:lnTo>
                      <a:pt x="93" y="1"/>
                    </a:lnTo>
                    <a:lnTo>
                      <a:pt x="102" y="2"/>
                    </a:lnTo>
                    <a:lnTo>
                      <a:pt x="110" y="5"/>
                    </a:lnTo>
                    <a:lnTo>
                      <a:pt x="117" y="7"/>
                    </a:lnTo>
                    <a:lnTo>
                      <a:pt x="125" y="11"/>
                    </a:lnTo>
                    <a:lnTo>
                      <a:pt x="132" y="14"/>
                    </a:lnTo>
                    <a:lnTo>
                      <a:pt x="138" y="19"/>
                    </a:lnTo>
                    <a:lnTo>
                      <a:pt x="144" y="25"/>
                    </a:lnTo>
                    <a:lnTo>
                      <a:pt x="150" y="31"/>
                    </a:lnTo>
                    <a:lnTo>
                      <a:pt x="155" y="37"/>
                    </a:lnTo>
                    <a:lnTo>
                      <a:pt x="158" y="44"/>
                    </a:lnTo>
                    <a:lnTo>
                      <a:pt x="162" y="52"/>
                    </a:lnTo>
                    <a:lnTo>
                      <a:pt x="166" y="60"/>
                    </a:lnTo>
                    <a:lnTo>
                      <a:pt x="167" y="67"/>
                    </a:lnTo>
                    <a:lnTo>
                      <a:pt x="169" y="76"/>
                    </a:lnTo>
                    <a:lnTo>
                      <a:pt x="169" y="85"/>
                    </a:lnTo>
                    <a:lnTo>
                      <a:pt x="169"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64" name="Freeform 115">
                <a:extLst>
                  <a:ext uri="{FF2B5EF4-FFF2-40B4-BE49-F238E27FC236}">
                    <a16:creationId xmlns:a16="http://schemas.microsoft.com/office/drawing/2014/main" id="{D33CC70D-9524-415B-85E7-C1FDFD6AD3FA}"/>
                  </a:ext>
                </a:extLst>
              </p:cNvPr>
              <p:cNvSpPr>
                <a:spLocks/>
              </p:cNvSpPr>
              <p:nvPr/>
            </p:nvSpPr>
            <p:spPr bwMode="auto">
              <a:xfrm>
                <a:off x="5614988" y="488950"/>
                <a:ext cx="80962" cy="80962"/>
              </a:xfrm>
              <a:custGeom>
                <a:avLst/>
                <a:gdLst>
                  <a:gd name="T0" fmla="*/ 153 w 153"/>
                  <a:gd name="T1" fmla="*/ 77 h 153"/>
                  <a:gd name="T2" fmla="*/ 153 w 153"/>
                  <a:gd name="T3" fmla="*/ 77 h 153"/>
                  <a:gd name="T4" fmla="*/ 153 w 153"/>
                  <a:gd name="T5" fmla="*/ 85 h 153"/>
                  <a:gd name="T6" fmla="*/ 152 w 153"/>
                  <a:gd name="T7" fmla="*/ 92 h 153"/>
                  <a:gd name="T8" fmla="*/ 149 w 153"/>
                  <a:gd name="T9" fmla="*/ 99 h 153"/>
                  <a:gd name="T10" fmla="*/ 147 w 153"/>
                  <a:gd name="T11" fmla="*/ 106 h 153"/>
                  <a:gd name="T12" fmla="*/ 144 w 153"/>
                  <a:gd name="T13" fmla="*/ 113 h 153"/>
                  <a:gd name="T14" fmla="*/ 140 w 153"/>
                  <a:gd name="T15" fmla="*/ 119 h 153"/>
                  <a:gd name="T16" fmla="*/ 131 w 153"/>
                  <a:gd name="T17" fmla="*/ 131 h 153"/>
                  <a:gd name="T18" fmla="*/ 119 w 153"/>
                  <a:gd name="T19" fmla="*/ 140 h 153"/>
                  <a:gd name="T20" fmla="*/ 113 w 153"/>
                  <a:gd name="T21" fmla="*/ 143 h 153"/>
                  <a:gd name="T22" fmla="*/ 106 w 153"/>
                  <a:gd name="T23" fmla="*/ 147 h 153"/>
                  <a:gd name="T24" fmla="*/ 100 w 153"/>
                  <a:gd name="T25" fmla="*/ 149 h 153"/>
                  <a:gd name="T26" fmla="*/ 91 w 153"/>
                  <a:gd name="T27" fmla="*/ 152 h 153"/>
                  <a:gd name="T28" fmla="*/ 84 w 153"/>
                  <a:gd name="T29" fmla="*/ 153 h 153"/>
                  <a:gd name="T30" fmla="*/ 77 w 153"/>
                  <a:gd name="T31" fmla="*/ 153 h 153"/>
                  <a:gd name="T32" fmla="*/ 77 w 153"/>
                  <a:gd name="T33" fmla="*/ 153 h 153"/>
                  <a:gd name="T34" fmla="*/ 69 w 153"/>
                  <a:gd name="T35" fmla="*/ 153 h 153"/>
                  <a:gd name="T36" fmla="*/ 61 w 153"/>
                  <a:gd name="T37" fmla="*/ 152 h 153"/>
                  <a:gd name="T38" fmla="*/ 54 w 153"/>
                  <a:gd name="T39" fmla="*/ 149 h 153"/>
                  <a:gd name="T40" fmla="*/ 47 w 153"/>
                  <a:gd name="T41" fmla="*/ 147 h 153"/>
                  <a:gd name="T42" fmla="*/ 40 w 153"/>
                  <a:gd name="T43" fmla="*/ 143 h 153"/>
                  <a:gd name="T44" fmla="*/ 34 w 153"/>
                  <a:gd name="T45" fmla="*/ 140 h 153"/>
                  <a:gd name="T46" fmla="*/ 23 w 153"/>
                  <a:gd name="T47" fmla="*/ 131 h 153"/>
                  <a:gd name="T48" fmla="*/ 13 w 153"/>
                  <a:gd name="T49" fmla="*/ 119 h 153"/>
                  <a:gd name="T50" fmla="*/ 10 w 153"/>
                  <a:gd name="T51" fmla="*/ 113 h 153"/>
                  <a:gd name="T52" fmla="*/ 6 w 153"/>
                  <a:gd name="T53" fmla="*/ 106 h 153"/>
                  <a:gd name="T54" fmla="*/ 4 w 153"/>
                  <a:gd name="T55" fmla="*/ 99 h 153"/>
                  <a:gd name="T56" fmla="*/ 1 w 153"/>
                  <a:gd name="T57" fmla="*/ 92 h 153"/>
                  <a:gd name="T58" fmla="*/ 0 w 153"/>
                  <a:gd name="T59" fmla="*/ 85 h 153"/>
                  <a:gd name="T60" fmla="*/ 0 w 153"/>
                  <a:gd name="T61" fmla="*/ 77 h 153"/>
                  <a:gd name="T62" fmla="*/ 0 w 153"/>
                  <a:gd name="T63" fmla="*/ 77 h 153"/>
                  <a:gd name="T64" fmla="*/ 0 w 153"/>
                  <a:gd name="T65" fmla="*/ 69 h 153"/>
                  <a:gd name="T66" fmla="*/ 1 w 153"/>
                  <a:gd name="T67" fmla="*/ 62 h 153"/>
                  <a:gd name="T68" fmla="*/ 4 w 153"/>
                  <a:gd name="T69" fmla="*/ 54 h 153"/>
                  <a:gd name="T70" fmla="*/ 6 w 153"/>
                  <a:gd name="T71" fmla="*/ 47 h 153"/>
                  <a:gd name="T72" fmla="*/ 10 w 153"/>
                  <a:gd name="T73" fmla="*/ 40 h 153"/>
                  <a:gd name="T74" fmla="*/ 13 w 153"/>
                  <a:gd name="T75" fmla="*/ 34 h 153"/>
                  <a:gd name="T76" fmla="*/ 23 w 153"/>
                  <a:gd name="T77" fmla="*/ 23 h 153"/>
                  <a:gd name="T78" fmla="*/ 34 w 153"/>
                  <a:gd name="T79" fmla="*/ 14 h 153"/>
                  <a:gd name="T80" fmla="*/ 40 w 153"/>
                  <a:gd name="T81" fmla="*/ 10 h 153"/>
                  <a:gd name="T82" fmla="*/ 47 w 153"/>
                  <a:gd name="T83" fmla="*/ 6 h 153"/>
                  <a:gd name="T84" fmla="*/ 54 w 153"/>
                  <a:gd name="T85" fmla="*/ 4 h 153"/>
                  <a:gd name="T86" fmla="*/ 61 w 153"/>
                  <a:gd name="T87" fmla="*/ 2 h 153"/>
                  <a:gd name="T88" fmla="*/ 69 w 153"/>
                  <a:gd name="T89" fmla="*/ 0 h 153"/>
                  <a:gd name="T90" fmla="*/ 77 w 153"/>
                  <a:gd name="T91" fmla="*/ 0 h 153"/>
                  <a:gd name="T92" fmla="*/ 77 w 153"/>
                  <a:gd name="T93" fmla="*/ 0 h 153"/>
                  <a:gd name="T94" fmla="*/ 84 w 153"/>
                  <a:gd name="T95" fmla="*/ 0 h 153"/>
                  <a:gd name="T96" fmla="*/ 91 w 153"/>
                  <a:gd name="T97" fmla="*/ 2 h 153"/>
                  <a:gd name="T98" fmla="*/ 100 w 153"/>
                  <a:gd name="T99" fmla="*/ 4 h 153"/>
                  <a:gd name="T100" fmla="*/ 106 w 153"/>
                  <a:gd name="T101" fmla="*/ 6 h 153"/>
                  <a:gd name="T102" fmla="*/ 113 w 153"/>
                  <a:gd name="T103" fmla="*/ 10 h 153"/>
                  <a:gd name="T104" fmla="*/ 119 w 153"/>
                  <a:gd name="T105" fmla="*/ 14 h 153"/>
                  <a:gd name="T106" fmla="*/ 131 w 153"/>
                  <a:gd name="T107" fmla="*/ 23 h 153"/>
                  <a:gd name="T108" fmla="*/ 140 w 153"/>
                  <a:gd name="T109" fmla="*/ 34 h 153"/>
                  <a:gd name="T110" fmla="*/ 144 w 153"/>
                  <a:gd name="T111" fmla="*/ 40 h 153"/>
                  <a:gd name="T112" fmla="*/ 147 w 153"/>
                  <a:gd name="T113" fmla="*/ 47 h 153"/>
                  <a:gd name="T114" fmla="*/ 149 w 153"/>
                  <a:gd name="T115" fmla="*/ 54 h 153"/>
                  <a:gd name="T116" fmla="*/ 152 w 153"/>
                  <a:gd name="T117" fmla="*/ 62 h 153"/>
                  <a:gd name="T118" fmla="*/ 153 w 153"/>
                  <a:gd name="T119" fmla="*/ 69 h 153"/>
                  <a:gd name="T120" fmla="*/ 153 w 153"/>
                  <a:gd name="T121" fmla="*/ 77 h 153"/>
                  <a:gd name="T122" fmla="*/ 153 w 153"/>
                  <a:gd name="T123" fmla="*/ 77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 h="153">
                    <a:moveTo>
                      <a:pt x="153" y="77"/>
                    </a:moveTo>
                    <a:lnTo>
                      <a:pt x="153" y="77"/>
                    </a:lnTo>
                    <a:lnTo>
                      <a:pt x="153" y="85"/>
                    </a:lnTo>
                    <a:lnTo>
                      <a:pt x="152" y="92"/>
                    </a:lnTo>
                    <a:lnTo>
                      <a:pt x="149" y="99"/>
                    </a:lnTo>
                    <a:lnTo>
                      <a:pt x="147" y="106"/>
                    </a:lnTo>
                    <a:lnTo>
                      <a:pt x="144" y="113"/>
                    </a:lnTo>
                    <a:lnTo>
                      <a:pt x="140" y="119"/>
                    </a:lnTo>
                    <a:lnTo>
                      <a:pt x="131" y="131"/>
                    </a:lnTo>
                    <a:lnTo>
                      <a:pt x="119" y="140"/>
                    </a:lnTo>
                    <a:lnTo>
                      <a:pt x="113" y="143"/>
                    </a:lnTo>
                    <a:lnTo>
                      <a:pt x="106" y="147"/>
                    </a:lnTo>
                    <a:lnTo>
                      <a:pt x="100" y="149"/>
                    </a:lnTo>
                    <a:lnTo>
                      <a:pt x="91" y="152"/>
                    </a:lnTo>
                    <a:lnTo>
                      <a:pt x="84" y="153"/>
                    </a:lnTo>
                    <a:lnTo>
                      <a:pt x="77" y="153"/>
                    </a:lnTo>
                    <a:lnTo>
                      <a:pt x="77" y="153"/>
                    </a:lnTo>
                    <a:lnTo>
                      <a:pt x="69" y="153"/>
                    </a:lnTo>
                    <a:lnTo>
                      <a:pt x="61" y="152"/>
                    </a:lnTo>
                    <a:lnTo>
                      <a:pt x="54" y="149"/>
                    </a:lnTo>
                    <a:lnTo>
                      <a:pt x="47" y="147"/>
                    </a:lnTo>
                    <a:lnTo>
                      <a:pt x="40" y="143"/>
                    </a:lnTo>
                    <a:lnTo>
                      <a:pt x="34" y="140"/>
                    </a:lnTo>
                    <a:lnTo>
                      <a:pt x="23" y="131"/>
                    </a:lnTo>
                    <a:lnTo>
                      <a:pt x="13" y="119"/>
                    </a:lnTo>
                    <a:lnTo>
                      <a:pt x="10" y="113"/>
                    </a:lnTo>
                    <a:lnTo>
                      <a:pt x="6" y="106"/>
                    </a:lnTo>
                    <a:lnTo>
                      <a:pt x="4" y="99"/>
                    </a:lnTo>
                    <a:lnTo>
                      <a:pt x="1" y="92"/>
                    </a:lnTo>
                    <a:lnTo>
                      <a:pt x="0" y="85"/>
                    </a:lnTo>
                    <a:lnTo>
                      <a:pt x="0" y="77"/>
                    </a:lnTo>
                    <a:lnTo>
                      <a:pt x="0" y="77"/>
                    </a:lnTo>
                    <a:lnTo>
                      <a:pt x="0" y="69"/>
                    </a:lnTo>
                    <a:lnTo>
                      <a:pt x="1" y="62"/>
                    </a:lnTo>
                    <a:lnTo>
                      <a:pt x="4" y="54"/>
                    </a:lnTo>
                    <a:lnTo>
                      <a:pt x="6" y="47"/>
                    </a:lnTo>
                    <a:lnTo>
                      <a:pt x="10" y="40"/>
                    </a:lnTo>
                    <a:lnTo>
                      <a:pt x="13" y="34"/>
                    </a:lnTo>
                    <a:lnTo>
                      <a:pt x="23" y="23"/>
                    </a:lnTo>
                    <a:lnTo>
                      <a:pt x="34" y="14"/>
                    </a:lnTo>
                    <a:lnTo>
                      <a:pt x="40" y="10"/>
                    </a:lnTo>
                    <a:lnTo>
                      <a:pt x="47" y="6"/>
                    </a:lnTo>
                    <a:lnTo>
                      <a:pt x="54" y="4"/>
                    </a:lnTo>
                    <a:lnTo>
                      <a:pt x="61" y="2"/>
                    </a:lnTo>
                    <a:lnTo>
                      <a:pt x="69" y="0"/>
                    </a:lnTo>
                    <a:lnTo>
                      <a:pt x="77" y="0"/>
                    </a:lnTo>
                    <a:lnTo>
                      <a:pt x="77" y="0"/>
                    </a:lnTo>
                    <a:lnTo>
                      <a:pt x="84" y="0"/>
                    </a:lnTo>
                    <a:lnTo>
                      <a:pt x="91" y="2"/>
                    </a:lnTo>
                    <a:lnTo>
                      <a:pt x="100" y="4"/>
                    </a:lnTo>
                    <a:lnTo>
                      <a:pt x="106" y="6"/>
                    </a:lnTo>
                    <a:lnTo>
                      <a:pt x="113" y="10"/>
                    </a:lnTo>
                    <a:lnTo>
                      <a:pt x="119" y="14"/>
                    </a:lnTo>
                    <a:lnTo>
                      <a:pt x="131" y="23"/>
                    </a:lnTo>
                    <a:lnTo>
                      <a:pt x="140" y="34"/>
                    </a:lnTo>
                    <a:lnTo>
                      <a:pt x="144" y="40"/>
                    </a:lnTo>
                    <a:lnTo>
                      <a:pt x="147" y="47"/>
                    </a:lnTo>
                    <a:lnTo>
                      <a:pt x="149" y="54"/>
                    </a:lnTo>
                    <a:lnTo>
                      <a:pt x="152" y="62"/>
                    </a:lnTo>
                    <a:lnTo>
                      <a:pt x="153" y="69"/>
                    </a:lnTo>
                    <a:lnTo>
                      <a:pt x="153" y="77"/>
                    </a:lnTo>
                    <a:lnTo>
                      <a:pt x="153" y="7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65" name="Freeform 116">
                <a:extLst>
                  <a:ext uri="{FF2B5EF4-FFF2-40B4-BE49-F238E27FC236}">
                    <a16:creationId xmlns:a16="http://schemas.microsoft.com/office/drawing/2014/main" id="{DE6C90E3-2ADA-49B0-AE68-917F0174FF94}"/>
                  </a:ext>
                </a:extLst>
              </p:cNvPr>
              <p:cNvSpPr>
                <a:spLocks/>
              </p:cNvSpPr>
              <p:nvPr/>
            </p:nvSpPr>
            <p:spPr bwMode="auto">
              <a:xfrm>
                <a:off x="5634038" y="508000"/>
                <a:ext cx="42862" cy="42862"/>
              </a:xfrm>
              <a:custGeom>
                <a:avLst/>
                <a:gdLst>
                  <a:gd name="T0" fmla="*/ 82 w 82"/>
                  <a:gd name="T1" fmla="*/ 41 h 82"/>
                  <a:gd name="T2" fmla="*/ 82 w 82"/>
                  <a:gd name="T3" fmla="*/ 41 h 82"/>
                  <a:gd name="T4" fmla="*/ 81 w 82"/>
                  <a:gd name="T5" fmla="*/ 49 h 82"/>
                  <a:gd name="T6" fmla="*/ 78 w 82"/>
                  <a:gd name="T7" fmla="*/ 57 h 82"/>
                  <a:gd name="T8" fmla="*/ 75 w 82"/>
                  <a:gd name="T9" fmla="*/ 64 h 82"/>
                  <a:gd name="T10" fmla="*/ 70 w 82"/>
                  <a:gd name="T11" fmla="*/ 70 h 82"/>
                  <a:gd name="T12" fmla="*/ 64 w 82"/>
                  <a:gd name="T13" fmla="*/ 75 h 82"/>
                  <a:gd name="T14" fmla="*/ 57 w 82"/>
                  <a:gd name="T15" fmla="*/ 79 h 82"/>
                  <a:gd name="T16" fmla="*/ 49 w 82"/>
                  <a:gd name="T17" fmla="*/ 81 h 82"/>
                  <a:gd name="T18" fmla="*/ 41 w 82"/>
                  <a:gd name="T19" fmla="*/ 82 h 82"/>
                  <a:gd name="T20" fmla="*/ 41 w 82"/>
                  <a:gd name="T21" fmla="*/ 82 h 82"/>
                  <a:gd name="T22" fmla="*/ 33 w 82"/>
                  <a:gd name="T23" fmla="*/ 81 h 82"/>
                  <a:gd name="T24" fmla="*/ 24 w 82"/>
                  <a:gd name="T25" fmla="*/ 79 h 82"/>
                  <a:gd name="T26" fmla="*/ 18 w 82"/>
                  <a:gd name="T27" fmla="*/ 75 h 82"/>
                  <a:gd name="T28" fmla="*/ 12 w 82"/>
                  <a:gd name="T29" fmla="*/ 70 h 82"/>
                  <a:gd name="T30" fmla="*/ 6 w 82"/>
                  <a:gd name="T31" fmla="*/ 64 h 82"/>
                  <a:gd name="T32" fmla="*/ 3 w 82"/>
                  <a:gd name="T33" fmla="*/ 57 h 82"/>
                  <a:gd name="T34" fmla="*/ 0 w 82"/>
                  <a:gd name="T35" fmla="*/ 49 h 82"/>
                  <a:gd name="T36" fmla="*/ 0 w 82"/>
                  <a:gd name="T37" fmla="*/ 41 h 82"/>
                  <a:gd name="T38" fmla="*/ 0 w 82"/>
                  <a:gd name="T39" fmla="*/ 41 h 82"/>
                  <a:gd name="T40" fmla="*/ 0 w 82"/>
                  <a:gd name="T41" fmla="*/ 33 h 82"/>
                  <a:gd name="T42" fmla="*/ 3 w 82"/>
                  <a:gd name="T43" fmla="*/ 25 h 82"/>
                  <a:gd name="T44" fmla="*/ 6 w 82"/>
                  <a:gd name="T45" fmla="*/ 18 h 82"/>
                  <a:gd name="T46" fmla="*/ 12 w 82"/>
                  <a:gd name="T47" fmla="*/ 12 h 82"/>
                  <a:gd name="T48" fmla="*/ 18 w 82"/>
                  <a:gd name="T49" fmla="*/ 6 h 82"/>
                  <a:gd name="T50" fmla="*/ 24 w 82"/>
                  <a:gd name="T51" fmla="*/ 3 h 82"/>
                  <a:gd name="T52" fmla="*/ 33 w 82"/>
                  <a:gd name="T53" fmla="*/ 0 h 82"/>
                  <a:gd name="T54" fmla="*/ 41 w 82"/>
                  <a:gd name="T55" fmla="*/ 0 h 82"/>
                  <a:gd name="T56" fmla="*/ 41 w 82"/>
                  <a:gd name="T57" fmla="*/ 0 h 82"/>
                  <a:gd name="T58" fmla="*/ 49 w 82"/>
                  <a:gd name="T59" fmla="*/ 0 h 82"/>
                  <a:gd name="T60" fmla="*/ 57 w 82"/>
                  <a:gd name="T61" fmla="*/ 3 h 82"/>
                  <a:gd name="T62" fmla="*/ 64 w 82"/>
                  <a:gd name="T63" fmla="*/ 6 h 82"/>
                  <a:gd name="T64" fmla="*/ 70 w 82"/>
                  <a:gd name="T65" fmla="*/ 12 h 82"/>
                  <a:gd name="T66" fmla="*/ 75 w 82"/>
                  <a:gd name="T67" fmla="*/ 18 h 82"/>
                  <a:gd name="T68" fmla="*/ 78 w 82"/>
                  <a:gd name="T69" fmla="*/ 25 h 82"/>
                  <a:gd name="T70" fmla="*/ 81 w 82"/>
                  <a:gd name="T71" fmla="*/ 33 h 82"/>
                  <a:gd name="T72" fmla="*/ 82 w 82"/>
                  <a:gd name="T73" fmla="*/ 41 h 82"/>
                  <a:gd name="T74" fmla="*/ 82 w 82"/>
                  <a:gd name="T75" fmla="*/ 4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2" h="82">
                    <a:moveTo>
                      <a:pt x="82" y="41"/>
                    </a:moveTo>
                    <a:lnTo>
                      <a:pt x="82" y="41"/>
                    </a:lnTo>
                    <a:lnTo>
                      <a:pt x="81" y="49"/>
                    </a:lnTo>
                    <a:lnTo>
                      <a:pt x="78" y="57"/>
                    </a:lnTo>
                    <a:lnTo>
                      <a:pt x="75" y="64"/>
                    </a:lnTo>
                    <a:lnTo>
                      <a:pt x="70" y="70"/>
                    </a:lnTo>
                    <a:lnTo>
                      <a:pt x="64" y="75"/>
                    </a:lnTo>
                    <a:lnTo>
                      <a:pt x="57" y="79"/>
                    </a:lnTo>
                    <a:lnTo>
                      <a:pt x="49" y="81"/>
                    </a:lnTo>
                    <a:lnTo>
                      <a:pt x="41" y="82"/>
                    </a:lnTo>
                    <a:lnTo>
                      <a:pt x="41" y="82"/>
                    </a:lnTo>
                    <a:lnTo>
                      <a:pt x="33" y="81"/>
                    </a:lnTo>
                    <a:lnTo>
                      <a:pt x="24" y="79"/>
                    </a:lnTo>
                    <a:lnTo>
                      <a:pt x="18" y="75"/>
                    </a:lnTo>
                    <a:lnTo>
                      <a:pt x="12" y="70"/>
                    </a:lnTo>
                    <a:lnTo>
                      <a:pt x="6" y="64"/>
                    </a:lnTo>
                    <a:lnTo>
                      <a:pt x="3" y="57"/>
                    </a:lnTo>
                    <a:lnTo>
                      <a:pt x="0" y="49"/>
                    </a:lnTo>
                    <a:lnTo>
                      <a:pt x="0" y="41"/>
                    </a:lnTo>
                    <a:lnTo>
                      <a:pt x="0" y="41"/>
                    </a:lnTo>
                    <a:lnTo>
                      <a:pt x="0" y="33"/>
                    </a:lnTo>
                    <a:lnTo>
                      <a:pt x="3" y="25"/>
                    </a:lnTo>
                    <a:lnTo>
                      <a:pt x="6" y="18"/>
                    </a:lnTo>
                    <a:lnTo>
                      <a:pt x="12" y="12"/>
                    </a:lnTo>
                    <a:lnTo>
                      <a:pt x="18" y="6"/>
                    </a:lnTo>
                    <a:lnTo>
                      <a:pt x="24" y="3"/>
                    </a:lnTo>
                    <a:lnTo>
                      <a:pt x="33" y="0"/>
                    </a:lnTo>
                    <a:lnTo>
                      <a:pt x="41" y="0"/>
                    </a:lnTo>
                    <a:lnTo>
                      <a:pt x="41" y="0"/>
                    </a:lnTo>
                    <a:lnTo>
                      <a:pt x="49" y="0"/>
                    </a:lnTo>
                    <a:lnTo>
                      <a:pt x="57" y="3"/>
                    </a:lnTo>
                    <a:lnTo>
                      <a:pt x="64" y="6"/>
                    </a:lnTo>
                    <a:lnTo>
                      <a:pt x="70" y="12"/>
                    </a:lnTo>
                    <a:lnTo>
                      <a:pt x="75" y="18"/>
                    </a:lnTo>
                    <a:lnTo>
                      <a:pt x="78" y="25"/>
                    </a:lnTo>
                    <a:lnTo>
                      <a:pt x="81" y="33"/>
                    </a:lnTo>
                    <a:lnTo>
                      <a:pt x="82" y="41"/>
                    </a:lnTo>
                    <a:lnTo>
                      <a:pt x="82" y="41"/>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266" name="Group 2265">
            <a:extLst>
              <a:ext uri="{FF2B5EF4-FFF2-40B4-BE49-F238E27FC236}">
                <a16:creationId xmlns:a16="http://schemas.microsoft.com/office/drawing/2014/main" id="{1EAC9D2E-7554-4472-B7CC-F469F4C16FC5}"/>
              </a:ext>
            </a:extLst>
          </p:cNvPr>
          <p:cNvGrpSpPr/>
          <p:nvPr/>
        </p:nvGrpSpPr>
        <p:grpSpPr>
          <a:xfrm>
            <a:off x="3153310" y="5530909"/>
            <a:ext cx="612000" cy="612000"/>
            <a:chOff x="1320946" y="6132102"/>
            <a:chExt cx="612000" cy="612000"/>
          </a:xfrm>
        </p:grpSpPr>
        <p:sp>
          <p:nvSpPr>
            <p:cNvPr id="2267" name="Oval 2266">
              <a:extLst>
                <a:ext uri="{FF2B5EF4-FFF2-40B4-BE49-F238E27FC236}">
                  <a16:creationId xmlns:a16="http://schemas.microsoft.com/office/drawing/2014/main" id="{55883FEB-4A8F-4D42-B03C-D15FF515186E}"/>
                </a:ext>
              </a:extLst>
            </p:cNvPr>
            <p:cNvSpPr/>
            <p:nvPr/>
          </p:nvSpPr>
          <p:spPr bwMode="ltGray">
            <a:xfrm>
              <a:off x="1320946" y="613210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268" name="Group 2267">
              <a:extLst>
                <a:ext uri="{FF2B5EF4-FFF2-40B4-BE49-F238E27FC236}">
                  <a16:creationId xmlns:a16="http://schemas.microsoft.com/office/drawing/2014/main" id="{E51281FC-94E8-4DBE-82E6-0BA90E52101B}"/>
                </a:ext>
              </a:extLst>
            </p:cNvPr>
            <p:cNvGrpSpPr/>
            <p:nvPr/>
          </p:nvGrpSpPr>
          <p:grpSpPr>
            <a:xfrm>
              <a:off x="1383523" y="6254757"/>
              <a:ext cx="495639" cy="300124"/>
              <a:chOff x="7042610" y="6416566"/>
              <a:chExt cx="421891" cy="220026"/>
            </a:xfrm>
            <a:solidFill>
              <a:srgbClr val="3C3C3E"/>
            </a:solidFill>
          </p:grpSpPr>
          <p:sp>
            <p:nvSpPr>
              <p:cNvPr id="2269" name="Freeform 170">
                <a:extLst>
                  <a:ext uri="{FF2B5EF4-FFF2-40B4-BE49-F238E27FC236}">
                    <a16:creationId xmlns:a16="http://schemas.microsoft.com/office/drawing/2014/main" id="{9A1EEB21-19FC-47FE-8463-13373842C2AC}"/>
                  </a:ext>
                </a:extLst>
              </p:cNvPr>
              <p:cNvSpPr>
                <a:spLocks/>
              </p:cNvSpPr>
              <p:nvPr/>
            </p:nvSpPr>
            <p:spPr bwMode="auto">
              <a:xfrm>
                <a:off x="7245677" y="6420173"/>
                <a:ext cx="218824" cy="181552"/>
              </a:xfrm>
              <a:custGeom>
                <a:avLst/>
                <a:gdLst>
                  <a:gd name="T0" fmla="*/ 62 w 364"/>
                  <a:gd name="T1" fmla="*/ 0 h 302"/>
                  <a:gd name="T2" fmla="*/ 0 w 364"/>
                  <a:gd name="T3" fmla="*/ 156 h 302"/>
                  <a:gd name="T4" fmla="*/ 146 w 364"/>
                  <a:gd name="T5" fmla="*/ 298 h 302"/>
                  <a:gd name="T6" fmla="*/ 364 w 364"/>
                  <a:gd name="T7" fmla="*/ 302 h 302"/>
                  <a:gd name="T8" fmla="*/ 62 w 364"/>
                  <a:gd name="T9" fmla="*/ 0 h 302"/>
                </a:gdLst>
                <a:ahLst/>
                <a:cxnLst>
                  <a:cxn ang="0">
                    <a:pos x="T0" y="T1"/>
                  </a:cxn>
                  <a:cxn ang="0">
                    <a:pos x="T2" y="T3"/>
                  </a:cxn>
                  <a:cxn ang="0">
                    <a:pos x="T4" y="T5"/>
                  </a:cxn>
                  <a:cxn ang="0">
                    <a:pos x="T6" y="T7"/>
                  </a:cxn>
                  <a:cxn ang="0">
                    <a:pos x="T8" y="T9"/>
                  </a:cxn>
                </a:cxnLst>
                <a:rect l="0" t="0" r="r" b="b"/>
                <a:pathLst>
                  <a:path w="364" h="302">
                    <a:moveTo>
                      <a:pt x="62" y="0"/>
                    </a:moveTo>
                    <a:lnTo>
                      <a:pt x="0" y="156"/>
                    </a:lnTo>
                    <a:lnTo>
                      <a:pt x="146" y="298"/>
                    </a:lnTo>
                    <a:lnTo>
                      <a:pt x="364" y="302"/>
                    </a:lnTo>
                    <a:lnTo>
                      <a:pt x="62"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70" name="Freeform 171">
                <a:extLst>
                  <a:ext uri="{FF2B5EF4-FFF2-40B4-BE49-F238E27FC236}">
                    <a16:creationId xmlns:a16="http://schemas.microsoft.com/office/drawing/2014/main" id="{9DF36868-37A1-4289-98AB-CF181FCE0759}"/>
                  </a:ext>
                </a:extLst>
              </p:cNvPr>
              <p:cNvSpPr>
                <a:spLocks/>
              </p:cNvSpPr>
              <p:nvPr/>
            </p:nvSpPr>
            <p:spPr bwMode="auto">
              <a:xfrm>
                <a:off x="7208405" y="6416566"/>
                <a:ext cx="64926" cy="92579"/>
              </a:xfrm>
              <a:custGeom>
                <a:avLst/>
                <a:gdLst>
                  <a:gd name="T0" fmla="*/ 108 w 108"/>
                  <a:gd name="T1" fmla="*/ 0 h 154"/>
                  <a:gd name="T2" fmla="*/ 0 w 108"/>
                  <a:gd name="T3" fmla="*/ 108 h 154"/>
                  <a:gd name="T4" fmla="*/ 48 w 108"/>
                  <a:gd name="T5" fmla="*/ 154 h 154"/>
                  <a:gd name="T6" fmla="*/ 108 w 108"/>
                  <a:gd name="T7" fmla="*/ 0 h 154"/>
                </a:gdLst>
                <a:ahLst/>
                <a:cxnLst>
                  <a:cxn ang="0">
                    <a:pos x="T0" y="T1"/>
                  </a:cxn>
                  <a:cxn ang="0">
                    <a:pos x="T2" y="T3"/>
                  </a:cxn>
                  <a:cxn ang="0">
                    <a:pos x="T4" y="T5"/>
                  </a:cxn>
                  <a:cxn ang="0">
                    <a:pos x="T6" y="T7"/>
                  </a:cxn>
                </a:cxnLst>
                <a:rect l="0" t="0" r="r" b="b"/>
                <a:pathLst>
                  <a:path w="108" h="154">
                    <a:moveTo>
                      <a:pt x="108" y="0"/>
                    </a:moveTo>
                    <a:lnTo>
                      <a:pt x="0" y="108"/>
                    </a:lnTo>
                    <a:lnTo>
                      <a:pt x="48" y="154"/>
                    </a:lnTo>
                    <a:lnTo>
                      <a:pt x="108"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71" name="Freeform 172">
                <a:extLst>
                  <a:ext uri="{FF2B5EF4-FFF2-40B4-BE49-F238E27FC236}">
                    <a16:creationId xmlns:a16="http://schemas.microsoft.com/office/drawing/2014/main" id="{74E69A93-006B-4FAA-A5A1-A7C48240F8B3}"/>
                  </a:ext>
                </a:extLst>
              </p:cNvPr>
              <p:cNvSpPr>
                <a:spLocks/>
              </p:cNvSpPr>
              <p:nvPr/>
            </p:nvSpPr>
            <p:spPr bwMode="auto">
              <a:xfrm>
                <a:off x="7042610" y="6470670"/>
                <a:ext cx="140546" cy="165922"/>
              </a:xfrm>
              <a:custGeom>
                <a:avLst/>
                <a:gdLst>
                  <a:gd name="T0" fmla="*/ 146 w 146"/>
                  <a:gd name="T1" fmla="*/ 0 h 276"/>
                  <a:gd name="T2" fmla="*/ 0 w 146"/>
                  <a:gd name="T3" fmla="*/ 134 h 276"/>
                  <a:gd name="T4" fmla="*/ 0 w 146"/>
                  <a:gd name="T5" fmla="*/ 276 h 276"/>
                  <a:gd name="T6" fmla="*/ 10 w 146"/>
                  <a:gd name="T7" fmla="*/ 276 h 276"/>
                  <a:gd name="T8" fmla="*/ 146 w 146"/>
                  <a:gd name="T9" fmla="*/ 0 h 276"/>
                  <a:gd name="connsiteX0" fmla="*/ 16013 w 16013"/>
                  <a:gd name="connsiteY0" fmla="*/ 0 h 10000"/>
                  <a:gd name="connsiteX1" fmla="*/ 0 w 16013"/>
                  <a:gd name="connsiteY1" fmla="*/ 7690 h 10000"/>
                  <a:gd name="connsiteX2" fmla="*/ 6013 w 16013"/>
                  <a:gd name="connsiteY2" fmla="*/ 10000 h 10000"/>
                  <a:gd name="connsiteX3" fmla="*/ 6698 w 16013"/>
                  <a:gd name="connsiteY3" fmla="*/ 10000 h 10000"/>
                  <a:gd name="connsiteX4" fmla="*/ 16013 w 16013"/>
                  <a:gd name="connsiteY4" fmla="*/ 0 h 10000"/>
                  <a:gd name="connsiteX0" fmla="*/ 16013 w 16013"/>
                  <a:gd name="connsiteY0" fmla="*/ 0 h 10000"/>
                  <a:gd name="connsiteX1" fmla="*/ 0 w 16013"/>
                  <a:gd name="connsiteY1" fmla="*/ 7690 h 10000"/>
                  <a:gd name="connsiteX2" fmla="*/ 6698 w 16013"/>
                  <a:gd name="connsiteY2" fmla="*/ 10000 h 10000"/>
                  <a:gd name="connsiteX3" fmla="*/ 16013 w 16013"/>
                  <a:gd name="connsiteY3" fmla="*/ 0 h 10000"/>
                </a:gdLst>
                <a:ahLst/>
                <a:cxnLst>
                  <a:cxn ang="0">
                    <a:pos x="connsiteX0" y="connsiteY0"/>
                  </a:cxn>
                  <a:cxn ang="0">
                    <a:pos x="connsiteX1" y="connsiteY1"/>
                  </a:cxn>
                  <a:cxn ang="0">
                    <a:pos x="connsiteX2" y="connsiteY2"/>
                  </a:cxn>
                  <a:cxn ang="0">
                    <a:pos x="connsiteX3" y="connsiteY3"/>
                  </a:cxn>
                </a:cxnLst>
                <a:rect l="l" t="t" r="r" b="b"/>
                <a:pathLst>
                  <a:path w="16013" h="10000">
                    <a:moveTo>
                      <a:pt x="16013" y="0"/>
                    </a:moveTo>
                    <a:lnTo>
                      <a:pt x="0" y="7690"/>
                    </a:lnTo>
                    <a:lnTo>
                      <a:pt x="6698" y="10000"/>
                    </a:lnTo>
                    <a:lnTo>
                      <a:pt x="16013"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72" name="Freeform 173">
                <a:extLst>
                  <a:ext uri="{FF2B5EF4-FFF2-40B4-BE49-F238E27FC236}">
                    <a16:creationId xmlns:a16="http://schemas.microsoft.com/office/drawing/2014/main" id="{89E94456-BA05-44D4-8F7E-EED500EAC404}"/>
                  </a:ext>
                </a:extLst>
              </p:cNvPr>
              <p:cNvSpPr>
                <a:spLocks/>
              </p:cNvSpPr>
              <p:nvPr/>
            </p:nvSpPr>
            <p:spPr bwMode="auto">
              <a:xfrm>
                <a:off x="7112218" y="6474277"/>
                <a:ext cx="241668" cy="162315"/>
              </a:xfrm>
              <a:custGeom>
                <a:avLst/>
                <a:gdLst>
                  <a:gd name="T0" fmla="*/ 132 w 402"/>
                  <a:gd name="T1" fmla="*/ 0 h 270"/>
                  <a:gd name="T2" fmla="*/ 0 w 402"/>
                  <a:gd name="T3" fmla="*/ 268 h 270"/>
                  <a:gd name="T4" fmla="*/ 402 w 402"/>
                  <a:gd name="T5" fmla="*/ 270 h 270"/>
                  <a:gd name="T6" fmla="*/ 132 w 402"/>
                  <a:gd name="T7" fmla="*/ 0 h 270"/>
                </a:gdLst>
                <a:ahLst/>
                <a:cxnLst>
                  <a:cxn ang="0">
                    <a:pos x="T0" y="T1"/>
                  </a:cxn>
                  <a:cxn ang="0">
                    <a:pos x="T2" y="T3"/>
                  </a:cxn>
                  <a:cxn ang="0">
                    <a:pos x="T4" y="T5"/>
                  </a:cxn>
                  <a:cxn ang="0">
                    <a:pos x="T6" y="T7"/>
                  </a:cxn>
                </a:cxnLst>
                <a:rect l="0" t="0" r="r" b="b"/>
                <a:pathLst>
                  <a:path w="402" h="270">
                    <a:moveTo>
                      <a:pt x="132" y="0"/>
                    </a:moveTo>
                    <a:lnTo>
                      <a:pt x="0" y="268"/>
                    </a:lnTo>
                    <a:lnTo>
                      <a:pt x="402" y="270"/>
                    </a:lnTo>
                    <a:lnTo>
                      <a:pt x="132" y="0"/>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2273" name="Group 2272">
            <a:extLst>
              <a:ext uri="{FF2B5EF4-FFF2-40B4-BE49-F238E27FC236}">
                <a16:creationId xmlns:a16="http://schemas.microsoft.com/office/drawing/2014/main" id="{A18C44F6-21E1-4309-8605-C9881C5CFB1A}"/>
              </a:ext>
            </a:extLst>
          </p:cNvPr>
          <p:cNvGrpSpPr/>
          <p:nvPr/>
        </p:nvGrpSpPr>
        <p:grpSpPr>
          <a:xfrm>
            <a:off x="4609588" y="3981305"/>
            <a:ext cx="612000" cy="612000"/>
            <a:chOff x="2777224" y="4582498"/>
            <a:chExt cx="612000" cy="612000"/>
          </a:xfrm>
        </p:grpSpPr>
        <p:sp>
          <p:nvSpPr>
            <p:cNvPr id="2274" name="Oval 2273">
              <a:extLst>
                <a:ext uri="{FF2B5EF4-FFF2-40B4-BE49-F238E27FC236}">
                  <a16:creationId xmlns:a16="http://schemas.microsoft.com/office/drawing/2014/main" id="{77034180-289B-4C36-AF46-2E0C938E761C}"/>
                </a:ext>
              </a:extLst>
            </p:cNvPr>
            <p:cNvSpPr/>
            <p:nvPr/>
          </p:nvSpPr>
          <p:spPr bwMode="ltGray">
            <a:xfrm>
              <a:off x="2777224" y="4582498"/>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2275" name="Group 2274">
              <a:extLst>
                <a:ext uri="{FF2B5EF4-FFF2-40B4-BE49-F238E27FC236}">
                  <a16:creationId xmlns:a16="http://schemas.microsoft.com/office/drawing/2014/main" id="{2B40558D-95DB-436D-9FC5-DBDF279AC5DC}"/>
                </a:ext>
              </a:extLst>
            </p:cNvPr>
            <p:cNvGrpSpPr/>
            <p:nvPr/>
          </p:nvGrpSpPr>
          <p:grpSpPr>
            <a:xfrm>
              <a:off x="2849224" y="4654498"/>
              <a:ext cx="468000" cy="468000"/>
              <a:chOff x="541338" y="541338"/>
              <a:chExt cx="4521200" cy="4521200"/>
            </a:xfrm>
          </p:grpSpPr>
          <p:grpSp>
            <p:nvGrpSpPr>
              <p:cNvPr id="2276" name="Group 2275">
                <a:extLst>
                  <a:ext uri="{FF2B5EF4-FFF2-40B4-BE49-F238E27FC236}">
                    <a16:creationId xmlns:a16="http://schemas.microsoft.com/office/drawing/2014/main" id="{1E5338E9-69D1-4260-8B47-A1B4D05F6192}"/>
                  </a:ext>
                </a:extLst>
              </p:cNvPr>
              <p:cNvGrpSpPr/>
              <p:nvPr/>
            </p:nvGrpSpPr>
            <p:grpSpPr>
              <a:xfrm>
                <a:off x="541338" y="541338"/>
                <a:ext cx="4521200" cy="4521200"/>
                <a:chOff x="541338" y="541338"/>
                <a:chExt cx="4521200" cy="4521200"/>
              </a:xfrm>
            </p:grpSpPr>
            <p:sp>
              <p:nvSpPr>
                <p:cNvPr id="2278" name="Freeform 8">
                  <a:extLst>
                    <a:ext uri="{FF2B5EF4-FFF2-40B4-BE49-F238E27FC236}">
                      <a16:creationId xmlns:a16="http://schemas.microsoft.com/office/drawing/2014/main" id="{26DDB976-32C6-4DB8-A9FE-B6BD8861D4A0}"/>
                    </a:ext>
                  </a:extLst>
                </p:cNvPr>
                <p:cNvSpPr>
                  <a:spLocks/>
                </p:cNvSpPr>
                <p:nvPr/>
              </p:nvSpPr>
              <p:spPr bwMode="auto">
                <a:xfrm>
                  <a:off x="541338" y="541338"/>
                  <a:ext cx="4521200" cy="4521200"/>
                </a:xfrm>
                <a:custGeom>
                  <a:avLst/>
                  <a:gdLst>
                    <a:gd name="T0" fmla="*/ 1498 w 2848"/>
                    <a:gd name="T1" fmla="*/ 2 h 2848"/>
                    <a:gd name="T2" fmla="*/ 1710 w 2848"/>
                    <a:gd name="T3" fmla="*/ 30 h 2848"/>
                    <a:gd name="T4" fmla="*/ 1914 w 2848"/>
                    <a:gd name="T5" fmla="*/ 86 h 2848"/>
                    <a:gd name="T6" fmla="*/ 2102 w 2848"/>
                    <a:gd name="T7" fmla="*/ 172 h 2848"/>
                    <a:gd name="T8" fmla="*/ 2276 w 2848"/>
                    <a:gd name="T9" fmla="*/ 284 h 2848"/>
                    <a:gd name="T10" fmla="*/ 2430 w 2848"/>
                    <a:gd name="T11" fmla="*/ 418 h 2848"/>
                    <a:gd name="T12" fmla="*/ 2564 w 2848"/>
                    <a:gd name="T13" fmla="*/ 572 h 2848"/>
                    <a:gd name="T14" fmla="*/ 2676 w 2848"/>
                    <a:gd name="T15" fmla="*/ 746 h 2848"/>
                    <a:gd name="T16" fmla="*/ 2762 w 2848"/>
                    <a:gd name="T17" fmla="*/ 934 h 2848"/>
                    <a:gd name="T18" fmla="*/ 2818 w 2848"/>
                    <a:gd name="T19" fmla="*/ 1138 h 2848"/>
                    <a:gd name="T20" fmla="*/ 2846 w 2848"/>
                    <a:gd name="T21" fmla="*/ 1350 h 2848"/>
                    <a:gd name="T22" fmla="*/ 2846 w 2848"/>
                    <a:gd name="T23" fmla="*/ 1498 h 2848"/>
                    <a:gd name="T24" fmla="*/ 2818 w 2848"/>
                    <a:gd name="T25" fmla="*/ 1712 h 2848"/>
                    <a:gd name="T26" fmla="*/ 2762 w 2848"/>
                    <a:gd name="T27" fmla="*/ 1914 h 2848"/>
                    <a:gd name="T28" fmla="*/ 2676 w 2848"/>
                    <a:gd name="T29" fmla="*/ 2102 h 2848"/>
                    <a:gd name="T30" fmla="*/ 2564 w 2848"/>
                    <a:gd name="T31" fmla="*/ 2276 h 2848"/>
                    <a:gd name="T32" fmla="*/ 2430 w 2848"/>
                    <a:gd name="T33" fmla="*/ 2432 h 2848"/>
                    <a:gd name="T34" fmla="*/ 2276 w 2848"/>
                    <a:gd name="T35" fmla="*/ 2566 h 2848"/>
                    <a:gd name="T36" fmla="*/ 2102 w 2848"/>
                    <a:gd name="T37" fmla="*/ 2676 h 2848"/>
                    <a:gd name="T38" fmla="*/ 1914 w 2848"/>
                    <a:gd name="T39" fmla="*/ 2762 h 2848"/>
                    <a:gd name="T40" fmla="*/ 1710 w 2848"/>
                    <a:gd name="T41" fmla="*/ 2820 h 2848"/>
                    <a:gd name="T42" fmla="*/ 1498 w 2848"/>
                    <a:gd name="T43" fmla="*/ 2846 h 2848"/>
                    <a:gd name="T44" fmla="*/ 1350 w 2848"/>
                    <a:gd name="T45" fmla="*/ 2846 h 2848"/>
                    <a:gd name="T46" fmla="*/ 1138 w 2848"/>
                    <a:gd name="T47" fmla="*/ 2820 h 2848"/>
                    <a:gd name="T48" fmla="*/ 934 w 2848"/>
                    <a:gd name="T49" fmla="*/ 2762 h 2848"/>
                    <a:gd name="T50" fmla="*/ 746 w 2848"/>
                    <a:gd name="T51" fmla="*/ 2676 h 2848"/>
                    <a:gd name="T52" fmla="*/ 572 w 2848"/>
                    <a:gd name="T53" fmla="*/ 2566 h 2848"/>
                    <a:gd name="T54" fmla="*/ 418 w 2848"/>
                    <a:gd name="T55" fmla="*/ 2432 h 2848"/>
                    <a:gd name="T56" fmla="*/ 284 w 2848"/>
                    <a:gd name="T57" fmla="*/ 2276 h 2848"/>
                    <a:gd name="T58" fmla="*/ 172 w 2848"/>
                    <a:gd name="T59" fmla="*/ 2102 h 2848"/>
                    <a:gd name="T60" fmla="*/ 86 w 2848"/>
                    <a:gd name="T61" fmla="*/ 1914 h 2848"/>
                    <a:gd name="T62" fmla="*/ 30 w 2848"/>
                    <a:gd name="T63" fmla="*/ 1712 h 2848"/>
                    <a:gd name="T64" fmla="*/ 2 w 2848"/>
                    <a:gd name="T65" fmla="*/ 1498 h 2848"/>
                    <a:gd name="T66" fmla="*/ 2 w 2848"/>
                    <a:gd name="T67" fmla="*/ 1350 h 2848"/>
                    <a:gd name="T68" fmla="*/ 30 w 2848"/>
                    <a:gd name="T69" fmla="*/ 1138 h 2848"/>
                    <a:gd name="T70" fmla="*/ 86 w 2848"/>
                    <a:gd name="T71" fmla="*/ 934 h 2848"/>
                    <a:gd name="T72" fmla="*/ 172 w 2848"/>
                    <a:gd name="T73" fmla="*/ 746 h 2848"/>
                    <a:gd name="T74" fmla="*/ 284 w 2848"/>
                    <a:gd name="T75" fmla="*/ 572 h 2848"/>
                    <a:gd name="T76" fmla="*/ 418 w 2848"/>
                    <a:gd name="T77" fmla="*/ 418 h 2848"/>
                    <a:gd name="T78" fmla="*/ 572 w 2848"/>
                    <a:gd name="T79" fmla="*/ 284 h 2848"/>
                    <a:gd name="T80" fmla="*/ 746 w 2848"/>
                    <a:gd name="T81" fmla="*/ 172 h 2848"/>
                    <a:gd name="T82" fmla="*/ 934 w 2848"/>
                    <a:gd name="T83" fmla="*/ 86 h 2848"/>
                    <a:gd name="T84" fmla="*/ 1138 w 2848"/>
                    <a:gd name="T85" fmla="*/ 30 h 2848"/>
                    <a:gd name="T86" fmla="*/ 1350 w 2848"/>
                    <a:gd name="T87" fmla="*/ 2 h 2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48" h="2848">
                      <a:moveTo>
                        <a:pt x="1424" y="0"/>
                      </a:moveTo>
                      <a:lnTo>
                        <a:pt x="1424" y="0"/>
                      </a:lnTo>
                      <a:lnTo>
                        <a:pt x="1498" y="2"/>
                      </a:lnTo>
                      <a:lnTo>
                        <a:pt x="1570" y="8"/>
                      </a:lnTo>
                      <a:lnTo>
                        <a:pt x="1640" y="16"/>
                      </a:lnTo>
                      <a:lnTo>
                        <a:pt x="1710" y="30"/>
                      </a:lnTo>
                      <a:lnTo>
                        <a:pt x="1780" y="46"/>
                      </a:lnTo>
                      <a:lnTo>
                        <a:pt x="1848" y="64"/>
                      </a:lnTo>
                      <a:lnTo>
                        <a:pt x="1914" y="86"/>
                      </a:lnTo>
                      <a:lnTo>
                        <a:pt x="1978" y="112"/>
                      </a:lnTo>
                      <a:lnTo>
                        <a:pt x="2042" y="140"/>
                      </a:lnTo>
                      <a:lnTo>
                        <a:pt x="2102" y="172"/>
                      </a:lnTo>
                      <a:lnTo>
                        <a:pt x="2162" y="206"/>
                      </a:lnTo>
                      <a:lnTo>
                        <a:pt x="2220" y="244"/>
                      </a:lnTo>
                      <a:lnTo>
                        <a:pt x="2276" y="284"/>
                      </a:lnTo>
                      <a:lnTo>
                        <a:pt x="2330" y="326"/>
                      </a:lnTo>
                      <a:lnTo>
                        <a:pt x="2382" y="370"/>
                      </a:lnTo>
                      <a:lnTo>
                        <a:pt x="2430" y="418"/>
                      </a:lnTo>
                      <a:lnTo>
                        <a:pt x="2478" y="466"/>
                      </a:lnTo>
                      <a:lnTo>
                        <a:pt x="2522" y="518"/>
                      </a:lnTo>
                      <a:lnTo>
                        <a:pt x="2564" y="572"/>
                      </a:lnTo>
                      <a:lnTo>
                        <a:pt x="2604" y="628"/>
                      </a:lnTo>
                      <a:lnTo>
                        <a:pt x="2642" y="686"/>
                      </a:lnTo>
                      <a:lnTo>
                        <a:pt x="2676" y="746"/>
                      </a:lnTo>
                      <a:lnTo>
                        <a:pt x="2708" y="806"/>
                      </a:lnTo>
                      <a:lnTo>
                        <a:pt x="2736" y="870"/>
                      </a:lnTo>
                      <a:lnTo>
                        <a:pt x="2762" y="934"/>
                      </a:lnTo>
                      <a:lnTo>
                        <a:pt x="2784" y="1000"/>
                      </a:lnTo>
                      <a:lnTo>
                        <a:pt x="2804" y="1068"/>
                      </a:lnTo>
                      <a:lnTo>
                        <a:pt x="2818" y="1138"/>
                      </a:lnTo>
                      <a:lnTo>
                        <a:pt x="2832" y="1208"/>
                      </a:lnTo>
                      <a:lnTo>
                        <a:pt x="2840" y="1278"/>
                      </a:lnTo>
                      <a:lnTo>
                        <a:pt x="2846" y="1350"/>
                      </a:lnTo>
                      <a:lnTo>
                        <a:pt x="2848" y="1424"/>
                      </a:lnTo>
                      <a:lnTo>
                        <a:pt x="2848" y="1424"/>
                      </a:lnTo>
                      <a:lnTo>
                        <a:pt x="2846" y="1498"/>
                      </a:lnTo>
                      <a:lnTo>
                        <a:pt x="2840" y="1570"/>
                      </a:lnTo>
                      <a:lnTo>
                        <a:pt x="2832" y="1642"/>
                      </a:lnTo>
                      <a:lnTo>
                        <a:pt x="2818" y="1712"/>
                      </a:lnTo>
                      <a:lnTo>
                        <a:pt x="2804" y="1780"/>
                      </a:lnTo>
                      <a:lnTo>
                        <a:pt x="2784" y="1848"/>
                      </a:lnTo>
                      <a:lnTo>
                        <a:pt x="2762" y="1914"/>
                      </a:lnTo>
                      <a:lnTo>
                        <a:pt x="2736" y="1978"/>
                      </a:lnTo>
                      <a:lnTo>
                        <a:pt x="2708" y="2042"/>
                      </a:lnTo>
                      <a:lnTo>
                        <a:pt x="2676" y="2102"/>
                      </a:lnTo>
                      <a:lnTo>
                        <a:pt x="2642" y="2162"/>
                      </a:lnTo>
                      <a:lnTo>
                        <a:pt x="2604" y="2220"/>
                      </a:lnTo>
                      <a:lnTo>
                        <a:pt x="2564" y="2276"/>
                      </a:lnTo>
                      <a:lnTo>
                        <a:pt x="2522" y="2330"/>
                      </a:lnTo>
                      <a:lnTo>
                        <a:pt x="2478" y="2382"/>
                      </a:lnTo>
                      <a:lnTo>
                        <a:pt x="2430" y="2432"/>
                      </a:lnTo>
                      <a:lnTo>
                        <a:pt x="2382" y="2478"/>
                      </a:lnTo>
                      <a:lnTo>
                        <a:pt x="2330" y="2522"/>
                      </a:lnTo>
                      <a:lnTo>
                        <a:pt x="2276" y="2566"/>
                      </a:lnTo>
                      <a:lnTo>
                        <a:pt x="2220" y="2604"/>
                      </a:lnTo>
                      <a:lnTo>
                        <a:pt x="2162" y="2642"/>
                      </a:lnTo>
                      <a:lnTo>
                        <a:pt x="2102" y="2676"/>
                      </a:lnTo>
                      <a:lnTo>
                        <a:pt x="2042" y="2708"/>
                      </a:lnTo>
                      <a:lnTo>
                        <a:pt x="1978" y="2736"/>
                      </a:lnTo>
                      <a:lnTo>
                        <a:pt x="1914" y="2762"/>
                      </a:lnTo>
                      <a:lnTo>
                        <a:pt x="1848" y="2784"/>
                      </a:lnTo>
                      <a:lnTo>
                        <a:pt x="1780" y="2804"/>
                      </a:lnTo>
                      <a:lnTo>
                        <a:pt x="1710" y="2820"/>
                      </a:lnTo>
                      <a:lnTo>
                        <a:pt x="1640" y="2832"/>
                      </a:lnTo>
                      <a:lnTo>
                        <a:pt x="1570" y="2840"/>
                      </a:lnTo>
                      <a:lnTo>
                        <a:pt x="1498" y="2846"/>
                      </a:lnTo>
                      <a:lnTo>
                        <a:pt x="1424" y="2848"/>
                      </a:lnTo>
                      <a:lnTo>
                        <a:pt x="1424" y="2848"/>
                      </a:lnTo>
                      <a:lnTo>
                        <a:pt x="1350" y="2846"/>
                      </a:lnTo>
                      <a:lnTo>
                        <a:pt x="1278" y="2840"/>
                      </a:lnTo>
                      <a:lnTo>
                        <a:pt x="1208" y="2832"/>
                      </a:lnTo>
                      <a:lnTo>
                        <a:pt x="1138" y="2820"/>
                      </a:lnTo>
                      <a:lnTo>
                        <a:pt x="1068" y="2804"/>
                      </a:lnTo>
                      <a:lnTo>
                        <a:pt x="1000" y="2784"/>
                      </a:lnTo>
                      <a:lnTo>
                        <a:pt x="934" y="2762"/>
                      </a:lnTo>
                      <a:lnTo>
                        <a:pt x="870" y="2736"/>
                      </a:lnTo>
                      <a:lnTo>
                        <a:pt x="806" y="2708"/>
                      </a:lnTo>
                      <a:lnTo>
                        <a:pt x="746" y="2676"/>
                      </a:lnTo>
                      <a:lnTo>
                        <a:pt x="686" y="2642"/>
                      </a:lnTo>
                      <a:lnTo>
                        <a:pt x="628" y="2604"/>
                      </a:lnTo>
                      <a:lnTo>
                        <a:pt x="572" y="2566"/>
                      </a:lnTo>
                      <a:lnTo>
                        <a:pt x="518" y="2522"/>
                      </a:lnTo>
                      <a:lnTo>
                        <a:pt x="466" y="2478"/>
                      </a:lnTo>
                      <a:lnTo>
                        <a:pt x="418" y="2432"/>
                      </a:lnTo>
                      <a:lnTo>
                        <a:pt x="370" y="2382"/>
                      </a:lnTo>
                      <a:lnTo>
                        <a:pt x="326" y="2330"/>
                      </a:lnTo>
                      <a:lnTo>
                        <a:pt x="284" y="2276"/>
                      </a:lnTo>
                      <a:lnTo>
                        <a:pt x="244" y="2220"/>
                      </a:lnTo>
                      <a:lnTo>
                        <a:pt x="206" y="2162"/>
                      </a:lnTo>
                      <a:lnTo>
                        <a:pt x="172" y="2102"/>
                      </a:lnTo>
                      <a:lnTo>
                        <a:pt x="140" y="2042"/>
                      </a:lnTo>
                      <a:lnTo>
                        <a:pt x="112" y="1978"/>
                      </a:lnTo>
                      <a:lnTo>
                        <a:pt x="86" y="1914"/>
                      </a:lnTo>
                      <a:lnTo>
                        <a:pt x="64" y="1848"/>
                      </a:lnTo>
                      <a:lnTo>
                        <a:pt x="46" y="1780"/>
                      </a:lnTo>
                      <a:lnTo>
                        <a:pt x="30" y="1712"/>
                      </a:lnTo>
                      <a:lnTo>
                        <a:pt x="16" y="1642"/>
                      </a:lnTo>
                      <a:lnTo>
                        <a:pt x="8" y="1570"/>
                      </a:lnTo>
                      <a:lnTo>
                        <a:pt x="2" y="1498"/>
                      </a:lnTo>
                      <a:lnTo>
                        <a:pt x="0" y="1424"/>
                      </a:lnTo>
                      <a:lnTo>
                        <a:pt x="0" y="1424"/>
                      </a:lnTo>
                      <a:lnTo>
                        <a:pt x="2" y="1350"/>
                      </a:lnTo>
                      <a:lnTo>
                        <a:pt x="8" y="1278"/>
                      </a:lnTo>
                      <a:lnTo>
                        <a:pt x="16" y="1208"/>
                      </a:lnTo>
                      <a:lnTo>
                        <a:pt x="30" y="1138"/>
                      </a:lnTo>
                      <a:lnTo>
                        <a:pt x="46" y="1068"/>
                      </a:lnTo>
                      <a:lnTo>
                        <a:pt x="64" y="1000"/>
                      </a:lnTo>
                      <a:lnTo>
                        <a:pt x="86" y="934"/>
                      </a:lnTo>
                      <a:lnTo>
                        <a:pt x="112" y="870"/>
                      </a:lnTo>
                      <a:lnTo>
                        <a:pt x="140" y="806"/>
                      </a:lnTo>
                      <a:lnTo>
                        <a:pt x="172" y="746"/>
                      </a:lnTo>
                      <a:lnTo>
                        <a:pt x="206" y="686"/>
                      </a:lnTo>
                      <a:lnTo>
                        <a:pt x="244" y="628"/>
                      </a:lnTo>
                      <a:lnTo>
                        <a:pt x="284" y="572"/>
                      </a:lnTo>
                      <a:lnTo>
                        <a:pt x="326" y="518"/>
                      </a:lnTo>
                      <a:lnTo>
                        <a:pt x="370" y="466"/>
                      </a:lnTo>
                      <a:lnTo>
                        <a:pt x="418" y="418"/>
                      </a:lnTo>
                      <a:lnTo>
                        <a:pt x="466" y="370"/>
                      </a:lnTo>
                      <a:lnTo>
                        <a:pt x="518" y="326"/>
                      </a:lnTo>
                      <a:lnTo>
                        <a:pt x="572" y="284"/>
                      </a:lnTo>
                      <a:lnTo>
                        <a:pt x="628" y="244"/>
                      </a:lnTo>
                      <a:lnTo>
                        <a:pt x="686" y="206"/>
                      </a:lnTo>
                      <a:lnTo>
                        <a:pt x="746" y="172"/>
                      </a:lnTo>
                      <a:lnTo>
                        <a:pt x="806" y="140"/>
                      </a:lnTo>
                      <a:lnTo>
                        <a:pt x="870" y="112"/>
                      </a:lnTo>
                      <a:lnTo>
                        <a:pt x="934" y="86"/>
                      </a:lnTo>
                      <a:lnTo>
                        <a:pt x="1000" y="64"/>
                      </a:lnTo>
                      <a:lnTo>
                        <a:pt x="1068" y="46"/>
                      </a:lnTo>
                      <a:lnTo>
                        <a:pt x="1138" y="30"/>
                      </a:lnTo>
                      <a:lnTo>
                        <a:pt x="1208" y="16"/>
                      </a:lnTo>
                      <a:lnTo>
                        <a:pt x="1278" y="8"/>
                      </a:lnTo>
                      <a:lnTo>
                        <a:pt x="1350" y="2"/>
                      </a:lnTo>
                      <a:lnTo>
                        <a:pt x="1424" y="0"/>
                      </a:lnTo>
                      <a:lnTo>
                        <a:pt x="1424" y="0"/>
                      </a:lnTo>
                      <a:close/>
                    </a:path>
                  </a:pathLst>
                </a:custGeom>
                <a:noFill/>
                <a:ln w="22225">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79" name="Freeform 9">
                  <a:extLst>
                    <a:ext uri="{FF2B5EF4-FFF2-40B4-BE49-F238E27FC236}">
                      <a16:creationId xmlns:a16="http://schemas.microsoft.com/office/drawing/2014/main" id="{E673CA34-CFB7-482C-A21C-5E1B1C31DA8A}"/>
                    </a:ext>
                  </a:extLst>
                </p:cNvPr>
                <p:cNvSpPr>
                  <a:spLocks/>
                </p:cNvSpPr>
                <p:nvPr/>
              </p:nvSpPr>
              <p:spPr bwMode="auto">
                <a:xfrm>
                  <a:off x="1671638" y="541338"/>
                  <a:ext cx="2260600" cy="4521200"/>
                </a:xfrm>
                <a:custGeom>
                  <a:avLst/>
                  <a:gdLst>
                    <a:gd name="T0" fmla="*/ 748 w 1424"/>
                    <a:gd name="T1" fmla="*/ 2 h 2848"/>
                    <a:gd name="T2" fmla="*/ 856 w 1424"/>
                    <a:gd name="T3" fmla="*/ 30 h 2848"/>
                    <a:gd name="T4" fmla="*/ 956 w 1424"/>
                    <a:gd name="T5" fmla="*/ 86 h 2848"/>
                    <a:gd name="T6" fmla="*/ 1052 w 1424"/>
                    <a:gd name="T7" fmla="*/ 172 h 2848"/>
                    <a:gd name="T8" fmla="*/ 1138 w 1424"/>
                    <a:gd name="T9" fmla="*/ 284 h 2848"/>
                    <a:gd name="T10" fmla="*/ 1216 w 1424"/>
                    <a:gd name="T11" fmla="*/ 418 h 2848"/>
                    <a:gd name="T12" fmla="*/ 1282 w 1424"/>
                    <a:gd name="T13" fmla="*/ 572 h 2848"/>
                    <a:gd name="T14" fmla="*/ 1338 w 1424"/>
                    <a:gd name="T15" fmla="*/ 746 h 2848"/>
                    <a:gd name="T16" fmla="*/ 1380 w 1424"/>
                    <a:gd name="T17" fmla="*/ 934 h 2848"/>
                    <a:gd name="T18" fmla="*/ 1410 w 1424"/>
                    <a:gd name="T19" fmla="*/ 1138 h 2848"/>
                    <a:gd name="T20" fmla="*/ 1424 w 1424"/>
                    <a:gd name="T21" fmla="*/ 1350 h 2848"/>
                    <a:gd name="T22" fmla="*/ 1424 w 1424"/>
                    <a:gd name="T23" fmla="*/ 1498 h 2848"/>
                    <a:gd name="T24" fmla="*/ 1410 w 1424"/>
                    <a:gd name="T25" fmla="*/ 1712 h 2848"/>
                    <a:gd name="T26" fmla="*/ 1380 w 1424"/>
                    <a:gd name="T27" fmla="*/ 1914 h 2848"/>
                    <a:gd name="T28" fmla="*/ 1338 w 1424"/>
                    <a:gd name="T29" fmla="*/ 2102 h 2848"/>
                    <a:gd name="T30" fmla="*/ 1282 w 1424"/>
                    <a:gd name="T31" fmla="*/ 2276 h 2848"/>
                    <a:gd name="T32" fmla="*/ 1216 w 1424"/>
                    <a:gd name="T33" fmla="*/ 2432 h 2848"/>
                    <a:gd name="T34" fmla="*/ 1138 w 1424"/>
                    <a:gd name="T35" fmla="*/ 2566 h 2848"/>
                    <a:gd name="T36" fmla="*/ 1052 w 1424"/>
                    <a:gd name="T37" fmla="*/ 2676 h 2848"/>
                    <a:gd name="T38" fmla="*/ 956 w 1424"/>
                    <a:gd name="T39" fmla="*/ 2762 h 2848"/>
                    <a:gd name="T40" fmla="*/ 856 w 1424"/>
                    <a:gd name="T41" fmla="*/ 2820 h 2848"/>
                    <a:gd name="T42" fmla="*/ 748 w 1424"/>
                    <a:gd name="T43" fmla="*/ 2846 h 2848"/>
                    <a:gd name="T44" fmla="*/ 676 w 1424"/>
                    <a:gd name="T45" fmla="*/ 2846 h 2848"/>
                    <a:gd name="T46" fmla="*/ 568 w 1424"/>
                    <a:gd name="T47" fmla="*/ 2820 h 2848"/>
                    <a:gd name="T48" fmla="*/ 468 w 1424"/>
                    <a:gd name="T49" fmla="*/ 2762 h 2848"/>
                    <a:gd name="T50" fmla="*/ 372 w 1424"/>
                    <a:gd name="T51" fmla="*/ 2676 h 2848"/>
                    <a:gd name="T52" fmla="*/ 286 w 1424"/>
                    <a:gd name="T53" fmla="*/ 2566 h 2848"/>
                    <a:gd name="T54" fmla="*/ 208 w 1424"/>
                    <a:gd name="T55" fmla="*/ 2432 h 2848"/>
                    <a:gd name="T56" fmla="*/ 142 w 1424"/>
                    <a:gd name="T57" fmla="*/ 2276 h 2848"/>
                    <a:gd name="T58" fmla="*/ 86 w 1424"/>
                    <a:gd name="T59" fmla="*/ 2102 h 2848"/>
                    <a:gd name="T60" fmla="*/ 44 w 1424"/>
                    <a:gd name="T61" fmla="*/ 1914 h 2848"/>
                    <a:gd name="T62" fmla="*/ 14 w 1424"/>
                    <a:gd name="T63" fmla="*/ 1712 h 2848"/>
                    <a:gd name="T64" fmla="*/ 2 w 1424"/>
                    <a:gd name="T65" fmla="*/ 1498 h 2848"/>
                    <a:gd name="T66" fmla="*/ 2 w 1424"/>
                    <a:gd name="T67" fmla="*/ 1350 h 2848"/>
                    <a:gd name="T68" fmla="*/ 14 w 1424"/>
                    <a:gd name="T69" fmla="*/ 1138 h 2848"/>
                    <a:gd name="T70" fmla="*/ 44 w 1424"/>
                    <a:gd name="T71" fmla="*/ 934 h 2848"/>
                    <a:gd name="T72" fmla="*/ 86 w 1424"/>
                    <a:gd name="T73" fmla="*/ 746 h 2848"/>
                    <a:gd name="T74" fmla="*/ 142 w 1424"/>
                    <a:gd name="T75" fmla="*/ 572 h 2848"/>
                    <a:gd name="T76" fmla="*/ 208 w 1424"/>
                    <a:gd name="T77" fmla="*/ 418 h 2848"/>
                    <a:gd name="T78" fmla="*/ 286 w 1424"/>
                    <a:gd name="T79" fmla="*/ 284 h 2848"/>
                    <a:gd name="T80" fmla="*/ 372 w 1424"/>
                    <a:gd name="T81" fmla="*/ 172 h 2848"/>
                    <a:gd name="T82" fmla="*/ 468 w 1424"/>
                    <a:gd name="T83" fmla="*/ 86 h 2848"/>
                    <a:gd name="T84" fmla="*/ 568 w 1424"/>
                    <a:gd name="T85" fmla="*/ 30 h 2848"/>
                    <a:gd name="T86" fmla="*/ 676 w 1424"/>
                    <a:gd name="T87" fmla="*/ 2 h 2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24" h="2848">
                      <a:moveTo>
                        <a:pt x="712" y="0"/>
                      </a:moveTo>
                      <a:lnTo>
                        <a:pt x="712" y="0"/>
                      </a:lnTo>
                      <a:lnTo>
                        <a:pt x="748" y="2"/>
                      </a:lnTo>
                      <a:lnTo>
                        <a:pt x="784" y="8"/>
                      </a:lnTo>
                      <a:lnTo>
                        <a:pt x="820" y="16"/>
                      </a:lnTo>
                      <a:lnTo>
                        <a:pt x="856" y="30"/>
                      </a:lnTo>
                      <a:lnTo>
                        <a:pt x="890" y="46"/>
                      </a:lnTo>
                      <a:lnTo>
                        <a:pt x="924" y="64"/>
                      </a:lnTo>
                      <a:lnTo>
                        <a:pt x="956" y="86"/>
                      </a:lnTo>
                      <a:lnTo>
                        <a:pt x="990" y="112"/>
                      </a:lnTo>
                      <a:lnTo>
                        <a:pt x="1020" y="140"/>
                      </a:lnTo>
                      <a:lnTo>
                        <a:pt x="1052" y="172"/>
                      </a:lnTo>
                      <a:lnTo>
                        <a:pt x="1082" y="206"/>
                      </a:lnTo>
                      <a:lnTo>
                        <a:pt x="1110" y="244"/>
                      </a:lnTo>
                      <a:lnTo>
                        <a:pt x="1138" y="284"/>
                      </a:lnTo>
                      <a:lnTo>
                        <a:pt x="1164" y="326"/>
                      </a:lnTo>
                      <a:lnTo>
                        <a:pt x="1190" y="370"/>
                      </a:lnTo>
                      <a:lnTo>
                        <a:pt x="1216" y="418"/>
                      </a:lnTo>
                      <a:lnTo>
                        <a:pt x="1238" y="466"/>
                      </a:lnTo>
                      <a:lnTo>
                        <a:pt x="1262" y="518"/>
                      </a:lnTo>
                      <a:lnTo>
                        <a:pt x="1282" y="572"/>
                      </a:lnTo>
                      <a:lnTo>
                        <a:pt x="1302" y="628"/>
                      </a:lnTo>
                      <a:lnTo>
                        <a:pt x="1320" y="686"/>
                      </a:lnTo>
                      <a:lnTo>
                        <a:pt x="1338" y="746"/>
                      </a:lnTo>
                      <a:lnTo>
                        <a:pt x="1354" y="806"/>
                      </a:lnTo>
                      <a:lnTo>
                        <a:pt x="1368" y="870"/>
                      </a:lnTo>
                      <a:lnTo>
                        <a:pt x="1380" y="934"/>
                      </a:lnTo>
                      <a:lnTo>
                        <a:pt x="1392" y="1000"/>
                      </a:lnTo>
                      <a:lnTo>
                        <a:pt x="1402" y="1068"/>
                      </a:lnTo>
                      <a:lnTo>
                        <a:pt x="1410" y="1138"/>
                      </a:lnTo>
                      <a:lnTo>
                        <a:pt x="1416" y="1208"/>
                      </a:lnTo>
                      <a:lnTo>
                        <a:pt x="1420" y="1278"/>
                      </a:lnTo>
                      <a:lnTo>
                        <a:pt x="1424" y="1350"/>
                      </a:lnTo>
                      <a:lnTo>
                        <a:pt x="1424" y="1424"/>
                      </a:lnTo>
                      <a:lnTo>
                        <a:pt x="1424" y="1424"/>
                      </a:lnTo>
                      <a:lnTo>
                        <a:pt x="1424" y="1498"/>
                      </a:lnTo>
                      <a:lnTo>
                        <a:pt x="1420" y="1570"/>
                      </a:lnTo>
                      <a:lnTo>
                        <a:pt x="1416" y="1642"/>
                      </a:lnTo>
                      <a:lnTo>
                        <a:pt x="1410" y="1712"/>
                      </a:lnTo>
                      <a:lnTo>
                        <a:pt x="1402" y="1780"/>
                      </a:lnTo>
                      <a:lnTo>
                        <a:pt x="1392" y="1848"/>
                      </a:lnTo>
                      <a:lnTo>
                        <a:pt x="1380" y="1914"/>
                      </a:lnTo>
                      <a:lnTo>
                        <a:pt x="1368" y="1978"/>
                      </a:lnTo>
                      <a:lnTo>
                        <a:pt x="1354" y="2042"/>
                      </a:lnTo>
                      <a:lnTo>
                        <a:pt x="1338" y="2102"/>
                      </a:lnTo>
                      <a:lnTo>
                        <a:pt x="1320" y="2162"/>
                      </a:lnTo>
                      <a:lnTo>
                        <a:pt x="1302" y="2220"/>
                      </a:lnTo>
                      <a:lnTo>
                        <a:pt x="1282" y="2276"/>
                      </a:lnTo>
                      <a:lnTo>
                        <a:pt x="1262" y="2330"/>
                      </a:lnTo>
                      <a:lnTo>
                        <a:pt x="1238" y="2382"/>
                      </a:lnTo>
                      <a:lnTo>
                        <a:pt x="1216" y="2432"/>
                      </a:lnTo>
                      <a:lnTo>
                        <a:pt x="1190" y="2478"/>
                      </a:lnTo>
                      <a:lnTo>
                        <a:pt x="1164" y="2522"/>
                      </a:lnTo>
                      <a:lnTo>
                        <a:pt x="1138" y="2566"/>
                      </a:lnTo>
                      <a:lnTo>
                        <a:pt x="1110" y="2604"/>
                      </a:lnTo>
                      <a:lnTo>
                        <a:pt x="1082" y="2642"/>
                      </a:lnTo>
                      <a:lnTo>
                        <a:pt x="1052" y="2676"/>
                      </a:lnTo>
                      <a:lnTo>
                        <a:pt x="1020" y="2708"/>
                      </a:lnTo>
                      <a:lnTo>
                        <a:pt x="990" y="2736"/>
                      </a:lnTo>
                      <a:lnTo>
                        <a:pt x="956" y="2762"/>
                      </a:lnTo>
                      <a:lnTo>
                        <a:pt x="924" y="2784"/>
                      </a:lnTo>
                      <a:lnTo>
                        <a:pt x="890" y="2804"/>
                      </a:lnTo>
                      <a:lnTo>
                        <a:pt x="856" y="2820"/>
                      </a:lnTo>
                      <a:lnTo>
                        <a:pt x="820" y="2832"/>
                      </a:lnTo>
                      <a:lnTo>
                        <a:pt x="784" y="2840"/>
                      </a:lnTo>
                      <a:lnTo>
                        <a:pt x="748" y="2846"/>
                      </a:lnTo>
                      <a:lnTo>
                        <a:pt x="712" y="2848"/>
                      </a:lnTo>
                      <a:lnTo>
                        <a:pt x="712" y="2848"/>
                      </a:lnTo>
                      <a:lnTo>
                        <a:pt x="676" y="2846"/>
                      </a:lnTo>
                      <a:lnTo>
                        <a:pt x="640" y="2840"/>
                      </a:lnTo>
                      <a:lnTo>
                        <a:pt x="604" y="2832"/>
                      </a:lnTo>
                      <a:lnTo>
                        <a:pt x="568" y="2820"/>
                      </a:lnTo>
                      <a:lnTo>
                        <a:pt x="534" y="2804"/>
                      </a:lnTo>
                      <a:lnTo>
                        <a:pt x="500" y="2784"/>
                      </a:lnTo>
                      <a:lnTo>
                        <a:pt x="468" y="2762"/>
                      </a:lnTo>
                      <a:lnTo>
                        <a:pt x="434" y="2736"/>
                      </a:lnTo>
                      <a:lnTo>
                        <a:pt x="404" y="2708"/>
                      </a:lnTo>
                      <a:lnTo>
                        <a:pt x="372" y="2676"/>
                      </a:lnTo>
                      <a:lnTo>
                        <a:pt x="342" y="2642"/>
                      </a:lnTo>
                      <a:lnTo>
                        <a:pt x="314" y="2604"/>
                      </a:lnTo>
                      <a:lnTo>
                        <a:pt x="286" y="2566"/>
                      </a:lnTo>
                      <a:lnTo>
                        <a:pt x="260" y="2522"/>
                      </a:lnTo>
                      <a:lnTo>
                        <a:pt x="234" y="2478"/>
                      </a:lnTo>
                      <a:lnTo>
                        <a:pt x="208" y="2432"/>
                      </a:lnTo>
                      <a:lnTo>
                        <a:pt x="186" y="2382"/>
                      </a:lnTo>
                      <a:lnTo>
                        <a:pt x="162" y="2330"/>
                      </a:lnTo>
                      <a:lnTo>
                        <a:pt x="142" y="2276"/>
                      </a:lnTo>
                      <a:lnTo>
                        <a:pt x="122" y="2220"/>
                      </a:lnTo>
                      <a:lnTo>
                        <a:pt x="104" y="2162"/>
                      </a:lnTo>
                      <a:lnTo>
                        <a:pt x="86" y="2102"/>
                      </a:lnTo>
                      <a:lnTo>
                        <a:pt x="70" y="2042"/>
                      </a:lnTo>
                      <a:lnTo>
                        <a:pt x="56" y="1978"/>
                      </a:lnTo>
                      <a:lnTo>
                        <a:pt x="44" y="1914"/>
                      </a:lnTo>
                      <a:lnTo>
                        <a:pt x="32" y="1848"/>
                      </a:lnTo>
                      <a:lnTo>
                        <a:pt x="22" y="1780"/>
                      </a:lnTo>
                      <a:lnTo>
                        <a:pt x="14" y="1712"/>
                      </a:lnTo>
                      <a:lnTo>
                        <a:pt x="8" y="1642"/>
                      </a:lnTo>
                      <a:lnTo>
                        <a:pt x="4" y="1570"/>
                      </a:lnTo>
                      <a:lnTo>
                        <a:pt x="2" y="1498"/>
                      </a:lnTo>
                      <a:lnTo>
                        <a:pt x="0" y="1424"/>
                      </a:lnTo>
                      <a:lnTo>
                        <a:pt x="0" y="1424"/>
                      </a:lnTo>
                      <a:lnTo>
                        <a:pt x="2" y="1350"/>
                      </a:lnTo>
                      <a:lnTo>
                        <a:pt x="4" y="1278"/>
                      </a:lnTo>
                      <a:lnTo>
                        <a:pt x="8" y="1208"/>
                      </a:lnTo>
                      <a:lnTo>
                        <a:pt x="14" y="1138"/>
                      </a:lnTo>
                      <a:lnTo>
                        <a:pt x="22" y="1068"/>
                      </a:lnTo>
                      <a:lnTo>
                        <a:pt x="32" y="1000"/>
                      </a:lnTo>
                      <a:lnTo>
                        <a:pt x="44" y="934"/>
                      </a:lnTo>
                      <a:lnTo>
                        <a:pt x="56" y="870"/>
                      </a:lnTo>
                      <a:lnTo>
                        <a:pt x="70" y="806"/>
                      </a:lnTo>
                      <a:lnTo>
                        <a:pt x="86" y="746"/>
                      </a:lnTo>
                      <a:lnTo>
                        <a:pt x="104" y="686"/>
                      </a:lnTo>
                      <a:lnTo>
                        <a:pt x="122" y="628"/>
                      </a:lnTo>
                      <a:lnTo>
                        <a:pt x="142" y="572"/>
                      </a:lnTo>
                      <a:lnTo>
                        <a:pt x="162" y="518"/>
                      </a:lnTo>
                      <a:lnTo>
                        <a:pt x="186" y="466"/>
                      </a:lnTo>
                      <a:lnTo>
                        <a:pt x="208" y="418"/>
                      </a:lnTo>
                      <a:lnTo>
                        <a:pt x="234" y="370"/>
                      </a:lnTo>
                      <a:lnTo>
                        <a:pt x="260" y="326"/>
                      </a:lnTo>
                      <a:lnTo>
                        <a:pt x="286" y="284"/>
                      </a:lnTo>
                      <a:lnTo>
                        <a:pt x="314" y="244"/>
                      </a:lnTo>
                      <a:lnTo>
                        <a:pt x="342" y="206"/>
                      </a:lnTo>
                      <a:lnTo>
                        <a:pt x="372" y="172"/>
                      </a:lnTo>
                      <a:lnTo>
                        <a:pt x="404" y="140"/>
                      </a:lnTo>
                      <a:lnTo>
                        <a:pt x="434" y="112"/>
                      </a:lnTo>
                      <a:lnTo>
                        <a:pt x="468" y="86"/>
                      </a:lnTo>
                      <a:lnTo>
                        <a:pt x="500" y="64"/>
                      </a:lnTo>
                      <a:lnTo>
                        <a:pt x="534" y="46"/>
                      </a:lnTo>
                      <a:lnTo>
                        <a:pt x="568" y="30"/>
                      </a:lnTo>
                      <a:lnTo>
                        <a:pt x="604" y="16"/>
                      </a:lnTo>
                      <a:lnTo>
                        <a:pt x="640" y="8"/>
                      </a:lnTo>
                      <a:lnTo>
                        <a:pt x="676" y="2"/>
                      </a:lnTo>
                      <a:lnTo>
                        <a:pt x="712" y="0"/>
                      </a:lnTo>
                      <a:lnTo>
                        <a:pt x="712" y="0"/>
                      </a:lnTo>
                      <a:close/>
                    </a:path>
                  </a:pathLst>
                </a:custGeom>
                <a:noFill/>
                <a:ln w="22225">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80" name="Freeform 10">
                  <a:extLst>
                    <a:ext uri="{FF2B5EF4-FFF2-40B4-BE49-F238E27FC236}">
                      <a16:creationId xmlns:a16="http://schemas.microsoft.com/office/drawing/2014/main" id="{67CE53E3-07DD-4451-BA92-49093521844E}"/>
                    </a:ext>
                  </a:extLst>
                </p:cNvPr>
                <p:cNvSpPr>
                  <a:spLocks/>
                </p:cNvSpPr>
                <p:nvPr/>
              </p:nvSpPr>
              <p:spPr bwMode="auto">
                <a:xfrm>
                  <a:off x="1046163" y="3836988"/>
                  <a:ext cx="3492500" cy="419100"/>
                </a:xfrm>
                <a:custGeom>
                  <a:avLst/>
                  <a:gdLst>
                    <a:gd name="T0" fmla="*/ 0 w 2200"/>
                    <a:gd name="T1" fmla="*/ 264 h 264"/>
                    <a:gd name="T2" fmla="*/ 0 w 2200"/>
                    <a:gd name="T3" fmla="*/ 264 h 264"/>
                    <a:gd name="T4" fmla="*/ 52 w 2200"/>
                    <a:gd name="T5" fmla="*/ 234 h 264"/>
                    <a:gd name="T6" fmla="*/ 104 w 2200"/>
                    <a:gd name="T7" fmla="*/ 206 h 264"/>
                    <a:gd name="T8" fmla="*/ 162 w 2200"/>
                    <a:gd name="T9" fmla="*/ 180 h 264"/>
                    <a:gd name="T10" fmla="*/ 220 w 2200"/>
                    <a:gd name="T11" fmla="*/ 156 h 264"/>
                    <a:gd name="T12" fmla="*/ 282 w 2200"/>
                    <a:gd name="T13" fmla="*/ 132 h 264"/>
                    <a:gd name="T14" fmla="*/ 348 w 2200"/>
                    <a:gd name="T15" fmla="*/ 110 h 264"/>
                    <a:gd name="T16" fmla="*/ 414 w 2200"/>
                    <a:gd name="T17" fmla="*/ 90 h 264"/>
                    <a:gd name="T18" fmla="*/ 484 w 2200"/>
                    <a:gd name="T19" fmla="*/ 72 h 264"/>
                    <a:gd name="T20" fmla="*/ 556 w 2200"/>
                    <a:gd name="T21" fmla="*/ 56 h 264"/>
                    <a:gd name="T22" fmla="*/ 628 w 2200"/>
                    <a:gd name="T23" fmla="*/ 42 h 264"/>
                    <a:gd name="T24" fmla="*/ 704 w 2200"/>
                    <a:gd name="T25" fmla="*/ 30 h 264"/>
                    <a:gd name="T26" fmla="*/ 782 w 2200"/>
                    <a:gd name="T27" fmla="*/ 20 h 264"/>
                    <a:gd name="T28" fmla="*/ 860 w 2200"/>
                    <a:gd name="T29" fmla="*/ 12 h 264"/>
                    <a:gd name="T30" fmla="*/ 942 w 2200"/>
                    <a:gd name="T31" fmla="*/ 6 h 264"/>
                    <a:gd name="T32" fmla="*/ 1022 w 2200"/>
                    <a:gd name="T33" fmla="*/ 2 h 264"/>
                    <a:gd name="T34" fmla="*/ 1106 w 2200"/>
                    <a:gd name="T35" fmla="*/ 0 h 264"/>
                    <a:gd name="T36" fmla="*/ 1106 w 2200"/>
                    <a:gd name="T37" fmla="*/ 0 h 264"/>
                    <a:gd name="T38" fmla="*/ 1188 w 2200"/>
                    <a:gd name="T39" fmla="*/ 2 h 264"/>
                    <a:gd name="T40" fmla="*/ 1268 w 2200"/>
                    <a:gd name="T41" fmla="*/ 6 h 264"/>
                    <a:gd name="T42" fmla="*/ 1348 w 2200"/>
                    <a:gd name="T43" fmla="*/ 12 h 264"/>
                    <a:gd name="T44" fmla="*/ 1426 w 2200"/>
                    <a:gd name="T45" fmla="*/ 18 h 264"/>
                    <a:gd name="T46" fmla="*/ 1502 w 2200"/>
                    <a:gd name="T47" fmla="*/ 28 h 264"/>
                    <a:gd name="T48" fmla="*/ 1576 w 2200"/>
                    <a:gd name="T49" fmla="*/ 40 h 264"/>
                    <a:gd name="T50" fmla="*/ 1650 w 2200"/>
                    <a:gd name="T51" fmla="*/ 54 h 264"/>
                    <a:gd name="T52" fmla="*/ 1720 w 2200"/>
                    <a:gd name="T53" fmla="*/ 70 h 264"/>
                    <a:gd name="T54" fmla="*/ 1790 w 2200"/>
                    <a:gd name="T55" fmla="*/ 88 h 264"/>
                    <a:gd name="T56" fmla="*/ 1856 w 2200"/>
                    <a:gd name="T57" fmla="*/ 108 h 264"/>
                    <a:gd name="T58" fmla="*/ 1920 w 2200"/>
                    <a:gd name="T59" fmla="*/ 128 h 264"/>
                    <a:gd name="T60" fmla="*/ 1982 w 2200"/>
                    <a:gd name="T61" fmla="*/ 152 h 264"/>
                    <a:gd name="T62" fmla="*/ 2040 w 2200"/>
                    <a:gd name="T63" fmla="*/ 176 h 264"/>
                    <a:gd name="T64" fmla="*/ 2096 w 2200"/>
                    <a:gd name="T65" fmla="*/ 202 h 264"/>
                    <a:gd name="T66" fmla="*/ 2150 w 2200"/>
                    <a:gd name="T67" fmla="*/ 228 h 264"/>
                    <a:gd name="T68" fmla="*/ 2200 w 2200"/>
                    <a:gd name="T69" fmla="*/ 25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0" h="264">
                      <a:moveTo>
                        <a:pt x="0" y="264"/>
                      </a:moveTo>
                      <a:lnTo>
                        <a:pt x="0" y="264"/>
                      </a:lnTo>
                      <a:lnTo>
                        <a:pt x="52" y="234"/>
                      </a:lnTo>
                      <a:lnTo>
                        <a:pt x="104" y="206"/>
                      </a:lnTo>
                      <a:lnTo>
                        <a:pt x="162" y="180"/>
                      </a:lnTo>
                      <a:lnTo>
                        <a:pt x="220" y="156"/>
                      </a:lnTo>
                      <a:lnTo>
                        <a:pt x="282" y="132"/>
                      </a:lnTo>
                      <a:lnTo>
                        <a:pt x="348" y="110"/>
                      </a:lnTo>
                      <a:lnTo>
                        <a:pt x="414" y="90"/>
                      </a:lnTo>
                      <a:lnTo>
                        <a:pt x="484" y="72"/>
                      </a:lnTo>
                      <a:lnTo>
                        <a:pt x="556" y="56"/>
                      </a:lnTo>
                      <a:lnTo>
                        <a:pt x="628" y="42"/>
                      </a:lnTo>
                      <a:lnTo>
                        <a:pt x="704" y="30"/>
                      </a:lnTo>
                      <a:lnTo>
                        <a:pt x="782" y="20"/>
                      </a:lnTo>
                      <a:lnTo>
                        <a:pt x="860" y="12"/>
                      </a:lnTo>
                      <a:lnTo>
                        <a:pt x="942" y="6"/>
                      </a:lnTo>
                      <a:lnTo>
                        <a:pt x="1022" y="2"/>
                      </a:lnTo>
                      <a:lnTo>
                        <a:pt x="1106" y="0"/>
                      </a:lnTo>
                      <a:lnTo>
                        <a:pt x="1106" y="0"/>
                      </a:lnTo>
                      <a:lnTo>
                        <a:pt x="1188" y="2"/>
                      </a:lnTo>
                      <a:lnTo>
                        <a:pt x="1268" y="6"/>
                      </a:lnTo>
                      <a:lnTo>
                        <a:pt x="1348" y="12"/>
                      </a:lnTo>
                      <a:lnTo>
                        <a:pt x="1426" y="18"/>
                      </a:lnTo>
                      <a:lnTo>
                        <a:pt x="1502" y="28"/>
                      </a:lnTo>
                      <a:lnTo>
                        <a:pt x="1576" y="40"/>
                      </a:lnTo>
                      <a:lnTo>
                        <a:pt x="1650" y="54"/>
                      </a:lnTo>
                      <a:lnTo>
                        <a:pt x="1720" y="70"/>
                      </a:lnTo>
                      <a:lnTo>
                        <a:pt x="1790" y="88"/>
                      </a:lnTo>
                      <a:lnTo>
                        <a:pt x="1856" y="108"/>
                      </a:lnTo>
                      <a:lnTo>
                        <a:pt x="1920" y="128"/>
                      </a:lnTo>
                      <a:lnTo>
                        <a:pt x="1982" y="152"/>
                      </a:lnTo>
                      <a:lnTo>
                        <a:pt x="2040" y="176"/>
                      </a:lnTo>
                      <a:lnTo>
                        <a:pt x="2096" y="202"/>
                      </a:lnTo>
                      <a:lnTo>
                        <a:pt x="2150" y="228"/>
                      </a:lnTo>
                      <a:lnTo>
                        <a:pt x="2200" y="258"/>
                      </a:lnTo>
                    </a:path>
                  </a:pathLst>
                </a:custGeom>
                <a:noFill/>
                <a:ln w="22225">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81" name="Freeform 11">
                  <a:extLst>
                    <a:ext uri="{FF2B5EF4-FFF2-40B4-BE49-F238E27FC236}">
                      <a16:creationId xmlns:a16="http://schemas.microsoft.com/office/drawing/2014/main" id="{7A5E0B55-1C66-4B61-AC1F-BD8DB599AA66}"/>
                    </a:ext>
                  </a:extLst>
                </p:cNvPr>
                <p:cNvSpPr>
                  <a:spLocks/>
                </p:cNvSpPr>
                <p:nvPr/>
              </p:nvSpPr>
              <p:spPr bwMode="auto">
                <a:xfrm>
                  <a:off x="1065213" y="1347788"/>
                  <a:ext cx="3492500" cy="419100"/>
                </a:xfrm>
                <a:custGeom>
                  <a:avLst/>
                  <a:gdLst>
                    <a:gd name="T0" fmla="*/ 2200 w 2200"/>
                    <a:gd name="T1" fmla="*/ 0 h 264"/>
                    <a:gd name="T2" fmla="*/ 2200 w 2200"/>
                    <a:gd name="T3" fmla="*/ 0 h 264"/>
                    <a:gd name="T4" fmla="*/ 2150 w 2200"/>
                    <a:gd name="T5" fmla="*/ 30 h 264"/>
                    <a:gd name="T6" fmla="*/ 2096 w 2200"/>
                    <a:gd name="T7" fmla="*/ 58 h 264"/>
                    <a:gd name="T8" fmla="*/ 2038 w 2200"/>
                    <a:gd name="T9" fmla="*/ 84 h 264"/>
                    <a:gd name="T10" fmla="*/ 1980 w 2200"/>
                    <a:gd name="T11" fmla="*/ 110 h 264"/>
                    <a:gd name="T12" fmla="*/ 1918 w 2200"/>
                    <a:gd name="T13" fmla="*/ 132 h 264"/>
                    <a:gd name="T14" fmla="*/ 1852 w 2200"/>
                    <a:gd name="T15" fmla="*/ 154 h 264"/>
                    <a:gd name="T16" fmla="*/ 1786 w 2200"/>
                    <a:gd name="T17" fmla="*/ 174 h 264"/>
                    <a:gd name="T18" fmla="*/ 1716 w 2200"/>
                    <a:gd name="T19" fmla="*/ 192 h 264"/>
                    <a:gd name="T20" fmla="*/ 1644 w 2200"/>
                    <a:gd name="T21" fmla="*/ 208 h 264"/>
                    <a:gd name="T22" fmla="*/ 1572 w 2200"/>
                    <a:gd name="T23" fmla="*/ 222 h 264"/>
                    <a:gd name="T24" fmla="*/ 1496 w 2200"/>
                    <a:gd name="T25" fmla="*/ 234 h 264"/>
                    <a:gd name="T26" fmla="*/ 1418 w 2200"/>
                    <a:gd name="T27" fmla="*/ 246 h 264"/>
                    <a:gd name="T28" fmla="*/ 1340 w 2200"/>
                    <a:gd name="T29" fmla="*/ 254 h 264"/>
                    <a:gd name="T30" fmla="*/ 1258 w 2200"/>
                    <a:gd name="T31" fmla="*/ 258 h 264"/>
                    <a:gd name="T32" fmla="*/ 1178 w 2200"/>
                    <a:gd name="T33" fmla="*/ 262 h 264"/>
                    <a:gd name="T34" fmla="*/ 1094 w 2200"/>
                    <a:gd name="T35" fmla="*/ 264 h 264"/>
                    <a:gd name="T36" fmla="*/ 1094 w 2200"/>
                    <a:gd name="T37" fmla="*/ 264 h 264"/>
                    <a:gd name="T38" fmla="*/ 1012 w 2200"/>
                    <a:gd name="T39" fmla="*/ 262 h 264"/>
                    <a:gd name="T40" fmla="*/ 932 w 2200"/>
                    <a:gd name="T41" fmla="*/ 260 h 264"/>
                    <a:gd name="T42" fmla="*/ 852 w 2200"/>
                    <a:gd name="T43" fmla="*/ 254 h 264"/>
                    <a:gd name="T44" fmla="*/ 774 w 2200"/>
                    <a:gd name="T45" fmla="*/ 246 h 264"/>
                    <a:gd name="T46" fmla="*/ 698 w 2200"/>
                    <a:gd name="T47" fmla="*/ 236 h 264"/>
                    <a:gd name="T48" fmla="*/ 624 w 2200"/>
                    <a:gd name="T49" fmla="*/ 224 h 264"/>
                    <a:gd name="T50" fmla="*/ 550 w 2200"/>
                    <a:gd name="T51" fmla="*/ 210 h 264"/>
                    <a:gd name="T52" fmla="*/ 480 w 2200"/>
                    <a:gd name="T53" fmla="*/ 194 h 264"/>
                    <a:gd name="T54" fmla="*/ 410 w 2200"/>
                    <a:gd name="T55" fmla="*/ 176 h 264"/>
                    <a:gd name="T56" fmla="*/ 344 w 2200"/>
                    <a:gd name="T57" fmla="*/ 158 h 264"/>
                    <a:gd name="T58" fmla="*/ 280 w 2200"/>
                    <a:gd name="T59" fmla="*/ 136 h 264"/>
                    <a:gd name="T60" fmla="*/ 218 w 2200"/>
                    <a:gd name="T61" fmla="*/ 114 h 264"/>
                    <a:gd name="T62" fmla="*/ 160 w 2200"/>
                    <a:gd name="T63" fmla="*/ 88 h 264"/>
                    <a:gd name="T64" fmla="*/ 104 w 2200"/>
                    <a:gd name="T65" fmla="*/ 64 h 264"/>
                    <a:gd name="T66" fmla="*/ 50 w 2200"/>
                    <a:gd name="T67" fmla="*/ 36 h 264"/>
                    <a:gd name="T68" fmla="*/ 0 w 2200"/>
                    <a:gd name="T69" fmla="*/ 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00" h="264">
                      <a:moveTo>
                        <a:pt x="2200" y="0"/>
                      </a:moveTo>
                      <a:lnTo>
                        <a:pt x="2200" y="0"/>
                      </a:lnTo>
                      <a:lnTo>
                        <a:pt x="2150" y="30"/>
                      </a:lnTo>
                      <a:lnTo>
                        <a:pt x="2096" y="58"/>
                      </a:lnTo>
                      <a:lnTo>
                        <a:pt x="2038" y="84"/>
                      </a:lnTo>
                      <a:lnTo>
                        <a:pt x="1980" y="110"/>
                      </a:lnTo>
                      <a:lnTo>
                        <a:pt x="1918" y="132"/>
                      </a:lnTo>
                      <a:lnTo>
                        <a:pt x="1852" y="154"/>
                      </a:lnTo>
                      <a:lnTo>
                        <a:pt x="1786" y="174"/>
                      </a:lnTo>
                      <a:lnTo>
                        <a:pt x="1716" y="192"/>
                      </a:lnTo>
                      <a:lnTo>
                        <a:pt x="1644" y="208"/>
                      </a:lnTo>
                      <a:lnTo>
                        <a:pt x="1572" y="222"/>
                      </a:lnTo>
                      <a:lnTo>
                        <a:pt x="1496" y="234"/>
                      </a:lnTo>
                      <a:lnTo>
                        <a:pt x="1418" y="246"/>
                      </a:lnTo>
                      <a:lnTo>
                        <a:pt x="1340" y="254"/>
                      </a:lnTo>
                      <a:lnTo>
                        <a:pt x="1258" y="258"/>
                      </a:lnTo>
                      <a:lnTo>
                        <a:pt x="1178" y="262"/>
                      </a:lnTo>
                      <a:lnTo>
                        <a:pt x="1094" y="264"/>
                      </a:lnTo>
                      <a:lnTo>
                        <a:pt x="1094" y="264"/>
                      </a:lnTo>
                      <a:lnTo>
                        <a:pt x="1012" y="262"/>
                      </a:lnTo>
                      <a:lnTo>
                        <a:pt x="932" y="260"/>
                      </a:lnTo>
                      <a:lnTo>
                        <a:pt x="852" y="254"/>
                      </a:lnTo>
                      <a:lnTo>
                        <a:pt x="774" y="246"/>
                      </a:lnTo>
                      <a:lnTo>
                        <a:pt x="698" y="236"/>
                      </a:lnTo>
                      <a:lnTo>
                        <a:pt x="624" y="224"/>
                      </a:lnTo>
                      <a:lnTo>
                        <a:pt x="550" y="210"/>
                      </a:lnTo>
                      <a:lnTo>
                        <a:pt x="480" y="194"/>
                      </a:lnTo>
                      <a:lnTo>
                        <a:pt x="410" y="176"/>
                      </a:lnTo>
                      <a:lnTo>
                        <a:pt x="344" y="158"/>
                      </a:lnTo>
                      <a:lnTo>
                        <a:pt x="280" y="136"/>
                      </a:lnTo>
                      <a:lnTo>
                        <a:pt x="218" y="114"/>
                      </a:lnTo>
                      <a:lnTo>
                        <a:pt x="160" y="88"/>
                      </a:lnTo>
                      <a:lnTo>
                        <a:pt x="104" y="64"/>
                      </a:lnTo>
                      <a:lnTo>
                        <a:pt x="50" y="36"/>
                      </a:lnTo>
                      <a:lnTo>
                        <a:pt x="0" y="8"/>
                      </a:lnTo>
                    </a:path>
                  </a:pathLst>
                </a:custGeom>
                <a:noFill/>
                <a:ln w="22225">
                  <a:solidFill>
                    <a:srgbClr val="505050"/>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2282" name="Line 12">
                  <a:extLst>
                    <a:ext uri="{FF2B5EF4-FFF2-40B4-BE49-F238E27FC236}">
                      <a16:creationId xmlns:a16="http://schemas.microsoft.com/office/drawing/2014/main" id="{2BF1A335-1DF1-4040-A356-5C893A41C172}"/>
                    </a:ext>
                  </a:extLst>
                </p:cNvPr>
                <p:cNvSpPr>
                  <a:spLocks noChangeShapeType="1"/>
                </p:cNvSpPr>
                <p:nvPr/>
              </p:nvSpPr>
              <p:spPr bwMode="auto">
                <a:xfrm>
                  <a:off x="541338" y="2801938"/>
                  <a:ext cx="4521200" cy="0"/>
                </a:xfrm>
                <a:prstGeom prst="line">
                  <a:avLst/>
                </a:prstGeom>
                <a:noFill/>
                <a:ln w="22225">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sp>
            <p:nvSpPr>
              <p:cNvPr id="2277" name="Line 13">
                <a:extLst>
                  <a:ext uri="{FF2B5EF4-FFF2-40B4-BE49-F238E27FC236}">
                    <a16:creationId xmlns:a16="http://schemas.microsoft.com/office/drawing/2014/main" id="{30FBC83B-D0A1-46C0-A0A8-22ABBDDCCE56}"/>
                  </a:ext>
                </a:extLst>
              </p:cNvPr>
              <p:cNvSpPr>
                <a:spLocks noChangeShapeType="1"/>
              </p:cNvSpPr>
              <p:nvPr/>
            </p:nvSpPr>
            <p:spPr bwMode="auto">
              <a:xfrm>
                <a:off x="2801938" y="541338"/>
                <a:ext cx="0" cy="4521200"/>
              </a:xfrm>
              <a:prstGeom prst="line">
                <a:avLst/>
              </a:prstGeom>
              <a:noFill/>
              <a:ln w="22225">
                <a:solidFill>
                  <a:srgbClr val="50505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sp>
        <p:nvSpPr>
          <p:cNvPr id="437" name="TextBox 436">
            <a:extLst>
              <a:ext uri="{FF2B5EF4-FFF2-40B4-BE49-F238E27FC236}">
                <a16:creationId xmlns:a16="http://schemas.microsoft.com/office/drawing/2014/main" id="{D0EDE4FC-D6D2-4932-BB43-613C5AF81F6C}"/>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Icons - Travel</a:t>
            </a:r>
          </a:p>
        </p:txBody>
      </p:sp>
      <p:sp>
        <p:nvSpPr>
          <p:cNvPr id="2" name="TextBox 1">
            <a:extLst>
              <a:ext uri="{FF2B5EF4-FFF2-40B4-BE49-F238E27FC236}">
                <a16:creationId xmlns:a16="http://schemas.microsoft.com/office/drawing/2014/main" id="{B4EFE1EF-EE13-D2B2-C2EA-E8D678E1FFFE}"/>
              </a:ext>
            </a:extLst>
          </p:cNvPr>
          <p:cNvSpPr txBox="1"/>
          <p:nvPr/>
        </p:nvSpPr>
        <p:spPr>
          <a:xfrm>
            <a:off x="4724400" y="3200400"/>
            <a:ext cx="274320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t>Click to add text</a:t>
            </a:r>
          </a:p>
        </p:txBody>
      </p:sp>
    </p:spTree>
    <p:extLst>
      <p:ext uri="{BB962C8B-B14F-4D97-AF65-F5344CB8AC3E}">
        <p14:creationId xmlns:p14="http://schemas.microsoft.com/office/powerpoint/2010/main" val="2643260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F6477E6-8090-4F20-9C11-DD7E47562FD2}"/>
              </a:ext>
            </a:extLst>
          </p:cNvPr>
          <p:cNvSpPr/>
          <p:nvPr/>
        </p:nvSpPr>
        <p:spPr>
          <a:xfrm>
            <a:off x="1285575" y="1499735"/>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Introduction</a:t>
            </a:r>
          </a:p>
        </p:txBody>
      </p:sp>
      <p:sp>
        <p:nvSpPr>
          <p:cNvPr id="18" name="Rectangle 17">
            <a:extLst>
              <a:ext uri="{FF2B5EF4-FFF2-40B4-BE49-F238E27FC236}">
                <a16:creationId xmlns:a16="http://schemas.microsoft.com/office/drawing/2014/main" id="{41EC4D60-3057-447A-8ECF-7A600FF200D6}"/>
              </a:ext>
            </a:extLst>
          </p:cNvPr>
          <p:cNvSpPr/>
          <p:nvPr/>
        </p:nvSpPr>
        <p:spPr>
          <a:xfrm>
            <a:off x="1285575" y="2847087"/>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dirty="0">
                <a:solidFill>
                  <a:srgbClr val="000000"/>
                </a:solidFill>
                <a:latin typeface="Segoe UI Light"/>
                <a:cs typeface="Segoe UI Light"/>
              </a:rPr>
              <a:t>Proterra</a:t>
            </a:r>
            <a:endParaRPr lang="en-US" dirty="0"/>
          </a:p>
        </p:txBody>
      </p:sp>
      <p:sp>
        <p:nvSpPr>
          <p:cNvPr id="19" name="Rectangle 18">
            <a:extLst>
              <a:ext uri="{FF2B5EF4-FFF2-40B4-BE49-F238E27FC236}">
                <a16:creationId xmlns:a16="http://schemas.microsoft.com/office/drawing/2014/main" id="{16E5DDE6-FD6D-41D1-8A4E-D02F0FF4F673}"/>
              </a:ext>
            </a:extLst>
          </p:cNvPr>
          <p:cNvSpPr/>
          <p:nvPr/>
        </p:nvSpPr>
        <p:spPr>
          <a:xfrm>
            <a:off x="1285575" y="2173411"/>
            <a:ext cx="5282421" cy="460793"/>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a:solidFill>
                  <a:schemeClr val="bg1"/>
                </a:solidFill>
                <a:latin typeface="Segoe UI Light" panose="020B0502040204020203" pitchFamily="34" charset="0"/>
                <a:cs typeface="Segoe UI Light" panose="020B0502040204020203" pitchFamily="34" charset="0"/>
              </a:rPr>
              <a:t>Topic overview</a:t>
            </a:r>
          </a:p>
        </p:txBody>
      </p:sp>
      <p:sp>
        <p:nvSpPr>
          <p:cNvPr id="20" name="Rectangle 19">
            <a:extLst>
              <a:ext uri="{FF2B5EF4-FFF2-40B4-BE49-F238E27FC236}">
                <a16:creationId xmlns:a16="http://schemas.microsoft.com/office/drawing/2014/main" id="{54B5C667-19A2-454C-8D82-1F484DC682EF}"/>
              </a:ext>
            </a:extLst>
          </p:cNvPr>
          <p:cNvSpPr/>
          <p:nvPr/>
        </p:nvSpPr>
        <p:spPr>
          <a:xfrm>
            <a:off x="1285575" y="3517106"/>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Live Model Demo &amp; Notable Results</a:t>
            </a:r>
          </a:p>
        </p:txBody>
      </p:sp>
      <p:sp>
        <p:nvSpPr>
          <p:cNvPr id="21" name="Rectangle 20">
            <a:extLst>
              <a:ext uri="{FF2B5EF4-FFF2-40B4-BE49-F238E27FC236}">
                <a16:creationId xmlns:a16="http://schemas.microsoft.com/office/drawing/2014/main" id="{B7301DAF-868E-4B07-A172-0091653222F8}"/>
              </a:ext>
            </a:extLst>
          </p:cNvPr>
          <p:cNvSpPr/>
          <p:nvPr/>
        </p:nvSpPr>
        <p:spPr>
          <a:xfrm>
            <a:off x="1285574" y="4190782"/>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Conclusion</a:t>
            </a:r>
          </a:p>
        </p:txBody>
      </p:sp>
      <p:sp>
        <p:nvSpPr>
          <p:cNvPr id="22" name="Rectangle 21">
            <a:extLst>
              <a:ext uri="{FF2B5EF4-FFF2-40B4-BE49-F238E27FC236}">
                <a16:creationId xmlns:a16="http://schemas.microsoft.com/office/drawing/2014/main" id="{483437C9-65F5-40C4-8409-5546DCBF69B8}"/>
              </a:ext>
            </a:extLst>
          </p:cNvPr>
          <p:cNvSpPr/>
          <p:nvPr/>
        </p:nvSpPr>
        <p:spPr>
          <a:xfrm>
            <a:off x="1285573" y="4864457"/>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Q&amp;A</a:t>
            </a:r>
          </a:p>
        </p:txBody>
      </p:sp>
      <p:sp>
        <p:nvSpPr>
          <p:cNvPr id="13" name="TextBox 12">
            <a:extLst>
              <a:ext uri="{FF2B5EF4-FFF2-40B4-BE49-F238E27FC236}">
                <a16:creationId xmlns:a16="http://schemas.microsoft.com/office/drawing/2014/main" id="{C96ECCE6-CEDE-4086-86B9-7DBF25EE1C84}"/>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genda</a:t>
            </a:r>
          </a:p>
        </p:txBody>
      </p:sp>
    </p:spTree>
    <p:extLst>
      <p:ext uri="{BB962C8B-B14F-4D97-AF65-F5344CB8AC3E}">
        <p14:creationId xmlns:p14="http://schemas.microsoft.com/office/powerpoint/2010/main" val="29428033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B6DD5DFD-FB82-4DCE-9D5B-4475C2D0F6CF}"/>
              </a:ext>
            </a:extLst>
          </p:cNvPr>
          <p:cNvSpPr txBox="1"/>
          <p:nvPr/>
        </p:nvSpPr>
        <p:spPr>
          <a:xfrm>
            <a:off x="1592638" y="2285830"/>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Document; file</a:t>
            </a:r>
          </a:p>
        </p:txBody>
      </p:sp>
      <p:sp>
        <p:nvSpPr>
          <p:cNvPr id="4" name="TextBox 3">
            <a:extLst>
              <a:ext uri="{FF2B5EF4-FFF2-40B4-BE49-F238E27FC236}">
                <a16:creationId xmlns:a16="http://schemas.microsoft.com/office/drawing/2014/main" id="{77AF7DCA-A554-407E-B722-697ECAB5B8BD}"/>
              </a:ext>
            </a:extLst>
          </p:cNvPr>
          <p:cNvSpPr txBox="1"/>
          <p:nvPr/>
        </p:nvSpPr>
        <p:spPr>
          <a:xfrm>
            <a:off x="2456734" y="2285830"/>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Eye; look; examine; explore; search</a:t>
            </a:r>
          </a:p>
        </p:txBody>
      </p:sp>
      <p:sp>
        <p:nvSpPr>
          <p:cNvPr id="5" name="TextBox 4">
            <a:extLst>
              <a:ext uri="{FF2B5EF4-FFF2-40B4-BE49-F238E27FC236}">
                <a16:creationId xmlns:a16="http://schemas.microsoft.com/office/drawing/2014/main" id="{5A04AF00-3FA5-4E96-A454-84692F29402D}"/>
              </a:ext>
            </a:extLst>
          </p:cNvPr>
          <p:cNvSpPr txBox="1"/>
          <p:nvPr/>
        </p:nvSpPr>
        <p:spPr>
          <a:xfrm>
            <a:off x="3258515" y="2285830"/>
            <a:ext cx="88630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Magnifying glass; search; look; explore; examine</a:t>
            </a:r>
          </a:p>
        </p:txBody>
      </p:sp>
      <p:sp>
        <p:nvSpPr>
          <p:cNvPr id="6" name="TextBox 5">
            <a:extLst>
              <a:ext uri="{FF2B5EF4-FFF2-40B4-BE49-F238E27FC236}">
                <a16:creationId xmlns:a16="http://schemas.microsoft.com/office/drawing/2014/main" id="{089F974A-C740-4915-A23F-3DE350492F09}"/>
              </a:ext>
            </a:extLst>
          </p:cNvPr>
          <p:cNvSpPr txBox="1"/>
          <p:nvPr/>
        </p:nvSpPr>
        <p:spPr>
          <a:xfrm>
            <a:off x="4223690" y="2285830"/>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Telescope; search; explore</a:t>
            </a:r>
          </a:p>
        </p:txBody>
      </p:sp>
      <p:sp>
        <p:nvSpPr>
          <p:cNvPr id="7" name="TextBox 6">
            <a:extLst>
              <a:ext uri="{FF2B5EF4-FFF2-40B4-BE49-F238E27FC236}">
                <a16:creationId xmlns:a16="http://schemas.microsoft.com/office/drawing/2014/main" id="{2DB00C74-5A03-4BE4-96B5-F0DE5D897582}"/>
              </a:ext>
            </a:extLst>
          </p:cNvPr>
          <p:cNvSpPr txBox="1"/>
          <p:nvPr/>
        </p:nvSpPr>
        <p:spPr>
          <a:xfrm>
            <a:off x="5087786" y="2285830"/>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Healthcare; medicine</a:t>
            </a:r>
          </a:p>
        </p:txBody>
      </p:sp>
      <p:sp>
        <p:nvSpPr>
          <p:cNvPr id="8" name="TextBox 7">
            <a:extLst>
              <a:ext uri="{FF2B5EF4-FFF2-40B4-BE49-F238E27FC236}">
                <a16:creationId xmlns:a16="http://schemas.microsoft.com/office/drawing/2014/main" id="{CB49818D-0D00-4F25-9A1F-167F8CDF9773}"/>
              </a:ext>
            </a:extLst>
          </p:cNvPr>
          <p:cNvSpPr txBox="1"/>
          <p:nvPr/>
        </p:nvSpPr>
        <p:spPr>
          <a:xfrm>
            <a:off x="5980752" y="2285830"/>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Doctor; healthcare; medical</a:t>
            </a:r>
          </a:p>
        </p:txBody>
      </p:sp>
      <p:sp>
        <p:nvSpPr>
          <p:cNvPr id="9" name="TextBox 8">
            <a:extLst>
              <a:ext uri="{FF2B5EF4-FFF2-40B4-BE49-F238E27FC236}">
                <a16:creationId xmlns:a16="http://schemas.microsoft.com/office/drawing/2014/main" id="{245F142C-EC86-47BA-9121-E2C52E387AE8}"/>
              </a:ext>
            </a:extLst>
          </p:cNvPr>
          <p:cNvSpPr txBox="1"/>
          <p:nvPr/>
        </p:nvSpPr>
        <p:spPr>
          <a:xfrm>
            <a:off x="6777214" y="2285830"/>
            <a:ext cx="866274"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Nurse; healthcare; medical</a:t>
            </a:r>
          </a:p>
        </p:txBody>
      </p:sp>
      <p:sp>
        <p:nvSpPr>
          <p:cNvPr id="10" name="TextBox 9">
            <a:extLst>
              <a:ext uri="{FF2B5EF4-FFF2-40B4-BE49-F238E27FC236}">
                <a16:creationId xmlns:a16="http://schemas.microsoft.com/office/drawing/2014/main" id="{89737524-C83A-4F8A-AFE8-A1517D0EBAAE}"/>
              </a:ext>
            </a:extLst>
          </p:cNvPr>
          <p:cNvSpPr txBox="1"/>
          <p:nvPr/>
        </p:nvSpPr>
        <p:spPr>
          <a:xfrm>
            <a:off x="7726982" y="2288357"/>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Ambulance; healthcare</a:t>
            </a:r>
          </a:p>
        </p:txBody>
      </p:sp>
      <p:sp>
        <p:nvSpPr>
          <p:cNvPr id="11" name="TextBox 10">
            <a:extLst>
              <a:ext uri="{FF2B5EF4-FFF2-40B4-BE49-F238E27FC236}">
                <a16:creationId xmlns:a16="http://schemas.microsoft.com/office/drawing/2014/main" id="{D12E93B0-AFF0-416C-9DF7-65893E11304F}"/>
              </a:ext>
            </a:extLst>
          </p:cNvPr>
          <p:cNvSpPr txBox="1"/>
          <p:nvPr/>
        </p:nvSpPr>
        <p:spPr>
          <a:xfrm>
            <a:off x="8535112" y="2288357"/>
            <a:ext cx="938479"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Pill; pharmaceutical; healthcare; medicine</a:t>
            </a:r>
          </a:p>
        </p:txBody>
      </p:sp>
      <p:sp>
        <p:nvSpPr>
          <p:cNvPr id="12" name="TextBox 11">
            <a:extLst>
              <a:ext uri="{FF2B5EF4-FFF2-40B4-BE49-F238E27FC236}">
                <a16:creationId xmlns:a16="http://schemas.microsoft.com/office/drawing/2014/main" id="{42C4A419-0887-417A-9B3C-C8766F878A89}"/>
              </a:ext>
            </a:extLst>
          </p:cNvPr>
          <p:cNvSpPr txBox="1"/>
          <p:nvPr/>
        </p:nvSpPr>
        <p:spPr>
          <a:xfrm>
            <a:off x="9489029" y="2288357"/>
            <a:ext cx="830241"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Bandage; </a:t>
            </a:r>
            <a:r>
              <a:rPr lang="en-GB" sz="800" err="1">
                <a:solidFill>
                  <a:srgbClr val="505050"/>
                </a:solidFill>
                <a:latin typeface="Segoe UI Light" panose="020B0502040204020203" pitchFamily="34" charset="0"/>
                <a:cs typeface="Segoe UI Light" panose="020B0502040204020203" pitchFamily="34" charset="0"/>
              </a:rPr>
              <a:t>band-aid</a:t>
            </a:r>
            <a:r>
              <a:rPr lang="en-GB" sz="800">
                <a:solidFill>
                  <a:srgbClr val="505050"/>
                </a:solidFill>
                <a:latin typeface="Segoe UI Light" panose="020B0502040204020203" pitchFamily="34" charset="0"/>
                <a:cs typeface="Segoe UI Light" panose="020B0502040204020203" pitchFamily="34" charset="0"/>
              </a:rPr>
              <a:t>; medical; healthcare</a:t>
            </a:r>
          </a:p>
        </p:txBody>
      </p:sp>
      <p:sp>
        <p:nvSpPr>
          <p:cNvPr id="13" name="TextBox 12">
            <a:extLst>
              <a:ext uri="{FF2B5EF4-FFF2-40B4-BE49-F238E27FC236}">
                <a16:creationId xmlns:a16="http://schemas.microsoft.com/office/drawing/2014/main" id="{99DDCEE9-B1C4-427A-A682-EB77283DB66C}"/>
              </a:ext>
            </a:extLst>
          </p:cNvPr>
          <p:cNvSpPr txBox="1"/>
          <p:nvPr/>
        </p:nvSpPr>
        <p:spPr>
          <a:xfrm>
            <a:off x="1592638" y="3525523"/>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Microscope; examine; look</a:t>
            </a:r>
          </a:p>
        </p:txBody>
      </p:sp>
      <p:sp>
        <p:nvSpPr>
          <p:cNvPr id="14" name="TextBox 13">
            <a:extLst>
              <a:ext uri="{FF2B5EF4-FFF2-40B4-BE49-F238E27FC236}">
                <a16:creationId xmlns:a16="http://schemas.microsoft.com/office/drawing/2014/main" id="{C5E5B50F-31D3-42EE-9DDA-CEEDBFC18453}"/>
              </a:ext>
            </a:extLst>
          </p:cNvPr>
          <p:cNvSpPr txBox="1"/>
          <p:nvPr/>
        </p:nvSpPr>
        <p:spPr>
          <a:xfrm>
            <a:off x="2528742" y="3525523"/>
            <a:ext cx="615538" cy="352323"/>
          </a:xfrm>
          <a:prstGeom prst="rect">
            <a:avLst/>
          </a:prstGeom>
          <a:noFill/>
        </p:spPr>
        <p:txBody>
          <a:bodyPr wrap="square" lIns="0" tIns="0" rIns="0" bIns="0" rtlCol="0">
            <a:noAutofit/>
          </a:bodyPr>
          <a:lstStyle/>
          <a:p>
            <a:pPr algn="ctr">
              <a:spcAft>
                <a:spcPts val="900"/>
              </a:spcAft>
            </a:pPr>
            <a:r>
              <a:rPr lang="en-GB" sz="800" err="1">
                <a:solidFill>
                  <a:srgbClr val="505050"/>
                </a:solidFill>
                <a:latin typeface="Segoe UI Light" panose="020B0502040204020203" pitchFamily="34" charset="0"/>
                <a:cs typeface="Segoe UI Light" panose="020B0502040204020203" pitchFamily="34" charset="0"/>
              </a:rPr>
              <a:t>Lightbulb</a:t>
            </a:r>
            <a:r>
              <a:rPr lang="en-GB" sz="800">
                <a:solidFill>
                  <a:srgbClr val="505050"/>
                </a:solidFill>
                <a:latin typeface="Segoe UI Light" panose="020B0502040204020203" pitchFamily="34" charset="0"/>
                <a:cs typeface="Segoe UI Light" panose="020B0502040204020203" pitchFamily="34" charset="0"/>
              </a:rPr>
              <a:t>; idea</a:t>
            </a:r>
          </a:p>
        </p:txBody>
      </p:sp>
      <p:sp>
        <p:nvSpPr>
          <p:cNvPr id="15" name="TextBox 14">
            <a:extLst>
              <a:ext uri="{FF2B5EF4-FFF2-40B4-BE49-F238E27FC236}">
                <a16:creationId xmlns:a16="http://schemas.microsoft.com/office/drawing/2014/main" id="{4E60FBBD-B215-4AF1-974F-67AD15D6713C}"/>
              </a:ext>
            </a:extLst>
          </p:cNvPr>
          <p:cNvSpPr txBox="1"/>
          <p:nvPr/>
        </p:nvSpPr>
        <p:spPr>
          <a:xfrm>
            <a:off x="3400884" y="3525523"/>
            <a:ext cx="623886" cy="352323"/>
          </a:xfrm>
          <a:prstGeom prst="rect">
            <a:avLst/>
          </a:prstGeom>
          <a:noFill/>
        </p:spPr>
        <p:txBody>
          <a:bodyPr wrap="square" lIns="0" tIns="0" rIns="0" bIns="0" rtlCol="0">
            <a:noAutofit/>
          </a:bodyPr>
          <a:lstStyle/>
          <a:p>
            <a:pPr algn="ctr">
              <a:spcAft>
                <a:spcPts val="900"/>
              </a:spcAft>
            </a:pPr>
            <a:r>
              <a:rPr lang="en-GB" sz="800" err="1">
                <a:solidFill>
                  <a:srgbClr val="505050"/>
                </a:solidFill>
                <a:latin typeface="Segoe UI Light" panose="020B0502040204020203" pitchFamily="34" charset="0"/>
                <a:cs typeface="Segoe UI Light" panose="020B0502040204020203" pitchFamily="34" charset="0"/>
              </a:rPr>
              <a:t>Lightbulb</a:t>
            </a:r>
            <a:r>
              <a:rPr lang="en-GB" sz="800">
                <a:solidFill>
                  <a:srgbClr val="505050"/>
                </a:solidFill>
                <a:latin typeface="Segoe UI Light" panose="020B0502040204020203" pitchFamily="34" charset="0"/>
                <a:cs typeface="Segoe UI Light" panose="020B0502040204020203" pitchFamily="34" charset="0"/>
              </a:rPr>
              <a:t>; idea</a:t>
            </a:r>
          </a:p>
        </p:txBody>
      </p:sp>
      <p:sp>
        <p:nvSpPr>
          <p:cNvPr id="16" name="TextBox 15">
            <a:extLst>
              <a:ext uri="{FF2B5EF4-FFF2-40B4-BE49-F238E27FC236}">
                <a16:creationId xmlns:a16="http://schemas.microsoft.com/office/drawing/2014/main" id="{BE9ACFF2-04F7-4E2A-9B94-16A80052FD01}"/>
              </a:ext>
            </a:extLst>
          </p:cNvPr>
          <p:cNvSpPr txBox="1"/>
          <p:nvPr/>
        </p:nvSpPr>
        <p:spPr>
          <a:xfrm>
            <a:off x="4096876" y="3525523"/>
            <a:ext cx="982051"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Compact fluorescent </a:t>
            </a:r>
            <a:r>
              <a:rPr lang="en-GB" sz="800" err="1">
                <a:solidFill>
                  <a:srgbClr val="505050"/>
                </a:solidFill>
                <a:latin typeface="Segoe UI Light" panose="020B0502040204020203" pitchFamily="34" charset="0"/>
                <a:cs typeface="Segoe UI Light" panose="020B0502040204020203" pitchFamily="34" charset="0"/>
              </a:rPr>
              <a:t>lightbulb</a:t>
            </a:r>
            <a:r>
              <a:rPr lang="en-GB" sz="800">
                <a:solidFill>
                  <a:srgbClr val="505050"/>
                </a:solidFill>
                <a:latin typeface="Segoe UI Light" panose="020B0502040204020203" pitchFamily="34" charset="0"/>
                <a:cs typeface="Segoe UI Light" panose="020B0502040204020203" pitchFamily="34" charset="0"/>
              </a:rPr>
              <a:t>; idea; sustainable; green</a:t>
            </a:r>
          </a:p>
        </p:txBody>
      </p:sp>
      <p:sp>
        <p:nvSpPr>
          <p:cNvPr id="17" name="TextBox 16">
            <a:extLst>
              <a:ext uri="{FF2B5EF4-FFF2-40B4-BE49-F238E27FC236}">
                <a16:creationId xmlns:a16="http://schemas.microsoft.com/office/drawing/2014/main" id="{E9F9C522-1DCF-4BC1-8755-C64DF95F9A7E}"/>
              </a:ext>
            </a:extLst>
          </p:cNvPr>
          <p:cNvSpPr txBox="1"/>
          <p:nvPr/>
        </p:nvSpPr>
        <p:spPr>
          <a:xfrm>
            <a:off x="5087786" y="3525523"/>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Calculator</a:t>
            </a:r>
          </a:p>
        </p:txBody>
      </p:sp>
      <p:sp>
        <p:nvSpPr>
          <p:cNvPr id="18" name="TextBox 17">
            <a:extLst>
              <a:ext uri="{FF2B5EF4-FFF2-40B4-BE49-F238E27FC236}">
                <a16:creationId xmlns:a16="http://schemas.microsoft.com/office/drawing/2014/main" id="{4F019BFF-0258-4D22-8F8F-94F380882E37}"/>
              </a:ext>
            </a:extLst>
          </p:cNvPr>
          <p:cNvSpPr txBox="1"/>
          <p:nvPr/>
        </p:nvSpPr>
        <p:spPr>
          <a:xfrm>
            <a:off x="5980752" y="3525523"/>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Tax calculator</a:t>
            </a:r>
          </a:p>
        </p:txBody>
      </p:sp>
      <p:sp>
        <p:nvSpPr>
          <p:cNvPr id="19" name="TextBox 18">
            <a:extLst>
              <a:ext uri="{FF2B5EF4-FFF2-40B4-BE49-F238E27FC236}">
                <a16:creationId xmlns:a16="http://schemas.microsoft.com/office/drawing/2014/main" id="{2DD85BC2-4A8F-43D6-991F-A1C718A0D904}"/>
              </a:ext>
            </a:extLst>
          </p:cNvPr>
          <p:cNvSpPr txBox="1"/>
          <p:nvPr/>
        </p:nvSpPr>
        <p:spPr>
          <a:xfrm>
            <a:off x="6777214" y="3525523"/>
            <a:ext cx="866274"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Tax; </a:t>
            </a:r>
            <a:br>
              <a:rPr lang="en-GB" sz="800">
                <a:solidFill>
                  <a:srgbClr val="505050"/>
                </a:solidFill>
                <a:latin typeface="Segoe UI Light" panose="020B0502040204020203" pitchFamily="34" charset="0"/>
                <a:cs typeface="Segoe UI Light" panose="020B0502040204020203" pitchFamily="34" charset="0"/>
              </a:rPr>
            </a:br>
            <a:r>
              <a:rPr lang="en-GB" sz="800">
                <a:solidFill>
                  <a:srgbClr val="505050"/>
                </a:solidFill>
                <a:latin typeface="Segoe UI Light" panose="020B0502040204020203" pitchFamily="34" charset="0"/>
                <a:cs typeface="Segoe UI Light" panose="020B0502040204020203" pitchFamily="34" charset="0"/>
              </a:rPr>
              <a:t>1040 form</a:t>
            </a:r>
          </a:p>
        </p:txBody>
      </p:sp>
      <p:sp>
        <p:nvSpPr>
          <p:cNvPr id="20" name="TextBox 19">
            <a:extLst>
              <a:ext uri="{FF2B5EF4-FFF2-40B4-BE49-F238E27FC236}">
                <a16:creationId xmlns:a16="http://schemas.microsoft.com/office/drawing/2014/main" id="{DBEEC423-F8D4-4628-AED1-0E684151F141}"/>
              </a:ext>
            </a:extLst>
          </p:cNvPr>
          <p:cNvSpPr txBox="1"/>
          <p:nvPr/>
        </p:nvSpPr>
        <p:spPr>
          <a:xfrm>
            <a:off x="7726982" y="3528050"/>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Contract; business; deals; document</a:t>
            </a:r>
          </a:p>
        </p:txBody>
      </p:sp>
      <p:sp>
        <p:nvSpPr>
          <p:cNvPr id="21" name="TextBox 20">
            <a:extLst>
              <a:ext uri="{FF2B5EF4-FFF2-40B4-BE49-F238E27FC236}">
                <a16:creationId xmlns:a16="http://schemas.microsoft.com/office/drawing/2014/main" id="{91A362C7-1F95-4927-A8D3-7F319E313F83}"/>
              </a:ext>
            </a:extLst>
          </p:cNvPr>
          <p:cNvSpPr txBox="1"/>
          <p:nvPr/>
        </p:nvSpPr>
        <p:spPr>
          <a:xfrm>
            <a:off x="8591078" y="3528050"/>
            <a:ext cx="807667"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Business; pen; sign; contracts; deals</a:t>
            </a:r>
          </a:p>
        </p:txBody>
      </p:sp>
      <p:sp>
        <p:nvSpPr>
          <p:cNvPr id="22" name="TextBox 21">
            <a:extLst>
              <a:ext uri="{FF2B5EF4-FFF2-40B4-BE49-F238E27FC236}">
                <a16:creationId xmlns:a16="http://schemas.microsoft.com/office/drawing/2014/main" id="{298607B0-326E-4CE6-8963-3951B8EF6C56}"/>
              </a:ext>
            </a:extLst>
          </p:cNvPr>
          <p:cNvSpPr txBox="1"/>
          <p:nvPr/>
        </p:nvSpPr>
        <p:spPr>
          <a:xfrm>
            <a:off x="9455174" y="3528050"/>
            <a:ext cx="830241"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Business; pen; sign; contracts; deals</a:t>
            </a:r>
          </a:p>
        </p:txBody>
      </p:sp>
      <p:sp>
        <p:nvSpPr>
          <p:cNvPr id="23" name="TextBox 22">
            <a:extLst>
              <a:ext uri="{FF2B5EF4-FFF2-40B4-BE49-F238E27FC236}">
                <a16:creationId xmlns:a16="http://schemas.microsoft.com/office/drawing/2014/main" id="{810C29D0-CB6B-42EC-958B-C1695F186DE6}"/>
              </a:ext>
            </a:extLst>
          </p:cNvPr>
          <p:cNvSpPr txBox="1"/>
          <p:nvPr/>
        </p:nvSpPr>
        <p:spPr>
          <a:xfrm>
            <a:off x="1485102" y="4544810"/>
            <a:ext cx="971632"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Satellite; broadcast; communications; wireless</a:t>
            </a:r>
          </a:p>
        </p:txBody>
      </p:sp>
      <p:sp>
        <p:nvSpPr>
          <p:cNvPr id="24" name="TextBox 23">
            <a:extLst>
              <a:ext uri="{FF2B5EF4-FFF2-40B4-BE49-F238E27FC236}">
                <a16:creationId xmlns:a16="http://schemas.microsoft.com/office/drawing/2014/main" id="{6D033809-4669-4555-B949-2211388DFBDF}"/>
              </a:ext>
            </a:extLst>
          </p:cNvPr>
          <p:cNvSpPr txBox="1"/>
          <p:nvPr/>
        </p:nvSpPr>
        <p:spPr>
          <a:xfrm>
            <a:off x="2407750" y="4544810"/>
            <a:ext cx="853092"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Wireless ; broadcast; communications </a:t>
            </a:r>
          </a:p>
        </p:txBody>
      </p:sp>
      <p:sp>
        <p:nvSpPr>
          <p:cNvPr id="25" name="TextBox 24">
            <a:extLst>
              <a:ext uri="{FF2B5EF4-FFF2-40B4-BE49-F238E27FC236}">
                <a16:creationId xmlns:a16="http://schemas.microsoft.com/office/drawing/2014/main" id="{81C86814-39CE-4A7A-8015-457EB464776D}"/>
              </a:ext>
            </a:extLst>
          </p:cNvPr>
          <p:cNvSpPr txBox="1"/>
          <p:nvPr/>
        </p:nvSpPr>
        <p:spPr>
          <a:xfrm>
            <a:off x="3400884" y="4544810"/>
            <a:ext cx="62388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Chat; talk; communicate</a:t>
            </a:r>
          </a:p>
        </p:txBody>
      </p:sp>
      <p:sp>
        <p:nvSpPr>
          <p:cNvPr id="26" name="TextBox 25">
            <a:extLst>
              <a:ext uri="{FF2B5EF4-FFF2-40B4-BE49-F238E27FC236}">
                <a16:creationId xmlns:a16="http://schemas.microsoft.com/office/drawing/2014/main" id="{5CECD154-85C0-40A9-AF32-8F3BFECE3E78}"/>
              </a:ext>
            </a:extLst>
          </p:cNvPr>
          <p:cNvSpPr txBox="1"/>
          <p:nvPr/>
        </p:nvSpPr>
        <p:spPr>
          <a:xfrm>
            <a:off x="4184926" y="4544810"/>
            <a:ext cx="785940"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Sign up; document; contract</a:t>
            </a:r>
          </a:p>
        </p:txBody>
      </p:sp>
      <p:sp>
        <p:nvSpPr>
          <p:cNvPr id="27" name="TextBox 26">
            <a:extLst>
              <a:ext uri="{FF2B5EF4-FFF2-40B4-BE49-F238E27FC236}">
                <a16:creationId xmlns:a16="http://schemas.microsoft.com/office/drawing/2014/main" id="{BD9B70C2-C1F7-4849-AAFB-7061B5563ECD}"/>
              </a:ext>
            </a:extLst>
          </p:cNvPr>
          <p:cNvSpPr txBox="1"/>
          <p:nvPr/>
        </p:nvSpPr>
        <p:spPr>
          <a:xfrm>
            <a:off x="5087786" y="4544810"/>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Recycle; green; sustainability</a:t>
            </a:r>
          </a:p>
        </p:txBody>
      </p:sp>
      <p:sp>
        <p:nvSpPr>
          <p:cNvPr id="28" name="TextBox 27">
            <a:extLst>
              <a:ext uri="{FF2B5EF4-FFF2-40B4-BE49-F238E27FC236}">
                <a16:creationId xmlns:a16="http://schemas.microsoft.com/office/drawing/2014/main" id="{14163251-2599-4973-8F5D-85EEBDCB303D}"/>
              </a:ext>
            </a:extLst>
          </p:cNvPr>
          <p:cNvSpPr txBox="1"/>
          <p:nvPr/>
        </p:nvSpPr>
        <p:spPr>
          <a:xfrm>
            <a:off x="5980752" y="4544810"/>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Globe; global; earth; worldwide</a:t>
            </a:r>
          </a:p>
        </p:txBody>
      </p:sp>
      <p:sp>
        <p:nvSpPr>
          <p:cNvPr id="29" name="TextBox 28">
            <a:extLst>
              <a:ext uri="{FF2B5EF4-FFF2-40B4-BE49-F238E27FC236}">
                <a16:creationId xmlns:a16="http://schemas.microsoft.com/office/drawing/2014/main" id="{FB59E15F-5A1A-44E6-87A3-35F41D57C7BA}"/>
              </a:ext>
            </a:extLst>
          </p:cNvPr>
          <p:cNvSpPr txBox="1"/>
          <p:nvPr/>
        </p:nvSpPr>
        <p:spPr>
          <a:xfrm>
            <a:off x="6777214" y="4544810"/>
            <a:ext cx="866274"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Environment; green</a:t>
            </a:r>
          </a:p>
        </p:txBody>
      </p:sp>
      <p:sp>
        <p:nvSpPr>
          <p:cNvPr id="30" name="TextBox 29">
            <a:extLst>
              <a:ext uri="{FF2B5EF4-FFF2-40B4-BE49-F238E27FC236}">
                <a16:creationId xmlns:a16="http://schemas.microsoft.com/office/drawing/2014/main" id="{AA53A21A-C147-4189-B0D8-D9A302698EA1}"/>
              </a:ext>
            </a:extLst>
          </p:cNvPr>
          <p:cNvSpPr txBox="1"/>
          <p:nvPr/>
        </p:nvSpPr>
        <p:spPr>
          <a:xfrm>
            <a:off x="7726982" y="4547337"/>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Agriculture; plant; green</a:t>
            </a:r>
          </a:p>
        </p:txBody>
      </p:sp>
      <p:sp>
        <p:nvSpPr>
          <p:cNvPr id="31" name="TextBox 30">
            <a:extLst>
              <a:ext uri="{FF2B5EF4-FFF2-40B4-BE49-F238E27FC236}">
                <a16:creationId xmlns:a16="http://schemas.microsoft.com/office/drawing/2014/main" id="{EA9648A5-293F-4319-977B-16FA7E295890}"/>
              </a:ext>
            </a:extLst>
          </p:cNvPr>
          <p:cNvSpPr txBox="1"/>
          <p:nvPr/>
        </p:nvSpPr>
        <p:spPr>
          <a:xfrm>
            <a:off x="8591078" y="4547337"/>
            <a:ext cx="807667"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Family; community</a:t>
            </a:r>
          </a:p>
        </p:txBody>
      </p:sp>
      <p:sp>
        <p:nvSpPr>
          <p:cNvPr id="32" name="TextBox 31">
            <a:extLst>
              <a:ext uri="{FF2B5EF4-FFF2-40B4-BE49-F238E27FC236}">
                <a16:creationId xmlns:a16="http://schemas.microsoft.com/office/drawing/2014/main" id="{784C33E0-6065-4D63-AC8A-ED8D17EEED2D}"/>
              </a:ext>
            </a:extLst>
          </p:cNvPr>
          <p:cNvSpPr txBox="1"/>
          <p:nvPr/>
        </p:nvSpPr>
        <p:spPr>
          <a:xfrm>
            <a:off x="9383166" y="4547337"/>
            <a:ext cx="972800"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Family; community; children; corporate responsibility</a:t>
            </a:r>
          </a:p>
        </p:txBody>
      </p:sp>
      <p:sp>
        <p:nvSpPr>
          <p:cNvPr id="33" name="TextBox 32">
            <a:extLst>
              <a:ext uri="{FF2B5EF4-FFF2-40B4-BE49-F238E27FC236}">
                <a16:creationId xmlns:a16="http://schemas.microsoft.com/office/drawing/2014/main" id="{D869F3D4-5526-4E98-AAAD-751D6EC65C95}"/>
              </a:ext>
            </a:extLst>
          </p:cNvPr>
          <p:cNvSpPr txBox="1"/>
          <p:nvPr/>
        </p:nvSpPr>
        <p:spPr>
          <a:xfrm>
            <a:off x="1520630" y="5760925"/>
            <a:ext cx="86409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Coffee; tea; beverage; hospitality</a:t>
            </a:r>
          </a:p>
        </p:txBody>
      </p:sp>
      <p:sp>
        <p:nvSpPr>
          <p:cNvPr id="34" name="TextBox 33">
            <a:extLst>
              <a:ext uri="{FF2B5EF4-FFF2-40B4-BE49-F238E27FC236}">
                <a16:creationId xmlns:a16="http://schemas.microsoft.com/office/drawing/2014/main" id="{5D1DDAF0-E83D-429D-83B1-5CAA57EAED74}"/>
              </a:ext>
            </a:extLst>
          </p:cNvPr>
          <p:cNvSpPr txBox="1"/>
          <p:nvPr/>
        </p:nvSpPr>
        <p:spPr>
          <a:xfrm>
            <a:off x="3400884" y="5760925"/>
            <a:ext cx="62388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Alarm clock; hospitality; time; hotel</a:t>
            </a:r>
          </a:p>
        </p:txBody>
      </p:sp>
      <p:sp>
        <p:nvSpPr>
          <p:cNvPr id="35" name="TextBox 34">
            <a:extLst>
              <a:ext uri="{FF2B5EF4-FFF2-40B4-BE49-F238E27FC236}">
                <a16:creationId xmlns:a16="http://schemas.microsoft.com/office/drawing/2014/main" id="{046EF096-1B0F-4547-B079-83E62F7236F6}"/>
              </a:ext>
            </a:extLst>
          </p:cNvPr>
          <p:cNvSpPr txBox="1"/>
          <p:nvPr/>
        </p:nvSpPr>
        <p:spPr>
          <a:xfrm>
            <a:off x="4184926" y="5760925"/>
            <a:ext cx="842294"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Bed; hotel; hospitality</a:t>
            </a:r>
          </a:p>
        </p:txBody>
      </p:sp>
      <p:sp>
        <p:nvSpPr>
          <p:cNvPr id="36" name="TextBox 35">
            <a:extLst>
              <a:ext uri="{FF2B5EF4-FFF2-40B4-BE49-F238E27FC236}">
                <a16:creationId xmlns:a16="http://schemas.microsoft.com/office/drawing/2014/main" id="{62F63884-2BB7-4A6F-ABDF-B4B1660B2FA9}"/>
              </a:ext>
            </a:extLst>
          </p:cNvPr>
          <p:cNvSpPr txBox="1"/>
          <p:nvPr/>
        </p:nvSpPr>
        <p:spPr>
          <a:xfrm>
            <a:off x="5087786" y="5760925"/>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Energy and mining</a:t>
            </a:r>
          </a:p>
        </p:txBody>
      </p:sp>
      <p:sp>
        <p:nvSpPr>
          <p:cNvPr id="37" name="TextBox 36">
            <a:extLst>
              <a:ext uri="{FF2B5EF4-FFF2-40B4-BE49-F238E27FC236}">
                <a16:creationId xmlns:a16="http://schemas.microsoft.com/office/drawing/2014/main" id="{E1FCE028-F43E-4318-AF66-016619A15143}"/>
              </a:ext>
            </a:extLst>
          </p:cNvPr>
          <p:cNvSpPr txBox="1"/>
          <p:nvPr/>
        </p:nvSpPr>
        <p:spPr>
          <a:xfrm>
            <a:off x="5980752" y="5760925"/>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Utilities; plumbing; power; electric</a:t>
            </a:r>
          </a:p>
        </p:txBody>
      </p:sp>
      <p:sp>
        <p:nvSpPr>
          <p:cNvPr id="38" name="TextBox 37">
            <a:extLst>
              <a:ext uri="{FF2B5EF4-FFF2-40B4-BE49-F238E27FC236}">
                <a16:creationId xmlns:a16="http://schemas.microsoft.com/office/drawing/2014/main" id="{7D4D8865-B2F2-4559-A132-06A68096CD82}"/>
              </a:ext>
            </a:extLst>
          </p:cNvPr>
          <p:cNvSpPr txBox="1"/>
          <p:nvPr/>
        </p:nvSpPr>
        <p:spPr>
          <a:xfrm>
            <a:off x="6777214" y="5760925"/>
            <a:ext cx="866274"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Water; droplet; ink; rain</a:t>
            </a:r>
          </a:p>
        </p:txBody>
      </p:sp>
      <p:sp>
        <p:nvSpPr>
          <p:cNvPr id="39" name="TextBox 38">
            <a:extLst>
              <a:ext uri="{FF2B5EF4-FFF2-40B4-BE49-F238E27FC236}">
                <a16:creationId xmlns:a16="http://schemas.microsoft.com/office/drawing/2014/main" id="{DA082330-BCAB-4F18-9883-0AE1856503A6}"/>
              </a:ext>
            </a:extLst>
          </p:cNvPr>
          <p:cNvSpPr txBox="1"/>
          <p:nvPr/>
        </p:nvSpPr>
        <p:spPr>
          <a:xfrm>
            <a:off x="7721320" y="5760925"/>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Water; droplet; ink; rain</a:t>
            </a:r>
          </a:p>
        </p:txBody>
      </p:sp>
      <p:sp>
        <p:nvSpPr>
          <p:cNvPr id="40" name="TextBox 39">
            <a:extLst>
              <a:ext uri="{FF2B5EF4-FFF2-40B4-BE49-F238E27FC236}">
                <a16:creationId xmlns:a16="http://schemas.microsoft.com/office/drawing/2014/main" id="{F9084FC2-679D-4956-BD3E-F10185AE6B9C}"/>
              </a:ext>
            </a:extLst>
          </p:cNvPr>
          <p:cNvSpPr txBox="1"/>
          <p:nvPr/>
        </p:nvSpPr>
        <p:spPr>
          <a:xfrm>
            <a:off x="8577414" y="5760925"/>
            <a:ext cx="747176"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Car; automotive; transportation</a:t>
            </a:r>
          </a:p>
        </p:txBody>
      </p:sp>
      <p:sp>
        <p:nvSpPr>
          <p:cNvPr id="41" name="TextBox 40">
            <a:extLst>
              <a:ext uri="{FF2B5EF4-FFF2-40B4-BE49-F238E27FC236}">
                <a16:creationId xmlns:a16="http://schemas.microsoft.com/office/drawing/2014/main" id="{E3EAB534-D6B2-4209-8F55-1F1F14D0B3FF}"/>
              </a:ext>
            </a:extLst>
          </p:cNvPr>
          <p:cNvSpPr txBox="1"/>
          <p:nvPr/>
        </p:nvSpPr>
        <p:spPr>
          <a:xfrm>
            <a:off x="9528049" y="5760925"/>
            <a:ext cx="633542"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Fuel; gas; refill</a:t>
            </a:r>
          </a:p>
        </p:txBody>
      </p:sp>
      <p:sp>
        <p:nvSpPr>
          <p:cNvPr id="42" name="TextBox 41">
            <a:extLst>
              <a:ext uri="{FF2B5EF4-FFF2-40B4-BE49-F238E27FC236}">
                <a16:creationId xmlns:a16="http://schemas.microsoft.com/office/drawing/2014/main" id="{381F0B84-1438-4626-B56D-E9F9A9320D7E}"/>
              </a:ext>
            </a:extLst>
          </p:cNvPr>
          <p:cNvSpPr txBox="1"/>
          <p:nvPr/>
        </p:nvSpPr>
        <p:spPr>
          <a:xfrm>
            <a:off x="2451285" y="5760925"/>
            <a:ext cx="748030" cy="352323"/>
          </a:xfrm>
          <a:prstGeom prst="rect">
            <a:avLst/>
          </a:prstGeom>
          <a:noFill/>
        </p:spPr>
        <p:txBody>
          <a:bodyPr wrap="square" lIns="0" tIns="0" rIns="0" bIns="0" rtlCol="0">
            <a:noAutofit/>
          </a:bodyPr>
          <a:lstStyle/>
          <a:p>
            <a:pPr algn="ctr">
              <a:spcAft>
                <a:spcPts val="900"/>
              </a:spcAft>
            </a:pPr>
            <a:r>
              <a:rPr lang="en-GB" sz="800">
                <a:solidFill>
                  <a:srgbClr val="505050"/>
                </a:solidFill>
                <a:latin typeface="Segoe UI Light" panose="020B0502040204020203" pitchFamily="34" charset="0"/>
                <a:cs typeface="Segoe UI Light" panose="020B0502040204020203" pitchFamily="34" charset="0"/>
              </a:rPr>
              <a:t>School; education</a:t>
            </a:r>
          </a:p>
        </p:txBody>
      </p:sp>
      <p:grpSp>
        <p:nvGrpSpPr>
          <p:cNvPr id="43" name="Group 42">
            <a:extLst>
              <a:ext uri="{FF2B5EF4-FFF2-40B4-BE49-F238E27FC236}">
                <a16:creationId xmlns:a16="http://schemas.microsoft.com/office/drawing/2014/main" id="{7206D4E2-F5F1-4CE7-B684-428CD3ECDC1F}"/>
              </a:ext>
            </a:extLst>
          </p:cNvPr>
          <p:cNvGrpSpPr/>
          <p:nvPr/>
        </p:nvGrpSpPr>
        <p:grpSpPr>
          <a:xfrm>
            <a:off x="1663281" y="1595303"/>
            <a:ext cx="612000" cy="612000"/>
            <a:chOff x="592807" y="2258092"/>
            <a:chExt cx="612000" cy="612000"/>
          </a:xfrm>
        </p:grpSpPr>
        <p:sp>
          <p:nvSpPr>
            <p:cNvPr id="44" name="Oval 43">
              <a:extLst>
                <a:ext uri="{FF2B5EF4-FFF2-40B4-BE49-F238E27FC236}">
                  <a16:creationId xmlns:a16="http://schemas.microsoft.com/office/drawing/2014/main" id="{4A949CDE-7A59-4278-BD23-445DE2404D3D}"/>
                </a:ext>
              </a:extLst>
            </p:cNvPr>
            <p:cNvSpPr/>
            <p:nvPr/>
          </p:nvSpPr>
          <p:spPr bwMode="ltGray">
            <a:xfrm>
              <a:off x="592807"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45" name="Freeform 4887">
              <a:extLst>
                <a:ext uri="{FF2B5EF4-FFF2-40B4-BE49-F238E27FC236}">
                  <a16:creationId xmlns:a16="http://schemas.microsoft.com/office/drawing/2014/main" id="{483A99C8-D464-4AFB-9B80-9770339946C9}"/>
                </a:ext>
              </a:extLst>
            </p:cNvPr>
            <p:cNvSpPr>
              <a:spLocks noEditPoints="1"/>
            </p:cNvSpPr>
            <p:nvPr/>
          </p:nvSpPr>
          <p:spPr bwMode="auto">
            <a:xfrm>
              <a:off x="759377" y="2380402"/>
              <a:ext cx="278861" cy="373432"/>
            </a:xfrm>
            <a:custGeom>
              <a:avLst/>
              <a:gdLst>
                <a:gd name="T0" fmla="*/ 132 w 230"/>
                <a:gd name="T1" fmla="*/ 184 h 308"/>
                <a:gd name="T2" fmla="*/ 122 w 230"/>
                <a:gd name="T3" fmla="*/ 242 h 308"/>
                <a:gd name="T4" fmla="*/ 110 w 230"/>
                <a:gd name="T5" fmla="*/ 246 h 308"/>
                <a:gd name="T6" fmla="*/ 102 w 230"/>
                <a:gd name="T7" fmla="*/ 248 h 308"/>
                <a:gd name="T8" fmla="*/ 90 w 230"/>
                <a:gd name="T9" fmla="*/ 242 h 308"/>
                <a:gd name="T10" fmla="*/ 86 w 230"/>
                <a:gd name="T11" fmla="*/ 224 h 308"/>
                <a:gd name="T12" fmla="*/ 86 w 230"/>
                <a:gd name="T13" fmla="*/ 214 h 308"/>
                <a:gd name="T14" fmla="*/ 88 w 230"/>
                <a:gd name="T15" fmla="*/ 204 h 308"/>
                <a:gd name="T16" fmla="*/ 96 w 230"/>
                <a:gd name="T17" fmla="*/ 186 h 308"/>
                <a:gd name="T18" fmla="*/ 100 w 230"/>
                <a:gd name="T19" fmla="*/ 180 h 308"/>
                <a:gd name="T20" fmla="*/ 106 w 230"/>
                <a:gd name="T21" fmla="*/ 176 h 308"/>
                <a:gd name="T22" fmla="*/ 120 w 230"/>
                <a:gd name="T23" fmla="*/ 172 h 308"/>
                <a:gd name="T24" fmla="*/ 120 w 230"/>
                <a:gd name="T25" fmla="*/ 172 h 308"/>
                <a:gd name="T26" fmla="*/ 122 w 230"/>
                <a:gd name="T27" fmla="*/ 172 h 308"/>
                <a:gd name="T28" fmla="*/ 230 w 230"/>
                <a:gd name="T29" fmla="*/ 82 h 308"/>
                <a:gd name="T30" fmla="*/ 230 w 230"/>
                <a:gd name="T31" fmla="*/ 292 h 308"/>
                <a:gd name="T32" fmla="*/ 224 w 230"/>
                <a:gd name="T33" fmla="*/ 304 h 308"/>
                <a:gd name="T34" fmla="*/ 214 w 230"/>
                <a:gd name="T35" fmla="*/ 308 h 308"/>
                <a:gd name="T36" fmla="*/ 16 w 230"/>
                <a:gd name="T37" fmla="*/ 308 h 308"/>
                <a:gd name="T38" fmla="*/ 4 w 230"/>
                <a:gd name="T39" fmla="*/ 304 h 308"/>
                <a:gd name="T40" fmla="*/ 0 w 230"/>
                <a:gd name="T41" fmla="*/ 292 h 308"/>
                <a:gd name="T42" fmla="*/ 0 w 230"/>
                <a:gd name="T43" fmla="*/ 16 h 308"/>
                <a:gd name="T44" fmla="*/ 4 w 230"/>
                <a:gd name="T45" fmla="*/ 4 h 308"/>
                <a:gd name="T46" fmla="*/ 16 w 230"/>
                <a:gd name="T47" fmla="*/ 0 h 308"/>
                <a:gd name="T48" fmla="*/ 164 w 230"/>
                <a:gd name="T49" fmla="*/ 16 h 308"/>
                <a:gd name="T50" fmla="*/ 230 w 230"/>
                <a:gd name="T51" fmla="*/ 82 h 308"/>
                <a:gd name="T52" fmla="*/ 182 w 230"/>
                <a:gd name="T53" fmla="*/ 250 h 308"/>
                <a:gd name="T54" fmla="*/ 166 w 230"/>
                <a:gd name="T55" fmla="*/ 254 h 308"/>
                <a:gd name="T56" fmla="*/ 162 w 230"/>
                <a:gd name="T57" fmla="*/ 254 h 308"/>
                <a:gd name="T58" fmla="*/ 158 w 230"/>
                <a:gd name="T59" fmla="*/ 250 h 308"/>
                <a:gd name="T60" fmla="*/ 156 w 230"/>
                <a:gd name="T61" fmla="*/ 242 h 308"/>
                <a:gd name="T62" fmla="*/ 156 w 230"/>
                <a:gd name="T63" fmla="*/ 236 h 308"/>
                <a:gd name="T64" fmla="*/ 158 w 230"/>
                <a:gd name="T65" fmla="*/ 230 h 308"/>
                <a:gd name="T66" fmla="*/ 158 w 230"/>
                <a:gd name="T67" fmla="*/ 160 h 308"/>
                <a:gd name="T68" fmla="*/ 144 w 230"/>
                <a:gd name="T69" fmla="*/ 166 h 308"/>
                <a:gd name="T70" fmla="*/ 134 w 230"/>
                <a:gd name="T71" fmla="*/ 162 h 308"/>
                <a:gd name="T72" fmla="*/ 128 w 230"/>
                <a:gd name="T73" fmla="*/ 160 h 308"/>
                <a:gd name="T74" fmla="*/ 120 w 230"/>
                <a:gd name="T75" fmla="*/ 160 h 308"/>
                <a:gd name="T76" fmla="*/ 114 w 230"/>
                <a:gd name="T77" fmla="*/ 158 h 308"/>
                <a:gd name="T78" fmla="*/ 88 w 230"/>
                <a:gd name="T79" fmla="*/ 164 h 308"/>
                <a:gd name="T80" fmla="*/ 76 w 230"/>
                <a:gd name="T81" fmla="*/ 170 h 308"/>
                <a:gd name="T82" fmla="*/ 66 w 230"/>
                <a:gd name="T83" fmla="*/ 178 h 308"/>
                <a:gd name="T84" fmla="*/ 52 w 230"/>
                <a:gd name="T85" fmla="*/ 202 h 308"/>
                <a:gd name="T86" fmla="*/ 50 w 230"/>
                <a:gd name="T87" fmla="*/ 214 h 308"/>
                <a:gd name="T88" fmla="*/ 48 w 230"/>
                <a:gd name="T89" fmla="*/ 228 h 308"/>
                <a:gd name="T90" fmla="*/ 50 w 230"/>
                <a:gd name="T91" fmla="*/ 246 h 308"/>
                <a:gd name="T92" fmla="*/ 56 w 230"/>
                <a:gd name="T93" fmla="*/ 258 h 308"/>
                <a:gd name="T94" fmla="*/ 62 w 230"/>
                <a:gd name="T95" fmla="*/ 264 h 308"/>
                <a:gd name="T96" fmla="*/ 74 w 230"/>
                <a:gd name="T97" fmla="*/ 270 h 308"/>
                <a:gd name="T98" fmla="*/ 82 w 230"/>
                <a:gd name="T99" fmla="*/ 270 h 308"/>
                <a:gd name="T100" fmla="*/ 100 w 230"/>
                <a:gd name="T101" fmla="*/ 266 h 308"/>
                <a:gd name="T102" fmla="*/ 110 w 230"/>
                <a:gd name="T103" fmla="*/ 260 h 308"/>
                <a:gd name="T104" fmla="*/ 122 w 230"/>
                <a:gd name="T105" fmla="*/ 254 h 308"/>
                <a:gd name="T106" fmla="*/ 126 w 230"/>
                <a:gd name="T107" fmla="*/ 266 h 308"/>
                <a:gd name="T108" fmla="*/ 142 w 230"/>
                <a:gd name="T109" fmla="*/ 270 h 308"/>
                <a:gd name="T110" fmla="*/ 160 w 230"/>
                <a:gd name="T111" fmla="*/ 268 h 308"/>
                <a:gd name="T112" fmla="*/ 182 w 230"/>
                <a:gd name="T113" fmla="*/ 262 h 308"/>
                <a:gd name="T114" fmla="*/ 204 w 230"/>
                <a:gd name="T115" fmla="*/ 84 h 308"/>
                <a:gd name="T116" fmla="*/ 164 w 230"/>
                <a:gd name="T117" fmla="*/ 66 h 308"/>
                <a:gd name="T118" fmla="*/ 146 w 230"/>
                <a:gd name="T119" fmla="*/ 24 h 308"/>
                <a:gd name="T120" fmla="*/ 204 w 230"/>
                <a:gd name="T121"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0" h="308">
                  <a:moveTo>
                    <a:pt x="122" y="172"/>
                  </a:moveTo>
                  <a:lnTo>
                    <a:pt x="132" y="184"/>
                  </a:lnTo>
                  <a:lnTo>
                    <a:pt x="122" y="242"/>
                  </a:lnTo>
                  <a:lnTo>
                    <a:pt x="122" y="242"/>
                  </a:lnTo>
                  <a:lnTo>
                    <a:pt x="110" y="246"/>
                  </a:lnTo>
                  <a:lnTo>
                    <a:pt x="110" y="246"/>
                  </a:lnTo>
                  <a:lnTo>
                    <a:pt x="102" y="248"/>
                  </a:lnTo>
                  <a:lnTo>
                    <a:pt x="102" y="248"/>
                  </a:lnTo>
                  <a:lnTo>
                    <a:pt x="94" y="246"/>
                  </a:lnTo>
                  <a:lnTo>
                    <a:pt x="90" y="242"/>
                  </a:lnTo>
                  <a:lnTo>
                    <a:pt x="86" y="234"/>
                  </a:lnTo>
                  <a:lnTo>
                    <a:pt x="86" y="224"/>
                  </a:lnTo>
                  <a:lnTo>
                    <a:pt x="86" y="224"/>
                  </a:lnTo>
                  <a:lnTo>
                    <a:pt x="86" y="214"/>
                  </a:lnTo>
                  <a:lnTo>
                    <a:pt x="88" y="204"/>
                  </a:lnTo>
                  <a:lnTo>
                    <a:pt x="88" y="204"/>
                  </a:lnTo>
                  <a:lnTo>
                    <a:pt x="92" y="194"/>
                  </a:lnTo>
                  <a:lnTo>
                    <a:pt x="96" y="186"/>
                  </a:lnTo>
                  <a:lnTo>
                    <a:pt x="96" y="186"/>
                  </a:lnTo>
                  <a:lnTo>
                    <a:pt x="100" y="180"/>
                  </a:lnTo>
                  <a:lnTo>
                    <a:pt x="106" y="176"/>
                  </a:lnTo>
                  <a:lnTo>
                    <a:pt x="106" y="176"/>
                  </a:lnTo>
                  <a:lnTo>
                    <a:pt x="112" y="172"/>
                  </a:lnTo>
                  <a:lnTo>
                    <a:pt x="120" y="172"/>
                  </a:lnTo>
                  <a:lnTo>
                    <a:pt x="120" y="172"/>
                  </a:lnTo>
                  <a:lnTo>
                    <a:pt x="120" y="172"/>
                  </a:lnTo>
                  <a:lnTo>
                    <a:pt x="120" y="172"/>
                  </a:lnTo>
                  <a:lnTo>
                    <a:pt x="122" y="172"/>
                  </a:lnTo>
                  <a:lnTo>
                    <a:pt x="122" y="172"/>
                  </a:lnTo>
                  <a:close/>
                  <a:moveTo>
                    <a:pt x="230" y="82"/>
                  </a:moveTo>
                  <a:lnTo>
                    <a:pt x="230" y="292"/>
                  </a:lnTo>
                  <a:lnTo>
                    <a:pt x="230" y="292"/>
                  </a:lnTo>
                  <a:lnTo>
                    <a:pt x="228" y="298"/>
                  </a:lnTo>
                  <a:lnTo>
                    <a:pt x="224" y="304"/>
                  </a:lnTo>
                  <a:lnTo>
                    <a:pt x="220" y="308"/>
                  </a:lnTo>
                  <a:lnTo>
                    <a:pt x="214" y="308"/>
                  </a:lnTo>
                  <a:lnTo>
                    <a:pt x="16" y="308"/>
                  </a:lnTo>
                  <a:lnTo>
                    <a:pt x="16" y="308"/>
                  </a:lnTo>
                  <a:lnTo>
                    <a:pt x="8" y="308"/>
                  </a:lnTo>
                  <a:lnTo>
                    <a:pt x="4" y="304"/>
                  </a:lnTo>
                  <a:lnTo>
                    <a:pt x="0" y="298"/>
                  </a:lnTo>
                  <a:lnTo>
                    <a:pt x="0" y="292"/>
                  </a:lnTo>
                  <a:lnTo>
                    <a:pt x="0" y="16"/>
                  </a:lnTo>
                  <a:lnTo>
                    <a:pt x="0" y="16"/>
                  </a:lnTo>
                  <a:lnTo>
                    <a:pt x="0" y="10"/>
                  </a:lnTo>
                  <a:lnTo>
                    <a:pt x="4" y="4"/>
                  </a:lnTo>
                  <a:lnTo>
                    <a:pt x="8" y="0"/>
                  </a:lnTo>
                  <a:lnTo>
                    <a:pt x="16" y="0"/>
                  </a:lnTo>
                  <a:lnTo>
                    <a:pt x="148" y="0"/>
                  </a:lnTo>
                  <a:lnTo>
                    <a:pt x="164" y="16"/>
                  </a:lnTo>
                  <a:lnTo>
                    <a:pt x="212" y="66"/>
                  </a:lnTo>
                  <a:lnTo>
                    <a:pt x="230" y="82"/>
                  </a:lnTo>
                  <a:close/>
                  <a:moveTo>
                    <a:pt x="182" y="250"/>
                  </a:moveTo>
                  <a:lnTo>
                    <a:pt x="182" y="250"/>
                  </a:lnTo>
                  <a:lnTo>
                    <a:pt x="174" y="254"/>
                  </a:lnTo>
                  <a:lnTo>
                    <a:pt x="166" y="254"/>
                  </a:lnTo>
                  <a:lnTo>
                    <a:pt x="166" y="254"/>
                  </a:lnTo>
                  <a:lnTo>
                    <a:pt x="162" y="254"/>
                  </a:lnTo>
                  <a:lnTo>
                    <a:pt x="158" y="250"/>
                  </a:lnTo>
                  <a:lnTo>
                    <a:pt x="158" y="250"/>
                  </a:lnTo>
                  <a:lnTo>
                    <a:pt x="156" y="246"/>
                  </a:lnTo>
                  <a:lnTo>
                    <a:pt x="156" y="242"/>
                  </a:lnTo>
                  <a:lnTo>
                    <a:pt x="156" y="242"/>
                  </a:lnTo>
                  <a:lnTo>
                    <a:pt x="156" y="236"/>
                  </a:lnTo>
                  <a:lnTo>
                    <a:pt x="156" y="236"/>
                  </a:lnTo>
                  <a:lnTo>
                    <a:pt x="158" y="230"/>
                  </a:lnTo>
                  <a:lnTo>
                    <a:pt x="172" y="160"/>
                  </a:lnTo>
                  <a:lnTo>
                    <a:pt x="158" y="160"/>
                  </a:lnTo>
                  <a:lnTo>
                    <a:pt x="144" y="166"/>
                  </a:lnTo>
                  <a:lnTo>
                    <a:pt x="144" y="166"/>
                  </a:lnTo>
                  <a:lnTo>
                    <a:pt x="134" y="162"/>
                  </a:lnTo>
                  <a:lnTo>
                    <a:pt x="134" y="162"/>
                  </a:lnTo>
                  <a:lnTo>
                    <a:pt x="128" y="160"/>
                  </a:lnTo>
                  <a:lnTo>
                    <a:pt x="128" y="160"/>
                  </a:lnTo>
                  <a:lnTo>
                    <a:pt x="120" y="160"/>
                  </a:lnTo>
                  <a:lnTo>
                    <a:pt x="120" y="160"/>
                  </a:lnTo>
                  <a:lnTo>
                    <a:pt x="114" y="158"/>
                  </a:lnTo>
                  <a:lnTo>
                    <a:pt x="114" y="158"/>
                  </a:lnTo>
                  <a:lnTo>
                    <a:pt x="100" y="160"/>
                  </a:lnTo>
                  <a:lnTo>
                    <a:pt x="88" y="164"/>
                  </a:lnTo>
                  <a:lnTo>
                    <a:pt x="88" y="164"/>
                  </a:lnTo>
                  <a:lnTo>
                    <a:pt x="76" y="170"/>
                  </a:lnTo>
                  <a:lnTo>
                    <a:pt x="66" y="178"/>
                  </a:lnTo>
                  <a:lnTo>
                    <a:pt x="66" y="178"/>
                  </a:lnTo>
                  <a:lnTo>
                    <a:pt x="58" y="190"/>
                  </a:lnTo>
                  <a:lnTo>
                    <a:pt x="52" y="202"/>
                  </a:lnTo>
                  <a:lnTo>
                    <a:pt x="52" y="202"/>
                  </a:lnTo>
                  <a:lnTo>
                    <a:pt x="50" y="214"/>
                  </a:lnTo>
                  <a:lnTo>
                    <a:pt x="48" y="228"/>
                  </a:lnTo>
                  <a:lnTo>
                    <a:pt x="48" y="228"/>
                  </a:lnTo>
                  <a:lnTo>
                    <a:pt x="48" y="238"/>
                  </a:lnTo>
                  <a:lnTo>
                    <a:pt x="50" y="246"/>
                  </a:lnTo>
                  <a:lnTo>
                    <a:pt x="52" y="252"/>
                  </a:lnTo>
                  <a:lnTo>
                    <a:pt x="56" y="258"/>
                  </a:lnTo>
                  <a:lnTo>
                    <a:pt x="56" y="258"/>
                  </a:lnTo>
                  <a:lnTo>
                    <a:pt x="62" y="264"/>
                  </a:lnTo>
                  <a:lnTo>
                    <a:pt x="68" y="268"/>
                  </a:lnTo>
                  <a:lnTo>
                    <a:pt x="74" y="270"/>
                  </a:lnTo>
                  <a:lnTo>
                    <a:pt x="82" y="270"/>
                  </a:lnTo>
                  <a:lnTo>
                    <a:pt x="82" y="270"/>
                  </a:lnTo>
                  <a:lnTo>
                    <a:pt x="92" y="268"/>
                  </a:lnTo>
                  <a:lnTo>
                    <a:pt x="100" y="266"/>
                  </a:lnTo>
                  <a:lnTo>
                    <a:pt x="100" y="266"/>
                  </a:lnTo>
                  <a:lnTo>
                    <a:pt x="110" y="260"/>
                  </a:lnTo>
                  <a:lnTo>
                    <a:pt x="122" y="254"/>
                  </a:lnTo>
                  <a:lnTo>
                    <a:pt x="122" y="254"/>
                  </a:lnTo>
                  <a:lnTo>
                    <a:pt x="122" y="262"/>
                  </a:lnTo>
                  <a:lnTo>
                    <a:pt x="126" y="266"/>
                  </a:lnTo>
                  <a:lnTo>
                    <a:pt x="132" y="270"/>
                  </a:lnTo>
                  <a:lnTo>
                    <a:pt x="142" y="270"/>
                  </a:lnTo>
                  <a:lnTo>
                    <a:pt x="142" y="270"/>
                  </a:lnTo>
                  <a:lnTo>
                    <a:pt x="160" y="268"/>
                  </a:lnTo>
                  <a:lnTo>
                    <a:pt x="160" y="268"/>
                  </a:lnTo>
                  <a:lnTo>
                    <a:pt x="182" y="262"/>
                  </a:lnTo>
                  <a:lnTo>
                    <a:pt x="182" y="250"/>
                  </a:lnTo>
                  <a:close/>
                  <a:moveTo>
                    <a:pt x="204" y="84"/>
                  </a:moveTo>
                  <a:lnTo>
                    <a:pt x="186" y="66"/>
                  </a:lnTo>
                  <a:lnTo>
                    <a:pt x="164" y="66"/>
                  </a:lnTo>
                  <a:lnTo>
                    <a:pt x="164" y="42"/>
                  </a:lnTo>
                  <a:lnTo>
                    <a:pt x="146" y="24"/>
                  </a:lnTo>
                  <a:lnTo>
                    <a:pt x="146" y="84"/>
                  </a:lnTo>
                  <a:lnTo>
                    <a:pt x="204" y="8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46" name="Group 45">
            <a:extLst>
              <a:ext uri="{FF2B5EF4-FFF2-40B4-BE49-F238E27FC236}">
                <a16:creationId xmlns:a16="http://schemas.microsoft.com/office/drawing/2014/main" id="{5E4AEEBE-B993-4DBD-9C47-810801A58FC7}"/>
              </a:ext>
            </a:extLst>
          </p:cNvPr>
          <p:cNvGrpSpPr/>
          <p:nvPr/>
        </p:nvGrpSpPr>
        <p:grpSpPr>
          <a:xfrm>
            <a:off x="2537994" y="1595303"/>
            <a:ext cx="612000" cy="612000"/>
            <a:chOff x="1467520" y="2258092"/>
            <a:chExt cx="612000" cy="612000"/>
          </a:xfrm>
        </p:grpSpPr>
        <p:sp>
          <p:nvSpPr>
            <p:cNvPr id="47" name="Oval 46">
              <a:extLst>
                <a:ext uri="{FF2B5EF4-FFF2-40B4-BE49-F238E27FC236}">
                  <a16:creationId xmlns:a16="http://schemas.microsoft.com/office/drawing/2014/main" id="{47C5B627-CEE9-4475-BD21-4C0697797CF3}"/>
                </a:ext>
              </a:extLst>
            </p:cNvPr>
            <p:cNvSpPr/>
            <p:nvPr/>
          </p:nvSpPr>
          <p:spPr bwMode="ltGray">
            <a:xfrm>
              <a:off x="1467520"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48" name="Freeform 4888">
              <a:extLst>
                <a:ext uri="{FF2B5EF4-FFF2-40B4-BE49-F238E27FC236}">
                  <a16:creationId xmlns:a16="http://schemas.microsoft.com/office/drawing/2014/main" id="{56CCBF50-521C-4093-9D7E-17DA2439FA70}"/>
                </a:ext>
              </a:extLst>
            </p:cNvPr>
            <p:cNvSpPr>
              <a:spLocks noEditPoints="1"/>
            </p:cNvSpPr>
            <p:nvPr/>
          </p:nvSpPr>
          <p:spPr bwMode="auto">
            <a:xfrm>
              <a:off x="1543157" y="2426474"/>
              <a:ext cx="460727" cy="281286"/>
            </a:xfrm>
            <a:custGeom>
              <a:avLst/>
              <a:gdLst>
                <a:gd name="T0" fmla="*/ 190 w 380"/>
                <a:gd name="T1" fmla="*/ 0 h 232"/>
                <a:gd name="T2" fmla="*/ 130 w 380"/>
                <a:gd name="T3" fmla="*/ 8 h 232"/>
                <a:gd name="T4" fmla="*/ 78 w 380"/>
                <a:gd name="T5" fmla="*/ 32 h 232"/>
                <a:gd name="T6" fmla="*/ 34 w 380"/>
                <a:gd name="T7" fmla="*/ 68 h 232"/>
                <a:gd name="T8" fmla="*/ 0 w 380"/>
                <a:gd name="T9" fmla="*/ 116 h 232"/>
                <a:gd name="T10" fmla="*/ 16 w 380"/>
                <a:gd name="T11" fmla="*/ 140 h 232"/>
                <a:gd name="T12" fmla="*/ 54 w 380"/>
                <a:gd name="T13" fmla="*/ 184 h 232"/>
                <a:gd name="T14" fmla="*/ 102 w 380"/>
                <a:gd name="T15" fmla="*/ 214 h 232"/>
                <a:gd name="T16" fmla="*/ 160 w 380"/>
                <a:gd name="T17" fmla="*/ 230 h 232"/>
                <a:gd name="T18" fmla="*/ 190 w 380"/>
                <a:gd name="T19" fmla="*/ 232 h 232"/>
                <a:gd name="T20" fmla="*/ 250 w 380"/>
                <a:gd name="T21" fmla="*/ 224 h 232"/>
                <a:gd name="T22" fmla="*/ 302 w 380"/>
                <a:gd name="T23" fmla="*/ 200 h 232"/>
                <a:gd name="T24" fmla="*/ 346 w 380"/>
                <a:gd name="T25" fmla="*/ 164 h 232"/>
                <a:gd name="T26" fmla="*/ 380 w 380"/>
                <a:gd name="T27" fmla="*/ 116 h 232"/>
                <a:gd name="T28" fmla="*/ 364 w 380"/>
                <a:gd name="T29" fmla="*/ 92 h 232"/>
                <a:gd name="T30" fmla="*/ 326 w 380"/>
                <a:gd name="T31" fmla="*/ 48 h 232"/>
                <a:gd name="T32" fmla="*/ 278 w 380"/>
                <a:gd name="T33" fmla="*/ 18 h 232"/>
                <a:gd name="T34" fmla="*/ 220 w 380"/>
                <a:gd name="T35" fmla="*/ 2 h 232"/>
                <a:gd name="T36" fmla="*/ 190 w 380"/>
                <a:gd name="T37" fmla="*/ 0 h 232"/>
                <a:gd name="T38" fmla="*/ 190 w 380"/>
                <a:gd name="T39" fmla="*/ 212 h 232"/>
                <a:gd name="T40" fmla="*/ 152 w 380"/>
                <a:gd name="T41" fmla="*/ 204 h 232"/>
                <a:gd name="T42" fmla="*/ 122 w 380"/>
                <a:gd name="T43" fmla="*/ 184 h 232"/>
                <a:gd name="T44" fmla="*/ 102 w 380"/>
                <a:gd name="T45" fmla="*/ 154 h 232"/>
                <a:gd name="T46" fmla="*/ 94 w 380"/>
                <a:gd name="T47" fmla="*/ 116 h 232"/>
                <a:gd name="T48" fmla="*/ 96 w 380"/>
                <a:gd name="T49" fmla="*/ 96 h 232"/>
                <a:gd name="T50" fmla="*/ 110 w 380"/>
                <a:gd name="T51" fmla="*/ 62 h 232"/>
                <a:gd name="T52" fmla="*/ 136 w 380"/>
                <a:gd name="T53" fmla="*/ 36 h 232"/>
                <a:gd name="T54" fmla="*/ 170 w 380"/>
                <a:gd name="T55" fmla="*/ 22 h 232"/>
                <a:gd name="T56" fmla="*/ 190 w 380"/>
                <a:gd name="T57" fmla="*/ 20 h 232"/>
                <a:gd name="T58" fmla="*/ 228 w 380"/>
                <a:gd name="T59" fmla="*/ 28 h 232"/>
                <a:gd name="T60" fmla="*/ 258 w 380"/>
                <a:gd name="T61" fmla="*/ 48 h 232"/>
                <a:gd name="T62" fmla="*/ 278 w 380"/>
                <a:gd name="T63" fmla="*/ 78 h 232"/>
                <a:gd name="T64" fmla="*/ 286 w 380"/>
                <a:gd name="T65" fmla="*/ 116 h 232"/>
                <a:gd name="T66" fmla="*/ 284 w 380"/>
                <a:gd name="T67" fmla="*/ 136 h 232"/>
                <a:gd name="T68" fmla="*/ 270 w 380"/>
                <a:gd name="T69" fmla="*/ 170 h 232"/>
                <a:gd name="T70" fmla="*/ 244 w 380"/>
                <a:gd name="T71" fmla="*/ 196 h 232"/>
                <a:gd name="T72" fmla="*/ 210 w 380"/>
                <a:gd name="T73" fmla="*/ 210 h 232"/>
                <a:gd name="T74" fmla="*/ 190 w 380"/>
                <a:gd name="T75" fmla="*/ 212 h 232"/>
                <a:gd name="T76" fmla="*/ 242 w 380"/>
                <a:gd name="T77" fmla="*/ 116 h 232"/>
                <a:gd name="T78" fmla="*/ 238 w 380"/>
                <a:gd name="T79" fmla="*/ 136 h 232"/>
                <a:gd name="T80" fmla="*/ 228 w 380"/>
                <a:gd name="T81" fmla="*/ 154 h 232"/>
                <a:gd name="T82" fmla="*/ 210 w 380"/>
                <a:gd name="T83" fmla="*/ 164 h 232"/>
                <a:gd name="T84" fmla="*/ 190 w 380"/>
                <a:gd name="T85" fmla="*/ 168 h 232"/>
                <a:gd name="T86" fmla="*/ 180 w 380"/>
                <a:gd name="T87" fmla="*/ 168 h 232"/>
                <a:gd name="T88" fmla="*/ 160 w 380"/>
                <a:gd name="T89" fmla="*/ 160 h 232"/>
                <a:gd name="T90" fmla="*/ 146 w 380"/>
                <a:gd name="T91" fmla="*/ 146 h 232"/>
                <a:gd name="T92" fmla="*/ 138 w 380"/>
                <a:gd name="T93" fmla="*/ 126 h 232"/>
                <a:gd name="T94" fmla="*/ 138 w 380"/>
                <a:gd name="T95" fmla="*/ 116 h 232"/>
                <a:gd name="T96" fmla="*/ 142 w 380"/>
                <a:gd name="T97" fmla="*/ 96 h 232"/>
                <a:gd name="T98" fmla="*/ 152 w 380"/>
                <a:gd name="T99" fmla="*/ 78 h 232"/>
                <a:gd name="T100" fmla="*/ 170 w 380"/>
                <a:gd name="T101" fmla="*/ 68 h 232"/>
                <a:gd name="T102" fmla="*/ 190 w 380"/>
                <a:gd name="T103" fmla="*/ 64 h 232"/>
                <a:gd name="T104" fmla="*/ 200 w 380"/>
                <a:gd name="T105" fmla="*/ 64 h 232"/>
                <a:gd name="T106" fmla="*/ 220 w 380"/>
                <a:gd name="T107" fmla="*/ 72 h 232"/>
                <a:gd name="T108" fmla="*/ 234 w 380"/>
                <a:gd name="T109" fmla="*/ 86 h 232"/>
                <a:gd name="T110" fmla="*/ 242 w 380"/>
                <a:gd name="T111" fmla="*/ 106 h 232"/>
                <a:gd name="T112" fmla="*/ 242 w 380"/>
                <a:gd name="T113" fmla="*/ 11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80" h="232">
                  <a:moveTo>
                    <a:pt x="190" y="0"/>
                  </a:moveTo>
                  <a:lnTo>
                    <a:pt x="190" y="0"/>
                  </a:lnTo>
                  <a:lnTo>
                    <a:pt x="160" y="2"/>
                  </a:lnTo>
                  <a:lnTo>
                    <a:pt x="130" y="8"/>
                  </a:lnTo>
                  <a:lnTo>
                    <a:pt x="102" y="18"/>
                  </a:lnTo>
                  <a:lnTo>
                    <a:pt x="78" y="32"/>
                  </a:lnTo>
                  <a:lnTo>
                    <a:pt x="54" y="48"/>
                  </a:lnTo>
                  <a:lnTo>
                    <a:pt x="34" y="68"/>
                  </a:lnTo>
                  <a:lnTo>
                    <a:pt x="16" y="92"/>
                  </a:lnTo>
                  <a:lnTo>
                    <a:pt x="0" y="116"/>
                  </a:lnTo>
                  <a:lnTo>
                    <a:pt x="0" y="116"/>
                  </a:lnTo>
                  <a:lnTo>
                    <a:pt x="16" y="140"/>
                  </a:lnTo>
                  <a:lnTo>
                    <a:pt x="34" y="164"/>
                  </a:lnTo>
                  <a:lnTo>
                    <a:pt x="54" y="184"/>
                  </a:lnTo>
                  <a:lnTo>
                    <a:pt x="78" y="200"/>
                  </a:lnTo>
                  <a:lnTo>
                    <a:pt x="102" y="214"/>
                  </a:lnTo>
                  <a:lnTo>
                    <a:pt x="130" y="224"/>
                  </a:lnTo>
                  <a:lnTo>
                    <a:pt x="160" y="230"/>
                  </a:lnTo>
                  <a:lnTo>
                    <a:pt x="190" y="232"/>
                  </a:lnTo>
                  <a:lnTo>
                    <a:pt x="190" y="232"/>
                  </a:lnTo>
                  <a:lnTo>
                    <a:pt x="220" y="230"/>
                  </a:lnTo>
                  <a:lnTo>
                    <a:pt x="250" y="224"/>
                  </a:lnTo>
                  <a:lnTo>
                    <a:pt x="278" y="214"/>
                  </a:lnTo>
                  <a:lnTo>
                    <a:pt x="302" y="200"/>
                  </a:lnTo>
                  <a:lnTo>
                    <a:pt x="326" y="184"/>
                  </a:lnTo>
                  <a:lnTo>
                    <a:pt x="346" y="164"/>
                  </a:lnTo>
                  <a:lnTo>
                    <a:pt x="364" y="140"/>
                  </a:lnTo>
                  <a:lnTo>
                    <a:pt x="380" y="116"/>
                  </a:lnTo>
                  <a:lnTo>
                    <a:pt x="380" y="116"/>
                  </a:lnTo>
                  <a:lnTo>
                    <a:pt x="364" y="92"/>
                  </a:lnTo>
                  <a:lnTo>
                    <a:pt x="346" y="68"/>
                  </a:lnTo>
                  <a:lnTo>
                    <a:pt x="326" y="48"/>
                  </a:lnTo>
                  <a:lnTo>
                    <a:pt x="302" y="32"/>
                  </a:lnTo>
                  <a:lnTo>
                    <a:pt x="278" y="18"/>
                  </a:lnTo>
                  <a:lnTo>
                    <a:pt x="250" y="8"/>
                  </a:lnTo>
                  <a:lnTo>
                    <a:pt x="220" y="2"/>
                  </a:lnTo>
                  <a:lnTo>
                    <a:pt x="190" y="0"/>
                  </a:lnTo>
                  <a:lnTo>
                    <a:pt x="190" y="0"/>
                  </a:lnTo>
                  <a:close/>
                  <a:moveTo>
                    <a:pt x="190" y="212"/>
                  </a:moveTo>
                  <a:lnTo>
                    <a:pt x="190" y="212"/>
                  </a:lnTo>
                  <a:lnTo>
                    <a:pt x="170" y="210"/>
                  </a:lnTo>
                  <a:lnTo>
                    <a:pt x="152" y="204"/>
                  </a:lnTo>
                  <a:lnTo>
                    <a:pt x="136" y="196"/>
                  </a:lnTo>
                  <a:lnTo>
                    <a:pt x="122" y="184"/>
                  </a:lnTo>
                  <a:lnTo>
                    <a:pt x="110" y="170"/>
                  </a:lnTo>
                  <a:lnTo>
                    <a:pt x="102" y="154"/>
                  </a:lnTo>
                  <a:lnTo>
                    <a:pt x="96" y="136"/>
                  </a:lnTo>
                  <a:lnTo>
                    <a:pt x="94" y="116"/>
                  </a:lnTo>
                  <a:lnTo>
                    <a:pt x="94" y="116"/>
                  </a:lnTo>
                  <a:lnTo>
                    <a:pt x="96" y="96"/>
                  </a:lnTo>
                  <a:lnTo>
                    <a:pt x="102" y="78"/>
                  </a:lnTo>
                  <a:lnTo>
                    <a:pt x="110" y="62"/>
                  </a:lnTo>
                  <a:lnTo>
                    <a:pt x="122" y="48"/>
                  </a:lnTo>
                  <a:lnTo>
                    <a:pt x="136" y="36"/>
                  </a:lnTo>
                  <a:lnTo>
                    <a:pt x="152" y="28"/>
                  </a:lnTo>
                  <a:lnTo>
                    <a:pt x="170" y="22"/>
                  </a:lnTo>
                  <a:lnTo>
                    <a:pt x="190" y="20"/>
                  </a:lnTo>
                  <a:lnTo>
                    <a:pt x="190" y="20"/>
                  </a:lnTo>
                  <a:lnTo>
                    <a:pt x="210" y="22"/>
                  </a:lnTo>
                  <a:lnTo>
                    <a:pt x="228" y="28"/>
                  </a:lnTo>
                  <a:lnTo>
                    <a:pt x="244" y="36"/>
                  </a:lnTo>
                  <a:lnTo>
                    <a:pt x="258" y="48"/>
                  </a:lnTo>
                  <a:lnTo>
                    <a:pt x="270" y="62"/>
                  </a:lnTo>
                  <a:lnTo>
                    <a:pt x="278" y="78"/>
                  </a:lnTo>
                  <a:lnTo>
                    <a:pt x="284" y="96"/>
                  </a:lnTo>
                  <a:lnTo>
                    <a:pt x="286" y="116"/>
                  </a:lnTo>
                  <a:lnTo>
                    <a:pt x="286" y="116"/>
                  </a:lnTo>
                  <a:lnTo>
                    <a:pt x="284" y="136"/>
                  </a:lnTo>
                  <a:lnTo>
                    <a:pt x="278" y="154"/>
                  </a:lnTo>
                  <a:lnTo>
                    <a:pt x="270" y="170"/>
                  </a:lnTo>
                  <a:lnTo>
                    <a:pt x="258" y="184"/>
                  </a:lnTo>
                  <a:lnTo>
                    <a:pt x="244" y="196"/>
                  </a:lnTo>
                  <a:lnTo>
                    <a:pt x="228" y="204"/>
                  </a:lnTo>
                  <a:lnTo>
                    <a:pt x="210" y="210"/>
                  </a:lnTo>
                  <a:lnTo>
                    <a:pt x="190" y="212"/>
                  </a:lnTo>
                  <a:lnTo>
                    <a:pt x="190" y="212"/>
                  </a:lnTo>
                  <a:close/>
                  <a:moveTo>
                    <a:pt x="242" y="116"/>
                  </a:moveTo>
                  <a:lnTo>
                    <a:pt x="242" y="116"/>
                  </a:lnTo>
                  <a:lnTo>
                    <a:pt x="242" y="126"/>
                  </a:lnTo>
                  <a:lnTo>
                    <a:pt x="238" y="136"/>
                  </a:lnTo>
                  <a:lnTo>
                    <a:pt x="234" y="146"/>
                  </a:lnTo>
                  <a:lnTo>
                    <a:pt x="228" y="154"/>
                  </a:lnTo>
                  <a:lnTo>
                    <a:pt x="220" y="160"/>
                  </a:lnTo>
                  <a:lnTo>
                    <a:pt x="210" y="164"/>
                  </a:lnTo>
                  <a:lnTo>
                    <a:pt x="200" y="168"/>
                  </a:lnTo>
                  <a:lnTo>
                    <a:pt x="190" y="168"/>
                  </a:lnTo>
                  <a:lnTo>
                    <a:pt x="190" y="168"/>
                  </a:lnTo>
                  <a:lnTo>
                    <a:pt x="180" y="168"/>
                  </a:lnTo>
                  <a:lnTo>
                    <a:pt x="170" y="164"/>
                  </a:lnTo>
                  <a:lnTo>
                    <a:pt x="160" y="160"/>
                  </a:lnTo>
                  <a:lnTo>
                    <a:pt x="152" y="154"/>
                  </a:lnTo>
                  <a:lnTo>
                    <a:pt x="146" y="146"/>
                  </a:lnTo>
                  <a:lnTo>
                    <a:pt x="142" y="136"/>
                  </a:lnTo>
                  <a:lnTo>
                    <a:pt x="138" y="126"/>
                  </a:lnTo>
                  <a:lnTo>
                    <a:pt x="138" y="116"/>
                  </a:lnTo>
                  <a:lnTo>
                    <a:pt x="138" y="116"/>
                  </a:lnTo>
                  <a:lnTo>
                    <a:pt x="138" y="106"/>
                  </a:lnTo>
                  <a:lnTo>
                    <a:pt x="142" y="96"/>
                  </a:lnTo>
                  <a:lnTo>
                    <a:pt x="146" y="86"/>
                  </a:lnTo>
                  <a:lnTo>
                    <a:pt x="152" y="78"/>
                  </a:lnTo>
                  <a:lnTo>
                    <a:pt x="160" y="72"/>
                  </a:lnTo>
                  <a:lnTo>
                    <a:pt x="170" y="68"/>
                  </a:lnTo>
                  <a:lnTo>
                    <a:pt x="180" y="64"/>
                  </a:lnTo>
                  <a:lnTo>
                    <a:pt x="190" y="64"/>
                  </a:lnTo>
                  <a:lnTo>
                    <a:pt x="190" y="64"/>
                  </a:lnTo>
                  <a:lnTo>
                    <a:pt x="200" y="64"/>
                  </a:lnTo>
                  <a:lnTo>
                    <a:pt x="210" y="68"/>
                  </a:lnTo>
                  <a:lnTo>
                    <a:pt x="220" y="72"/>
                  </a:lnTo>
                  <a:lnTo>
                    <a:pt x="228" y="78"/>
                  </a:lnTo>
                  <a:lnTo>
                    <a:pt x="234" y="86"/>
                  </a:lnTo>
                  <a:lnTo>
                    <a:pt x="238" y="96"/>
                  </a:lnTo>
                  <a:lnTo>
                    <a:pt x="242" y="106"/>
                  </a:lnTo>
                  <a:lnTo>
                    <a:pt x="242" y="116"/>
                  </a:lnTo>
                  <a:lnTo>
                    <a:pt x="242" y="1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49" name="Group 48">
            <a:extLst>
              <a:ext uri="{FF2B5EF4-FFF2-40B4-BE49-F238E27FC236}">
                <a16:creationId xmlns:a16="http://schemas.microsoft.com/office/drawing/2014/main" id="{44521C29-E24E-47C2-8716-51C8DC814C3F}"/>
              </a:ext>
            </a:extLst>
          </p:cNvPr>
          <p:cNvGrpSpPr/>
          <p:nvPr/>
        </p:nvGrpSpPr>
        <p:grpSpPr>
          <a:xfrm>
            <a:off x="4287420" y="2811612"/>
            <a:ext cx="612000" cy="612000"/>
            <a:chOff x="3216946" y="3474401"/>
            <a:chExt cx="612000" cy="612000"/>
          </a:xfrm>
        </p:grpSpPr>
        <p:sp>
          <p:nvSpPr>
            <p:cNvPr id="50" name="Oval 49">
              <a:extLst>
                <a:ext uri="{FF2B5EF4-FFF2-40B4-BE49-F238E27FC236}">
                  <a16:creationId xmlns:a16="http://schemas.microsoft.com/office/drawing/2014/main" id="{7D4D2D23-759F-429B-B330-56EA20DF2DF7}"/>
                </a:ext>
              </a:extLst>
            </p:cNvPr>
            <p:cNvSpPr/>
            <p:nvPr/>
          </p:nvSpPr>
          <p:spPr bwMode="ltGray">
            <a:xfrm>
              <a:off x="3216946"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51" name="Freeform 4889">
              <a:extLst>
                <a:ext uri="{FF2B5EF4-FFF2-40B4-BE49-F238E27FC236}">
                  <a16:creationId xmlns:a16="http://schemas.microsoft.com/office/drawing/2014/main" id="{AA8D409B-5FB3-4E35-B3AE-7C12E7DDB2A2}"/>
                </a:ext>
              </a:extLst>
            </p:cNvPr>
            <p:cNvSpPr>
              <a:spLocks noEditPoints="1"/>
            </p:cNvSpPr>
            <p:nvPr/>
          </p:nvSpPr>
          <p:spPr bwMode="auto">
            <a:xfrm>
              <a:off x="3390790" y="3556469"/>
              <a:ext cx="264312" cy="465577"/>
            </a:xfrm>
            <a:custGeom>
              <a:avLst/>
              <a:gdLst>
                <a:gd name="T0" fmla="*/ 12 w 218"/>
                <a:gd name="T1" fmla="*/ 62 h 384"/>
                <a:gd name="T2" fmla="*/ 6 w 218"/>
                <a:gd name="T3" fmla="*/ 46 h 384"/>
                <a:gd name="T4" fmla="*/ 124 w 218"/>
                <a:gd name="T5" fmla="*/ 0 h 384"/>
                <a:gd name="T6" fmla="*/ 142 w 218"/>
                <a:gd name="T7" fmla="*/ 6 h 384"/>
                <a:gd name="T8" fmla="*/ 144 w 218"/>
                <a:gd name="T9" fmla="*/ 24 h 384"/>
                <a:gd name="T10" fmla="*/ 26 w 218"/>
                <a:gd name="T11" fmla="*/ 64 h 384"/>
                <a:gd name="T12" fmla="*/ 22 w 218"/>
                <a:gd name="T13" fmla="*/ 118 h 384"/>
                <a:gd name="T14" fmla="*/ 218 w 218"/>
                <a:gd name="T15" fmla="*/ 54 h 384"/>
                <a:gd name="T16" fmla="*/ 216 w 218"/>
                <a:gd name="T17" fmla="*/ 36 h 384"/>
                <a:gd name="T18" fmla="*/ 12 w 218"/>
                <a:gd name="T19" fmla="*/ 86 h 384"/>
                <a:gd name="T20" fmla="*/ 2 w 218"/>
                <a:gd name="T21" fmla="*/ 100 h 384"/>
                <a:gd name="T22" fmla="*/ 8 w 218"/>
                <a:gd name="T23" fmla="*/ 116 h 384"/>
                <a:gd name="T24" fmla="*/ 68 w 218"/>
                <a:gd name="T25" fmla="*/ 236 h 384"/>
                <a:gd name="T26" fmla="*/ 84 w 218"/>
                <a:gd name="T27" fmla="*/ 218 h 384"/>
                <a:gd name="T28" fmla="*/ 68 w 218"/>
                <a:gd name="T29" fmla="*/ 172 h 384"/>
                <a:gd name="T30" fmla="*/ 212 w 218"/>
                <a:gd name="T31" fmla="*/ 114 h 384"/>
                <a:gd name="T32" fmla="*/ 218 w 218"/>
                <a:gd name="T33" fmla="*/ 96 h 384"/>
                <a:gd name="T34" fmla="*/ 198 w 218"/>
                <a:gd name="T35" fmla="*/ 84 h 384"/>
                <a:gd name="T36" fmla="*/ 4 w 218"/>
                <a:gd name="T37" fmla="*/ 146 h 384"/>
                <a:gd name="T38" fmla="*/ 2 w 218"/>
                <a:gd name="T39" fmla="*/ 160 h 384"/>
                <a:gd name="T40" fmla="*/ 12 w 218"/>
                <a:gd name="T41" fmla="*/ 172 h 384"/>
                <a:gd name="T42" fmla="*/ 44 w 218"/>
                <a:gd name="T43" fmla="*/ 198 h 384"/>
                <a:gd name="T44" fmla="*/ 52 w 218"/>
                <a:gd name="T45" fmla="*/ 224 h 384"/>
                <a:gd name="T46" fmla="*/ 148 w 218"/>
                <a:gd name="T47" fmla="*/ 236 h 384"/>
                <a:gd name="T48" fmla="*/ 164 w 218"/>
                <a:gd name="T49" fmla="*/ 224 h 384"/>
                <a:gd name="T50" fmla="*/ 172 w 218"/>
                <a:gd name="T51" fmla="*/ 198 h 384"/>
                <a:gd name="T52" fmla="*/ 204 w 218"/>
                <a:gd name="T53" fmla="*/ 172 h 384"/>
                <a:gd name="T54" fmla="*/ 216 w 218"/>
                <a:gd name="T55" fmla="*/ 156 h 384"/>
                <a:gd name="T56" fmla="*/ 206 w 218"/>
                <a:gd name="T57" fmla="*/ 140 h 384"/>
                <a:gd name="T58" fmla="*/ 182 w 218"/>
                <a:gd name="T59" fmla="*/ 144 h 384"/>
                <a:gd name="T60" fmla="*/ 142 w 218"/>
                <a:gd name="T61" fmla="*/ 182 h 384"/>
                <a:gd name="T62" fmla="*/ 132 w 218"/>
                <a:gd name="T63" fmla="*/ 218 h 384"/>
                <a:gd name="T64" fmla="*/ 148 w 218"/>
                <a:gd name="T65" fmla="*/ 236 h 384"/>
                <a:gd name="T66" fmla="*/ 150 w 218"/>
                <a:gd name="T67" fmla="*/ 354 h 384"/>
                <a:gd name="T68" fmla="*/ 152 w 218"/>
                <a:gd name="T69" fmla="*/ 344 h 384"/>
                <a:gd name="T70" fmla="*/ 76 w 218"/>
                <a:gd name="T71" fmla="*/ 340 h 384"/>
                <a:gd name="T72" fmla="*/ 68 w 218"/>
                <a:gd name="T73" fmla="*/ 344 h 384"/>
                <a:gd name="T74" fmla="*/ 70 w 218"/>
                <a:gd name="T75" fmla="*/ 354 h 384"/>
                <a:gd name="T76" fmla="*/ 128 w 218"/>
                <a:gd name="T77" fmla="*/ 384 h 384"/>
                <a:gd name="T78" fmla="*/ 136 w 218"/>
                <a:gd name="T79" fmla="*/ 380 h 384"/>
                <a:gd name="T80" fmla="*/ 134 w 218"/>
                <a:gd name="T81" fmla="*/ 370 h 384"/>
                <a:gd name="T82" fmla="*/ 92 w 218"/>
                <a:gd name="T83" fmla="*/ 368 h 384"/>
                <a:gd name="T84" fmla="*/ 82 w 218"/>
                <a:gd name="T85" fmla="*/ 376 h 384"/>
                <a:gd name="T86" fmla="*/ 88 w 218"/>
                <a:gd name="T87" fmla="*/ 384 h 384"/>
                <a:gd name="T88" fmla="*/ 48 w 218"/>
                <a:gd name="T89" fmla="*/ 248 h 384"/>
                <a:gd name="T90" fmla="*/ 40 w 218"/>
                <a:gd name="T91" fmla="*/ 254 h 384"/>
                <a:gd name="T92" fmla="*/ 40 w 218"/>
                <a:gd name="T93" fmla="*/ 310 h 384"/>
                <a:gd name="T94" fmla="*/ 60 w 218"/>
                <a:gd name="T95" fmla="*/ 328 h 384"/>
                <a:gd name="T96" fmla="*/ 160 w 218"/>
                <a:gd name="T97" fmla="*/ 328 h 384"/>
                <a:gd name="T98" fmla="*/ 180 w 218"/>
                <a:gd name="T99" fmla="*/ 310 h 384"/>
                <a:gd name="T100" fmla="*/ 178 w 218"/>
                <a:gd name="T101" fmla="*/ 254 h 384"/>
                <a:gd name="T102" fmla="*/ 172 w 218"/>
                <a:gd name="T103" fmla="*/ 24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8" h="384">
                  <a:moveTo>
                    <a:pt x="22" y="66"/>
                  </a:moveTo>
                  <a:lnTo>
                    <a:pt x="22" y="66"/>
                  </a:lnTo>
                  <a:lnTo>
                    <a:pt x="16" y="64"/>
                  </a:lnTo>
                  <a:lnTo>
                    <a:pt x="12" y="62"/>
                  </a:lnTo>
                  <a:lnTo>
                    <a:pt x="8" y="58"/>
                  </a:lnTo>
                  <a:lnTo>
                    <a:pt x="6" y="54"/>
                  </a:lnTo>
                  <a:lnTo>
                    <a:pt x="6" y="54"/>
                  </a:lnTo>
                  <a:lnTo>
                    <a:pt x="6" y="46"/>
                  </a:lnTo>
                  <a:lnTo>
                    <a:pt x="8" y="40"/>
                  </a:lnTo>
                  <a:lnTo>
                    <a:pt x="12" y="36"/>
                  </a:lnTo>
                  <a:lnTo>
                    <a:pt x="18" y="32"/>
                  </a:lnTo>
                  <a:lnTo>
                    <a:pt x="124" y="0"/>
                  </a:lnTo>
                  <a:lnTo>
                    <a:pt x="124" y="0"/>
                  </a:lnTo>
                  <a:lnTo>
                    <a:pt x="130" y="0"/>
                  </a:lnTo>
                  <a:lnTo>
                    <a:pt x="136" y="2"/>
                  </a:lnTo>
                  <a:lnTo>
                    <a:pt x="142" y="6"/>
                  </a:lnTo>
                  <a:lnTo>
                    <a:pt x="146" y="12"/>
                  </a:lnTo>
                  <a:lnTo>
                    <a:pt x="146" y="12"/>
                  </a:lnTo>
                  <a:lnTo>
                    <a:pt x="146" y="18"/>
                  </a:lnTo>
                  <a:lnTo>
                    <a:pt x="144" y="24"/>
                  </a:lnTo>
                  <a:lnTo>
                    <a:pt x="140" y="28"/>
                  </a:lnTo>
                  <a:lnTo>
                    <a:pt x="134" y="32"/>
                  </a:lnTo>
                  <a:lnTo>
                    <a:pt x="26" y="64"/>
                  </a:lnTo>
                  <a:lnTo>
                    <a:pt x="26" y="64"/>
                  </a:lnTo>
                  <a:lnTo>
                    <a:pt x="22" y="66"/>
                  </a:lnTo>
                  <a:close/>
                  <a:moveTo>
                    <a:pt x="18" y="118"/>
                  </a:moveTo>
                  <a:lnTo>
                    <a:pt x="18" y="118"/>
                  </a:lnTo>
                  <a:lnTo>
                    <a:pt x="22" y="118"/>
                  </a:lnTo>
                  <a:lnTo>
                    <a:pt x="208" y="64"/>
                  </a:lnTo>
                  <a:lnTo>
                    <a:pt x="208" y="64"/>
                  </a:lnTo>
                  <a:lnTo>
                    <a:pt x="212" y="60"/>
                  </a:lnTo>
                  <a:lnTo>
                    <a:pt x="218" y="54"/>
                  </a:lnTo>
                  <a:lnTo>
                    <a:pt x="218" y="48"/>
                  </a:lnTo>
                  <a:lnTo>
                    <a:pt x="218" y="42"/>
                  </a:lnTo>
                  <a:lnTo>
                    <a:pt x="218" y="42"/>
                  </a:lnTo>
                  <a:lnTo>
                    <a:pt x="216" y="36"/>
                  </a:lnTo>
                  <a:lnTo>
                    <a:pt x="210" y="32"/>
                  </a:lnTo>
                  <a:lnTo>
                    <a:pt x="204" y="30"/>
                  </a:lnTo>
                  <a:lnTo>
                    <a:pt x="198" y="30"/>
                  </a:lnTo>
                  <a:lnTo>
                    <a:pt x="12" y="86"/>
                  </a:lnTo>
                  <a:lnTo>
                    <a:pt x="12" y="86"/>
                  </a:lnTo>
                  <a:lnTo>
                    <a:pt x="8" y="90"/>
                  </a:lnTo>
                  <a:lnTo>
                    <a:pt x="2" y="94"/>
                  </a:lnTo>
                  <a:lnTo>
                    <a:pt x="2" y="100"/>
                  </a:lnTo>
                  <a:lnTo>
                    <a:pt x="2" y="106"/>
                  </a:lnTo>
                  <a:lnTo>
                    <a:pt x="2" y="106"/>
                  </a:lnTo>
                  <a:lnTo>
                    <a:pt x="4" y="112"/>
                  </a:lnTo>
                  <a:lnTo>
                    <a:pt x="8" y="116"/>
                  </a:lnTo>
                  <a:lnTo>
                    <a:pt x="12" y="118"/>
                  </a:lnTo>
                  <a:lnTo>
                    <a:pt x="18" y="118"/>
                  </a:lnTo>
                  <a:close/>
                  <a:moveTo>
                    <a:pt x="68" y="236"/>
                  </a:moveTo>
                  <a:lnTo>
                    <a:pt x="68" y="236"/>
                  </a:lnTo>
                  <a:lnTo>
                    <a:pt x="74" y="234"/>
                  </a:lnTo>
                  <a:lnTo>
                    <a:pt x="80" y="230"/>
                  </a:lnTo>
                  <a:lnTo>
                    <a:pt x="84" y="224"/>
                  </a:lnTo>
                  <a:lnTo>
                    <a:pt x="84" y="218"/>
                  </a:lnTo>
                  <a:lnTo>
                    <a:pt x="84" y="218"/>
                  </a:lnTo>
                  <a:lnTo>
                    <a:pt x="82" y="200"/>
                  </a:lnTo>
                  <a:lnTo>
                    <a:pt x="76" y="184"/>
                  </a:lnTo>
                  <a:lnTo>
                    <a:pt x="68" y="172"/>
                  </a:lnTo>
                  <a:lnTo>
                    <a:pt x="58" y="162"/>
                  </a:lnTo>
                  <a:lnTo>
                    <a:pt x="208" y="116"/>
                  </a:lnTo>
                  <a:lnTo>
                    <a:pt x="208" y="116"/>
                  </a:lnTo>
                  <a:lnTo>
                    <a:pt x="212" y="114"/>
                  </a:lnTo>
                  <a:lnTo>
                    <a:pt x="218" y="108"/>
                  </a:lnTo>
                  <a:lnTo>
                    <a:pt x="218" y="102"/>
                  </a:lnTo>
                  <a:lnTo>
                    <a:pt x="218" y="96"/>
                  </a:lnTo>
                  <a:lnTo>
                    <a:pt x="218" y="96"/>
                  </a:lnTo>
                  <a:lnTo>
                    <a:pt x="216" y="90"/>
                  </a:lnTo>
                  <a:lnTo>
                    <a:pt x="210" y="86"/>
                  </a:lnTo>
                  <a:lnTo>
                    <a:pt x="204" y="84"/>
                  </a:lnTo>
                  <a:lnTo>
                    <a:pt x="198" y="84"/>
                  </a:lnTo>
                  <a:lnTo>
                    <a:pt x="12" y="140"/>
                  </a:lnTo>
                  <a:lnTo>
                    <a:pt x="12" y="140"/>
                  </a:lnTo>
                  <a:lnTo>
                    <a:pt x="8" y="142"/>
                  </a:lnTo>
                  <a:lnTo>
                    <a:pt x="4" y="146"/>
                  </a:lnTo>
                  <a:lnTo>
                    <a:pt x="2" y="150"/>
                  </a:lnTo>
                  <a:lnTo>
                    <a:pt x="0" y="156"/>
                  </a:lnTo>
                  <a:lnTo>
                    <a:pt x="0" y="156"/>
                  </a:lnTo>
                  <a:lnTo>
                    <a:pt x="2" y="160"/>
                  </a:lnTo>
                  <a:lnTo>
                    <a:pt x="4" y="166"/>
                  </a:lnTo>
                  <a:lnTo>
                    <a:pt x="8" y="168"/>
                  </a:lnTo>
                  <a:lnTo>
                    <a:pt x="12" y="172"/>
                  </a:lnTo>
                  <a:lnTo>
                    <a:pt x="12" y="172"/>
                  </a:lnTo>
                  <a:lnTo>
                    <a:pt x="18" y="174"/>
                  </a:lnTo>
                  <a:lnTo>
                    <a:pt x="32" y="182"/>
                  </a:lnTo>
                  <a:lnTo>
                    <a:pt x="38" y="190"/>
                  </a:lnTo>
                  <a:lnTo>
                    <a:pt x="44" y="198"/>
                  </a:lnTo>
                  <a:lnTo>
                    <a:pt x="50" y="206"/>
                  </a:lnTo>
                  <a:lnTo>
                    <a:pt x="50" y="218"/>
                  </a:lnTo>
                  <a:lnTo>
                    <a:pt x="50" y="218"/>
                  </a:lnTo>
                  <a:lnTo>
                    <a:pt x="52" y="224"/>
                  </a:lnTo>
                  <a:lnTo>
                    <a:pt x="56" y="230"/>
                  </a:lnTo>
                  <a:lnTo>
                    <a:pt x="62" y="234"/>
                  </a:lnTo>
                  <a:lnTo>
                    <a:pt x="68" y="236"/>
                  </a:lnTo>
                  <a:close/>
                  <a:moveTo>
                    <a:pt x="148" y="236"/>
                  </a:moveTo>
                  <a:lnTo>
                    <a:pt x="148" y="236"/>
                  </a:lnTo>
                  <a:lnTo>
                    <a:pt x="156" y="234"/>
                  </a:lnTo>
                  <a:lnTo>
                    <a:pt x="160" y="230"/>
                  </a:lnTo>
                  <a:lnTo>
                    <a:pt x="164" y="224"/>
                  </a:lnTo>
                  <a:lnTo>
                    <a:pt x="166" y="218"/>
                  </a:lnTo>
                  <a:lnTo>
                    <a:pt x="166" y="218"/>
                  </a:lnTo>
                  <a:lnTo>
                    <a:pt x="168" y="206"/>
                  </a:lnTo>
                  <a:lnTo>
                    <a:pt x="172" y="198"/>
                  </a:lnTo>
                  <a:lnTo>
                    <a:pt x="178" y="190"/>
                  </a:lnTo>
                  <a:lnTo>
                    <a:pt x="184" y="182"/>
                  </a:lnTo>
                  <a:lnTo>
                    <a:pt x="198" y="174"/>
                  </a:lnTo>
                  <a:lnTo>
                    <a:pt x="204" y="172"/>
                  </a:lnTo>
                  <a:lnTo>
                    <a:pt x="204" y="172"/>
                  </a:lnTo>
                  <a:lnTo>
                    <a:pt x="210" y="168"/>
                  </a:lnTo>
                  <a:lnTo>
                    <a:pt x="214" y="162"/>
                  </a:lnTo>
                  <a:lnTo>
                    <a:pt x="216" y="156"/>
                  </a:lnTo>
                  <a:lnTo>
                    <a:pt x="214" y="150"/>
                  </a:lnTo>
                  <a:lnTo>
                    <a:pt x="214" y="150"/>
                  </a:lnTo>
                  <a:lnTo>
                    <a:pt x="212" y="144"/>
                  </a:lnTo>
                  <a:lnTo>
                    <a:pt x="206" y="140"/>
                  </a:lnTo>
                  <a:lnTo>
                    <a:pt x="200" y="138"/>
                  </a:lnTo>
                  <a:lnTo>
                    <a:pt x="194" y="140"/>
                  </a:lnTo>
                  <a:lnTo>
                    <a:pt x="194" y="140"/>
                  </a:lnTo>
                  <a:lnTo>
                    <a:pt x="182" y="144"/>
                  </a:lnTo>
                  <a:lnTo>
                    <a:pt x="172" y="150"/>
                  </a:lnTo>
                  <a:lnTo>
                    <a:pt x="162" y="158"/>
                  </a:lnTo>
                  <a:lnTo>
                    <a:pt x="150" y="168"/>
                  </a:lnTo>
                  <a:lnTo>
                    <a:pt x="142" y="182"/>
                  </a:lnTo>
                  <a:lnTo>
                    <a:pt x="134" y="198"/>
                  </a:lnTo>
                  <a:lnTo>
                    <a:pt x="132" y="208"/>
                  </a:lnTo>
                  <a:lnTo>
                    <a:pt x="132" y="218"/>
                  </a:lnTo>
                  <a:lnTo>
                    <a:pt x="132" y="218"/>
                  </a:lnTo>
                  <a:lnTo>
                    <a:pt x="134" y="224"/>
                  </a:lnTo>
                  <a:lnTo>
                    <a:pt x="136" y="230"/>
                  </a:lnTo>
                  <a:lnTo>
                    <a:pt x="142" y="234"/>
                  </a:lnTo>
                  <a:lnTo>
                    <a:pt x="148" y="236"/>
                  </a:lnTo>
                  <a:close/>
                  <a:moveTo>
                    <a:pt x="144" y="356"/>
                  </a:moveTo>
                  <a:lnTo>
                    <a:pt x="144" y="356"/>
                  </a:lnTo>
                  <a:lnTo>
                    <a:pt x="148" y="356"/>
                  </a:lnTo>
                  <a:lnTo>
                    <a:pt x="150" y="354"/>
                  </a:lnTo>
                  <a:lnTo>
                    <a:pt x="152" y="350"/>
                  </a:lnTo>
                  <a:lnTo>
                    <a:pt x="152" y="348"/>
                  </a:lnTo>
                  <a:lnTo>
                    <a:pt x="152" y="348"/>
                  </a:lnTo>
                  <a:lnTo>
                    <a:pt x="152" y="344"/>
                  </a:lnTo>
                  <a:lnTo>
                    <a:pt x="150" y="342"/>
                  </a:lnTo>
                  <a:lnTo>
                    <a:pt x="148" y="340"/>
                  </a:lnTo>
                  <a:lnTo>
                    <a:pt x="144" y="340"/>
                  </a:lnTo>
                  <a:lnTo>
                    <a:pt x="76" y="340"/>
                  </a:lnTo>
                  <a:lnTo>
                    <a:pt x="76" y="340"/>
                  </a:lnTo>
                  <a:lnTo>
                    <a:pt x="72" y="340"/>
                  </a:lnTo>
                  <a:lnTo>
                    <a:pt x="70" y="342"/>
                  </a:lnTo>
                  <a:lnTo>
                    <a:pt x="68" y="344"/>
                  </a:lnTo>
                  <a:lnTo>
                    <a:pt x="68" y="348"/>
                  </a:lnTo>
                  <a:lnTo>
                    <a:pt x="68" y="348"/>
                  </a:lnTo>
                  <a:lnTo>
                    <a:pt x="68" y="350"/>
                  </a:lnTo>
                  <a:lnTo>
                    <a:pt x="70" y="354"/>
                  </a:lnTo>
                  <a:lnTo>
                    <a:pt x="72" y="356"/>
                  </a:lnTo>
                  <a:lnTo>
                    <a:pt x="76" y="356"/>
                  </a:lnTo>
                  <a:lnTo>
                    <a:pt x="144" y="356"/>
                  </a:lnTo>
                  <a:close/>
                  <a:moveTo>
                    <a:pt x="128" y="384"/>
                  </a:moveTo>
                  <a:lnTo>
                    <a:pt x="128" y="384"/>
                  </a:lnTo>
                  <a:lnTo>
                    <a:pt x="132" y="384"/>
                  </a:lnTo>
                  <a:lnTo>
                    <a:pt x="134" y="382"/>
                  </a:lnTo>
                  <a:lnTo>
                    <a:pt x="136" y="380"/>
                  </a:lnTo>
                  <a:lnTo>
                    <a:pt x="138" y="376"/>
                  </a:lnTo>
                  <a:lnTo>
                    <a:pt x="138" y="376"/>
                  </a:lnTo>
                  <a:lnTo>
                    <a:pt x="136" y="374"/>
                  </a:lnTo>
                  <a:lnTo>
                    <a:pt x="134" y="370"/>
                  </a:lnTo>
                  <a:lnTo>
                    <a:pt x="132" y="368"/>
                  </a:lnTo>
                  <a:lnTo>
                    <a:pt x="128" y="368"/>
                  </a:lnTo>
                  <a:lnTo>
                    <a:pt x="92" y="368"/>
                  </a:lnTo>
                  <a:lnTo>
                    <a:pt x="92" y="368"/>
                  </a:lnTo>
                  <a:lnTo>
                    <a:pt x="88" y="368"/>
                  </a:lnTo>
                  <a:lnTo>
                    <a:pt x="86" y="370"/>
                  </a:lnTo>
                  <a:lnTo>
                    <a:pt x="84" y="374"/>
                  </a:lnTo>
                  <a:lnTo>
                    <a:pt x="82" y="376"/>
                  </a:lnTo>
                  <a:lnTo>
                    <a:pt x="82" y="376"/>
                  </a:lnTo>
                  <a:lnTo>
                    <a:pt x="84" y="380"/>
                  </a:lnTo>
                  <a:lnTo>
                    <a:pt x="86" y="382"/>
                  </a:lnTo>
                  <a:lnTo>
                    <a:pt x="88" y="384"/>
                  </a:lnTo>
                  <a:lnTo>
                    <a:pt x="92" y="384"/>
                  </a:lnTo>
                  <a:lnTo>
                    <a:pt x="128" y="384"/>
                  </a:lnTo>
                  <a:close/>
                  <a:moveTo>
                    <a:pt x="172" y="248"/>
                  </a:moveTo>
                  <a:lnTo>
                    <a:pt x="48" y="248"/>
                  </a:lnTo>
                  <a:lnTo>
                    <a:pt x="48" y="248"/>
                  </a:lnTo>
                  <a:lnTo>
                    <a:pt x="46" y="250"/>
                  </a:lnTo>
                  <a:lnTo>
                    <a:pt x="42" y="250"/>
                  </a:lnTo>
                  <a:lnTo>
                    <a:pt x="40" y="254"/>
                  </a:lnTo>
                  <a:lnTo>
                    <a:pt x="40" y="256"/>
                  </a:lnTo>
                  <a:lnTo>
                    <a:pt x="40" y="306"/>
                  </a:lnTo>
                  <a:lnTo>
                    <a:pt x="40" y="306"/>
                  </a:lnTo>
                  <a:lnTo>
                    <a:pt x="40" y="310"/>
                  </a:lnTo>
                  <a:lnTo>
                    <a:pt x="42" y="312"/>
                  </a:lnTo>
                  <a:lnTo>
                    <a:pt x="56" y="326"/>
                  </a:lnTo>
                  <a:lnTo>
                    <a:pt x="56" y="326"/>
                  </a:lnTo>
                  <a:lnTo>
                    <a:pt x="60" y="328"/>
                  </a:lnTo>
                  <a:lnTo>
                    <a:pt x="62" y="328"/>
                  </a:lnTo>
                  <a:lnTo>
                    <a:pt x="158" y="328"/>
                  </a:lnTo>
                  <a:lnTo>
                    <a:pt x="158" y="328"/>
                  </a:lnTo>
                  <a:lnTo>
                    <a:pt x="160" y="328"/>
                  </a:lnTo>
                  <a:lnTo>
                    <a:pt x="164" y="326"/>
                  </a:lnTo>
                  <a:lnTo>
                    <a:pt x="178" y="312"/>
                  </a:lnTo>
                  <a:lnTo>
                    <a:pt x="178" y="312"/>
                  </a:lnTo>
                  <a:lnTo>
                    <a:pt x="180" y="310"/>
                  </a:lnTo>
                  <a:lnTo>
                    <a:pt x="180" y="306"/>
                  </a:lnTo>
                  <a:lnTo>
                    <a:pt x="180" y="256"/>
                  </a:lnTo>
                  <a:lnTo>
                    <a:pt x="180" y="256"/>
                  </a:lnTo>
                  <a:lnTo>
                    <a:pt x="178" y="254"/>
                  </a:lnTo>
                  <a:lnTo>
                    <a:pt x="178" y="250"/>
                  </a:lnTo>
                  <a:lnTo>
                    <a:pt x="174" y="250"/>
                  </a:lnTo>
                  <a:lnTo>
                    <a:pt x="172" y="248"/>
                  </a:lnTo>
                  <a:lnTo>
                    <a:pt x="172" y="24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52" name="Group 51">
            <a:extLst>
              <a:ext uri="{FF2B5EF4-FFF2-40B4-BE49-F238E27FC236}">
                <a16:creationId xmlns:a16="http://schemas.microsoft.com/office/drawing/2014/main" id="{C9F5F943-63B8-4CCA-B4BB-F95B5B7B6BBA}"/>
              </a:ext>
            </a:extLst>
          </p:cNvPr>
          <p:cNvGrpSpPr/>
          <p:nvPr/>
        </p:nvGrpSpPr>
        <p:grpSpPr>
          <a:xfrm>
            <a:off x="3412707" y="2811612"/>
            <a:ext cx="612000" cy="612000"/>
            <a:chOff x="2342233" y="3474401"/>
            <a:chExt cx="612000" cy="612000"/>
          </a:xfrm>
        </p:grpSpPr>
        <p:sp>
          <p:nvSpPr>
            <p:cNvPr id="53" name="Oval 52">
              <a:extLst>
                <a:ext uri="{FF2B5EF4-FFF2-40B4-BE49-F238E27FC236}">
                  <a16:creationId xmlns:a16="http://schemas.microsoft.com/office/drawing/2014/main" id="{DF4D2639-8877-46C7-A364-3FE2F4213358}"/>
                </a:ext>
              </a:extLst>
            </p:cNvPr>
            <p:cNvSpPr/>
            <p:nvPr/>
          </p:nvSpPr>
          <p:spPr bwMode="ltGray">
            <a:xfrm>
              <a:off x="2342233"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54" name="Freeform 4897">
              <a:extLst>
                <a:ext uri="{FF2B5EF4-FFF2-40B4-BE49-F238E27FC236}">
                  <a16:creationId xmlns:a16="http://schemas.microsoft.com/office/drawing/2014/main" id="{F4CFBBEF-5487-4E3B-8FEE-6DACB186E594}"/>
                </a:ext>
              </a:extLst>
            </p:cNvPr>
            <p:cNvSpPr>
              <a:spLocks noEditPoints="1"/>
            </p:cNvSpPr>
            <p:nvPr/>
          </p:nvSpPr>
          <p:spPr bwMode="auto">
            <a:xfrm>
              <a:off x="2502740" y="3554044"/>
              <a:ext cx="290986" cy="470427"/>
            </a:xfrm>
            <a:custGeom>
              <a:avLst/>
              <a:gdLst>
                <a:gd name="T0" fmla="*/ 94 w 240"/>
                <a:gd name="T1" fmla="*/ 388 h 388"/>
                <a:gd name="T2" fmla="*/ 86 w 240"/>
                <a:gd name="T3" fmla="*/ 378 h 388"/>
                <a:gd name="T4" fmla="*/ 96 w 240"/>
                <a:gd name="T5" fmla="*/ 368 h 388"/>
                <a:gd name="T6" fmla="*/ 150 w 240"/>
                <a:gd name="T7" fmla="*/ 372 h 388"/>
                <a:gd name="T8" fmla="*/ 152 w 240"/>
                <a:gd name="T9" fmla="*/ 382 h 388"/>
                <a:gd name="T10" fmla="*/ 144 w 240"/>
                <a:gd name="T11" fmla="*/ 388 h 388"/>
                <a:gd name="T12" fmla="*/ 164 w 240"/>
                <a:gd name="T13" fmla="*/ 340 h 388"/>
                <a:gd name="T14" fmla="*/ 84 w 240"/>
                <a:gd name="T15" fmla="*/ 336 h 388"/>
                <a:gd name="T16" fmla="*/ 74 w 240"/>
                <a:gd name="T17" fmla="*/ 346 h 388"/>
                <a:gd name="T18" fmla="*/ 80 w 240"/>
                <a:gd name="T19" fmla="*/ 356 h 388"/>
                <a:gd name="T20" fmla="*/ 160 w 240"/>
                <a:gd name="T21" fmla="*/ 356 h 388"/>
                <a:gd name="T22" fmla="*/ 166 w 240"/>
                <a:gd name="T23" fmla="*/ 346 h 388"/>
                <a:gd name="T24" fmla="*/ 178 w 240"/>
                <a:gd name="T25" fmla="*/ 268 h 388"/>
                <a:gd name="T26" fmla="*/ 198 w 240"/>
                <a:gd name="T27" fmla="*/ 218 h 388"/>
                <a:gd name="T28" fmla="*/ 230 w 240"/>
                <a:gd name="T29" fmla="*/ 168 h 388"/>
                <a:gd name="T30" fmla="*/ 240 w 240"/>
                <a:gd name="T31" fmla="*/ 122 h 388"/>
                <a:gd name="T32" fmla="*/ 224 w 240"/>
                <a:gd name="T33" fmla="*/ 58 h 388"/>
                <a:gd name="T34" fmla="*/ 184 w 240"/>
                <a:gd name="T35" fmla="*/ 16 h 388"/>
                <a:gd name="T36" fmla="*/ 134 w 240"/>
                <a:gd name="T37" fmla="*/ 0 h 388"/>
                <a:gd name="T38" fmla="*/ 92 w 240"/>
                <a:gd name="T39" fmla="*/ 2 h 388"/>
                <a:gd name="T40" fmla="*/ 46 w 240"/>
                <a:gd name="T41" fmla="*/ 22 h 388"/>
                <a:gd name="T42" fmla="*/ 8 w 240"/>
                <a:gd name="T43" fmla="*/ 78 h 388"/>
                <a:gd name="T44" fmla="*/ 0 w 240"/>
                <a:gd name="T45" fmla="*/ 136 h 388"/>
                <a:gd name="T46" fmla="*/ 20 w 240"/>
                <a:gd name="T47" fmla="*/ 184 h 388"/>
                <a:gd name="T48" fmla="*/ 48 w 240"/>
                <a:gd name="T49" fmla="*/ 228 h 388"/>
                <a:gd name="T50" fmla="*/ 64 w 240"/>
                <a:gd name="T51" fmla="*/ 286 h 388"/>
                <a:gd name="T52" fmla="*/ 70 w 240"/>
                <a:gd name="T53" fmla="*/ 318 h 388"/>
                <a:gd name="T54" fmla="*/ 160 w 240"/>
                <a:gd name="T55" fmla="*/ 322 h 388"/>
                <a:gd name="T56" fmla="*/ 176 w 240"/>
                <a:gd name="T57" fmla="*/ 306 h 388"/>
                <a:gd name="T58" fmla="*/ 46 w 240"/>
                <a:gd name="T59" fmla="*/ 168 h 388"/>
                <a:gd name="T60" fmla="*/ 32 w 240"/>
                <a:gd name="T61" fmla="*/ 122 h 388"/>
                <a:gd name="T62" fmla="*/ 60 w 240"/>
                <a:gd name="T63" fmla="*/ 52 h 388"/>
                <a:gd name="T64" fmla="*/ 120 w 240"/>
                <a:gd name="T65" fmla="*/ 32 h 388"/>
                <a:gd name="T66" fmla="*/ 166 w 240"/>
                <a:gd name="T67" fmla="*/ 42 h 388"/>
                <a:gd name="T68" fmla="*/ 206 w 240"/>
                <a:gd name="T69" fmla="*/ 98 h 388"/>
                <a:gd name="T70" fmla="*/ 202 w 240"/>
                <a:gd name="T71" fmla="*/ 154 h 388"/>
                <a:gd name="T72" fmla="*/ 172 w 240"/>
                <a:gd name="T73" fmla="*/ 198 h 388"/>
                <a:gd name="T74" fmla="*/ 146 w 240"/>
                <a:gd name="T75" fmla="*/ 270 h 388"/>
                <a:gd name="T76" fmla="*/ 94 w 240"/>
                <a:gd name="T77" fmla="*/ 270 h 388"/>
                <a:gd name="T78" fmla="*/ 68 w 240"/>
                <a:gd name="T79" fmla="*/ 198 h 388"/>
                <a:gd name="T80" fmla="*/ 74 w 240"/>
                <a:gd name="T81" fmla="*/ 118 h 388"/>
                <a:gd name="T82" fmla="*/ 88 w 240"/>
                <a:gd name="T83" fmla="*/ 84 h 388"/>
                <a:gd name="T84" fmla="*/ 116 w 240"/>
                <a:gd name="T85" fmla="*/ 74 h 388"/>
                <a:gd name="T86" fmla="*/ 126 w 240"/>
                <a:gd name="T87" fmla="*/ 68 h 388"/>
                <a:gd name="T88" fmla="*/ 124 w 240"/>
                <a:gd name="T89" fmla="*/ 58 h 388"/>
                <a:gd name="T90" fmla="*/ 106 w 240"/>
                <a:gd name="T91" fmla="*/ 56 h 388"/>
                <a:gd name="T92" fmla="*/ 66 w 240"/>
                <a:gd name="T93" fmla="*/ 80 h 388"/>
                <a:gd name="T94" fmla="*/ 54 w 240"/>
                <a:gd name="T95" fmla="*/ 118 h 388"/>
                <a:gd name="T96" fmla="*/ 64 w 240"/>
                <a:gd name="T97" fmla="*/ 128 h 388"/>
                <a:gd name="T98" fmla="*/ 74 w 240"/>
                <a:gd name="T99" fmla="*/ 122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40" h="388">
                  <a:moveTo>
                    <a:pt x="144" y="388"/>
                  </a:moveTo>
                  <a:lnTo>
                    <a:pt x="96" y="388"/>
                  </a:lnTo>
                  <a:lnTo>
                    <a:pt x="96" y="388"/>
                  </a:lnTo>
                  <a:lnTo>
                    <a:pt x="94" y="388"/>
                  </a:lnTo>
                  <a:lnTo>
                    <a:pt x="90" y="386"/>
                  </a:lnTo>
                  <a:lnTo>
                    <a:pt x="88" y="382"/>
                  </a:lnTo>
                  <a:lnTo>
                    <a:pt x="86" y="378"/>
                  </a:lnTo>
                  <a:lnTo>
                    <a:pt x="86" y="378"/>
                  </a:lnTo>
                  <a:lnTo>
                    <a:pt x="88" y="374"/>
                  </a:lnTo>
                  <a:lnTo>
                    <a:pt x="90" y="372"/>
                  </a:lnTo>
                  <a:lnTo>
                    <a:pt x="94" y="370"/>
                  </a:lnTo>
                  <a:lnTo>
                    <a:pt x="96" y="368"/>
                  </a:lnTo>
                  <a:lnTo>
                    <a:pt x="144" y="368"/>
                  </a:lnTo>
                  <a:lnTo>
                    <a:pt x="144" y="368"/>
                  </a:lnTo>
                  <a:lnTo>
                    <a:pt x="146" y="370"/>
                  </a:lnTo>
                  <a:lnTo>
                    <a:pt x="150" y="372"/>
                  </a:lnTo>
                  <a:lnTo>
                    <a:pt x="152" y="374"/>
                  </a:lnTo>
                  <a:lnTo>
                    <a:pt x="154" y="378"/>
                  </a:lnTo>
                  <a:lnTo>
                    <a:pt x="154" y="378"/>
                  </a:lnTo>
                  <a:lnTo>
                    <a:pt x="152" y="382"/>
                  </a:lnTo>
                  <a:lnTo>
                    <a:pt x="150" y="386"/>
                  </a:lnTo>
                  <a:lnTo>
                    <a:pt x="146" y="388"/>
                  </a:lnTo>
                  <a:lnTo>
                    <a:pt x="144" y="388"/>
                  </a:lnTo>
                  <a:lnTo>
                    <a:pt x="144" y="388"/>
                  </a:lnTo>
                  <a:close/>
                  <a:moveTo>
                    <a:pt x="166" y="346"/>
                  </a:moveTo>
                  <a:lnTo>
                    <a:pt x="166" y="346"/>
                  </a:lnTo>
                  <a:lnTo>
                    <a:pt x="166" y="344"/>
                  </a:lnTo>
                  <a:lnTo>
                    <a:pt x="164" y="340"/>
                  </a:lnTo>
                  <a:lnTo>
                    <a:pt x="160" y="338"/>
                  </a:lnTo>
                  <a:lnTo>
                    <a:pt x="156" y="336"/>
                  </a:lnTo>
                  <a:lnTo>
                    <a:pt x="84" y="336"/>
                  </a:lnTo>
                  <a:lnTo>
                    <a:pt x="84" y="336"/>
                  </a:lnTo>
                  <a:lnTo>
                    <a:pt x="80" y="338"/>
                  </a:lnTo>
                  <a:lnTo>
                    <a:pt x="76" y="340"/>
                  </a:lnTo>
                  <a:lnTo>
                    <a:pt x="74" y="344"/>
                  </a:lnTo>
                  <a:lnTo>
                    <a:pt x="74" y="346"/>
                  </a:lnTo>
                  <a:lnTo>
                    <a:pt x="74" y="346"/>
                  </a:lnTo>
                  <a:lnTo>
                    <a:pt x="74" y="350"/>
                  </a:lnTo>
                  <a:lnTo>
                    <a:pt x="76" y="354"/>
                  </a:lnTo>
                  <a:lnTo>
                    <a:pt x="80" y="356"/>
                  </a:lnTo>
                  <a:lnTo>
                    <a:pt x="84" y="356"/>
                  </a:lnTo>
                  <a:lnTo>
                    <a:pt x="156" y="356"/>
                  </a:lnTo>
                  <a:lnTo>
                    <a:pt x="156" y="356"/>
                  </a:lnTo>
                  <a:lnTo>
                    <a:pt x="160" y="356"/>
                  </a:lnTo>
                  <a:lnTo>
                    <a:pt x="164" y="354"/>
                  </a:lnTo>
                  <a:lnTo>
                    <a:pt x="166" y="350"/>
                  </a:lnTo>
                  <a:lnTo>
                    <a:pt x="166" y="346"/>
                  </a:lnTo>
                  <a:lnTo>
                    <a:pt x="166" y="346"/>
                  </a:lnTo>
                  <a:close/>
                  <a:moveTo>
                    <a:pt x="176" y="306"/>
                  </a:moveTo>
                  <a:lnTo>
                    <a:pt x="176" y="306"/>
                  </a:lnTo>
                  <a:lnTo>
                    <a:pt x="176" y="286"/>
                  </a:lnTo>
                  <a:lnTo>
                    <a:pt x="178" y="268"/>
                  </a:lnTo>
                  <a:lnTo>
                    <a:pt x="182" y="252"/>
                  </a:lnTo>
                  <a:lnTo>
                    <a:pt x="186" y="240"/>
                  </a:lnTo>
                  <a:lnTo>
                    <a:pt x="192" y="228"/>
                  </a:lnTo>
                  <a:lnTo>
                    <a:pt x="198" y="218"/>
                  </a:lnTo>
                  <a:lnTo>
                    <a:pt x="210" y="200"/>
                  </a:lnTo>
                  <a:lnTo>
                    <a:pt x="210" y="200"/>
                  </a:lnTo>
                  <a:lnTo>
                    <a:pt x="220" y="184"/>
                  </a:lnTo>
                  <a:lnTo>
                    <a:pt x="230" y="168"/>
                  </a:lnTo>
                  <a:lnTo>
                    <a:pt x="234" y="158"/>
                  </a:lnTo>
                  <a:lnTo>
                    <a:pt x="238" y="148"/>
                  </a:lnTo>
                  <a:lnTo>
                    <a:pt x="240" y="136"/>
                  </a:lnTo>
                  <a:lnTo>
                    <a:pt x="240" y="122"/>
                  </a:lnTo>
                  <a:lnTo>
                    <a:pt x="240" y="122"/>
                  </a:lnTo>
                  <a:lnTo>
                    <a:pt x="238" y="100"/>
                  </a:lnTo>
                  <a:lnTo>
                    <a:pt x="232" y="78"/>
                  </a:lnTo>
                  <a:lnTo>
                    <a:pt x="224" y="58"/>
                  </a:lnTo>
                  <a:lnTo>
                    <a:pt x="210" y="38"/>
                  </a:lnTo>
                  <a:lnTo>
                    <a:pt x="202" y="30"/>
                  </a:lnTo>
                  <a:lnTo>
                    <a:pt x="194" y="22"/>
                  </a:lnTo>
                  <a:lnTo>
                    <a:pt x="184" y="16"/>
                  </a:lnTo>
                  <a:lnTo>
                    <a:pt x="174" y="10"/>
                  </a:lnTo>
                  <a:lnTo>
                    <a:pt x="162" y="6"/>
                  </a:lnTo>
                  <a:lnTo>
                    <a:pt x="148" y="2"/>
                  </a:lnTo>
                  <a:lnTo>
                    <a:pt x="134" y="0"/>
                  </a:lnTo>
                  <a:lnTo>
                    <a:pt x="120" y="0"/>
                  </a:lnTo>
                  <a:lnTo>
                    <a:pt x="120" y="0"/>
                  </a:lnTo>
                  <a:lnTo>
                    <a:pt x="106" y="0"/>
                  </a:lnTo>
                  <a:lnTo>
                    <a:pt x="92" y="2"/>
                  </a:lnTo>
                  <a:lnTo>
                    <a:pt x="78" y="6"/>
                  </a:lnTo>
                  <a:lnTo>
                    <a:pt x="66" y="10"/>
                  </a:lnTo>
                  <a:lnTo>
                    <a:pt x="56" y="16"/>
                  </a:lnTo>
                  <a:lnTo>
                    <a:pt x="46" y="22"/>
                  </a:lnTo>
                  <a:lnTo>
                    <a:pt x="38" y="30"/>
                  </a:lnTo>
                  <a:lnTo>
                    <a:pt x="30" y="38"/>
                  </a:lnTo>
                  <a:lnTo>
                    <a:pt x="16" y="58"/>
                  </a:lnTo>
                  <a:lnTo>
                    <a:pt x="8" y="78"/>
                  </a:lnTo>
                  <a:lnTo>
                    <a:pt x="2" y="100"/>
                  </a:lnTo>
                  <a:lnTo>
                    <a:pt x="0" y="122"/>
                  </a:lnTo>
                  <a:lnTo>
                    <a:pt x="0" y="122"/>
                  </a:lnTo>
                  <a:lnTo>
                    <a:pt x="0" y="136"/>
                  </a:lnTo>
                  <a:lnTo>
                    <a:pt x="2" y="148"/>
                  </a:lnTo>
                  <a:lnTo>
                    <a:pt x="6" y="158"/>
                  </a:lnTo>
                  <a:lnTo>
                    <a:pt x="10" y="168"/>
                  </a:lnTo>
                  <a:lnTo>
                    <a:pt x="20" y="184"/>
                  </a:lnTo>
                  <a:lnTo>
                    <a:pt x="30" y="200"/>
                  </a:lnTo>
                  <a:lnTo>
                    <a:pt x="30" y="200"/>
                  </a:lnTo>
                  <a:lnTo>
                    <a:pt x="42" y="218"/>
                  </a:lnTo>
                  <a:lnTo>
                    <a:pt x="48" y="228"/>
                  </a:lnTo>
                  <a:lnTo>
                    <a:pt x="54" y="240"/>
                  </a:lnTo>
                  <a:lnTo>
                    <a:pt x="58" y="252"/>
                  </a:lnTo>
                  <a:lnTo>
                    <a:pt x="62" y="268"/>
                  </a:lnTo>
                  <a:lnTo>
                    <a:pt x="64" y="286"/>
                  </a:lnTo>
                  <a:lnTo>
                    <a:pt x="64" y="306"/>
                  </a:lnTo>
                  <a:lnTo>
                    <a:pt x="64" y="306"/>
                  </a:lnTo>
                  <a:lnTo>
                    <a:pt x="66" y="312"/>
                  </a:lnTo>
                  <a:lnTo>
                    <a:pt x="70" y="318"/>
                  </a:lnTo>
                  <a:lnTo>
                    <a:pt x="74" y="322"/>
                  </a:lnTo>
                  <a:lnTo>
                    <a:pt x="80" y="322"/>
                  </a:lnTo>
                  <a:lnTo>
                    <a:pt x="160" y="322"/>
                  </a:lnTo>
                  <a:lnTo>
                    <a:pt x="160" y="322"/>
                  </a:lnTo>
                  <a:lnTo>
                    <a:pt x="166" y="322"/>
                  </a:lnTo>
                  <a:lnTo>
                    <a:pt x="170" y="318"/>
                  </a:lnTo>
                  <a:lnTo>
                    <a:pt x="174" y="312"/>
                  </a:lnTo>
                  <a:lnTo>
                    <a:pt x="176" y="306"/>
                  </a:lnTo>
                  <a:lnTo>
                    <a:pt x="176" y="306"/>
                  </a:lnTo>
                  <a:close/>
                  <a:moveTo>
                    <a:pt x="56" y="180"/>
                  </a:moveTo>
                  <a:lnTo>
                    <a:pt x="56" y="180"/>
                  </a:lnTo>
                  <a:lnTo>
                    <a:pt x="46" y="168"/>
                  </a:lnTo>
                  <a:lnTo>
                    <a:pt x="38" y="154"/>
                  </a:lnTo>
                  <a:lnTo>
                    <a:pt x="34" y="140"/>
                  </a:lnTo>
                  <a:lnTo>
                    <a:pt x="32" y="122"/>
                  </a:lnTo>
                  <a:lnTo>
                    <a:pt x="32" y="122"/>
                  </a:lnTo>
                  <a:lnTo>
                    <a:pt x="34" y="98"/>
                  </a:lnTo>
                  <a:lnTo>
                    <a:pt x="40" y="80"/>
                  </a:lnTo>
                  <a:lnTo>
                    <a:pt x="50" y="64"/>
                  </a:lnTo>
                  <a:lnTo>
                    <a:pt x="60" y="52"/>
                  </a:lnTo>
                  <a:lnTo>
                    <a:pt x="74" y="42"/>
                  </a:lnTo>
                  <a:lnTo>
                    <a:pt x="90" y="36"/>
                  </a:lnTo>
                  <a:lnTo>
                    <a:pt x="104" y="32"/>
                  </a:lnTo>
                  <a:lnTo>
                    <a:pt x="120" y="32"/>
                  </a:lnTo>
                  <a:lnTo>
                    <a:pt x="120" y="32"/>
                  </a:lnTo>
                  <a:lnTo>
                    <a:pt x="136" y="32"/>
                  </a:lnTo>
                  <a:lnTo>
                    <a:pt x="150" y="36"/>
                  </a:lnTo>
                  <a:lnTo>
                    <a:pt x="166" y="42"/>
                  </a:lnTo>
                  <a:lnTo>
                    <a:pt x="180" y="52"/>
                  </a:lnTo>
                  <a:lnTo>
                    <a:pt x="190" y="64"/>
                  </a:lnTo>
                  <a:lnTo>
                    <a:pt x="200" y="80"/>
                  </a:lnTo>
                  <a:lnTo>
                    <a:pt x="206" y="98"/>
                  </a:lnTo>
                  <a:lnTo>
                    <a:pt x="208" y="122"/>
                  </a:lnTo>
                  <a:lnTo>
                    <a:pt x="208" y="122"/>
                  </a:lnTo>
                  <a:lnTo>
                    <a:pt x="206" y="140"/>
                  </a:lnTo>
                  <a:lnTo>
                    <a:pt x="202" y="154"/>
                  </a:lnTo>
                  <a:lnTo>
                    <a:pt x="194" y="168"/>
                  </a:lnTo>
                  <a:lnTo>
                    <a:pt x="184" y="180"/>
                  </a:lnTo>
                  <a:lnTo>
                    <a:pt x="184" y="180"/>
                  </a:lnTo>
                  <a:lnTo>
                    <a:pt x="172" y="198"/>
                  </a:lnTo>
                  <a:lnTo>
                    <a:pt x="158" y="222"/>
                  </a:lnTo>
                  <a:lnTo>
                    <a:pt x="154" y="236"/>
                  </a:lnTo>
                  <a:lnTo>
                    <a:pt x="148" y="252"/>
                  </a:lnTo>
                  <a:lnTo>
                    <a:pt x="146" y="270"/>
                  </a:lnTo>
                  <a:lnTo>
                    <a:pt x="144" y="290"/>
                  </a:lnTo>
                  <a:lnTo>
                    <a:pt x="96" y="290"/>
                  </a:lnTo>
                  <a:lnTo>
                    <a:pt x="96" y="290"/>
                  </a:lnTo>
                  <a:lnTo>
                    <a:pt x="94" y="270"/>
                  </a:lnTo>
                  <a:lnTo>
                    <a:pt x="92" y="252"/>
                  </a:lnTo>
                  <a:lnTo>
                    <a:pt x="86" y="236"/>
                  </a:lnTo>
                  <a:lnTo>
                    <a:pt x="82" y="222"/>
                  </a:lnTo>
                  <a:lnTo>
                    <a:pt x="68" y="198"/>
                  </a:lnTo>
                  <a:lnTo>
                    <a:pt x="56" y="180"/>
                  </a:lnTo>
                  <a:lnTo>
                    <a:pt x="56" y="180"/>
                  </a:lnTo>
                  <a:close/>
                  <a:moveTo>
                    <a:pt x="74" y="118"/>
                  </a:moveTo>
                  <a:lnTo>
                    <a:pt x="74" y="118"/>
                  </a:lnTo>
                  <a:lnTo>
                    <a:pt x="76" y="108"/>
                  </a:lnTo>
                  <a:lnTo>
                    <a:pt x="78" y="98"/>
                  </a:lnTo>
                  <a:lnTo>
                    <a:pt x="82" y="90"/>
                  </a:lnTo>
                  <a:lnTo>
                    <a:pt x="88" y="84"/>
                  </a:lnTo>
                  <a:lnTo>
                    <a:pt x="94" y="80"/>
                  </a:lnTo>
                  <a:lnTo>
                    <a:pt x="102" y="78"/>
                  </a:lnTo>
                  <a:lnTo>
                    <a:pt x="110" y="76"/>
                  </a:lnTo>
                  <a:lnTo>
                    <a:pt x="116" y="74"/>
                  </a:lnTo>
                  <a:lnTo>
                    <a:pt x="116" y="74"/>
                  </a:lnTo>
                  <a:lnTo>
                    <a:pt x="120" y="74"/>
                  </a:lnTo>
                  <a:lnTo>
                    <a:pt x="124" y="72"/>
                  </a:lnTo>
                  <a:lnTo>
                    <a:pt x="126" y="68"/>
                  </a:lnTo>
                  <a:lnTo>
                    <a:pt x="126" y="64"/>
                  </a:lnTo>
                  <a:lnTo>
                    <a:pt x="126" y="64"/>
                  </a:lnTo>
                  <a:lnTo>
                    <a:pt x="126" y="62"/>
                  </a:lnTo>
                  <a:lnTo>
                    <a:pt x="124" y="58"/>
                  </a:lnTo>
                  <a:lnTo>
                    <a:pt x="120" y="56"/>
                  </a:lnTo>
                  <a:lnTo>
                    <a:pt x="116" y="54"/>
                  </a:lnTo>
                  <a:lnTo>
                    <a:pt x="116" y="54"/>
                  </a:lnTo>
                  <a:lnTo>
                    <a:pt x="106" y="56"/>
                  </a:lnTo>
                  <a:lnTo>
                    <a:pt x="94" y="58"/>
                  </a:lnTo>
                  <a:lnTo>
                    <a:pt x="84" y="64"/>
                  </a:lnTo>
                  <a:lnTo>
                    <a:pt x="74" y="70"/>
                  </a:lnTo>
                  <a:lnTo>
                    <a:pt x="66" y="80"/>
                  </a:lnTo>
                  <a:lnTo>
                    <a:pt x="60" y="90"/>
                  </a:lnTo>
                  <a:lnTo>
                    <a:pt x="56" y="104"/>
                  </a:lnTo>
                  <a:lnTo>
                    <a:pt x="54" y="118"/>
                  </a:lnTo>
                  <a:lnTo>
                    <a:pt x="54" y="118"/>
                  </a:lnTo>
                  <a:lnTo>
                    <a:pt x="56" y="122"/>
                  </a:lnTo>
                  <a:lnTo>
                    <a:pt x="58" y="126"/>
                  </a:lnTo>
                  <a:lnTo>
                    <a:pt x="60" y="128"/>
                  </a:lnTo>
                  <a:lnTo>
                    <a:pt x="64" y="128"/>
                  </a:lnTo>
                  <a:lnTo>
                    <a:pt x="64" y="128"/>
                  </a:lnTo>
                  <a:lnTo>
                    <a:pt x="68" y="128"/>
                  </a:lnTo>
                  <a:lnTo>
                    <a:pt x="72" y="126"/>
                  </a:lnTo>
                  <a:lnTo>
                    <a:pt x="74" y="122"/>
                  </a:lnTo>
                  <a:lnTo>
                    <a:pt x="74" y="118"/>
                  </a:lnTo>
                  <a:lnTo>
                    <a:pt x="74" y="11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55" name="Group 54">
            <a:extLst>
              <a:ext uri="{FF2B5EF4-FFF2-40B4-BE49-F238E27FC236}">
                <a16:creationId xmlns:a16="http://schemas.microsoft.com/office/drawing/2014/main" id="{8C80E34A-82A5-4230-8A78-A3FD84FED650}"/>
              </a:ext>
            </a:extLst>
          </p:cNvPr>
          <p:cNvGrpSpPr/>
          <p:nvPr/>
        </p:nvGrpSpPr>
        <p:grpSpPr>
          <a:xfrm>
            <a:off x="2537994" y="2811612"/>
            <a:ext cx="612000" cy="612000"/>
            <a:chOff x="1467520" y="3474401"/>
            <a:chExt cx="612000" cy="612000"/>
          </a:xfrm>
        </p:grpSpPr>
        <p:sp>
          <p:nvSpPr>
            <p:cNvPr id="56" name="Oval 55">
              <a:extLst>
                <a:ext uri="{FF2B5EF4-FFF2-40B4-BE49-F238E27FC236}">
                  <a16:creationId xmlns:a16="http://schemas.microsoft.com/office/drawing/2014/main" id="{194ACB32-4DF2-4B27-BC6D-8172515054FA}"/>
                </a:ext>
              </a:extLst>
            </p:cNvPr>
            <p:cNvSpPr/>
            <p:nvPr/>
          </p:nvSpPr>
          <p:spPr bwMode="ltGray">
            <a:xfrm>
              <a:off x="1467520"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57" name="Freeform 4898">
              <a:extLst>
                <a:ext uri="{FF2B5EF4-FFF2-40B4-BE49-F238E27FC236}">
                  <a16:creationId xmlns:a16="http://schemas.microsoft.com/office/drawing/2014/main" id="{BEA8B1BB-6268-47F0-9145-3083C2C2A789}"/>
                </a:ext>
              </a:extLst>
            </p:cNvPr>
            <p:cNvSpPr>
              <a:spLocks noEditPoints="1"/>
            </p:cNvSpPr>
            <p:nvPr/>
          </p:nvSpPr>
          <p:spPr bwMode="auto">
            <a:xfrm>
              <a:off x="1632877" y="3556469"/>
              <a:ext cx="281286" cy="465577"/>
            </a:xfrm>
            <a:custGeom>
              <a:avLst/>
              <a:gdLst>
                <a:gd name="T0" fmla="*/ 162 w 232"/>
                <a:gd name="T1" fmla="*/ 346 h 384"/>
                <a:gd name="T2" fmla="*/ 152 w 232"/>
                <a:gd name="T3" fmla="*/ 352 h 384"/>
                <a:gd name="T4" fmla="*/ 76 w 232"/>
                <a:gd name="T5" fmla="*/ 350 h 384"/>
                <a:gd name="T6" fmla="*/ 70 w 232"/>
                <a:gd name="T7" fmla="*/ 342 h 384"/>
                <a:gd name="T8" fmla="*/ 72 w 232"/>
                <a:gd name="T9" fmla="*/ 334 h 384"/>
                <a:gd name="T10" fmla="*/ 152 w 232"/>
                <a:gd name="T11" fmla="*/ 332 h 384"/>
                <a:gd name="T12" fmla="*/ 160 w 232"/>
                <a:gd name="T13" fmla="*/ 334 h 384"/>
                <a:gd name="T14" fmla="*/ 162 w 232"/>
                <a:gd name="T15" fmla="*/ 342 h 384"/>
                <a:gd name="T16" fmla="*/ 92 w 232"/>
                <a:gd name="T17" fmla="*/ 364 h 384"/>
                <a:gd name="T18" fmla="*/ 84 w 232"/>
                <a:gd name="T19" fmla="*/ 370 h 384"/>
                <a:gd name="T20" fmla="*/ 84 w 232"/>
                <a:gd name="T21" fmla="*/ 378 h 384"/>
                <a:gd name="T22" fmla="*/ 92 w 232"/>
                <a:gd name="T23" fmla="*/ 384 h 384"/>
                <a:gd name="T24" fmla="*/ 142 w 232"/>
                <a:gd name="T25" fmla="*/ 382 h 384"/>
                <a:gd name="T26" fmla="*/ 150 w 232"/>
                <a:gd name="T27" fmla="*/ 374 h 384"/>
                <a:gd name="T28" fmla="*/ 146 w 232"/>
                <a:gd name="T29" fmla="*/ 366 h 384"/>
                <a:gd name="T30" fmla="*/ 140 w 232"/>
                <a:gd name="T31" fmla="*/ 364 h 384"/>
                <a:gd name="T32" fmla="*/ 232 w 232"/>
                <a:gd name="T33" fmla="*/ 132 h 384"/>
                <a:gd name="T34" fmla="*/ 214 w 232"/>
                <a:gd name="T35" fmla="*/ 180 h 384"/>
                <a:gd name="T36" fmla="*/ 190 w 232"/>
                <a:gd name="T37" fmla="*/ 212 h 384"/>
                <a:gd name="T38" fmla="*/ 174 w 232"/>
                <a:gd name="T39" fmla="*/ 248 h 384"/>
                <a:gd name="T40" fmla="*/ 166 w 232"/>
                <a:gd name="T41" fmla="*/ 302 h 384"/>
                <a:gd name="T42" fmla="*/ 160 w 232"/>
                <a:gd name="T43" fmla="*/ 312 h 384"/>
                <a:gd name="T44" fmla="*/ 82 w 232"/>
                <a:gd name="T45" fmla="*/ 318 h 384"/>
                <a:gd name="T46" fmla="*/ 72 w 232"/>
                <a:gd name="T47" fmla="*/ 312 h 384"/>
                <a:gd name="T48" fmla="*/ 66 w 232"/>
                <a:gd name="T49" fmla="*/ 302 h 384"/>
                <a:gd name="T50" fmla="*/ 58 w 232"/>
                <a:gd name="T51" fmla="*/ 248 h 384"/>
                <a:gd name="T52" fmla="*/ 42 w 232"/>
                <a:gd name="T53" fmla="*/ 212 h 384"/>
                <a:gd name="T54" fmla="*/ 18 w 232"/>
                <a:gd name="T55" fmla="*/ 180 h 384"/>
                <a:gd name="T56" fmla="*/ 0 w 232"/>
                <a:gd name="T57" fmla="*/ 132 h 384"/>
                <a:gd name="T58" fmla="*/ 2 w 232"/>
                <a:gd name="T59" fmla="*/ 98 h 384"/>
                <a:gd name="T60" fmla="*/ 28 w 232"/>
                <a:gd name="T61" fmla="*/ 38 h 384"/>
                <a:gd name="T62" fmla="*/ 54 w 232"/>
                <a:gd name="T63" fmla="*/ 16 h 384"/>
                <a:gd name="T64" fmla="*/ 88 w 232"/>
                <a:gd name="T65" fmla="*/ 4 h 384"/>
                <a:gd name="T66" fmla="*/ 116 w 232"/>
                <a:gd name="T67" fmla="*/ 0 h 384"/>
                <a:gd name="T68" fmla="*/ 156 w 232"/>
                <a:gd name="T69" fmla="*/ 6 h 384"/>
                <a:gd name="T70" fmla="*/ 188 w 232"/>
                <a:gd name="T71" fmla="*/ 24 h 384"/>
                <a:gd name="T72" fmla="*/ 216 w 232"/>
                <a:gd name="T73" fmla="*/ 56 h 384"/>
                <a:gd name="T74" fmla="*/ 232 w 232"/>
                <a:gd name="T75" fmla="*/ 120 h 384"/>
                <a:gd name="T76" fmla="*/ 126 w 232"/>
                <a:gd name="T77" fmla="*/ 42 h 384"/>
                <a:gd name="T78" fmla="*/ 120 w 232"/>
                <a:gd name="T79" fmla="*/ 32 h 384"/>
                <a:gd name="T80" fmla="*/ 100 w 232"/>
                <a:gd name="T81" fmla="*/ 32 h 384"/>
                <a:gd name="T82" fmla="*/ 56 w 232"/>
                <a:gd name="T83" fmla="*/ 54 h 384"/>
                <a:gd name="T84" fmla="*/ 30 w 232"/>
                <a:gd name="T85" fmla="*/ 100 h 384"/>
                <a:gd name="T86" fmla="*/ 30 w 232"/>
                <a:gd name="T87" fmla="*/ 124 h 384"/>
                <a:gd name="T88" fmla="*/ 40 w 232"/>
                <a:gd name="T89" fmla="*/ 132 h 384"/>
                <a:gd name="T90" fmla="*/ 46 w 232"/>
                <a:gd name="T91" fmla="*/ 128 h 384"/>
                <a:gd name="T92" fmla="*/ 50 w 232"/>
                <a:gd name="T93" fmla="*/ 122 h 384"/>
                <a:gd name="T94" fmla="*/ 62 w 232"/>
                <a:gd name="T95" fmla="*/ 76 h 384"/>
                <a:gd name="T96" fmla="*/ 92 w 232"/>
                <a:gd name="T97" fmla="*/ 56 h 384"/>
                <a:gd name="T98" fmla="*/ 116 w 232"/>
                <a:gd name="T99" fmla="*/ 52 h 384"/>
                <a:gd name="T100" fmla="*/ 126 w 232"/>
                <a:gd name="T101" fmla="*/ 46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2" h="384">
                  <a:moveTo>
                    <a:pt x="162" y="342"/>
                  </a:moveTo>
                  <a:lnTo>
                    <a:pt x="162" y="342"/>
                  </a:lnTo>
                  <a:lnTo>
                    <a:pt x="162" y="346"/>
                  </a:lnTo>
                  <a:lnTo>
                    <a:pt x="160" y="348"/>
                  </a:lnTo>
                  <a:lnTo>
                    <a:pt x="156" y="350"/>
                  </a:lnTo>
                  <a:lnTo>
                    <a:pt x="152" y="352"/>
                  </a:lnTo>
                  <a:lnTo>
                    <a:pt x="80" y="352"/>
                  </a:lnTo>
                  <a:lnTo>
                    <a:pt x="80" y="352"/>
                  </a:lnTo>
                  <a:lnTo>
                    <a:pt x="76" y="350"/>
                  </a:lnTo>
                  <a:lnTo>
                    <a:pt x="72" y="348"/>
                  </a:lnTo>
                  <a:lnTo>
                    <a:pt x="70" y="346"/>
                  </a:lnTo>
                  <a:lnTo>
                    <a:pt x="70" y="342"/>
                  </a:lnTo>
                  <a:lnTo>
                    <a:pt x="70" y="342"/>
                  </a:lnTo>
                  <a:lnTo>
                    <a:pt x="70" y="338"/>
                  </a:lnTo>
                  <a:lnTo>
                    <a:pt x="72" y="334"/>
                  </a:lnTo>
                  <a:lnTo>
                    <a:pt x="76" y="332"/>
                  </a:lnTo>
                  <a:lnTo>
                    <a:pt x="80" y="332"/>
                  </a:lnTo>
                  <a:lnTo>
                    <a:pt x="152" y="332"/>
                  </a:lnTo>
                  <a:lnTo>
                    <a:pt x="152" y="332"/>
                  </a:lnTo>
                  <a:lnTo>
                    <a:pt x="156" y="332"/>
                  </a:lnTo>
                  <a:lnTo>
                    <a:pt x="160" y="334"/>
                  </a:lnTo>
                  <a:lnTo>
                    <a:pt x="162" y="338"/>
                  </a:lnTo>
                  <a:lnTo>
                    <a:pt x="162" y="342"/>
                  </a:lnTo>
                  <a:lnTo>
                    <a:pt x="162" y="342"/>
                  </a:lnTo>
                  <a:close/>
                  <a:moveTo>
                    <a:pt x="140" y="364"/>
                  </a:moveTo>
                  <a:lnTo>
                    <a:pt x="92" y="364"/>
                  </a:lnTo>
                  <a:lnTo>
                    <a:pt x="92" y="364"/>
                  </a:lnTo>
                  <a:lnTo>
                    <a:pt x="90" y="364"/>
                  </a:lnTo>
                  <a:lnTo>
                    <a:pt x="86" y="366"/>
                  </a:lnTo>
                  <a:lnTo>
                    <a:pt x="84" y="370"/>
                  </a:lnTo>
                  <a:lnTo>
                    <a:pt x="82" y="374"/>
                  </a:lnTo>
                  <a:lnTo>
                    <a:pt x="82" y="374"/>
                  </a:lnTo>
                  <a:lnTo>
                    <a:pt x="84" y="378"/>
                  </a:lnTo>
                  <a:lnTo>
                    <a:pt x="86" y="380"/>
                  </a:lnTo>
                  <a:lnTo>
                    <a:pt x="90" y="382"/>
                  </a:lnTo>
                  <a:lnTo>
                    <a:pt x="92" y="384"/>
                  </a:lnTo>
                  <a:lnTo>
                    <a:pt x="140" y="384"/>
                  </a:lnTo>
                  <a:lnTo>
                    <a:pt x="140" y="384"/>
                  </a:lnTo>
                  <a:lnTo>
                    <a:pt x="142" y="382"/>
                  </a:lnTo>
                  <a:lnTo>
                    <a:pt x="146" y="380"/>
                  </a:lnTo>
                  <a:lnTo>
                    <a:pt x="148" y="378"/>
                  </a:lnTo>
                  <a:lnTo>
                    <a:pt x="150" y="374"/>
                  </a:lnTo>
                  <a:lnTo>
                    <a:pt x="150" y="374"/>
                  </a:lnTo>
                  <a:lnTo>
                    <a:pt x="148" y="370"/>
                  </a:lnTo>
                  <a:lnTo>
                    <a:pt x="146" y="366"/>
                  </a:lnTo>
                  <a:lnTo>
                    <a:pt x="142" y="364"/>
                  </a:lnTo>
                  <a:lnTo>
                    <a:pt x="140" y="364"/>
                  </a:lnTo>
                  <a:lnTo>
                    <a:pt x="140" y="364"/>
                  </a:lnTo>
                  <a:close/>
                  <a:moveTo>
                    <a:pt x="232" y="120"/>
                  </a:moveTo>
                  <a:lnTo>
                    <a:pt x="232" y="120"/>
                  </a:lnTo>
                  <a:lnTo>
                    <a:pt x="232" y="132"/>
                  </a:lnTo>
                  <a:lnTo>
                    <a:pt x="230" y="144"/>
                  </a:lnTo>
                  <a:lnTo>
                    <a:pt x="222" y="164"/>
                  </a:lnTo>
                  <a:lnTo>
                    <a:pt x="214" y="180"/>
                  </a:lnTo>
                  <a:lnTo>
                    <a:pt x="202" y="194"/>
                  </a:lnTo>
                  <a:lnTo>
                    <a:pt x="202" y="194"/>
                  </a:lnTo>
                  <a:lnTo>
                    <a:pt x="190" y="212"/>
                  </a:lnTo>
                  <a:lnTo>
                    <a:pt x="184" y="224"/>
                  </a:lnTo>
                  <a:lnTo>
                    <a:pt x="178" y="234"/>
                  </a:lnTo>
                  <a:lnTo>
                    <a:pt x="174" y="248"/>
                  </a:lnTo>
                  <a:lnTo>
                    <a:pt x="170" y="264"/>
                  </a:lnTo>
                  <a:lnTo>
                    <a:pt x="166" y="280"/>
                  </a:lnTo>
                  <a:lnTo>
                    <a:pt x="166" y="302"/>
                  </a:lnTo>
                  <a:lnTo>
                    <a:pt x="166" y="302"/>
                  </a:lnTo>
                  <a:lnTo>
                    <a:pt x="164" y="308"/>
                  </a:lnTo>
                  <a:lnTo>
                    <a:pt x="160" y="312"/>
                  </a:lnTo>
                  <a:lnTo>
                    <a:pt x="156" y="316"/>
                  </a:lnTo>
                  <a:lnTo>
                    <a:pt x="150" y="318"/>
                  </a:lnTo>
                  <a:lnTo>
                    <a:pt x="82" y="318"/>
                  </a:lnTo>
                  <a:lnTo>
                    <a:pt x="82" y="318"/>
                  </a:lnTo>
                  <a:lnTo>
                    <a:pt x="76" y="316"/>
                  </a:lnTo>
                  <a:lnTo>
                    <a:pt x="72" y="312"/>
                  </a:lnTo>
                  <a:lnTo>
                    <a:pt x="68" y="308"/>
                  </a:lnTo>
                  <a:lnTo>
                    <a:pt x="66" y="302"/>
                  </a:lnTo>
                  <a:lnTo>
                    <a:pt x="66" y="302"/>
                  </a:lnTo>
                  <a:lnTo>
                    <a:pt x="66" y="280"/>
                  </a:lnTo>
                  <a:lnTo>
                    <a:pt x="62" y="264"/>
                  </a:lnTo>
                  <a:lnTo>
                    <a:pt x="58" y="248"/>
                  </a:lnTo>
                  <a:lnTo>
                    <a:pt x="54" y="234"/>
                  </a:lnTo>
                  <a:lnTo>
                    <a:pt x="48" y="224"/>
                  </a:lnTo>
                  <a:lnTo>
                    <a:pt x="42" y="212"/>
                  </a:lnTo>
                  <a:lnTo>
                    <a:pt x="30" y="194"/>
                  </a:lnTo>
                  <a:lnTo>
                    <a:pt x="30" y="194"/>
                  </a:lnTo>
                  <a:lnTo>
                    <a:pt x="18" y="180"/>
                  </a:lnTo>
                  <a:lnTo>
                    <a:pt x="10" y="164"/>
                  </a:lnTo>
                  <a:lnTo>
                    <a:pt x="2" y="144"/>
                  </a:lnTo>
                  <a:lnTo>
                    <a:pt x="0" y="132"/>
                  </a:lnTo>
                  <a:lnTo>
                    <a:pt x="0" y="120"/>
                  </a:lnTo>
                  <a:lnTo>
                    <a:pt x="0" y="120"/>
                  </a:lnTo>
                  <a:lnTo>
                    <a:pt x="2" y="98"/>
                  </a:lnTo>
                  <a:lnTo>
                    <a:pt x="8" y="76"/>
                  </a:lnTo>
                  <a:lnTo>
                    <a:pt x="16" y="56"/>
                  </a:lnTo>
                  <a:lnTo>
                    <a:pt x="28" y="38"/>
                  </a:lnTo>
                  <a:lnTo>
                    <a:pt x="36" y="30"/>
                  </a:lnTo>
                  <a:lnTo>
                    <a:pt x="44" y="24"/>
                  </a:lnTo>
                  <a:lnTo>
                    <a:pt x="54" y="16"/>
                  </a:lnTo>
                  <a:lnTo>
                    <a:pt x="64" y="12"/>
                  </a:lnTo>
                  <a:lnTo>
                    <a:pt x="76" y="6"/>
                  </a:lnTo>
                  <a:lnTo>
                    <a:pt x="88" y="4"/>
                  </a:lnTo>
                  <a:lnTo>
                    <a:pt x="102" y="2"/>
                  </a:lnTo>
                  <a:lnTo>
                    <a:pt x="116" y="0"/>
                  </a:lnTo>
                  <a:lnTo>
                    <a:pt x="116" y="0"/>
                  </a:lnTo>
                  <a:lnTo>
                    <a:pt x="130" y="2"/>
                  </a:lnTo>
                  <a:lnTo>
                    <a:pt x="144" y="4"/>
                  </a:lnTo>
                  <a:lnTo>
                    <a:pt x="156" y="6"/>
                  </a:lnTo>
                  <a:lnTo>
                    <a:pt x="168" y="12"/>
                  </a:lnTo>
                  <a:lnTo>
                    <a:pt x="178" y="16"/>
                  </a:lnTo>
                  <a:lnTo>
                    <a:pt x="188" y="24"/>
                  </a:lnTo>
                  <a:lnTo>
                    <a:pt x="196" y="30"/>
                  </a:lnTo>
                  <a:lnTo>
                    <a:pt x="204" y="38"/>
                  </a:lnTo>
                  <a:lnTo>
                    <a:pt x="216" y="56"/>
                  </a:lnTo>
                  <a:lnTo>
                    <a:pt x="224" y="76"/>
                  </a:lnTo>
                  <a:lnTo>
                    <a:pt x="230" y="98"/>
                  </a:lnTo>
                  <a:lnTo>
                    <a:pt x="232" y="120"/>
                  </a:lnTo>
                  <a:lnTo>
                    <a:pt x="232" y="120"/>
                  </a:lnTo>
                  <a:close/>
                  <a:moveTo>
                    <a:pt x="126" y="42"/>
                  </a:moveTo>
                  <a:lnTo>
                    <a:pt x="126" y="42"/>
                  </a:lnTo>
                  <a:lnTo>
                    <a:pt x="126" y="38"/>
                  </a:lnTo>
                  <a:lnTo>
                    <a:pt x="124" y="34"/>
                  </a:lnTo>
                  <a:lnTo>
                    <a:pt x="120" y="32"/>
                  </a:lnTo>
                  <a:lnTo>
                    <a:pt x="116" y="32"/>
                  </a:lnTo>
                  <a:lnTo>
                    <a:pt x="116" y="32"/>
                  </a:lnTo>
                  <a:lnTo>
                    <a:pt x="100" y="32"/>
                  </a:lnTo>
                  <a:lnTo>
                    <a:pt x="84" y="36"/>
                  </a:lnTo>
                  <a:lnTo>
                    <a:pt x="70" y="44"/>
                  </a:lnTo>
                  <a:lnTo>
                    <a:pt x="56" y="54"/>
                  </a:lnTo>
                  <a:lnTo>
                    <a:pt x="46" y="66"/>
                  </a:lnTo>
                  <a:lnTo>
                    <a:pt x="36" y="82"/>
                  </a:lnTo>
                  <a:lnTo>
                    <a:pt x="30" y="100"/>
                  </a:lnTo>
                  <a:lnTo>
                    <a:pt x="30" y="122"/>
                  </a:lnTo>
                  <a:lnTo>
                    <a:pt x="30" y="122"/>
                  </a:lnTo>
                  <a:lnTo>
                    <a:pt x="30" y="124"/>
                  </a:lnTo>
                  <a:lnTo>
                    <a:pt x="32" y="128"/>
                  </a:lnTo>
                  <a:lnTo>
                    <a:pt x="36" y="130"/>
                  </a:lnTo>
                  <a:lnTo>
                    <a:pt x="40" y="132"/>
                  </a:lnTo>
                  <a:lnTo>
                    <a:pt x="40" y="132"/>
                  </a:lnTo>
                  <a:lnTo>
                    <a:pt x="42" y="130"/>
                  </a:lnTo>
                  <a:lnTo>
                    <a:pt x="46" y="128"/>
                  </a:lnTo>
                  <a:lnTo>
                    <a:pt x="48" y="124"/>
                  </a:lnTo>
                  <a:lnTo>
                    <a:pt x="50" y="122"/>
                  </a:lnTo>
                  <a:lnTo>
                    <a:pt x="50" y="122"/>
                  </a:lnTo>
                  <a:lnTo>
                    <a:pt x="50" y="104"/>
                  </a:lnTo>
                  <a:lnTo>
                    <a:pt x="56" y="88"/>
                  </a:lnTo>
                  <a:lnTo>
                    <a:pt x="62" y="76"/>
                  </a:lnTo>
                  <a:lnTo>
                    <a:pt x="70" y="68"/>
                  </a:lnTo>
                  <a:lnTo>
                    <a:pt x="82" y="60"/>
                  </a:lnTo>
                  <a:lnTo>
                    <a:pt x="92" y="56"/>
                  </a:lnTo>
                  <a:lnTo>
                    <a:pt x="104" y="52"/>
                  </a:lnTo>
                  <a:lnTo>
                    <a:pt x="116" y="52"/>
                  </a:lnTo>
                  <a:lnTo>
                    <a:pt x="116" y="52"/>
                  </a:lnTo>
                  <a:lnTo>
                    <a:pt x="120" y="50"/>
                  </a:lnTo>
                  <a:lnTo>
                    <a:pt x="124" y="48"/>
                  </a:lnTo>
                  <a:lnTo>
                    <a:pt x="126" y="46"/>
                  </a:lnTo>
                  <a:lnTo>
                    <a:pt x="126" y="42"/>
                  </a:lnTo>
                  <a:lnTo>
                    <a:pt x="126" y="4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58" name="Group 57">
            <a:extLst>
              <a:ext uri="{FF2B5EF4-FFF2-40B4-BE49-F238E27FC236}">
                <a16:creationId xmlns:a16="http://schemas.microsoft.com/office/drawing/2014/main" id="{F0583A6A-E11C-4409-BEEE-F5D22B7B334C}"/>
              </a:ext>
            </a:extLst>
          </p:cNvPr>
          <p:cNvGrpSpPr/>
          <p:nvPr/>
        </p:nvGrpSpPr>
        <p:grpSpPr>
          <a:xfrm>
            <a:off x="3412707" y="1595303"/>
            <a:ext cx="612000" cy="612000"/>
            <a:chOff x="2342233" y="2258092"/>
            <a:chExt cx="612000" cy="612000"/>
          </a:xfrm>
        </p:grpSpPr>
        <p:sp>
          <p:nvSpPr>
            <p:cNvPr id="59" name="Oval 58">
              <a:extLst>
                <a:ext uri="{FF2B5EF4-FFF2-40B4-BE49-F238E27FC236}">
                  <a16:creationId xmlns:a16="http://schemas.microsoft.com/office/drawing/2014/main" id="{061594EB-7C44-43C3-B1D8-62B5B1F74403}"/>
                </a:ext>
              </a:extLst>
            </p:cNvPr>
            <p:cNvSpPr/>
            <p:nvPr/>
          </p:nvSpPr>
          <p:spPr bwMode="ltGray">
            <a:xfrm>
              <a:off x="2342233"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60" name="Freeform 4899">
              <a:extLst>
                <a:ext uri="{FF2B5EF4-FFF2-40B4-BE49-F238E27FC236}">
                  <a16:creationId xmlns:a16="http://schemas.microsoft.com/office/drawing/2014/main" id="{C9E35CEA-B381-48A6-BE08-8EE1E6DDBE74}"/>
                </a:ext>
              </a:extLst>
            </p:cNvPr>
            <p:cNvSpPr>
              <a:spLocks noEditPoints="1"/>
            </p:cNvSpPr>
            <p:nvPr/>
          </p:nvSpPr>
          <p:spPr bwMode="auto">
            <a:xfrm>
              <a:off x="2451818" y="2356153"/>
              <a:ext cx="392831" cy="392831"/>
            </a:xfrm>
            <a:custGeom>
              <a:avLst/>
              <a:gdLst>
                <a:gd name="T0" fmla="*/ 190 w 324"/>
                <a:gd name="T1" fmla="*/ 0 h 324"/>
                <a:gd name="T2" fmla="*/ 134 w 324"/>
                <a:gd name="T3" fmla="*/ 20 h 324"/>
                <a:gd name="T4" fmla="*/ 90 w 324"/>
                <a:gd name="T5" fmla="*/ 74 h 324"/>
                <a:gd name="T6" fmla="*/ 82 w 324"/>
                <a:gd name="T7" fmla="*/ 120 h 324"/>
                <a:gd name="T8" fmla="*/ 84 w 324"/>
                <a:gd name="T9" fmla="*/ 146 h 324"/>
                <a:gd name="T10" fmla="*/ 118 w 324"/>
                <a:gd name="T11" fmla="*/ 206 h 324"/>
                <a:gd name="T12" fmla="*/ 178 w 324"/>
                <a:gd name="T13" fmla="*/ 240 h 324"/>
                <a:gd name="T14" fmla="*/ 202 w 324"/>
                <a:gd name="T15" fmla="*/ 242 h 324"/>
                <a:gd name="T16" fmla="*/ 250 w 324"/>
                <a:gd name="T17" fmla="*/ 232 h 324"/>
                <a:gd name="T18" fmla="*/ 304 w 324"/>
                <a:gd name="T19" fmla="*/ 188 h 324"/>
                <a:gd name="T20" fmla="*/ 324 w 324"/>
                <a:gd name="T21" fmla="*/ 132 h 324"/>
                <a:gd name="T22" fmla="*/ 324 w 324"/>
                <a:gd name="T23" fmla="*/ 108 h 324"/>
                <a:gd name="T24" fmla="*/ 304 w 324"/>
                <a:gd name="T25" fmla="*/ 52 h 324"/>
                <a:gd name="T26" fmla="*/ 250 w 324"/>
                <a:gd name="T27" fmla="*/ 8 h 324"/>
                <a:gd name="T28" fmla="*/ 202 w 324"/>
                <a:gd name="T29" fmla="*/ 0 h 324"/>
                <a:gd name="T30" fmla="*/ 202 w 324"/>
                <a:gd name="T31" fmla="*/ 212 h 324"/>
                <a:gd name="T32" fmla="*/ 152 w 324"/>
                <a:gd name="T33" fmla="*/ 196 h 324"/>
                <a:gd name="T34" fmla="*/ 118 w 324"/>
                <a:gd name="T35" fmla="*/ 156 h 324"/>
                <a:gd name="T36" fmla="*/ 112 w 324"/>
                <a:gd name="T37" fmla="*/ 120 h 324"/>
                <a:gd name="T38" fmla="*/ 128 w 324"/>
                <a:gd name="T39" fmla="*/ 70 h 324"/>
                <a:gd name="T40" fmla="*/ 168 w 324"/>
                <a:gd name="T41" fmla="*/ 36 h 324"/>
                <a:gd name="T42" fmla="*/ 202 w 324"/>
                <a:gd name="T43" fmla="*/ 30 h 324"/>
                <a:gd name="T44" fmla="*/ 254 w 324"/>
                <a:gd name="T45" fmla="*/ 46 h 324"/>
                <a:gd name="T46" fmla="*/ 286 w 324"/>
                <a:gd name="T47" fmla="*/ 86 h 324"/>
                <a:gd name="T48" fmla="*/ 294 w 324"/>
                <a:gd name="T49" fmla="*/ 120 h 324"/>
                <a:gd name="T50" fmla="*/ 278 w 324"/>
                <a:gd name="T51" fmla="*/ 172 h 324"/>
                <a:gd name="T52" fmla="*/ 238 w 324"/>
                <a:gd name="T53" fmla="*/ 204 h 324"/>
                <a:gd name="T54" fmla="*/ 202 w 324"/>
                <a:gd name="T55" fmla="*/ 212 h 324"/>
                <a:gd name="T56" fmla="*/ 138 w 324"/>
                <a:gd name="T57" fmla="*/ 130 h 324"/>
                <a:gd name="T58" fmla="*/ 132 w 324"/>
                <a:gd name="T59" fmla="*/ 120 h 324"/>
                <a:gd name="T60" fmla="*/ 138 w 324"/>
                <a:gd name="T61" fmla="*/ 94 h 324"/>
                <a:gd name="T62" fmla="*/ 164 w 324"/>
                <a:gd name="T63" fmla="*/ 62 h 324"/>
                <a:gd name="T64" fmla="*/ 202 w 324"/>
                <a:gd name="T65" fmla="*/ 50 h 324"/>
                <a:gd name="T66" fmla="*/ 210 w 324"/>
                <a:gd name="T67" fmla="*/ 54 h 324"/>
                <a:gd name="T68" fmla="*/ 212 w 324"/>
                <a:gd name="T69" fmla="*/ 60 h 324"/>
                <a:gd name="T70" fmla="*/ 206 w 324"/>
                <a:gd name="T71" fmla="*/ 70 h 324"/>
                <a:gd name="T72" fmla="*/ 192 w 324"/>
                <a:gd name="T73" fmla="*/ 72 h 324"/>
                <a:gd name="T74" fmla="*/ 168 w 324"/>
                <a:gd name="T75" fmla="*/ 86 h 324"/>
                <a:gd name="T76" fmla="*/ 154 w 324"/>
                <a:gd name="T77" fmla="*/ 110 h 324"/>
                <a:gd name="T78" fmla="*/ 152 w 324"/>
                <a:gd name="T79" fmla="*/ 124 h 324"/>
                <a:gd name="T80" fmla="*/ 142 w 324"/>
                <a:gd name="T81" fmla="*/ 130 h 324"/>
                <a:gd name="T82" fmla="*/ 48 w 324"/>
                <a:gd name="T83" fmla="*/ 316 h 324"/>
                <a:gd name="T84" fmla="*/ 28 w 324"/>
                <a:gd name="T85" fmla="*/ 324 h 324"/>
                <a:gd name="T86" fmla="*/ 8 w 324"/>
                <a:gd name="T87" fmla="*/ 316 h 324"/>
                <a:gd name="T88" fmla="*/ 0 w 324"/>
                <a:gd name="T89" fmla="*/ 296 h 324"/>
                <a:gd name="T90" fmla="*/ 86 w 324"/>
                <a:gd name="T91" fmla="*/ 198 h 324"/>
                <a:gd name="T92" fmla="*/ 102 w 324"/>
                <a:gd name="T93" fmla="*/ 220 h 324"/>
                <a:gd name="T94" fmla="*/ 124 w 324"/>
                <a:gd name="T95" fmla="*/ 238 h 3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24" h="324">
                  <a:moveTo>
                    <a:pt x="202" y="0"/>
                  </a:moveTo>
                  <a:lnTo>
                    <a:pt x="202" y="0"/>
                  </a:lnTo>
                  <a:lnTo>
                    <a:pt x="190" y="0"/>
                  </a:lnTo>
                  <a:lnTo>
                    <a:pt x="178" y="2"/>
                  </a:lnTo>
                  <a:lnTo>
                    <a:pt x="156" y="8"/>
                  </a:lnTo>
                  <a:lnTo>
                    <a:pt x="134" y="20"/>
                  </a:lnTo>
                  <a:lnTo>
                    <a:pt x="118" y="34"/>
                  </a:lnTo>
                  <a:lnTo>
                    <a:pt x="102" y="52"/>
                  </a:lnTo>
                  <a:lnTo>
                    <a:pt x="90" y="74"/>
                  </a:lnTo>
                  <a:lnTo>
                    <a:pt x="84" y="96"/>
                  </a:lnTo>
                  <a:lnTo>
                    <a:pt x="82" y="108"/>
                  </a:lnTo>
                  <a:lnTo>
                    <a:pt x="82" y="120"/>
                  </a:lnTo>
                  <a:lnTo>
                    <a:pt x="82" y="120"/>
                  </a:lnTo>
                  <a:lnTo>
                    <a:pt x="82" y="132"/>
                  </a:lnTo>
                  <a:lnTo>
                    <a:pt x="84" y="146"/>
                  </a:lnTo>
                  <a:lnTo>
                    <a:pt x="90" y="168"/>
                  </a:lnTo>
                  <a:lnTo>
                    <a:pt x="102" y="188"/>
                  </a:lnTo>
                  <a:lnTo>
                    <a:pt x="118" y="206"/>
                  </a:lnTo>
                  <a:lnTo>
                    <a:pt x="134" y="222"/>
                  </a:lnTo>
                  <a:lnTo>
                    <a:pt x="156" y="232"/>
                  </a:lnTo>
                  <a:lnTo>
                    <a:pt x="178" y="240"/>
                  </a:lnTo>
                  <a:lnTo>
                    <a:pt x="190" y="242"/>
                  </a:lnTo>
                  <a:lnTo>
                    <a:pt x="202" y="242"/>
                  </a:lnTo>
                  <a:lnTo>
                    <a:pt x="202" y="242"/>
                  </a:lnTo>
                  <a:lnTo>
                    <a:pt x="216" y="242"/>
                  </a:lnTo>
                  <a:lnTo>
                    <a:pt x="228" y="240"/>
                  </a:lnTo>
                  <a:lnTo>
                    <a:pt x="250" y="232"/>
                  </a:lnTo>
                  <a:lnTo>
                    <a:pt x="270" y="222"/>
                  </a:lnTo>
                  <a:lnTo>
                    <a:pt x="288" y="206"/>
                  </a:lnTo>
                  <a:lnTo>
                    <a:pt x="304" y="188"/>
                  </a:lnTo>
                  <a:lnTo>
                    <a:pt x="314" y="168"/>
                  </a:lnTo>
                  <a:lnTo>
                    <a:pt x="322" y="146"/>
                  </a:lnTo>
                  <a:lnTo>
                    <a:pt x="324" y="132"/>
                  </a:lnTo>
                  <a:lnTo>
                    <a:pt x="324" y="120"/>
                  </a:lnTo>
                  <a:lnTo>
                    <a:pt x="324" y="120"/>
                  </a:lnTo>
                  <a:lnTo>
                    <a:pt x="324" y="108"/>
                  </a:lnTo>
                  <a:lnTo>
                    <a:pt x="322" y="96"/>
                  </a:lnTo>
                  <a:lnTo>
                    <a:pt x="314" y="74"/>
                  </a:lnTo>
                  <a:lnTo>
                    <a:pt x="304" y="52"/>
                  </a:lnTo>
                  <a:lnTo>
                    <a:pt x="288" y="34"/>
                  </a:lnTo>
                  <a:lnTo>
                    <a:pt x="270" y="20"/>
                  </a:lnTo>
                  <a:lnTo>
                    <a:pt x="250" y="8"/>
                  </a:lnTo>
                  <a:lnTo>
                    <a:pt x="228" y="2"/>
                  </a:lnTo>
                  <a:lnTo>
                    <a:pt x="216" y="0"/>
                  </a:lnTo>
                  <a:lnTo>
                    <a:pt x="202" y="0"/>
                  </a:lnTo>
                  <a:lnTo>
                    <a:pt x="202" y="0"/>
                  </a:lnTo>
                  <a:close/>
                  <a:moveTo>
                    <a:pt x="202" y="212"/>
                  </a:moveTo>
                  <a:lnTo>
                    <a:pt x="202" y="212"/>
                  </a:lnTo>
                  <a:lnTo>
                    <a:pt x="184" y="210"/>
                  </a:lnTo>
                  <a:lnTo>
                    <a:pt x="168" y="204"/>
                  </a:lnTo>
                  <a:lnTo>
                    <a:pt x="152" y="196"/>
                  </a:lnTo>
                  <a:lnTo>
                    <a:pt x="138" y="184"/>
                  </a:lnTo>
                  <a:lnTo>
                    <a:pt x="128" y="172"/>
                  </a:lnTo>
                  <a:lnTo>
                    <a:pt x="118" y="156"/>
                  </a:lnTo>
                  <a:lnTo>
                    <a:pt x="114" y="138"/>
                  </a:lnTo>
                  <a:lnTo>
                    <a:pt x="112" y="120"/>
                  </a:lnTo>
                  <a:lnTo>
                    <a:pt x="112" y="120"/>
                  </a:lnTo>
                  <a:lnTo>
                    <a:pt x="114" y="102"/>
                  </a:lnTo>
                  <a:lnTo>
                    <a:pt x="118" y="86"/>
                  </a:lnTo>
                  <a:lnTo>
                    <a:pt x="128" y="70"/>
                  </a:lnTo>
                  <a:lnTo>
                    <a:pt x="138" y="56"/>
                  </a:lnTo>
                  <a:lnTo>
                    <a:pt x="152" y="46"/>
                  </a:lnTo>
                  <a:lnTo>
                    <a:pt x="168" y="36"/>
                  </a:lnTo>
                  <a:lnTo>
                    <a:pt x="184" y="32"/>
                  </a:lnTo>
                  <a:lnTo>
                    <a:pt x="202" y="30"/>
                  </a:lnTo>
                  <a:lnTo>
                    <a:pt x="202" y="30"/>
                  </a:lnTo>
                  <a:lnTo>
                    <a:pt x="222" y="32"/>
                  </a:lnTo>
                  <a:lnTo>
                    <a:pt x="238" y="36"/>
                  </a:lnTo>
                  <a:lnTo>
                    <a:pt x="254" y="46"/>
                  </a:lnTo>
                  <a:lnTo>
                    <a:pt x="268" y="56"/>
                  </a:lnTo>
                  <a:lnTo>
                    <a:pt x="278" y="70"/>
                  </a:lnTo>
                  <a:lnTo>
                    <a:pt x="286" y="86"/>
                  </a:lnTo>
                  <a:lnTo>
                    <a:pt x="292" y="102"/>
                  </a:lnTo>
                  <a:lnTo>
                    <a:pt x="294" y="120"/>
                  </a:lnTo>
                  <a:lnTo>
                    <a:pt x="294" y="120"/>
                  </a:lnTo>
                  <a:lnTo>
                    <a:pt x="292" y="138"/>
                  </a:lnTo>
                  <a:lnTo>
                    <a:pt x="286" y="156"/>
                  </a:lnTo>
                  <a:lnTo>
                    <a:pt x="278" y="172"/>
                  </a:lnTo>
                  <a:lnTo>
                    <a:pt x="268" y="184"/>
                  </a:lnTo>
                  <a:lnTo>
                    <a:pt x="254" y="196"/>
                  </a:lnTo>
                  <a:lnTo>
                    <a:pt x="238" y="204"/>
                  </a:lnTo>
                  <a:lnTo>
                    <a:pt x="222" y="210"/>
                  </a:lnTo>
                  <a:lnTo>
                    <a:pt x="202" y="212"/>
                  </a:lnTo>
                  <a:lnTo>
                    <a:pt x="202" y="212"/>
                  </a:lnTo>
                  <a:close/>
                  <a:moveTo>
                    <a:pt x="142" y="130"/>
                  </a:moveTo>
                  <a:lnTo>
                    <a:pt x="142" y="130"/>
                  </a:lnTo>
                  <a:lnTo>
                    <a:pt x="138" y="130"/>
                  </a:lnTo>
                  <a:lnTo>
                    <a:pt x="136" y="128"/>
                  </a:lnTo>
                  <a:lnTo>
                    <a:pt x="134" y="124"/>
                  </a:lnTo>
                  <a:lnTo>
                    <a:pt x="132" y="120"/>
                  </a:lnTo>
                  <a:lnTo>
                    <a:pt x="132" y="120"/>
                  </a:lnTo>
                  <a:lnTo>
                    <a:pt x="134" y="106"/>
                  </a:lnTo>
                  <a:lnTo>
                    <a:pt x="138" y="94"/>
                  </a:lnTo>
                  <a:lnTo>
                    <a:pt x="144" y="82"/>
                  </a:lnTo>
                  <a:lnTo>
                    <a:pt x="154" y="72"/>
                  </a:lnTo>
                  <a:lnTo>
                    <a:pt x="164" y="62"/>
                  </a:lnTo>
                  <a:lnTo>
                    <a:pt x="176" y="56"/>
                  </a:lnTo>
                  <a:lnTo>
                    <a:pt x="188" y="52"/>
                  </a:lnTo>
                  <a:lnTo>
                    <a:pt x="202" y="50"/>
                  </a:lnTo>
                  <a:lnTo>
                    <a:pt x="202" y="50"/>
                  </a:lnTo>
                  <a:lnTo>
                    <a:pt x="206" y="52"/>
                  </a:lnTo>
                  <a:lnTo>
                    <a:pt x="210" y="54"/>
                  </a:lnTo>
                  <a:lnTo>
                    <a:pt x="212" y="56"/>
                  </a:lnTo>
                  <a:lnTo>
                    <a:pt x="212" y="60"/>
                  </a:lnTo>
                  <a:lnTo>
                    <a:pt x="212" y="60"/>
                  </a:lnTo>
                  <a:lnTo>
                    <a:pt x="212" y="64"/>
                  </a:lnTo>
                  <a:lnTo>
                    <a:pt x="210" y="68"/>
                  </a:lnTo>
                  <a:lnTo>
                    <a:pt x="206" y="70"/>
                  </a:lnTo>
                  <a:lnTo>
                    <a:pt x="202" y="70"/>
                  </a:lnTo>
                  <a:lnTo>
                    <a:pt x="202" y="70"/>
                  </a:lnTo>
                  <a:lnTo>
                    <a:pt x="192" y="72"/>
                  </a:lnTo>
                  <a:lnTo>
                    <a:pt x="184" y="74"/>
                  </a:lnTo>
                  <a:lnTo>
                    <a:pt x="174" y="80"/>
                  </a:lnTo>
                  <a:lnTo>
                    <a:pt x="168" y="86"/>
                  </a:lnTo>
                  <a:lnTo>
                    <a:pt x="162" y="92"/>
                  </a:lnTo>
                  <a:lnTo>
                    <a:pt x="156" y="102"/>
                  </a:lnTo>
                  <a:lnTo>
                    <a:pt x="154" y="110"/>
                  </a:lnTo>
                  <a:lnTo>
                    <a:pt x="152" y="120"/>
                  </a:lnTo>
                  <a:lnTo>
                    <a:pt x="152" y="120"/>
                  </a:lnTo>
                  <a:lnTo>
                    <a:pt x="152" y="124"/>
                  </a:lnTo>
                  <a:lnTo>
                    <a:pt x="150" y="128"/>
                  </a:lnTo>
                  <a:lnTo>
                    <a:pt x="146" y="130"/>
                  </a:lnTo>
                  <a:lnTo>
                    <a:pt x="142" y="130"/>
                  </a:lnTo>
                  <a:lnTo>
                    <a:pt x="142" y="130"/>
                  </a:lnTo>
                  <a:close/>
                  <a:moveTo>
                    <a:pt x="124" y="238"/>
                  </a:moveTo>
                  <a:lnTo>
                    <a:pt x="48" y="316"/>
                  </a:lnTo>
                  <a:lnTo>
                    <a:pt x="48" y="316"/>
                  </a:lnTo>
                  <a:lnTo>
                    <a:pt x="38" y="322"/>
                  </a:lnTo>
                  <a:lnTo>
                    <a:pt x="28" y="324"/>
                  </a:lnTo>
                  <a:lnTo>
                    <a:pt x="28" y="324"/>
                  </a:lnTo>
                  <a:lnTo>
                    <a:pt x="18" y="322"/>
                  </a:lnTo>
                  <a:lnTo>
                    <a:pt x="8" y="316"/>
                  </a:lnTo>
                  <a:lnTo>
                    <a:pt x="8" y="316"/>
                  </a:lnTo>
                  <a:lnTo>
                    <a:pt x="2" y="306"/>
                  </a:lnTo>
                  <a:lnTo>
                    <a:pt x="0" y="296"/>
                  </a:lnTo>
                  <a:lnTo>
                    <a:pt x="2" y="286"/>
                  </a:lnTo>
                  <a:lnTo>
                    <a:pt x="8" y="276"/>
                  </a:lnTo>
                  <a:lnTo>
                    <a:pt x="86" y="198"/>
                  </a:lnTo>
                  <a:lnTo>
                    <a:pt x="86" y="198"/>
                  </a:lnTo>
                  <a:lnTo>
                    <a:pt x="94" y="210"/>
                  </a:lnTo>
                  <a:lnTo>
                    <a:pt x="102" y="220"/>
                  </a:lnTo>
                  <a:lnTo>
                    <a:pt x="114" y="230"/>
                  </a:lnTo>
                  <a:lnTo>
                    <a:pt x="124" y="238"/>
                  </a:lnTo>
                  <a:lnTo>
                    <a:pt x="124" y="2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61" name="Group 60">
            <a:extLst>
              <a:ext uri="{FF2B5EF4-FFF2-40B4-BE49-F238E27FC236}">
                <a16:creationId xmlns:a16="http://schemas.microsoft.com/office/drawing/2014/main" id="{D7276A23-D437-491B-BFC9-B926C1FDBA32}"/>
              </a:ext>
            </a:extLst>
          </p:cNvPr>
          <p:cNvGrpSpPr/>
          <p:nvPr/>
        </p:nvGrpSpPr>
        <p:grpSpPr>
          <a:xfrm>
            <a:off x="4287420" y="1595303"/>
            <a:ext cx="612000" cy="612000"/>
            <a:chOff x="3216946" y="2258092"/>
            <a:chExt cx="612000" cy="612000"/>
          </a:xfrm>
        </p:grpSpPr>
        <p:sp>
          <p:nvSpPr>
            <p:cNvPr id="62" name="Oval 61">
              <a:extLst>
                <a:ext uri="{FF2B5EF4-FFF2-40B4-BE49-F238E27FC236}">
                  <a16:creationId xmlns:a16="http://schemas.microsoft.com/office/drawing/2014/main" id="{6876A899-B0E6-4A97-BBDF-70D09994459A}"/>
                </a:ext>
              </a:extLst>
            </p:cNvPr>
            <p:cNvSpPr/>
            <p:nvPr/>
          </p:nvSpPr>
          <p:spPr bwMode="ltGray">
            <a:xfrm>
              <a:off x="3216946"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63" name="Freeform 4900">
              <a:extLst>
                <a:ext uri="{FF2B5EF4-FFF2-40B4-BE49-F238E27FC236}">
                  <a16:creationId xmlns:a16="http://schemas.microsoft.com/office/drawing/2014/main" id="{0C2FC797-7828-425B-8824-D223CB5DB367}"/>
                </a:ext>
              </a:extLst>
            </p:cNvPr>
            <p:cNvSpPr>
              <a:spLocks noEditPoints="1"/>
            </p:cNvSpPr>
            <p:nvPr/>
          </p:nvSpPr>
          <p:spPr bwMode="auto">
            <a:xfrm>
              <a:off x="3319256" y="2353728"/>
              <a:ext cx="407380" cy="480127"/>
            </a:xfrm>
            <a:custGeom>
              <a:avLst/>
              <a:gdLst>
                <a:gd name="T0" fmla="*/ 76 w 336"/>
                <a:gd name="T1" fmla="*/ 356 h 396"/>
                <a:gd name="T2" fmla="*/ 66 w 336"/>
                <a:gd name="T3" fmla="*/ 356 h 396"/>
                <a:gd name="T4" fmla="*/ 62 w 336"/>
                <a:gd name="T5" fmla="*/ 342 h 396"/>
                <a:gd name="T6" fmla="*/ 110 w 336"/>
                <a:gd name="T7" fmla="*/ 266 h 396"/>
                <a:gd name="T8" fmla="*/ 120 w 336"/>
                <a:gd name="T9" fmla="*/ 270 h 396"/>
                <a:gd name="T10" fmla="*/ 120 w 336"/>
                <a:gd name="T11" fmla="*/ 280 h 396"/>
                <a:gd name="T12" fmla="*/ 164 w 336"/>
                <a:gd name="T13" fmla="*/ 296 h 396"/>
                <a:gd name="T14" fmla="*/ 160 w 336"/>
                <a:gd name="T15" fmla="*/ 386 h 396"/>
                <a:gd name="T16" fmla="*/ 170 w 336"/>
                <a:gd name="T17" fmla="*/ 396 h 396"/>
                <a:gd name="T18" fmla="*/ 180 w 336"/>
                <a:gd name="T19" fmla="*/ 390 h 396"/>
                <a:gd name="T20" fmla="*/ 180 w 336"/>
                <a:gd name="T21" fmla="*/ 298 h 396"/>
                <a:gd name="T22" fmla="*/ 170 w 336"/>
                <a:gd name="T23" fmla="*/ 292 h 396"/>
                <a:gd name="T24" fmla="*/ 76 w 336"/>
                <a:gd name="T25" fmla="*/ 18 h 396"/>
                <a:gd name="T26" fmla="*/ 34 w 336"/>
                <a:gd name="T27" fmla="*/ 0 h 396"/>
                <a:gd name="T28" fmla="*/ 2 w 336"/>
                <a:gd name="T29" fmla="*/ 48 h 396"/>
                <a:gd name="T30" fmla="*/ 2 w 336"/>
                <a:gd name="T31" fmla="*/ 66 h 396"/>
                <a:gd name="T32" fmla="*/ 44 w 336"/>
                <a:gd name="T33" fmla="*/ 88 h 396"/>
                <a:gd name="T34" fmla="*/ 82 w 336"/>
                <a:gd name="T35" fmla="*/ 40 h 396"/>
                <a:gd name="T36" fmla="*/ 82 w 336"/>
                <a:gd name="T37" fmla="*/ 28 h 396"/>
                <a:gd name="T38" fmla="*/ 242 w 336"/>
                <a:gd name="T39" fmla="*/ 130 h 396"/>
                <a:gd name="T40" fmla="*/ 238 w 336"/>
                <a:gd name="T41" fmla="*/ 120 h 396"/>
                <a:gd name="T42" fmla="*/ 98 w 336"/>
                <a:gd name="T43" fmla="*/ 42 h 396"/>
                <a:gd name="T44" fmla="*/ 70 w 336"/>
                <a:gd name="T45" fmla="*/ 86 h 396"/>
                <a:gd name="T46" fmla="*/ 70 w 336"/>
                <a:gd name="T47" fmla="*/ 98 h 396"/>
                <a:gd name="T48" fmla="*/ 146 w 336"/>
                <a:gd name="T49" fmla="*/ 132 h 396"/>
                <a:gd name="T50" fmla="*/ 170 w 336"/>
                <a:gd name="T51" fmla="*/ 120 h 396"/>
                <a:gd name="T52" fmla="*/ 194 w 336"/>
                <a:gd name="T53" fmla="*/ 130 h 396"/>
                <a:gd name="T54" fmla="*/ 204 w 336"/>
                <a:gd name="T55" fmla="*/ 154 h 396"/>
                <a:gd name="T56" fmla="*/ 204 w 336"/>
                <a:gd name="T57" fmla="*/ 176 h 396"/>
                <a:gd name="T58" fmla="*/ 214 w 336"/>
                <a:gd name="T59" fmla="*/ 176 h 396"/>
                <a:gd name="T60" fmla="*/ 304 w 336"/>
                <a:gd name="T61" fmla="*/ 180 h 396"/>
                <a:gd name="T62" fmla="*/ 188 w 336"/>
                <a:gd name="T63" fmla="*/ 184 h 396"/>
                <a:gd name="T64" fmla="*/ 162 w 336"/>
                <a:gd name="T65" fmla="*/ 188 h 396"/>
                <a:gd name="T66" fmla="*/ 118 w 336"/>
                <a:gd name="T67" fmla="*/ 248 h 396"/>
                <a:gd name="T68" fmla="*/ 122 w 336"/>
                <a:gd name="T69" fmla="*/ 258 h 396"/>
                <a:gd name="T70" fmla="*/ 136 w 336"/>
                <a:gd name="T71" fmla="*/ 254 h 396"/>
                <a:gd name="T72" fmla="*/ 162 w 336"/>
                <a:gd name="T73" fmla="*/ 274 h 396"/>
                <a:gd name="T74" fmla="*/ 170 w 336"/>
                <a:gd name="T75" fmla="*/ 280 h 396"/>
                <a:gd name="T76" fmla="*/ 180 w 336"/>
                <a:gd name="T77" fmla="*/ 270 h 396"/>
                <a:gd name="T78" fmla="*/ 208 w 336"/>
                <a:gd name="T79" fmla="*/ 258 h 396"/>
                <a:gd name="T80" fmla="*/ 218 w 336"/>
                <a:gd name="T81" fmla="*/ 258 h 396"/>
                <a:gd name="T82" fmla="*/ 222 w 336"/>
                <a:gd name="T83" fmla="*/ 244 h 396"/>
                <a:gd name="T84" fmla="*/ 328 w 336"/>
                <a:gd name="T85" fmla="*/ 172 h 396"/>
                <a:gd name="T86" fmla="*/ 294 w 336"/>
                <a:gd name="T87" fmla="*/ 216 h 396"/>
                <a:gd name="T88" fmla="*/ 296 w 336"/>
                <a:gd name="T89" fmla="*/ 228 h 396"/>
                <a:gd name="T90" fmla="*/ 304 w 336"/>
                <a:gd name="T91" fmla="*/ 232 h 396"/>
                <a:gd name="T92" fmla="*/ 334 w 336"/>
                <a:gd name="T93" fmla="*/ 186 h 396"/>
                <a:gd name="T94" fmla="*/ 332 w 336"/>
                <a:gd name="T95" fmla="*/ 172 h 396"/>
                <a:gd name="T96" fmla="*/ 234 w 336"/>
                <a:gd name="T97" fmla="*/ 268 h 396"/>
                <a:gd name="T98" fmla="*/ 224 w 336"/>
                <a:gd name="T99" fmla="*/ 266 h 396"/>
                <a:gd name="T100" fmla="*/ 220 w 336"/>
                <a:gd name="T101" fmla="*/ 280 h 396"/>
                <a:gd name="T102" fmla="*/ 270 w 336"/>
                <a:gd name="T103" fmla="*/ 358 h 396"/>
                <a:gd name="T104" fmla="*/ 278 w 336"/>
                <a:gd name="T105" fmla="*/ 354 h 396"/>
                <a:gd name="T106" fmla="*/ 238 w 336"/>
                <a:gd name="T107" fmla="*/ 270 h 396"/>
                <a:gd name="T108" fmla="*/ 182 w 336"/>
                <a:gd name="T109" fmla="*/ 168 h 396"/>
                <a:gd name="T110" fmla="*/ 164 w 336"/>
                <a:gd name="T111" fmla="*/ 170 h 396"/>
                <a:gd name="T112" fmla="*/ 152 w 336"/>
                <a:gd name="T113" fmla="*/ 154 h 396"/>
                <a:gd name="T114" fmla="*/ 170 w 336"/>
                <a:gd name="T115" fmla="*/ 136 h 396"/>
                <a:gd name="T116" fmla="*/ 186 w 336"/>
                <a:gd name="T117" fmla="*/ 14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6" h="396">
                  <a:moveTo>
                    <a:pt x="120" y="280"/>
                  </a:moveTo>
                  <a:lnTo>
                    <a:pt x="78" y="352"/>
                  </a:lnTo>
                  <a:lnTo>
                    <a:pt x="78" y="352"/>
                  </a:lnTo>
                  <a:lnTo>
                    <a:pt x="76" y="356"/>
                  </a:lnTo>
                  <a:lnTo>
                    <a:pt x="70" y="358"/>
                  </a:lnTo>
                  <a:lnTo>
                    <a:pt x="70" y="358"/>
                  </a:lnTo>
                  <a:lnTo>
                    <a:pt x="66" y="356"/>
                  </a:lnTo>
                  <a:lnTo>
                    <a:pt x="66" y="356"/>
                  </a:lnTo>
                  <a:lnTo>
                    <a:pt x="62" y="354"/>
                  </a:lnTo>
                  <a:lnTo>
                    <a:pt x="60" y="350"/>
                  </a:lnTo>
                  <a:lnTo>
                    <a:pt x="60" y="346"/>
                  </a:lnTo>
                  <a:lnTo>
                    <a:pt x="62" y="342"/>
                  </a:lnTo>
                  <a:lnTo>
                    <a:pt x="104" y="270"/>
                  </a:lnTo>
                  <a:lnTo>
                    <a:pt x="104" y="270"/>
                  </a:lnTo>
                  <a:lnTo>
                    <a:pt x="106" y="268"/>
                  </a:lnTo>
                  <a:lnTo>
                    <a:pt x="110" y="266"/>
                  </a:lnTo>
                  <a:lnTo>
                    <a:pt x="112" y="266"/>
                  </a:lnTo>
                  <a:lnTo>
                    <a:pt x="116" y="266"/>
                  </a:lnTo>
                  <a:lnTo>
                    <a:pt x="116" y="266"/>
                  </a:lnTo>
                  <a:lnTo>
                    <a:pt x="120" y="270"/>
                  </a:lnTo>
                  <a:lnTo>
                    <a:pt x="122" y="272"/>
                  </a:lnTo>
                  <a:lnTo>
                    <a:pt x="122" y="276"/>
                  </a:lnTo>
                  <a:lnTo>
                    <a:pt x="120" y="280"/>
                  </a:lnTo>
                  <a:lnTo>
                    <a:pt x="120" y="280"/>
                  </a:lnTo>
                  <a:close/>
                  <a:moveTo>
                    <a:pt x="170" y="292"/>
                  </a:moveTo>
                  <a:lnTo>
                    <a:pt x="170" y="292"/>
                  </a:lnTo>
                  <a:lnTo>
                    <a:pt x="166" y="292"/>
                  </a:lnTo>
                  <a:lnTo>
                    <a:pt x="164" y="296"/>
                  </a:lnTo>
                  <a:lnTo>
                    <a:pt x="162" y="298"/>
                  </a:lnTo>
                  <a:lnTo>
                    <a:pt x="160" y="302"/>
                  </a:lnTo>
                  <a:lnTo>
                    <a:pt x="160" y="386"/>
                  </a:lnTo>
                  <a:lnTo>
                    <a:pt x="160" y="386"/>
                  </a:lnTo>
                  <a:lnTo>
                    <a:pt x="162" y="390"/>
                  </a:lnTo>
                  <a:lnTo>
                    <a:pt x="164" y="394"/>
                  </a:lnTo>
                  <a:lnTo>
                    <a:pt x="166" y="396"/>
                  </a:lnTo>
                  <a:lnTo>
                    <a:pt x="170" y="396"/>
                  </a:lnTo>
                  <a:lnTo>
                    <a:pt x="170" y="396"/>
                  </a:lnTo>
                  <a:lnTo>
                    <a:pt x="174" y="396"/>
                  </a:lnTo>
                  <a:lnTo>
                    <a:pt x="178" y="394"/>
                  </a:lnTo>
                  <a:lnTo>
                    <a:pt x="180" y="390"/>
                  </a:lnTo>
                  <a:lnTo>
                    <a:pt x="180" y="386"/>
                  </a:lnTo>
                  <a:lnTo>
                    <a:pt x="180" y="302"/>
                  </a:lnTo>
                  <a:lnTo>
                    <a:pt x="180" y="302"/>
                  </a:lnTo>
                  <a:lnTo>
                    <a:pt x="180" y="298"/>
                  </a:lnTo>
                  <a:lnTo>
                    <a:pt x="178" y="296"/>
                  </a:lnTo>
                  <a:lnTo>
                    <a:pt x="174" y="292"/>
                  </a:lnTo>
                  <a:lnTo>
                    <a:pt x="170" y="292"/>
                  </a:lnTo>
                  <a:lnTo>
                    <a:pt x="170" y="292"/>
                  </a:lnTo>
                  <a:close/>
                  <a:moveTo>
                    <a:pt x="82" y="28"/>
                  </a:moveTo>
                  <a:lnTo>
                    <a:pt x="82" y="28"/>
                  </a:lnTo>
                  <a:lnTo>
                    <a:pt x="80" y="22"/>
                  </a:lnTo>
                  <a:lnTo>
                    <a:pt x="76" y="18"/>
                  </a:lnTo>
                  <a:lnTo>
                    <a:pt x="46" y="2"/>
                  </a:lnTo>
                  <a:lnTo>
                    <a:pt x="46" y="2"/>
                  </a:lnTo>
                  <a:lnTo>
                    <a:pt x="40" y="0"/>
                  </a:lnTo>
                  <a:lnTo>
                    <a:pt x="34" y="0"/>
                  </a:lnTo>
                  <a:lnTo>
                    <a:pt x="28" y="2"/>
                  </a:lnTo>
                  <a:lnTo>
                    <a:pt x="24" y="8"/>
                  </a:lnTo>
                  <a:lnTo>
                    <a:pt x="2" y="48"/>
                  </a:lnTo>
                  <a:lnTo>
                    <a:pt x="2" y="48"/>
                  </a:lnTo>
                  <a:lnTo>
                    <a:pt x="0" y="54"/>
                  </a:lnTo>
                  <a:lnTo>
                    <a:pt x="0" y="60"/>
                  </a:lnTo>
                  <a:lnTo>
                    <a:pt x="0" y="60"/>
                  </a:lnTo>
                  <a:lnTo>
                    <a:pt x="2" y="66"/>
                  </a:lnTo>
                  <a:lnTo>
                    <a:pt x="8" y="70"/>
                  </a:lnTo>
                  <a:lnTo>
                    <a:pt x="36" y="86"/>
                  </a:lnTo>
                  <a:lnTo>
                    <a:pt x="36" y="86"/>
                  </a:lnTo>
                  <a:lnTo>
                    <a:pt x="44" y="88"/>
                  </a:lnTo>
                  <a:lnTo>
                    <a:pt x="44" y="88"/>
                  </a:lnTo>
                  <a:lnTo>
                    <a:pt x="52" y="86"/>
                  </a:lnTo>
                  <a:lnTo>
                    <a:pt x="58" y="80"/>
                  </a:lnTo>
                  <a:lnTo>
                    <a:pt x="82" y="40"/>
                  </a:lnTo>
                  <a:lnTo>
                    <a:pt x="82" y="40"/>
                  </a:lnTo>
                  <a:lnTo>
                    <a:pt x="84" y="34"/>
                  </a:lnTo>
                  <a:lnTo>
                    <a:pt x="82" y="28"/>
                  </a:lnTo>
                  <a:lnTo>
                    <a:pt x="82" y="28"/>
                  </a:lnTo>
                  <a:close/>
                  <a:moveTo>
                    <a:pt x="236" y="140"/>
                  </a:moveTo>
                  <a:lnTo>
                    <a:pt x="242" y="132"/>
                  </a:lnTo>
                  <a:lnTo>
                    <a:pt x="242" y="132"/>
                  </a:lnTo>
                  <a:lnTo>
                    <a:pt x="242" y="130"/>
                  </a:lnTo>
                  <a:lnTo>
                    <a:pt x="242" y="126"/>
                  </a:lnTo>
                  <a:lnTo>
                    <a:pt x="242" y="126"/>
                  </a:lnTo>
                  <a:lnTo>
                    <a:pt x="240" y="122"/>
                  </a:lnTo>
                  <a:lnTo>
                    <a:pt x="238" y="120"/>
                  </a:lnTo>
                  <a:lnTo>
                    <a:pt x="106" y="44"/>
                  </a:lnTo>
                  <a:lnTo>
                    <a:pt x="106" y="44"/>
                  </a:lnTo>
                  <a:lnTo>
                    <a:pt x="102" y="42"/>
                  </a:lnTo>
                  <a:lnTo>
                    <a:pt x="98" y="42"/>
                  </a:lnTo>
                  <a:lnTo>
                    <a:pt x="96" y="44"/>
                  </a:lnTo>
                  <a:lnTo>
                    <a:pt x="92" y="46"/>
                  </a:lnTo>
                  <a:lnTo>
                    <a:pt x="70" y="86"/>
                  </a:lnTo>
                  <a:lnTo>
                    <a:pt x="70" y="86"/>
                  </a:lnTo>
                  <a:lnTo>
                    <a:pt x="68" y="90"/>
                  </a:lnTo>
                  <a:lnTo>
                    <a:pt x="68" y="94"/>
                  </a:lnTo>
                  <a:lnTo>
                    <a:pt x="68" y="94"/>
                  </a:lnTo>
                  <a:lnTo>
                    <a:pt x="70" y="98"/>
                  </a:lnTo>
                  <a:lnTo>
                    <a:pt x="72" y="100"/>
                  </a:lnTo>
                  <a:lnTo>
                    <a:pt x="140" y="138"/>
                  </a:lnTo>
                  <a:lnTo>
                    <a:pt x="140" y="138"/>
                  </a:lnTo>
                  <a:lnTo>
                    <a:pt x="146" y="132"/>
                  </a:lnTo>
                  <a:lnTo>
                    <a:pt x="152" y="126"/>
                  </a:lnTo>
                  <a:lnTo>
                    <a:pt x="160" y="122"/>
                  </a:lnTo>
                  <a:lnTo>
                    <a:pt x="170" y="120"/>
                  </a:lnTo>
                  <a:lnTo>
                    <a:pt x="170" y="120"/>
                  </a:lnTo>
                  <a:lnTo>
                    <a:pt x="178" y="122"/>
                  </a:lnTo>
                  <a:lnTo>
                    <a:pt x="184" y="124"/>
                  </a:lnTo>
                  <a:lnTo>
                    <a:pt x="190" y="126"/>
                  </a:lnTo>
                  <a:lnTo>
                    <a:pt x="194" y="130"/>
                  </a:lnTo>
                  <a:lnTo>
                    <a:pt x="198" y="136"/>
                  </a:lnTo>
                  <a:lnTo>
                    <a:pt x="202" y="142"/>
                  </a:lnTo>
                  <a:lnTo>
                    <a:pt x="204" y="148"/>
                  </a:lnTo>
                  <a:lnTo>
                    <a:pt x="204" y="154"/>
                  </a:lnTo>
                  <a:lnTo>
                    <a:pt x="204" y="154"/>
                  </a:lnTo>
                  <a:lnTo>
                    <a:pt x="202" y="164"/>
                  </a:lnTo>
                  <a:lnTo>
                    <a:pt x="198" y="172"/>
                  </a:lnTo>
                  <a:lnTo>
                    <a:pt x="204" y="176"/>
                  </a:lnTo>
                  <a:lnTo>
                    <a:pt x="204" y="176"/>
                  </a:lnTo>
                  <a:lnTo>
                    <a:pt x="210" y="178"/>
                  </a:lnTo>
                  <a:lnTo>
                    <a:pt x="210" y="178"/>
                  </a:lnTo>
                  <a:lnTo>
                    <a:pt x="214" y="176"/>
                  </a:lnTo>
                  <a:lnTo>
                    <a:pt x="218" y="172"/>
                  </a:lnTo>
                  <a:lnTo>
                    <a:pt x="222" y="164"/>
                  </a:lnTo>
                  <a:lnTo>
                    <a:pt x="290" y="204"/>
                  </a:lnTo>
                  <a:lnTo>
                    <a:pt x="304" y="180"/>
                  </a:lnTo>
                  <a:lnTo>
                    <a:pt x="236" y="140"/>
                  </a:lnTo>
                  <a:close/>
                  <a:moveTo>
                    <a:pt x="222" y="244"/>
                  </a:moveTo>
                  <a:lnTo>
                    <a:pt x="188" y="184"/>
                  </a:lnTo>
                  <a:lnTo>
                    <a:pt x="188" y="184"/>
                  </a:lnTo>
                  <a:lnTo>
                    <a:pt x="180" y="188"/>
                  </a:lnTo>
                  <a:lnTo>
                    <a:pt x="170" y="188"/>
                  </a:lnTo>
                  <a:lnTo>
                    <a:pt x="170" y="188"/>
                  </a:lnTo>
                  <a:lnTo>
                    <a:pt x="162" y="188"/>
                  </a:lnTo>
                  <a:lnTo>
                    <a:pt x="154" y="184"/>
                  </a:lnTo>
                  <a:lnTo>
                    <a:pt x="118" y="244"/>
                  </a:lnTo>
                  <a:lnTo>
                    <a:pt x="118" y="244"/>
                  </a:lnTo>
                  <a:lnTo>
                    <a:pt x="118" y="248"/>
                  </a:lnTo>
                  <a:lnTo>
                    <a:pt x="118" y="252"/>
                  </a:lnTo>
                  <a:lnTo>
                    <a:pt x="120" y="254"/>
                  </a:lnTo>
                  <a:lnTo>
                    <a:pt x="122" y="258"/>
                  </a:lnTo>
                  <a:lnTo>
                    <a:pt x="122" y="258"/>
                  </a:lnTo>
                  <a:lnTo>
                    <a:pt x="126" y="258"/>
                  </a:lnTo>
                  <a:lnTo>
                    <a:pt x="130" y="258"/>
                  </a:lnTo>
                  <a:lnTo>
                    <a:pt x="134" y="256"/>
                  </a:lnTo>
                  <a:lnTo>
                    <a:pt x="136" y="254"/>
                  </a:lnTo>
                  <a:lnTo>
                    <a:pt x="160" y="212"/>
                  </a:lnTo>
                  <a:lnTo>
                    <a:pt x="160" y="270"/>
                  </a:lnTo>
                  <a:lnTo>
                    <a:pt x="160" y="270"/>
                  </a:lnTo>
                  <a:lnTo>
                    <a:pt x="162" y="274"/>
                  </a:lnTo>
                  <a:lnTo>
                    <a:pt x="164" y="278"/>
                  </a:lnTo>
                  <a:lnTo>
                    <a:pt x="166" y="280"/>
                  </a:lnTo>
                  <a:lnTo>
                    <a:pt x="170" y="280"/>
                  </a:lnTo>
                  <a:lnTo>
                    <a:pt x="170" y="280"/>
                  </a:lnTo>
                  <a:lnTo>
                    <a:pt x="174" y="280"/>
                  </a:lnTo>
                  <a:lnTo>
                    <a:pt x="178" y="278"/>
                  </a:lnTo>
                  <a:lnTo>
                    <a:pt x="180" y="274"/>
                  </a:lnTo>
                  <a:lnTo>
                    <a:pt x="180" y="270"/>
                  </a:lnTo>
                  <a:lnTo>
                    <a:pt x="180" y="212"/>
                  </a:lnTo>
                  <a:lnTo>
                    <a:pt x="204" y="254"/>
                  </a:lnTo>
                  <a:lnTo>
                    <a:pt x="204" y="254"/>
                  </a:lnTo>
                  <a:lnTo>
                    <a:pt x="208" y="258"/>
                  </a:lnTo>
                  <a:lnTo>
                    <a:pt x="214" y="258"/>
                  </a:lnTo>
                  <a:lnTo>
                    <a:pt x="214" y="258"/>
                  </a:lnTo>
                  <a:lnTo>
                    <a:pt x="218" y="258"/>
                  </a:lnTo>
                  <a:lnTo>
                    <a:pt x="218" y="258"/>
                  </a:lnTo>
                  <a:lnTo>
                    <a:pt x="222" y="254"/>
                  </a:lnTo>
                  <a:lnTo>
                    <a:pt x="222" y="252"/>
                  </a:lnTo>
                  <a:lnTo>
                    <a:pt x="224" y="248"/>
                  </a:lnTo>
                  <a:lnTo>
                    <a:pt x="222" y="244"/>
                  </a:lnTo>
                  <a:lnTo>
                    <a:pt x="222" y="244"/>
                  </a:lnTo>
                  <a:close/>
                  <a:moveTo>
                    <a:pt x="332" y="172"/>
                  </a:moveTo>
                  <a:lnTo>
                    <a:pt x="332" y="172"/>
                  </a:lnTo>
                  <a:lnTo>
                    <a:pt x="328" y="172"/>
                  </a:lnTo>
                  <a:lnTo>
                    <a:pt x="324" y="172"/>
                  </a:lnTo>
                  <a:lnTo>
                    <a:pt x="320" y="174"/>
                  </a:lnTo>
                  <a:lnTo>
                    <a:pt x="318" y="176"/>
                  </a:lnTo>
                  <a:lnTo>
                    <a:pt x="294" y="216"/>
                  </a:lnTo>
                  <a:lnTo>
                    <a:pt x="294" y="216"/>
                  </a:lnTo>
                  <a:lnTo>
                    <a:pt x="294" y="220"/>
                  </a:lnTo>
                  <a:lnTo>
                    <a:pt x="294" y="224"/>
                  </a:lnTo>
                  <a:lnTo>
                    <a:pt x="296" y="228"/>
                  </a:lnTo>
                  <a:lnTo>
                    <a:pt x="298" y="230"/>
                  </a:lnTo>
                  <a:lnTo>
                    <a:pt x="298" y="230"/>
                  </a:lnTo>
                  <a:lnTo>
                    <a:pt x="304" y="232"/>
                  </a:lnTo>
                  <a:lnTo>
                    <a:pt x="304" y="232"/>
                  </a:lnTo>
                  <a:lnTo>
                    <a:pt x="308" y="230"/>
                  </a:lnTo>
                  <a:lnTo>
                    <a:pt x="312" y="226"/>
                  </a:lnTo>
                  <a:lnTo>
                    <a:pt x="334" y="186"/>
                  </a:lnTo>
                  <a:lnTo>
                    <a:pt x="334" y="186"/>
                  </a:lnTo>
                  <a:lnTo>
                    <a:pt x="336" y="182"/>
                  </a:lnTo>
                  <a:lnTo>
                    <a:pt x="336" y="180"/>
                  </a:lnTo>
                  <a:lnTo>
                    <a:pt x="334" y="176"/>
                  </a:lnTo>
                  <a:lnTo>
                    <a:pt x="332" y="172"/>
                  </a:lnTo>
                  <a:lnTo>
                    <a:pt x="332" y="172"/>
                  </a:lnTo>
                  <a:close/>
                  <a:moveTo>
                    <a:pt x="238" y="270"/>
                  </a:moveTo>
                  <a:lnTo>
                    <a:pt x="238" y="270"/>
                  </a:lnTo>
                  <a:lnTo>
                    <a:pt x="234" y="268"/>
                  </a:lnTo>
                  <a:lnTo>
                    <a:pt x="232" y="266"/>
                  </a:lnTo>
                  <a:lnTo>
                    <a:pt x="228" y="266"/>
                  </a:lnTo>
                  <a:lnTo>
                    <a:pt x="224" y="266"/>
                  </a:lnTo>
                  <a:lnTo>
                    <a:pt x="224" y="266"/>
                  </a:lnTo>
                  <a:lnTo>
                    <a:pt x="220" y="270"/>
                  </a:lnTo>
                  <a:lnTo>
                    <a:pt x="220" y="272"/>
                  </a:lnTo>
                  <a:lnTo>
                    <a:pt x="218" y="276"/>
                  </a:lnTo>
                  <a:lnTo>
                    <a:pt x="220" y="280"/>
                  </a:lnTo>
                  <a:lnTo>
                    <a:pt x="262" y="352"/>
                  </a:lnTo>
                  <a:lnTo>
                    <a:pt x="262" y="352"/>
                  </a:lnTo>
                  <a:lnTo>
                    <a:pt x="266" y="356"/>
                  </a:lnTo>
                  <a:lnTo>
                    <a:pt x="270" y="358"/>
                  </a:lnTo>
                  <a:lnTo>
                    <a:pt x="270" y="358"/>
                  </a:lnTo>
                  <a:lnTo>
                    <a:pt x="276" y="356"/>
                  </a:lnTo>
                  <a:lnTo>
                    <a:pt x="276" y="356"/>
                  </a:lnTo>
                  <a:lnTo>
                    <a:pt x="278" y="354"/>
                  </a:lnTo>
                  <a:lnTo>
                    <a:pt x="280" y="350"/>
                  </a:lnTo>
                  <a:lnTo>
                    <a:pt x="280" y="346"/>
                  </a:lnTo>
                  <a:lnTo>
                    <a:pt x="280" y="342"/>
                  </a:lnTo>
                  <a:lnTo>
                    <a:pt x="238" y="270"/>
                  </a:lnTo>
                  <a:close/>
                  <a:moveTo>
                    <a:pt x="188" y="154"/>
                  </a:moveTo>
                  <a:lnTo>
                    <a:pt x="188" y="154"/>
                  </a:lnTo>
                  <a:lnTo>
                    <a:pt x="186" y="162"/>
                  </a:lnTo>
                  <a:lnTo>
                    <a:pt x="182" y="168"/>
                  </a:lnTo>
                  <a:lnTo>
                    <a:pt x="178" y="170"/>
                  </a:lnTo>
                  <a:lnTo>
                    <a:pt x="170" y="172"/>
                  </a:lnTo>
                  <a:lnTo>
                    <a:pt x="170" y="172"/>
                  </a:lnTo>
                  <a:lnTo>
                    <a:pt x="164" y="170"/>
                  </a:lnTo>
                  <a:lnTo>
                    <a:pt x="158" y="168"/>
                  </a:lnTo>
                  <a:lnTo>
                    <a:pt x="154" y="162"/>
                  </a:lnTo>
                  <a:lnTo>
                    <a:pt x="152" y="154"/>
                  </a:lnTo>
                  <a:lnTo>
                    <a:pt x="152" y="154"/>
                  </a:lnTo>
                  <a:lnTo>
                    <a:pt x="154" y="148"/>
                  </a:lnTo>
                  <a:lnTo>
                    <a:pt x="158" y="142"/>
                  </a:lnTo>
                  <a:lnTo>
                    <a:pt x="164" y="138"/>
                  </a:lnTo>
                  <a:lnTo>
                    <a:pt x="170" y="136"/>
                  </a:lnTo>
                  <a:lnTo>
                    <a:pt x="170" y="136"/>
                  </a:lnTo>
                  <a:lnTo>
                    <a:pt x="178" y="138"/>
                  </a:lnTo>
                  <a:lnTo>
                    <a:pt x="182" y="142"/>
                  </a:lnTo>
                  <a:lnTo>
                    <a:pt x="186" y="148"/>
                  </a:lnTo>
                  <a:lnTo>
                    <a:pt x="188" y="154"/>
                  </a:lnTo>
                  <a:lnTo>
                    <a:pt x="188" y="15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64" name="Group 63">
            <a:extLst>
              <a:ext uri="{FF2B5EF4-FFF2-40B4-BE49-F238E27FC236}">
                <a16:creationId xmlns:a16="http://schemas.microsoft.com/office/drawing/2014/main" id="{65F9167E-DDD1-4FD9-8777-12D1246FFDB4}"/>
              </a:ext>
            </a:extLst>
          </p:cNvPr>
          <p:cNvGrpSpPr/>
          <p:nvPr/>
        </p:nvGrpSpPr>
        <p:grpSpPr>
          <a:xfrm>
            <a:off x="1663281" y="2811612"/>
            <a:ext cx="612000" cy="612000"/>
            <a:chOff x="592807" y="3474401"/>
            <a:chExt cx="612000" cy="612000"/>
          </a:xfrm>
        </p:grpSpPr>
        <p:sp>
          <p:nvSpPr>
            <p:cNvPr id="65" name="Oval 64">
              <a:extLst>
                <a:ext uri="{FF2B5EF4-FFF2-40B4-BE49-F238E27FC236}">
                  <a16:creationId xmlns:a16="http://schemas.microsoft.com/office/drawing/2014/main" id="{8C5B25DF-F91E-4B9D-867B-9CD55F2857F4}"/>
                </a:ext>
              </a:extLst>
            </p:cNvPr>
            <p:cNvSpPr/>
            <p:nvPr/>
          </p:nvSpPr>
          <p:spPr bwMode="ltGray">
            <a:xfrm>
              <a:off x="592807"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66" name="Freeform 4901">
              <a:extLst>
                <a:ext uri="{FF2B5EF4-FFF2-40B4-BE49-F238E27FC236}">
                  <a16:creationId xmlns:a16="http://schemas.microsoft.com/office/drawing/2014/main" id="{9FDCFA71-4AC4-452B-A73B-DC7D145BAAFF}"/>
                </a:ext>
              </a:extLst>
            </p:cNvPr>
            <p:cNvSpPr>
              <a:spLocks noEditPoints="1"/>
            </p:cNvSpPr>
            <p:nvPr/>
          </p:nvSpPr>
          <p:spPr bwMode="auto">
            <a:xfrm>
              <a:off x="754527" y="3549195"/>
              <a:ext cx="288561" cy="443753"/>
            </a:xfrm>
            <a:custGeom>
              <a:avLst/>
              <a:gdLst>
                <a:gd name="T0" fmla="*/ 232 w 238"/>
                <a:gd name="T1" fmla="*/ 242 h 366"/>
                <a:gd name="T2" fmla="*/ 216 w 238"/>
                <a:gd name="T3" fmla="*/ 290 h 366"/>
                <a:gd name="T4" fmla="*/ 206 w 238"/>
                <a:gd name="T5" fmla="*/ 274 h 366"/>
                <a:gd name="T6" fmla="*/ 188 w 238"/>
                <a:gd name="T7" fmla="*/ 268 h 366"/>
                <a:gd name="T8" fmla="*/ 186 w 238"/>
                <a:gd name="T9" fmla="*/ 260 h 366"/>
                <a:gd name="T10" fmla="*/ 192 w 238"/>
                <a:gd name="T11" fmla="*/ 224 h 366"/>
                <a:gd name="T12" fmla="*/ 184 w 238"/>
                <a:gd name="T13" fmla="*/ 186 h 366"/>
                <a:gd name="T14" fmla="*/ 164 w 238"/>
                <a:gd name="T15" fmla="*/ 154 h 366"/>
                <a:gd name="T16" fmla="*/ 184 w 238"/>
                <a:gd name="T17" fmla="*/ 130 h 366"/>
                <a:gd name="T18" fmla="*/ 196 w 238"/>
                <a:gd name="T19" fmla="*/ 130 h 366"/>
                <a:gd name="T20" fmla="*/ 220 w 238"/>
                <a:gd name="T21" fmla="*/ 166 h 366"/>
                <a:gd name="T22" fmla="*/ 232 w 238"/>
                <a:gd name="T23" fmla="*/ 208 h 366"/>
                <a:gd name="T24" fmla="*/ 188 w 238"/>
                <a:gd name="T25" fmla="*/ 310 h 366"/>
                <a:gd name="T26" fmla="*/ 200 w 238"/>
                <a:gd name="T27" fmla="*/ 306 h 366"/>
                <a:gd name="T28" fmla="*/ 204 w 238"/>
                <a:gd name="T29" fmla="*/ 296 h 366"/>
                <a:gd name="T30" fmla="*/ 194 w 238"/>
                <a:gd name="T31" fmla="*/ 282 h 366"/>
                <a:gd name="T32" fmla="*/ 182 w 238"/>
                <a:gd name="T33" fmla="*/ 282 h 366"/>
                <a:gd name="T34" fmla="*/ 174 w 238"/>
                <a:gd name="T35" fmla="*/ 296 h 366"/>
                <a:gd name="T36" fmla="*/ 178 w 238"/>
                <a:gd name="T37" fmla="*/ 306 h 366"/>
                <a:gd name="T38" fmla="*/ 188 w 238"/>
                <a:gd name="T39" fmla="*/ 310 h 366"/>
                <a:gd name="T40" fmla="*/ 140 w 238"/>
                <a:gd name="T41" fmla="*/ 98 h 366"/>
                <a:gd name="T42" fmla="*/ 126 w 238"/>
                <a:gd name="T43" fmla="*/ 120 h 366"/>
                <a:gd name="T44" fmla="*/ 132 w 238"/>
                <a:gd name="T45" fmla="*/ 134 h 366"/>
                <a:gd name="T46" fmla="*/ 148 w 238"/>
                <a:gd name="T47" fmla="*/ 142 h 366"/>
                <a:gd name="T48" fmla="*/ 168 w 238"/>
                <a:gd name="T49" fmla="*/ 128 h 366"/>
                <a:gd name="T50" fmla="*/ 168 w 238"/>
                <a:gd name="T51" fmla="*/ 110 h 366"/>
                <a:gd name="T52" fmla="*/ 148 w 238"/>
                <a:gd name="T53" fmla="*/ 98 h 366"/>
                <a:gd name="T54" fmla="*/ 192 w 238"/>
                <a:gd name="T55" fmla="*/ 322 h 366"/>
                <a:gd name="T56" fmla="*/ 188 w 238"/>
                <a:gd name="T57" fmla="*/ 322 h 366"/>
                <a:gd name="T58" fmla="*/ 164 w 238"/>
                <a:gd name="T59" fmla="*/ 306 h 366"/>
                <a:gd name="T60" fmla="*/ 150 w 238"/>
                <a:gd name="T61" fmla="*/ 306 h 366"/>
                <a:gd name="T62" fmla="*/ 106 w 238"/>
                <a:gd name="T63" fmla="*/ 322 h 366"/>
                <a:gd name="T64" fmla="*/ 6 w 238"/>
                <a:gd name="T65" fmla="*/ 322 h 366"/>
                <a:gd name="T66" fmla="*/ 0 w 238"/>
                <a:gd name="T67" fmla="*/ 332 h 366"/>
                <a:gd name="T68" fmla="*/ 0 w 238"/>
                <a:gd name="T69" fmla="*/ 360 h 366"/>
                <a:gd name="T70" fmla="*/ 10 w 238"/>
                <a:gd name="T71" fmla="*/ 366 h 366"/>
                <a:gd name="T72" fmla="*/ 232 w 238"/>
                <a:gd name="T73" fmla="*/ 366 h 366"/>
                <a:gd name="T74" fmla="*/ 238 w 238"/>
                <a:gd name="T75" fmla="*/ 356 h 366"/>
                <a:gd name="T76" fmla="*/ 236 w 238"/>
                <a:gd name="T77" fmla="*/ 328 h 366"/>
                <a:gd name="T78" fmla="*/ 228 w 238"/>
                <a:gd name="T79" fmla="*/ 322 h 366"/>
                <a:gd name="T80" fmla="*/ 16 w 238"/>
                <a:gd name="T81" fmla="*/ 206 h 366"/>
                <a:gd name="T82" fmla="*/ 114 w 238"/>
                <a:gd name="T83" fmla="*/ 262 h 366"/>
                <a:gd name="T84" fmla="*/ 96 w 238"/>
                <a:gd name="T85" fmla="*/ 236 h 366"/>
                <a:gd name="T86" fmla="*/ 106 w 238"/>
                <a:gd name="T87" fmla="*/ 238 h 366"/>
                <a:gd name="T88" fmla="*/ 154 w 238"/>
                <a:gd name="T89" fmla="*/ 156 h 366"/>
                <a:gd name="T90" fmla="*/ 140 w 238"/>
                <a:gd name="T91" fmla="*/ 156 h 366"/>
                <a:gd name="T92" fmla="*/ 120 w 238"/>
                <a:gd name="T93" fmla="*/ 146 h 366"/>
                <a:gd name="T94" fmla="*/ 110 w 238"/>
                <a:gd name="T95" fmla="*/ 126 h 366"/>
                <a:gd name="T96" fmla="*/ 110 w 238"/>
                <a:gd name="T97" fmla="*/ 112 h 366"/>
                <a:gd name="T98" fmla="*/ 120 w 238"/>
                <a:gd name="T99" fmla="*/ 92 h 366"/>
                <a:gd name="T100" fmla="*/ 140 w 238"/>
                <a:gd name="T101" fmla="*/ 82 h 366"/>
                <a:gd name="T102" fmla="*/ 160 w 238"/>
                <a:gd name="T103" fmla="*/ 84 h 366"/>
                <a:gd name="T104" fmla="*/ 184 w 238"/>
                <a:gd name="T105" fmla="*/ 106 h 366"/>
                <a:gd name="T106" fmla="*/ 202 w 238"/>
                <a:gd name="T107" fmla="*/ 76 h 366"/>
                <a:gd name="T108" fmla="*/ 200 w 238"/>
                <a:gd name="T109" fmla="*/ 68 h 366"/>
                <a:gd name="T110" fmla="*/ 196 w 238"/>
                <a:gd name="T111" fmla="*/ 40 h 366"/>
                <a:gd name="T112" fmla="*/ 166 w 238"/>
                <a:gd name="T113" fmla="*/ 0 h 366"/>
                <a:gd name="T114" fmla="*/ 156 w 238"/>
                <a:gd name="T115" fmla="*/ 42 h 366"/>
                <a:gd name="T116" fmla="*/ 142 w 238"/>
                <a:gd name="T117" fmla="*/ 34 h 366"/>
                <a:gd name="T118" fmla="*/ 132 w 238"/>
                <a:gd name="T119" fmla="*/ 40 h 366"/>
                <a:gd name="T120" fmla="*/ 40 w 238"/>
                <a:gd name="T121" fmla="*/ 198 h 366"/>
                <a:gd name="T122" fmla="*/ 42 w 238"/>
                <a:gd name="T123" fmla="*/ 204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8" h="366">
                  <a:moveTo>
                    <a:pt x="232" y="224"/>
                  </a:moveTo>
                  <a:lnTo>
                    <a:pt x="232" y="224"/>
                  </a:lnTo>
                  <a:lnTo>
                    <a:pt x="232" y="242"/>
                  </a:lnTo>
                  <a:lnTo>
                    <a:pt x="228" y="260"/>
                  </a:lnTo>
                  <a:lnTo>
                    <a:pt x="222" y="276"/>
                  </a:lnTo>
                  <a:lnTo>
                    <a:pt x="216" y="290"/>
                  </a:lnTo>
                  <a:lnTo>
                    <a:pt x="216" y="290"/>
                  </a:lnTo>
                  <a:lnTo>
                    <a:pt x="212" y="282"/>
                  </a:lnTo>
                  <a:lnTo>
                    <a:pt x="206" y="274"/>
                  </a:lnTo>
                  <a:lnTo>
                    <a:pt x="198" y="270"/>
                  </a:lnTo>
                  <a:lnTo>
                    <a:pt x="188" y="268"/>
                  </a:lnTo>
                  <a:lnTo>
                    <a:pt x="188" y="268"/>
                  </a:lnTo>
                  <a:lnTo>
                    <a:pt x="182" y="270"/>
                  </a:lnTo>
                  <a:lnTo>
                    <a:pt x="182" y="270"/>
                  </a:lnTo>
                  <a:lnTo>
                    <a:pt x="186" y="260"/>
                  </a:lnTo>
                  <a:lnTo>
                    <a:pt x="190" y="248"/>
                  </a:lnTo>
                  <a:lnTo>
                    <a:pt x="192" y="236"/>
                  </a:lnTo>
                  <a:lnTo>
                    <a:pt x="192" y="224"/>
                  </a:lnTo>
                  <a:lnTo>
                    <a:pt x="192" y="224"/>
                  </a:lnTo>
                  <a:lnTo>
                    <a:pt x="190" y="204"/>
                  </a:lnTo>
                  <a:lnTo>
                    <a:pt x="184" y="186"/>
                  </a:lnTo>
                  <a:lnTo>
                    <a:pt x="176" y="168"/>
                  </a:lnTo>
                  <a:lnTo>
                    <a:pt x="164" y="154"/>
                  </a:lnTo>
                  <a:lnTo>
                    <a:pt x="164" y="154"/>
                  </a:lnTo>
                  <a:lnTo>
                    <a:pt x="172" y="148"/>
                  </a:lnTo>
                  <a:lnTo>
                    <a:pt x="180" y="140"/>
                  </a:lnTo>
                  <a:lnTo>
                    <a:pt x="184" y="130"/>
                  </a:lnTo>
                  <a:lnTo>
                    <a:pt x="186" y="120"/>
                  </a:lnTo>
                  <a:lnTo>
                    <a:pt x="186" y="120"/>
                  </a:lnTo>
                  <a:lnTo>
                    <a:pt x="196" y="130"/>
                  </a:lnTo>
                  <a:lnTo>
                    <a:pt x="206" y="142"/>
                  </a:lnTo>
                  <a:lnTo>
                    <a:pt x="214" y="154"/>
                  </a:lnTo>
                  <a:lnTo>
                    <a:pt x="220" y="166"/>
                  </a:lnTo>
                  <a:lnTo>
                    <a:pt x="226" y="180"/>
                  </a:lnTo>
                  <a:lnTo>
                    <a:pt x="230" y="194"/>
                  </a:lnTo>
                  <a:lnTo>
                    <a:pt x="232" y="208"/>
                  </a:lnTo>
                  <a:lnTo>
                    <a:pt x="232" y="224"/>
                  </a:lnTo>
                  <a:lnTo>
                    <a:pt x="232" y="224"/>
                  </a:lnTo>
                  <a:close/>
                  <a:moveTo>
                    <a:pt x="188" y="310"/>
                  </a:moveTo>
                  <a:lnTo>
                    <a:pt x="188" y="310"/>
                  </a:lnTo>
                  <a:lnTo>
                    <a:pt x="194" y="310"/>
                  </a:lnTo>
                  <a:lnTo>
                    <a:pt x="200" y="306"/>
                  </a:lnTo>
                  <a:lnTo>
                    <a:pt x="202" y="302"/>
                  </a:lnTo>
                  <a:lnTo>
                    <a:pt x="204" y="296"/>
                  </a:lnTo>
                  <a:lnTo>
                    <a:pt x="204" y="296"/>
                  </a:lnTo>
                  <a:lnTo>
                    <a:pt x="202" y="290"/>
                  </a:lnTo>
                  <a:lnTo>
                    <a:pt x="200" y="284"/>
                  </a:lnTo>
                  <a:lnTo>
                    <a:pt x="194" y="282"/>
                  </a:lnTo>
                  <a:lnTo>
                    <a:pt x="188" y="280"/>
                  </a:lnTo>
                  <a:lnTo>
                    <a:pt x="188" y="280"/>
                  </a:lnTo>
                  <a:lnTo>
                    <a:pt x="182" y="282"/>
                  </a:lnTo>
                  <a:lnTo>
                    <a:pt x="178" y="284"/>
                  </a:lnTo>
                  <a:lnTo>
                    <a:pt x="174" y="290"/>
                  </a:lnTo>
                  <a:lnTo>
                    <a:pt x="174" y="296"/>
                  </a:lnTo>
                  <a:lnTo>
                    <a:pt x="174" y="296"/>
                  </a:lnTo>
                  <a:lnTo>
                    <a:pt x="174" y="302"/>
                  </a:lnTo>
                  <a:lnTo>
                    <a:pt x="178" y="306"/>
                  </a:lnTo>
                  <a:lnTo>
                    <a:pt x="182" y="310"/>
                  </a:lnTo>
                  <a:lnTo>
                    <a:pt x="188" y="310"/>
                  </a:lnTo>
                  <a:lnTo>
                    <a:pt x="188" y="310"/>
                  </a:lnTo>
                  <a:close/>
                  <a:moveTo>
                    <a:pt x="148" y="98"/>
                  </a:moveTo>
                  <a:lnTo>
                    <a:pt x="148" y="98"/>
                  </a:lnTo>
                  <a:lnTo>
                    <a:pt x="140" y="98"/>
                  </a:lnTo>
                  <a:lnTo>
                    <a:pt x="132" y="104"/>
                  </a:lnTo>
                  <a:lnTo>
                    <a:pt x="128" y="110"/>
                  </a:lnTo>
                  <a:lnTo>
                    <a:pt x="126" y="120"/>
                  </a:lnTo>
                  <a:lnTo>
                    <a:pt x="126" y="120"/>
                  </a:lnTo>
                  <a:lnTo>
                    <a:pt x="128" y="128"/>
                  </a:lnTo>
                  <a:lnTo>
                    <a:pt x="132" y="134"/>
                  </a:lnTo>
                  <a:lnTo>
                    <a:pt x="140" y="140"/>
                  </a:lnTo>
                  <a:lnTo>
                    <a:pt x="148" y="142"/>
                  </a:lnTo>
                  <a:lnTo>
                    <a:pt x="148" y="142"/>
                  </a:lnTo>
                  <a:lnTo>
                    <a:pt x="156" y="140"/>
                  </a:lnTo>
                  <a:lnTo>
                    <a:pt x="164" y="134"/>
                  </a:lnTo>
                  <a:lnTo>
                    <a:pt x="168" y="128"/>
                  </a:lnTo>
                  <a:lnTo>
                    <a:pt x="170" y="120"/>
                  </a:lnTo>
                  <a:lnTo>
                    <a:pt x="170" y="120"/>
                  </a:lnTo>
                  <a:lnTo>
                    <a:pt x="168" y="110"/>
                  </a:lnTo>
                  <a:lnTo>
                    <a:pt x="164" y="104"/>
                  </a:lnTo>
                  <a:lnTo>
                    <a:pt x="156" y="98"/>
                  </a:lnTo>
                  <a:lnTo>
                    <a:pt x="148" y="98"/>
                  </a:lnTo>
                  <a:lnTo>
                    <a:pt x="148" y="98"/>
                  </a:lnTo>
                  <a:close/>
                  <a:moveTo>
                    <a:pt x="228" y="322"/>
                  </a:moveTo>
                  <a:lnTo>
                    <a:pt x="192" y="322"/>
                  </a:lnTo>
                  <a:lnTo>
                    <a:pt x="192" y="322"/>
                  </a:lnTo>
                  <a:lnTo>
                    <a:pt x="188" y="322"/>
                  </a:lnTo>
                  <a:lnTo>
                    <a:pt x="188" y="322"/>
                  </a:lnTo>
                  <a:lnTo>
                    <a:pt x="178" y="320"/>
                  </a:lnTo>
                  <a:lnTo>
                    <a:pt x="170" y="314"/>
                  </a:lnTo>
                  <a:lnTo>
                    <a:pt x="164" y="306"/>
                  </a:lnTo>
                  <a:lnTo>
                    <a:pt x="162" y="296"/>
                  </a:lnTo>
                  <a:lnTo>
                    <a:pt x="162" y="296"/>
                  </a:lnTo>
                  <a:lnTo>
                    <a:pt x="150" y="306"/>
                  </a:lnTo>
                  <a:lnTo>
                    <a:pt x="136" y="314"/>
                  </a:lnTo>
                  <a:lnTo>
                    <a:pt x="122" y="318"/>
                  </a:lnTo>
                  <a:lnTo>
                    <a:pt x="106" y="322"/>
                  </a:lnTo>
                  <a:lnTo>
                    <a:pt x="10" y="322"/>
                  </a:lnTo>
                  <a:lnTo>
                    <a:pt x="10" y="322"/>
                  </a:lnTo>
                  <a:lnTo>
                    <a:pt x="6" y="322"/>
                  </a:lnTo>
                  <a:lnTo>
                    <a:pt x="2" y="326"/>
                  </a:lnTo>
                  <a:lnTo>
                    <a:pt x="0" y="328"/>
                  </a:lnTo>
                  <a:lnTo>
                    <a:pt x="0" y="332"/>
                  </a:lnTo>
                  <a:lnTo>
                    <a:pt x="0" y="356"/>
                  </a:lnTo>
                  <a:lnTo>
                    <a:pt x="0" y="356"/>
                  </a:lnTo>
                  <a:lnTo>
                    <a:pt x="0" y="360"/>
                  </a:lnTo>
                  <a:lnTo>
                    <a:pt x="2" y="362"/>
                  </a:lnTo>
                  <a:lnTo>
                    <a:pt x="6" y="366"/>
                  </a:lnTo>
                  <a:lnTo>
                    <a:pt x="10" y="366"/>
                  </a:lnTo>
                  <a:lnTo>
                    <a:pt x="228" y="366"/>
                  </a:lnTo>
                  <a:lnTo>
                    <a:pt x="228" y="366"/>
                  </a:lnTo>
                  <a:lnTo>
                    <a:pt x="232" y="366"/>
                  </a:lnTo>
                  <a:lnTo>
                    <a:pt x="234" y="362"/>
                  </a:lnTo>
                  <a:lnTo>
                    <a:pt x="236" y="360"/>
                  </a:lnTo>
                  <a:lnTo>
                    <a:pt x="238" y="356"/>
                  </a:lnTo>
                  <a:lnTo>
                    <a:pt x="238" y="332"/>
                  </a:lnTo>
                  <a:lnTo>
                    <a:pt x="238" y="332"/>
                  </a:lnTo>
                  <a:lnTo>
                    <a:pt x="236" y="328"/>
                  </a:lnTo>
                  <a:lnTo>
                    <a:pt x="234" y="326"/>
                  </a:lnTo>
                  <a:lnTo>
                    <a:pt x="232" y="322"/>
                  </a:lnTo>
                  <a:lnTo>
                    <a:pt x="228" y="322"/>
                  </a:lnTo>
                  <a:lnTo>
                    <a:pt x="228" y="322"/>
                  </a:lnTo>
                  <a:close/>
                  <a:moveTo>
                    <a:pt x="114" y="262"/>
                  </a:moveTo>
                  <a:lnTo>
                    <a:pt x="16" y="206"/>
                  </a:lnTo>
                  <a:lnTo>
                    <a:pt x="6" y="222"/>
                  </a:lnTo>
                  <a:lnTo>
                    <a:pt x="104" y="278"/>
                  </a:lnTo>
                  <a:lnTo>
                    <a:pt x="114" y="262"/>
                  </a:lnTo>
                  <a:close/>
                  <a:moveTo>
                    <a:pt x="46" y="208"/>
                  </a:moveTo>
                  <a:lnTo>
                    <a:pt x="96" y="236"/>
                  </a:lnTo>
                  <a:lnTo>
                    <a:pt x="96" y="236"/>
                  </a:lnTo>
                  <a:lnTo>
                    <a:pt x="102" y="238"/>
                  </a:lnTo>
                  <a:lnTo>
                    <a:pt x="102" y="238"/>
                  </a:lnTo>
                  <a:lnTo>
                    <a:pt x="106" y="238"/>
                  </a:lnTo>
                  <a:lnTo>
                    <a:pt x="110" y="234"/>
                  </a:lnTo>
                  <a:lnTo>
                    <a:pt x="154" y="156"/>
                  </a:lnTo>
                  <a:lnTo>
                    <a:pt x="154" y="156"/>
                  </a:lnTo>
                  <a:lnTo>
                    <a:pt x="148" y="158"/>
                  </a:lnTo>
                  <a:lnTo>
                    <a:pt x="148" y="158"/>
                  </a:lnTo>
                  <a:lnTo>
                    <a:pt x="140" y="156"/>
                  </a:lnTo>
                  <a:lnTo>
                    <a:pt x="132" y="154"/>
                  </a:lnTo>
                  <a:lnTo>
                    <a:pt x="126" y="150"/>
                  </a:lnTo>
                  <a:lnTo>
                    <a:pt x="120" y="146"/>
                  </a:lnTo>
                  <a:lnTo>
                    <a:pt x="116" y="140"/>
                  </a:lnTo>
                  <a:lnTo>
                    <a:pt x="112" y="134"/>
                  </a:lnTo>
                  <a:lnTo>
                    <a:pt x="110" y="126"/>
                  </a:lnTo>
                  <a:lnTo>
                    <a:pt x="110" y="120"/>
                  </a:lnTo>
                  <a:lnTo>
                    <a:pt x="110" y="120"/>
                  </a:lnTo>
                  <a:lnTo>
                    <a:pt x="110" y="112"/>
                  </a:lnTo>
                  <a:lnTo>
                    <a:pt x="112" y="104"/>
                  </a:lnTo>
                  <a:lnTo>
                    <a:pt x="116" y="98"/>
                  </a:lnTo>
                  <a:lnTo>
                    <a:pt x="120" y="92"/>
                  </a:lnTo>
                  <a:lnTo>
                    <a:pt x="126" y="88"/>
                  </a:lnTo>
                  <a:lnTo>
                    <a:pt x="132" y="84"/>
                  </a:lnTo>
                  <a:lnTo>
                    <a:pt x="140" y="82"/>
                  </a:lnTo>
                  <a:lnTo>
                    <a:pt x="148" y="82"/>
                  </a:lnTo>
                  <a:lnTo>
                    <a:pt x="148" y="82"/>
                  </a:lnTo>
                  <a:lnTo>
                    <a:pt x="160" y="84"/>
                  </a:lnTo>
                  <a:lnTo>
                    <a:pt x="170" y="88"/>
                  </a:lnTo>
                  <a:lnTo>
                    <a:pt x="178" y="96"/>
                  </a:lnTo>
                  <a:lnTo>
                    <a:pt x="184" y="106"/>
                  </a:lnTo>
                  <a:lnTo>
                    <a:pt x="200" y="78"/>
                  </a:lnTo>
                  <a:lnTo>
                    <a:pt x="200" y="78"/>
                  </a:lnTo>
                  <a:lnTo>
                    <a:pt x="202" y="76"/>
                  </a:lnTo>
                  <a:lnTo>
                    <a:pt x="200" y="72"/>
                  </a:lnTo>
                  <a:lnTo>
                    <a:pt x="200" y="72"/>
                  </a:lnTo>
                  <a:lnTo>
                    <a:pt x="200" y="68"/>
                  </a:lnTo>
                  <a:lnTo>
                    <a:pt x="196" y="66"/>
                  </a:lnTo>
                  <a:lnTo>
                    <a:pt x="184" y="58"/>
                  </a:lnTo>
                  <a:lnTo>
                    <a:pt x="196" y="40"/>
                  </a:lnTo>
                  <a:lnTo>
                    <a:pt x="206" y="46"/>
                  </a:lnTo>
                  <a:lnTo>
                    <a:pt x="216" y="30"/>
                  </a:lnTo>
                  <a:lnTo>
                    <a:pt x="166" y="0"/>
                  </a:lnTo>
                  <a:lnTo>
                    <a:pt x="156" y="16"/>
                  </a:lnTo>
                  <a:lnTo>
                    <a:pt x="168" y="24"/>
                  </a:lnTo>
                  <a:lnTo>
                    <a:pt x="156" y="42"/>
                  </a:lnTo>
                  <a:lnTo>
                    <a:pt x="144" y="36"/>
                  </a:lnTo>
                  <a:lnTo>
                    <a:pt x="144" y="36"/>
                  </a:lnTo>
                  <a:lnTo>
                    <a:pt x="142" y="34"/>
                  </a:lnTo>
                  <a:lnTo>
                    <a:pt x="138" y="34"/>
                  </a:lnTo>
                  <a:lnTo>
                    <a:pt x="134" y="36"/>
                  </a:lnTo>
                  <a:lnTo>
                    <a:pt x="132" y="40"/>
                  </a:lnTo>
                  <a:lnTo>
                    <a:pt x="42" y="194"/>
                  </a:lnTo>
                  <a:lnTo>
                    <a:pt x="42" y="194"/>
                  </a:lnTo>
                  <a:lnTo>
                    <a:pt x="40" y="198"/>
                  </a:lnTo>
                  <a:lnTo>
                    <a:pt x="42" y="202"/>
                  </a:lnTo>
                  <a:lnTo>
                    <a:pt x="42" y="202"/>
                  </a:lnTo>
                  <a:lnTo>
                    <a:pt x="42" y="204"/>
                  </a:lnTo>
                  <a:lnTo>
                    <a:pt x="46" y="208"/>
                  </a:lnTo>
                  <a:lnTo>
                    <a:pt x="46" y="20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67" name="Group 66">
            <a:extLst>
              <a:ext uri="{FF2B5EF4-FFF2-40B4-BE49-F238E27FC236}">
                <a16:creationId xmlns:a16="http://schemas.microsoft.com/office/drawing/2014/main" id="{0EF1389C-8358-47EB-B31C-52D5364EED8E}"/>
              </a:ext>
            </a:extLst>
          </p:cNvPr>
          <p:cNvGrpSpPr/>
          <p:nvPr/>
        </p:nvGrpSpPr>
        <p:grpSpPr>
          <a:xfrm>
            <a:off x="4287420" y="3814747"/>
            <a:ext cx="612000" cy="612000"/>
            <a:chOff x="3216946" y="4690710"/>
            <a:chExt cx="612000" cy="612000"/>
          </a:xfrm>
        </p:grpSpPr>
        <p:sp>
          <p:nvSpPr>
            <p:cNvPr id="68" name="Oval 67">
              <a:extLst>
                <a:ext uri="{FF2B5EF4-FFF2-40B4-BE49-F238E27FC236}">
                  <a16:creationId xmlns:a16="http://schemas.microsoft.com/office/drawing/2014/main" id="{C0B3F75F-E747-4EFD-ACDB-AAB53D79D8DD}"/>
                </a:ext>
              </a:extLst>
            </p:cNvPr>
            <p:cNvSpPr/>
            <p:nvPr/>
          </p:nvSpPr>
          <p:spPr bwMode="ltGray">
            <a:xfrm>
              <a:off x="3216946"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69" name="Freeform 4902">
              <a:extLst>
                <a:ext uri="{FF2B5EF4-FFF2-40B4-BE49-F238E27FC236}">
                  <a16:creationId xmlns:a16="http://schemas.microsoft.com/office/drawing/2014/main" id="{3C14825A-64C3-44C9-A61C-B133FF3DD952}"/>
                </a:ext>
              </a:extLst>
            </p:cNvPr>
            <p:cNvSpPr>
              <a:spLocks noEditPoints="1"/>
            </p:cNvSpPr>
            <p:nvPr/>
          </p:nvSpPr>
          <p:spPr bwMode="auto">
            <a:xfrm>
              <a:off x="3356096" y="4817408"/>
              <a:ext cx="317659" cy="373432"/>
            </a:xfrm>
            <a:custGeom>
              <a:avLst/>
              <a:gdLst>
                <a:gd name="T0" fmla="*/ 196 w 262"/>
                <a:gd name="T1" fmla="*/ 16 h 308"/>
                <a:gd name="T2" fmla="*/ 48 w 262"/>
                <a:gd name="T3" fmla="*/ 0 h 308"/>
                <a:gd name="T4" fmla="*/ 42 w 262"/>
                <a:gd name="T5" fmla="*/ 2 h 308"/>
                <a:gd name="T6" fmla="*/ 34 w 262"/>
                <a:gd name="T7" fmla="*/ 10 h 308"/>
                <a:gd name="T8" fmla="*/ 32 w 262"/>
                <a:gd name="T9" fmla="*/ 62 h 308"/>
                <a:gd name="T10" fmla="*/ 42 w 262"/>
                <a:gd name="T11" fmla="*/ 64 h 308"/>
                <a:gd name="T12" fmla="*/ 176 w 262"/>
                <a:gd name="T13" fmla="*/ 196 h 308"/>
                <a:gd name="T14" fmla="*/ 118 w 262"/>
                <a:gd name="T15" fmla="*/ 254 h 308"/>
                <a:gd name="T16" fmla="*/ 32 w 262"/>
                <a:gd name="T17" fmla="*/ 292 h 308"/>
                <a:gd name="T18" fmla="*/ 34 w 262"/>
                <a:gd name="T19" fmla="*/ 300 h 308"/>
                <a:gd name="T20" fmla="*/ 42 w 262"/>
                <a:gd name="T21" fmla="*/ 308 h 308"/>
                <a:gd name="T22" fmla="*/ 246 w 262"/>
                <a:gd name="T23" fmla="*/ 308 h 308"/>
                <a:gd name="T24" fmla="*/ 252 w 262"/>
                <a:gd name="T25" fmla="*/ 308 h 308"/>
                <a:gd name="T26" fmla="*/ 262 w 262"/>
                <a:gd name="T27" fmla="*/ 300 h 308"/>
                <a:gd name="T28" fmla="*/ 262 w 262"/>
                <a:gd name="T29" fmla="*/ 82 h 308"/>
                <a:gd name="T30" fmla="*/ 178 w 262"/>
                <a:gd name="T31" fmla="*/ 84 h 308"/>
                <a:gd name="T32" fmla="*/ 196 w 262"/>
                <a:gd name="T33" fmla="*/ 42 h 308"/>
                <a:gd name="T34" fmla="*/ 220 w 262"/>
                <a:gd name="T35" fmla="*/ 66 h 308"/>
                <a:gd name="T36" fmla="*/ 178 w 262"/>
                <a:gd name="T37" fmla="*/ 84 h 308"/>
                <a:gd name="T38" fmla="*/ 124 w 262"/>
                <a:gd name="T39" fmla="*/ 214 h 308"/>
                <a:gd name="T40" fmla="*/ 116 w 262"/>
                <a:gd name="T41" fmla="*/ 226 h 308"/>
                <a:gd name="T42" fmla="*/ 4 w 262"/>
                <a:gd name="T43" fmla="*/ 114 h 308"/>
                <a:gd name="T44" fmla="*/ 0 w 262"/>
                <a:gd name="T45" fmla="*/ 110 h 308"/>
                <a:gd name="T46" fmla="*/ 14 w 262"/>
                <a:gd name="T47" fmla="*/ 104 h 308"/>
                <a:gd name="T48" fmla="*/ 36 w 262"/>
                <a:gd name="T49" fmla="*/ 82 h 308"/>
                <a:gd name="T50" fmla="*/ 32 w 262"/>
                <a:gd name="T51" fmla="*/ 78 h 308"/>
                <a:gd name="T52" fmla="*/ 26 w 262"/>
                <a:gd name="T53" fmla="*/ 92 h 308"/>
                <a:gd name="T54" fmla="*/ 136 w 262"/>
                <a:gd name="T55" fmla="*/ 202 h 308"/>
                <a:gd name="T56" fmla="*/ 148 w 262"/>
                <a:gd name="T57" fmla="*/ 194 h 308"/>
                <a:gd name="T58" fmla="*/ 36 w 262"/>
                <a:gd name="T59" fmla="*/ 82 h 308"/>
                <a:gd name="T60" fmla="*/ 172 w 262"/>
                <a:gd name="T61" fmla="*/ 228 h 308"/>
                <a:gd name="T62" fmla="*/ 158 w 262"/>
                <a:gd name="T63" fmla="*/ 236 h 308"/>
                <a:gd name="T64" fmla="*/ 152 w 262"/>
                <a:gd name="T65" fmla="*/ 244 h 308"/>
                <a:gd name="T66" fmla="*/ 182 w 262"/>
                <a:gd name="T67" fmla="*/ 26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2" h="308">
                  <a:moveTo>
                    <a:pt x="246" y="66"/>
                  </a:moveTo>
                  <a:lnTo>
                    <a:pt x="196" y="16"/>
                  </a:lnTo>
                  <a:lnTo>
                    <a:pt x="180" y="0"/>
                  </a:lnTo>
                  <a:lnTo>
                    <a:pt x="48" y="0"/>
                  </a:lnTo>
                  <a:lnTo>
                    <a:pt x="48" y="0"/>
                  </a:lnTo>
                  <a:lnTo>
                    <a:pt x="42" y="2"/>
                  </a:lnTo>
                  <a:lnTo>
                    <a:pt x="38" y="4"/>
                  </a:lnTo>
                  <a:lnTo>
                    <a:pt x="34" y="10"/>
                  </a:lnTo>
                  <a:lnTo>
                    <a:pt x="32" y="16"/>
                  </a:lnTo>
                  <a:lnTo>
                    <a:pt x="32" y="62"/>
                  </a:lnTo>
                  <a:lnTo>
                    <a:pt x="32" y="62"/>
                  </a:lnTo>
                  <a:lnTo>
                    <a:pt x="42" y="64"/>
                  </a:lnTo>
                  <a:lnTo>
                    <a:pt x="50" y="70"/>
                  </a:lnTo>
                  <a:lnTo>
                    <a:pt x="176" y="196"/>
                  </a:lnTo>
                  <a:lnTo>
                    <a:pt x="198" y="276"/>
                  </a:lnTo>
                  <a:lnTo>
                    <a:pt x="118" y="254"/>
                  </a:lnTo>
                  <a:lnTo>
                    <a:pt x="32" y="168"/>
                  </a:lnTo>
                  <a:lnTo>
                    <a:pt x="32" y="292"/>
                  </a:lnTo>
                  <a:lnTo>
                    <a:pt x="32" y="292"/>
                  </a:lnTo>
                  <a:lnTo>
                    <a:pt x="34" y="300"/>
                  </a:lnTo>
                  <a:lnTo>
                    <a:pt x="38" y="304"/>
                  </a:lnTo>
                  <a:lnTo>
                    <a:pt x="42" y="308"/>
                  </a:lnTo>
                  <a:lnTo>
                    <a:pt x="48" y="308"/>
                  </a:lnTo>
                  <a:lnTo>
                    <a:pt x="246" y="308"/>
                  </a:lnTo>
                  <a:lnTo>
                    <a:pt x="246" y="308"/>
                  </a:lnTo>
                  <a:lnTo>
                    <a:pt x="252" y="308"/>
                  </a:lnTo>
                  <a:lnTo>
                    <a:pt x="258" y="304"/>
                  </a:lnTo>
                  <a:lnTo>
                    <a:pt x="262" y="300"/>
                  </a:lnTo>
                  <a:lnTo>
                    <a:pt x="262" y="292"/>
                  </a:lnTo>
                  <a:lnTo>
                    <a:pt x="262" y="82"/>
                  </a:lnTo>
                  <a:lnTo>
                    <a:pt x="246" y="66"/>
                  </a:lnTo>
                  <a:close/>
                  <a:moveTo>
                    <a:pt x="178" y="84"/>
                  </a:moveTo>
                  <a:lnTo>
                    <a:pt x="178" y="24"/>
                  </a:lnTo>
                  <a:lnTo>
                    <a:pt x="196" y="42"/>
                  </a:lnTo>
                  <a:lnTo>
                    <a:pt x="196" y="66"/>
                  </a:lnTo>
                  <a:lnTo>
                    <a:pt x="220" y="66"/>
                  </a:lnTo>
                  <a:lnTo>
                    <a:pt x="238" y="84"/>
                  </a:lnTo>
                  <a:lnTo>
                    <a:pt x="178" y="84"/>
                  </a:lnTo>
                  <a:close/>
                  <a:moveTo>
                    <a:pt x="36" y="126"/>
                  </a:moveTo>
                  <a:lnTo>
                    <a:pt x="124" y="214"/>
                  </a:lnTo>
                  <a:lnTo>
                    <a:pt x="124" y="214"/>
                  </a:lnTo>
                  <a:lnTo>
                    <a:pt x="116" y="226"/>
                  </a:lnTo>
                  <a:lnTo>
                    <a:pt x="22" y="132"/>
                  </a:lnTo>
                  <a:lnTo>
                    <a:pt x="4" y="114"/>
                  </a:lnTo>
                  <a:lnTo>
                    <a:pt x="0" y="110"/>
                  </a:lnTo>
                  <a:lnTo>
                    <a:pt x="0" y="110"/>
                  </a:lnTo>
                  <a:lnTo>
                    <a:pt x="8" y="98"/>
                  </a:lnTo>
                  <a:lnTo>
                    <a:pt x="14" y="104"/>
                  </a:lnTo>
                  <a:lnTo>
                    <a:pt x="36" y="126"/>
                  </a:lnTo>
                  <a:close/>
                  <a:moveTo>
                    <a:pt x="36" y="82"/>
                  </a:moveTo>
                  <a:lnTo>
                    <a:pt x="32" y="78"/>
                  </a:lnTo>
                  <a:lnTo>
                    <a:pt x="32" y="78"/>
                  </a:lnTo>
                  <a:lnTo>
                    <a:pt x="20" y="86"/>
                  </a:lnTo>
                  <a:lnTo>
                    <a:pt x="26" y="92"/>
                  </a:lnTo>
                  <a:lnTo>
                    <a:pt x="48" y="114"/>
                  </a:lnTo>
                  <a:lnTo>
                    <a:pt x="136" y="202"/>
                  </a:lnTo>
                  <a:lnTo>
                    <a:pt x="136" y="202"/>
                  </a:lnTo>
                  <a:lnTo>
                    <a:pt x="148" y="194"/>
                  </a:lnTo>
                  <a:lnTo>
                    <a:pt x="54" y="100"/>
                  </a:lnTo>
                  <a:lnTo>
                    <a:pt x="36" y="82"/>
                  </a:lnTo>
                  <a:close/>
                  <a:moveTo>
                    <a:pt x="172" y="228"/>
                  </a:moveTo>
                  <a:lnTo>
                    <a:pt x="172" y="228"/>
                  </a:lnTo>
                  <a:lnTo>
                    <a:pt x="166" y="230"/>
                  </a:lnTo>
                  <a:lnTo>
                    <a:pt x="158" y="236"/>
                  </a:lnTo>
                  <a:lnTo>
                    <a:pt x="158" y="236"/>
                  </a:lnTo>
                  <a:lnTo>
                    <a:pt x="152" y="244"/>
                  </a:lnTo>
                  <a:lnTo>
                    <a:pt x="150" y="250"/>
                  </a:lnTo>
                  <a:lnTo>
                    <a:pt x="182" y="260"/>
                  </a:lnTo>
                  <a:lnTo>
                    <a:pt x="172" y="22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70" name="Group 69">
            <a:extLst>
              <a:ext uri="{FF2B5EF4-FFF2-40B4-BE49-F238E27FC236}">
                <a16:creationId xmlns:a16="http://schemas.microsoft.com/office/drawing/2014/main" id="{60745303-C89D-46DC-9188-FACEBCA85FBC}"/>
              </a:ext>
            </a:extLst>
          </p:cNvPr>
          <p:cNvGrpSpPr/>
          <p:nvPr/>
        </p:nvGrpSpPr>
        <p:grpSpPr>
          <a:xfrm>
            <a:off x="1663281" y="5031056"/>
            <a:ext cx="612000" cy="612000"/>
            <a:chOff x="592807" y="5907019"/>
            <a:chExt cx="612000" cy="612000"/>
          </a:xfrm>
        </p:grpSpPr>
        <p:sp>
          <p:nvSpPr>
            <p:cNvPr id="71" name="Oval 70">
              <a:extLst>
                <a:ext uri="{FF2B5EF4-FFF2-40B4-BE49-F238E27FC236}">
                  <a16:creationId xmlns:a16="http://schemas.microsoft.com/office/drawing/2014/main" id="{4E1D28EB-3421-44A2-933E-94D630DC9C34}"/>
                </a:ext>
              </a:extLst>
            </p:cNvPr>
            <p:cNvSpPr/>
            <p:nvPr/>
          </p:nvSpPr>
          <p:spPr bwMode="ltGray">
            <a:xfrm>
              <a:off x="592807"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72" name="Freeform 4904">
              <a:extLst>
                <a:ext uri="{FF2B5EF4-FFF2-40B4-BE49-F238E27FC236}">
                  <a16:creationId xmlns:a16="http://schemas.microsoft.com/office/drawing/2014/main" id="{7BF66C60-7DFA-4CB6-87CB-CD4134591581}"/>
                </a:ext>
              </a:extLst>
            </p:cNvPr>
            <p:cNvSpPr>
              <a:spLocks noEditPoints="1"/>
            </p:cNvSpPr>
            <p:nvPr/>
          </p:nvSpPr>
          <p:spPr bwMode="auto">
            <a:xfrm>
              <a:off x="734129" y="5983776"/>
              <a:ext cx="387981" cy="484976"/>
            </a:xfrm>
            <a:custGeom>
              <a:avLst/>
              <a:gdLst>
                <a:gd name="T0" fmla="*/ 98 w 320"/>
                <a:gd name="T1" fmla="*/ 140 h 400"/>
                <a:gd name="T2" fmla="*/ 82 w 320"/>
                <a:gd name="T3" fmla="*/ 68 h 400"/>
                <a:gd name="T4" fmla="*/ 110 w 320"/>
                <a:gd name="T5" fmla="*/ 28 h 400"/>
                <a:gd name="T6" fmla="*/ 122 w 320"/>
                <a:gd name="T7" fmla="*/ 36 h 400"/>
                <a:gd name="T8" fmla="*/ 110 w 320"/>
                <a:gd name="T9" fmla="*/ 54 h 400"/>
                <a:gd name="T10" fmla="*/ 102 w 320"/>
                <a:gd name="T11" fmla="*/ 106 h 400"/>
                <a:gd name="T12" fmla="*/ 116 w 320"/>
                <a:gd name="T13" fmla="*/ 134 h 400"/>
                <a:gd name="T14" fmla="*/ 106 w 320"/>
                <a:gd name="T15" fmla="*/ 142 h 400"/>
                <a:gd name="T16" fmla="*/ 148 w 320"/>
                <a:gd name="T17" fmla="*/ 116 h 400"/>
                <a:gd name="T18" fmla="*/ 136 w 320"/>
                <a:gd name="T19" fmla="*/ 90 h 400"/>
                <a:gd name="T20" fmla="*/ 154 w 320"/>
                <a:gd name="T21" fmla="*/ 54 h 400"/>
                <a:gd name="T22" fmla="*/ 154 w 320"/>
                <a:gd name="T23" fmla="*/ 18 h 400"/>
                <a:gd name="T24" fmla="*/ 138 w 320"/>
                <a:gd name="T25" fmla="*/ 0 h 400"/>
                <a:gd name="T26" fmla="*/ 128 w 320"/>
                <a:gd name="T27" fmla="*/ 10 h 400"/>
                <a:gd name="T28" fmla="*/ 138 w 320"/>
                <a:gd name="T29" fmla="*/ 36 h 400"/>
                <a:gd name="T30" fmla="*/ 124 w 320"/>
                <a:gd name="T31" fmla="*/ 64 h 400"/>
                <a:gd name="T32" fmla="*/ 120 w 320"/>
                <a:gd name="T33" fmla="*/ 108 h 400"/>
                <a:gd name="T34" fmla="*/ 138 w 320"/>
                <a:gd name="T35" fmla="*/ 126 h 400"/>
                <a:gd name="T36" fmla="*/ 170 w 320"/>
                <a:gd name="T37" fmla="*/ 146 h 400"/>
                <a:gd name="T38" fmla="*/ 184 w 320"/>
                <a:gd name="T39" fmla="*/ 114 h 400"/>
                <a:gd name="T40" fmla="*/ 170 w 320"/>
                <a:gd name="T41" fmla="*/ 82 h 400"/>
                <a:gd name="T42" fmla="*/ 156 w 320"/>
                <a:gd name="T43" fmla="*/ 82 h 400"/>
                <a:gd name="T44" fmla="*/ 156 w 320"/>
                <a:gd name="T45" fmla="*/ 96 h 400"/>
                <a:gd name="T46" fmla="*/ 162 w 320"/>
                <a:gd name="T47" fmla="*/ 124 h 400"/>
                <a:gd name="T48" fmla="*/ 154 w 320"/>
                <a:gd name="T49" fmla="*/ 142 h 400"/>
                <a:gd name="T50" fmla="*/ 164 w 320"/>
                <a:gd name="T51" fmla="*/ 148 h 400"/>
                <a:gd name="T52" fmla="*/ 16 w 320"/>
                <a:gd name="T53" fmla="*/ 158 h 400"/>
                <a:gd name="T54" fmla="*/ 278 w 320"/>
                <a:gd name="T55" fmla="*/ 196 h 400"/>
                <a:gd name="T56" fmla="*/ 308 w 320"/>
                <a:gd name="T57" fmla="*/ 208 h 400"/>
                <a:gd name="T58" fmla="*/ 320 w 320"/>
                <a:gd name="T59" fmla="*/ 238 h 400"/>
                <a:gd name="T60" fmla="*/ 302 w 320"/>
                <a:gd name="T61" fmla="*/ 272 h 400"/>
                <a:gd name="T62" fmla="*/ 270 w 320"/>
                <a:gd name="T63" fmla="*/ 278 h 400"/>
                <a:gd name="T64" fmla="*/ 242 w 320"/>
                <a:gd name="T65" fmla="*/ 290 h 400"/>
                <a:gd name="T66" fmla="*/ 76 w 320"/>
                <a:gd name="T67" fmla="*/ 336 h 400"/>
                <a:gd name="T68" fmla="*/ 24 w 320"/>
                <a:gd name="T69" fmla="*/ 280 h 400"/>
                <a:gd name="T70" fmla="*/ 258 w 320"/>
                <a:gd name="T71" fmla="*/ 238 h 400"/>
                <a:gd name="T72" fmla="*/ 278 w 320"/>
                <a:gd name="T73" fmla="*/ 260 h 400"/>
                <a:gd name="T74" fmla="*/ 300 w 320"/>
                <a:gd name="T75" fmla="*/ 238 h 400"/>
                <a:gd name="T76" fmla="*/ 278 w 320"/>
                <a:gd name="T77" fmla="*/ 216 h 400"/>
                <a:gd name="T78" fmla="*/ 258 w 320"/>
                <a:gd name="T79" fmla="*/ 238 h 400"/>
                <a:gd name="T80" fmla="*/ 46 w 320"/>
                <a:gd name="T81" fmla="*/ 254 h 400"/>
                <a:gd name="T82" fmla="*/ 74 w 320"/>
                <a:gd name="T83" fmla="*/ 300 h 400"/>
                <a:gd name="T84" fmla="*/ 94 w 320"/>
                <a:gd name="T85" fmla="*/ 308 h 400"/>
                <a:gd name="T86" fmla="*/ 98 w 320"/>
                <a:gd name="T87" fmla="*/ 294 h 400"/>
                <a:gd name="T88" fmla="*/ 66 w 320"/>
                <a:gd name="T89" fmla="*/ 250 h 400"/>
                <a:gd name="T90" fmla="*/ 60 w 320"/>
                <a:gd name="T91" fmla="*/ 194 h 400"/>
                <a:gd name="T92" fmla="*/ 46 w 320"/>
                <a:gd name="T93" fmla="*/ 194 h 400"/>
                <a:gd name="T94" fmla="*/ 0 w 320"/>
                <a:gd name="T95" fmla="*/ 352 h 400"/>
                <a:gd name="T96" fmla="*/ 60 w 320"/>
                <a:gd name="T97" fmla="*/ 388 h 400"/>
                <a:gd name="T98" fmla="*/ 136 w 320"/>
                <a:gd name="T99" fmla="*/ 400 h 400"/>
                <a:gd name="T100" fmla="*/ 228 w 320"/>
                <a:gd name="T101" fmla="*/ 380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400">
                  <a:moveTo>
                    <a:pt x="106" y="142"/>
                  </a:moveTo>
                  <a:lnTo>
                    <a:pt x="106" y="142"/>
                  </a:lnTo>
                  <a:lnTo>
                    <a:pt x="102" y="142"/>
                  </a:lnTo>
                  <a:lnTo>
                    <a:pt x="98" y="140"/>
                  </a:lnTo>
                  <a:lnTo>
                    <a:pt x="98" y="140"/>
                  </a:lnTo>
                  <a:lnTo>
                    <a:pt x="88" y="126"/>
                  </a:lnTo>
                  <a:lnTo>
                    <a:pt x="82" y="112"/>
                  </a:lnTo>
                  <a:lnTo>
                    <a:pt x="80" y="98"/>
                  </a:lnTo>
                  <a:lnTo>
                    <a:pt x="80" y="84"/>
                  </a:lnTo>
                  <a:lnTo>
                    <a:pt x="82" y="68"/>
                  </a:lnTo>
                  <a:lnTo>
                    <a:pt x="86" y="54"/>
                  </a:lnTo>
                  <a:lnTo>
                    <a:pt x="94" y="42"/>
                  </a:lnTo>
                  <a:lnTo>
                    <a:pt x="106" y="30"/>
                  </a:lnTo>
                  <a:lnTo>
                    <a:pt x="106" y="30"/>
                  </a:lnTo>
                  <a:lnTo>
                    <a:pt x="110" y="28"/>
                  </a:lnTo>
                  <a:lnTo>
                    <a:pt x="112" y="28"/>
                  </a:lnTo>
                  <a:lnTo>
                    <a:pt x="116" y="30"/>
                  </a:lnTo>
                  <a:lnTo>
                    <a:pt x="120" y="32"/>
                  </a:lnTo>
                  <a:lnTo>
                    <a:pt x="120" y="32"/>
                  </a:lnTo>
                  <a:lnTo>
                    <a:pt x="122" y="36"/>
                  </a:lnTo>
                  <a:lnTo>
                    <a:pt x="122" y="38"/>
                  </a:lnTo>
                  <a:lnTo>
                    <a:pt x="122" y="42"/>
                  </a:lnTo>
                  <a:lnTo>
                    <a:pt x="118" y="46"/>
                  </a:lnTo>
                  <a:lnTo>
                    <a:pt x="118" y="46"/>
                  </a:lnTo>
                  <a:lnTo>
                    <a:pt x="110" y="54"/>
                  </a:lnTo>
                  <a:lnTo>
                    <a:pt x="104" y="64"/>
                  </a:lnTo>
                  <a:lnTo>
                    <a:pt x="100" y="74"/>
                  </a:lnTo>
                  <a:lnTo>
                    <a:pt x="100" y="84"/>
                  </a:lnTo>
                  <a:lnTo>
                    <a:pt x="100" y="96"/>
                  </a:lnTo>
                  <a:lnTo>
                    <a:pt x="102" y="106"/>
                  </a:lnTo>
                  <a:lnTo>
                    <a:pt x="106" y="116"/>
                  </a:lnTo>
                  <a:lnTo>
                    <a:pt x="112" y="126"/>
                  </a:lnTo>
                  <a:lnTo>
                    <a:pt x="112" y="126"/>
                  </a:lnTo>
                  <a:lnTo>
                    <a:pt x="114" y="130"/>
                  </a:lnTo>
                  <a:lnTo>
                    <a:pt x="116" y="134"/>
                  </a:lnTo>
                  <a:lnTo>
                    <a:pt x="114" y="138"/>
                  </a:lnTo>
                  <a:lnTo>
                    <a:pt x="112" y="140"/>
                  </a:lnTo>
                  <a:lnTo>
                    <a:pt x="112" y="140"/>
                  </a:lnTo>
                  <a:lnTo>
                    <a:pt x="108" y="142"/>
                  </a:lnTo>
                  <a:lnTo>
                    <a:pt x="106" y="142"/>
                  </a:lnTo>
                  <a:lnTo>
                    <a:pt x="106" y="142"/>
                  </a:lnTo>
                  <a:close/>
                  <a:moveTo>
                    <a:pt x="144" y="124"/>
                  </a:moveTo>
                  <a:lnTo>
                    <a:pt x="144" y="124"/>
                  </a:lnTo>
                  <a:lnTo>
                    <a:pt x="146" y="120"/>
                  </a:lnTo>
                  <a:lnTo>
                    <a:pt x="148" y="116"/>
                  </a:lnTo>
                  <a:lnTo>
                    <a:pt x="146" y="112"/>
                  </a:lnTo>
                  <a:lnTo>
                    <a:pt x="144" y="108"/>
                  </a:lnTo>
                  <a:lnTo>
                    <a:pt x="144" y="108"/>
                  </a:lnTo>
                  <a:lnTo>
                    <a:pt x="138" y="100"/>
                  </a:lnTo>
                  <a:lnTo>
                    <a:pt x="136" y="90"/>
                  </a:lnTo>
                  <a:lnTo>
                    <a:pt x="138" y="80"/>
                  </a:lnTo>
                  <a:lnTo>
                    <a:pt x="144" y="70"/>
                  </a:lnTo>
                  <a:lnTo>
                    <a:pt x="144" y="70"/>
                  </a:lnTo>
                  <a:lnTo>
                    <a:pt x="150" y="62"/>
                  </a:lnTo>
                  <a:lnTo>
                    <a:pt x="154" y="54"/>
                  </a:lnTo>
                  <a:lnTo>
                    <a:pt x="158" y="46"/>
                  </a:lnTo>
                  <a:lnTo>
                    <a:pt x="158" y="36"/>
                  </a:lnTo>
                  <a:lnTo>
                    <a:pt x="158" y="36"/>
                  </a:lnTo>
                  <a:lnTo>
                    <a:pt x="158" y="26"/>
                  </a:lnTo>
                  <a:lnTo>
                    <a:pt x="154" y="18"/>
                  </a:lnTo>
                  <a:lnTo>
                    <a:pt x="150" y="10"/>
                  </a:lnTo>
                  <a:lnTo>
                    <a:pt x="144" y="2"/>
                  </a:lnTo>
                  <a:lnTo>
                    <a:pt x="144" y="2"/>
                  </a:lnTo>
                  <a:lnTo>
                    <a:pt x="142" y="0"/>
                  </a:lnTo>
                  <a:lnTo>
                    <a:pt x="138" y="0"/>
                  </a:lnTo>
                  <a:lnTo>
                    <a:pt x="134" y="0"/>
                  </a:lnTo>
                  <a:lnTo>
                    <a:pt x="130" y="2"/>
                  </a:lnTo>
                  <a:lnTo>
                    <a:pt x="130" y="2"/>
                  </a:lnTo>
                  <a:lnTo>
                    <a:pt x="128" y="6"/>
                  </a:lnTo>
                  <a:lnTo>
                    <a:pt x="128" y="10"/>
                  </a:lnTo>
                  <a:lnTo>
                    <a:pt x="128" y="14"/>
                  </a:lnTo>
                  <a:lnTo>
                    <a:pt x="130" y="16"/>
                  </a:lnTo>
                  <a:lnTo>
                    <a:pt x="130" y="16"/>
                  </a:lnTo>
                  <a:lnTo>
                    <a:pt x="136" y="26"/>
                  </a:lnTo>
                  <a:lnTo>
                    <a:pt x="138" y="36"/>
                  </a:lnTo>
                  <a:lnTo>
                    <a:pt x="138" y="36"/>
                  </a:lnTo>
                  <a:lnTo>
                    <a:pt x="136" y="46"/>
                  </a:lnTo>
                  <a:lnTo>
                    <a:pt x="130" y="56"/>
                  </a:lnTo>
                  <a:lnTo>
                    <a:pt x="130" y="56"/>
                  </a:lnTo>
                  <a:lnTo>
                    <a:pt x="124" y="64"/>
                  </a:lnTo>
                  <a:lnTo>
                    <a:pt x="120" y="72"/>
                  </a:lnTo>
                  <a:lnTo>
                    <a:pt x="118" y="80"/>
                  </a:lnTo>
                  <a:lnTo>
                    <a:pt x="116" y="90"/>
                  </a:lnTo>
                  <a:lnTo>
                    <a:pt x="118" y="98"/>
                  </a:lnTo>
                  <a:lnTo>
                    <a:pt x="120" y="108"/>
                  </a:lnTo>
                  <a:lnTo>
                    <a:pt x="124" y="116"/>
                  </a:lnTo>
                  <a:lnTo>
                    <a:pt x="130" y="124"/>
                  </a:lnTo>
                  <a:lnTo>
                    <a:pt x="130" y="124"/>
                  </a:lnTo>
                  <a:lnTo>
                    <a:pt x="134" y="126"/>
                  </a:lnTo>
                  <a:lnTo>
                    <a:pt x="138" y="126"/>
                  </a:lnTo>
                  <a:lnTo>
                    <a:pt x="138" y="126"/>
                  </a:lnTo>
                  <a:lnTo>
                    <a:pt x="142" y="126"/>
                  </a:lnTo>
                  <a:lnTo>
                    <a:pt x="144" y="124"/>
                  </a:lnTo>
                  <a:lnTo>
                    <a:pt x="144" y="124"/>
                  </a:lnTo>
                  <a:close/>
                  <a:moveTo>
                    <a:pt x="170" y="146"/>
                  </a:moveTo>
                  <a:lnTo>
                    <a:pt x="170" y="146"/>
                  </a:lnTo>
                  <a:lnTo>
                    <a:pt x="176" y="138"/>
                  </a:lnTo>
                  <a:lnTo>
                    <a:pt x="180" y="132"/>
                  </a:lnTo>
                  <a:lnTo>
                    <a:pt x="182" y="122"/>
                  </a:lnTo>
                  <a:lnTo>
                    <a:pt x="184" y="114"/>
                  </a:lnTo>
                  <a:lnTo>
                    <a:pt x="184" y="114"/>
                  </a:lnTo>
                  <a:lnTo>
                    <a:pt x="182" y="104"/>
                  </a:lnTo>
                  <a:lnTo>
                    <a:pt x="180" y="96"/>
                  </a:lnTo>
                  <a:lnTo>
                    <a:pt x="176" y="88"/>
                  </a:lnTo>
                  <a:lnTo>
                    <a:pt x="170" y="82"/>
                  </a:lnTo>
                  <a:lnTo>
                    <a:pt x="170" y="82"/>
                  </a:lnTo>
                  <a:lnTo>
                    <a:pt x="168" y="80"/>
                  </a:lnTo>
                  <a:lnTo>
                    <a:pt x="164" y="78"/>
                  </a:lnTo>
                  <a:lnTo>
                    <a:pt x="160" y="80"/>
                  </a:lnTo>
                  <a:lnTo>
                    <a:pt x="156" y="82"/>
                  </a:lnTo>
                  <a:lnTo>
                    <a:pt x="156" y="82"/>
                  </a:lnTo>
                  <a:lnTo>
                    <a:pt x="154" y="86"/>
                  </a:lnTo>
                  <a:lnTo>
                    <a:pt x="154" y="88"/>
                  </a:lnTo>
                  <a:lnTo>
                    <a:pt x="154" y="92"/>
                  </a:lnTo>
                  <a:lnTo>
                    <a:pt x="156" y="96"/>
                  </a:lnTo>
                  <a:lnTo>
                    <a:pt x="156" y="96"/>
                  </a:lnTo>
                  <a:lnTo>
                    <a:pt x="162" y="104"/>
                  </a:lnTo>
                  <a:lnTo>
                    <a:pt x="164" y="114"/>
                  </a:lnTo>
                  <a:lnTo>
                    <a:pt x="164" y="114"/>
                  </a:lnTo>
                  <a:lnTo>
                    <a:pt x="162" y="124"/>
                  </a:lnTo>
                  <a:lnTo>
                    <a:pt x="156" y="132"/>
                  </a:lnTo>
                  <a:lnTo>
                    <a:pt x="156" y="132"/>
                  </a:lnTo>
                  <a:lnTo>
                    <a:pt x="154" y="134"/>
                  </a:lnTo>
                  <a:lnTo>
                    <a:pt x="154" y="138"/>
                  </a:lnTo>
                  <a:lnTo>
                    <a:pt x="154" y="142"/>
                  </a:lnTo>
                  <a:lnTo>
                    <a:pt x="156" y="146"/>
                  </a:lnTo>
                  <a:lnTo>
                    <a:pt x="156" y="146"/>
                  </a:lnTo>
                  <a:lnTo>
                    <a:pt x="160" y="148"/>
                  </a:lnTo>
                  <a:lnTo>
                    <a:pt x="164" y="148"/>
                  </a:lnTo>
                  <a:lnTo>
                    <a:pt x="164" y="148"/>
                  </a:lnTo>
                  <a:lnTo>
                    <a:pt x="168" y="148"/>
                  </a:lnTo>
                  <a:lnTo>
                    <a:pt x="170" y="146"/>
                  </a:lnTo>
                  <a:lnTo>
                    <a:pt x="170" y="146"/>
                  </a:lnTo>
                  <a:close/>
                  <a:moveTo>
                    <a:pt x="16" y="232"/>
                  </a:moveTo>
                  <a:lnTo>
                    <a:pt x="16" y="158"/>
                  </a:lnTo>
                  <a:lnTo>
                    <a:pt x="258" y="158"/>
                  </a:lnTo>
                  <a:lnTo>
                    <a:pt x="258" y="202"/>
                  </a:lnTo>
                  <a:lnTo>
                    <a:pt x="258" y="202"/>
                  </a:lnTo>
                  <a:lnTo>
                    <a:pt x="268" y="198"/>
                  </a:lnTo>
                  <a:lnTo>
                    <a:pt x="278" y="196"/>
                  </a:lnTo>
                  <a:lnTo>
                    <a:pt x="278" y="196"/>
                  </a:lnTo>
                  <a:lnTo>
                    <a:pt x="286" y="198"/>
                  </a:lnTo>
                  <a:lnTo>
                    <a:pt x="294" y="200"/>
                  </a:lnTo>
                  <a:lnTo>
                    <a:pt x="302" y="204"/>
                  </a:lnTo>
                  <a:lnTo>
                    <a:pt x="308" y="208"/>
                  </a:lnTo>
                  <a:lnTo>
                    <a:pt x="312" y="214"/>
                  </a:lnTo>
                  <a:lnTo>
                    <a:pt x="316" y="222"/>
                  </a:lnTo>
                  <a:lnTo>
                    <a:pt x="318" y="230"/>
                  </a:lnTo>
                  <a:lnTo>
                    <a:pt x="320" y="238"/>
                  </a:lnTo>
                  <a:lnTo>
                    <a:pt x="320" y="238"/>
                  </a:lnTo>
                  <a:lnTo>
                    <a:pt x="318" y="246"/>
                  </a:lnTo>
                  <a:lnTo>
                    <a:pt x="316" y="254"/>
                  </a:lnTo>
                  <a:lnTo>
                    <a:pt x="312" y="260"/>
                  </a:lnTo>
                  <a:lnTo>
                    <a:pt x="308" y="266"/>
                  </a:lnTo>
                  <a:lnTo>
                    <a:pt x="302" y="272"/>
                  </a:lnTo>
                  <a:lnTo>
                    <a:pt x="294" y="276"/>
                  </a:lnTo>
                  <a:lnTo>
                    <a:pt x="286" y="278"/>
                  </a:lnTo>
                  <a:lnTo>
                    <a:pt x="278" y="280"/>
                  </a:lnTo>
                  <a:lnTo>
                    <a:pt x="278" y="280"/>
                  </a:lnTo>
                  <a:lnTo>
                    <a:pt x="270" y="278"/>
                  </a:lnTo>
                  <a:lnTo>
                    <a:pt x="264" y="276"/>
                  </a:lnTo>
                  <a:lnTo>
                    <a:pt x="258" y="274"/>
                  </a:lnTo>
                  <a:lnTo>
                    <a:pt x="252" y="268"/>
                  </a:lnTo>
                  <a:lnTo>
                    <a:pt x="252" y="268"/>
                  </a:lnTo>
                  <a:lnTo>
                    <a:pt x="242" y="290"/>
                  </a:lnTo>
                  <a:lnTo>
                    <a:pt x="230" y="308"/>
                  </a:lnTo>
                  <a:lnTo>
                    <a:pt x="214" y="324"/>
                  </a:lnTo>
                  <a:lnTo>
                    <a:pt x="196" y="336"/>
                  </a:lnTo>
                  <a:lnTo>
                    <a:pt x="76" y="336"/>
                  </a:lnTo>
                  <a:lnTo>
                    <a:pt x="76" y="336"/>
                  </a:lnTo>
                  <a:lnTo>
                    <a:pt x="64" y="328"/>
                  </a:lnTo>
                  <a:lnTo>
                    <a:pt x="52" y="318"/>
                  </a:lnTo>
                  <a:lnTo>
                    <a:pt x="40" y="306"/>
                  </a:lnTo>
                  <a:lnTo>
                    <a:pt x="32" y="294"/>
                  </a:lnTo>
                  <a:lnTo>
                    <a:pt x="24" y="280"/>
                  </a:lnTo>
                  <a:lnTo>
                    <a:pt x="20" y="264"/>
                  </a:lnTo>
                  <a:lnTo>
                    <a:pt x="16" y="248"/>
                  </a:lnTo>
                  <a:lnTo>
                    <a:pt x="16" y="232"/>
                  </a:lnTo>
                  <a:lnTo>
                    <a:pt x="16" y="232"/>
                  </a:lnTo>
                  <a:close/>
                  <a:moveTo>
                    <a:pt x="258" y="238"/>
                  </a:moveTo>
                  <a:lnTo>
                    <a:pt x="258" y="238"/>
                  </a:lnTo>
                  <a:lnTo>
                    <a:pt x="258" y="246"/>
                  </a:lnTo>
                  <a:lnTo>
                    <a:pt x="264" y="252"/>
                  </a:lnTo>
                  <a:lnTo>
                    <a:pt x="270" y="258"/>
                  </a:lnTo>
                  <a:lnTo>
                    <a:pt x="278" y="260"/>
                  </a:lnTo>
                  <a:lnTo>
                    <a:pt x="278" y="260"/>
                  </a:lnTo>
                  <a:lnTo>
                    <a:pt x="286" y="258"/>
                  </a:lnTo>
                  <a:lnTo>
                    <a:pt x="294" y="252"/>
                  </a:lnTo>
                  <a:lnTo>
                    <a:pt x="298" y="246"/>
                  </a:lnTo>
                  <a:lnTo>
                    <a:pt x="300" y="238"/>
                  </a:lnTo>
                  <a:lnTo>
                    <a:pt x="300" y="238"/>
                  </a:lnTo>
                  <a:lnTo>
                    <a:pt x="298" y="230"/>
                  </a:lnTo>
                  <a:lnTo>
                    <a:pt x="294" y="222"/>
                  </a:lnTo>
                  <a:lnTo>
                    <a:pt x="286" y="218"/>
                  </a:lnTo>
                  <a:lnTo>
                    <a:pt x="278" y="216"/>
                  </a:lnTo>
                  <a:lnTo>
                    <a:pt x="278" y="216"/>
                  </a:lnTo>
                  <a:lnTo>
                    <a:pt x="270" y="218"/>
                  </a:lnTo>
                  <a:lnTo>
                    <a:pt x="264" y="222"/>
                  </a:lnTo>
                  <a:lnTo>
                    <a:pt x="258" y="230"/>
                  </a:lnTo>
                  <a:lnTo>
                    <a:pt x="258" y="238"/>
                  </a:lnTo>
                  <a:lnTo>
                    <a:pt x="258" y="238"/>
                  </a:lnTo>
                  <a:close/>
                  <a:moveTo>
                    <a:pt x="44" y="232"/>
                  </a:moveTo>
                  <a:lnTo>
                    <a:pt x="44" y="232"/>
                  </a:lnTo>
                  <a:lnTo>
                    <a:pt x="44" y="242"/>
                  </a:lnTo>
                  <a:lnTo>
                    <a:pt x="46" y="254"/>
                  </a:lnTo>
                  <a:lnTo>
                    <a:pt x="50" y="264"/>
                  </a:lnTo>
                  <a:lnTo>
                    <a:pt x="54" y="274"/>
                  </a:lnTo>
                  <a:lnTo>
                    <a:pt x="60" y="284"/>
                  </a:lnTo>
                  <a:lnTo>
                    <a:pt x="66" y="292"/>
                  </a:lnTo>
                  <a:lnTo>
                    <a:pt x="74" y="300"/>
                  </a:lnTo>
                  <a:lnTo>
                    <a:pt x="84" y="308"/>
                  </a:lnTo>
                  <a:lnTo>
                    <a:pt x="84" y="308"/>
                  </a:lnTo>
                  <a:lnTo>
                    <a:pt x="88" y="310"/>
                  </a:lnTo>
                  <a:lnTo>
                    <a:pt x="88" y="310"/>
                  </a:lnTo>
                  <a:lnTo>
                    <a:pt x="94" y="308"/>
                  </a:lnTo>
                  <a:lnTo>
                    <a:pt x="98" y="306"/>
                  </a:lnTo>
                  <a:lnTo>
                    <a:pt x="98" y="306"/>
                  </a:lnTo>
                  <a:lnTo>
                    <a:pt x="98" y="302"/>
                  </a:lnTo>
                  <a:lnTo>
                    <a:pt x="98" y="298"/>
                  </a:lnTo>
                  <a:lnTo>
                    <a:pt x="98" y="294"/>
                  </a:lnTo>
                  <a:lnTo>
                    <a:pt x="94" y="292"/>
                  </a:lnTo>
                  <a:lnTo>
                    <a:pt x="94" y="292"/>
                  </a:lnTo>
                  <a:lnTo>
                    <a:pt x="82" y="280"/>
                  </a:lnTo>
                  <a:lnTo>
                    <a:pt x="72" y="266"/>
                  </a:lnTo>
                  <a:lnTo>
                    <a:pt x="66" y="250"/>
                  </a:lnTo>
                  <a:lnTo>
                    <a:pt x="64" y="232"/>
                  </a:lnTo>
                  <a:lnTo>
                    <a:pt x="64" y="202"/>
                  </a:lnTo>
                  <a:lnTo>
                    <a:pt x="64" y="202"/>
                  </a:lnTo>
                  <a:lnTo>
                    <a:pt x="62" y="198"/>
                  </a:lnTo>
                  <a:lnTo>
                    <a:pt x="60" y="194"/>
                  </a:lnTo>
                  <a:lnTo>
                    <a:pt x="58" y="192"/>
                  </a:lnTo>
                  <a:lnTo>
                    <a:pt x="54" y="192"/>
                  </a:lnTo>
                  <a:lnTo>
                    <a:pt x="54" y="192"/>
                  </a:lnTo>
                  <a:lnTo>
                    <a:pt x="50" y="192"/>
                  </a:lnTo>
                  <a:lnTo>
                    <a:pt x="46" y="194"/>
                  </a:lnTo>
                  <a:lnTo>
                    <a:pt x="44" y="198"/>
                  </a:lnTo>
                  <a:lnTo>
                    <a:pt x="44" y="202"/>
                  </a:lnTo>
                  <a:lnTo>
                    <a:pt x="44" y="232"/>
                  </a:lnTo>
                  <a:close/>
                  <a:moveTo>
                    <a:pt x="272" y="352"/>
                  </a:moveTo>
                  <a:lnTo>
                    <a:pt x="0" y="352"/>
                  </a:lnTo>
                  <a:lnTo>
                    <a:pt x="0" y="352"/>
                  </a:lnTo>
                  <a:lnTo>
                    <a:pt x="14" y="364"/>
                  </a:lnTo>
                  <a:lnTo>
                    <a:pt x="28" y="372"/>
                  </a:lnTo>
                  <a:lnTo>
                    <a:pt x="44" y="380"/>
                  </a:lnTo>
                  <a:lnTo>
                    <a:pt x="60" y="388"/>
                  </a:lnTo>
                  <a:lnTo>
                    <a:pt x="78" y="394"/>
                  </a:lnTo>
                  <a:lnTo>
                    <a:pt x="96" y="398"/>
                  </a:lnTo>
                  <a:lnTo>
                    <a:pt x="116" y="400"/>
                  </a:lnTo>
                  <a:lnTo>
                    <a:pt x="136" y="400"/>
                  </a:lnTo>
                  <a:lnTo>
                    <a:pt x="136" y="400"/>
                  </a:lnTo>
                  <a:lnTo>
                    <a:pt x="156" y="400"/>
                  </a:lnTo>
                  <a:lnTo>
                    <a:pt x="176" y="398"/>
                  </a:lnTo>
                  <a:lnTo>
                    <a:pt x="194" y="394"/>
                  </a:lnTo>
                  <a:lnTo>
                    <a:pt x="212" y="388"/>
                  </a:lnTo>
                  <a:lnTo>
                    <a:pt x="228" y="380"/>
                  </a:lnTo>
                  <a:lnTo>
                    <a:pt x="244" y="372"/>
                  </a:lnTo>
                  <a:lnTo>
                    <a:pt x="258" y="364"/>
                  </a:lnTo>
                  <a:lnTo>
                    <a:pt x="272" y="3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73" name="Group 72">
            <a:extLst>
              <a:ext uri="{FF2B5EF4-FFF2-40B4-BE49-F238E27FC236}">
                <a16:creationId xmlns:a16="http://schemas.microsoft.com/office/drawing/2014/main" id="{77E1A789-1445-4EE6-9C5B-3733F270BF0A}"/>
              </a:ext>
            </a:extLst>
          </p:cNvPr>
          <p:cNvGrpSpPr/>
          <p:nvPr/>
        </p:nvGrpSpPr>
        <p:grpSpPr>
          <a:xfrm>
            <a:off x="4287420" y="5031056"/>
            <a:ext cx="612000" cy="612000"/>
            <a:chOff x="3216946" y="5907019"/>
            <a:chExt cx="612000" cy="612000"/>
          </a:xfrm>
        </p:grpSpPr>
        <p:sp>
          <p:nvSpPr>
            <p:cNvPr id="74" name="Oval 73">
              <a:extLst>
                <a:ext uri="{FF2B5EF4-FFF2-40B4-BE49-F238E27FC236}">
                  <a16:creationId xmlns:a16="http://schemas.microsoft.com/office/drawing/2014/main" id="{57969316-D0B2-431D-8A92-1192797C862C}"/>
                </a:ext>
              </a:extLst>
            </p:cNvPr>
            <p:cNvSpPr/>
            <p:nvPr/>
          </p:nvSpPr>
          <p:spPr bwMode="ltGray">
            <a:xfrm>
              <a:off x="3216946"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75" name="Freeform 4912">
              <a:extLst>
                <a:ext uri="{FF2B5EF4-FFF2-40B4-BE49-F238E27FC236}">
                  <a16:creationId xmlns:a16="http://schemas.microsoft.com/office/drawing/2014/main" id="{14F00D2C-3549-48D3-A1C0-5100317CAE78}"/>
                </a:ext>
              </a:extLst>
            </p:cNvPr>
            <p:cNvSpPr>
              <a:spLocks noEditPoints="1"/>
            </p:cNvSpPr>
            <p:nvPr/>
          </p:nvSpPr>
          <p:spPr bwMode="auto">
            <a:xfrm>
              <a:off x="3328956" y="6058947"/>
              <a:ext cx="387981" cy="337059"/>
            </a:xfrm>
            <a:custGeom>
              <a:avLst/>
              <a:gdLst>
                <a:gd name="T0" fmla="*/ 30 w 320"/>
                <a:gd name="T1" fmla="*/ 56 h 278"/>
                <a:gd name="T2" fmla="*/ 30 w 320"/>
                <a:gd name="T3" fmla="*/ 0 h 278"/>
                <a:gd name="T4" fmla="*/ 290 w 320"/>
                <a:gd name="T5" fmla="*/ 0 h 278"/>
                <a:gd name="T6" fmla="*/ 290 w 320"/>
                <a:gd name="T7" fmla="*/ 56 h 278"/>
                <a:gd name="T8" fmla="*/ 290 w 320"/>
                <a:gd name="T9" fmla="*/ 56 h 278"/>
                <a:gd name="T10" fmla="*/ 280 w 320"/>
                <a:gd name="T11" fmla="*/ 48 h 278"/>
                <a:gd name="T12" fmla="*/ 274 w 320"/>
                <a:gd name="T13" fmla="*/ 46 h 278"/>
                <a:gd name="T14" fmla="*/ 268 w 320"/>
                <a:gd name="T15" fmla="*/ 46 h 278"/>
                <a:gd name="T16" fmla="*/ 52 w 320"/>
                <a:gd name="T17" fmla="*/ 46 h 278"/>
                <a:gd name="T18" fmla="*/ 52 w 320"/>
                <a:gd name="T19" fmla="*/ 46 h 278"/>
                <a:gd name="T20" fmla="*/ 46 w 320"/>
                <a:gd name="T21" fmla="*/ 46 h 278"/>
                <a:gd name="T22" fmla="*/ 40 w 320"/>
                <a:gd name="T23" fmla="*/ 48 h 278"/>
                <a:gd name="T24" fmla="*/ 30 w 320"/>
                <a:gd name="T25" fmla="*/ 56 h 278"/>
                <a:gd name="T26" fmla="*/ 30 w 320"/>
                <a:gd name="T27" fmla="*/ 56 h 278"/>
                <a:gd name="T28" fmla="*/ 310 w 320"/>
                <a:gd name="T29" fmla="*/ 154 h 278"/>
                <a:gd name="T30" fmla="*/ 10 w 320"/>
                <a:gd name="T31" fmla="*/ 154 h 278"/>
                <a:gd name="T32" fmla="*/ 10 w 320"/>
                <a:gd name="T33" fmla="*/ 154 h 278"/>
                <a:gd name="T34" fmla="*/ 10 w 320"/>
                <a:gd name="T35" fmla="*/ 152 h 278"/>
                <a:gd name="T36" fmla="*/ 42 w 320"/>
                <a:gd name="T37" fmla="*/ 70 h 278"/>
                <a:gd name="T38" fmla="*/ 42 w 320"/>
                <a:gd name="T39" fmla="*/ 70 h 278"/>
                <a:gd name="T40" fmla="*/ 46 w 320"/>
                <a:gd name="T41" fmla="*/ 66 h 278"/>
                <a:gd name="T42" fmla="*/ 52 w 320"/>
                <a:gd name="T43" fmla="*/ 64 h 278"/>
                <a:gd name="T44" fmla="*/ 208 w 320"/>
                <a:gd name="T45" fmla="*/ 64 h 278"/>
                <a:gd name="T46" fmla="*/ 234 w 320"/>
                <a:gd name="T47" fmla="*/ 128 h 278"/>
                <a:gd name="T48" fmla="*/ 298 w 320"/>
                <a:gd name="T49" fmla="*/ 124 h 278"/>
                <a:gd name="T50" fmla="*/ 310 w 320"/>
                <a:gd name="T51" fmla="*/ 154 h 278"/>
                <a:gd name="T52" fmla="*/ 278 w 320"/>
                <a:gd name="T53" fmla="*/ 110 h 278"/>
                <a:gd name="T54" fmla="*/ 244 w 320"/>
                <a:gd name="T55" fmla="*/ 112 h 278"/>
                <a:gd name="T56" fmla="*/ 228 w 320"/>
                <a:gd name="T57" fmla="*/ 78 h 278"/>
                <a:gd name="T58" fmla="*/ 278 w 320"/>
                <a:gd name="T59" fmla="*/ 110 h 278"/>
                <a:gd name="T60" fmla="*/ 320 w 320"/>
                <a:gd name="T61" fmla="*/ 232 h 278"/>
                <a:gd name="T62" fmla="*/ 320 w 320"/>
                <a:gd name="T63" fmla="*/ 174 h 278"/>
                <a:gd name="T64" fmla="*/ 0 w 320"/>
                <a:gd name="T65" fmla="*/ 174 h 278"/>
                <a:gd name="T66" fmla="*/ 0 w 320"/>
                <a:gd name="T67" fmla="*/ 232 h 278"/>
                <a:gd name="T68" fmla="*/ 0 w 320"/>
                <a:gd name="T69" fmla="*/ 252 h 278"/>
                <a:gd name="T70" fmla="*/ 0 w 320"/>
                <a:gd name="T71" fmla="*/ 278 h 278"/>
                <a:gd name="T72" fmla="*/ 42 w 320"/>
                <a:gd name="T73" fmla="*/ 278 h 278"/>
                <a:gd name="T74" fmla="*/ 42 w 320"/>
                <a:gd name="T75" fmla="*/ 252 h 278"/>
                <a:gd name="T76" fmla="*/ 278 w 320"/>
                <a:gd name="T77" fmla="*/ 252 h 278"/>
                <a:gd name="T78" fmla="*/ 278 w 320"/>
                <a:gd name="T79" fmla="*/ 278 h 278"/>
                <a:gd name="T80" fmla="*/ 320 w 320"/>
                <a:gd name="T81" fmla="*/ 278 h 278"/>
                <a:gd name="T82" fmla="*/ 320 w 320"/>
                <a:gd name="T83" fmla="*/ 232 h 278"/>
                <a:gd name="T84" fmla="*/ 320 w 320"/>
                <a:gd name="T85" fmla="*/ 232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0" h="278">
                  <a:moveTo>
                    <a:pt x="30" y="56"/>
                  </a:moveTo>
                  <a:lnTo>
                    <a:pt x="30" y="0"/>
                  </a:lnTo>
                  <a:lnTo>
                    <a:pt x="290" y="0"/>
                  </a:lnTo>
                  <a:lnTo>
                    <a:pt x="290" y="56"/>
                  </a:lnTo>
                  <a:lnTo>
                    <a:pt x="290" y="56"/>
                  </a:lnTo>
                  <a:lnTo>
                    <a:pt x="280" y="48"/>
                  </a:lnTo>
                  <a:lnTo>
                    <a:pt x="274" y="46"/>
                  </a:lnTo>
                  <a:lnTo>
                    <a:pt x="268" y="46"/>
                  </a:lnTo>
                  <a:lnTo>
                    <a:pt x="52" y="46"/>
                  </a:lnTo>
                  <a:lnTo>
                    <a:pt x="52" y="46"/>
                  </a:lnTo>
                  <a:lnTo>
                    <a:pt x="46" y="46"/>
                  </a:lnTo>
                  <a:lnTo>
                    <a:pt x="40" y="48"/>
                  </a:lnTo>
                  <a:lnTo>
                    <a:pt x="30" y="56"/>
                  </a:lnTo>
                  <a:lnTo>
                    <a:pt x="30" y="56"/>
                  </a:lnTo>
                  <a:close/>
                  <a:moveTo>
                    <a:pt x="310" y="154"/>
                  </a:moveTo>
                  <a:lnTo>
                    <a:pt x="10" y="154"/>
                  </a:lnTo>
                  <a:lnTo>
                    <a:pt x="10" y="154"/>
                  </a:lnTo>
                  <a:lnTo>
                    <a:pt x="10" y="152"/>
                  </a:lnTo>
                  <a:lnTo>
                    <a:pt x="42" y="70"/>
                  </a:lnTo>
                  <a:lnTo>
                    <a:pt x="42" y="70"/>
                  </a:lnTo>
                  <a:lnTo>
                    <a:pt x="46" y="66"/>
                  </a:lnTo>
                  <a:lnTo>
                    <a:pt x="52" y="64"/>
                  </a:lnTo>
                  <a:lnTo>
                    <a:pt x="208" y="64"/>
                  </a:lnTo>
                  <a:lnTo>
                    <a:pt x="234" y="128"/>
                  </a:lnTo>
                  <a:lnTo>
                    <a:pt x="298" y="124"/>
                  </a:lnTo>
                  <a:lnTo>
                    <a:pt x="310" y="154"/>
                  </a:lnTo>
                  <a:close/>
                  <a:moveTo>
                    <a:pt x="278" y="110"/>
                  </a:moveTo>
                  <a:lnTo>
                    <a:pt x="244" y="112"/>
                  </a:lnTo>
                  <a:lnTo>
                    <a:pt x="228" y="78"/>
                  </a:lnTo>
                  <a:lnTo>
                    <a:pt x="278" y="110"/>
                  </a:lnTo>
                  <a:close/>
                  <a:moveTo>
                    <a:pt x="320" y="232"/>
                  </a:moveTo>
                  <a:lnTo>
                    <a:pt x="320" y="174"/>
                  </a:lnTo>
                  <a:lnTo>
                    <a:pt x="0" y="174"/>
                  </a:lnTo>
                  <a:lnTo>
                    <a:pt x="0" y="232"/>
                  </a:lnTo>
                  <a:lnTo>
                    <a:pt x="0" y="252"/>
                  </a:lnTo>
                  <a:lnTo>
                    <a:pt x="0" y="278"/>
                  </a:lnTo>
                  <a:lnTo>
                    <a:pt x="42" y="278"/>
                  </a:lnTo>
                  <a:lnTo>
                    <a:pt x="42" y="252"/>
                  </a:lnTo>
                  <a:lnTo>
                    <a:pt x="278" y="252"/>
                  </a:lnTo>
                  <a:lnTo>
                    <a:pt x="278" y="278"/>
                  </a:lnTo>
                  <a:lnTo>
                    <a:pt x="320" y="278"/>
                  </a:lnTo>
                  <a:lnTo>
                    <a:pt x="320" y="232"/>
                  </a:lnTo>
                  <a:lnTo>
                    <a:pt x="320" y="23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76" name="Group 75">
            <a:extLst>
              <a:ext uri="{FF2B5EF4-FFF2-40B4-BE49-F238E27FC236}">
                <a16:creationId xmlns:a16="http://schemas.microsoft.com/office/drawing/2014/main" id="{759D5D55-CE62-4854-9475-F2A3C429AE7B}"/>
              </a:ext>
            </a:extLst>
          </p:cNvPr>
          <p:cNvGrpSpPr/>
          <p:nvPr/>
        </p:nvGrpSpPr>
        <p:grpSpPr>
          <a:xfrm>
            <a:off x="3412707" y="5031056"/>
            <a:ext cx="612000" cy="612000"/>
            <a:chOff x="2342233" y="5907019"/>
            <a:chExt cx="612000" cy="612000"/>
          </a:xfrm>
        </p:grpSpPr>
        <p:sp>
          <p:nvSpPr>
            <p:cNvPr id="77" name="Oval 76">
              <a:extLst>
                <a:ext uri="{FF2B5EF4-FFF2-40B4-BE49-F238E27FC236}">
                  <a16:creationId xmlns:a16="http://schemas.microsoft.com/office/drawing/2014/main" id="{D757D76B-CFE8-422D-9540-AC6D307EB460}"/>
                </a:ext>
              </a:extLst>
            </p:cNvPr>
            <p:cNvSpPr/>
            <p:nvPr/>
          </p:nvSpPr>
          <p:spPr bwMode="ltGray">
            <a:xfrm>
              <a:off x="2342233"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78" name="Freeform 4914">
              <a:extLst>
                <a:ext uri="{FF2B5EF4-FFF2-40B4-BE49-F238E27FC236}">
                  <a16:creationId xmlns:a16="http://schemas.microsoft.com/office/drawing/2014/main" id="{932A1F08-5A54-4A7A-A7C2-3CF16957E9A7}"/>
                </a:ext>
              </a:extLst>
            </p:cNvPr>
            <p:cNvSpPr>
              <a:spLocks noEditPoints="1"/>
            </p:cNvSpPr>
            <p:nvPr/>
          </p:nvSpPr>
          <p:spPr bwMode="auto">
            <a:xfrm>
              <a:off x="2437269" y="6029848"/>
              <a:ext cx="421929" cy="417080"/>
            </a:xfrm>
            <a:custGeom>
              <a:avLst/>
              <a:gdLst>
                <a:gd name="T0" fmla="*/ 134 w 348"/>
                <a:gd name="T1" fmla="*/ 64 h 344"/>
                <a:gd name="T2" fmla="*/ 80 w 348"/>
                <a:gd name="T3" fmla="*/ 98 h 344"/>
                <a:gd name="T4" fmla="*/ 48 w 348"/>
                <a:gd name="T5" fmla="*/ 152 h 344"/>
                <a:gd name="T6" fmla="*/ 42 w 348"/>
                <a:gd name="T7" fmla="*/ 206 h 344"/>
                <a:gd name="T8" fmla="*/ 64 w 348"/>
                <a:gd name="T9" fmla="*/ 266 h 344"/>
                <a:gd name="T10" fmla="*/ 110 w 348"/>
                <a:gd name="T11" fmla="*/ 308 h 344"/>
                <a:gd name="T12" fmla="*/ 174 w 348"/>
                <a:gd name="T13" fmla="*/ 324 h 344"/>
                <a:gd name="T14" fmla="*/ 226 w 348"/>
                <a:gd name="T15" fmla="*/ 314 h 344"/>
                <a:gd name="T16" fmla="*/ 276 w 348"/>
                <a:gd name="T17" fmla="*/ 276 h 344"/>
                <a:gd name="T18" fmla="*/ 304 w 348"/>
                <a:gd name="T19" fmla="*/ 218 h 344"/>
                <a:gd name="T20" fmla="*/ 304 w 348"/>
                <a:gd name="T21" fmla="*/ 164 h 344"/>
                <a:gd name="T22" fmla="*/ 276 w 348"/>
                <a:gd name="T23" fmla="*/ 108 h 344"/>
                <a:gd name="T24" fmla="*/ 226 w 348"/>
                <a:gd name="T25" fmla="*/ 70 h 344"/>
                <a:gd name="T26" fmla="*/ 174 w 348"/>
                <a:gd name="T27" fmla="*/ 58 h 344"/>
                <a:gd name="T28" fmla="*/ 180 w 348"/>
                <a:gd name="T29" fmla="*/ 290 h 344"/>
                <a:gd name="T30" fmla="*/ 168 w 348"/>
                <a:gd name="T31" fmla="*/ 290 h 344"/>
                <a:gd name="T32" fmla="*/ 146 w 348"/>
                <a:gd name="T33" fmla="*/ 302 h 344"/>
                <a:gd name="T34" fmla="*/ 70 w 348"/>
                <a:gd name="T35" fmla="*/ 240 h 344"/>
                <a:gd name="T36" fmla="*/ 74 w 348"/>
                <a:gd name="T37" fmla="*/ 200 h 344"/>
                <a:gd name="T38" fmla="*/ 78 w 348"/>
                <a:gd name="T39" fmla="*/ 188 h 344"/>
                <a:gd name="T40" fmla="*/ 60 w 348"/>
                <a:gd name="T41" fmla="*/ 184 h 344"/>
                <a:gd name="T42" fmla="*/ 108 w 348"/>
                <a:gd name="T43" fmla="*/ 98 h 344"/>
                <a:gd name="T44" fmla="*/ 166 w 348"/>
                <a:gd name="T45" fmla="*/ 88 h 344"/>
                <a:gd name="T46" fmla="*/ 174 w 348"/>
                <a:gd name="T47" fmla="*/ 96 h 344"/>
                <a:gd name="T48" fmla="*/ 182 w 348"/>
                <a:gd name="T49" fmla="*/ 78 h 344"/>
                <a:gd name="T50" fmla="*/ 254 w 348"/>
                <a:gd name="T51" fmla="*/ 112 h 344"/>
                <a:gd name="T52" fmla="*/ 278 w 348"/>
                <a:gd name="T53" fmla="*/ 184 h 344"/>
                <a:gd name="T54" fmla="*/ 270 w 348"/>
                <a:gd name="T55" fmla="*/ 192 h 344"/>
                <a:gd name="T56" fmla="*/ 278 w 348"/>
                <a:gd name="T57" fmla="*/ 200 h 344"/>
                <a:gd name="T58" fmla="*/ 268 w 348"/>
                <a:gd name="T59" fmla="*/ 256 h 344"/>
                <a:gd name="T60" fmla="*/ 182 w 348"/>
                <a:gd name="T61" fmla="*/ 304 h 344"/>
                <a:gd name="T62" fmla="*/ 256 w 348"/>
                <a:gd name="T63" fmla="*/ 146 h 344"/>
                <a:gd name="T64" fmla="*/ 188 w 348"/>
                <a:gd name="T65" fmla="*/ 198 h 344"/>
                <a:gd name="T66" fmla="*/ 174 w 348"/>
                <a:gd name="T67" fmla="*/ 206 h 344"/>
                <a:gd name="T68" fmla="*/ 112 w 348"/>
                <a:gd name="T69" fmla="*/ 170 h 344"/>
                <a:gd name="T70" fmla="*/ 108 w 348"/>
                <a:gd name="T71" fmla="*/ 158 h 344"/>
                <a:gd name="T72" fmla="*/ 120 w 348"/>
                <a:gd name="T73" fmla="*/ 154 h 344"/>
                <a:gd name="T74" fmla="*/ 180 w 348"/>
                <a:gd name="T75" fmla="*/ 178 h 344"/>
                <a:gd name="T76" fmla="*/ 246 w 348"/>
                <a:gd name="T77" fmla="*/ 136 h 344"/>
                <a:gd name="T78" fmla="*/ 326 w 348"/>
                <a:gd name="T79" fmla="*/ 150 h 344"/>
                <a:gd name="T80" fmla="*/ 308 w 348"/>
                <a:gd name="T81" fmla="*/ 118 h 344"/>
                <a:gd name="T82" fmla="*/ 234 w 348"/>
                <a:gd name="T83" fmla="*/ 52 h 344"/>
                <a:gd name="T84" fmla="*/ 230 w 348"/>
                <a:gd name="T85" fmla="*/ 32 h 344"/>
                <a:gd name="T86" fmla="*/ 300 w 348"/>
                <a:gd name="T87" fmla="*/ 26 h 344"/>
                <a:gd name="T88" fmla="*/ 342 w 348"/>
                <a:gd name="T89" fmla="*/ 68 h 344"/>
                <a:gd name="T90" fmla="*/ 336 w 348"/>
                <a:gd name="T91" fmla="*/ 138 h 344"/>
                <a:gd name="T92" fmla="*/ 154 w 348"/>
                <a:gd name="T93" fmla="*/ 0 h 344"/>
                <a:gd name="T94" fmla="*/ 184 w 348"/>
                <a:gd name="T95" fmla="*/ 40 h 344"/>
                <a:gd name="T96" fmla="*/ 292 w 348"/>
                <a:gd name="T97" fmla="*/ 314 h 344"/>
                <a:gd name="T98" fmla="*/ 286 w 348"/>
                <a:gd name="T99" fmla="*/ 342 h 344"/>
                <a:gd name="T100" fmla="*/ 270 w 348"/>
                <a:gd name="T101" fmla="*/ 344 h 344"/>
                <a:gd name="T102" fmla="*/ 252 w 348"/>
                <a:gd name="T103" fmla="*/ 324 h 344"/>
                <a:gd name="T104" fmla="*/ 64 w 348"/>
                <a:gd name="T105" fmla="*/ 298 h 344"/>
                <a:gd name="T106" fmla="*/ 86 w 348"/>
                <a:gd name="T107" fmla="*/ 338 h 344"/>
                <a:gd name="T108" fmla="*/ 68 w 348"/>
                <a:gd name="T109" fmla="*/ 344 h 344"/>
                <a:gd name="T110" fmla="*/ 52 w 348"/>
                <a:gd name="T111" fmla="*/ 322 h 344"/>
                <a:gd name="T112" fmla="*/ 22 w 348"/>
                <a:gd name="T113" fmla="*/ 150 h 344"/>
                <a:gd name="T114" fmla="*/ 0 w 348"/>
                <a:gd name="T115" fmla="*/ 96 h 344"/>
                <a:gd name="T116" fmla="*/ 22 w 348"/>
                <a:gd name="T117" fmla="*/ 42 h 344"/>
                <a:gd name="T118" fmla="*/ 90 w 348"/>
                <a:gd name="T119" fmla="*/ 22 h 344"/>
                <a:gd name="T120" fmla="*/ 132 w 348"/>
                <a:gd name="T121" fmla="*/ 44 h 344"/>
                <a:gd name="T122" fmla="*/ 64 w 348"/>
                <a:gd name="T123" fmla="*/ 86 h 344"/>
                <a:gd name="T124" fmla="*/ 26 w 348"/>
                <a:gd name="T125" fmla="*/ 15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8" h="344">
                  <a:moveTo>
                    <a:pt x="174" y="58"/>
                  </a:moveTo>
                  <a:lnTo>
                    <a:pt x="174" y="58"/>
                  </a:lnTo>
                  <a:lnTo>
                    <a:pt x="160" y="60"/>
                  </a:lnTo>
                  <a:lnTo>
                    <a:pt x="148" y="62"/>
                  </a:lnTo>
                  <a:lnTo>
                    <a:pt x="134" y="64"/>
                  </a:lnTo>
                  <a:lnTo>
                    <a:pt x="122" y="70"/>
                  </a:lnTo>
                  <a:lnTo>
                    <a:pt x="110" y="74"/>
                  </a:lnTo>
                  <a:lnTo>
                    <a:pt x="100" y="82"/>
                  </a:lnTo>
                  <a:lnTo>
                    <a:pt x="90" y="90"/>
                  </a:lnTo>
                  <a:lnTo>
                    <a:pt x="80" y="98"/>
                  </a:lnTo>
                  <a:lnTo>
                    <a:pt x="72" y="108"/>
                  </a:lnTo>
                  <a:lnTo>
                    <a:pt x="64" y="118"/>
                  </a:lnTo>
                  <a:lnTo>
                    <a:pt x="58" y="128"/>
                  </a:lnTo>
                  <a:lnTo>
                    <a:pt x="52" y="140"/>
                  </a:lnTo>
                  <a:lnTo>
                    <a:pt x="48" y="152"/>
                  </a:lnTo>
                  <a:lnTo>
                    <a:pt x="44" y="164"/>
                  </a:lnTo>
                  <a:lnTo>
                    <a:pt x="42" y="178"/>
                  </a:lnTo>
                  <a:lnTo>
                    <a:pt x="42" y="192"/>
                  </a:lnTo>
                  <a:lnTo>
                    <a:pt x="42" y="192"/>
                  </a:lnTo>
                  <a:lnTo>
                    <a:pt x="42" y="206"/>
                  </a:lnTo>
                  <a:lnTo>
                    <a:pt x="44" y="218"/>
                  </a:lnTo>
                  <a:lnTo>
                    <a:pt x="48" y="232"/>
                  </a:lnTo>
                  <a:lnTo>
                    <a:pt x="52" y="244"/>
                  </a:lnTo>
                  <a:lnTo>
                    <a:pt x="58" y="254"/>
                  </a:lnTo>
                  <a:lnTo>
                    <a:pt x="64" y="266"/>
                  </a:lnTo>
                  <a:lnTo>
                    <a:pt x="72" y="276"/>
                  </a:lnTo>
                  <a:lnTo>
                    <a:pt x="80" y="286"/>
                  </a:lnTo>
                  <a:lnTo>
                    <a:pt x="90" y="294"/>
                  </a:lnTo>
                  <a:lnTo>
                    <a:pt x="100" y="302"/>
                  </a:lnTo>
                  <a:lnTo>
                    <a:pt x="110" y="308"/>
                  </a:lnTo>
                  <a:lnTo>
                    <a:pt x="122" y="314"/>
                  </a:lnTo>
                  <a:lnTo>
                    <a:pt x="134" y="318"/>
                  </a:lnTo>
                  <a:lnTo>
                    <a:pt x="148" y="322"/>
                  </a:lnTo>
                  <a:lnTo>
                    <a:pt x="160" y="324"/>
                  </a:lnTo>
                  <a:lnTo>
                    <a:pt x="174" y="324"/>
                  </a:lnTo>
                  <a:lnTo>
                    <a:pt x="174" y="324"/>
                  </a:lnTo>
                  <a:lnTo>
                    <a:pt x="188" y="324"/>
                  </a:lnTo>
                  <a:lnTo>
                    <a:pt x="200" y="322"/>
                  </a:lnTo>
                  <a:lnTo>
                    <a:pt x="214" y="318"/>
                  </a:lnTo>
                  <a:lnTo>
                    <a:pt x="226" y="314"/>
                  </a:lnTo>
                  <a:lnTo>
                    <a:pt x="238" y="308"/>
                  </a:lnTo>
                  <a:lnTo>
                    <a:pt x="248" y="302"/>
                  </a:lnTo>
                  <a:lnTo>
                    <a:pt x="258" y="294"/>
                  </a:lnTo>
                  <a:lnTo>
                    <a:pt x="268" y="286"/>
                  </a:lnTo>
                  <a:lnTo>
                    <a:pt x="276" y="276"/>
                  </a:lnTo>
                  <a:lnTo>
                    <a:pt x="284" y="266"/>
                  </a:lnTo>
                  <a:lnTo>
                    <a:pt x="290" y="254"/>
                  </a:lnTo>
                  <a:lnTo>
                    <a:pt x="296" y="244"/>
                  </a:lnTo>
                  <a:lnTo>
                    <a:pt x="300" y="232"/>
                  </a:lnTo>
                  <a:lnTo>
                    <a:pt x="304" y="218"/>
                  </a:lnTo>
                  <a:lnTo>
                    <a:pt x="306" y="206"/>
                  </a:lnTo>
                  <a:lnTo>
                    <a:pt x="306" y="192"/>
                  </a:lnTo>
                  <a:lnTo>
                    <a:pt x="306" y="192"/>
                  </a:lnTo>
                  <a:lnTo>
                    <a:pt x="306" y="178"/>
                  </a:lnTo>
                  <a:lnTo>
                    <a:pt x="304" y="164"/>
                  </a:lnTo>
                  <a:lnTo>
                    <a:pt x="300" y="152"/>
                  </a:lnTo>
                  <a:lnTo>
                    <a:pt x="296" y="140"/>
                  </a:lnTo>
                  <a:lnTo>
                    <a:pt x="290" y="128"/>
                  </a:lnTo>
                  <a:lnTo>
                    <a:pt x="284" y="118"/>
                  </a:lnTo>
                  <a:lnTo>
                    <a:pt x="276" y="108"/>
                  </a:lnTo>
                  <a:lnTo>
                    <a:pt x="268" y="98"/>
                  </a:lnTo>
                  <a:lnTo>
                    <a:pt x="258" y="90"/>
                  </a:lnTo>
                  <a:lnTo>
                    <a:pt x="248" y="82"/>
                  </a:lnTo>
                  <a:lnTo>
                    <a:pt x="238" y="74"/>
                  </a:lnTo>
                  <a:lnTo>
                    <a:pt x="226" y="70"/>
                  </a:lnTo>
                  <a:lnTo>
                    <a:pt x="214" y="64"/>
                  </a:lnTo>
                  <a:lnTo>
                    <a:pt x="200" y="62"/>
                  </a:lnTo>
                  <a:lnTo>
                    <a:pt x="188" y="60"/>
                  </a:lnTo>
                  <a:lnTo>
                    <a:pt x="174" y="58"/>
                  </a:lnTo>
                  <a:lnTo>
                    <a:pt x="174" y="58"/>
                  </a:lnTo>
                  <a:close/>
                  <a:moveTo>
                    <a:pt x="182" y="304"/>
                  </a:moveTo>
                  <a:lnTo>
                    <a:pt x="182" y="296"/>
                  </a:lnTo>
                  <a:lnTo>
                    <a:pt x="182" y="296"/>
                  </a:lnTo>
                  <a:lnTo>
                    <a:pt x="182" y="292"/>
                  </a:lnTo>
                  <a:lnTo>
                    <a:pt x="180" y="290"/>
                  </a:lnTo>
                  <a:lnTo>
                    <a:pt x="178" y="288"/>
                  </a:lnTo>
                  <a:lnTo>
                    <a:pt x="174" y="288"/>
                  </a:lnTo>
                  <a:lnTo>
                    <a:pt x="174" y="288"/>
                  </a:lnTo>
                  <a:lnTo>
                    <a:pt x="170" y="288"/>
                  </a:lnTo>
                  <a:lnTo>
                    <a:pt x="168" y="290"/>
                  </a:lnTo>
                  <a:lnTo>
                    <a:pt x="166" y="292"/>
                  </a:lnTo>
                  <a:lnTo>
                    <a:pt x="166" y="296"/>
                  </a:lnTo>
                  <a:lnTo>
                    <a:pt x="166" y="304"/>
                  </a:lnTo>
                  <a:lnTo>
                    <a:pt x="166" y="304"/>
                  </a:lnTo>
                  <a:lnTo>
                    <a:pt x="146" y="302"/>
                  </a:lnTo>
                  <a:lnTo>
                    <a:pt x="126" y="294"/>
                  </a:lnTo>
                  <a:lnTo>
                    <a:pt x="108" y="284"/>
                  </a:lnTo>
                  <a:lnTo>
                    <a:pt x="94" y="272"/>
                  </a:lnTo>
                  <a:lnTo>
                    <a:pt x="80" y="256"/>
                  </a:lnTo>
                  <a:lnTo>
                    <a:pt x="70" y="240"/>
                  </a:lnTo>
                  <a:lnTo>
                    <a:pt x="64" y="220"/>
                  </a:lnTo>
                  <a:lnTo>
                    <a:pt x="60" y="200"/>
                  </a:lnTo>
                  <a:lnTo>
                    <a:pt x="70" y="200"/>
                  </a:lnTo>
                  <a:lnTo>
                    <a:pt x="70" y="200"/>
                  </a:lnTo>
                  <a:lnTo>
                    <a:pt x="74" y="200"/>
                  </a:lnTo>
                  <a:lnTo>
                    <a:pt x="76" y="198"/>
                  </a:lnTo>
                  <a:lnTo>
                    <a:pt x="78" y="194"/>
                  </a:lnTo>
                  <a:lnTo>
                    <a:pt x="78" y="192"/>
                  </a:lnTo>
                  <a:lnTo>
                    <a:pt x="78" y="192"/>
                  </a:lnTo>
                  <a:lnTo>
                    <a:pt x="78" y="188"/>
                  </a:lnTo>
                  <a:lnTo>
                    <a:pt x="76" y="186"/>
                  </a:lnTo>
                  <a:lnTo>
                    <a:pt x="74" y="184"/>
                  </a:lnTo>
                  <a:lnTo>
                    <a:pt x="70" y="184"/>
                  </a:lnTo>
                  <a:lnTo>
                    <a:pt x="60" y="184"/>
                  </a:lnTo>
                  <a:lnTo>
                    <a:pt x="60" y="184"/>
                  </a:lnTo>
                  <a:lnTo>
                    <a:pt x="64" y="164"/>
                  </a:lnTo>
                  <a:lnTo>
                    <a:pt x="70" y="144"/>
                  </a:lnTo>
                  <a:lnTo>
                    <a:pt x="80" y="126"/>
                  </a:lnTo>
                  <a:lnTo>
                    <a:pt x="94" y="112"/>
                  </a:lnTo>
                  <a:lnTo>
                    <a:pt x="108" y="98"/>
                  </a:lnTo>
                  <a:lnTo>
                    <a:pt x="126" y="88"/>
                  </a:lnTo>
                  <a:lnTo>
                    <a:pt x="146" y="82"/>
                  </a:lnTo>
                  <a:lnTo>
                    <a:pt x="166" y="78"/>
                  </a:lnTo>
                  <a:lnTo>
                    <a:pt x="166" y="88"/>
                  </a:lnTo>
                  <a:lnTo>
                    <a:pt x="166" y="88"/>
                  </a:lnTo>
                  <a:lnTo>
                    <a:pt x="166" y="92"/>
                  </a:lnTo>
                  <a:lnTo>
                    <a:pt x="168" y="94"/>
                  </a:lnTo>
                  <a:lnTo>
                    <a:pt x="170" y="96"/>
                  </a:lnTo>
                  <a:lnTo>
                    <a:pt x="174" y="96"/>
                  </a:lnTo>
                  <a:lnTo>
                    <a:pt x="174" y="96"/>
                  </a:lnTo>
                  <a:lnTo>
                    <a:pt x="178" y="96"/>
                  </a:lnTo>
                  <a:lnTo>
                    <a:pt x="180" y="94"/>
                  </a:lnTo>
                  <a:lnTo>
                    <a:pt x="182" y="92"/>
                  </a:lnTo>
                  <a:lnTo>
                    <a:pt x="182" y="88"/>
                  </a:lnTo>
                  <a:lnTo>
                    <a:pt x="182" y="78"/>
                  </a:lnTo>
                  <a:lnTo>
                    <a:pt x="182" y="78"/>
                  </a:lnTo>
                  <a:lnTo>
                    <a:pt x="202" y="82"/>
                  </a:lnTo>
                  <a:lnTo>
                    <a:pt x="222" y="88"/>
                  </a:lnTo>
                  <a:lnTo>
                    <a:pt x="240" y="98"/>
                  </a:lnTo>
                  <a:lnTo>
                    <a:pt x="254" y="112"/>
                  </a:lnTo>
                  <a:lnTo>
                    <a:pt x="268" y="126"/>
                  </a:lnTo>
                  <a:lnTo>
                    <a:pt x="278" y="144"/>
                  </a:lnTo>
                  <a:lnTo>
                    <a:pt x="284" y="164"/>
                  </a:lnTo>
                  <a:lnTo>
                    <a:pt x="288" y="184"/>
                  </a:lnTo>
                  <a:lnTo>
                    <a:pt x="278" y="184"/>
                  </a:lnTo>
                  <a:lnTo>
                    <a:pt x="278" y="184"/>
                  </a:lnTo>
                  <a:lnTo>
                    <a:pt x="274" y="184"/>
                  </a:lnTo>
                  <a:lnTo>
                    <a:pt x="272" y="186"/>
                  </a:lnTo>
                  <a:lnTo>
                    <a:pt x="270" y="188"/>
                  </a:lnTo>
                  <a:lnTo>
                    <a:pt x="270" y="192"/>
                  </a:lnTo>
                  <a:lnTo>
                    <a:pt x="270" y="192"/>
                  </a:lnTo>
                  <a:lnTo>
                    <a:pt x="270" y="194"/>
                  </a:lnTo>
                  <a:lnTo>
                    <a:pt x="272" y="198"/>
                  </a:lnTo>
                  <a:lnTo>
                    <a:pt x="274" y="200"/>
                  </a:lnTo>
                  <a:lnTo>
                    <a:pt x="278" y="200"/>
                  </a:lnTo>
                  <a:lnTo>
                    <a:pt x="288" y="200"/>
                  </a:lnTo>
                  <a:lnTo>
                    <a:pt x="288" y="200"/>
                  </a:lnTo>
                  <a:lnTo>
                    <a:pt x="284" y="220"/>
                  </a:lnTo>
                  <a:lnTo>
                    <a:pt x="278" y="240"/>
                  </a:lnTo>
                  <a:lnTo>
                    <a:pt x="268" y="256"/>
                  </a:lnTo>
                  <a:lnTo>
                    <a:pt x="254" y="272"/>
                  </a:lnTo>
                  <a:lnTo>
                    <a:pt x="240" y="284"/>
                  </a:lnTo>
                  <a:lnTo>
                    <a:pt x="222" y="294"/>
                  </a:lnTo>
                  <a:lnTo>
                    <a:pt x="202" y="302"/>
                  </a:lnTo>
                  <a:lnTo>
                    <a:pt x="182" y="304"/>
                  </a:lnTo>
                  <a:lnTo>
                    <a:pt x="182" y="304"/>
                  </a:lnTo>
                  <a:close/>
                  <a:moveTo>
                    <a:pt x="254" y="140"/>
                  </a:moveTo>
                  <a:lnTo>
                    <a:pt x="254" y="140"/>
                  </a:lnTo>
                  <a:lnTo>
                    <a:pt x="256" y="142"/>
                  </a:lnTo>
                  <a:lnTo>
                    <a:pt x="256" y="146"/>
                  </a:lnTo>
                  <a:lnTo>
                    <a:pt x="254" y="148"/>
                  </a:lnTo>
                  <a:lnTo>
                    <a:pt x="252" y="150"/>
                  </a:lnTo>
                  <a:lnTo>
                    <a:pt x="188" y="192"/>
                  </a:lnTo>
                  <a:lnTo>
                    <a:pt x="188" y="192"/>
                  </a:lnTo>
                  <a:lnTo>
                    <a:pt x="188" y="198"/>
                  </a:lnTo>
                  <a:lnTo>
                    <a:pt x="188" y="198"/>
                  </a:lnTo>
                  <a:lnTo>
                    <a:pt x="186" y="202"/>
                  </a:lnTo>
                  <a:lnTo>
                    <a:pt x="182" y="204"/>
                  </a:lnTo>
                  <a:lnTo>
                    <a:pt x="174" y="206"/>
                  </a:lnTo>
                  <a:lnTo>
                    <a:pt x="174" y="206"/>
                  </a:lnTo>
                  <a:lnTo>
                    <a:pt x="168" y="206"/>
                  </a:lnTo>
                  <a:lnTo>
                    <a:pt x="168" y="206"/>
                  </a:lnTo>
                  <a:lnTo>
                    <a:pt x="162" y="200"/>
                  </a:lnTo>
                  <a:lnTo>
                    <a:pt x="160" y="194"/>
                  </a:lnTo>
                  <a:lnTo>
                    <a:pt x="112" y="170"/>
                  </a:lnTo>
                  <a:lnTo>
                    <a:pt x="112" y="170"/>
                  </a:lnTo>
                  <a:lnTo>
                    <a:pt x="110" y="168"/>
                  </a:lnTo>
                  <a:lnTo>
                    <a:pt x="108" y="164"/>
                  </a:lnTo>
                  <a:lnTo>
                    <a:pt x="108" y="162"/>
                  </a:lnTo>
                  <a:lnTo>
                    <a:pt x="108" y="158"/>
                  </a:lnTo>
                  <a:lnTo>
                    <a:pt x="108" y="158"/>
                  </a:lnTo>
                  <a:lnTo>
                    <a:pt x="110" y="156"/>
                  </a:lnTo>
                  <a:lnTo>
                    <a:pt x="114" y="154"/>
                  </a:lnTo>
                  <a:lnTo>
                    <a:pt x="116" y="154"/>
                  </a:lnTo>
                  <a:lnTo>
                    <a:pt x="120" y="154"/>
                  </a:lnTo>
                  <a:lnTo>
                    <a:pt x="166" y="178"/>
                  </a:lnTo>
                  <a:lnTo>
                    <a:pt x="166" y="178"/>
                  </a:lnTo>
                  <a:lnTo>
                    <a:pt x="174" y="176"/>
                  </a:lnTo>
                  <a:lnTo>
                    <a:pt x="174" y="176"/>
                  </a:lnTo>
                  <a:lnTo>
                    <a:pt x="180" y="178"/>
                  </a:lnTo>
                  <a:lnTo>
                    <a:pt x="180" y="178"/>
                  </a:lnTo>
                  <a:lnTo>
                    <a:pt x="180" y="178"/>
                  </a:lnTo>
                  <a:lnTo>
                    <a:pt x="244" y="138"/>
                  </a:lnTo>
                  <a:lnTo>
                    <a:pt x="244" y="138"/>
                  </a:lnTo>
                  <a:lnTo>
                    <a:pt x="246" y="136"/>
                  </a:lnTo>
                  <a:lnTo>
                    <a:pt x="250" y="136"/>
                  </a:lnTo>
                  <a:lnTo>
                    <a:pt x="252" y="138"/>
                  </a:lnTo>
                  <a:lnTo>
                    <a:pt x="254" y="140"/>
                  </a:lnTo>
                  <a:lnTo>
                    <a:pt x="254" y="140"/>
                  </a:lnTo>
                  <a:close/>
                  <a:moveTo>
                    <a:pt x="326" y="150"/>
                  </a:moveTo>
                  <a:lnTo>
                    <a:pt x="326" y="150"/>
                  </a:lnTo>
                  <a:lnTo>
                    <a:pt x="322" y="154"/>
                  </a:lnTo>
                  <a:lnTo>
                    <a:pt x="322" y="154"/>
                  </a:lnTo>
                  <a:lnTo>
                    <a:pt x="316" y="136"/>
                  </a:lnTo>
                  <a:lnTo>
                    <a:pt x="308" y="118"/>
                  </a:lnTo>
                  <a:lnTo>
                    <a:pt x="296" y="100"/>
                  </a:lnTo>
                  <a:lnTo>
                    <a:pt x="284" y="86"/>
                  </a:lnTo>
                  <a:lnTo>
                    <a:pt x="268" y="72"/>
                  </a:lnTo>
                  <a:lnTo>
                    <a:pt x="252" y="60"/>
                  </a:lnTo>
                  <a:lnTo>
                    <a:pt x="234" y="52"/>
                  </a:lnTo>
                  <a:lnTo>
                    <a:pt x="216" y="44"/>
                  </a:lnTo>
                  <a:lnTo>
                    <a:pt x="216" y="44"/>
                  </a:lnTo>
                  <a:lnTo>
                    <a:pt x="218" y="42"/>
                  </a:lnTo>
                  <a:lnTo>
                    <a:pt x="218" y="42"/>
                  </a:lnTo>
                  <a:lnTo>
                    <a:pt x="230" y="32"/>
                  </a:lnTo>
                  <a:lnTo>
                    <a:pt x="242" y="26"/>
                  </a:lnTo>
                  <a:lnTo>
                    <a:pt x="258" y="22"/>
                  </a:lnTo>
                  <a:lnTo>
                    <a:pt x="272" y="20"/>
                  </a:lnTo>
                  <a:lnTo>
                    <a:pt x="286" y="22"/>
                  </a:lnTo>
                  <a:lnTo>
                    <a:pt x="300" y="26"/>
                  </a:lnTo>
                  <a:lnTo>
                    <a:pt x="314" y="32"/>
                  </a:lnTo>
                  <a:lnTo>
                    <a:pt x="326" y="42"/>
                  </a:lnTo>
                  <a:lnTo>
                    <a:pt x="326" y="42"/>
                  </a:lnTo>
                  <a:lnTo>
                    <a:pt x="336" y="54"/>
                  </a:lnTo>
                  <a:lnTo>
                    <a:pt x="342" y="68"/>
                  </a:lnTo>
                  <a:lnTo>
                    <a:pt x="346" y="82"/>
                  </a:lnTo>
                  <a:lnTo>
                    <a:pt x="348" y="96"/>
                  </a:lnTo>
                  <a:lnTo>
                    <a:pt x="346" y="112"/>
                  </a:lnTo>
                  <a:lnTo>
                    <a:pt x="342" y="126"/>
                  </a:lnTo>
                  <a:lnTo>
                    <a:pt x="336" y="138"/>
                  </a:lnTo>
                  <a:lnTo>
                    <a:pt x="326" y="150"/>
                  </a:lnTo>
                  <a:lnTo>
                    <a:pt x="326" y="150"/>
                  </a:lnTo>
                  <a:close/>
                  <a:moveTo>
                    <a:pt x="164" y="24"/>
                  </a:moveTo>
                  <a:lnTo>
                    <a:pt x="154" y="24"/>
                  </a:lnTo>
                  <a:lnTo>
                    <a:pt x="154" y="0"/>
                  </a:lnTo>
                  <a:lnTo>
                    <a:pt x="194" y="0"/>
                  </a:lnTo>
                  <a:lnTo>
                    <a:pt x="194" y="24"/>
                  </a:lnTo>
                  <a:lnTo>
                    <a:pt x="184" y="24"/>
                  </a:lnTo>
                  <a:lnTo>
                    <a:pt x="184" y="40"/>
                  </a:lnTo>
                  <a:lnTo>
                    <a:pt x="184" y="40"/>
                  </a:lnTo>
                  <a:lnTo>
                    <a:pt x="174" y="38"/>
                  </a:lnTo>
                  <a:lnTo>
                    <a:pt x="174" y="38"/>
                  </a:lnTo>
                  <a:lnTo>
                    <a:pt x="164" y="40"/>
                  </a:lnTo>
                  <a:lnTo>
                    <a:pt x="164" y="24"/>
                  </a:lnTo>
                  <a:close/>
                  <a:moveTo>
                    <a:pt x="292" y="314"/>
                  </a:moveTo>
                  <a:lnTo>
                    <a:pt x="292" y="314"/>
                  </a:lnTo>
                  <a:lnTo>
                    <a:pt x="296" y="322"/>
                  </a:lnTo>
                  <a:lnTo>
                    <a:pt x="294" y="330"/>
                  </a:lnTo>
                  <a:lnTo>
                    <a:pt x="292" y="336"/>
                  </a:lnTo>
                  <a:lnTo>
                    <a:pt x="286" y="342"/>
                  </a:lnTo>
                  <a:lnTo>
                    <a:pt x="286" y="342"/>
                  </a:lnTo>
                  <a:lnTo>
                    <a:pt x="280" y="344"/>
                  </a:lnTo>
                  <a:lnTo>
                    <a:pt x="276" y="344"/>
                  </a:lnTo>
                  <a:lnTo>
                    <a:pt x="276" y="344"/>
                  </a:lnTo>
                  <a:lnTo>
                    <a:pt x="270" y="344"/>
                  </a:lnTo>
                  <a:lnTo>
                    <a:pt x="266" y="342"/>
                  </a:lnTo>
                  <a:lnTo>
                    <a:pt x="262" y="338"/>
                  </a:lnTo>
                  <a:lnTo>
                    <a:pt x="258" y="334"/>
                  </a:lnTo>
                  <a:lnTo>
                    <a:pt x="252" y="324"/>
                  </a:lnTo>
                  <a:lnTo>
                    <a:pt x="252" y="324"/>
                  </a:lnTo>
                  <a:lnTo>
                    <a:pt x="268" y="312"/>
                  </a:lnTo>
                  <a:lnTo>
                    <a:pt x="284" y="298"/>
                  </a:lnTo>
                  <a:lnTo>
                    <a:pt x="292" y="314"/>
                  </a:lnTo>
                  <a:close/>
                  <a:moveTo>
                    <a:pt x="64" y="298"/>
                  </a:moveTo>
                  <a:lnTo>
                    <a:pt x="64" y="298"/>
                  </a:lnTo>
                  <a:lnTo>
                    <a:pt x="80" y="312"/>
                  </a:lnTo>
                  <a:lnTo>
                    <a:pt x="96" y="324"/>
                  </a:lnTo>
                  <a:lnTo>
                    <a:pt x="90" y="334"/>
                  </a:lnTo>
                  <a:lnTo>
                    <a:pt x="90" y="334"/>
                  </a:lnTo>
                  <a:lnTo>
                    <a:pt x="86" y="338"/>
                  </a:lnTo>
                  <a:lnTo>
                    <a:pt x="82" y="342"/>
                  </a:lnTo>
                  <a:lnTo>
                    <a:pt x="78" y="344"/>
                  </a:lnTo>
                  <a:lnTo>
                    <a:pt x="72" y="344"/>
                  </a:lnTo>
                  <a:lnTo>
                    <a:pt x="72" y="344"/>
                  </a:lnTo>
                  <a:lnTo>
                    <a:pt x="68" y="344"/>
                  </a:lnTo>
                  <a:lnTo>
                    <a:pt x="62" y="342"/>
                  </a:lnTo>
                  <a:lnTo>
                    <a:pt x="62" y="342"/>
                  </a:lnTo>
                  <a:lnTo>
                    <a:pt x="56" y="336"/>
                  </a:lnTo>
                  <a:lnTo>
                    <a:pt x="52" y="330"/>
                  </a:lnTo>
                  <a:lnTo>
                    <a:pt x="52" y="322"/>
                  </a:lnTo>
                  <a:lnTo>
                    <a:pt x="54" y="314"/>
                  </a:lnTo>
                  <a:lnTo>
                    <a:pt x="64" y="298"/>
                  </a:lnTo>
                  <a:close/>
                  <a:moveTo>
                    <a:pt x="26" y="154"/>
                  </a:moveTo>
                  <a:lnTo>
                    <a:pt x="26" y="154"/>
                  </a:lnTo>
                  <a:lnTo>
                    <a:pt x="22" y="150"/>
                  </a:lnTo>
                  <a:lnTo>
                    <a:pt x="22" y="150"/>
                  </a:lnTo>
                  <a:lnTo>
                    <a:pt x="12" y="138"/>
                  </a:lnTo>
                  <a:lnTo>
                    <a:pt x="6" y="126"/>
                  </a:lnTo>
                  <a:lnTo>
                    <a:pt x="2" y="112"/>
                  </a:lnTo>
                  <a:lnTo>
                    <a:pt x="0" y="96"/>
                  </a:lnTo>
                  <a:lnTo>
                    <a:pt x="2" y="82"/>
                  </a:lnTo>
                  <a:lnTo>
                    <a:pt x="6" y="68"/>
                  </a:lnTo>
                  <a:lnTo>
                    <a:pt x="12" y="54"/>
                  </a:lnTo>
                  <a:lnTo>
                    <a:pt x="22" y="42"/>
                  </a:lnTo>
                  <a:lnTo>
                    <a:pt x="22" y="42"/>
                  </a:lnTo>
                  <a:lnTo>
                    <a:pt x="34" y="32"/>
                  </a:lnTo>
                  <a:lnTo>
                    <a:pt x="48" y="26"/>
                  </a:lnTo>
                  <a:lnTo>
                    <a:pt x="62" y="22"/>
                  </a:lnTo>
                  <a:lnTo>
                    <a:pt x="76" y="20"/>
                  </a:lnTo>
                  <a:lnTo>
                    <a:pt x="90" y="22"/>
                  </a:lnTo>
                  <a:lnTo>
                    <a:pt x="106" y="26"/>
                  </a:lnTo>
                  <a:lnTo>
                    <a:pt x="118" y="32"/>
                  </a:lnTo>
                  <a:lnTo>
                    <a:pt x="130" y="42"/>
                  </a:lnTo>
                  <a:lnTo>
                    <a:pt x="130" y="42"/>
                  </a:lnTo>
                  <a:lnTo>
                    <a:pt x="132" y="44"/>
                  </a:lnTo>
                  <a:lnTo>
                    <a:pt x="132" y="44"/>
                  </a:lnTo>
                  <a:lnTo>
                    <a:pt x="114" y="52"/>
                  </a:lnTo>
                  <a:lnTo>
                    <a:pt x="96" y="60"/>
                  </a:lnTo>
                  <a:lnTo>
                    <a:pt x="80" y="72"/>
                  </a:lnTo>
                  <a:lnTo>
                    <a:pt x="64" y="86"/>
                  </a:lnTo>
                  <a:lnTo>
                    <a:pt x="52" y="100"/>
                  </a:lnTo>
                  <a:lnTo>
                    <a:pt x="40" y="118"/>
                  </a:lnTo>
                  <a:lnTo>
                    <a:pt x="32" y="136"/>
                  </a:lnTo>
                  <a:lnTo>
                    <a:pt x="26" y="154"/>
                  </a:lnTo>
                  <a:lnTo>
                    <a:pt x="26" y="15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79" name="Group 78">
            <a:extLst>
              <a:ext uri="{FF2B5EF4-FFF2-40B4-BE49-F238E27FC236}">
                <a16:creationId xmlns:a16="http://schemas.microsoft.com/office/drawing/2014/main" id="{8D66D5FE-0005-46B3-82F7-9B9DAC498AE4}"/>
              </a:ext>
            </a:extLst>
          </p:cNvPr>
          <p:cNvGrpSpPr/>
          <p:nvPr/>
        </p:nvGrpSpPr>
        <p:grpSpPr>
          <a:xfrm>
            <a:off x="1663281" y="3814747"/>
            <a:ext cx="612000" cy="612000"/>
            <a:chOff x="592807" y="4690710"/>
            <a:chExt cx="612000" cy="612000"/>
          </a:xfrm>
        </p:grpSpPr>
        <p:sp>
          <p:nvSpPr>
            <p:cNvPr id="80" name="Oval 79">
              <a:extLst>
                <a:ext uri="{FF2B5EF4-FFF2-40B4-BE49-F238E27FC236}">
                  <a16:creationId xmlns:a16="http://schemas.microsoft.com/office/drawing/2014/main" id="{218690CF-2434-444F-80C6-A74F0D7D3EBF}"/>
                </a:ext>
              </a:extLst>
            </p:cNvPr>
            <p:cNvSpPr/>
            <p:nvPr/>
          </p:nvSpPr>
          <p:spPr bwMode="ltGray">
            <a:xfrm>
              <a:off x="592807"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81" name="Freeform 4983">
              <a:extLst>
                <a:ext uri="{FF2B5EF4-FFF2-40B4-BE49-F238E27FC236}">
                  <a16:creationId xmlns:a16="http://schemas.microsoft.com/office/drawing/2014/main" id="{5C89B7B8-8928-4BFB-ABAF-8F404B210E40}"/>
                </a:ext>
              </a:extLst>
            </p:cNvPr>
            <p:cNvSpPr>
              <a:spLocks noEditPoints="1"/>
            </p:cNvSpPr>
            <p:nvPr/>
          </p:nvSpPr>
          <p:spPr bwMode="auto">
            <a:xfrm>
              <a:off x="674506" y="4805283"/>
              <a:ext cx="448603" cy="421929"/>
            </a:xfrm>
            <a:custGeom>
              <a:avLst/>
              <a:gdLst>
                <a:gd name="T0" fmla="*/ 168 w 370"/>
                <a:gd name="T1" fmla="*/ 282 h 348"/>
                <a:gd name="T2" fmla="*/ 252 w 370"/>
                <a:gd name="T3" fmla="*/ 272 h 348"/>
                <a:gd name="T4" fmla="*/ 304 w 370"/>
                <a:gd name="T5" fmla="*/ 204 h 348"/>
                <a:gd name="T6" fmla="*/ 312 w 370"/>
                <a:gd name="T7" fmla="*/ 168 h 348"/>
                <a:gd name="T8" fmla="*/ 318 w 370"/>
                <a:gd name="T9" fmla="*/ 166 h 348"/>
                <a:gd name="T10" fmla="*/ 328 w 370"/>
                <a:gd name="T11" fmla="*/ 176 h 348"/>
                <a:gd name="T12" fmla="*/ 314 w 370"/>
                <a:gd name="T13" fmla="*/ 234 h 348"/>
                <a:gd name="T14" fmla="*/ 274 w 370"/>
                <a:gd name="T15" fmla="*/ 282 h 348"/>
                <a:gd name="T16" fmla="*/ 214 w 370"/>
                <a:gd name="T17" fmla="*/ 306 h 348"/>
                <a:gd name="T18" fmla="*/ 164 w 370"/>
                <a:gd name="T19" fmla="*/ 302 h 348"/>
                <a:gd name="T20" fmla="*/ 126 w 370"/>
                <a:gd name="T21" fmla="*/ 282 h 348"/>
                <a:gd name="T22" fmla="*/ 134 w 370"/>
                <a:gd name="T23" fmla="*/ 270 h 348"/>
                <a:gd name="T24" fmla="*/ 174 w 370"/>
                <a:gd name="T25" fmla="*/ 262 h 348"/>
                <a:gd name="T26" fmla="*/ 220 w 370"/>
                <a:gd name="T27" fmla="*/ 262 h 348"/>
                <a:gd name="T28" fmla="*/ 268 w 370"/>
                <a:gd name="T29" fmla="*/ 230 h 348"/>
                <a:gd name="T30" fmla="*/ 286 w 370"/>
                <a:gd name="T31" fmla="*/ 176 h 348"/>
                <a:gd name="T32" fmla="*/ 276 w 370"/>
                <a:gd name="T33" fmla="*/ 166 h 348"/>
                <a:gd name="T34" fmla="*/ 266 w 370"/>
                <a:gd name="T35" fmla="*/ 176 h 348"/>
                <a:gd name="T36" fmla="*/ 252 w 370"/>
                <a:gd name="T37" fmla="*/ 218 h 348"/>
                <a:gd name="T38" fmla="*/ 206 w 370"/>
                <a:gd name="T39" fmla="*/ 244 h 348"/>
                <a:gd name="T40" fmla="*/ 162 w 370"/>
                <a:gd name="T41" fmla="*/ 236 h 348"/>
                <a:gd name="T42" fmla="*/ 148 w 370"/>
                <a:gd name="T43" fmla="*/ 238 h 348"/>
                <a:gd name="T44" fmla="*/ 152 w 370"/>
                <a:gd name="T45" fmla="*/ 252 h 348"/>
                <a:gd name="T46" fmla="*/ 232 w 370"/>
                <a:gd name="T47" fmla="*/ 126 h 348"/>
                <a:gd name="T48" fmla="*/ 336 w 370"/>
                <a:gd name="T49" fmla="*/ 72 h 348"/>
                <a:gd name="T50" fmla="*/ 340 w 370"/>
                <a:gd name="T51" fmla="*/ 6 h 348"/>
                <a:gd name="T52" fmla="*/ 232 w 370"/>
                <a:gd name="T53" fmla="*/ 56 h 348"/>
                <a:gd name="T54" fmla="*/ 228 w 370"/>
                <a:gd name="T55" fmla="*/ 116 h 348"/>
                <a:gd name="T56" fmla="*/ 116 w 370"/>
                <a:gd name="T57" fmla="*/ 106 h 348"/>
                <a:gd name="T58" fmla="*/ 114 w 370"/>
                <a:gd name="T59" fmla="*/ 72 h 348"/>
                <a:gd name="T60" fmla="*/ 136 w 370"/>
                <a:gd name="T61" fmla="*/ 54 h 348"/>
                <a:gd name="T62" fmla="*/ 168 w 370"/>
                <a:gd name="T63" fmla="*/ 60 h 348"/>
                <a:gd name="T64" fmla="*/ 228 w 370"/>
                <a:gd name="T65" fmla="*/ 158 h 348"/>
                <a:gd name="T66" fmla="*/ 222 w 370"/>
                <a:gd name="T67" fmla="*/ 192 h 348"/>
                <a:gd name="T68" fmla="*/ 194 w 370"/>
                <a:gd name="T69" fmla="*/ 206 h 348"/>
                <a:gd name="T70" fmla="*/ 162 w 370"/>
                <a:gd name="T71" fmla="*/ 188 h 348"/>
                <a:gd name="T72" fmla="*/ 184 w 370"/>
                <a:gd name="T73" fmla="*/ 180 h 348"/>
                <a:gd name="T74" fmla="*/ 204 w 370"/>
                <a:gd name="T75" fmla="*/ 180 h 348"/>
                <a:gd name="T76" fmla="*/ 204 w 370"/>
                <a:gd name="T77" fmla="*/ 160 h 348"/>
                <a:gd name="T78" fmla="*/ 184 w 370"/>
                <a:gd name="T79" fmla="*/ 160 h 348"/>
                <a:gd name="T80" fmla="*/ 114 w 370"/>
                <a:gd name="T81" fmla="*/ 142 h 348"/>
                <a:gd name="T82" fmla="*/ 104 w 370"/>
                <a:gd name="T83" fmla="*/ 132 h 348"/>
                <a:gd name="T84" fmla="*/ 0 w 370"/>
                <a:gd name="T85" fmla="*/ 196 h 348"/>
                <a:gd name="T86" fmla="*/ 4 w 370"/>
                <a:gd name="T87" fmla="*/ 256 h 348"/>
                <a:gd name="T88" fmla="*/ 108 w 370"/>
                <a:gd name="T89" fmla="*/ 202 h 348"/>
                <a:gd name="T90" fmla="*/ 360 w 370"/>
                <a:gd name="T91" fmla="*/ 166 h 348"/>
                <a:gd name="T92" fmla="*/ 350 w 370"/>
                <a:gd name="T93" fmla="*/ 176 h 348"/>
                <a:gd name="T94" fmla="*/ 334 w 370"/>
                <a:gd name="T95" fmla="*/ 244 h 348"/>
                <a:gd name="T96" fmla="*/ 286 w 370"/>
                <a:gd name="T97" fmla="*/ 300 h 348"/>
                <a:gd name="T98" fmla="*/ 232 w 370"/>
                <a:gd name="T99" fmla="*/ 324 h 348"/>
                <a:gd name="T100" fmla="*/ 158 w 370"/>
                <a:gd name="T101" fmla="*/ 324 h 348"/>
                <a:gd name="T102" fmla="*/ 116 w 370"/>
                <a:gd name="T103" fmla="*/ 306 h 348"/>
                <a:gd name="T104" fmla="*/ 106 w 370"/>
                <a:gd name="T105" fmla="*/ 316 h 348"/>
                <a:gd name="T106" fmla="*/ 130 w 370"/>
                <a:gd name="T107" fmla="*/ 336 h 348"/>
                <a:gd name="T108" fmla="*/ 198 w 370"/>
                <a:gd name="T109" fmla="*/ 348 h 348"/>
                <a:gd name="T110" fmla="*/ 284 w 370"/>
                <a:gd name="T111" fmla="*/ 326 h 348"/>
                <a:gd name="T112" fmla="*/ 344 w 370"/>
                <a:gd name="T113" fmla="*/ 266 h 348"/>
                <a:gd name="T114" fmla="*/ 368 w 370"/>
                <a:gd name="T115" fmla="*/ 198 h 348"/>
                <a:gd name="T116" fmla="*/ 364 w 370"/>
                <a:gd name="T117" fmla="*/ 16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0" h="348">
                  <a:moveTo>
                    <a:pt x="142" y="272"/>
                  </a:moveTo>
                  <a:lnTo>
                    <a:pt x="142" y="272"/>
                  </a:lnTo>
                  <a:lnTo>
                    <a:pt x="154" y="278"/>
                  </a:lnTo>
                  <a:lnTo>
                    <a:pt x="168" y="282"/>
                  </a:lnTo>
                  <a:lnTo>
                    <a:pt x="168" y="282"/>
                  </a:lnTo>
                  <a:lnTo>
                    <a:pt x="190" y="286"/>
                  </a:lnTo>
                  <a:lnTo>
                    <a:pt x="212" y="286"/>
                  </a:lnTo>
                  <a:lnTo>
                    <a:pt x="232" y="280"/>
                  </a:lnTo>
                  <a:lnTo>
                    <a:pt x="252" y="272"/>
                  </a:lnTo>
                  <a:lnTo>
                    <a:pt x="252" y="272"/>
                  </a:lnTo>
                  <a:lnTo>
                    <a:pt x="270" y="258"/>
                  </a:lnTo>
                  <a:lnTo>
                    <a:pt x="286" y="242"/>
                  </a:lnTo>
                  <a:lnTo>
                    <a:pt x="296" y="224"/>
                  </a:lnTo>
                  <a:lnTo>
                    <a:pt x="304" y="204"/>
                  </a:lnTo>
                  <a:lnTo>
                    <a:pt x="304" y="204"/>
                  </a:lnTo>
                  <a:lnTo>
                    <a:pt x="308" y="190"/>
                  </a:lnTo>
                  <a:lnTo>
                    <a:pt x="308" y="176"/>
                  </a:lnTo>
                  <a:lnTo>
                    <a:pt x="308" y="176"/>
                  </a:lnTo>
                  <a:lnTo>
                    <a:pt x="308" y="172"/>
                  </a:lnTo>
                  <a:lnTo>
                    <a:pt x="312" y="168"/>
                  </a:lnTo>
                  <a:lnTo>
                    <a:pt x="314" y="166"/>
                  </a:lnTo>
                  <a:lnTo>
                    <a:pt x="318" y="166"/>
                  </a:lnTo>
                  <a:lnTo>
                    <a:pt x="318" y="166"/>
                  </a:lnTo>
                  <a:lnTo>
                    <a:pt x="318" y="166"/>
                  </a:lnTo>
                  <a:lnTo>
                    <a:pt x="318" y="166"/>
                  </a:lnTo>
                  <a:lnTo>
                    <a:pt x="322" y="166"/>
                  </a:lnTo>
                  <a:lnTo>
                    <a:pt x="326" y="168"/>
                  </a:lnTo>
                  <a:lnTo>
                    <a:pt x="328" y="172"/>
                  </a:lnTo>
                  <a:lnTo>
                    <a:pt x="328" y="176"/>
                  </a:lnTo>
                  <a:lnTo>
                    <a:pt x="328" y="176"/>
                  </a:lnTo>
                  <a:lnTo>
                    <a:pt x="328" y="192"/>
                  </a:lnTo>
                  <a:lnTo>
                    <a:pt x="324" y="210"/>
                  </a:lnTo>
                  <a:lnTo>
                    <a:pt x="324" y="210"/>
                  </a:lnTo>
                  <a:lnTo>
                    <a:pt x="320" y="222"/>
                  </a:lnTo>
                  <a:lnTo>
                    <a:pt x="314" y="234"/>
                  </a:lnTo>
                  <a:lnTo>
                    <a:pt x="308" y="244"/>
                  </a:lnTo>
                  <a:lnTo>
                    <a:pt x="302" y="254"/>
                  </a:lnTo>
                  <a:lnTo>
                    <a:pt x="292" y="264"/>
                  </a:lnTo>
                  <a:lnTo>
                    <a:pt x="284" y="274"/>
                  </a:lnTo>
                  <a:lnTo>
                    <a:pt x="274" y="282"/>
                  </a:lnTo>
                  <a:lnTo>
                    <a:pt x="262" y="288"/>
                  </a:lnTo>
                  <a:lnTo>
                    <a:pt x="262" y="288"/>
                  </a:lnTo>
                  <a:lnTo>
                    <a:pt x="248" y="296"/>
                  </a:lnTo>
                  <a:lnTo>
                    <a:pt x="230" y="302"/>
                  </a:lnTo>
                  <a:lnTo>
                    <a:pt x="214" y="306"/>
                  </a:lnTo>
                  <a:lnTo>
                    <a:pt x="198" y="306"/>
                  </a:lnTo>
                  <a:lnTo>
                    <a:pt x="198" y="306"/>
                  </a:lnTo>
                  <a:lnTo>
                    <a:pt x="180" y="306"/>
                  </a:lnTo>
                  <a:lnTo>
                    <a:pt x="164" y="302"/>
                  </a:lnTo>
                  <a:lnTo>
                    <a:pt x="164" y="302"/>
                  </a:lnTo>
                  <a:lnTo>
                    <a:pt x="146" y="296"/>
                  </a:lnTo>
                  <a:lnTo>
                    <a:pt x="132" y="288"/>
                  </a:lnTo>
                  <a:lnTo>
                    <a:pt x="132" y="288"/>
                  </a:lnTo>
                  <a:lnTo>
                    <a:pt x="128" y="286"/>
                  </a:lnTo>
                  <a:lnTo>
                    <a:pt x="126" y="282"/>
                  </a:lnTo>
                  <a:lnTo>
                    <a:pt x="126" y="278"/>
                  </a:lnTo>
                  <a:lnTo>
                    <a:pt x="128" y="276"/>
                  </a:lnTo>
                  <a:lnTo>
                    <a:pt x="128" y="276"/>
                  </a:lnTo>
                  <a:lnTo>
                    <a:pt x="130" y="272"/>
                  </a:lnTo>
                  <a:lnTo>
                    <a:pt x="134" y="270"/>
                  </a:lnTo>
                  <a:lnTo>
                    <a:pt x="138" y="270"/>
                  </a:lnTo>
                  <a:lnTo>
                    <a:pt x="142" y="272"/>
                  </a:lnTo>
                  <a:lnTo>
                    <a:pt x="142" y="272"/>
                  </a:lnTo>
                  <a:close/>
                  <a:moveTo>
                    <a:pt x="174" y="262"/>
                  </a:moveTo>
                  <a:lnTo>
                    <a:pt x="174" y="262"/>
                  </a:lnTo>
                  <a:lnTo>
                    <a:pt x="186" y="264"/>
                  </a:lnTo>
                  <a:lnTo>
                    <a:pt x="198" y="264"/>
                  </a:lnTo>
                  <a:lnTo>
                    <a:pt x="198" y="264"/>
                  </a:lnTo>
                  <a:lnTo>
                    <a:pt x="208" y="264"/>
                  </a:lnTo>
                  <a:lnTo>
                    <a:pt x="220" y="262"/>
                  </a:lnTo>
                  <a:lnTo>
                    <a:pt x="232" y="258"/>
                  </a:lnTo>
                  <a:lnTo>
                    <a:pt x="242" y="252"/>
                  </a:lnTo>
                  <a:lnTo>
                    <a:pt x="242" y="252"/>
                  </a:lnTo>
                  <a:lnTo>
                    <a:pt x="256" y="242"/>
                  </a:lnTo>
                  <a:lnTo>
                    <a:pt x="268" y="230"/>
                  </a:lnTo>
                  <a:lnTo>
                    <a:pt x="276" y="214"/>
                  </a:lnTo>
                  <a:lnTo>
                    <a:pt x="284" y="198"/>
                  </a:lnTo>
                  <a:lnTo>
                    <a:pt x="284" y="198"/>
                  </a:lnTo>
                  <a:lnTo>
                    <a:pt x="286" y="186"/>
                  </a:lnTo>
                  <a:lnTo>
                    <a:pt x="286" y="176"/>
                  </a:lnTo>
                  <a:lnTo>
                    <a:pt x="286" y="176"/>
                  </a:lnTo>
                  <a:lnTo>
                    <a:pt x="286" y="172"/>
                  </a:lnTo>
                  <a:lnTo>
                    <a:pt x="284" y="168"/>
                  </a:lnTo>
                  <a:lnTo>
                    <a:pt x="280" y="166"/>
                  </a:lnTo>
                  <a:lnTo>
                    <a:pt x="276" y="166"/>
                  </a:lnTo>
                  <a:lnTo>
                    <a:pt x="276" y="166"/>
                  </a:lnTo>
                  <a:lnTo>
                    <a:pt x="272" y="166"/>
                  </a:lnTo>
                  <a:lnTo>
                    <a:pt x="270" y="168"/>
                  </a:lnTo>
                  <a:lnTo>
                    <a:pt x="266" y="172"/>
                  </a:lnTo>
                  <a:lnTo>
                    <a:pt x="266" y="176"/>
                  </a:lnTo>
                  <a:lnTo>
                    <a:pt x="266" y="176"/>
                  </a:lnTo>
                  <a:lnTo>
                    <a:pt x="264" y="192"/>
                  </a:lnTo>
                  <a:lnTo>
                    <a:pt x="264" y="192"/>
                  </a:lnTo>
                  <a:lnTo>
                    <a:pt x="258" y="206"/>
                  </a:lnTo>
                  <a:lnTo>
                    <a:pt x="252" y="218"/>
                  </a:lnTo>
                  <a:lnTo>
                    <a:pt x="242" y="228"/>
                  </a:lnTo>
                  <a:lnTo>
                    <a:pt x="232" y="234"/>
                  </a:lnTo>
                  <a:lnTo>
                    <a:pt x="232" y="234"/>
                  </a:lnTo>
                  <a:lnTo>
                    <a:pt x="220" y="240"/>
                  </a:lnTo>
                  <a:lnTo>
                    <a:pt x="206" y="244"/>
                  </a:lnTo>
                  <a:lnTo>
                    <a:pt x="192" y="244"/>
                  </a:lnTo>
                  <a:lnTo>
                    <a:pt x="180" y="242"/>
                  </a:lnTo>
                  <a:lnTo>
                    <a:pt x="180" y="242"/>
                  </a:lnTo>
                  <a:lnTo>
                    <a:pt x="162" y="236"/>
                  </a:lnTo>
                  <a:lnTo>
                    <a:pt x="162" y="236"/>
                  </a:lnTo>
                  <a:lnTo>
                    <a:pt x="158" y="234"/>
                  </a:lnTo>
                  <a:lnTo>
                    <a:pt x="154" y="234"/>
                  </a:lnTo>
                  <a:lnTo>
                    <a:pt x="152" y="236"/>
                  </a:lnTo>
                  <a:lnTo>
                    <a:pt x="148" y="238"/>
                  </a:lnTo>
                  <a:lnTo>
                    <a:pt x="148" y="238"/>
                  </a:lnTo>
                  <a:lnTo>
                    <a:pt x="148" y="242"/>
                  </a:lnTo>
                  <a:lnTo>
                    <a:pt x="148" y="246"/>
                  </a:lnTo>
                  <a:lnTo>
                    <a:pt x="150" y="250"/>
                  </a:lnTo>
                  <a:lnTo>
                    <a:pt x="152" y="252"/>
                  </a:lnTo>
                  <a:lnTo>
                    <a:pt x="152" y="252"/>
                  </a:lnTo>
                  <a:lnTo>
                    <a:pt x="162" y="258"/>
                  </a:lnTo>
                  <a:lnTo>
                    <a:pt x="174" y="262"/>
                  </a:lnTo>
                  <a:lnTo>
                    <a:pt x="174" y="262"/>
                  </a:lnTo>
                  <a:close/>
                  <a:moveTo>
                    <a:pt x="232" y="126"/>
                  </a:moveTo>
                  <a:lnTo>
                    <a:pt x="232" y="126"/>
                  </a:lnTo>
                  <a:lnTo>
                    <a:pt x="238" y="126"/>
                  </a:lnTo>
                  <a:lnTo>
                    <a:pt x="238" y="126"/>
                  </a:lnTo>
                  <a:lnTo>
                    <a:pt x="242" y="126"/>
                  </a:lnTo>
                  <a:lnTo>
                    <a:pt x="336" y="72"/>
                  </a:lnTo>
                  <a:lnTo>
                    <a:pt x="336" y="72"/>
                  </a:lnTo>
                  <a:lnTo>
                    <a:pt x="340" y="68"/>
                  </a:lnTo>
                  <a:lnTo>
                    <a:pt x="342" y="62"/>
                  </a:lnTo>
                  <a:lnTo>
                    <a:pt x="342" y="10"/>
                  </a:lnTo>
                  <a:lnTo>
                    <a:pt x="342" y="10"/>
                  </a:lnTo>
                  <a:lnTo>
                    <a:pt x="340" y="6"/>
                  </a:lnTo>
                  <a:lnTo>
                    <a:pt x="336" y="2"/>
                  </a:lnTo>
                  <a:lnTo>
                    <a:pt x="336" y="2"/>
                  </a:lnTo>
                  <a:lnTo>
                    <a:pt x="332" y="0"/>
                  </a:lnTo>
                  <a:lnTo>
                    <a:pt x="326" y="2"/>
                  </a:lnTo>
                  <a:lnTo>
                    <a:pt x="232" y="56"/>
                  </a:lnTo>
                  <a:lnTo>
                    <a:pt x="232" y="56"/>
                  </a:lnTo>
                  <a:lnTo>
                    <a:pt x="230" y="60"/>
                  </a:lnTo>
                  <a:lnTo>
                    <a:pt x="228" y="64"/>
                  </a:lnTo>
                  <a:lnTo>
                    <a:pt x="228" y="116"/>
                  </a:lnTo>
                  <a:lnTo>
                    <a:pt x="228" y="116"/>
                  </a:lnTo>
                  <a:lnTo>
                    <a:pt x="230" y="122"/>
                  </a:lnTo>
                  <a:lnTo>
                    <a:pt x="232" y="126"/>
                  </a:lnTo>
                  <a:lnTo>
                    <a:pt x="232" y="126"/>
                  </a:lnTo>
                  <a:close/>
                  <a:moveTo>
                    <a:pt x="116" y="106"/>
                  </a:moveTo>
                  <a:lnTo>
                    <a:pt x="116" y="106"/>
                  </a:lnTo>
                  <a:lnTo>
                    <a:pt x="112" y="100"/>
                  </a:lnTo>
                  <a:lnTo>
                    <a:pt x="112" y="94"/>
                  </a:lnTo>
                  <a:lnTo>
                    <a:pt x="112" y="86"/>
                  </a:lnTo>
                  <a:lnTo>
                    <a:pt x="112" y="80"/>
                  </a:lnTo>
                  <a:lnTo>
                    <a:pt x="114" y="72"/>
                  </a:lnTo>
                  <a:lnTo>
                    <a:pt x="118" y="66"/>
                  </a:lnTo>
                  <a:lnTo>
                    <a:pt x="124" y="62"/>
                  </a:lnTo>
                  <a:lnTo>
                    <a:pt x="130" y="58"/>
                  </a:lnTo>
                  <a:lnTo>
                    <a:pt x="130" y="58"/>
                  </a:lnTo>
                  <a:lnTo>
                    <a:pt x="136" y="54"/>
                  </a:lnTo>
                  <a:lnTo>
                    <a:pt x="142" y="52"/>
                  </a:lnTo>
                  <a:lnTo>
                    <a:pt x="150" y="52"/>
                  </a:lnTo>
                  <a:lnTo>
                    <a:pt x="156" y="54"/>
                  </a:lnTo>
                  <a:lnTo>
                    <a:pt x="162" y="56"/>
                  </a:lnTo>
                  <a:lnTo>
                    <a:pt x="168" y="60"/>
                  </a:lnTo>
                  <a:lnTo>
                    <a:pt x="174" y="64"/>
                  </a:lnTo>
                  <a:lnTo>
                    <a:pt x="178" y="70"/>
                  </a:lnTo>
                  <a:lnTo>
                    <a:pt x="226" y="152"/>
                  </a:lnTo>
                  <a:lnTo>
                    <a:pt x="226" y="152"/>
                  </a:lnTo>
                  <a:lnTo>
                    <a:pt x="228" y="158"/>
                  </a:lnTo>
                  <a:lnTo>
                    <a:pt x="230" y="166"/>
                  </a:lnTo>
                  <a:lnTo>
                    <a:pt x="230" y="172"/>
                  </a:lnTo>
                  <a:lnTo>
                    <a:pt x="228" y="180"/>
                  </a:lnTo>
                  <a:lnTo>
                    <a:pt x="226" y="186"/>
                  </a:lnTo>
                  <a:lnTo>
                    <a:pt x="222" y="192"/>
                  </a:lnTo>
                  <a:lnTo>
                    <a:pt x="218" y="196"/>
                  </a:lnTo>
                  <a:lnTo>
                    <a:pt x="212" y="202"/>
                  </a:lnTo>
                  <a:lnTo>
                    <a:pt x="212" y="202"/>
                  </a:lnTo>
                  <a:lnTo>
                    <a:pt x="204" y="204"/>
                  </a:lnTo>
                  <a:lnTo>
                    <a:pt x="194" y="206"/>
                  </a:lnTo>
                  <a:lnTo>
                    <a:pt x="194" y="206"/>
                  </a:lnTo>
                  <a:lnTo>
                    <a:pt x="184" y="204"/>
                  </a:lnTo>
                  <a:lnTo>
                    <a:pt x="176" y="202"/>
                  </a:lnTo>
                  <a:lnTo>
                    <a:pt x="168" y="196"/>
                  </a:lnTo>
                  <a:lnTo>
                    <a:pt x="162" y="188"/>
                  </a:lnTo>
                  <a:lnTo>
                    <a:pt x="116" y="106"/>
                  </a:lnTo>
                  <a:close/>
                  <a:moveTo>
                    <a:pt x="180" y="170"/>
                  </a:moveTo>
                  <a:lnTo>
                    <a:pt x="180" y="170"/>
                  </a:lnTo>
                  <a:lnTo>
                    <a:pt x="182" y="176"/>
                  </a:lnTo>
                  <a:lnTo>
                    <a:pt x="184" y="180"/>
                  </a:lnTo>
                  <a:lnTo>
                    <a:pt x="188" y="182"/>
                  </a:lnTo>
                  <a:lnTo>
                    <a:pt x="194" y="184"/>
                  </a:lnTo>
                  <a:lnTo>
                    <a:pt x="194" y="184"/>
                  </a:lnTo>
                  <a:lnTo>
                    <a:pt x="200" y="182"/>
                  </a:lnTo>
                  <a:lnTo>
                    <a:pt x="204" y="180"/>
                  </a:lnTo>
                  <a:lnTo>
                    <a:pt x="206" y="176"/>
                  </a:lnTo>
                  <a:lnTo>
                    <a:pt x="208" y="170"/>
                  </a:lnTo>
                  <a:lnTo>
                    <a:pt x="208" y="170"/>
                  </a:lnTo>
                  <a:lnTo>
                    <a:pt x="206" y="164"/>
                  </a:lnTo>
                  <a:lnTo>
                    <a:pt x="204" y="160"/>
                  </a:lnTo>
                  <a:lnTo>
                    <a:pt x="200" y="158"/>
                  </a:lnTo>
                  <a:lnTo>
                    <a:pt x="194" y="156"/>
                  </a:lnTo>
                  <a:lnTo>
                    <a:pt x="194" y="156"/>
                  </a:lnTo>
                  <a:lnTo>
                    <a:pt x="188" y="158"/>
                  </a:lnTo>
                  <a:lnTo>
                    <a:pt x="184" y="160"/>
                  </a:lnTo>
                  <a:lnTo>
                    <a:pt x="182" y="164"/>
                  </a:lnTo>
                  <a:lnTo>
                    <a:pt x="180" y="170"/>
                  </a:lnTo>
                  <a:lnTo>
                    <a:pt x="180" y="170"/>
                  </a:lnTo>
                  <a:close/>
                  <a:moveTo>
                    <a:pt x="114" y="194"/>
                  </a:moveTo>
                  <a:lnTo>
                    <a:pt x="114" y="142"/>
                  </a:lnTo>
                  <a:lnTo>
                    <a:pt x="114" y="142"/>
                  </a:lnTo>
                  <a:lnTo>
                    <a:pt x="112" y="138"/>
                  </a:lnTo>
                  <a:lnTo>
                    <a:pt x="108" y="134"/>
                  </a:lnTo>
                  <a:lnTo>
                    <a:pt x="108" y="134"/>
                  </a:lnTo>
                  <a:lnTo>
                    <a:pt x="104" y="132"/>
                  </a:lnTo>
                  <a:lnTo>
                    <a:pt x="98" y="134"/>
                  </a:lnTo>
                  <a:lnTo>
                    <a:pt x="4" y="188"/>
                  </a:lnTo>
                  <a:lnTo>
                    <a:pt x="4" y="188"/>
                  </a:lnTo>
                  <a:lnTo>
                    <a:pt x="2" y="192"/>
                  </a:lnTo>
                  <a:lnTo>
                    <a:pt x="0" y="196"/>
                  </a:lnTo>
                  <a:lnTo>
                    <a:pt x="0" y="248"/>
                  </a:lnTo>
                  <a:lnTo>
                    <a:pt x="0" y="248"/>
                  </a:lnTo>
                  <a:lnTo>
                    <a:pt x="2" y="254"/>
                  </a:lnTo>
                  <a:lnTo>
                    <a:pt x="4" y="256"/>
                  </a:lnTo>
                  <a:lnTo>
                    <a:pt x="4" y="256"/>
                  </a:lnTo>
                  <a:lnTo>
                    <a:pt x="10" y="258"/>
                  </a:lnTo>
                  <a:lnTo>
                    <a:pt x="10" y="258"/>
                  </a:lnTo>
                  <a:lnTo>
                    <a:pt x="14" y="256"/>
                  </a:lnTo>
                  <a:lnTo>
                    <a:pt x="108" y="202"/>
                  </a:lnTo>
                  <a:lnTo>
                    <a:pt x="108" y="202"/>
                  </a:lnTo>
                  <a:lnTo>
                    <a:pt x="112" y="200"/>
                  </a:lnTo>
                  <a:lnTo>
                    <a:pt x="114" y="194"/>
                  </a:lnTo>
                  <a:lnTo>
                    <a:pt x="114" y="194"/>
                  </a:lnTo>
                  <a:close/>
                  <a:moveTo>
                    <a:pt x="360" y="166"/>
                  </a:moveTo>
                  <a:lnTo>
                    <a:pt x="360" y="166"/>
                  </a:lnTo>
                  <a:lnTo>
                    <a:pt x="356" y="166"/>
                  </a:lnTo>
                  <a:lnTo>
                    <a:pt x="354" y="168"/>
                  </a:lnTo>
                  <a:lnTo>
                    <a:pt x="352" y="172"/>
                  </a:lnTo>
                  <a:lnTo>
                    <a:pt x="350" y="176"/>
                  </a:lnTo>
                  <a:lnTo>
                    <a:pt x="350" y="176"/>
                  </a:lnTo>
                  <a:lnTo>
                    <a:pt x="350" y="196"/>
                  </a:lnTo>
                  <a:lnTo>
                    <a:pt x="346" y="214"/>
                  </a:lnTo>
                  <a:lnTo>
                    <a:pt x="346" y="214"/>
                  </a:lnTo>
                  <a:lnTo>
                    <a:pt x="340" y="230"/>
                  </a:lnTo>
                  <a:lnTo>
                    <a:pt x="334" y="244"/>
                  </a:lnTo>
                  <a:lnTo>
                    <a:pt x="328" y="256"/>
                  </a:lnTo>
                  <a:lnTo>
                    <a:pt x="318" y="268"/>
                  </a:lnTo>
                  <a:lnTo>
                    <a:pt x="310" y="280"/>
                  </a:lnTo>
                  <a:lnTo>
                    <a:pt x="298" y="290"/>
                  </a:lnTo>
                  <a:lnTo>
                    <a:pt x="286" y="300"/>
                  </a:lnTo>
                  <a:lnTo>
                    <a:pt x="274" y="308"/>
                  </a:lnTo>
                  <a:lnTo>
                    <a:pt x="274" y="308"/>
                  </a:lnTo>
                  <a:lnTo>
                    <a:pt x="260" y="314"/>
                  </a:lnTo>
                  <a:lnTo>
                    <a:pt x="246" y="320"/>
                  </a:lnTo>
                  <a:lnTo>
                    <a:pt x="232" y="324"/>
                  </a:lnTo>
                  <a:lnTo>
                    <a:pt x="218" y="328"/>
                  </a:lnTo>
                  <a:lnTo>
                    <a:pt x="202" y="328"/>
                  </a:lnTo>
                  <a:lnTo>
                    <a:pt x="188" y="328"/>
                  </a:lnTo>
                  <a:lnTo>
                    <a:pt x="172" y="326"/>
                  </a:lnTo>
                  <a:lnTo>
                    <a:pt x="158" y="324"/>
                  </a:lnTo>
                  <a:lnTo>
                    <a:pt x="158" y="324"/>
                  </a:lnTo>
                  <a:lnTo>
                    <a:pt x="138" y="316"/>
                  </a:lnTo>
                  <a:lnTo>
                    <a:pt x="120" y="308"/>
                  </a:lnTo>
                  <a:lnTo>
                    <a:pt x="120" y="308"/>
                  </a:lnTo>
                  <a:lnTo>
                    <a:pt x="116" y="306"/>
                  </a:lnTo>
                  <a:lnTo>
                    <a:pt x="112" y="308"/>
                  </a:lnTo>
                  <a:lnTo>
                    <a:pt x="110" y="308"/>
                  </a:lnTo>
                  <a:lnTo>
                    <a:pt x="106" y="312"/>
                  </a:lnTo>
                  <a:lnTo>
                    <a:pt x="106" y="312"/>
                  </a:lnTo>
                  <a:lnTo>
                    <a:pt x="106" y="316"/>
                  </a:lnTo>
                  <a:lnTo>
                    <a:pt x="106" y="320"/>
                  </a:lnTo>
                  <a:lnTo>
                    <a:pt x="108" y="322"/>
                  </a:lnTo>
                  <a:lnTo>
                    <a:pt x="110" y="326"/>
                  </a:lnTo>
                  <a:lnTo>
                    <a:pt x="110" y="326"/>
                  </a:lnTo>
                  <a:lnTo>
                    <a:pt x="130" y="336"/>
                  </a:lnTo>
                  <a:lnTo>
                    <a:pt x="152" y="342"/>
                  </a:lnTo>
                  <a:lnTo>
                    <a:pt x="152" y="342"/>
                  </a:lnTo>
                  <a:lnTo>
                    <a:pt x="174" y="348"/>
                  </a:lnTo>
                  <a:lnTo>
                    <a:pt x="198" y="348"/>
                  </a:lnTo>
                  <a:lnTo>
                    <a:pt x="198" y="348"/>
                  </a:lnTo>
                  <a:lnTo>
                    <a:pt x="220" y="348"/>
                  </a:lnTo>
                  <a:lnTo>
                    <a:pt x="242" y="342"/>
                  </a:lnTo>
                  <a:lnTo>
                    <a:pt x="264" y="336"/>
                  </a:lnTo>
                  <a:lnTo>
                    <a:pt x="284" y="326"/>
                  </a:lnTo>
                  <a:lnTo>
                    <a:pt x="284" y="326"/>
                  </a:lnTo>
                  <a:lnTo>
                    <a:pt x="298" y="316"/>
                  </a:lnTo>
                  <a:lnTo>
                    <a:pt x="312" y="306"/>
                  </a:lnTo>
                  <a:lnTo>
                    <a:pt x="324" y="294"/>
                  </a:lnTo>
                  <a:lnTo>
                    <a:pt x="334" y="280"/>
                  </a:lnTo>
                  <a:lnTo>
                    <a:pt x="344" y="266"/>
                  </a:lnTo>
                  <a:lnTo>
                    <a:pt x="352" y="252"/>
                  </a:lnTo>
                  <a:lnTo>
                    <a:pt x="360" y="236"/>
                  </a:lnTo>
                  <a:lnTo>
                    <a:pt x="364" y="220"/>
                  </a:lnTo>
                  <a:lnTo>
                    <a:pt x="364" y="220"/>
                  </a:lnTo>
                  <a:lnTo>
                    <a:pt x="368" y="198"/>
                  </a:lnTo>
                  <a:lnTo>
                    <a:pt x="370" y="176"/>
                  </a:lnTo>
                  <a:lnTo>
                    <a:pt x="370" y="176"/>
                  </a:lnTo>
                  <a:lnTo>
                    <a:pt x="370" y="172"/>
                  </a:lnTo>
                  <a:lnTo>
                    <a:pt x="368" y="168"/>
                  </a:lnTo>
                  <a:lnTo>
                    <a:pt x="364" y="166"/>
                  </a:lnTo>
                  <a:lnTo>
                    <a:pt x="360" y="166"/>
                  </a:lnTo>
                  <a:lnTo>
                    <a:pt x="360" y="16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82" name="Group 81">
            <a:extLst>
              <a:ext uri="{FF2B5EF4-FFF2-40B4-BE49-F238E27FC236}">
                <a16:creationId xmlns:a16="http://schemas.microsoft.com/office/drawing/2014/main" id="{42E12674-1CE6-4C5F-B880-C35793C2ED2F}"/>
              </a:ext>
            </a:extLst>
          </p:cNvPr>
          <p:cNvGrpSpPr/>
          <p:nvPr/>
        </p:nvGrpSpPr>
        <p:grpSpPr>
          <a:xfrm>
            <a:off x="2537994" y="3814747"/>
            <a:ext cx="612000" cy="612000"/>
            <a:chOff x="1467520" y="4690710"/>
            <a:chExt cx="612000" cy="612000"/>
          </a:xfrm>
        </p:grpSpPr>
        <p:sp>
          <p:nvSpPr>
            <p:cNvPr id="83" name="Oval 82">
              <a:extLst>
                <a:ext uri="{FF2B5EF4-FFF2-40B4-BE49-F238E27FC236}">
                  <a16:creationId xmlns:a16="http://schemas.microsoft.com/office/drawing/2014/main" id="{5E70692A-E96E-47C7-A15F-B88E2CF2B632}"/>
                </a:ext>
              </a:extLst>
            </p:cNvPr>
            <p:cNvSpPr/>
            <p:nvPr/>
          </p:nvSpPr>
          <p:spPr bwMode="ltGray">
            <a:xfrm>
              <a:off x="1467520"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84" name="Freeform 4984">
              <a:extLst>
                <a:ext uri="{FF2B5EF4-FFF2-40B4-BE49-F238E27FC236}">
                  <a16:creationId xmlns:a16="http://schemas.microsoft.com/office/drawing/2014/main" id="{D778CE25-D58D-44D2-8E09-872BF7C91C92}"/>
                </a:ext>
              </a:extLst>
            </p:cNvPr>
            <p:cNvSpPr>
              <a:spLocks noEditPoints="1"/>
            </p:cNvSpPr>
            <p:nvPr/>
          </p:nvSpPr>
          <p:spPr bwMode="auto">
            <a:xfrm>
              <a:off x="1555281" y="4781034"/>
              <a:ext cx="436479" cy="414655"/>
            </a:xfrm>
            <a:custGeom>
              <a:avLst/>
              <a:gdLst>
                <a:gd name="T0" fmla="*/ 312 w 360"/>
                <a:gd name="T1" fmla="*/ 150 h 342"/>
                <a:gd name="T2" fmla="*/ 302 w 360"/>
                <a:gd name="T3" fmla="*/ 156 h 342"/>
                <a:gd name="T4" fmla="*/ 294 w 360"/>
                <a:gd name="T5" fmla="*/ 148 h 342"/>
                <a:gd name="T6" fmla="*/ 250 w 360"/>
                <a:gd name="T7" fmla="*/ 92 h 342"/>
                <a:gd name="T8" fmla="*/ 180 w 360"/>
                <a:gd name="T9" fmla="*/ 70 h 342"/>
                <a:gd name="T10" fmla="*/ 126 w 360"/>
                <a:gd name="T11" fmla="*/ 82 h 342"/>
                <a:gd name="T12" fmla="*/ 74 w 360"/>
                <a:gd name="T13" fmla="*/ 132 h 342"/>
                <a:gd name="T14" fmla="*/ 58 w 360"/>
                <a:gd name="T15" fmla="*/ 156 h 342"/>
                <a:gd name="T16" fmla="*/ 50 w 360"/>
                <a:gd name="T17" fmla="*/ 152 h 342"/>
                <a:gd name="T18" fmla="*/ 48 w 360"/>
                <a:gd name="T19" fmla="*/ 142 h 342"/>
                <a:gd name="T20" fmla="*/ 100 w 360"/>
                <a:gd name="T21" fmla="*/ 74 h 342"/>
                <a:gd name="T22" fmla="*/ 180 w 360"/>
                <a:gd name="T23" fmla="*/ 50 h 342"/>
                <a:gd name="T24" fmla="*/ 242 w 360"/>
                <a:gd name="T25" fmla="*/ 64 h 342"/>
                <a:gd name="T26" fmla="*/ 304 w 360"/>
                <a:gd name="T27" fmla="*/ 122 h 342"/>
                <a:gd name="T28" fmla="*/ 102 w 360"/>
                <a:gd name="T29" fmla="*/ 172 h 342"/>
                <a:gd name="T30" fmla="*/ 114 w 360"/>
                <a:gd name="T31" fmla="*/ 166 h 342"/>
                <a:gd name="T32" fmla="*/ 132 w 360"/>
                <a:gd name="T33" fmla="*/ 138 h 342"/>
                <a:gd name="T34" fmla="*/ 170 w 360"/>
                <a:gd name="T35" fmla="*/ 120 h 342"/>
                <a:gd name="T36" fmla="*/ 202 w 360"/>
                <a:gd name="T37" fmla="*/ 122 h 342"/>
                <a:gd name="T38" fmla="*/ 236 w 360"/>
                <a:gd name="T39" fmla="*/ 146 h 342"/>
                <a:gd name="T40" fmla="*/ 248 w 360"/>
                <a:gd name="T41" fmla="*/ 170 h 342"/>
                <a:gd name="T42" fmla="*/ 258 w 360"/>
                <a:gd name="T43" fmla="*/ 172 h 342"/>
                <a:gd name="T44" fmla="*/ 264 w 360"/>
                <a:gd name="T45" fmla="*/ 158 h 342"/>
                <a:gd name="T46" fmla="*/ 242 w 360"/>
                <a:gd name="T47" fmla="*/ 124 h 342"/>
                <a:gd name="T48" fmla="*/ 194 w 360"/>
                <a:gd name="T49" fmla="*/ 100 h 342"/>
                <a:gd name="T50" fmla="*/ 152 w 360"/>
                <a:gd name="T51" fmla="*/ 104 h 342"/>
                <a:gd name="T52" fmla="*/ 108 w 360"/>
                <a:gd name="T53" fmla="*/ 134 h 342"/>
                <a:gd name="T54" fmla="*/ 94 w 360"/>
                <a:gd name="T55" fmla="*/ 162 h 342"/>
                <a:gd name="T56" fmla="*/ 102 w 360"/>
                <a:gd name="T57" fmla="*/ 172 h 342"/>
                <a:gd name="T58" fmla="*/ 330 w 360"/>
                <a:gd name="T59" fmla="*/ 74 h 342"/>
                <a:gd name="T60" fmla="*/ 238 w 360"/>
                <a:gd name="T61" fmla="*/ 8 h 342"/>
                <a:gd name="T62" fmla="*/ 150 w 360"/>
                <a:gd name="T63" fmla="*/ 2 h 342"/>
                <a:gd name="T64" fmla="*/ 48 w 360"/>
                <a:gd name="T65" fmla="*/ 52 h 342"/>
                <a:gd name="T66" fmla="*/ 2 w 360"/>
                <a:gd name="T67" fmla="*/ 124 h 342"/>
                <a:gd name="T68" fmla="*/ 8 w 360"/>
                <a:gd name="T69" fmla="*/ 138 h 342"/>
                <a:gd name="T70" fmla="*/ 16 w 360"/>
                <a:gd name="T71" fmla="*/ 136 h 342"/>
                <a:gd name="T72" fmla="*/ 46 w 360"/>
                <a:gd name="T73" fmla="*/ 86 h 342"/>
                <a:gd name="T74" fmla="*/ 128 w 360"/>
                <a:gd name="T75" fmla="*/ 28 h 342"/>
                <a:gd name="T76" fmla="*/ 206 w 360"/>
                <a:gd name="T77" fmla="*/ 22 h 342"/>
                <a:gd name="T78" fmla="*/ 298 w 360"/>
                <a:gd name="T79" fmla="*/ 66 h 342"/>
                <a:gd name="T80" fmla="*/ 340 w 360"/>
                <a:gd name="T81" fmla="*/ 132 h 342"/>
                <a:gd name="T82" fmla="*/ 352 w 360"/>
                <a:gd name="T83" fmla="*/ 138 h 342"/>
                <a:gd name="T84" fmla="*/ 360 w 360"/>
                <a:gd name="T85" fmla="*/ 128 h 342"/>
                <a:gd name="T86" fmla="*/ 272 w 360"/>
                <a:gd name="T87" fmla="*/ 280 h 342"/>
                <a:gd name="T88" fmla="*/ 190 w 360"/>
                <a:gd name="T89" fmla="*/ 214 h 342"/>
                <a:gd name="T90" fmla="*/ 204 w 360"/>
                <a:gd name="T91" fmla="*/ 198 h 342"/>
                <a:gd name="T92" fmla="*/ 198 w 360"/>
                <a:gd name="T93" fmla="*/ 172 h 342"/>
                <a:gd name="T94" fmla="*/ 170 w 360"/>
                <a:gd name="T95" fmla="*/ 166 h 342"/>
                <a:gd name="T96" fmla="*/ 154 w 360"/>
                <a:gd name="T97" fmla="*/ 190 h 342"/>
                <a:gd name="T98" fmla="*/ 170 w 360"/>
                <a:gd name="T99" fmla="*/ 214 h 342"/>
                <a:gd name="T100" fmla="*/ 92 w 360"/>
                <a:gd name="T101" fmla="*/ 276 h 342"/>
                <a:gd name="T102" fmla="*/ 74 w 360"/>
                <a:gd name="T103" fmla="*/ 334 h 342"/>
                <a:gd name="T104" fmla="*/ 84 w 360"/>
                <a:gd name="T105" fmla="*/ 342 h 342"/>
                <a:gd name="T106" fmla="*/ 284 w 360"/>
                <a:gd name="T107" fmla="*/ 338 h 342"/>
                <a:gd name="T108" fmla="*/ 272 w 360"/>
                <a:gd name="T109" fmla="*/ 280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0" h="342">
                  <a:moveTo>
                    <a:pt x="312" y="142"/>
                  </a:moveTo>
                  <a:lnTo>
                    <a:pt x="312" y="142"/>
                  </a:lnTo>
                  <a:lnTo>
                    <a:pt x="312" y="146"/>
                  </a:lnTo>
                  <a:lnTo>
                    <a:pt x="312" y="150"/>
                  </a:lnTo>
                  <a:lnTo>
                    <a:pt x="310" y="152"/>
                  </a:lnTo>
                  <a:lnTo>
                    <a:pt x="306" y="154"/>
                  </a:lnTo>
                  <a:lnTo>
                    <a:pt x="306" y="154"/>
                  </a:lnTo>
                  <a:lnTo>
                    <a:pt x="302" y="156"/>
                  </a:lnTo>
                  <a:lnTo>
                    <a:pt x="298" y="154"/>
                  </a:lnTo>
                  <a:lnTo>
                    <a:pt x="296" y="152"/>
                  </a:lnTo>
                  <a:lnTo>
                    <a:pt x="294" y="148"/>
                  </a:lnTo>
                  <a:lnTo>
                    <a:pt x="294" y="148"/>
                  </a:lnTo>
                  <a:lnTo>
                    <a:pt x="286" y="132"/>
                  </a:lnTo>
                  <a:lnTo>
                    <a:pt x="276" y="116"/>
                  </a:lnTo>
                  <a:lnTo>
                    <a:pt x="264" y="102"/>
                  </a:lnTo>
                  <a:lnTo>
                    <a:pt x="250" y="92"/>
                  </a:lnTo>
                  <a:lnTo>
                    <a:pt x="234" y="82"/>
                  </a:lnTo>
                  <a:lnTo>
                    <a:pt x="216" y="74"/>
                  </a:lnTo>
                  <a:lnTo>
                    <a:pt x="198" y="70"/>
                  </a:lnTo>
                  <a:lnTo>
                    <a:pt x="180" y="70"/>
                  </a:lnTo>
                  <a:lnTo>
                    <a:pt x="180" y="70"/>
                  </a:lnTo>
                  <a:lnTo>
                    <a:pt x="162" y="70"/>
                  </a:lnTo>
                  <a:lnTo>
                    <a:pt x="144" y="74"/>
                  </a:lnTo>
                  <a:lnTo>
                    <a:pt x="126" y="82"/>
                  </a:lnTo>
                  <a:lnTo>
                    <a:pt x="110" y="92"/>
                  </a:lnTo>
                  <a:lnTo>
                    <a:pt x="96" y="102"/>
                  </a:lnTo>
                  <a:lnTo>
                    <a:pt x="84" y="116"/>
                  </a:lnTo>
                  <a:lnTo>
                    <a:pt x="74" y="132"/>
                  </a:lnTo>
                  <a:lnTo>
                    <a:pt x="66" y="148"/>
                  </a:lnTo>
                  <a:lnTo>
                    <a:pt x="66" y="148"/>
                  </a:lnTo>
                  <a:lnTo>
                    <a:pt x="62" y="154"/>
                  </a:lnTo>
                  <a:lnTo>
                    <a:pt x="58" y="156"/>
                  </a:lnTo>
                  <a:lnTo>
                    <a:pt x="58" y="156"/>
                  </a:lnTo>
                  <a:lnTo>
                    <a:pt x="54" y="154"/>
                  </a:lnTo>
                  <a:lnTo>
                    <a:pt x="54" y="154"/>
                  </a:lnTo>
                  <a:lnTo>
                    <a:pt x="50" y="152"/>
                  </a:lnTo>
                  <a:lnTo>
                    <a:pt x="48" y="150"/>
                  </a:lnTo>
                  <a:lnTo>
                    <a:pt x="48" y="146"/>
                  </a:lnTo>
                  <a:lnTo>
                    <a:pt x="48" y="142"/>
                  </a:lnTo>
                  <a:lnTo>
                    <a:pt x="48" y="142"/>
                  </a:lnTo>
                  <a:lnTo>
                    <a:pt x="56" y="122"/>
                  </a:lnTo>
                  <a:lnTo>
                    <a:pt x="68" y="104"/>
                  </a:lnTo>
                  <a:lnTo>
                    <a:pt x="82" y="88"/>
                  </a:lnTo>
                  <a:lnTo>
                    <a:pt x="100" y="74"/>
                  </a:lnTo>
                  <a:lnTo>
                    <a:pt x="118" y="64"/>
                  </a:lnTo>
                  <a:lnTo>
                    <a:pt x="138" y="56"/>
                  </a:lnTo>
                  <a:lnTo>
                    <a:pt x="158" y="50"/>
                  </a:lnTo>
                  <a:lnTo>
                    <a:pt x="180" y="50"/>
                  </a:lnTo>
                  <a:lnTo>
                    <a:pt x="180" y="50"/>
                  </a:lnTo>
                  <a:lnTo>
                    <a:pt x="202" y="50"/>
                  </a:lnTo>
                  <a:lnTo>
                    <a:pt x="222" y="56"/>
                  </a:lnTo>
                  <a:lnTo>
                    <a:pt x="242" y="64"/>
                  </a:lnTo>
                  <a:lnTo>
                    <a:pt x="260" y="74"/>
                  </a:lnTo>
                  <a:lnTo>
                    <a:pt x="278" y="88"/>
                  </a:lnTo>
                  <a:lnTo>
                    <a:pt x="292" y="104"/>
                  </a:lnTo>
                  <a:lnTo>
                    <a:pt x="304" y="122"/>
                  </a:lnTo>
                  <a:lnTo>
                    <a:pt x="312" y="142"/>
                  </a:lnTo>
                  <a:lnTo>
                    <a:pt x="312" y="142"/>
                  </a:lnTo>
                  <a:close/>
                  <a:moveTo>
                    <a:pt x="102" y="172"/>
                  </a:moveTo>
                  <a:lnTo>
                    <a:pt x="102" y="172"/>
                  </a:lnTo>
                  <a:lnTo>
                    <a:pt x="104" y="172"/>
                  </a:lnTo>
                  <a:lnTo>
                    <a:pt x="104" y="172"/>
                  </a:lnTo>
                  <a:lnTo>
                    <a:pt x="110" y="170"/>
                  </a:lnTo>
                  <a:lnTo>
                    <a:pt x="114" y="166"/>
                  </a:lnTo>
                  <a:lnTo>
                    <a:pt x="114" y="166"/>
                  </a:lnTo>
                  <a:lnTo>
                    <a:pt x="118" y="156"/>
                  </a:lnTo>
                  <a:lnTo>
                    <a:pt x="124" y="146"/>
                  </a:lnTo>
                  <a:lnTo>
                    <a:pt x="132" y="138"/>
                  </a:lnTo>
                  <a:lnTo>
                    <a:pt x="140" y="132"/>
                  </a:lnTo>
                  <a:lnTo>
                    <a:pt x="148" y="126"/>
                  </a:lnTo>
                  <a:lnTo>
                    <a:pt x="158" y="122"/>
                  </a:lnTo>
                  <a:lnTo>
                    <a:pt x="170" y="120"/>
                  </a:lnTo>
                  <a:lnTo>
                    <a:pt x="180" y="120"/>
                  </a:lnTo>
                  <a:lnTo>
                    <a:pt x="180" y="120"/>
                  </a:lnTo>
                  <a:lnTo>
                    <a:pt x="190" y="120"/>
                  </a:lnTo>
                  <a:lnTo>
                    <a:pt x="202" y="122"/>
                  </a:lnTo>
                  <a:lnTo>
                    <a:pt x="212" y="126"/>
                  </a:lnTo>
                  <a:lnTo>
                    <a:pt x="220" y="132"/>
                  </a:lnTo>
                  <a:lnTo>
                    <a:pt x="228" y="138"/>
                  </a:lnTo>
                  <a:lnTo>
                    <a:pt x="236" y="146"/>
                  </a:lnTo>
                  <a:lnTo>
                    <a:pt x="242" y="156"/>
                  </a:lnTo>
                  <a:lnTo>
                    <a:pt x="246" y="166"/>
                  </a:lnTo>
                  <a:lnTo>
                    <a:pt x="246" y="166"/>
                  </a:lnTo>
                  <a:lnTo>
                    <a:pt x="248" y="170"/>
                  </a:lnTo>
                  <a:lnTo>
                    <a:pt x="252" y="172"/>
                  </a:lnTo>
                  <a:lnTo>
                    <a:pt x="256" y="172"/>
                  </a:lnTo>
                  <a:lnTo>
                    <a:pt x="258" y="172"/>
                  </a:lnTo>
                  <a:lnTo>
                    <a:pt x="258" y="172"/>
                  </a:lnTo>
                  <a:lnTo>
                    <a:pt x="262" y="170"/>
                  </a:lnTo>
                  <a:lnTo>
                    <a:pt x="264" y="166"/>
                  </a:lnTo>
                  <a:lnTo>
                    <a:pt x="266" y="162"/>
                  </a:lnTo>
                  <a:lnTo>
                    <a:pt x="264" y="158"/>
                  </a:lnTo>
                  <a:lnTo>
                    <a:pt x="264" y="158"/>
                  </a:lnTo>
                  <a:lnTo>
                    <a:pt x="260" y="146"/>
                  </a:lnTo>
                  <a:lnTo>
                    <a:pt x="252" y="134"/>
                  </a:lnTo>
                  <a:lnTo>
                    <a:pt x="242" y="124"/>
                  </a:lnTo>
                  <a:lnTo>
                    <a:pt x="232" y="116"/>
                  </a:lnTo>
                  <a:lnTo>
                    <a:pt x="220" y="108"/>
                  </a:lnTo>
                  <a:lnTo>
                    <a:pt x="208" y="104"/>
                  </a:lnTo>
                  <a:lnTo>
                    <a:pt x="194" y="100"/>
                  </a:lnTo>
                  <a:lnTo>
                    <a:pt x="180" y="100"/>
                  </a:lnTo>
                  <a:lnTo>
                    <a:pt x="180" y="100"/>
                  </a:lnTo>
                  <a:lnTo>
                    <a:pt x="166" y="100"/>
                  </a:lnTo>
                  <a:lnTo>
                    <a:pt x="152" y="104"/>
                  </a:lnTo>
                  <a:lnTo>
                    <a:pt x="140" y="108"/>
                  </a:lnTo>
                  <a:lnTo>
                    <a:pt x="128" y="116"/>
                  </a:lnTo>
                  <a:lnTo>
                    <a:pt x="118" y="124"/>
                  </a:lnTo>
                  <a:lnTo>
                    <a:pt x="108" y="134"/>
                  </a:lnTo>
                  <a:lnTo>
                    <a:pt x="100" y="146"/>
                  </a:lnTo>
                  <a:lnTo>
                    <a:pt x="96" y="158"/>
                  </a:lnTo>
                  <a:lnTo>
                    <a:pt x="96" y="158"/>
                  </a:lnTo>
                  <a:lnTo>
                    <a:pt x="94" y="162"/>
                  </a:lnTo>
                  <a:lnTo>
                    <a:pt x="96" y="166"/>
                  </a:lnTo>
                  <a:lnTo>
                    <a:pt x="98" y="170"/>
                  </a:lnTo>
                  <a:lnTo>
                    <a:pt x="102" y="172"/>
                  </a:lnTo>
                  <a:lnTo>
                    <a:pt x="102" y="172"/>
                  </a:lnTo>
                  <a:close/>
                  <a:moveTo>
                    <a:pt x="358" y="124"/>
                  </a:moveTo>
                  <a:lnTo>
                    <a:pt x="358" y="124"/>
                  </a:lnTo>
                  <a:lnTo>
                    <a:pt x="346" y="98"/>
                  </a:lnTo>
                  <a:lnTo>
                    <a:pt x="330" y="74"/>
                  </a:lnTo>
                  <a:lnTo>
                    <a:pt x="312" y="52"/>
                  </a:lnTo>
                  <a:lnTo>
                    <a:pt x="288" y="34"/>
                  </a:lnTo>
                  <a:lnTo>
                    <a:pt x="264" y="20"/>
                  </a:lnTo>
                  <a:lnTo>
                    <a:pt x="238" y="8"/>
                  </a:lnTo>
                  <a:lnTo>
                    <a:pt x="210" y="2"/>
                  </a:lnTo>
                  <a:lnTo>
                    <a:pt x="180" y="0"/>
                  </a:lnTo>
                  <a:lnTo>
                    <a:pt x="180" y="0"/>
                  </a:lnTo>
                  <a:lnTo>
                    <a:pt x="150" y="2"/>
                  </a:lnTo>
                  <a:lnTo>
                    <a:pt x="122" y="8"/>
                  </a:lnTo>
                  <a:lnTo>
                    <a:pt x="96" y="20"/>
                  </a:lnTo>
                  <a:lnTo>
                    <a:pt x="72" y="34"/>
                  </a:lnTo>
                  <a:lnTo>
                    <a:pt x="48" y="52"/>
                  </a:lnTo>
                  <a:lnTo>
                    <a:pt x="30" y="74"/>
                  </a:lnTo>
                  <a:lnTo>
                    <a:pt x="14" y="98"/>
                  </a:lnTo>
                  <a:lnTo>
                    <a:pt x="2" y="124"/>
                  </a:lnTo>
                  <a:lnTo>
                    <a:pt x="2" y="124"/>
                  </a:lnTo>
                  <a:lnTo>
                    <a:pt x="0" y="128"/>
                  </a:lnTo>
                  <a:lnTo>
                    <a:pt x="2" y="132"/>
                  </a:lnTo>
                  <a:lnTo>
                    <a:pt x="4" y="136"/>
                  </a:lnTo>
                  <a:lnTo>
                    <a:pt x="8" y="138"/>
                  </a:lnTo>
                  <a:lnTo>
                    <a:pt x="8" y="138"/>
                  </a:lnTo>
                  <a:lnTo>
                    <a:pt x="10" y="138"/>
                  </a:lnTo>
                  <a:lnTo>
                    <a:pt x="10" y="138"/>
                  </a:lnTo>
                  <a:lnTo>
                    <a:pt x="16" y="136"/>
                  </a:lnTo>
                  <a:lnTo>
                    <a:pt x="20" y="132"/>
                  </a:lnTo>
                  <a:lnTo>
                    <a:pt x="20" y="132"/>
                  </a:lnTo>
                  <a:lnTo>
                    <a:pt x="32" y="108"/>
                  </a:lnTo>
                  <a:lnTo>
                    <a:pt x="46" y="86"/>
                  </a:lnTo>
                  <a:lnTo>
                    <a:pt x="62" y="66"/>
                  </a:lnTo>
                  <a:lnTo>
                    <a:pt x="82" y="50"/>
                  </a:lnTo>
                  <a:lnTo>
                    <a:pt x="104" y="38"/>
                  </a:lnTo>
                  <a:lnTo>
                    <a:pt x="128" y="28"/>
                  </a:lnTo>
                  <a:lnTo>
                    <a:pt x="154" y="22"/>
                  </a:lnTo>
                  <a:lnTo>
                    <a:pt x="180" y="20"/>
                  </a:lnTo>
                  <a:lnTo>
                    <a:pt x="180" y="20"/>
                  </a:lnTo>
                  <a:lnTo>
                    <a:pt x="206" y="22"/>
                  </a:lnTo>
                  <a:lnTo>
                    <a:pt x="232" y="28"/>
                  </a:lnTo>
                  <a:lnTo>
                    <a:pt x="256" y="38"/>
                  </a:lnTo>
                  <a:lnTo>
                    <a:pt x="278" y="50"/>
                  </a:lnTo>
                  <a:lnTo>
                    <a:pt x="298" y="66"/>
                  </a:lnTo>
                  <a:lnTo>
                    <a:pt x="314" y="86"/>
                  </a:lnTo>
                  <a:lnTo>
                    <a:pt x="328" y="108"/>
                  </a:lnTo>
                  <a:lnTo>
                    <a:pt x="340" y="132"/>
                  </a:lnTo>
                  <a:lnTo>
                    <a:pt x="340" y="132"/>
                  </a:lnTo>
                  <a:lnTo>
                    <a:pt x="342" y="136"/>
                  </a:lnTo>
                  <a:lnTo>
                    <a:pt x="344" y="138"/>
                  </a:lnTo>
                  <a:lnTo>
                    <a:pt x="348" y="138"/>
                  </a:lnTo>
                  <a:lnTo>
                    <a:pt x="352" y="138"/>
                  </a:lnTo>
                  <a:lnTo>
                    <a:pt x="352" y="138"/>
                  </a:lnTo>
                  <a:lnTo>
                    <a:pt x="356" y="136"/>
                  </a:lnTo>
                  <a:lnTo>
                    <a:pt x="358" y="132"/>
                  </a:lnTo>
                  <a:lnTo>
                    <a:pt x="360" y="128"/>
                  </a:lnTo>
                  <a:lnTo>
                    <a:pt x="358" y="124"/>
                  </a:lnTo>
                  <a:lnTo>
                    <a:pt x="358" y="124"/>
                  </a:lnTo>
                  <a:close/>
                  <a:moveTo>
                    <a:pt x="272" y="280"/>
                  </a:moveTo>
                  <a:lnTo>
                    <a:pt x="272" y="280"/>
                  </a:lnTo>
                  <a:lnTo>
                    <a:pt x="268" y="276"/>
                  </a:lnTo>
                  <a:lnTo>
                    <a:pt x="262" y="274"/>
                  </a:lnTo>
                  <a:lnTo>
                    <a:pt x="190" y="274"/>
                  </a:lnTo>
                  <a:lnTo>
                    <a:pt x="190" y="214"/>
                  </a:lnTo>
                  <a:lnTo>
                    <a:pt x="190" y="214"/>
                  </a:lnTo>
                  <a:lnTo>
                    <a:pt x="196" y="210"/>
                  </a:lnTo>
                  <a:lnTo>
                    <a:pt x="202" y="204"/>
                  </a:lnTo>
                  <a:lnTo>
                    <a:pt x="204" y="198"/>
                  </a:lnTo>
                  <a:lnTo>
                    <a:pt x="206" y="190"/>
                  </a:lnTo>
                  <a:lnTo>
                    <a:pt x="206" y="190"/>
                  </a:lnTo>
                  <a:lnTo>
                    <a:pt x="204" y="180"/>
                  </a:lnTo>
                  <a:lnTo>
                    <a:pt x="198" y="172"/>
                  </a:lnTo>
                  <a:lnTo>
                    <a:pt x="190" y="166"/>
                  </a:lnTo>
                  <a:lnTo>
                    <a:pt x="180" y="164"/>
                  </a:lnTo>
                  <a:lnTo>
                    <a:pt x="180" y="164"/>
                  </a:lnTo>
                  <a:lnTo>
                    <a:pt x="170" y="166"/>
                  </a:lnTo>
                  <a:lnTo>
                    <a:pt x="162" y="172"/>
                  </a:lnTo>
                  <a:lnTo>
                    <a:pt x="156" y="180"/>
                  </a:lnTo>
                  <a:lnTo>
                    <a:pt x="154" y="190"/>
                  </a:lnTo>
                  <a:lnTo>
                    <a:pt x="154" y="190"/>
                  </a:lnTo>
                  <a:lnTo>
                    <a:pt x="156" y="198"/>
                  </a:lnTo>
                  <a:lnTo>
                    <a:pt x="158" y="204"/>
                  </a:lnTo>
                  <a:lnTo>
                    <a:pt x="164" y="210"/>
                  </a:lnTo>
                  <a:lnTo>
                    <a:pt x="170" y="214"/>
                  </a:lnTo>
                  <a:lnTo>
                    <a:pt x="170" y="274"/>
                  </a:lnTo>
                  <a:lnTo>
                    <a:pt x="98" y="274"/>
                  </a:lnTo>
                  <a:lnTo>
                    <a:pt x="98" y="274"/>
                  </a:lnTo>
                  <a:lnTo>
                    <a:pt x="92" y="276"/>
                  </a:lnTo>
                  <a:lnTo>
                    <a:pt x="88" y="280"/>
                  </a:lnTo>
                  <a:lnTo>
                    <a:pt x="74" y="328"/>
                  </a:lnTo>
                  <a:lnTo>
                    <a:pt x="74" y="328"/>
                  </a:lnTo>
                  <a:lnTo>
                    <a:pt x="74" y="334"/>
                  </a:lnTo>
                  <a:lnTo>
                    <a:pt x="76" y="338"/>
                  </a:lnTo>
                  <a:lnTo>
                    <a:pt x="76" y="338"/>
                  </a:lnTo>
                  <a:lnTo>
                    <a:pt x="78" y="340"/>
                  </a:lnTo>
                  <a:lnTo>
                    <a:pt x="84" y="342"/>
                  </a:lnTo>
                  <a:lnTo>
                    <a:pt x="276" y="342"/>
                  </a:lnTo>
                  <a:lnTo>
                    <a:pt x="276" y="342"/>
                  </a:lnTo>
                  <a:lnTo>
                    <a:pt x="282" y="340"/>
                  </a:lnTo>
                  <a:lnTo>
                    <a:pt x="284" y="338"/>
                  </a:lnTo>
                  <a:lnTo>
                    <a:pt x="284" y="338"/>
                  </a:lnTo>
                  <a:lnTo>
                    <a:pt x="286" y="334"/>
                  </a:lnTo>
                  <a:lnTo>
                    <a:pt x="286" y="328"/>
                  </a:lnTo>
                  <a:lnTo>
                    <a:pt x="272" y="28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85" name="Group 84">
            <a:extLst>
              <a:ext uri="{FF2B5EF4-FFF2-40B4-BE49-F238E27FC236}">
                <a16:creationId xmlns:a16="http://schemas.microsoft.com/office/drawing/2014/main" id="{456DB568-011F-4793-B6DA-A315356042A3}"/>
              </a:ext>
            </a:extLst>
          </p:cNvPr>
          <p:cNvGrpSpPr/>
          <p:nvPr/>
        </p:nvGrpSpPr>
        <p:grpSpPr>
          <a:xfrm>
            <a:off x="3412707" y="3814747"/>
            <a:ext cx="612000" cy="612000"/>
            <a:chOff x="2342233" y="4690710"/>
            <a:chExt cx="612000" cy="612000"/>
          </a:xfrm>
        </p:grpSpPr>
        <p:sp>
          <p:nvSpPr>
            <p:cNvPr id="86" name="Oval 85">
              <a:extLst>
                <a:ext uri="{FF2B5EF4-FFF2-40B4-BE49-F238E27FC236}">
                  <a16:creationId xmlns:a16="http://schemas.microsoft.com/office/drawing/2014/main" id="{F5CDCAAC-222D-40E6-A1E8-CCB97B06CAEA}"/>
                </a:ext>
              </a:extLst>
            </p:cNvPr>
            <p:cNvSpPr/>
            <p:nvPr/>
          </p:nvSpPr>
          <p:spPr bwMode="ltGray">
            <a:xfrm>
              <a:off x="2342233"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87" name="Freeform 4985">
              <a:extLst>
                <a:ext uri="{FF2B5EF4-FFF2-40B4-BE49-F238E27FC236}">
                  <a16:creationId xmlns:a16="http://schemas.microsoft.com/office/drawing/2014/main" id="{CC2B0687-AD70-425C-9D6D-83D0A46991C7}"/>
                </a:ext>
              </a:extLst>
            </p:cNvPr>
            <p:cNvSpPr>
              <a:spLocks noEditPoints="1"/>
            </p:cNvSpPr>
            <p:nvPr/>
          </p:nvSpPr>
          <p:spPr bwMode="auto">
            <a:xfrm>
              <a:off x="2454243" y="4848931"/>
              <a:ext cx="387981" cy="354033"/>
            </a:xfrm>
            <a:custGeom>
              <a:avLst/>
              <a:gdLst>
                <a:gd name="T0" fmla="*/ 282 w 320"/>
                <a:gd name="T1" fmla="*/ 112 h 292"/>
                <a:gd name="T2" fmla="*/ 294 w 320"/>
                <a:gd name="T3" fmla="*/ 114 h 292"/>
                <a:gd name="T4" fmla="*/ 308 w 320"/>
                <a:gd name="T5" fmla="*/ 120 h 292"/>
                <a:gd name="T6" fmla="*/ 320 w 320"/>
                <a:gd name="T7" fmla="*/ 138 h 292"/>
                <a:gd name="T8" fmla="*/ 320 w 320"/>
                <a:gd name="T9" fmla="*/ 196 h 292"/>
                <a:gd name="T10" fmla="*/ 320 w 320"/>
                <a:gd name="T11" fmla="*/ 202 h 292"/>
                <a:gd name="T12" fmla="*/ 316 w 320"/>
                <a:gd name="T13" fmla="*/ 214 h 292"/>
                <a:gd name="T14" fmla="*/ 304 w 320"/>
                <a:gd name="T15" fmla="*/ 228 h 292"/>
                <a:gd name="T16" fmla="*/ 282 w 320"/>
                <a:gd name="T17" fmla="*/ 234 h 292"/>
                <a:gd name="T18" fmla="*/ 252 w 320"/>
                <a:gd name="T19" fmla="*/ 234 h 292"/>
                <a:gd name="T20" fmla="*/ 260 w 320"/>
                <a:gd name="T21" fmla="*/ 264 h 292"/>
                <a:gd name="T22" fmla="*/ 272 w 320"/>
                <a:gd name="T23" fmla="*/ 286 h 292"/>
                <a:gd name="T24" fmla="*/ 278 w 320"/>
                <a:gd name="T25" fmla="*/ 292 h 292"/>
                <a:gd name="T26" fmla="*/ 254 w 320"/>
                <a:gd name="T27" fmla="*/ 278 h 292"/>
                <a:gd name="T28" fmla="*/ 234 w 320"/>
                <a:gd name="T29" fmla="*/ 260 h 292"/>
                <a:gd name="T30" fmla="*/ 218 w 320"/>
                <a:gd name="T31" fmla="*/ 234 h 292"/>
                <a:gd name="T32" fmla="*/ 198 w 320"/>
                <a:gd name="T33" fmla="*/ 234 h 292"/>
                <a:gd name="T34" fmla="*/ 186 w 320"/>
                <a:gd name="T35" fmla="*/ 232 h 292"/>
                <a:gd name="T36" fmla="*/ 172 w 320"/>
                <a:gd name="T37" fmla="*/ 224 h 292"/>
                <a:gd name="T38" fmla="*/ 162 w 320"/>
                <a:gd name="T39" fmla="*/ 208 h 292"/>
                <a:gd name="T40" fmla="*/ 160 w 320"/>
                <a:gd name="T41" fmla="*/ 150 h 292"/>
                <a:gd name="T42" fmla="*/ 160 w 320"/>
                <a:gd name="T43" fmla="*/ 144 h 292"/>
                <a:gd name="T44" fmla="*/ 164 w 320"/>
                <a:gd name="T45" fmla="*/ 130 h 292"/>
                <a:gd name="T46" fmla="*/ 176 w 320"/>
                <a:gd name="T47" fmla="*/ 118 h 292"/>
                <a:gd name="T48" fmla="*/ 198 w 320"/>
                <a:gd name="T49" fmla="*/ 112 h 292"/>
                <a:gd name="T50" fmla="*/ 140 w 320"/>
                <a:gd name="T51" fmla="*/ 150 h 292"/>
                <a:gd name="T52" fmla="*/ 142 w 320"/>
                <a:gd name="T53" fmla="*/ 142 h 292"/>
                <a:gd name="T54" fmla="*/ 148 w 320"/>
                <a:gd name="T55" fmla="*/ 122 h 292"/>
                <a:gd name="T56" fmla="*/ 162 w 320"/>
                <a:gd name="T57" fmla="*/ 104 h 292"/>
                <a:gd name="T58" fmla="*/ 184 w 320"/>
                <a:gd name="T59" fmla="*/ 94 h 292"/>
                <a:gd name="T60" fmla="*/ 282 w 320"/>
                <a:gd name="T61" fmla="*/ 92 h 292"/>
                <a:gd name="T62" fmla="*/ 288 w 320"/>
                <a:gd name="T63" fmla="*/ 94 h 292"/>
                <a:gd name="T64" fmla="*/ 288 w 320"/>
                <a:gd name="T65" fmla="*/ 52 h 292"/>
                <a:gd name="T66" fmla="*/ 286 w 320"/>
                <a:gd name="T67" fmla="*/ 36 h 292"/>
                <a:gd name="T68" fmla="*/ 276 w 320"/>
                <a:gd name="T69" fmla="*/ 16 h 292"/>
                <a:gd name="T70" fmla="*/ 254 w 320"/>
                <a:gd name="T71" fmla="*/ 2 h 292"/>
                <a:gd name="T72" fmla="*/ 236 w 320"/>
                <a:gd name="T73" fmla="*/ 0 h 292"/>
                <a:gd name="T74" fmla="*/ 52 w 320"/>
                <a:gd name="T75" fmla="*/ 0 h 292"/>
                <a:gd name="T76" fmla="*/ 34 w 320"/>
                <a:gd name="T77" fmla="*/ 2 h 292"/>
                <a:gd name="T78" fmla="*/ 16 w 320"/>
                <a:gd name="T79" fmla="*/ 12 h 292"/>
                <a:gd name="T80" fmla="*/ 2 w 320"/>
                <a:gd name="T81" fmla="*/ 34 h 292"/>
                <a:gd name="T82" fmla="*/ 0 w 320"/>
                <a:gd name="T83" fmla="*/ 52 h 292"/>
                <a:gd name="T84" fmla="*/ 0 w 320"/>
                <a:gd name="T85" fmla="*/ 112 h 292"/>
                <a:gd name="T86" fmla="*/ 2 w 320"/>
                <a:gd name="T87" fmla="*/ 130 h 292"/>
                <a:gd name="T88" fmla="*/ 12 w 320"/>
                <a:gd name="T89" fmla="*/ 148 h 292"/>
                <a:gd name="T90" fmla="*/ 34 w 320"/>
                <a:gd name="T91" fmla="*/ 162 h 292"/>
                <a:gd name="T92" fmla="*/ 52 w 320"/>
                <a:gd name="T93" fmla="*/ 164 h 292"/>
                <a:gd name="T94" fmla="*/ 64 w 320"/>
                <a:gd name="T95" fmla="*/ 164 h 292"/>
                <a:gd name="T96" fmla="*/ 54 w 320"/>
                <a:gd name="T97" fmla="*/ 206 h 292"/>
                <a:gd name="T98" fmla="*/ 44 w 320"/>
                <a:gd name="T99" fmla="*/ 226 h 292"/>
                <a:gd name="T100" fmla="*/ 30 w 320"/>
                <a:gd name="T101" fmla="*/ 244 h 292"/>
                <a:gd name="T102" fmla="*/ 40 w 320"/>
                <a:gd name="T103" fmla="*/ 240 h 292"/>
                <a:gd name="T104" fmla="*/ 62 w 320"/>
                <a:gd name="T105" fmla="*/ 226 h 292"/>
                <a:gd name="T106" fmla="*/ 90 w 320"/>
                <a:gd name="T107" fmla="*/ 200 h 292"/>
                <a:gd name="T108" fmla="*/ 110 w 320"/>
                <a:gd name="T109" fmla="*/ 164 h 292"/>
                <a:gd name="T110" fmla="*/ 140 w 320"/>
                <a:gd name="T111" fmla="*/ 15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0" h="292">
                  <a:moveTo>
                    <a:pt x="282" y="112"/>
                  </a:moveTo>
                  <a:lnTo>
                    <a:pt x="282" y="112"/>
                  </a:lnTo>
                  <a:lnTo>
                    <a:pt x="288" y="112"/>
                  </a:lnTo>
                  <a:lnTo>
                    <a:pt x="294" y="114"/>
                  </a:lnTo>
                  <a:lnTo>
                    <a:pt x="302" y="116"/>
                  </a:lnTo>
                  <a:lnTo>
                    <a:pt x="308" y="120"/>
                  </a:lnTo>
                  <a:lnTo>
                    <a:pt x="314" y="128"/>
                  </a:lnTo>
                  <a:lnTo>
                    <a:pt x="320" y="138"/>
                  </a:lnTo>
                  <a:lnTo>
                    <a:pt x="320" y="150"/>
                  </a:lnTo>
                  <a:lnTo>
                    <a:pt x="320" y="196"/>
                  </a:lnTo>
                  <a:lnTo>
                    <a:pt x="320" y="196"/>
                  </a:lnTo>
                  <a:lnTo>
                    <a:pt x="320" y="202"/>
                  </a:lnTo>
                  <a:lnTo>
                    <a:pt x="318" y="208"/>
                  </a:lnTo>
                  <a:lnTo>
                    <a:pt x="316" y="214"/>
                  </a:lnTo>
                  <a:lnTo>
                    <a:pt x="312" y="222"/>
                  </a:lnTo>
                  <a:lnTo>
                    <a:pt x="304" y="228"/>
                  </a:lnTo>
                  <a:lnTo>
                    <a:pt x="294" y="232"/>
                  </a:lnTo>
                  <a:lnTo>
                    <a:pt x="282" y="234"/>
                  </a:lnTo>
                  <a:lnTo>
                    <a:pt x="252" y="234"/>
                  </a:lnTo>
                  <a:lnTo>
                    <a:pt x="252" y="234"/>
                  </a:lnTo>
                  <a:lnTo>
                    <a:pt x="256" y="248"/>
                  </a:lnTo>
                  <a:lnTo>
                    <a:pt x="260" y="264"/>
                  </a:lnTo>
                  <a:lnTo>
                    <a:pt x="268" y="280"/>
                  </a:lnTo>
                  <a:lnTo>
                    <a:pt x="272" y="286"/>
                  </a:lnTo>
                  <a:lnTo>
                    <a:pt x="278" y="292"/>
                  </a:lnTo>
                  <a:lnTo>
                    <a:pt x="278" y="292"/>
                  </a:lnTo>
                  <a:lnTo>
                    <a:pt x="272" y="290"/>
                  </a:lnTo>
                  <a:lnTo>
                    <a:pt x="254" y="278"/>
                  </a:lnTo>
                  <a:lnTo>
                    <a:pt x="244" y="270"/>
                  </a:lnTo>
                  <a:lnTo>
                    <a:pt x="234" y="260"/>
                  </a:lnTo>
                  <a:lnTo>
                    <a:pt x="226" y="248"/>
                  </a:lnTo>
                  <a:lnTo>
                    <a:pt x="218" y="234"/>
                  </a:lnTo>
                  <a:lnTo>
                    <a:pt x="198" y="234"/>
                  </a:lnTo>
                  <a:lnTo>
                    <a:pt x="198" y="234"/>
                  </a:lnTo>
                  <a:lnTo>
                    <a:pt x="192" y="234"/>
                  </a:lnTo>
                  <a:lnTo>
                    <a:pt x="186" y="232"/>
                  </a:lnTo>
                  <a:lnTo>
                    <a:pt x="180" y="230"/>
                  </a:lnTo>
                  <a:lnTo>
                    <a:pt x="172" y="224"/>
                  </a:lnTo>
                  <a:lnTo>
                    <a:pt x="166" y="218"/>
                  </a:lnTo>
                  <a:lnTo>
                    <a:pt x="162" y="208"/>
                  </a:lnTo>
                  <a:lnTo>
                    <a:pt x="160" y="196"/>
                  </a:lnTo>
                  <a:lnTo>
                    <a:pt x="160" y="150"/>
                  </a:lnTo>
                  <a:lnTo>
                    <a:pt x="160" y="150"/>
                  </a:lnTo>
                  <a:lnTo>
                    <a:pt x="160" y="144"/>
                  </a:lnTo>
                  <a:lnTo>
                    <a:pt x="162" y="138"/>
                  </a:lnTo>
                  <a:lnTo>
                    <a:pt x="164" y="130"/>
                  </a:lnTo>
                  <a:lnTo>
                    <a:pt x="170" y="124"/>
                  </a:lnTo>
                  <a:lnTo>
                    <a:pt x="176" y="118"/>
                  </a:lnTo>
                  <a:lnTo>
                    <a:pt x="186" y="114"/>
                  </a:lnTo>
                  <a:lnTo>
                    <a:pt x="198" y="112"/>
                  </a:lnTo>
                  <a:lnTo>
                    <a:pt x="282" y="112"/>
                  </a:lnTo>
                  <a:close/>
                  <a:moveTo>
                    <a:pt x="140" y="150"/>
                  </a:moveTo>
                  <a:lnTo>
                    <a:pt x="140" y="150"/>
                  </a:lnTo>
                  <a:lnTo>
                    <a:pt x="142" y="142"/>
                  </a:lnTo>
                  <a:lnTo>
                    <a:pt x="144" y="132"/>
                  </a:lnTo>
                  <a:lnTo>
                    <a:pt x="148" y="122"/>
                  </a:lnTo>
                  <a:lnTo>
                    <a:pt x="154" y="112"/>
                  </a:lnTo>
                  <a:lnTo>
                    <a:pt x="162" y="104"/>
                  </a:lnTo>
                  <a:lnTo>
                    <a:pt x="172" y="98"/>
                  </a:lnTo>
                  <a:lnTo>
                    <a:pt x="184" y="94"/>
                  </a:lnTo>
                  <a:lnTo>
                    <a:pt x="198" y="92"/>
                  </a:lnTo>
                  <a:lnTo>
                    <a:pt x="282" y="92"/>
                  </a:lnTo>
                  <a:lnTo>
                    <a:pt x="282" y="92"/>
                  </a:lnTo>
                  <a:lnTo>
                    <a:pt x="288" y="94"/>
                  </a:lnTo>
                  <a:lnTo>
                    <a:pt x="288" y="52"/>
                  </a:lnTo>
                  <a:lnTo>
                    <a:pt x="288" y="52"/>
                  </a:lnTo>
                  <a:lnTo>
                    <a:pt x="288" y="44"/>
                  </a:lnTo>
                  <a:lnTo>
                    <a:pt x="286" y="36"/>
                  </a:lnTo>
                  <a:lnTo>
                    <a:pt x="282" y="26"/>
                  </a:lnTo>
                  <a:lnTo>
                    <a:pt x="276" y="16"/>
                  </a:lnTo>
                  <a:lnTo>
                    <a:pt x="266" y="8"/>
                  </a:lnTo>
                  <a:lnTo>
                    <a:pt x="254" y="2"/>
                  </a:lnTo>
                  <a:lnTo>
                    <a:pt x="246" y="0"/>
                  </a:lnTo>
                  <a:lnTo>
                    <a:pt x="236" y="0"/>
                  </a:lnTo>
                  <a:lnTo>
                    <a:pt x="52" y="0"/>
                  </a:lnTo>
                  <a:lnTo>
                    <a:pt x="52" y="0"/>
                  </a:lnTo>
                  <a:lnTo>
                    <a:pt x="44" y="0"/>
                  </a:lnTo>
                  <a:lnTo>
                    <a:pt x="34" y="2"/>
                  </a:lnTo>
                  <a:lnTo>
                    <a:pt x="26" y="6"/>
                  </a:lnTo>
                  <a:lnTo>
                    <a:pt x="16" y="12"/>
                  </a:lnTo>
                  <a:lnTo>
                    <a:pt x="8" y="22"/>
                  </a:lnTo>
                  <a:lnTo>
                    <a:pt x="2" y="34"/>
                  </a:lnTo>
                  <a:lnTo>
                    <a:pt x="0" y="42"/>
                  </a:lnTo>
                  <a:lnTo>
                    <a:pt x="0" y="52"/>
                  </a:lnTo>
                  <a:lnTo>
                    <a:pt x="0" y="112"/>
                  </a:lnTo>
                  <a:lnTo>
                    <a:pt x="0" y="112"/>
                  </a:lnTo>
                  <a:lnTo>
                    <a:pt x="0" y="120"/>
                  </a:lnTo>
                  <a:lnTo>
                    <a:pt x="2" y="130"/>
                  </a:lnTo>
                  <a:lnTo>
                    <a:pt x="6" y="138"/>
                  </a:lnTo>
                  <a:lnTo>
                    <a:pt x="12" y="148"/>
                  </a:lnTo>
                  <a:lnTo>
                    <a:pt x="22" y="156"/>
                  </a:lnTo>
                  <a:lnTo>
                    <a:pt x="34" y="162"/>
                  </a:lnTo>
                  <a:lnTo>
                    <a:pt x="42" y="164"/>
                  </a:lnTo>
                  <a:lnTo>
                    <a:pt x="52" y="164"/>
                  </a:lnTo>
                  <a:lnTo>
                    <a:pt x="64" y="164"/>
                  </a:lnTo>
                  <a:lnTo>
                    <a:pt x="64" y="164"/>
                  </a:lnTo>
                  <a:lnTo>
                    <a:pt x="60" y="186"/>
                  </a:lnTo>
                  <a:lnTo>
                    <a:pt x="54" y="206"/>
                  </a:lnTo>
                  <a:lnTo>
                    <a:pt x="50" y="218"/>
                  </a:lnTo>
                  <a:lnTo>
                    <a:pt x="44" y="226"/>
                  </a:lnTo>
                  <a:lnTo>
                    <a:pt x="38" y="236"/>
                  </a:lnTo>
                  <a:lnTo>
                    <a:pt x="30" y="244"/>
                  </a:lnTo>
                  <a:lnTo>
                    <a:pt x="30" y="244"/>
                  </a:lnTo>
                  <a:lnTo>
                    <a:pt x="40" y="240"/>
                  </a:lnTo>
                  <a:lnTo>
                    <a:pt x="50" y="234"/>
                  </a:lnTo>
                  <a:lnTo>
                    <a:pt x="62" y="226"/>
                  </a:lnTo>
                  <a:lnTo>
                    <a:pt x="76" y="214"/>
                  </a:lnTo>
                  <a:lnTo>
                    <a:pt x="90" y="200"/>
                  </a:lnTo>
                  <a:lnTo>
                    <a:pt x="102" y="184"/>
                  </a:lnTo>
                  <a:lnTo>
                    <a:pt x="110" y="164"/>
                  </a:lnTo>
                  <a:lnTo>
                    <a:pt x="140" y="164"/>
                  </a:lnTo>
                  <a:lnTo>
                    <a:pt x="140" y="15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88" name="Group 87">
            <a:extLst>
              <a:ext uri="{FF2B5EF4-FFF2-40B4-BE49-F238E27FC236}">
                <a16:creationId xmlns:a16="http://schemas.microsoft.com/office/drawing/2014/main" id="{6C1FA9C8-741B-4C00-AB98-1339331CFD1D}"/>
              </a:ext>
            </a:extLst>
          </p:cNvPr>
          <p:cNvGrpSpPr/>
          <p:nvPr/>
        </p:nvGrpSpPr>
        <p:grpSpPr>
          <a:xfrm>
            <a:off x="6036846" y="1595303"/>
            <a:ext cx="612000" cy="612000"/>
            <a:chOff x="4966372" y="2258092"/>
            <a:chExt cx="612000" cy="612000"/>
          </a:xfrm>
        </p:grpSpPr>
        <p:sp>
          <p:nvSpPr>
            <p:cNvPr id="89" name="Oval 88">
              <a:extLst>
                <a:ext uri="{FF2B5EF4-FFF2-40B4-BE49-F238E27FC236}">
                  <a16:creationId xmlns:a16="http://schemas.microsoft.com/office/drawing/2014/main" id="{FB62AAD4-3F49-40D2-89BE-3ABACD77C857}"/>
                </a:ext>
              </a:extLst>
            </p:cNvPr>
            <p:cNvSpPr/>
            <p:nvPr/>
          </p:nvSpPr>
          <p:spPr bwMode="ltGray">
            <a:xfrm>
              <a:off x="4966372"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90" name="Freeform 4859">
              <a:extLst>
                <a:ext uri="{FF2B5EF4-FFF2-40B4-BE49-F238E27FC236}">
                  <a16:creationId xmlns:a16="http://schemas.microsoft.com/office/drawing/2014/main" id="{60D22CDE-CF94-4775-ABE5-E5DDAA43319E}"/>
                </a:ext>
              </a:extLst>
            </p:cNvPr>
            <p:cNvSpPr>
              <a:spLocks noEditPoints="1"/>
            </p:cNvSpPr>
            <p:nvPr/>
          </p:nvSpPr>
          <p:spPr bwMode="auto">
            <a:xfrm>
              <a:off x="5094280" y="2317098"/>
              <a:ext cx="356184" cy="499143"/>
            </a:xfrm>
            <a:custGeom>
              <a:avLst/>
              <a:gdLst>
                <a:gd name="T0" fmla="*/ 184 w 294"/>
                <a:gd name="T1" fmla="*/ 408 h 412"/>
                <a:gd name="T2" fmla="*/ 112 w 294"/>
                <a:gd name="T3" fmla="*/ 410 h 412"/>
                <a:gd name="T4" fmla="*/ 54 w 294"/>
                <a:gd name="T5" fmla="*/ 390 h 412"/>
                <a:gd name="T6" fmla="*/ 0 w 294"/>
                <a:gd name="T7" fmla="*/ 350 h 412"/>
                <a:gd name="T8" fmla="*/ 14 w 294"/>
                <a:gd name="T9" fmla="*/ 202 h 412"/>
                <a:gd name="T10" fmla="*/ 80 w 294"/>
                <a:gd name="T11" fmla="*/ 166 h 412"/>
                <a:gd name="T12" fmla="*/ 74 w 294"/>
                <a:gd name="T13" fmla="*/ 210 h 412"/>
                <a:gd name="T14" fmla="*/ 78 w 294"/>
                <a:gd name="T15" fmla="*/ 240 h 412"/>
                <a:gd name="T16" fmla="*/ 112 w 294"/>
                <a:gd name="T17" fmla="*/ 240 h 412"/>
                <a:gd name="T18" fmla="*/ 114 w 294"/>
                <a:gd name="T19" fmla="*/ 210 h 412"/>
                <a:gd name="T20" fmla="*/ 170 w 294"/>
                <a:gd name="T21" fmla="*/ 166 h 412"/>
                <a:gd name="T22" fmla="*/ 150 w 294"/>
                <a:gd name="T23" fmla="*/ 226 h 412"/>
                <a:gd name="T24" fmla="*/ 122 w 294"/>
                <a:gd name="T25" fmla="*/ 266 h 412"/>
                <a:gd name="T26" fmla="*/ 124 w 294"/>
                <a:gd name="T27" fmla="*/ 340 h 412"/>
                <a:gd name="T28" fmla="*/ 156 w 294"/>
                <a:gd name="T29" fmla="*/ 344 h 412"/>
                <a:gd name="T30" fmla="*/ 162 w 294"/>
                <a:gd name="T31" fmla="*/ 328 h 412"/>
                <a:gd name="T32" fmla="*/ 144 w 294"/>
                <a:gd name="T33" fmla="*/ 276 h 412"/>
                <a:gd name="T34" fmla="*/ 154 w 294"/>
                <a:gd name="T35" fmla="*/ 250 h 412"/>
                <a:gd name="T36" fmla="*/ 180 w 294"/>
                <a:gd name="T37" fmla="*/ 240 h 412"/>
                <a:gd name="T38" fmla="*/ 212 w 294"/>
                <a:gd name="T39" fmla="*/ 256 h 412"/>
                <a:gd name="T40" fmla="*/ 218 w 294"/>
                <a:gd name="T41" fmla="*/ 322 h 412"/>
                <a:gd name="T42" fmla="*/ 200 w 294"/>
                <a:gd name="T43" fmla="*/ 328 h 412"/>
                <a:gd name="T44" fmla="*/ 206 w 294"/>
                <a:gd name="T45" fmla="*/ 344 h 412"/>
                <a:gd name="T46" fmla="*/ 240 w 294"/>
                <a:gd name="T47" fmla="*/ 390 h 412"/>
                <a:gd name="T48" fmla="*/ 294 w 294"/>
                <a:gd name="T49" fmla="*/ 250 h 412"/>
                <a:gd name="T50" fmla="*/ 272 w 294"/>
                <a:gd name="T51" fmla="*/ 192 h 412"/>
                <a:gd name="T52" fmla="*/ 192 w 294"/>
                <a:gd name="T53" fmla="*/ 166 h 412"/>
                <a:gd name="T54" fmla="*/ 202 w 294"/>
                <a:gd name="T55" fmla="*/ 222 h 412"/>
                <a:gd name="T56" fmla="*/ 236 w 294"/>
                <a:gd name="T57" fmla="*/ 256 h 412"/>
                <a:gd name="T58" fmla="*/ 240 w 294"/>
                <a:gd name="T59" fmla="*/ 334 h 412"/>
                <a:gd name="T60" fmla="*/ 92 w 294"/>
                <a:gd name="T61" fmla="*/ 122 h 412"/>
                <a:gd name="T62" fmla="*/ 136 w 294"/>
                <a:gd name="T63" fmla="*/ 146 h 412"/>
                <a:gd name="T64" fmla="*/ 178 w 294"/>
                <a:gd name="T65" fmla="*/ 140 h 412"/>
                <a:gd name="T66" fmla="*/ 214 w 294"/>
                <a:gd name="T67" fmla="*/ 106 h 412"/>
                <a:gd name="T68" fmla="*/ 148 w 294"/>
                <a:gd name="T69" fmla="*/ 84 h 412"/>
                <a:gd name="T70" fmla="*/ 82 w 294"/>
                <a:gd name="T71" fmla="*/ 106 h 412"/>
                <a:gd name="T72" fmla="*/ 148 w 294"/>
                <a:gd name="T73" fmla="*/ 0 h 412"/>
                <a:gd name="T74" fmla="*/ 208 w 294"/>
                <a:gd name="T75" fmla="*/ 32 h 412"/>
                <a:gd name="T76" fmla="*/ 220 w 294"/>
                <a:gd name="T77" fmla="*/ 90 h 412"/>
                <a:gd name="T78" fmla="*/ 148 w 294"/>
                <a:gd name="T79" fmla="*/ 68 h 412"/>
                <a:gd name="T80" fmla="*/ 76 w 294"/>
                <a:gd name="T81" fmla="*/ 90 h 412"/>
                <a:gd name="T82" fmla="*/ 80 w 294"/>
                <a:gd name="T83" fmla="*/ 44 h 412"/>
                <a:gd name="T84" fmla="*/ 132 w 294"/>
                <a:gd name="T85" fmla="*/ 2 h 412"/>
                <a:gd name="T86" fmla="*/ 156 w 294"/>
                <a:gd name="T87" fmla="*/ 18 h 412"/>
                <a:gd name="T88" fmla="*/ 148 w 294"/>
                <a:gd name="T89" fmla="*/ 10 h 412"/>
                <a:gd name="T90" fmla="*/ 140 w 294"/>
                <a:gd name="T91" fmla="*/ 28 h 412"/>
                <a:gd name="T92" fmla="*/ 122 w 294"/>
                <a:gd name="T93" fmla="*/ 34 h 412"/>
                <a:gd name="T94" fmla="*/ 126 w 294"/>
                <a:gd name="T95" fmla="*/ 44 h 412"/>
                <a:gd name="T96" fmla="*/ 140 w 294"/>
                <a:gd name="T97" fmla="*/ 58 h 412"/>
                <a:gd name="T98" fmla="*/ 150 w 294"/>
                <a:gd name="T99" fmla="*/ 62 h 412"/>
                <a:gd name="T100" fmla="*/ 166 w 294"/>
                <a:gd name="T101" fmla="*/ 44 h 412"/>
                <a:gd name="T102" fmla="*/ 174 w 294"/>
                <a:gd name="T103" fmla="*/ 36 h 412"/>
                <a:gd name="T104" fmla="*/ 166 w 294"/>
                <a:gd name="T105" fmla="*/ 28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4" h="412">
                  <a:moveTo>
                    <a:pt x="218" y="344"/>
                  </a:moveTo>
                  <a:lnTo>
                    <a:pt x="218" y="400"/>
                  </a:lnTo>
                  <a:lnTo>
                    <a:pt x="218" y="400"/>
                  </a:lnTo>
                  <a:lnTo>
                    <a:pt x="202" y="404"/>
                  </a:lnTo>
                  <a:lnTo>
                    <a:pt x="184" y="408"/>
                  </a:lnTo>
                  <a:lnTo>
                    <a:pt x="166" y="412"/>
                  </a:lnTo>
                  <a:lnTo>
                    <a:pt x="148" y="412"/>
                  </a:lnTo>
                  <a:lnTo>
                    <a:pt x="148" y="412"/>
                  </a:lnTo>
                  <a:lnTo>
                    <a:pt x="130" y="412"/>
                  </a:lnTo>
                  <a:lnTo>
                    <a:pt x="112" y="410"/>
                  </a:lnTo>
                  <a:lnTo>
                    <a:pt x="94" y="406"/>
                  </a:lnTo>
                  <a:lnTo>
                    <a:pt x="78" y="400"/>
                  </a:lnTo>
                  <a:lnTo>
                    <a:pt x="78" y="264"/>
                  </a:lnTo>
                  <a:lnTo>
                    <a:pt x="54" y="264"/>
                  </a:lnTo>
                  <a:lnTo>
                    <a:pt x="54" y="390"/>
                  </a:lnTo>
                  <a:lnTo>
                    <a:pt x="54" y="390"/>
                  </a:lnTo>
                  <a:lnTo>
                    <a:pt x="40" y="382"/>
                  </a:lnTo>
                  <a:lnTo>
                    <a:pt x="26" y="372"/>
                  </a:lnTo>
                  <a:lnTo>
                    <a:pt x="12" y="362"/>
                  </a:lnTo>
                  <a:lnTo>
                    <a:pt x="0" y="350"/>
                  </a:lnTo>
                  <a:lnTo>
                    <a:pt x="0" y="248"/>
                  </a:lnTo>
                  <a:lnTo>
                    <a:pt x="0" y="248"/>
                  </a:lnTo>
                  <a:lnTo>
                    <a:pt x="2" y="232"/>
                  </a:lnTo>
                  <a:lnTo>
                    <a:pt x="6" y="216"/>
                  </a:lnTo>
                  <a:lnTo>
                    <a:pt x="14" y="202"/>
                  </a:lnTo>
                  <a:lnTo>
                    <a:pt x="24" y="190"/>
                  </a:lnTo>
                  <a:lnTo>
                    <a:pt x="36" y="180"/>
                  </a:lnTo>
                  <a:lnTo>
                    <a:pt x="48" y="172"/>
                  </a:lnTo>
                  <a:lnTo>
                    <a:pt x="64" y="168"/>
                  </a:lnTo>
                  <a:lnTo>
                    <a:pt x="80" y="166"/>
                  </a:lnTo>
                  <a:lnTo>
                    <a:pt x="84" y="166"/>
                  </a:lnTo>
                  <a:lnTo>
                    <a:pt x="84" y="200"/>
                  </a:lnTo>
                  <a:lnTo>
                    <a:pt x="84" y="200"/>
                  </a:lnTo>
                  <a:lnTo>
                    <a:pt x="78" y="204"/>
                  </a:lnTo>
                  <a:lnTo>
                    <a:pt x="74" y="210"/>
                  </a:lnTo>
                  <a:lnTo>
                    <a:pt x="72" y="216"/>
                  </a:lnTo>
                  <a:lnTo>
                    <a:pt x="70" y="222"/>
                  </a:lnTo>
                  <a:lnTo>
                    <a:pt x="70" y="222"/>
                  </a:lnTo>
                  <a:lnTo>
                    <a:pt x="72" y="232"/>
                  </a:lnTo>
                  <a:lnTo>
                    <a:pt x="78" y="240"/>
                  </a:lnTo>
                  <a:lnTo>
                    <a:pt x="84" y="246"/>
                  </a:lnTo>
                  <a:lnTo>
                    <a:pt x="94" y="248"/>
                  </a:lnTo>
                  <a:lnTo>
                    <a:pt x="94" y="248"/>
                  </a:lnTo>
                  <a:lnTo>
                    <a:pt x="104" y="246"/>
                  </a:lnTo>
                  <a:lnTo>
                    <a:pt x="112" y="240"/>
                  </a:lnTo>
                  <a:lnTo>
                    <a:pt x="116" y="232"/>
                  </a:lnTo>
                  <a:lnTo>
                    <a:pt x="118" y="222"/>
                  </a:lnTo>
                  <a:lnTo>
                    <a:pt x="118" y="222"/>
                  </a:lnTo>
                  <a:lnTo>
                    <a:pt x="118" y="216"/>
                  </a:lnTo>
                  <a:lnTo>
                    <a:pt x="114" y="210"/>
                  </a:lnTo>
                  <a:lnTo>
                    <a:pt x="110" y="204"/>
                  </a:lnTo>
                  <a:lnTo>
                    <a:pt x="104" y="200"/>
                  </a:lnTo>
                  <a:lnTo>
                    <a:pt x="104" y="166"/>
                  </a:lnTo>
                  <a:lnTo>
                    <a:pt x="170" y="166"/>
                  </a:lnTo>
                  <a:lnTo>
                    <a:pt x="170" y="166"/>
                  </a:lnTo>
                  <a:lnTo>
                    <a:pt x="170" y="168"/>
                  </a:lnTo>
                  <a:lnTo>
                    <a:pt x="170" y="218"/>
                  </a:lnTo>
                  <a:lnTo>
                    <a:pt x="170" y="218"/>
                  </a:lnTo>
                  <a:lnTo>
                    <a:pt x="160" y="222"/>
                  </a:lnTo>
                  <a:lnTo>
                    <a:pt x="150" y="226"/>
                  </a:lnTo>
                  <a:lnTo>
                    <a:pt x="142" y="232"/>
                  </a:lnTo>
                  <a:lnTo>
                    <a:pt x="136" y="238"/>
                  </a:lnTo>
                  <a:lnTo>
                    <a:pt x="130" y="248"/>
                  </a:lnTo>
                  <a:lnTo>
                    <a:pt x="126" y="256"/>
                  </a:lnTo>
                  <a:lnTo>
                    <a:pt x="122" y="266"/>
                  </a:lnTo>
                  <a:lnTo>
                    <a:pt x="122" y="276"/>
                  </a:lnTo>
                  <a:lnTo>
                    <a:pt x="122" y="332"/>
                  </a:lnTo>
                  <a:lnTo>
                    <a:pt x="122" y="332"/>
                  </a:lnTo>
                  <a:lnTo>
                    <a:pt x="122" y="338"/>
                  </a:lnTo>
                  <a:lnTo>
                    <a:pt x="124" y="340"/>
                  </a:lnTo>
                  <a:lnTo>
                    <a:pt x="128" y="344"/>
                  </a:lnTo>
                  <a:lnTo>
                    <a:pt x="132" y="344"/>
                  </a:lnTo>
                  <a:lnTo>
                    <a:pt x="152" y="344"/>
                  </a:lnTo>
                  <a:lnTo>
                    <a:pt x="152" y="344"/>
                  </a:lnTo>
                  <a:lnTo>
                    <a:pt x="156" y="344"/>
                  </a:lnTo>
                  <a:lnTo>
                    <a:pt x="160" y="340"/>
                  </a:lnTo>
                  <a:lnTo>
                    <a:pt x="162" y="338"/>
                  </a:lnTo>
                  <a:lnTo>
                    <a:pt x="164" y="332"/>
                  </a:lnTo>
                  <a:lnTo>
                    <a:pt x="164" y="332"/>
                  </a:lnTo>
                  <a:lnTo>
                    <a:pt x="162" y="328"/>
                  </a:lnTo>
                  <a:lnTo>
                    <a:pt x="160" y="326"/>
                  </a:lnTo>
                  <a:lnTo>
                    <a:pt x="156" y="322"/>
                  </a:lnTo>
                  <a:lnTo>
                    <a:pt x="152" y="322"/>
                  </a:lnTo>
                  <a:lnTo>
                    <a:pt x="144" y="322"/>
                  </a:lnTo>
                  <a:lnTo>
                    <a:pt x="144" y="276"/>
                  </a:lnTo>
                  <a:lnTo>
                    <a:pt x="144" y="276"/>
                  </a:lnTo>
                  <a:lnTo>
                    <a:pt x="144" y="270"/>
                  </a:lnTo>
                  <a:lnTo>
                    <a:pt x="146" y="262"/>
                  </a:lnTo>
                  <a:lnTo>
                    <a:pt x="150" y="256"/>
                  </a:lnTo>
                  <a:lnTo>
                    <a:pt x="154" y="250"/>
                  </a:lnTo>
                  <a:lnTo>
                    <a:pt x="160" y="246"/>
                  </a:lnTo>
                  <a:lnTo>
                    <a:pt x="166" y="242"/>
                  </a:lnTo>
                  <a:lnTo>
                    <a:pt x="174" y="240"/>
                  </a:lnTo>
                  <a:lnTo>
                    <a:pt x="180" y="240"/>
                  </a:lnTo>
                  <a:lnTo>
                    <a:pt x="180" y="240"/>
                  </a:lnTo>
                  <a:lnTo>
                    <a:pt x="188" y="240"/>
                  </a:lnTo>
                  <a:lnTo>
                    <a:pt x="196" y="242"/>
                  </a:lnTo>
                  <a:lnTo>
                    <a:pt x="202" y="246"/>
                  </a:lnTo>
                  <a:lnTo>
                    <a:pt x="208" y="250"/>
                  </a:lnTo>
                  <a:lnTo>
                    <a:pt x="212" y="256"/>
                  </a:lnTo>
                  <a:lnTo>
                    <a:pt x="216" y="262"/>
                  </a:lnTo>
                  <a:lnTo>
                    <a:pt x="218" y="270"/>
                  </a:lnTo>
                  <a:lnTo>
                    <a:pt x="218" y="276"/>
                  </a:lnTo>
                  <a:lnTo>
                    <a:pt x="218" y="278"/>
                  </a:lnTo>
                  <a:lnTo>
                    <a:pt x="218" y="322"/>
                  </a:lnTo>
                  <a:lnTo>
                    <a:pt x="210" y="322"/>
                  </a:lnTo>
                  <a:lnTo>
                    <a:pt x="210" y="322"/>
                  </a:lnTo>
                  <a:lnTo>
                    <a:pt x="206" y="322"/>
                  </a:lnTo>
                  <a:lnTo>
                    <a:pt x="202" y="326"/>
                  </a:lnTo>
                  <a:lnTo>
                    <a:pt x="200" y="328"/>
                  </a:lnTo>
                  <a:lnTo>
                    <a:pt x="198" y="332"/>
                  </a:lnTo>
                  <a:lnTo>
                    <a:pt x="198" y="332"/>
                  </a:lnTo>
                  <a:lnTo>
                    <a:pt x="200" y="338"/>
                  </a:lnTo>
                  <a:lnTo>
                    <a:pt x="202" y="340"/>
                  </a:lnTo>
                  <a:lnTo>
                    <a:pt x="206" y="344"/>
                  </a:lnTo>
                  <a:lnTo>
                    <a:pt x="210" y="344"/>
                  </a:lnTo>
                  <a:lnTo>
                    <a:pt x="218" y="344"/>
                  </a:lnTo>
                  <a:close/>
                  <a:moveTo>
                    <a:pt x="240" y="334"/>
                  </a:moveTo>
                  <a:lnTo>
                    <a:pt x="240" y="390"/>
                  </a:lnTo>
                  <a:lnTo>
                    <a:pt x="240" y="390"/>
                  </a:lnTo>
                  <a:lnTo>
                    <a:pt x="254" y="382"/>
                  </a:lnTo>
                  <a:lnTo>
                    <a:pt x="270" y="372"/>
                  </a:lnTo>
                  <a:lnTo>
                    <a:pt x="282" y="362"/>
                  </a:lnTo>
                  <a:lnTo>
                    <a:pt x="294" y="350"/>
                  </a:lnTo>
                  <a:lnTo>
                    <a:pt x="294" y="250"/>
                  </a:lnTo>
                  <a:lnTo>
                    <a:pt x="294" y="250"/>
                  </a:lnTo>
                  <a:lnTo>
                    <a:pt x="294" y="234"/>
                  </a:lnTo>
                  <a:lnTo>
                    <a:pt x="288" y="218"/>
                  </a:lnTo>
                  <a:lnTo>
                    <a:pt x="282" y="204"/>
                  </a:lnTo>
                  <a:lnTo>
                    <a:pt x="272" y="192"/>
                  </a:lnTo>
                  <a:lnTo>
                    <a:pt x="260" y="182"/>
                  </a:lnTo>
                  <a:lnTo>
                    <a:pt x="246" y="174"/>
                  </a:lnTo>
                  <a:lnTo>
                    <a:pt x="230" y="168"/>
                  </a:lnTo>
                  <a:lnTo>
                    <a:pt x="214" y="166"/>
                  </a:lnTo>
                  <a:lnTo>
                    <a:pt x="192" y="166"/>
                  </a:lnTo>
                  <a:lnTo>
                    <a:pt x="192" y="166"/>
                  </a:lnTo>
                  <a:lnTo>
                    <a:pt x="192" y="168"/>
                  </a:lnTo>
                  <a:lnTo>
                    <a:pt x="192" y="218"/>
                  </a:lnTo>
                  <a:lnTo>
                    <a:pt x="192" y="218"/>
                  </a:lnTo>
                  <a:lnTo>
                    <a:pt x="202" y="222"/>
                  </a:lnTo>
                  <a:lnTo>
                    <a:pt x="212" y="226"/>
                  </a:lnTo>
                  <a:lnTo>
                    <a:pt x="220" y="232"/>
                  </a:lnTo>
                  <a:lnTo>
                    <a:pt x="226" y="238"/>
                  </a:lnTo>
                  <a:lnTo>
                    <a:pt x="232" y="248"/>
                  </a:lnTo>
                  <a:lnTo>
                    <a:pt x="236" y="256"/>
                  </a:lnTo>
                  <a:lnTo>
                    <a:pt x="240" y="266"/>
                  </a:lnTo>
                  <a:lnTo>
                    <a:pt x="240" y="276"/>
                  </a:lnTo>
                  <a:lnTo>
                    <a:pt x="240" y="332"/>
                  </a:lnTo>
                  <a:lnTo>
                    <a:pt x="240" y="332"/>
                  </a:lnTo>
                  <a:lnTo>
                    <a:pt x="240" y="334"/>
                  </a:lnTo>
                  <a:lnTo>
                    <a:pt x="240" y="334"/>
                  </a:lnTo>
                  <a:close/>
                  <a:moveTo>
                    <a:pt x="82" y="106"/>
                  </a:moveTo>
                  <a:lnTo>
                    <a:pt x="82" y="106"/>
                  </a:lnTo>
                  <a:lnTo>
                    <a:pt x="86" y="116"/>
                  </a:lnTo>
                  <a:lnTo>
                    <a:pt x="92" y="122"/>
                  </a:lnTo>
                  <a:lnTo>
                    <a:pt x="100" y="130"/>
                  </a:lnTo>
                  <a:lnTo>
                    <a:pt x="108" y="136"/>
                  </a:lnTo>
                  <a:lnTo>
                    <a:pt x="118" y="140"/>
                  </a:lnTo>
                  <a:lnTo>
                    <a:pt x="126" y="144"/>
                  </a:lnTo>
                  <a:lnTo>
                    <a:pt x="136" y="146"/>
                  </a:lnTo>
                  <a:lnTo>
                    <a:pt x="148" y="148"/>
                  </a:lnTo>
                  <a:lnTo>
                    <a:pt x="148" y="148"/>
                  </a:lnTo>
                  <a:lnTo>
                    <a:pt x="158" y="146"/>
                  </a:lnTo>
                  <a:lnTo>
                    <a:pt x="168" y="144"/>
                  </a:lnTo>
                  <a:lnTo>
                    <a:pt x="178" y="140"/>
                  </a:lnTo>
                  <a:lnTo>
                    <a:pt x="186" y="136"/>
                  </a:lnTo>
                  <a:lnTo>
                    <a:pt x="196" y="130"/>
                  </a:lnTo>
                  <a:lnTo>
                    <a:pt x="202" y="122"/>
                  </a:lnTo>
                  <a:lnTo>
                    <a:pt x="208" y="116"/>
                  </a:lnTo>
                  <a:lnTo>
                    <a:pt x="214" y="106"/>
                  </a:lnTo>
                  <a:lnTo>
                    <a:pt x="214" y="106"/>
                  </a:lnTo>
                  <a:lnTo>
                    <a:pt x="200" y="96"/>
                  </a:lnTo>
                  <a:lnTo>
                    <a:pt x="184" y="90"/>
                  </a:lnTo>
                  <a:lnTo>
                    <a:pt x="166" y="84"/>
                  </a:lnTo>
                  <a:lnTo>
                    <a:pt x="148" y="84"/>
                  </a:lnTo>
                  <a:lnTo>
                    <a:pt x="148" y="84"/>
                  </a:lnTo>
                  <a:lnTo>
                    <a:pt x="130" y="84"/>
                  </a:lnTo>
                  <a:lnTo>
                    <a:pt x="112" y="90"/>
                  </a:lnTo>
                  <a:lnTo>
                    <a:pt x="96" y="96"/>
                  </a:lnTo>
                  <a:lnTo>
                    <a:pt x="82" y="106"/>
                  </a:lnTo>
                  <a:lnTo>
                    <a:pt x="82" y="106"/>
                  </a:lnTo>
                  <a:close/>
                  <a:moveTo>
                    <a:pt x="148" y="0"/>
                  </a:moveTo>
                  <a:lnTo>
                    <a:pt x="148" y="0"/>
                  </a:lnTo>
                  <a:lnTo>
                    <a:pt x="148" y="0"/>
                  </a:lnTo>
                  <a:lnTo>
                    <a:pt x="148" y="0"/>
                  </a:lnTo>
                  <a:lnTo>
                    <a:pt x="162" y="2"/>
                  </a:lnTo>
                  <a:lnTo>
                    <a:pt x="176" y="6"/>
                  </a:lnTo>
                  <a:lnTo>
                    <a:pt x="190" y="12"/>
                  </a:lnTo>
                  <a:lnTo>
                    <a:pt x="200" y="22"/>
                  </a:lnTo>
                  <a:lnTo>
                    <a:pt x="208" y="32"/>
                  </a:lnTo>
                  <a:lnTo>
                    <a:pt x="216" y="44"/>
                  </a:lnTo>
                  <a:lnTo>
                    <a:pt x="220" y="58"/>
                  </a:lnTo>
                  <a:lnTo>
                    <a:pt x="222" y="74"/>
                  </a:lnTo>
                  <a:lnTo>
                    <a:pt x="222" y="74"/>
                  </a:lnTo>
                  <a:lnTo>
                    <a:pt x="220" y="90"/>
                  </a:lnTo>
                  <a:lnTo>
                    <a:pt x="220" y="90"/>
                  </a:lnTo>
                  <a:lnTo>
                    <a:pt x="204" y="80"/>
                  </a:lnTo>
                  <a:lnTo>
                    <a:pt x="186" y="74"/>
                  </a:lnTo>
                  <a:lnTo>
                    <a:pt x="168" y="68"/>
                  </a:lnTo>
                  <a:lnTo>
                    <a:pt x="148" y="68"/>
                  </a:lnTo>
                  <a:lnTo>
                    <a:pt x="148" y="68"/>
                  </a:lnTo>
                  <a:lnTo>
                    <a:pt x="128" y="68"/>
                  </a:lnTo>
                  <a:lnTo>
                    <a:pt x="110" y="74"/>
                  </a:lnTo>
                  <a:lnTo>
                    <a:pt x="92" y="80"/>
                  </a:lnTo>
                  <a:lnTo>
                    <a:pt x="76" y="90"/>
                  </a:lnTo>
                  <a:lnTo>
                    <a:pt x="76" y="90"/>
                  </a:lnTo>
                  <a:lnTo>
                    <a:pt x="74" y="74"/>
                  </a:lnTo>
                  <a:lnTo>
                    <a:pt x="74" y="74"/>
                  </a:lnTo>
                  <a:lnTo>
                    <a:pt x="76" y="58"/>
                  </a:lnTo>
                  <a:lnTo>
                    <a:pt x="80" y="44"/>
                  </a:lnTo>
                  <a:lnTo>
                    <a:pt x="86" y="32"/>
                  </a:lnTo>
                  <a:lnTo>
                    <a:pt x="96" y="22"/>
                  </a:lnTo>
                  <a:lnTo>
                    <a:pt x="106" y="12"/>
                  </a:lnTo>
                  <a:lnTo>
                    <a:pt x="118" y="6"/>
                  </a:lnTo>
                  <a:lnTo>
                    <a:pt x="132" y="2"/>
                  </a:lnTo>
                  <a:lnTo>
                    <a:pt x="148" y="0"/>
                  </a:lnTo>
                  <a:lnTo>
                    <a:pt x="148" y="0"/>
                  </a:lnTo>
                  <a:close/>
                  <a:moveTo>
                    <a:pt x="156" y="28"/>
                  </a:moveTo>
                  <a:lnTo>
                    <a:pt x="156" y="18"/>
                  </a:lnTo>
                  <a:lnTo>
                    <a:pt x="156" y="18"/>
                  </a:lnTo>
                  <a:lnTo>
                    <a:pt x="154" y="16"/>
                  </a:lnTo>
                  <a:lnTo>
                    <a:pt x="152" y="12"/>
                  </a:lnTo>
                  <a:lnTo>
                    <a:pt x="150" y="10"/>
                  </a:lnTo>
                  <a:lnTo>
                    <a:pt x="148" y="10"/>
                  </a:lnTo>
                  <a:lnTo>
                    <a:pt x="148" y="10"/>
                  </a:lnTo>
                  <a:lnTo>
                    <a:pt x="144" y="10"/>
                  </a:lnTo>
                  <a:lnTo>
                    <a:pt x="142" y="12"/>
                  </a:lnTo>
                  <a:lnTo>
                    <a:pt x="140" y="16"/>
                  </a:lnTo>
                  <a:lnTo>
                    <a:pt x="140" y="18"/>
                  </a:lnTo>
                  <a:lnTo>
                    <a:pt x="140" y="28"/>
                  </a:lnTo>
                  <a:lnTo>
                    <a:pt x="130" y="28"/>
                  </a:lnTo>
                  <a:lnTo>
                    <a:pt x="130" y="28"/>
                  </a:lnTo>
                  <a:lnTo>
                    <a:pt x="126" y="28"/>
                  </a:lnTo>
                  <a:lnTo>
                    <a:pt x="124" y="30"/>
                  </a:lnTo>
                  <a:lnTo>
                    <a:pt x="122" y="34"/>
                  </a:lnTo>
                  <a:lnTo>
                    <a:pt x="122" y="36"/>
                  </a:lnTo>
                  <a:lnTo>
                    <a:pt x="122" y="36"/>
                  </a:lnTo>
                  <a:lnTo>
                    <a:pt x="122" y="40"/>
                  </a:lnTo>
                  <a:lnTo>
                    <a:pt x="124" y="42"/>
                  </a:lnTo>
                  <a:lnTo>
                    <a:pt x="126" y="44"/>
                  </a:lnTo>
                  <a:lnTo>
                    <a:pt x="130" y="44"/>
                  </a:lnTo>
                  <a:lnTo>
                    <a:pt x="140" y="44"/>
                  </a:lnTo>
                  <a:lnTo>
                    <a:pt x="140" y="54"/>
                  </a:lnTo>
                  <a:lnTo>
                    <a:pt x="140" y="54"/>
                  </a:lnTo>
                  <a:lnTo>
                    <a:pt x="140" y="58"/>
                  </a:lnTo>
                  <a:lnTo>
                    <a:pt x="142" y="60"/>
                  </a:lnTo>
                  <a:lnTo>
                    <a:pt x="144" y="62"/>
                  </a:lnTo>
                  <a:lnTo>
                    <a:pt x="148" y="62"/>
                  </a:lnTo>
                  <a:lnTo>
                    <a:pt x="148" y="62"/>
                  </a:lnTo>
                  <a:lnTo>
                    <a:pt x="150" y="62"/>
                  </a:lnTo>
                  <a:lnTo>
                    <a:pt x="152" y="60"/>
                  </a:lnTo>
                  <a:lnTo>
                    <a:pt x="154" y="58"/>
                  </a:lnTo>
                  <a:lnTo>
                    <a:pt x="156" y="54"/>
                  </a:lnTo>
                  <a:lnTo>
                    <a:pt x="156" y="44"/>
                  </a:lnTo>
                  <a:lnTo>
                    <a:pt x="166" y="44"/>
                  </a:lnTo>
                  <a:lnTo>
                    <a:pt x="166" y="44"/>
                  </a:lnTo>
                  <a:lnTo>
                    <a:pt x="168" y="44"/>
                  </a:lnTo>
                  <a:lnTo>
                    <a:pt x="170" y="42"/>
                  </a:lnTo>
                  <a:lnTo>
                    <a:pt x="172" y="40"/>
                  </a:lnTo>
                  <a:lnTo>
                    <a:pt x="174" y="36"/>
                  </a:lnTo>
                  <a:lnTo>
                    <a:pt x="174" y="36"/>
                  </a:lnTo>
                  <a:lnTo>
                    <a:pt x="172" y="34"/>
                  </a:lnTo>
                  <a:lnTo>
                    <a:pt x="170" y="30"/>
                  </a:lnTo>
                  <a:lnTo>
                    <a:pt x="168" y="28"/>
                  </a:lnTo>
                  <a:lnTo>
                    <a:pt x="166" y="28"/>
                  </a:lnTo>
                  <a:lnTo>
                    <a:pt x="156" y="2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91" name="Group 90">
            <a:extLst>
              <a:ext uri="{FF2B5EF4-FFF2-40B4-BE49-F238E27FC236}">
                <a16:creationId xmlns:a16="http://schemas.microsoft.com/office/drawing/2014/main" id="{8C9BD610-0C0E-475F-A8C2-42D32B90F781}"/>
              </a:ext>
            </a:extLst>
          </p:cNvPr>
          <p:cNvGrpSpPr/>
          <p:nvPr/>
        </p:nvGrpSpPr>
        <p:grpSpPr>
          <a:xfrm>
            <a:off x="6911559" y="1595303"/>
            <a:ext cx="612000" cy="612000"/>
            <a:chOff x="5841085" y="2258092"/>
            <a:chExt cx="612000" cy="612000"/>
          </a:xfrm>
        </p:grpSpPr>
        <p:sp>
          <p:nvSpPr>
            <p:cNvPr id="92" name="Oval 91">
              <a:extLst>
                <a:ext uri="{FF2B5EF4-FFF2-40B4-BE49-F238E27FC236}">
                  <a16:creationId xmlns:a16="http://schemas.microsoft.com/office/drawing/2014/main" id="{3D798261-C947-4122-A7AA-FB401AC17E95}"/>
                </a:ext>
              </a:extLst>
            </p:cNvPr>
            <p:cNvSpPr/>
            <p:nvPr/>
          </p:nvSpPr>
          <p:spPr bwMode="ltGray">
            <a:xfrm>
              <a:off x="5841085"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93" name="Freeform 4860">
              <a:extLst>
                <a:ext uri="{FF2B5EF4-FFF2-40B4-BE49-F238E27FC236}">
                  <a16:creationId xmlns:a16="http://schemas.microsoft.com/office/drawing/2014/main" id="{70A5CC89-3FC8-4222-920C-873199B87B32}"/>
                </a:ext>
              </a:extLst>
            </p:cNvPr>
            <p:cNvSpPr>
              <a:spLocks noEditPoints="1"/>
            </p:cNvSpPr>
            <p:nvPr/>
          </p:nvSpPr>
          <p:spPr bwMode="auto">
            <a:xfrm>
              <a:off x="5976262" y="2329213"/>
              <a:ext cx="341646" cy="487028"/>
            </a:xfrm>
            <a:custGeom>
              <a:avLst/>
              <a:gdLst>
                <a:gd name="T0" fmla="*/ 260 w 282"/>
                <a:gd name="T1" fmla="*/ 364 h 402"/>
                <a:gd name="T2" fmla="*/ 196 w 282"/>
                <a:gd name="T3" fmla="*/ 314 h 402"/>
                <a:gd name="T4" fmla="*/ 200 w 282"/>
                <a:gd name="T5" fmla="*/ 394 h 402"/>
                <a:gd name="T6" fmla="*/ 142 w 282"/>
                <a:gd name="T7" fmla="*/ 402 h 402"/>
                <a:gd name="T8" fmla="*/ 102 w 282"/>
                <a:gd name="T9" fmla="*/ 398 h 402"/>
                <a:gd name="T10" fmla="*/ 86 w 282"/>
                <a:gd name="T11" fmla="*/ 314 h 402"/>
                <a:gd name="T12" fmla="*/ 46 w 282"/>
                <a:gd name="T13" fmla="*/ 378 h 402"/>
                <a:gd name="T14" fmla="*/ 20 w 282"/>
                <a:gd name="T15" fmla="*/ 282 h 402"/>
                <a:gd name="T16" fmla="*/ 30 w 282"/>
                <a:gd name="T17" fmla="*/ 264 h 402"/>
                <a:gd name="T18" fmla="*/ 56 w 282"/>
                <a:gd name="T19" fmla="*/ 236 h 402"/>
                <a:gd name="T20" fmla="*/ 98 w 282"/>
                <a:gd name="T21" fmla="*/ 224 h 402"/>
                <a:gd name="T22" fmla="*/ 200 w 282"/>
                <a:gd name="T23" fmla="*/ 226 h 402"/>
                <a:gd name="T24" fmla="*/ 238 w 282"/>
                <a:gd name="T25" fmla="*/ 244 h 402"/>
                <a:gd name="T26" fmla="*/ 258 w 282"/>
                <a:gd name="T27" fmla="*/ 272 h 402"/>
                <a:gd name="T28" fmla="*/ 142 w 282"/>
                <a:gd name="T29" fmla="*/ 96 h 402"/>
                <a:gd name="T30" fmla="*/ 118 w 282"/>
                <a:gd name="T31" fmla="*/ 100 h 402"/>
                <a:gd name="T32" fmla="*/ 94 w 282"/>
                <a:gd name="T33" fmla="*/ 120 h 402"/>
                <a:gd name="T34" fmla="*/ 84 w 282"/>
                <a:gd name="T35" fmla="*/ 154 h 402"/>
                <a:gd name="T36" fmla="*/ 88 w 282"/>
                <a:gd name="T37" fmla="*/ 176 h 402"/>
                <a:gd name="T38" fmla="*/ 108 w 282"/>
                <a:gd name="T39" fmla="*/ 202 h 402"/>
                <a:gd name="T40" fmla="*/ 142 w 282"/>
                <a:gd name="T41" fmla="*/ 212 h 402"/>
                <a:gd name="T42" fmla="*/ 164 w 282"/>
                <a:gd name="T43" fmla="*/ 206 h 402"/>
                <a:gd name="T44" fmla="*/ 190 w 282"/>
                <a:gd name="T45" fmla="*/ 186 h 402"/>
                <a:gd name="T46" fmla="*/ 200 w 282"/>
                <a:gd name="T47" fmla="*/ 154 h 402"/>
                <a:gd name="T48" fmla="*/ 194 w 282"/>
                <a:gd name="T49" fmla="*/ 130 h 402"/>
                <a:gd name="T50" fmla="*/ 174 w 282"/>
                <a:gd name="T51" fmla="*/ 106 h 402"/>
                <a:gd name="T52" fmla="*/ 142 w 282"/>
                <a:gd name="T53" fmla="*/ 96 h 402"/>
                <a:gd name="T54" fmla="*/ 142 w 282"/>
                <a:gd name="T55" fmla="*/ 0 h 402"/>
                <a:gd name="T56" fmla="*/ 180 w 282"/>
                <a:gd name="T57" fmla="*/ 20 h 402"/>
                <a:gd name="T58" fmla="*/ 196 w 282"/>
                <a:gd name="T59" fmla="*/ 102 h 402"/>
                <a:gd name="T60" fmla="*/ 172 w 282"/>
                <a:gd name="T61" fmla="*/ 84 h 402"/>
                <a:gd name="T62" fmla="*/ 142 w 282"/>
                <a:gd name="T63" fmla="*/ 78 h 402"/>
                <a:gd name="T64" fmla="*/ 98 w 282"/>
                <a:gd name="T65" fmla="*/ 92 h 402"/>
                <a:gd name="T66" fmla="*/ 58 w 282"/>
                <a:gd name="T67" fmla="*/ 42 h 402"/>
                <a:gd name="T68" fmla="*/ 112 w 282"/>
                <a:gd name="T69" fmla="*/ 0 h 402"/>
                <a:gd name="T70" fmla="*/ 114 w 282"/>
                <a:gd name="T71" fmla="*/ 44 h 402"/>
                <a:gd name="T72" fmla="*/ 122 w 282"/>
                <a:gd name="T73" fmla="*/ 50 h 402"/>
                <a:gd name="T74" fmla="*/ 134 w 282"/>
                <a:gd name="T75" fmla="*/ 62 h 402"/>
                <a:gd name="T76" fmla="*/ 138 w 282"/>
                <a:gd name="T77" fmla="*/ 68 h 402"/>
                <a:gd name="T78" fmla="*/ 144 w 282"/>
                <a:gd name="T79" fmla="*/ 68 h 402"/>
                <a:gd name="T80" fmla="*/ 150 w 282"/>
                <a:gd name="T81" fmla="*/ 62 h 402"/>
                <a:gd name="T82" fmla="*/ 162 w 282"/>
                <a:gd name="T83" fmla="*/ 50 h 402"/>
                <a:gd name="T84" fmla="*/ 168 w 282"/>
                <a:gd name="T85" fmla="*/ 44 h 402"/>
                <a:gd name="T86" fmla="*/ 168 w 282"/>
                <a:gd name="T87" fmla="*/ 38 h 402"/>
                <a:gd name="T88" fmla="*/ 162 w 282"/>
                <a:gd name="T89" fmla="*/ 34 h 402"/>
                <a:gd name="T90" fmla="*/ 150 w 282"/>
                <a:gd name="T91" fmla="*/ 22 h 402"/>
                <a:gd name="T92" fmla="*/ 144 w 282"/>
                <a:gd name="T93" fmla="*/ 14 h 402"/>
                <a:gd name="T94" fmla="*/ 138 w 282"/>
                <a:gd name="T95" fmla="*/ 14 h 402"/>
                <a:gd name="T96" fmla="*/ 134 w 282"/>
                <a:gd name="T97" fmla="*/ 22 h 402"/>
                <a:gd name="T98" fmla="*/ 122 w 282"/>
                <a:gd name="T99" fmla="*/ 34 h 402"/>
                <a:gd name="T100" fmla="*/ 114 w 282"/>
                <a:gd name="T101" fmla="*/ 3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82" h="402">
                  <a:moveTo>
                    <a:pt x="282" y="346"/>
                  </a:moveTo>
                  <a:lnTo>
                    <a:pt x="282" y="346"/>
                  </a:lnTo>
                  <a:lnTo>
                    <a:pt x="260" y="364"/>
                  </a:lnTo>
                  <a:lnTo>
                    <a:pt x="236" y="378"/>
                  </a:lnTo>
                  <a:lnTo>
                    <a:pt x="218" y="314"/>
                  </a:lnTo>
                  <a:lnTo>
                    <a:pt x="196" y="314"/>
                  </a:lnTo>
                  <a:lnTo>
                    <a:pt x="218" y="388"/>
                  </a:lnTo>
                  <a:lnTo>
                    <a:pt x="218" y="388"/>
                  </a:lnTo>
                  <a:lnTo>
                    <a:pt x="200" y="394"/>
                  </a:lnTo>
                  <a:lnTo>
                    <a:pt x="180" y="398"/>
                  </a:lnTo>
                  <a:lnTo>
                    <a:pt x="162" y="402"/>
                  </a:lnTo>
                  <a:lnTo>
                    <a:pt x="142" y="402"/>
                  </a:lnTo>
                  <a:lnTo>
                    <a:pt x="142" y="402"/>
                  </a:lnTo>
                  <a:lnTo>
                    <a:pt x="122" y="402"/>
                  </a:lnTo>
                  <a:lnTo>
                    <a:pt x="102" y="398"/>
                  </a:lnTo>
                  <a:lnTo>
                    <a:pt x="82" y="394"/>
                  </a:lnTo>
                  <a:lnTo>
                    <a:pt x="64" y="388"/>
                  </a:lnTo>
                  <a:lnTo>
                    <a:pt x="86" y="314"/>
                  </a:lnTo>
                  <a:lnTo>
                    <a:pt x="66" y="314"/>
                  </a:lnTo>
                  <a:lnTo>
                    <a:pt x="46" y="378"/>
                  </a:lnTo>
                  <a:lnTo>
                    <a:pt x="46" y="378"/>
                  </a:lnTo>
                  <a:lnTo>
                    <a:pt x="22" y="364"/>
                  </a:lnTo>
                  <a:lnTo>
                    <a:pt x="0" y="348"/>
                  </a:lnTo>
                  <a:lnTo>
                    <a:pt x="20" y="282"/>
                  </a:lnTo>
                  <a:lnTo>
                    <a:pt x="20" y="282"/>
                  </a:lnTo>
                  <a:lnTo>
                    <a:pt x="24" y="272"/>
                  </a:lnTo>
                  <a:lnTo>
                    <a:pt x="30" y="264"/>
                  </a:lnTo>
                  <a:lnTo>
                    <a:pt x="36" y="254"/>
                  </a:lnTo>
                  <a:lnTo>
                    <a:pt x="44" y="244"/>
                  </a:lnTo>
                  <a:lnTo>
                    <a:pt x="56" y="236"/>
                  </a:lnTo>
                  <a:lnTo>
                    <a:pt x="68" y="230"/>
                  </a:lnTo>
                  <a:lnTo>
                    <a:pt x="82" y="226"/>
                  </a:lnTo>
                  <a:lnTo>
                    <a:pt x="98" y="224"/>
                  </a:lnTo>
                  <a:lnTo>
                    <a:pt x="184" y="224"/>
                  </a:lnTo>
                  <a:lnTo>
                    <a:pt x="184" y="224"/>
                  </a:lnTo>
                  <a:lnTo>
                    <a:pt x="200" y="226"/>
                  </a:lnTo>
                  <a:lnTo>
                    <a:pt x="214" y="230"/>
                  </a:lnTo>
                  <a:lnTo>
                    <a:pt x="226" y="236"/>
                  </a:lnTo>
                  <a:lnTo>
                    <a:pt x="238" y="244"/>
                  </a:lnTo>
                  <a:lnTo>
                    <a:pt x="246" y="254"/>
                  </a:lnTo>
                  <a:lnTo>
                    <a:pt x="254" y="264"/>
                  </a:lnTo>
                  <a:lnTo>
                    <a:pt x="258" y="272"/>
                  </a:lnTo>
                  <a:lnTo>
                    <a:pt x="262" y="282"/>
                  </a:lnTo>
                  <a:lnTo>
                    <a:pt x="282" y="346"/>
                  </a:lnTo>
                  <a:close/>
                  <a:moveTo>
                    <a:pt x="142" y="96"/>
                  </a:moveTo>
                  <a:lnTo>
                    <a:pt x="142" y="96"/>
                  </a:lnTo>
                  <a:lnTo>
                    <a:pt x="130" y="96"/>
                  </a:lnTo>
                  <a:lnTo>
                    <a:pt x="118" y="100"/>
                  </a:lnTo>
                  <a:lnTo>
                    <a:pt x="108" y="106"/>
                  </a:lnTo>
                  <a:lnTo>
                    <a:pt x="100" y="112"/>
                  </a:lnTo>
                  <a:lnTo>
                    <a:pt x="94" y="120"/>
                  </a:lnTo>
                  <a:lnTo>
                    <a:pt x="88" y="130"/>
                  </a:lnTo>
                  <a:lnTo>
                    <a:pt x="84" y="142"/>
                  </a:lnTo>
                  <a:lnTo>
                    <a:pt x="84" y="154"/>
                  </a:lnTo>
                  <a:lnTo>
                    <a:pt x="84" y="154"/>
                  </a:lnTo>
                  <a:lnTo>
                    <a:pt x="84" y="164"/>
                  </a:lnTo>
                  <a:lnTo>
                    <a:pt x="88" y="176"/>
                  </a:lnTo>
                  <a:lnTo>
                    <a:pt x="94" y="186"/>
                  </a:lnTo>
                  <a:lnTo>
                    <a:pt x="100" y="194"/>
                  </a:lnTo>
                  <a:lnTo>
                    <a:pt x="108" y="202"/>
                  </a:lnTo>
                  <a:lnTo>
                    <a:pt x="118" y="206"/>
                  </a:lnTo>
                  <a:lnTo>
                    <a:pt x="130" y="210"/>
                  </a:lnTo>
                  <a:lnTo>
                    <a:pt x="142" y="212"/>
                  </a:lnTo>
                  <a:lnTo>
                    <a:pt x="142" y="212"/>
                  </a:lnTo>
                  <a:lnTo>
                    <a:pt x="152" y="210"/>
                  </a:lnTo>
                  <a:lnTo>
                    <a:pt x="164" y="206"/>
                  </a:lnTo>
                  <a:lnTo>
                    <a:pt x="174" y="202"/>
                  </a:lnTo>
                  <a:lnTo>
                    <a:pt x="182" y="194"/>
                  </a:lnTo>
                  <a:lnTo>
                    <a:pt x="190" y="186"/>
                  </a:lnTo>
                  <a:lnTo>
                    <a:pt x="194" y="176"/>
                  </a:lnTo>
                  <a:lnTo>
                    <a:pt x="198" y="164"/>
                  </a:lnTo>
                  <a:lnTo>
                    <a:pt x="200" y="154"/>
                  </a:lnTo>
                  <a:lnTo>
                    <a:pt x="200" y="154"/>
                  </a:lnTo>
                  <a:lnTo>
                    <a:pt x="198" y="142"/>
                  </a:lnTo>
                  <a:lnTo>
                    <a:pt x="194" y="130"/>
                  </a:lnTo>
                  <a:lnTo>
                    <a:pt x="190" y="120"/>
                  </a:lnTo>
                  <a:lnTo>
                    <a:pt x="182" y="112"/>
                  </a:lnTo>
                  <a:lnTo>
                    <a:pt x="174" y="106"/>
                  </a:lnTo>
                  <a:lnTo>
                    <a:pt x="164" y="100"/>
                  </a:lnTo>
                  <a:lnTo>
                    <a:pt x="152" y="96"/>
                  </a:lnTo>
                  <a:lnTo>
                    <a:pt x="142" y="96"/>
                  </a:lnTo>
                  <a:lnTo>
                    <a:pt x="142" y="96"/>
                  </a:lnTo>
                  <a:close/>
                  <a:moveTo>
                    <a:pt x="112" y="0"/>
                  </a:moveTo>
                  <a:lnTo>
                    <a:pt x="142" y="0"/>
                  </a:lnTo>
                  <a:lnTo>
                    <a:pt x="172" y="0"/>
                  </a:lnTo>
                  <a:lnTo>
                    <a:pt x="180" y="20"/>
                  </a:lnTo>
                  <a:lnTo>
                    <a:pt x="180" y="20"/>
                  </a:lnTo>
                  <a:lnTo>
                    <a:pt x="204" y="28"/>
                  </a:lnTo>
                  <a:lnTo>
                    <a:pt x="224" y="42"/>
                  </a:lnTo>
                  <a:lnTo>
                    <a:pt x="196" y="102"/>
                  </a:lnTo>
                  <a:lnTo>
                    <a:pt x="196" y="102"/>
                  </a:lnTo>
                  <a:lnTo>
                    <a:pt x="186" y="92"/>
                  </a:lnTo>
                  <a:lnTo>
                    <a:pt x="172" y="84"/>
                  </a:lnTo>
                  <a:lnTo>
                    <a:pt x="158" y="80"/>
                  </a:lnTo>
                  <a:lnTo>
                    <a:pt x="142" y="78"/>
                  </a:lnTo>
                  <a:lnTo>
                    <a:pt x="142" y="78"/>
                  </a:lnTo>
                  <a:lnTo>
                    <a:pt x="126" y="80"/>
                  </a:lnTo>
                  <a:lnTo>
                    <a:pt x="110" y="84"/>
                  </a:lnTo>
                  <a:lnTo>
                    <a:pt x="98" y="92"/>
                  </a:lnTo>
                  <a:lnTo>
                    <a:pt x="86" y="102"/>
                  </a:lnTo>
                  <a:lnTo>
                    <a:pt x="58" y="42"/>
                  </a:lnTo>
                  <a:lnTo>
                    <a:pt x="58" y="42"/>
                  </a:lnTo>
                  <a:lnTo>
                    <a:pt x="80" y="28"/>
                  </a:lnTo>
                  <a:lnTo>
                    <a:pt x="102" y="20"/>
                  </a:lnTo>
                  <a:lnTo>
                    <a:pt x="112" y="0"/>
                  </a:lnTo>
                  <a:close/>
                  <a:moveTo>
                    <a:pt x="114" y="42"/>
                  </a:moveTo>
                  <a:lnTo>
                    <a:pt x="114" y="42"/>
                  </a:lnTo>
                  <a:lnTo>
                    <a:pt x="114" y="44"/>
                  </a:lnTo>
                  <a:lnTo>
                    <a:pt x="116" y="48"/>
                  </a:lnTo>
                  <a:lnTo>
                    <a:pt x="118" y="48"/>
                  </a:lnTo>
                  <a:lnTo>
                    <a:pt x="122" y="50"/>
                  </a:lnTo>
                  <a:lnTo>
                    <a:pt x="134" y="50"/>
                  </a:lnTo>
                  <a:lnTo>
                    <a:pt x="134" y="62"/>
                  </a:lnTo>
                  <a:lnTo>
                    <a:pt x="134" y="62"/>
                  </a:lnTo>
                  <a:lnTo>
                    <a:pt x="134" y="64"/>
                  </a:lnTo>
                  <a:lnTo>
                    <a:pt x="136" y="68"/>
                  </a:lnTo>
                  <a:lnTo>
                    <a:pt x="138" y="68"/>
                  </a:lnTo>
                  <a:lnTo>
                    <a:pt x="142" y="70"/>
                  </a:lnTo>
                  <a:lnTo>
                    <a:pt x="142" y="70"/>
                  </a:lnTo>
                  <a:lnTo>
                    <a:pt x="144" y="68"/>
                  </a:lnTo>
                  <a:lnTo>
                    <a:pt x="148" y="68"/>
                  </a:lnTo>
                  <a:lnTo>
                    <a:pt x="148" y="64"/>
                  </a:lnTo>
                  <a:lnTo>
                    <a:pt x="150" y="62"/>
                  </a:lnTo>
                  <a:lnTo>
                    <a:pt x="150" y="50"/>
                  </a:lnTo>
                  <a:lnTo>
                    <a:pt x="162" y="50"/>
                  </a:lnTo>
                  <a:lnTo>
                    <a:pt x="162" y="50"/>
                  </a:lnTo>
                  <a:lnTo>
                    <a:pt x="164" y="48"/>
                  </a:lnTo>
                  <a:lnTo>
                    <a:pt x="168" y="48"/>
                  </a:lnTo>
                  <a:lnTo>
                    <a:pt x="168" y="44"/>
                  </a:lnTo>
                  <a:lnTo>
                    <a:pt x="170" y="42"/>
                  </a:lnTo>
                  <a:lnTo>
                    <a:pt x="170" y="42"/>
                  </a:lnTo>
                  <a:lnTo>
                    <a:pt x="168" y="38"/>
                  </a:lnTo>
                  <a:lnTo>
                    <a:pt x="168" y="36"/>
                  </a:lnTo>
                  <a:lnTo>
                    <a:pt x="164" y="34"/>
                  </a:lnTo>
                  <a:lnTo>
                    <a:pt x="162" y="34"/>
                  </a:lnTo>
                  <a:lnTo>
                    <a:pt x="150" y="34"/>
                  </a:lnTo>
                  <a:lnTo>
                    <a:pt x="150" y="22"/>
                  </a:lnTo>
                  <a:lnTo>
                    <a:pt x="150" y="22"/>
                  </a:lnTo>
                  <a:lnTo>
                    <a:pt x="148" y="18"/>
                  </a:lnTo>
                  <a:lnTo>
                    <a:pt x="148" y="16"/>
                  </a:lnTo>
                  <a:lnTo>
                    <a:pt x="144" y="14"/>
                  </a:lnTo>
                  <a:lnTo>
                    <a:pt x="142" y="14"/>
                  </a:lnTo>
                  <a:lnTo>
                    <a:pt x="142" y="14"/>
                  </a:lnTo>
                  <a:lnTo>
                    <a:pt x="138" y="14"/>
                  </a:lnTo>
                  <a:lnTo>
                    <a:pt x="136" y="16"/>
                  </a:lnTo>
                  <a:lnTo>
                    <a:pt x="134" y="18"/>
                  </a:lnTo>
                  <a:lnTo>
                    <a:pt x="134" y="22"/>
                  </a:lnTo>
                  <a:lnTo>
                    <a:pt x="134" y="34"/>
                  </a:lnTo>
                  <a:lnTo>
                    <a:pt x="122" y="34"/>
                  </a:lnTo>
                  <a:lnTo>
                    <a:pt x="122" y="34"/>
                  </a:lnTo>
                  <a:lnTo>
                    <a:pt x="118" y="34"/>
                  </a:lnTo>
                  <a:lnTo>
                    <a:pt x="116" y="36"/>
                  </a:lnTo>
                  <a:lnTo>
                    <a:pt x="114" y="38"/>
                  </a:lnTo>
                  <a:lnTo>
                    <a:pt x="114" y="42"/>
                  </a:lnTo>
                  <a:lnTo>
                    <a:pt x="114" y="4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94" name="Group 93">
            <a:extLst>
              <a:ext uri="{FF2B5EF4-FFF2-40B4-BE49-F238E27FC236}">
                <a16:creationId xmlns:a16="http://schemas.microsoft.com/office/drawing/2014/main" id="{6BE6D9A3-A2C2-4A2E-97E1-EC71678FA276}"/>
              </a:ext>
            </a:extLst>
          </p:cNvPr>
          <p:cNvGrpSpPr/>
          <p:nvPr/>
        </p:nvGrpSpPr>
        <p:grpSpPr>
          <a:xfrm>
            <a:off x="7793257" y="1597830"/>
            <a:ext cx="612000" cy="612000"/>
            <a:chOff x="7573215" y="2258092"/>
            <a:chExt cx="612000" cy="612000"/>
          </a:xfrm>
          <a:noFill/>
        </p:grpSpPr>
        <p:sp>
          <p:nvSpPr>
            <p:cNvPr id="95" name="Oval 94">
              <a:extLst>
                <a:ext uri="{FF2B5EF4-FFF2-40B4-BE49-F238E27FC236}">
                  <a16:creationId xmlns:a16="http://schemas.microsoft.com/office/drawing/2014/main" id="{67E34663-38C0-4824-993B-4813B500530F}"/>
                </a:ext>
              </a:extLst>
            </p:cNvPr>
            <p:cNvSpPr/>
            <p:nvPr/>
          </p:nvSpPr>
          <p:spPr bwMode="ltGray">
            <a:xfrm>
              <a:off x="7573215" y="2258092"/>
              <a:ext cx="612000" cy="612000"/>
            </a:xfrm>
            <a:prstGeom prst="ellipse">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grpSp>
          <p:nvGrpSpPr>
            <p:cNvPr id="96" name="Group 95">
              <a:extLst>
                <a:ext uri="{FF2B5EF4-FFF2-40B4-BE49-F238E27FC236}">
                  <a16:creationId xmlns:a16="http://schemas.microsoft.com/office/drawing/2014/main" id="{1781EC98-0CCA-40E0-882D-3FE3851DEA19}"/>
                </a:ext>
              </a:extLst>
            </p:cNvPr>
            <p:cNvGrpSpPr/>
            <p:nvPr/>
          </p:nvGrpSpPr>
          <p:grpSpPr>
            <a:xfrm>
              <a:off x="7642971" y="2426134"/>
              <a:ext cx="472489" cy="281071"/>
              <a:chOff x="7646776" y="2426134"/>
              <a:chExt cx="472489" cy="281071"/>
            </a:xfrm>
            <a:grpFill/>
          </p:grpSpPr>
          <p:sp>
            <p:nvSpPr>
              <p:cNvPr id="97" name="Freeform 4862">
                <a:extLst>
                  <a:ext uri="{FF2B5EF4-FFF2-40B4-BE49-F238E27FC236}">
                    <a16:creationId xmlns:a16="http://schemas.microsoft.com/office/drawing/2014/main" id="{7211B669-F40B-4841-87F9-0BE3287F27CB}"/>
                  </a:ext>
                </a:extLst>
              </p:cNvPr>
              <p:cNvSpPr>
                <a:spLocks noEditPoints="1"/>
              </p:cNvSpPr>
              <p:nvPr/>
            </p:nvSpPr>
            <p:spPr bwMode="auto">
              <a:xfrm>
                <a:off x="7646776" y="2426134"/>
                <a:ext cx="472489" cy="281071"/>
              </a:xfrm>
              <a:custGeom>
                <a:avLst/>
                <a:gdLst>
                  <a:gd name="T0" fmla="*/ 98 w 390"/>
                  <a:gd name="T1" fmla="*/ 176 h 232"/>
                  <a:gd name="T2" fmla="*/ 114 w 390"/>
                  <a:gd name="T3" fmla="*/ 204 h 232"/>
                  <a:gd name="T4" fmla="*/ 106 w 390"/>
                  <a:gd name="T5" fmla="*/ 224 h 232"/>
                  <a:gd name="T6" fmla="*/ 86 w 390"/>
                  <a:gd name="T7" fmla="*/ 232 h 232"/>
                  <a:gd name="T8" fmla="*/ 60 w 390"/>
                  <a:gd name="T9" fmla="*/ 214 h 232"/>
                  <a:gd name="T10" fmla="*/ 60 w 390"/>
                  <a:gd name="T11" fmla="*/ 192 h 232"/>
                  <a:gd name="T12" fmla="*/ 86 w 390"/>
                  <a:gd name="T13" fmla="*/ 174 h 232"/>
                  <a:gd name="T14" fmla="*/ 318 w 390"/>
                  <a:gd name="T15" fmla="*/ 176 h 232"/>
                  <a:gd name="T16" fmla="*/ 334 w 390"/>
                  <a:gd name="T17" fmla="*/ 204 h 232"/>
                  <a:gd name="T18" fmla="*/ 326 w 390"/>
                  <a:gd name="T19" fmla="*/ 224 h 232"/>
                  <a:gd name="T20" fmla="*/ 306 w 390"/>
                  <a:gd name="T21" fmla="*/ 232 h 232"/>
                  <a:gd name="T22" fmla="*/ 280 w 390"/>
                  <a:gd name="T23" fmla="*/ 214 h 232"/>
                  <a:gd name="T24" fmla="*/ 280 w 390"/>
                  <a:gd name="T25" fmla="*/ 192 h 232"/>
                  <a:gd name="T26" fmla="*/ 306 w 390"/>
                  <a:gd name="T27" fmla="*/ 174 h 232"/>
                  <a:gd name="T28" fmla="*/ 296 w 390"/>
                  <a:gd name="T29" fmla="*/ 70 h 232"/>
                  <a:gd name="T30" fmla="*/ 296 w 390"/>
                  <a:gd name="T31" fmla="*/ 90 h 232"/>
                  <a:gd name="T32" fmla="*/ 316 w 390"/>
                  <a:gd name="T33" fmla="*/ 90 h 232"/>
                  <a:gd name="T34" fmla="*/ 316 w 390"/>
                  <a:gd name="T35" fmla="*/ 70 h 232"/>
                  <a:gd name="T36" fmla="*/ 138 w 390"/>
                  <a:gd name="T37" fmla="*/ 0 h 232"/>
                  <a:gd name="T38" fmla="*/ 130 w 390"/>
                  <a:gd name="T39" fmla="*/ 2 h 232"/>
                  <a:gd name="T40" fmla="*/ 14 w 390"/>
                  <a:gd name="T41" fmla="*/ 90 h 232"/>
                  <a:gd name="T42" fmla="*/ 8 w 390"/>
                  <a:gd name="T43" fmla="*/ 94 h 232"/>
                  <a:gd name="T44" fmla="*/ 0 w 390"/>
                  <a:gd name="T45" fmla="*/ 108 h 232"/>
                  <a:gd name="T46" fmla="*/ 2 w 390"/>
                  <a:gd name="T47" fmla="*/ 192 h 232"/>
                  <a:gd name="T48" fmla="*/ 20 w 390"/>
                  <a:gd name="T49" fmla="*/ 204 h 232"/>
                  <a:gd name="T50" fmla="*/ 38 w 390"/>
                  <a:gd name="T51" fmla="*/ 204 h 232"/>
                  <a:gd name="T52" fmla="*/ 40 w 390"/>
                  <a:gd name="T53" fmla="*/ 184 h 232"/>
                  <a:gd name="T54" fmla="*/ 58 w 390"/>
                  <a:gd name="T55" fmla="*/ 162 h 232"/>
                  <a:gd name="T56" fmla="*/ 86 w 390"/>
                  <a:gd name="T57" fmla="*/ 154 h 232"/>
                  <a:gd name="T58" fmla="*/ 104 w 390"/>
                  <a:gd name="T59" fmla="*/ 158 h 232"/>
                  <a:gd name="T60" fmla="*/ 126 w 390"/>
                  <a:gd name="T61" fmla="*/ 176 h 232"/>
                  <a:gd name="T62" fmla="*/ 134 w 390"/>
                  <a:gd name="T63" fmla="*/ 204 h 232"/>
                  <a:gd name="T64" fmla="*/ 262 w 390"/>
                  <a:gd name="T65" fmla="*/ 204 h 232"/>
                  <a:gd name="T66" fmla="*/ 262 w 390"/>
                  <a:gd name="T67" fmla="*/ 204 h 232"/>
                  <a:gd name="T68" fmla="*/ 268 w 390"/>
                  <a:gd name="T69" fmla="*/ 178 h 232"/>
                  <a:gd name="T70" fmla="*/ 288 w 390"/>
                  <a:gd name="T71" fmla="*/ 162 h 232"/>
                  <a:gd name="T72" fmla="*/ 306 w 390"/>
                  <a:gd name="T73" fmla="*/ 158 h 232"/>
                  <a:gd name="T74" fmla="*/ 332 w 390"/>
                  <a:gd name="T75" fmla="*/ 166 h 232"/>
                  <a:gd name="T76" fmla="*/ 348 w 390"/>
                  <a:gd name="T77" fmla="*/ 186 h 232"/>
                  <a:gd name="T78" fmla="*/ 350 w 390"/>
                  <a:gd name="T79" fmla="*/ 204 h 232"/>
                  <a:gd name="T80" fmla="*/ 370 w 390"/>
                  <a:gd name="T81" fmla="*/ 204 h 232"/>
                  <a:gd name="T82" fmla="*/ 388 w 390"/>
                  <a:gd name="T83" fmla="*/ 192 h 232"/>
                  <a:gd name="T84" fmla="*/ 390 w 390"/>
                  <a:gd name="T85" fmla="*/ 20 h 232"/>
                  <a:gd name="T86" fmla="*/ 378 w 390"/>
                  <a:gd name="T87" fmla="*/ 0 h 232"/>
                  <a:gd name="T88" fmla="*/ 140 w 390"/>
                  <a:gd name="T89" fmla="*/ 74 h 232"/>
                  <a:gd name="T90" fmla="*/ 140 w 390"/>
                  <a:gd name="T91" fmla="*/ 74 h 232"/>
                  <a:gd name="T92" fmla="*/ 294 w 390"/>
                  <a:gd name="T93" fmla="*/ 136 h 232"/>
                  <a:gd name="T94" fmla="*/ 266 w 390"/>
                  <a:gd name="T95" fmla="*/ 122 h 232"/>
                  <a:gd name="T96" fmla="*/ 250 w 390"/>
                  <a:gd name="T97" fmla="*/ 92 h 232"/>
                  <a:gd name="T98" fmla="*/ 250 w 390"/>
                  <a:gd name="T99" fmla="*/ 68 h 232"/>
                  <a:gd name="T100" fmla="*/ 266 w 390"/>
                  <a:gd name="T101" fmla="*/ 40 h 232"/>
                  <a:gd name="T102" fmla="*/ 294 w 390"/>
                  <a:gd name="T103" fmla="*/ 24 h 232"/>
                  <a:gd name="T104" fmla="*/ 318 w 390"/>
                  <a:gd name="T105" fmla="*/ 24 h 232"/>
                  <a:gd name="T106" fmla="*/ 346 w 390"/>
                  <a:gd name="T107" fmla="*/ 40 h 232"/>
                  <a:gd name="T108" fmla="*/ 362 w 390"/>
                  <a:gd name="T109" fmla="*/ 68 h 232"/>
                  <a:gd name="T110" fmla="*/ 362 w 390"/>
                  <a:gd name="T111" fmla="*/ 92 h 232"/>
                  <a:gd name="T112" fmla="*/ 346 w 390"/>
                  <a:gd name="T113" fmla="*/ 122 h 232"/>
                  <a:gd name="T114" fmla="*/ 318 w 390"/>
                  <a:gd name="T115" fmla="*/ 13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90" h="232">
                    <a:moveTo>
                      <a:pt x="86" y="174"/>
                    </a:moveTo>
                    <a:lnTo>
                      <a:pt x="86" y="174"/>
                    </a:lnTo>
                    <a:lnTo>
                      <a:pt x="98" y="176"/>
                    </a:lnTo>
                    <a:lnTo>
                      <a:pt x="106" y="182"/>
                    </a:lnTo>
                    <a:lnTo>
                      <a:pt x="112" y="192"/>
                    </a:lnTo>
                    <a:lnTo>
                      <a:pt x="114" y="204"/>
                    </a:lnTo>
                    <a:lnTo>
                      <a:pt x="114" y="204"/>
                    </a:lnTo>
                    <a:lnTo>
                      <a:pt x="112" y="214"/>
                    </a:lnTo>
                    <a:lnTo>
                      <a:pt x="106" y="224"/>
                    </a:lnTo>
                    <a:lnTo>
                      <a:pt x="98" y="230"/>
                    </a:lnTo>
                    <a:lnTo>
                      <a:pt x="86" y="232"/>
                    </a:lnTo>
                    <a:lnTo>
                      <a:pt x="86" y="232"/>
                    </a:lnTo>
                    <a:lnTo>
                      <a:pt x="74" y="230"/>
                    </a:lnTo>
                    <a:lnTo>
                      <a:pt x="66" y="224"/>
                    </a:lnTo>
                    <a:lnTo>
                      <a:pt x="60" y="214"/>
                    </a:lnTo>
                    <a:lnTo>
                      <a:pt x="58" y="204"/>
                    </a:lnTo>
                    <a:lnTo>
                      <a:pt x="58" y="204"/>
                    </a:lnTo>
                    <a:lnTo>
                      <a:pt x="60" y="192"/>
                    </a:lnTo>
                    <a:lnTo>
                      <a:pt x="66" y="182"/>
                    </a:lnTo>
                    <a:lnTo>
                      <a:pt x="74" y="176"/>
                    </a:lnTo>
                    <a:lnTo>
                      <a:pt x="86" y="174"/>
                    </a:lnTo>
                    <a:close/>
                    <a:moveTo>
                      <a:pt x="306" y="174"/>
                    </a:moveTo>
                    <a:lnTo>
                      <a:pt x="306" y="174"/>
                    </a:lnTo>
                    <a:lnTo>
                      <a:pt x="318" y="176"/>
                    </a:lnTo>
                    <a:lnTo>
                      <a:pt x="326" y="182"/>
                    </a:lnTo>
                    <a:lnTo>
                      <a:pt x="332" y="192"/>
                    </a:lnTo>
                    <a:lnTo>
                      <a:pt x="334" y="204"/>
                    </a:lnTo>
                    <a:lnTo>
                      <a:pt x="334" y="204"/>
                    </a:lnTo>
                    <a:lnTo>
                      <a:pt x="332" y="214"/>
                    </a:lnTo>
                    <a:lnTo>
                      <a:pt x="326" y="224"/>
                    </a:lnTo>
                    <a:lnTo>
                      <a:pt x="318" y="230"/>
                    </a:lnTo>
                    <a:lnTo>
                      <a:pt x="306" y="232"/>
                    </a:lnTo>
                    <a:lnTo>
                      <a:pt x="306" y="232"/>
                    </a:lnTo>
                    <a:lnTo>
                      <a:pt x="294" y="230"/>
                    </a:lnTo>
                    <a:lnTo>
                      <a:pt x="286" y="224"/>
                    </a:lnTo>
                    <a:lnTo>
                      <a:pt x="280" y="214"/>
                    </a:lnTo>
                    <a:lnTo>
                      <a:pt x="278" y="204"/>
                    </a:lnTo>
                    <a:lnTo>
                      <a:pt x="278" y="204"/>
                    </a:lnTo>
                    <a:lnTo>
                      <a:pt x="280" y="192"/>
                    </a:lnTo>
                    <a:lnTo>
                      <a:pt x="286" y="182"/>
                    </a:lnTo>
                    <a:lnTo>
                      <a:pt x="294" y="176"/>
                    </a:lnTo>
                    <a:lnTo>
                      <a:pt x="306" y="174"/>
                    </a:lnTo>
                    <a:close/>
                    <a:moveTo>
                      <a:pt x="316" y="40"/>
                    </a:moveTo>
                    <a:lnTo>
                      <a:pt x="296" y="40"/>
                    </a:lnTo>
                    <a:lnTo>
                      <a:pt x="296" y="70"/>
                    </a:lnTo>
                    <a:lnTo>
                      <a:pt x="266" y="70"/>
                    </a:lnTo>
                    <a:lnTo>
                      <a:pt x="266" y="90"/>
                    </a:lnTo>
                    <a:lnTo>
                      <a:pt x="296" y="90"/>
                    </a:lnTo>
                    <a:lnTo>
                      <a:pt x="296" y="120"/>
                    </a:lnTo>
                    <a:lnTo>
                      <a:pt x="316" y="120"/>
                    </a:lnTo>
                    <a:lnTo>
                      <a:pt x="316" y="90"/>
                    </a:lnTo>
                    <a:lnTo>
                      <a:pt x="346" y="90"/>
                    </a:lnTo>
                    <a:lnTo>
                      <a:pt x="346" y="70"/>
                    </a:lnTo>
                    <a:lnTo>
                      <a:pt x="316" y="70"/>
                    </a:lnTo>
                    <a:lnTo>
                      <a:pt x="316" y="40"/>
                    </a:lnTo>
                    <a:close/>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close/>
                    <a:moveTo>
                      <a:pt x="140" y="74"/>
                    </a:moveTo>
                    <a:lnTo>
                      <a:pt x="86" y="74"/>
                    </a:lnTo>
                    <a:lnTo>
                      <a:pt x="140" y="18"/>
                    </a:lnTo>
                    <a:lnTo>
                      <a:pt x="140" y="74"/>
                    </a:lnTo>
                    <a:close/>
                    <a:moveTo>
                      <a:pt x="306" y="138"/>
                    </a:moveTo>
                    <a:lnTo>
                      <a:pt x="306" y="138"/>
                    </a:lnTo>
                    <a:lnTo>
                      <a:pt x="294" y="136"/>
                    </a:lnTo>
                    <a:lnTo>
                      <a:pt x="284" y="134"/>
                    </a:lnTo>
                    <a:lnTo>
                      <a:pt x="274" y="128"/>
                    </a:lnTo>
                    <a:lnTo>
                      <a:pt x="266" y="122"/>
                    </a:lnTo>
                    <a:lnTo>
                      <a:pt x="258" y="112"/>
                    </a:lnTo>
                    <a:lnTo>
                      <a:pt x="252" y="102"/>
                    </a:lnTo>
                    <a:lnTo>
                      <a:pt x="250" y="92"/>
                    </a:lnTo>
                    <a:lnTo>
                      <a:pt x="248" y="80"/>
                    </a:lnTo>
                    <a:lnTo>
                      <a:pt x="248" y="80"/>
                    </a:lnTo>
                    <a:lnTo>
                      <a:pt x="250" y="68"/>
                    </a:lnTo>
                    <a:lnTo>
                      <a:pt x="252" y="58"/>
                    </a:lnTo>
                    <a:lnTo>
                      <a:pt x="258" y="48"/>
                    </a:lnTo>
                    <a:lnTo>
                      <a:pt x="266" y="40"/>
                    </a:lnTo>
                    <a:lnTo>
                      <a:pt x="274" y="32"/>
                    </a:lnTo>
                    <a:lnTo>
                      <a:pt x="284" y="28"/>
                    </a:lnTo>
                    <a:lnTo>
                      <a:pt x="294" y="24"/>
                    </a:lnTo>
                    <a:lnTo>
                      <a:pt x="306" y="22"/>
                    </a:lnTo>
                    <a:lnTo>
                      <a:pt x="306" y="22"/>
                    </a:lnTo>
                    <a:lnTo>
                      <a:pt x="318" y="24"/>
                    </a:lnTo>
                    <a:lnTo>
                      <a:pt x="328" y="28"/>
                    </a:lnTo>
                    <a:lnTo>
                      <a:pt x="338" y="32"/>
                    </a:lnTo>
                    <a:lnTo>
                      <a:pt x="346" y="40"/>
                    </a:lnTo>
                    <a:lnTo>
                      <a:pt x="354" y="48"/>
                    </a:lnTo>
                    <a:lnTo>
                      <a:pt x="360" y="58"/>
                    </a:lnTo>
                    <a:lnTo>
                      <a:pt x="362" y="68"/>
                    </a:lnTo>
                    <a:lnTo>
                      <a:pt x="364" y="80"/>
                    </a:lnTo>
                    <a:lnTo>
                      <a:pt x="364" y="80"/>
                    </a:lnTo>
                    <a:lnTo>
                      <a:pt x="362" y="92"/>
                    </a:lnTo>
                    <a:lnTo>
                      <a:pt x="360" y="102"/>
                    </a:lnTo>
                    <a:lnTo>
                      <a:pt x="354" y="112"/>
                    </a:lnTo>
                    <a:lnTo>
                      <a:pt x="346" y="122"/>
                    </a:lnTo>
                    <a:lnTo>
                      <a:pt x="338" y="128"/>
                    </a:lnTo>
                    <a:lnTo>
                      <a:pt x="328" y="134"/>
                    </a:lnTo>
                    <a:lnTo>
                      <a:pt x="318" y="136"/>
                    </a:lnTo>
                    <a:lnTo>
                      <a:pt x="306" y="138"/>
                    </a:lnTo>
                    <a:lnTo>
                      <a:pt x="306" y="138"/>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sp>
            <p:nvSpPr>
              <p:cNvPr id="98" name="Freeform 4863">
                <a:extLst>
                  <a:ext uri="{FF2B5EF4-FFF2-40B4-BE49-F238E27FC236}">
                    <a16:creationId xmlns:a16="http://schemas.microsoft.com/office/drawing/2014/main" id="{3D8E31AD-F083-4B67-8AA3-6327A6819E34}"/>
                  </a:ext>
                </a:extLst>
              </p:cNvPr>
              <p:cNvSpPr>
                <a:spLocks/>
              </p:cNvSpPr>
              <p:nvPr/>
            </p:nvSpPr>
            <p:spPr bwMode="auto">
              <a:xfrm>
                <a:off x="7717043"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rgbClr val="50505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sp>
            <p:nvSpPr>
              <p:cNvPr id="99" name="Freeform 4864">
                <a:extLst>
                  <a:ext uri="{FF2B5EF4-FFF2-40B4-BE49-F238E27FC236}">
                    <a16:creationId xmlns:a16="http://schemas.microsoft.com/office/drawing/2014/main" id="{DA9121B0-7D21-461D-9E79-8183B31F8122}"/>
                  </a:ext>
                </a:extLst>
              </p:cNvPr>
              <p:cNvSpPr>
                <a:spLocks/>
              </p:cNvSpPr>
              <p:nvPr/>
            </p:nvSpPr>
            <p:spPr bwMode="auto">
              <a:xfrm>
                <a:off x="7983576" y="2636937"/>
                <a:ext cx="67845" cy="70268"/>
              </a:xfrm>
              <a:custGeom>
                <a:avLst/>
                <a:gdLst>
                  <a:gd name="T0" fmla="*/ 28 w 56"/>
                  <a:gd name="T1" fmla="*/ 0 h 58"/>
                  <a:gd name="T2" fmla="*/ 28 w 56"/>
                  <a:gd name="T3" fmla="*/ 0 h 58"/>
                  <a:gd name="T4" fmla="*/ 40 w 56"/>
                  <a:gd name="T5" fmla="*/ 2 h 58"/>
                  <a:gd name="T6" fmla="*/ 48 w 56"/>
                  <a:gd name="T7" fmla="*/ 8 h 58"/>
                  <a:gd name="T8" fmla="*/ 54 w 56"/>
                  <a:gd name="T9" fmla="*/ 18 h 58"/>
                  <a:gd name="T10" fmla="*/ 56 w 56"/>
                  <a:gd name="T11" fmla="*/ 30 h 58"/>
                  <a:gd name="T12" fmla="*/ 56 w 56"/>
                  <a:gd name="T13" fmla="*/ 30 h 58"/>
                  <a:gd name="T14" fmla="*/ 54 w 56"/>
                  <a:gd name="T15" fmla="*/ 40 h 58"/>
                  <a:gd name="T16" fmla="*/ 48 w 56"/>
                  <a:gd name="T17" fmla="*/ 50 h 58"/>
                  <a:gd name="T18" fmla="*/ 40 w 56"/>
                  <a:gd name="T19" fmla="*/ 56 h 58"/>
                  <a:gd name="T20" fmla="*/ 28 w 56"/>
                  <a:gd name="T21" fmla="*/ 58 h 58"/>
                  <a:gd name="T22" fmla="*/ 28 w 56"/>
                  <a:gd name="T23" fmla="*/ 58 h 58"/>
                  <a:gd name="T24" fmla="*/ 16 w 56"/>
                  <a:gd name="T25" fmla="*/ 56 h 58"/>
                  <a:gd name="T26" fmla="*/ 8 w 56"/>
                  <a:gd name="T27" fmla="*/ 50 h 58"/>
                  <a:gd name="T28" fmla="*/ 2 w 56"/>
                  <a:gd name="T29" fmla="*/ 40 h 58"/>
                  <a:gd name="T30" fmla="*/ 0 w 56"/>
                  <a:gd name="T31" fmla="*/ 30 h 58"/>
                  <a:gd name="T32" fmla="*/ 0 w 56"/>
                  <a:gd name="T33" fmla="*/ 30 h 58"/>
                  <a:gd name="T34" fmla="*/ 2 w 56"/>
                  <a:gd name="T35" fmla="*/ 18 h 58"/>
                  <a:gd name="T36" fmla="*/ 8 w 56"/>
                  <a:gd name="T37" fmla="*/ 8 h 58"/>
                  <a:gd name="T38" fmla="*/ 16 w 56"/>
                  <a:gd name="T39" fmla="*/ 2 h 58"/>
                  <a:gd name="T40" fmla="*/ 28 w 56"/>
                  <a:gd name="T41"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6" h="58">
                    <a:moveTo>
                      <a:pt x="28" y="0"/>
                    </a:moveTo>
                    <a:lnTo>
                      <a:pt x="28" y="0"/>
                    </a:lnTo>
                    <a:lnTo>
                      <a:pt x="40" y="2"/>
                    </a:lnTo>
                    <a:lnTo>
                      <a:pt x="48" y="8"/>
                    </a:lnTo>
                    <a:lnTo>
                      <a:pt x="54" y="18"/>
                    </a:lnTo>
                    <a:lnTo>
                      <a:pt x="56" y="30"/>
                    </a:lnTo>
                    <a:lnTo>
                      <a:pt x="56" y="30"/>
                    </a:lnTo>
                    <a:lnTo>
                      <a:pt x="54" y="40"/>
                    </a:lnTo>
                    <a:lnTo>
                      <a:pt x="48" y="50"/>
                    </a:lnTo>
                    <a:lnTo>
                      <a:pt x="40" y="56"/>
                    </a:lnTo>
                    <a:lnTo>
                      <a:pt x="28" y="58"/>
                    </a:lnTo>
                    <a:lnTo>
                      <a:pt x="28" y="58"/>
                    </a:lnTo>
                    <a:lnTo>
                      <a:pt x="16" y="56"/>
                    </a:lnTo>
                    <a:lnTo>
                      <a:pt x="8" y="50"/>
                    </a:lnTo>
                    <a:lnTo>
                      <a:pt x="2" y="40"/>
                    </a:lnTo>
                    <a:lnTo>
                      <a:pt x="0" y="30"/>
                    </a:lnTo>
                    <a:lnTo>
                      <a:pt x="0" y="30"/>
                    </a:lnTo>
                    <a:lnTo>
                      <a:pt x="2" y="18"/>
                    </a:lnTo>
                    <a:lnTo>
                      <a:pt x="8" y="8"/>
                    </a:lnTo>
                    <a:lnTo>
                      <a:pt x="16" y="2"/>
                    </a:lnTo>
                    <a:lnTo>
                      <a:pt x="28" y="0"/>
                    </a:lnTo>
                  </a:path>
                </a:pathLst>
              </a:custGeom>
              <a:solidFill>
                <a:srgbClr val="50505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sp>
            <p:nvSpPr>
              <p:cNvPr id="100" name="Freeform 4865">
                <a:extLst>
                  <a:ext uri="{FF2B5EF4-FFF2-40B4-BE49-F238E27FC236}">
                    <a16:creationId xmlns:a16="http://schemas.microsoft.com/office/drawing/2014/main" id="{C672D7B5-F0CF-47AF-8D5A-19A31027F1A2}"/>
                  </a:ext>
                </a:extLst>
              </p:cNvPr>
              <p:cNvSpPr>
                <a:spLocks/>
              </p:cNvSpPr>
              <p:nvPr/>
            </p:nvSpPr>
            <p:spPr bwMode="auto">
              <a:xfrm>
                <a:off x="7969038" y="2474594"/>
                <a:ext cx="96921" cy="96921"/>
              </a:xfrm>
              <a:custGeom>
                <a:avLst/>
                <a:gdLst>
                  <a:gd name="T0" fmla="*/ 50 w 80"/>
                  <a:gd name="T1" fmla="*/ 0 h 80"/>
                  <a:gd name="T2" fmla="*/ 30 w 80"/>
                  <a:gd name="T3" fmla="*/ 0 h 80"/>
                  <a:gd name="T4" fmla="*/ 30 w 80"/>
                  <a:gd name="T5" fmla="*/ 30 h 80"/>
                  <a:gd name="T6" fmla="*/ 0 w 80"/>
                  <a:gd name="T7" fmla="*/ 30 h 80"/>
                  <a:gd name="T8" fmla="*/ 0 w 80"/>
                  <a:gd name="T9" fmla="*/ 50 h 80"/>
                  <a:gd name="T10" fmla="*/ 30 w 80"/>
                  <a:gd name="T11" fmla="*/ 50 h 80"/>
                  <a:gd name="T12" fmla="*/ 30 w 80"/>
                  <a:gd name="T13" fmla="*/ 80 h 80"/>
                  <a:gd name="T14" fmla="*/ 50 w 80"/>
                  <a:gd name="T15" fmla="*/ 80 h 80"/>
                  <a:gd name="T16" fmla="*/ 50 w 80"/>
                  <a:gd name="T17" fmla="*/ 50 h 80"/>
                  <a:gd name="T18" fmla="*/ 80 w 80"/>
                  <a:gd name="T19" fmla="*/ 50 h 80"/>
                  <a:gd name="T20" fmla="*/ 80 w 80"/>
                  <a:gd name="T21" fmla="*/ 30 h 80"/>
                  <a:gd name="T22" fmla="*/ 50 w 80"/>
                  <a:gd name="T23" fmla="*/ 30 h 80"/>
                  <a:gd name="T24" fmla="*/ 50 w 80"/>
                  <a:gd name="T25" fmla="*/ 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80">
                    <a:moveTo>
                      <a:pt x="50" y="0"/>
                    </a:moveTo>
                    <a:lnTo>
                      <a:pt x="30" y="0"/>
                    </a:lnTo>
                    <a:lnTo>
                      <a:pt x="30" y="30"/>
                    </a:lnTo>
                    <a:lnTo>
                      <a:pt x="0" y="30"/>
                    </a:lnTo>
                    <a:lnTo>
                      <a:pt x="0" y="50"/>
                    </a:lnTo>
                    <a:lnTo>
                      <a:pt x="30" y="50"/>
                    </a:lnTo>
                    <a:lnTo>
                      <a:pt x="30" y="80"/>
                    </a:lnTo>
                    <a:lnTo>
                      <a:pt x="50" y="80"/>
                    </a:lnTo>
                    <a:lnTo>
                      <a:pt x="50" y="50"/>
                    </a:lnTo>
                    <a:lnTo>
                      <a:pt x="80" y="50"/>
                    </a:lnTo>
                    <a:lnTo>
                      <a:pt x="80" y="30"/>
                    </a:lnTo>
                    <a:lnTo>
                      <a:pt x="50" y="30"/>
                    </a:lnTo>
                    <a:lnTo>
                      <a:pt x="50" y="0"/>
                    </a:lnTo>
                  </a:path>
                </a:pathLst>
              </a:custGeom>
              <a:solidFill>
                <a:srgbClr val="505050"/>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sp>
            <p:nvSpPr>
              <p:cNvPr id="101" name="Freeform 4866">
                <a:extLst>
                  <a:ext uri="{FF2B5EF4-FFF2-40B4-BE49-F238E27FC236}">
                    <a16:creationId xmlns:a16="http://schemas.microsoft.com/office/drawing/2014/main" id="{4DAFC0C8-6910-42F0-BFBE-5A8469932086}"/>
                  </a:ext>
                </a:extLst>
              </p:cNvPr>
              <p:cNvSpPr>
                <a:spLocks/>
              </p:cNvSpPr>
              <p:nvPr/>
            </p:nvSpPr>
            <p:spPr bwMode="auto">
              <a:xfrm>
                <a:off x="7646776" y="2426134"/>
                <a:ext cx="472489" cy="247148"/>
              </a:xfrm>
              <a:custGeom>
                <a:avLst/>
                <a:gdLst>
                  <a:gd name="T0" fmla="*/ 138 w 390"/>
                  <a:gd name="T1" fmla="*/ 0 h 204"/>
                  <a:gd name="T2" fmla="*/ 134 w 390"/>
                  <a:gd name="T3" fmla="*/ 0 h 204"/>
                  <a:gd name="T4" fmla="*/ 56 w 390"/>
                  <a:gd name="T5" fmla="*/ 76 h 204"/>
                  <a:gd name="T6" fmla="*/ 14 w 390"/>
                  <a:gd name="T7" fmla="*/ 90 h 204"/>
                  <a:gd name="T8" fmla="*/ 12 w 390"/>
                  <a:gd name="T9" fmla="*/ 90 h 204"/>
                  <a:gd name="T10" fmla="*/ 4 w 390"/>
                  <a:gd name="T11" fmla="*/ 98 h 204"/>
                  <a:gd name="T12" fmla="*/ 0 w 390"/>
                  <a:gd name="T13" fmla="*/ 108 h 204"/>
                  <a:gd name="T14" fmla="*/ 0 w 390"/>
                  <a:gd name="T15" fmla="*/ 186 h 204"/>
                  <a:gd name="T16" fmla="*/ 6 w 390"/>
                  <a:gd name="T17" fmla="*/ 200 h 204"/>
                  <a:gd name="T18" fmla="*/ 20 w 390"/>
                  <a:gd name="T19" fmla="*/ 204 h 204"/>
                  <a:gd name="T20" fmla="*/ 38 w 390"/>
                  <a:gd name="T21" fmla="*/ 204 h 204"/>
                  <a:gd name="T22" fmla="*/ 38 w 390"/>
                  <a:gd name="T23" fmla="*/ 204 h 204"/>
                  <a:gd name="T24" fmla="*/ 40 w 390"/>
                  <a:gd name="T25" fmla="*/ 184 h 204"/>
                  <a:gd name="T26" fmla="*/ 52 w 390"/>
                  <a:gd name="T27" fmla="*/ 168 h 204"/>
                  <a:gd name="T28" fmla="*/ 66 w 390"/>
                  <a:gd name="T29" fmla="*/ 158 h 204"/>
                  <a:gd name="T30" fmla="*/ 86 w 390"/>
                  <a:gd name="T31" fmla="*/ 154 h 204"/>
                  <a:gd name="T32" fmla="*/ 96 w 390"/>
                  <a:gd name="T33" fmla="*/ 156 h 204"/>
                  <a:gd name="T34" fmla="*/ 114 w 390"/>
                  <a:gd name="T35" fmla="*/ 162 h 204"/>
                  <a:gd name="T36" fmla="*/ 126 w 390"/>
                  <a:gd name="T37" fmla="*/ 176 h 204"/>
                  <a:gd name="T38" fmla="*/ 134 w 390"/>
                  <a:gd name="T39" fmla="*/ 194 h 204"/>
                  <a:gd name="T40" fmla="*/ 134 w 390"/>
                  <a:gd name="T41" fmla="*/ 204 h 204"/>
                  <a:gd name="T42" fmla="*/ 262 w 390"/>
                  <a:gd name="T43" fmla="*/ 204 h 204"/>
                  <a:gd name="T44" fmla="*/ 262 w 390"/>
                  <a:gd name="T45" fmla="*/ 204 h 204"/>
                  <a:gd name="T46" fmla="*/ 262 w 390"/>
                  <a:gd name="T47" fmla="*/ 194 h 204"/>
                  <a:gd name="T48" fmla="*/ 268 w 390"/>
                  <a:gd name="T49" fmla="*/ 178 h 204"/>
                  <a:gd name="T50" fmla="*/ 282 w 390"/>
                  <a:gd name="T51" fmla="*/ 166 h 204"/>
                  <a:gd name="T52" fmla="*/ 298 w 390"/>
                  <a:gd name="T53" fmla="*/ 160 h 204"/>
                  <a:gd name="T54" fmla="*/ 306 w 390"/>
                  <a:gd name="T55" fmla="*/ 158 h 204"/>
                  <a:gd name="T56" fmla="*/ 324 w 390"/>
                  <a:gd name="T57" fmla="*/ 162 h 204"/>
                  <a:gd name="T58" fmla="*/ 338 w 390"/>
                  <a:gd name="T59" fmla="*/ 172 h 204"/>
                  <a:gd name="T60" fmla="*/ 348 w 390"/>
                  <a:gd name="T61" fmla="*/ 186 h 204"/>
                  <a:gd name="T62" fmla="*/ 350 w 390"/>
                  <a:gd name="T63" fmla="*/ 204 h 204"/>
                  <a:gd name="T64" fmla="*/ 350 w 390"/>
                  <a:gd name="T65" fmla="*/ 204 h 204"/>
                  <a:gd name="T66" fmla="*/ 370 w 390"/>
                  <a:gd name="T67" fmla="*/ 204 h 204"/>
                  <a:gd name="T68" fmla="*/ 384 w 390"/>
                  <a:gd name="T69" fmla="*/ 198 h 204"/>
                  <a:gd name="T70" fmla="*/ 390 w 390"/>
                  <a:gd name="T71" fmla="*/ 184 h 204"/>
                  <a:gd name="T72" fmla="*/ 390 w 390"/>
                  <a:gd name="T73" fmla="*/ 20 h 204"/>
                  <a:gd name="T74" fmla="*/ 384 w 390"/>
                  <a:gd name="T75" fmla="*/ 6 h 204"/>
                  <a:gd name="T76" fmla="*/ 370 w 390"/>
                  <a:gd name="T77" fmla="*/ 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90" h="204">
                    <a:moveTo>
                      <a:pt x="370" y="0"/>
                    </a:moveTo>
                    <a:lnTo>
                      <a:pt x="138" y="0"/>
                    </a:lnTo>
                    <a:lnTo>
                      <a:pt x="138" y="0"/>
                    </a:lnTo>
                    <a:lnTo>
                      <a:pt x="134" y="0"/>
                    </a:lnTo>
                    <a:lnTo>
                      <a:pt x="130" y="2"/>
                    </a:lnTo>
                    <a:lnTo>
                      <a:pt x="56" y="76"/>
                    </a:lnTo>
                    <a:lnTo>
                      <a:pt x="14" y="90"/>
                    </a:lnTo>
                    <a:lnTo>
                      <a:pt x="14" y="90"/>
                    </a:lnTo>
                    <a:lnTo>
                      <a:pt x="12" y="90"/>
                    </a:lnTo>
                    <a:lnTo>
                      <a:pt x="12" y="90"/>
                    </a:lnTo>
                    <a:lnTo>
                      <a:pt x="8" y="94"/>
                    </a:lnTo>
                    <a:lnTo>
                      <a:pt x="4" y="98"/>
                    </a:lnTo>
                    <a:lnTo>
                      <a:pt x="2" y="102"/>
                    </a:lnTo>
                    <a:lnTo>
                      <a:pt x="0" y="108"/>
                    </a:lnTo>
                    <a:lnTo>
                      <a:pt x="0" y="186"/>
                    </a:lnTo>
                    <a:lnTo>
                      <a:pt x="0" y="186"/>
                    </a:lnTo>
                    <a:lnTo>
                      <a:pt x="2" y="192"/>
                    </a:lnTo>
                    <a:lnTo>
                      <a:pt x="6" y="200"/>
                    </a:lnTo>
                    <a:lnTo>
                      <a:pt x="12" y="204"/>
                    </a:lnTo>
                    <a:lnTo>
                      <a:pt x="20" y="204"/>
                    </a:lnTo>
                    <a:lnTo>
                      <a:pt x="38" y="204"/>
                    </a:lnTo>
                    <a:lnTo>
                      <a:pt x="38" y="204"/>
                    </a:lnTo>
                    <a:lnTo>
                      <a:pt x="38" y="204"/>
                    </a:lnTo>
                    <a:lnTo>
                      <a:pt x="38" y="204"/>
                    </a:lnTo>
                    <a:lnTo>
                      <a:pt x="38" y="194"/>
                    </a:lnTo>
                    <a:lnTo>
                      <a:pt x="40" y="184"/>
                    </a:lnTo>
                    <a:lnTo>
                      <a:pt x="46" y="176"/>
                    </a:lnTo>
                    <a:lnTo>
                      <a:pt x="52" y="168"/>
                    </a:lnTo>
                    <a:lnTo>
                      <a:pt x="58" y="162"/>
                    </a:lnTo>
                    <a:lnTo>
                      <a:pt x="66" y="158"/>
                    </a:lnTo>
                    <a:lnTo>
                      <a:pt x="76" y="156"/>
                    </a:lnTo>
                    <a:lnTo>
                      <a:pt x="86" y="154"/>
                    </a:lnTo>
                    <a:lnTo>
                      <a:pt x="86" y="154"/>
                    </a:lnTo>
                    <a:lnTo>
                      <a:pt x="96" y="156"/>
                    </a:lnTo>
                    <a:lnTo>
                      <a:pt x="104" y="158"/>
                    </a:lnTo>
                    <a:lnTo>
                      <a:pt x="114" y="162"/>
                    </a:lnTo>
                    <a:lnTo>
                      <a:pt x="120" y="168"/>
                    </a:lnTo>
                    <a:lnTo>
                      <a:pt x="126" y="176"/>
                    </a:lnTo>
                    <a:lnTo>
                      <a:pt x="130" y="184"/>
                    </a:lnTo>
                    <a:lnTo>
                      <a:pt x="134" y="194"/>
                    </a:lnTo>
                    <a:lnTo>
                      <a:pt x="134" y="204"/>
                    </a:lnTo>
                    <a:lnTo>
                      <a:pt x="134" y="204"/>
                    </a:lnTo>
                    <a:lnTo>
                      <a:pt x="134" y="204"/>
                    </a:lnTo>
                    <a:lnTo>
                      <a:pt x="262" y="204"/>
                    </a:lnTo>
                    <a:lnTo>
                      <a:pt x="262" y="204"/>
                    </a:lnTo>
                    <a:lnTo>
                      <a:pt x="262" y="204"/>
                    </a:lnTo>
                    <a:lnTo>
                      <a:pt x="262" y="204"/>
                    </a:lnTo>
                    <a:lnTo>
                      <a:pt x="262" y="194"/>
                    </a:lnTo>
                    <a:lnTo>
                      <a:pt x="264" y="186"/>
                    </a:lnTo>
                    <a:lnTo>
                      <a:pt x="268" y="178"/>
                    </a:lnTo>
                    <a:lnTo>
                      <a:pt x="274" y="172"/>
                    </a:lnTo>
                    <a:lnTo>
                      <a:pt x="282" y="166"/>
                    </a:lnTo>
                    <a:lnTo>
                      <a:pt x="288" y="162"/>
                    </a:lnTo>
                    <a:lnTo>
                      <a:pt x="298" y="160"/>
                    </a:lnTo>
                    <a:lnTo>
                      <a:pt x="306" y="158"/>
                    </a:lnTo>
                    <a:lnTo>
                      <a:pt x="306" y="158"/>
                    </a:lnTo>
                    <a:lnTo>
                      <a:pt x="316" y="160"/>
                    </a:lnTo>
                    <a:lnTo>
                      <a:pt x="324" y="162"/>
                    </a:lnTo>
                    <a:lnTo>
                      <a:pt x="332" y="166"/>
                    </a:lnTo>
                    <a:lnTo>
                      <a:pt x="338" y="172"/>
                    </a:lnTo>
                    <a:lnTo>
                      <a:pt x="344" y="178"/>
                    </a:lnTo>
                    <a:lnTo>
                      <a:pt x="348" y="186"/>
                    </a:lnTo>
                    <a:lnTo>
                      <a:pt x="350" y="194"/>
                    </a:lnTo>
                    <a:lnTo>
                      <a:pt x="350" y="204"/>
                    </a:lnTo>
                    <a:lnTo>
                      <a:pt x="350" y="204"/>
                    </a:lnTo>
                    <a:lnTo>
                      <a:pt x="350" y="204"/>
                    </a:lnTo>
                    <a:lnTo>
                      <a:pt x="370" y="204"/>
                    </a:lnTo>
                    <a:lnTo>
                      <a:pt x="370" y="204"/>
                    </a:lnTo>
                    <a:lnTo>
                      <a:pt x="378" y="204"/>
                    </a:lnTo>
                    <a:lnTo>
                      <a:pt x="384" y="198"/>
                    </a:lnTo>
                    <a:lnTo>
                      <a:pt x="388" y="192"/>
                    </a:lnTo>
                    <a:lnTo>
                      <a:pt x="390" y="184"/>
                    </a:lnTo>
                    <a:lnTo>
                      <a:pt x="390" y="20"/>
                    </a:lnTo>
                    <a:lnTo>
                      <a:pt x="390" y="20"/>
                    </a:lnTo>
                    <a:lnTo>
                      <a:pt x="388" y="12"/>
                    </a:lnTo>
                    <a:lnTo>
                      <a:pt x="384" y="6"/>
                    </a:lnTo>
                    <a:lnTo>
                      <a:pt x="378" y="0"/>
                    </a:lnTo>
                    <a:lnTo>
                      <a:pt x="370" y="0"/>
                    </a:lnTo>
                    <a:lnTo>
                      <a:pt x="370" y="0"/>
                    </a:lnTo>
                  </a:path>
                </a:pathLst>
              </a:custGeom>
              <a:grpFill/>
              <a:ln w="9525">
                <a:solidFill>
                  <a:srgbClr val="505050"/>
                </a:solidFill>
                <a:round/>
                <a:headEnd/>
                <a:tailEnd/>
              </a:ln>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sp>
            <p:nvSpPr>
              <p:cNvPr id="102" name="Freeform 4867">
                <a:extLst>
                  <a:ext uri="{FF2B5EF4-FFF2-40B4-BE49-F238E27FC236}">
                    <a16:creationId xmlns:a16="http://schemas.microsoft.com/office/drawing/2014/main" id="{C8C09BA8-0EBA-4E0A-BC76-BD2ABD31128E}"/>
                  </a:ext>
                </a:extLst>
              </p:cNvPr>
              <p:cNvSpPr>
                <a:spLocks/>
              </p:cNvSpPr>
              <p:nvPr/>
            </p:nvSpPr>
            <p:spPr bwMode="auto">
              <a:xfrm>
                <a:off x="7750966" y="2447941"/>
                <a:ext cx="65422" cy="67845"/>
              </a:xfrm>
              <a:custGeom>
                <a:avLst/>
                <a:gdLst>
                  <a:gd name="T0" fmla="*/ 54 w 54"/>
                  <a:gd name="T1" fmla="*/ 56 h 56"/>
                  <a:gd name="T2" fmla="*/ 0 w 54"/>
                  <a:gd name="T3" fmla="*/ 56 h 56"/>
                  <a:gd name="T4" fmla="*/ 54 w 54"/>
                  <a:gd name="T5" fmla="*/ 0 h 56"/>
                  <a:gd name="T6" fmla="*/ 54 w 54"/>
                  <a:gd name="T7" fmla="*/ 56 h 56"/>
                </a:gdLst>
                <a:ahLst/>
                <a:cxnLst>
                  <a:cxn ang="0">
                    <a:pos x="T0" y="T1"/>
                  </a:cxn>
                  <a:cxn ang="0">
                    <a:pos x="T2" y="T3"/>
                  </a:cxn>
                  <a:cxn ang="0">
                    <a:pos x="T4" y="T5"/>
                  </a:cxn>
                  <a:cxn ang="0">
                    <a:pos x="T6" y="T7"/>
                  </a:cxn>
                </a:cxnLst>
                <a:rect l="0" t="0" r="r" b="b"/>
                <a:pathLst>
                  <a:path w="54" h="56">
                    <a:moveTo>
                      <a:pt x="54" y="56"/>
                    </a:moveTo>
                    <a:lnTo>
                      <a:pt x="0" y="56"/>
                    </a:lnTo>
                    <a:lnTo>
                      <a:pt x="54" y="0"/>
                    </a:lnTo>
                    <a:lnTo>
                      <a:pt x="54" y="56"/>
                    </a:lnTo>
                  </a:path>
                </a:pathLst>
              </a:custGeom>
              <a:solidFill>
                <a:srgbClr val="505050"/>
              </a:solidFill>
              <a:ln>
                <a:noFill/>
              </a:ln>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sp>
            <p:nvSpPr>
              <p:cNvPr id="103" name="Freeform 4868">
                <a:extLst>
                  <a:ext uri="{FF2B5EF4-FFF2-40B4-BE49-F238E27FC236}">
                    <a16:creationId xmlns:a16="http://schemas.microsoft.com/office/drawing/2014/main" id="{AC85303A-5732-4896-95C8-94BB8DF0E1D6}"/>
                  </a:ext>
                </a:extLst>
              </p:cNvPr>
              <p:cNvSpPr>
                <a:spLocks/>
              </p:cNvSpPr>
              <p:nvPr/>
            </p:nvSpPr>
            <p:spPr bwMode="auto">
              <a:xfrm>
                <a:off x="7947231" y="2452787"/>
                <a:ext cx="140535" cy="140535"/>
              </a:xfrm>
              <a:custGeom>
                <a:avLst/>
                <a:gdLst>
                  <a:gd name="T0" fmla="*/ 58 w 116"/>
                  <a:gd name="T1" fmla="*/ 116 h 116"/>
                  <a:gd name="T2" fmla="*/ 58 w 116"/>
                  <a:gd name="T3" fmla="*/ 116 h 116"/>
                  <a:gd name="T4" fmla="*/ 46 w 116"/>
                  <a:gd name="T5" fmla="*/ 114 h 116"/>
                  <a:gd name="T6" fmla="*/ 36 w 116"/>
                  <a:gd name="T7" fmla="*/ 112 h 116"/>
                  <a:gd name="T8" fmla="*/ 26 w 116"/>
                  <a:gd name="T9" fmla="*/ 106 h 116"/>
                  <a:gd name="T10" fmla="*/ 18 w 116"/>
                  <a:gd name="T11" fmla="*/ 100 h 116"/>
                  <a:gd name="T12" fmla="*/ 10 w 116"/>
                  <a:gd name="T13" fmla="*/ 90 h 116"/>
                  <a:gd name="T14" fmla="*/ 4 w 116"/>
                  <a:gd name="T15" fmla="*/ 80 h 116"/>
                  <a:gd name="T16" fmla="*/ 2 w 116"/>
                  <a:gd name="T17" fmla="*/ 70 h 116"/>
                  <a:gd name="T18" fmla="*/ 0 w 116"/>
                  <a:gd name="T19" fmla="*/ 58 h 116"/>
                  <a:gd name="T20" fmla="*/ 0 w 116"/>
                  <a:gd name="T21" fmla="*/ 58 h 116"/>
                  <a:gd name="T22" fmla="*/ 2 w 116"/>
                  <a:gd name="T23" fmla="*/ 46 h 116"/>
                  <a:gd name="T24" fmla="*/ 4 w 116"/>
                  <a:gd name="T25" fmla="*/ 36 h 116"/>
                  <a:gd name="T26" fmla="*/ 10 w 116"/>
                  <a:gd name="T27" fmla="*/ 26 h 116"/>
                  <a:gd name="T28" fmla="*/ 18 w 116"/>
                  <a:gd name="T29" fmla="*/ 18 h 116"/>
                  <a:gd name="T30" fmla="*/ 26 w 116"/>
                  <a:gd name="T31" fmla="*/ 10 h 116"/>
                  <a:gd name="T32" fmla="*/ 36 w 116"/>
                  <a:gd name="T33" fmla="*/ 6 h 116"/>
                  <a:gd name="T34" fmla="*/ 46 w 116"/>
                  <a:gd name="T35" fmla="*/ 2 h 116"/>
                  <a:gd name="T36" fmla="*/ 58 w 116"/>
                  <a:gd name="T37" fmla="*/ 0 h 116"/>
                  <a:gd name="T38" fmla="*/ 58 w 116"/>
                  <a:gd name="T39" fmla="*/ 0 h 116"/>
                  <a:gd name="T40" fmla="*/ 70 w 116"/>
                  <a:gd name="T41" fmla="*/ 2 h 116"/>
                  <a:gd name="T42" fmla="*/ 80 w 116"/>
                  <a:gd name="T43" fmla="*/ 6 h 116"/>
                  <a:gd name="T44" fmla="*/ 90 w 116"/>
                  <a:gd name="T45" fmla="*/ 10 h 116"/>
                  <a:gd name="T46" fmla="*/ 98 w 116"/>
                  <a:gd name="T47" fmla="*/ 18 h 116"/>
                  <a:gd name="T48" fmla="*/ 106 w 116"/>
                  <a:gd name="T49" fmla="*/ 26 h 116"/>
                  <a:gd name="T50" fmla="*/ 112 w 116"/>
                  <a:gd name="T51" fmla="*/ 36 h 116"/>
                  <a:gd name="T52" fmla="*/ 114 w 116"/>
                  <a:gd name="T53" fmla="*/ 46 h 116"/>
                  <a:gd name="T54" fmla="*/ 116 w 116"/>
                  <a:gd name="T55" fmla="*/ 58 h 116"/>
                  <a:gd name="T56" fmla="*/ 116 w 116"/>
                  <a:gd name="T57" fmla="*/ 58 h 116"/>
                  <a:gd name="T58" fmla="*/ 114 w 116"/>
                  <a:gd name="T59" fmla="*/ 70 h 116"/>
                  <a:gd name="T60" fmla="*/ 112 w 116"/>
                  <a:gd name="T61" fmla="*/ 80 h 116"/>
                  <a:gd name="T62" fmla="*/ 106 w 116"/>
                  <a:gd name="T63" fmla="*/ 90 h 116"/>
                  <a:gd name="T64" fmla="*/ 98 w 116"/>
                  <a:gd name="T65" fmla="*/ 100 h 116"/>
                  <a:gd name="T66" fmla="*/ 90 w 116"/>
                  <a:gd name="T67" fmla="*/ 106 h 116"/>
                  <a:gd name="T68" fmla="*/ 80 w 116"/>
                  <a:gd name="T69" fmla="*/ 112 h 116"/>
                  <a:gd name="T70" fmla="*/ 70 w 116"/>
                  <a:gd name="T71" fmla="*/ 114 h 116"/>
                  <a:gd name="T72" fmla="*/ 58 w 116"/>
                  <a:gd name="T73" fmla="*/ 116 h 116"/>
                  <a:gd name="T74" fmla="*/ 58 w 116"/>
                  <a:gd name="T7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6" h="116">
                    <a:moveTo>
                      <a:pt x="58" y="116"/>
                    </a:moveTo>
                    <a:lnTo>
                      <a:pt x="58" y="116"/>
                    </a:lnTo>
                    <a:lnTo>
                      <a:pt x="46" y="114"/>
                    </a:lnTo>
                    <a:lnTo>
                      <a:pt x="36" y="112"/>
                    </a:lnTo>
                    <a:lnTo>
                      <a:pt x="26" y="106"/>
                    </a:lnTo>
                    <a:lnTo>
                      <a:pt x="18" y="100"/>
                    </a:lnTo>
                    <a:lnTo>
                      <a:pt x="10" y="90"/>
                    </a:lnTo>
                    <a:lnTo>
                      <a:pt x="4" y="80"/>
                    </a:lnTo>
                    <a:lnTo>
                      <a:pt x="2" y="70"/>
                    </a:lnTo>
                    <a:lnTo>
                      <a:pt x="0" y="58"/>
                    </a:lnTo>
                    <a:lnTo>
                      <a:pt x="0" y="58"/>
                    </a:lnTo>
                    <a:lnTo>
                      <a:pt x="2" y="46"/>
                    </a:lnTo>
                    <a:lnTo>
                      <a:pt x="4" y="36"/>
                    </a:lnTo>
                    <a:lnTo>
                      <a:pt x="10" y="26"/>
                    </a:lnTo>
                    <a:lnTo>
                      <a:pt x="18" y="18"/>
                    </a:lnTo>
                    <a:lnTo>
                      <a:pt x="26" y="10"/>
                    </a:lnTo>
                    <a:lnTo>
                      <a:pt x="36" y="6"/>
                    </a:lnTo>
                    <a:lnTo>
                      <a:pt x="46" y="2"/>
                    </a:lnTo>
                    <a:lnTo>
                      <a:pt x="58" y="0"/>
                    </a:lnTo>
                    <a:lnTo>
                      <a:pt x="58" y="0"/>
                    </a:lnTo>
                    <a:lnTo>
                      <a:pt x="70" y="2"/>
                    </a:lnTo>
                    <a:lnTo>
                      <a:pt x="80" y="6"/>
                    </a:lnTo>
                    <a:lnTo>
                      <a:pt x="90" y="10"/>
                    </a:lnTo>
                    <a:lnTo>
                      <a:pt x="98" y="18"/>
                    </a:lnTo>
                    <a:lnTo>
                      <a:pt x="106" y="26"/>
                    </a:lnTo>
                    <a:lnTo>
                      <a:pt x="112" y="36"/>
                    </a:lnTo>
                    <a:lnTo>
                      <a:pt x="114" y="46"/>
                    </a:lnTo>
                    <a:lnTo>
                      <a:pt x="116" y="58"/>
                    </a:lnTo>
                    <a:lnTo>
                      <a:pt x="116" y="58"/>
                    </a:lnTo>
                    <a:lnTo>
                      <a:pt x="114" y="70"/>
                    </a:lnTo>
                    <a:lnTo>
                      <a:pt x="112" y="80"/>
                    </a:lnTo>
                    <a:lnTo>
                      <a:pt x="106" y="90"/>
                    </a:lnTo>
                    <a:lnTo>
                      <a:pt x="98" y="100"/>
                    </a:lnTo>
                    <a:lnTo>
                      <a:pt x="90" y="106"/>
                    </a:lnTo>
                    <a:lnTo>
                      <a:pt x="80" y="112"/>
                    </a:lnTo>
                    <a:lnTo>
                      <a:pt x="70" y="114"/>
                    </a:lnTo>
                    <a:lnTo>
                      <a:pt x="58" y="116"/>
                    </a:lnTo>
                    <a:lnTo>
                      <a:pt x="58" y="116"/>
                    </a:lnTo>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grpSp>
        <p:nvGrpSpPr>
          <p:cNvPr id="104" name="Group 103">
            <a:extLst>
              <a:ext uri="{FF2B5EF4-FFF2-40B4-BE49-F238E27FC236}">
                <a16:creationId xmlns:a16="http://schemas.microsoft.com/office/drawing/2014/main" id="{0BE38E63-2758-4A58-A900-147A0EDBC538}"/>
              </a:ext>
            </a:extLst>
          </p:cNvPr>
          <p:cNvGrpSpPr/>
          <p:nvPr/>
        </p:nvGrpSpPr>
        <p:grpSpPr>
          <a:xfrm>
            <a:off x="8667970" y="1597830"/>
            <a:ext cx="612000" cy="612000"/>
            <a:chOff x="8447928" y="2258092"/>
            <a:chExt cx="612000" cy="612000"/>
          </a:xfrm>
        </p:grpSpPr>
        <p:sp>
          <p:nvSpPr>
            <p:cNvPr id="105" name="Oval 104">
              <a:extLst>
                <a:ext uri="{FF2B5EF4-FFF2-40B4-BE49-F238E27FC236}">
                  <a16:creationId xmlns:a16="http://schemas.microsoft.com/office/drawing/2014/main" id="{B2B18167-7C7E-4576-A2ED-A4A3863F4F98}"/>
                </a:ext>
              </a:extLst>
            </p:cNvPr>
            <p:cNvSpPr/>
            <p:nvPr/>
          </p:nvSpPr>
          <p:spPr bwMode="ltGray">
            <a:xfrm>
              <a:off x="8447928"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06" name="Freeform 4869">
              <a:extLst>
                <a:ext uri="{FF2B5EF4-FFF2-40B4-BE49-F238E27FC236}">
                  <a16:creationId xmlns:a16="http://schemas.microsoft.com/office/drawing/2014/main" id="{B311CD21-D66B-4D09-81C9-3CEF83708D59}"/>
                </a:ext>
              </a:extLst>
            </p:cNvPr>
            <p:cNvSpPr>
              <a:spLocks noEditPoints="1"/>
            </p:cNvSpPr>
            <p:nvPr/>
          </p:nvSpPr>
          <p:spPr bwMode="auto">
            <a:xfrm>
              <a:off x="8574625" y="2387366"/>
              <a:ext cx="358607" cy="358607"/>
            </a:xfrm>
            <a:custGeom>
              <a:avLst/>
              <a:gdLst>
                <a:gd name="T0" fmla="*/ 122 w 296"/>
                <a:gd name="T1" fmla="*/ 20 h 296"/>
                <a:gd name="T2" fmla="*/ 98 w 296"/>
                <a:gd name="T3" fmla="*/ 4 h 296"/>
                <a:gd name="T4" fmla="*/ 58 w 296"/>
                <a:gd name="T5" fmla="*/ 0 h 296"/>
                <a:gd name="T6" fmla="*/ 20 w 296"/>
                <a:gd name="T7" fmla="*/ 20 h 296"/>
                <a:gd name="T8" fmla="*/ 6 w 296"/>
                <a:gd name="T9" fmla="*/ 44 h 296"/>
                <a:gd name="T10" fmla="*/ 2 w 296"/>
                <a:gd name="T11" fmla="*/ 86 h 296"/>
                <a:gd name="T12" fmla="*/ 20 w 296"/>
                <a:gd name="T13" fmla="*/ 122 h 296"/>
                <a:gd name="T14" fmla="*/ 174 w 296"/>
                <a:gd name="T15" fmla="*/ 276 h 296"/>
                <a:gd name="T16" fmla="*/ 210 w 296"/>
                <a:gd name="T17" fmla="*/ 296 h 296"/>
                <a:gd name="T18" fmla="*/ 252 w 296"/>
                <a:gd name="T19" fmla="*/ 292 h 296"/>
                <a:gd name="T20" fmla="*/ 276 w 296"/>
                <a:gd name="T21" fmla="*/ 276 h 296"/>
                <a:gd name="T22" fmla="*/ 296 w 296"/>
                <a:gd name="T23" fmla="*/ 238 h 296"/>
                <a:gd name="T24" fmla="*/ 292 w 296"/>
                <a:gd name="T25" fmla="*/ 198 h 296"/>
                <a:gd name="T26" fmla="*/ 276 w 296"/>
                <a:gd name="T27" fmla="*/ 174 h 296"/>
                <a:gd name="T28" fmla="*/ 36 w 296"/>
                <a:gd name="T29" fmla="*/ 108 h 296"/>
                <a:gd name="T30" fmla="*/ 20 w 296"/>
                <a:gd name="T31" fmla="*/ 82 h 296"/>
                <a:gd name="T32" fmla="*/ 24 w 296"/>
                <a:gd name="T33" fmla="*/ 52 h 296"/>
                <a:gd name="T34" fmla="*/ 36 w 296"/>
                <a:gd name="T35" fmla="*/ 34 h 296"/>
                <a:gd name="T36" fmla="*/ 58 w 296"/>
                <a:gd name="T37" fmla="*/ 22 h 296"/>
                <a:gd name="T38" fmla="*/ 62 w 296"/>
                <a:gd name="T39" fmla="*/ 22 h 296"/>
                <a:gd name="T40" fmla="*/ 52 w 296"/>
                <a:gd name="T41" fmla="*/ 40 h 296"/>
                <a:gd name="T42" fmla="*/ 58 w 296"/>
                <a:gd name="T43" fmla="*/ 54 h 296"/>
                <a:gd name="T44" fmla="*/ 72 w 296"/>
                <a:gd name="T45" fmla="*/ 60 h 296"/>
                <a:gd name="T46" fmla="*/ 90 w 296"/>
                <a:gd name="T47" fmla="*/ 48 h 296"/>
                <a:gd name="T48" fmla="*/ 90 w 296"/>
                <a:gd name="T49" fmla="*/ 32 h 296"/>
                <a:gd name="T50" fmla="*/ 76 w 296"/>
                <a:gd name="T51" fmla="*/ 20 h 296"/>
                <a:gd name="T52" fmla="*/ 94 w 296"/>
                <a:gd name="T53" fmla="*/ 24 h 296"/>
                <a:gd name="T54" fmla="*/ 170 w 296"/>
                <a:gd name="T55" fmla="*/ 98 h 296"/>
                <a:gd name="T56" fmla="*/ 262 w 296"/>
                <a:gd name="T57" fmla="*/ 262 h 296"/>
                <a:gd name="T58" fmla="*/ 236 w 296"/>
                <a:gd name="T59" fmla="*/ 278 h 296"/>
                <a:gd name="T60" fmla="*/ 224 w 296"/>
                <a:gd name="T61" fmla="*/ 278 h 296"/>
                <a:gd name="T62" fmla="*/ 204 w 296"/>
                <a:gd name="T63" fmla="*/ 274 h 296"/>
                <a:gd name="T64" fmla="*/ 186 w 296"/>
                <a:gd name="T65" fmla="*/ 262 h 296"/>
                <a:gd name="T66" fmla="*/ 184 w 296"/>
                <a:gd name="T67" fmla="*/ 252 h 296"/>
                <a:gd name="T68" fmla="*/ 190 w 296"/>
                <a:gd name="T69" fmla="*/ 246 h 296"/>
                <a:gd name="T70" fmla="*/ 200 w 296"/>
                <a:gd name="T71" fmla="*/ 248 h 296"/>
                <a:gd name="T72" fmla="*/ 212 w 296"/>
                <a:gd name="T73" fmla="*/ 256 h 296"/>
                <a:gd name="T74" fmla="*/ 224 w 296"/>
                <a:gd name="T75" fmla="*/ 258 h 296"/>
                <a:gd name="T76" fmla="*/ 238 w 296"/>
                <a:gd name="T77" fmla="*/ 256 h 296"/>
                <a:gd name="T78" fmla="*/ 248 w 296"/>
                <a:gd name="T79" fmla="*/ 248 h 296"/>
                <a:gd name="T80" fmla="*/ 260 w 296"/>
                <a:gd name="T81" fmla="*/ 246 h 296"/>
                <a:gd name="T82" fmla="*/ 264 w 296"/>
                <a:gd name="T83" fmla="*/ 252 h 296"/>
                <a:gd name="T84" fmla="*/ 262 w 296"/>
                <a:gd name="T85" fmla="*/ 262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6" h="296">
                  <a:moveTo>
                    <a:pt x="276" y="174"/>
                  </a:moveTo>
                  <a:lnTo>
                    <a:pt x="200" y="98"/>
                  </a:lnTo>
                  <a:lnTo>
                    <a:pt x="122" y="20"/>
                  </a:lnTo>
                  <a:lnTo>
                    <a:pt x="122" y="20"/>
                  </a:lnTo>
                  <a:lnTo>
                    <a:pt x="112" y="12"/>
                  </a:lnTo>
                  <a:lnTo>
                    <a:pt x="98" y="4"/>
                  </a:lnTo>
                  <a:lnTo>
                    <a:pt x="86" y="0"/>
                  </a:lnTo>
                  <a:lnTo>
                    <a:pt x="72" y="0"/>
                  </a:lnTo>
                  <a:lnTo>
                    <a:pt x="58" y="0"/>
                  </a:lnTo>
                  <a:lnTo>
                    <a:pt x="44" y="4"/>
                  </a:lnTo>
                  <a:lnTo>
                    <a:pt x="32" y="12"/>
                  </a:lnTo>
                  <a:lnTo>
                    <a:pt x="20" y="20"/>
                  </a:lnTo>
                  <a:lnTo>
                    <a:pt x="20" y="20"/>
                  </a:lnTo>
                  <a:lnTo>
                    <a:pt x="12" y="32"/>
                  </a:lnTo>
                  <a:lnTo>
                    <a:pt x="6" y="44"/>
                  </a:lnTo>
                  <a:lnTo>
                    <a:pt x="2" y="58"/>
                  </a:lnTo>
                  <a:lnTo>
                    <a:pt x="0" y="72"/>
                  </a:lnTo>
                  <a:lnTo>
                    <a:pt x="2" y="86"/>
                  </a:lnTo>
                  <a:lnTo>
                    <a:pt x="6" y="98"/>
                  </a:lnTo>
                  <a:lnTo>
                    <a:pt x="12" y="112"/>
                  </a:lnTo>
                  <a:lnTo>
                    <a:pt x="20" y="122"/>
                  </a:lnTo>
                  <a:lnTo>
                    <a:pt x="98" y="198"/>
                  </a:lnTo>
                  <a:lnTo>
                    <a:pt x="174" y="276"/>
                  </a:lnTo>
                  <a:lnTo>
                    <a:pt x="174" y="276"/>
                  </a:lnTo>
                  <a:lnTo>
                    <a:pt x="184" y="284"/>
                  </a:lnTo>
                  <a:lnTo>
                    <a:pt x="198" y="292"/>
                  </a:lnTo>
                  <a:lnTo>
                    <a:pt x="210" y="296"/>
                  </a:lnTo>
                  <a:lnTo>
                    <a:pt x="224" y="296"/>
                  </a:lnTo>
                  <a:lnTo>
                    <a:pt x="238" y="296"/>
                  </a:lnTo>
                  <a:lnTo>
                    <a:pt x="252" y="292"/>
                  </a:lnTo>
                  <a:lnTo>
                    <a:pt x="264" y="284"/>
                  </a:lnTo>
                  <a:lnTo>
                    <a:pt x="276" y="276"/>
                  </a:lnTo>
                  <a:lnTo>
                    <a:pt x="276" y="276"/>
                  </a:lnTo>
                  <a:lnTo>
                    <a:pt x="284" y="264"/>
                  </a:lnTo>
                  <a:lnTo>
                    <a:pt x="292" y="252"/>
                  </a:lnTo>
                  <a:lnTo>
                    <a:pt x="296" y="238"/>
                  </a:lnTo>
                  <a:lnTo>
                    <a:pt x="296" y="224"/>
                  </a:lnTo>
                  <a:lnTo>
                    <a:pt x="296" y="210"/>
                  </a:lnTo>
                  <a:lnTo>
                    <a:pt x="292" y="198"/>
                  </a:lnTo>
                  <a:lnTo>
                    <a:pt x="284" y="184"/>
                  </a:lnTo>
                  <a:lnTo>
                    <a:pt x="276" y="174"/>
                  </a:lnTo>
                  <a:lnTo>
                    <a:pt x="276" y="174"/>
                  </a:lnTo>
                  <a:close/>
                  <a:moveTo>
                    <a:pt x="98" y="170"/>
                  </a:moveTo>
                  <a:lnTo>
                    <a:pt x="36" y="108"/>
                  </a:lnTo>
                  <a:lnTo>
                    <a:pt x="36" y="108"/>
                  </a:lnTo>
                  <a:lnTo>
                    <a:pt x="28" y="100"/>
                  </a:lnTo>
                  <a:lnTo>
                    <a:pt x="24" y="92"/>
                  </a:lnTo>
                  <a:lnTo>
                    <a:pt x="20" y="82"/>
                  </a:lnTo>
                  <a:lnTo>
                    <a:pt x="20" y="72"/>
                  </a:lnTo>
                  <a:lnTo>
                    <a:pt x="20" y="62"/>
                  </a:lnTo>
                  <a:lnTo>
                    <a:pt x="24" y="52"/>
                  </a:lnTo>
                  <a:lnTo>
                    <a:pt x="28" y="44"/>
                  </a:lnTo>
                  <a:lnTo>
                    <a:pt x="36" y="34"/>
                  </a:lnTo>
                  <a:lnTo>
                    <a:pt x="36" y="34"/>
                  </a:lnTo>
                  <a:lnTo>
                    <a:pt x="42" y="28"/>
                  </a:lnTo>
                  <a:lnTo>
                    <a:pt x="50" y="24"/>
                  </a:lnTo>
                  <a:lnTo>
                    <a:pt x="58" y="22"/>
                  </a:lnTo>
                  <a:lnTo>
                    <a:pt x="68" y="20"/>
                  </a:lnTo>
                  <a:lnTo>
                    <a:pt x="68" y="20"/>
                  </a:lnTo>
                  <a:lnTo>
                    <a:pt x="62" y="22"/>
                  </a:lnTo>
                  <a:lnTo>
                    <a:pt x="56" y="26"/>
                  </a:lnTo>
                  <a:lnTo>
                    <a:pt x="54" y="32"/>
                  </a:lnTo>
                  <a:lnTo>
                    <a:pt x="52" y="40"/>
                  </a:lnTo>
                  <a:lnTo>
                    <a:pt x="52" y="40"/>
                  </a:lnTo>
                  <a:lnTo>
                    <a:pt x="54" y="48"/>
                  </a:lnTo>
                  <a:lnTo>
                    <a:pt x="58" y="54"/>
                  </a:lnTo>
                  <a:lnTo>
                    <a:pt x="64" y="58"/>
                  </a:lnTo>
                  <a:lnTo>
                    <a:pt x="72" y="60"/>
                  </a:lnTo>
                  <a:lnTo>
                    <a:pt x="72" y="60"/>
                  </a:lnTo>
                  <a:lnTo>
                    <a:pt x="80" y="58"/>
                  </a:lnTo>
                  <a:lnTo>
                    <a:pt x="86" y="54"/>
                  </a:lnTo>
                  <a:lnTo>
                    <a:pt x="90" y="48"/>
                  </a:lnTo>
                  <a:lnTo>
                    <a:pt x="92" y="40"/>
                  </a:lnTo>
                  <a:lnTo>
                    <a:pt x="92" y="40"/>
                  </a:lnTo>
                  <a:lnTo>
                    <a:pt x="90" y="32"/>
                  </a:lnTo>
                  <a:lnTo>
                    <a:pt x="88" y="26"/>
                  </a:lnTo>
                  <a:lnTo>
                    <a:pt x="82" y="22"/>
                  </a:lnTo>
                  <a:lnTo>
                    <a:pt x="76" y="20"/>
                  </a:lnTo>
                  <a:lnTo>
                    <a:pt x="76" y="20"/>
                  </a:lnTo>
                  <a:lnTo>
                    <a:pt x="84" y="22"/>
                  </a:lnTo>
                  <a:lnTo>
                    <a:pt x="94" y="24"/>
                  </a:lnTo>
                  <a:lnTo>
                    <a:pt x="102" y="28"/>
                  </a:lnTo>
                  <a:lnTo>
                    <a:pt x="108" y="34"/>
                  </a:lnTo>
                  <a:lnTo>
                    <a:pt x="170" y="98"/>
                  </a:lnTo>
                  <a:lnTo>
                    <a:pt x="98" y="170"/>
                  </a:lnTo>
                  <a:close/>
                  <a:moveTo>
                    <a:pt x="262" y="262"/>
                  </a:moveTo>
                  <a:lnTo>
                    <a:pt x="262" y="262"/>
                  </a:lnTo>
                  <a:lnTo>
                    <a:pt x="254" y="270"/>
                  </a:lnTo>
                  <a:lnTo>
                    <a:pt x="246" y="274"/>
                  </a:lnTo>
                  <a:lnTo>
                    <a:pt x="236" y="278"/>
                  </a:lnTo>
                  <a:lnTo>
                    <a:pt x="224" y="278"/>
                  </a:lnTo>
                  <a:lnTo>
                    <a:pt x="224" y="278"/>
                  </a:lnTo>
                  <a:lnTo>
                    <a:pt x="224" y="278"/>
                  </a:lnTo>
                  <a:lnTo>
                    <a:pt x="224" y="278"/>
                  </a:lnTo>
                  <a:lnTo>
                    <a:pt x="214" y="278"/>
                  </a:lnTo>
                  <a:lnTo>
                    <a:pt x="204" y="274"/>
                  </a:lnTo>
                  <a:lnTo>
                    <a:pt x="194" y="270"/>
                  </a:lnTo>
                  <a:lnTo>
                    <a:pt x="186" y="262"/>
                  </a:lnTo>
                  <a:lnTo>
                    <a:pt x="186" y="262"/>
                  </a:lnTo>
                  <a:lnTo>
                    <a:pt x="184" y="260"/>
                  </a:lnTo>
                  <a:lnTo>
                    <a:pt x="184" y="256"/>
                  </a:lnTo>
                  <a:lnTo>
                    <a:pt x="184" y="252"/>
                  </a:lnTo>
                  <a:lnTo>
                    <a:pt x="186" y="248"/>
                  </a:lnTo>
                  <a:lnTo>
                    <a:pt x="186" y="248"/>
                  </a:lnTo>
                  <a:lnTo>
                    <a:pt x="190" y="246"/>
                  </a:lnTo>
                  <a:lnTo>
                    <a:pt x="194" y="246"/>
                  </a:lnTo>
                  <a:lnTo>
                    <a:pt x="198" y="246"/>
                  </a:lnTo>
                  <a:lnTo>
                    <a:pt x="200" y="248"/>
                  </a:lnTo>
                  <a:lnTo>
                    <a:pt x="200" y="248"/>
                  </a:lnTo>
                  <a:lnTo>
                    <a:pt x="206" y="252"/>
                  </a:lnTo>
                  <a:lnTo>
                    <a:pt x="212" y="256"/>
                  </a:lnTo>
                  <a:lnTo>
                    <a:pt x="218" y="258"/>
                  </a:lnTo>
                  <a:lnTo>
                    <a:pt x="224" y="258"/>
                  </a:lnTo>
                  <a:lnTo>
                    <a:pt x="224" y="258"/>
                  </a:lnTo>
                  <a:lnTo>
                    <a:pt x="224" y="258"/>
                  </a:lnTo>
                  <a:lnTo>
                    <a:pt x="232" y="258"/>
                  </a:lnTo>
                  <a:lnTo>
                    <a:pt x="238" y="256"/>
                  </a:lnTo>
                  <a:lnTo>
                    <a:pt x="244" y="252"/>
                  </a:lnTo>
                  <a:lnTo>
                    <a:pt x="248" y="248"/>
                  </a:lnTo>
                  <a:lnTo>
                    <a:pt x="248" y="248"/>
                  </a:lnTo>
                  <a:lnTo>
                    <a:pt x="252" y="246"/>
                  </a:lnTo>
                  <a:lnTo>
                    <a:pt x="256" y="246"/>
                  </a:lnTo>
                  <a:lnTo>
                    <a:pt x="260" y="246"/>
                  </a:lnTo>
                  <a:lnTo>
                    <a:pt x="262" y="248"/>
                  </a:lnTo>
                  <a:lnTo>
                    <a:pt x="262" y="248"/>
                  </a:lnTo>
                  <a:lnTo>
                    <a:pt x="264" y="252"/>
                  </a:lnTo>
                  <a:lnTo>
                    <a:pt x="266" y="256"/>
                  </a:lnTo>
                  <a:lnTo>
                    <a:pt x="264" y="260"/>
                  </a:lnTo>
                  <a:lnTo>
                    <a:pt x="262" y="262"/>
                  </a:lnTo>
                  <a:lnTo>
                    <a:pt x="262" y="26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07" name="Group 106">
            <a:extLst>
              <a:ext uri="{FF2B5EF4-FFF2-40B4-BE49-F238E27FC236}">
                <a16:creationId xmlns:a16="http://schemas.microsoft.com/office/drawing/2014/main" id="{D5C22421-C3B3-42FE-91B8-5273D065FF57}"/>
              </a:ext>
            </a:extLst>
          </p:cNvPr>
          <p:cNvGrpSpPr/>
          <p:nvPr/>
        </p:nvGrpSpPr>
        <p:grpSpPr>
          <a:xfrm>
            <a:off x="9542683" y="1597830"/>
            <a:ext cx="612000" cy="612000"/>
            <a:chOff x="9322641" y="2258092"/>
            <a:chExt cx="612000" cy="612000"/>
          </a:xfrm>
        </p:grpSpPr>
        <p:sp>
          <p:nvSpPr>
            <p:cNvPr id="108" name="Oval 107">
              <a:extLst>
                <a:ext uri="{FF2B5EF4-FFF2-40B4-BE49-F238E27FC236}">
                  <a16:creationId xmlns:a16="http://schemas.microsoft.com/office/drawing/2014/main" id="{5C5D1E86-0D73-4BBE-A7CF-8D11CAC4C083}"/>
                </a:ext>
              </a:extLst>
            </p:cNvPr>
            <p:cNvSpPr/>
            <p:nvPr/>
          </p:nvSpPr>
          <p:spPr bwMode="ltGray">
            <a:xfrm>
              <a:off x="9322641"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09" name="Freeform 4885">
              <a:extLst>
                <a:ext uri="{FF2B5EF4-FFF2-40B4-BE49-F238E27FC236}">
                  <a16:creationId xmlns:a16="http://schemas.microsoft.com/office/drawing/2014/main" id="{4713B033-9A71-491B-8AA9-9381A66B7842}"/>
                </a:ext>
              </a:extLst>
            </p:cNvPr>
            <p:cNvSpPr>
              <a:spLocks noEditPoints="1"/>
            </p:cNvSpPr>
            <p:nvPr/>
          </p:nvSpPr>
          <p:spPr bwMode="auto">
            <a:xfrm>
              <a:off x="9425107" y="2363135"/>
              <a:ext cx="407068" cy="407068"/>
            </a:xfrm>
            <a:custGeom>
              <a:avLst/>
              <a:gdLst>
                <a:gd name="T0" fmla="*/ 238 w 336"/>
                <a:gd name="T1" fmla="*/ 6 h 336"/>
                <a:gd name="T2" fmla="*/ 64 w 336"/>
                <a:gd name="T3" fmla="*/ 330 h 336"/>
                <a:gd name="T4" fmla="*/ 330 w 336"/>
                <a:gd name="T5" fmla="*/ 98 h 336"/>
                <a:gd name="T6" fmla="*/ 218 w 336"/>
                <a:gd name="T7" fmla="*/ 58 h 336"/>
                <a:gd name="T8" fmla="*/ 234 w 336"/>
                <a:gd name="T9" fmla="*/ 62 h 336"/>
                <a:gd name="T10" fmla="*/ 224 w 336"/>
                <a:gd name="T11" fmla="*/ 76 h 336"/>
                <a:gd name="T12" fmla="*/ 216 w 336"/>
                <a:gd name="T13" fmla="*/ 62 h 336"/>
                <a:gd name="T14" fmla="*/ 218 w 336"/>
                <a:gd name="T15" fmla="*/ 90 h 336"/>
                <a:gd name="T16" fmla="*/ 220 w 336"/>
                <a:gd name="T17" fmla="*/ 106 h 336"/>
                <a:gd name="T18" fmla="*/ 206 w 336"/>
                <a:gd name="T19" fmla="*/ 106 h 336"/>
                <a:gd name="T20" fmla="*/ 60 w 336"/>
                <a:gd name="T21" fmla="*/ 266 h 336"/>
                <a:gd name="T22" fmla="*/ 46 w 336"/>
                <a:gd name="T23" fmla="*/ 266 h 336"/>
                <a:gd name="T24" fmla="*/ 54 w 336"/>
                <a:gd name="T25" fmla="*/ 250 h 336"/>
                <a:gd name="T26" fmla="*/ 64 w 336"/>
                <a:gd name="T27" fmla="*/ 264 h 336"/>
                <a:gd name="T28" fmla="*/ 56 w 336"/>
                <a:gd name="T29" fmla="*/ 220 h 336"/>
                <a:gd name="T30" fmla="*/ 72 w 336"/>
                <a:gd name="T31" fmla="*/ 218 h 336"/>
                <a:gd name="T32" fmla="*/ 66 w 336"/>
                <a:gd name="T33" fmla="*/ 234 h 336"/>
                <a:gd name="T34" fmla="*/ 80 w 336"/>
                <a:gd name="T35" fmla="*/ 292 h 336"/>
                <a:gd name="T36" fmla="*/ 66 w 336"/>
                <a:gd name="T37" fmla="*/ 282 h 336"/>
                <a:gd name="T38" fmla="*/ 80 w 336"/>
                <a:gd name="T39" fmla="*/ 272 h 336"/>
                <a:gd name="T40" fmla="*/ 84 w 336"/>
                <a:gd name="T41" fmla="*/ 290 h 336"/>
                <a:gd name="T42" fmla="*/ 82 w 336"/>
                <a:gd name="T43" fmla="*/ 254 h 336"/>
                <a:gd name="T44" fmla="*/ 82 w 336"/>
                <a:gd name="T45" fmla="*/ 240 h 336"/>
                <a:gd name="T46" fmla="*/ 98 w 336"/>
                <a:gd name="T47" fmla="*/ 248 h 336"/>
                <a:gd name="T48" fmla="*/ 96 w 336"/>
                <a:gd name="T49" fmla="*/ 222 h 336"/>
                <a:gd name="T50" fmla="*/ 92 w 336"/>
                <a:gd name="T51" fmla="*/ 206 h 336"/>
                <a:gd name="T52" fmla="*/ 110 w 336"/>
                <a:gd name="T53" fmla="*/ 212 h 336"/>
                <a:gd name="T54" fmla="*/ 100 w 336"/>
                <a:gd name="T55" fmla="*/ 224 h 336"/>
                <a:gd name="T56" fmla="*/ 108 w 336"/>
                <a:gd name="T57" fmla="*/ 280 h 336"/>
                <a:gd name="T58" fmla="*/ 104 w 336"/>
                <a:gd name="T59" fmla="*/ 264 h 336"/>
                <a:gd name="T60" fmla="*/ 122 w 336"/>
                <a:gd name="T61" fmla="*/ 270 h 336"/>
                <a:gd name="T62" fmla="*/ 124 w 336"/>
                <a:gd name="T63" fmla="*/ 246 h 336"/>
                <a:gd name="T64" fmla="*/ 114 w 336"/>
                <a:gd name="T65" fmla="*/ 232 h 336"/>
                <a:gd name="T66" fmla="*/ 130 w 336"/>
                <a:gd name="T67" fmla="*/ 228 h 336"/>
                <a:gd name="T68" fmla="*/ 232 w 336"/>
                <a:gd name="T69" fmla="*/ 174 h 336"/>
                <a:gd name="T70" fmla="*/ 162 w 336"/>
                <a:gd name="T71" fmla="*/ 232 h 336"/>
                <a:gd name="T72" fmla="*/ 162 w 336"/>
                <a:gd name="T73" fmla="*/ 104 h 336"/>
                <a:gd name="T74" fmla="*/ 232 w 336"/>
                <a:gd name="T75" fmla="*/ 162 h 336"/>
                <a:gd name="T76" fmla="*/ 244 w 336"/>
                <a:gd name="T77" fmla="*/ 130 h 336"/>
                <a:gd name="T78" fmla="*/ 226 w 336"/>
                <a:gd name="T79" fmla="*/ 126 h 336"/>
                <a:gd name="T80" fmla="*/ 236 w 336"/>
                <a:gd name="T81" fmla="*/ 112 h 336"/>
                <a:gd name="T82" fmla="*/ 246 w 336"/>
                <a:gd name="T83" fmla="*/ 126 h 336"/>
                <a:gd name="T84" fmla="*/ 248 w 336"/>
                <a:gd name="T85" fmla="*/ 98 h 336"/>
                <a:gd name="T86" fmla="*/ 240 w 336"/>
                <a:gd name="T87" fmla="*/ 80 h 336"/>
                <a:gd name="T88" fmla="*/ 258 w 336"/>
                <a:gd name="T89" fmla="*/ 84 h 336"/>
                <a:gd name="T90" fmla="*/ 250 w 336"/>
                <a:gd name="T91" fmla="*/ 58 h 336"/>
                <a:gd name="T92" fmla="*/ 260 w 336"/>
                <a:gd name="T93" fmla="*/ 44 h 336"/>
                <a:gd name="T94" fmla="*/ 266 w 336"/>
                <a:gd name="T95" fmla="*/ 60 h 336"/>
                <a:gd name="T96" fmla="*/ 252 w 336"/>
                <a:gd name="T97" fmla="*/ 60 h 336"/>
                <a:gd name="T98" fmla="*/ 264 w 336"/>
                <a:gd name="T99" fmla="*/ 118 h 336"/>
                <a:gd name="T100" fmla="*/ 264 w 336"/>
                <a:gd name="T101" fmla="*/ 104 h 336"/>
                <a:gd name="T102" fmla="*/ 282 w 336"/>
                <a:gd name="T103" fmla="*/ 112 h 336"/>
                <a:gd name="T104" fmla="*/ 286 w 336"/>
                <a:gd name="T105" fmla="*/ 86 h 336"/>
                <a:gd name="T106" fmla="*/ 272 w 336"/>
                <a:gd name="T107" fmla="*/ 76 h 336"/>
                <a:gd name="T108" fmla="*/ 286 w 336"/>
                <a:gd name="T109" fmla="*/ 68 h 336"/>
                <a:gd name="T110" fmla="*/ 290 w 336"/>
                <a:gd name="T111" fmla="*/ 84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6" h="336">
                  <a:moveTo>
                    <a:pt x="330" y="64"/>
                  </a:moveTo>
                  <a:lnTo>
                    <a:pt x="272" y="6"/>
                  </a:lnTo>
                  <a:lnTo>
                    <a:pt x="272" y="6"/>
                  </a:lnTo>
                  <a:lnTo>
                    <a:pt x="264" y="2"/>
                  </a:lnTo>
                  <a:lnTo>
                    <a:pt x="254" y="0"/>
                  </a:lnTo>
                  <a:lnTo>
                    <a:pt x="246" y="2"/>
                  </a:lnTo>
                  <a:lnTo>
                    <a:pt x="238" y="6"/>
                  </a:lnTo>
                  <a:lnTo>
                    <a:pt x="6" y="238"/>
                  </a:lnTo>
                  <a:lnTo>
                    <a:pt x="6" y="238"/>
                  </a:lnTo>
                  <a:lnTo>
                    <a:pt x="2" y="246"/>
                  </a:lnTo>
                  <a:lnTo>
                    <a:pt x="0" y="254"/>
                  </a:lnTo>
                  <a:lnTo>
                    <a:pt x="2" y="264"/>
                  </a:lnTo>
                  <a:lnTo>
                    <a:pt x="6" y="272"/>
                  </a:lnTo>
                  <a:lnTo>
                    <a:pt x="64" y="330"/>
                  </a:lnTo>
                  <a:lnTo>
                    <a:pt x="64" y="330"/>
                  </a:lnTo>
                  <a:lnTo>
                    <a:pt x="72" y="334"/>
                  </a:lnTo>
                  <a:lnTo>
                    <a:pt x="82" y="336"/>
                  </a:lnTo>
                  <a:lnTo>
                    <a:pt x="82" y="336"/>
                  </a:lnTo>
                  <a:lnTo>
                    <a:pt x="90" y="334"/>
                  </a:lnTo>
                  <a:lnTo>
                    <a:pt x="98" y="330"/>
                  </a:lnTo>
                  <a:lnTo>
                    <a:pt x="330" y="98"/>
                  </a:lnTo>
                  <a:lnTo>
                    <a:pt x="330" y="98"/>
                  </a:lnTo>
                  <a:lnTo>
                    <a:pt x="334" y="90"/>
                  </a:lnTo>
                  <a:lnTo>
                    <a:pt x="336" y="82"/>
                  </a:lnTo>
                  <a:lnTo>
                    <a:pt x="334" y="72"/>
                  </a:lnTo>
                  <a:lnTo>
                    <a:pt x="330" y="64"/>
                  </a:lnTo>
                  <a:lnTo>
                    <a:pt x="330" y="64"/>
                  </a:lnTo>
                  <a:close/>
                  <a:moveTo>
                    <a:pt x="218" y="58"/>
                  </a:moveTo>
                  <a:lnTo>
                    <a:pt x="218" y="58"/>
                  </a:lnTo>
                  <a:lnTo>
                    <a:pt x="220" y="56"/>
                  </a:lnTo>
                  <a:lnTo>
                    <a:pt x="224" y="54"/>
                  </a:lnTo>
                  <a:lnTo>
                    <a:pt x="228" y="56"/>
                  </a:lnTo>
                  <a:lnTo>
                    <a:pt x="232" y="58"/>
                  </a:lnTo>
                  <a:lnTo>
                    <a:pt x="232" y="58"/>
                  </a:lnTo>
                  <a:lnTo>
                    <a:pt x="234" y="62"/>
                  </a:lnTo>
                  <a:lnTo>
                    <a:pt x="234" y="66"/>
                  </a:lnTo>
                  <a:lnTo>
                    <a:pt x="234" y="66"/>
                  </a:lnTo>
                  <a:lnTo>
                    <a:pt x="234" y="68"/>
                  </a:lnTo>
                  <a:lnTo>
                    <a:pt x="232" y="72"/>
                  </a:lnTo>
                  <a:lnTo>
                    <a:pt x="232" y="72"/>
                  </a:lnTo>
                  <a:lnTo>
                    <a:pt x="228" y="74"/>
                  </a:lnTo>
                  <a:lnTo>
                    <a:pt x="224" y="76"/>
                  </a:lnTo>
                  <a:lnTo>
                    <a:pt x="224" y="76"/>
                  </a:lnTo>
                  <a:lnTo>
                    <a:pt x="220" y="74"/>
                  </a:lnTo>
                  <a:lnTo>
                    <a:pt x="218" y="72"/>
                  </a:lnTo>
                  <a:lnTo>
                    <a:pt x="218" y="72"/>
                  </a:lnTo>
                  <a:lnTo>
                    <a:pt x="216" y="68"/>
                  </a:lnTo>
                  <a:lnTo>
                    <a:pt x="214" y="66"/>
                  </a:lnTo>
                  <a:lnTo>
                    <a:pt x="216" y="62"/>
                  </a:lnTo>
                  <a:lnTo>
                    <a:pt x="218" y="58"/>
                  </a:lnTo>
                  <a:lnTo>
                    <a:pt x="218" y="58"/>
                  </a:lnTo>
                  <a:close/>
                  <a:moveTo>
                    <a:pt x="206" y="92"/>
                  </a:moveTo>
                  <a:lnTo>
                    <a:pt x="206" y="92"/>
                  </a:lnTo>
                  <a:lnTo>
                    <a:pt x="210" y="90"/>
                  </a:lnTo>
                  <a:lnTo>
                    <a:pt x="214" y="90"/>
                  </a:lnTo>
                  <a:lnTo>
                    <a:pt x="218" y="90"/>
                  </a:lnTo>
                  <a:lnTo>
                    <a:pt x="220" y="92"/>
                  </a:lnTo>
                  <a:lnTo>
                    <a:pt x="220" y="92"/>
                  </a:lnTo>
                  <a:lnTo>
                    <a:pt x="222" y="96"/>
                  </a:lnTo>
                  <a:lnTo>
                    <a:pt x="224" y="100"/>
                  </a:lnTo>
                  <a:lnTo>
                    <a:pt x="224" y="100"/>
                  </a:lnTo>
                  <a:lnTo>
                    <a:pt x="222" y="104"/>
                  </a:lnTo>
                  <a:lnTo>
                    <a:pt x="220" y="106"/>
                  </a:lnTo>
                  <a:lnTo>
                    <a:pt x="220" y="106"/>
                  </a:lnTo>
                  <a:lnTo>
                    <a:pt x="218" y="110"/>
                  </a:lnTo>
                  <a:lnTo>
                    <a:pt x="214" y="110"/>
                  </a:lnTo>
                  <a:lnTo>
                    <a:pt x="214" y="110"/>
                  </a:lnTo>
                  <a:lnTo>
                    <a:pt x="210" y="110"/>
                  </a:lnTo>
                  <a:lnTo>
                    <a:pt x="206" y="106"/>
                  </a:lnTo>
                  <a:lnTo>
                    <a:pt x="206" y="106"/>
                  </a:lnTo>
                  <a:lnTo>
                    <a:pt x="204" y="104"/>
                  </a:lnTo>
                  <a:lnTo>
                    <a:pt x="202" y="100"/>
                  </a:lnTo>
                  <a:lnTo>
                    <a:pt x="202" y="100"/>
                  </a:lnTo>
                  <a:lnTo>
                    <a:pt x="204" y="96"/>
                  </a:lnTo>
                  <a:lnTo>
                    <a:pt x="206" y="92"/>
                  </a:lnTo>
                  <a:lnTo>
                    <a:pt x="206" y="92"/>
                  </a:lnTo>
                  <a:close/>
                  <a:moveTo>
                    <a:pt x="60" y="266"/>
                  </a:moveTo>
                  <a:lnTo>
                    <a:pt x="60" y="266"/>
                  </a:lnTo>
                  <a:lnTo>
                    <a:pt x="58" y="268"/>
                  </a:lnTo>
                  <a:lnTo>
                    <a:pt x="54" y="270"/>
                  </a:lnTo>
                  <a:lnTo>
                    <a:pt x="54" y="270"/>
                  </a:lnTo>
                  <a:lnTo>
                    <a:pt x="50" y="268"/>
                  </a:lnTo>
                  <a:lnTo>
                    <a:pt x="46" y="266"/>
                  </a:lnTo>
                  <a:lnTo>
                    <a:pt x="46" y="266"/>
                  </a:lnTo>
                  <a:lnTo>
                    <a:pt x="44" y="262"/>
                  </a:lnTo>
                  <a:lnTo>
                    <a:pt x="44" y="260"/>
                  </a:lnTo>
                  <a:lnTo>
                    <a:pt x="44" y="256"/>
                  </a:lnTo>
                  <a:lnTo>
                    <a:pt x="46" y="252"/>
                  </a:lnTo>
                  <a:lnTo>
                    <a:pt x="46" y="252"/>
                  </a:lnTo>
                  <a:lnTo>
                    <a:pt x="50" y="250"/>
                  </a:lnTo>
                  <a:lnTo>
                    <a:pt x="54" y="250"/>
                  </a:lnTo>
                  <a:lnTo>
                    <a:pt x="58" y="250"/>
                  </a:lnTo>
                  <a:lnTo>
                    <a:pt x="60" y="252"/>
                  </a:lnTo>
                  <a:lnTo>
                    <a:pt x="60" y="252"/>
                  </a:lnTo>
                  <a:lnTo>
                    <a:pt x="64" y="256"/>
                  </a:lnTo>
                  <a:lnTo>
                    <a:pt x="64" y="260"/>
                  </a:lnTo>
                  <a:lnTo>
                    <a:pt x="64" y="260"/>
                  </a:lnTo>
                  <a:lnTo>
                    <a:pt x="64" y="264"/>
                  </a:lnTo>
                  <a:lnTo>
                    <a:pt x="60" y="266"/>
                  </a:lnTo>
                  <a:lnTo>
                    <a:pt x="60" y="266"/>
                  </a:lnTo>
                  <a:close/>
                  <a:moveTo>
                    <a:pt x="58" y="232"/>
                  </a:moveTo>
                  <a:lnTo>
                    <a:pt x="58" y="232"/>
                  </a:lnTo>
                  <a:lnTo>
                    <a:pt x="56" y="228"/>
                  </a:lnTo>
                  <a:lnTo>
                    <a:pt x="56" y="224"/>
                  </a:lnTo>
                  <a:lnTo>
                    <a:pt x="56" y="220"/>
                  </a:lnTo>
                  <a:lnTo>
                    <a:pt x="58" y="218"/>
                  </a:lnTo>
                  <a:lnTo>
                    <a:pt x="58" y="218"/>
                  </a:lnTo>
                  <a:lnTo>
                    <a:pt x="62" y="216"/>
                  </a:lnTo>
                  <a:lnTo>
                    <a:pt x="66" y="214"/>
                  </a:lnTo>
                  <a:lnTo>
                    <a:pt x="70" y="216"/>
                  </a:lnTo>
                  <a:lnTo>
                    <a:pt x="72" y="218"/>
                  </a:lnTo>
                  <a:lnTo>
                    <a:pt x="72" y="218"/>
                  </a:lnTo>
                  <a:lnTo>
                    <a:pt x="74" y="220"/>
                  </a:lnTo>
                  <a:lnTo>
                    <a:pt x="76" y="224"/>
                  </a:lnTo>
                  <a:lnTo>
                    <a:pt x="74" y="228"/>
                  </a:lnTo>
                  <a:lnTo>
                    <a:pt x="72" y="232"/>
                  </a:lnTo>
                  <a:lnTo>
                    <a:pt x="72" y="232"/>
                  </a:lnTo>
                  <a:lnTo>
                    <a:pt x="70" y="234"/>
                  </a:lnTo>
                  <a:lnTo>
                    <a:pt x="66" y="234"/>
                  </a:lnTo>
                  <a:lnTo>
                    <a:pt x="66" y="234"/>
                  </a:lnTo>
                  <a:lnTo>
                    <a:pt x="62" y="234"/>
                  </a:lnTo>
                  <a:lnTo>
                    <a:pt x="58" y="232"/>
                  </a:lnTo>
                  <a:lnTo>
                    <a:pt x="58" y="232"/>
                  </a:lnTo>
                  <a:close/>
                  <a:moveTo>
                    <a:pt x="84" y="290"/>
                  </a:moveTo>
                  <a:lnTo>
                    <a:pt x="84" y="290"/>
                  </a:lnTo>
                  <a:lnTo>
                    <a:pt x="80" y="292"/>
                  </a:lnTo>
                  <a:lnTo>
                    <a:pt x="76" y="292"/>
                  </a:lnTo>
                  <a:lnTo>
                    <a:pt x="76" y="292"/>
                  </a:lnTo>
                  <a:lnTo>
                    <a:pt x="72" y="292"/>
                  </a:lnTo>
                  <a:lnTo>
                    <a:pt x="70" y="290"/>
                  </a:lnTo>
                  <a:lnTo>
                    <a:pt x="70" y="290"/>
                  </a:lnTo>
                  <a:lnTo>
                    <a:pt x="68" y="286"/>
                  </a:lnTo>
                  <a:lnTo>
                    <a:pt x="66" y="282"/>
                  </a:lnTo>
                  <a:lnTo>
                    <a:pt x="66" y="282"/>
                  </a:lnTo>
                  <a:lnTo>
                    <a:pt x="68" y="278"/>
                  </a:lnTo>
                  <a:lnTo>
                    <a:pt x="70" y="276"/>
                  </a:lnTo>
                  <a:lnTo>
                    <a:pt x="70" y="276"/>
                  </a:lnTo>
                  <a:lnTo>
                    <a:pt x="74" y="272"/>
                  </a:lnTo>
                  <a:lnTo>
                    <a:pt x="76" y="272"/>
                  </a:lnTo>
                  <a:lnTo>
                    <a:pt x="80" y="272"/>
                  </a:lnTo>
                  <a:lnTo>
                    <a:pt x="84" y="276"/>
                  </a:lnTo>
                  <a:lnTo>
                    <a:pt x="84" y="276"/>
                  </a:lnTo>
                  <a:lnTo>
                    <a:pt x="86" y="278"/>
                  </a:lnTo>
                  <a:lnTo>
                    <a:pt x="88" y="282"/>
                  </a:lnTo>
                  <a:lnTo>
                    <a:pt x="86" y="286"/>
                  </a:lnTo>
                  <a:lnTo>
                    <a:pt x="84" y="290"/>
                  </a:lnTo>
                  <a:lnTo>
                    <a:pt x="84" y="290"/>
                  </a:lnTo>
                  <a:close/>
                  <a:moveTo>
                    <a:pt x="96" y="254"/>
                  </a:moveTo>
                  <a:lnTo>
                    <a:pt x="96" y="254"/>
                  </a:lnTo>
                  <a:lnTo>
                    <a:pt x="92" y="256"/>
                  </a:lnTo>
                  <a:lnTo>
                    <a:pt x="88" y="258"/>
                  </a:lnTo>
                  <a:lnTo>
                    <a:pt x="88" y="258"/>
                  </a:lnTo>
                  <a:lnTo>
                    <a:pt x="84" y="256"/>
                  </a:lnTo>
                  <a:lnTo>
                    <a:pt x="82" y="254"/>
                  </a:lnTo>
                  <a:lnTo>
                    <a:pt x="82" y="254"/>
                  </a:lnTo>
                  <a:lnTo>
                    <a:pt x="80" y="252"/>
                  </a:lnTo>
                  <a:lnTo>
                    <a:pt x="78" y="248"/>
                  </a:lnTo>
                  <a:lnTo>
                    <a:pt x="78" y="248"/>
                  </a:lnTo>
                  <a:lnTo>
                    <a:pt x="80" y="244"/>
                  </a:lnTo>
                  <a:lnTo>
                    <a:pt x="82" y="240"/>
                  </a:lnTo>
                  <a:lnTo>
                    <a:pt x="82" y="240"/>
                  </a:lnTo>
                  <a:lnTo>
                    <a:pt x="84" y="238"/>
                  </a:lnTo>
                  <a:lnTo>
                    <a:pt x="88" y="238"/>
                  </a:lnTo>
                  <a:lnTo>
                    <a:pt x="92" y="238"/>
                  </a:lnTo>
                  <a:lnTo>
                    <a:pt x="96" y="240"/>
                  </a:lnTo>
                  <a:lnTo>
                    <a:pt x="96" y="240"/>
                  </a:lnTo>
                  <a:lnTo>
                    <a:pt x="98" y="244"/>
                  </a:lnTo>
                  <a:lnTo>
                    <a:pt x="98" y="248"/>
                  </a:lnTo>
                  <a:lnTo>
                    <a:pt x="98" y="248"/>
                  </a:lnTo>
                  <a:lnTo>
                    <a:pt x="98" y="252"/>
                  </a:lnTo>
                  <a:lnTo>
                    <a:pt x="96" y="254"/>
                  </a:lnTo>
                  <a:lnTo>
                    <a:pt x="96" y="254"/>
                  </a:lnTo>
                  <a:close/>
                  <a:moveTo>
                    <a:pt x="100" y="224"/>
                  </a:moveTo>
                  <a:lnTo>
                    <a:pt x="100" y="224"/>
                  </a:lnTo>
                  <a:lnTo>
                    <a:pt x="96" y="222"/>
                  </a:lnTo>
                  <a:lnTo>
                    <a:pt x="92" y="220"/>
                  </a:lnTo>
                  <a:lnTo>
                    <a:pt x="92" y="220"/>
                  </a:lnTo>
                  <a:lnTo>
                    <a:pt x="90" y="216"/>
                  </a:lnTo>
                  <a:lnTo>
                    <a:pt x="90" y="212"/>
                  </a:lnTo>
                  <a:lnTo>
                    <a:pt x="90" y="210"/>
                  </a:lnTo>
                  <a:lnTo>
                    <a:pt x="92" y="206"/>
                  </a:lnTo>
                  <a:lnTo>
                    <a:pt x="92" y="206"/>
                  </a:lnTo>
                  <a:lnTo>
                    <a:pt x="96" y="204"/>
                  </a:lnTo>
                  <a:lnTo>
                    <a:pt x="100" y="202"/>
                  </a:lnTo>
                  <a:lnTo>
                    <a:pt x="104" y="204"/>
                  </a:lnTo>
                  <a:lnTo>
                    <a:pt x="108" y="206"/>
                  </a:lnTo>
                  <a:lnTo>
                    <a:pt x="108" y="206"/>
                  </a:lnTo>
                  <a:lnTo>
                    <a:pt x="110" y="210"/>
                  </a:lnTo>
                  <a:lnTo>
                    <a:pt x="110" y="212"/>
                  </a:lnTo>
                  <a:lnTo>
                    <a:pt x="110" y="216"/>
                  </a:lnTo>
                  <a:lnTo>
                    <a:pt x="108" y="220"/>
                  </a:lnTo>
                  <a:lnTo>
                    <a:pt x="108" y="220"/>
                  </a:lnTo>
                  <a:lnTo>
                    <a:pt x="104" y="222"/>
                  </a:lnTo>
                  <a:lnTo>
                    <a:pt x="100" y="224"/>
                  </a:lnTo>
                  <a:lnTo>
                    <a:pt x="100" y="224"/>
                  </a:lnTo>
                  <a:lnTo>
                    <a:pt x="100" y="224"/>
                  </a:lnTo>
                  <a:lnTo>
                    <a:pt x="100" y="224"/>
                  </a:lnTo>
                  <a:close/>
                  <a:moveTo>
                    <a:pt x="118" y="278"/>
                  </a:moveTo>
                  <a:lnTo>
                    <a:pt x="118" y="278"/>
                  </a:lnTo>
                  <a:lnTo>
                    <a:pt x="116" y="280"/>
                  </a:lnTo>
                  <a:lnTo>
                    <a:pt x="112" y="280"/>
                  </a:lnTo>
                  <a:lnTo>
                    <a:pt x="112" y="280"/>
                  </a:lnTo>
                  <a:lnTo>
                    <a:pt x="108" y="280"/>
                  </a:lnTo>
                  <a:lnTo>
                    <a:pt x="104" y="278"/>
                  </a:lnTo>
                  <a:lnTo>
                    <a:pt x="104" y="278"/>
                  </a:lnTo>
                  <a:lnTo>
                    <a:pt x="102" y="274"/>
                  </a:lnTo>
                  <a:lnTo>
                    <a:pt x="102" y="270"/>
                  </a:lnTo>
                  <a:lnTo>
                    <a:pt x="102" y="266"/>
                  </a:lnTo>
                  <a:lnTo>
                    <a:pt x="104" y="264"/>
                  </a:lnTo>
                  <a:lnTo>
                    <a:pt x="104" y="264"/>
                  </a:lnTo>
                  <a:lnTo>
                    <a:pt x="108" y="262"/>
                  </a:lnTo>
                  <a:lnTo>
                    <a:pt x="112" y="260"/>
                  </a:lnTo>
                  <a:lnTo>
                    <a:pt x="116" y="262"/>
                  </a:lnTo>
                  <a:lnTo>
                    <a:pt x="118" y="264"/>
                  </a:lnTo>
                  <a:lnTo>
                    <a:pt x="118" y="264"/>
                  </a:lnTo>
                  <a:lnTo>
                    <a:pt x="122" y="266"/>
                  </a:lnTo>
                  <a:lnTo>
                    <a:pt x="122" y="270"/>
                  </a:lnTo>
                  <a:lnTo>
                    <a:pt x="122" y="274"/>
                  </a:lnTo>
                  <a:lnTo>
                    <a:pt x="118" y="278"/>
                  </a:lnTo>
                  <a:lnTo>
                    <a:pt x="118" y="278"/>
                  </a:lnTo>
                  <a:close/>
                  <a:moveTo>
                    <a:pt x="130" y="244"/>
                  </a:moveTo>
                  <a:lnTo>
                    <a:pt x="130" y="244"/>
                  </a:lnTo>
                  <a:lnTo>
                    <a:pt x="128" y="246"/>
                  </a:lnTo>
                  <a:lnTo>
                    <a:pt x="124" y="246"/>
                  </a:lnTo>
                  <a:lnTo>
                    <a:pt x="124" y="246"/>
                  </a:lnTo>
                  <a:lnTo>
                    <a:pt x="120" y="246"/>
                  </a:lnTo>
                  <a:lnTo>
                    <a:pt x="116" y="244"/>
                  </a:lnTo>
                  <a:lnTo>
                    <a:pt x="116" y="244"/>
                  </a:lnTo>
                  <a:lnTo>
                    <a:pt x="114" y="240"/>
                  </a:lnTo>
                  <a:lnTo>
                    <a:pt x="112" y="236"/>
                  </a:lnTo>
                  <a:lnTo>
                    <a:pt x="114" y="232"/>
                  </a:lnTo>
                  <a:lnTo>
                    <a:pt x="116" y="228"/>
                  </a:lnTo>
                  <a:lnTo>
                    <a:pt x="116" y="228"/>
                  </a:lnTo>
                  <a:lnTo>
                    <a:pt x="120" y="226"/>
                  </a:lnTo>
                  <a:lnTo>
                    <a:pt x="124" y="226"/>
                  </a:lnTo>
                  <a:lnTo>
                    <a:pt x="128" y="226"/>
                  </a:lnTo>
                  <a:lnTo>
                    <a:pt x="130" y="228"/>
                  </a:lnTo>
                  <a:lnTo>
                    <a:pt x="130" y="228"/>
                  </a:lnTo>
                  <a:lnTo>
                    <a:pt x="132" y="232"/>
                  </a:lnTo>
                  <a:lnTo>
                    <a:pt x="134" y="236"/>
                  </a:lnTo>
                  <a:lnTo>
                    <a:pt x="134" y="236"/>
                  </a:lnTo>
                  <a:lnTo>
                    <a:pt x="132" y="240"/>
                  </a:lnTo>
                  <a:lnTo>
                    <a:pt x="130" y="244"/>
                  </a:lnTo>
                  <a:lnTo>
                    <a:pt x="130" y="244"/>
                  </a:lnTo>
                  <a:close/>
                  <a:moveTo>
                    <a:pt x="232" y="174"/>
                  </a:moveTo>
                  <a:lnTo>
                    <a:pt x="174" y="232"/>
                  </a:lnTo>
                  <a:lnTo>
                    <a:pt x="174" y="232"/>
                  </a:lnTo>
                  <a:lnTo>
                    <a:pt x="172" y="234"/>
                  </a:lnTo>
                  <a:lnTo>
                    <a:pt x="168" y="234"/>
                  </a:lnTo>
                  <a:lnTo>
                    <a:pt x="168" y="234"/>
                  </a:lnTo>
                  <a:lnTo>
                    <a:pt x="166" y="234"/>
                  </a:lnTo>
                  <a:lnTo>
                    <a:pt x="162" y="232"/>
                  </a:lnTo>
                  <a:lnTo>
                    <a:pt x="104" y="174"/>
                  </a:lnTo>
                  <a:lnTo>
                    <a:pt x="104" y="174"/>
                  </a:lnTo>
                  <a:lnTo>
                    <a:pt x="102" y="170"/>
                  </a:lnTo>
                  <a:lnTo>
                    <a:pt x="102" y="168"/>
                  </a:lnTo>
                  <a:lnTo>
                    <a:pt x="102" y="164"/>
                  </a:lnTo>
                  <a:lnTo>
                    <a:pt x="104" y="162"/>
                  </a:lnTo>
                  <a:lnTo>
                    <a:pt x="162" y="104"/>
                  </a:lnTo>
                  <a:lnTo>
                    <a:pt x="162" y="104"/>
                  </a:lnTo>
                  <a:lnTo>
                    <a:pt x="166" y="102"/>
                  </a:lnTo>
                  <a:lnTo>
                    <a:pt x="168" y="102"/>
                  </a:lnTo>
                  <a:lnTo>
                    <a:pt x="172" y="102"/>
                  </a:lnTo>
                  <a:lnTo>
                    <a:pt x="174" y="104"/>
                  </a:lnTo>
                  <a:lnTo>
                    <a:pt x="232" y="162"/>
                  </a:lnTo>
                  <a:lnTo>
                    <a:pt x="232" y="162"/>
                  </a:lnTo>
                  <a:lnTo>
                    <a:pt x="234" y="164"/>
                  </a:lnTo>
                  <a:lnTo>
                    <a:pt x="234" y="168"/>
                  </a:lnTo>
                  <a:lnTo>
                    <a:pt x="234" y="170"/>
                  </a:lnTo>
                  <a:lnTo>
                    <a:pt x="232" y="174"/>
                  </a:lnTo>
                  <a:lnTo>
                    <a:pt x="232" y="174"/>
                  </a:lnTo>
                  <a:close/>
                  <a:moveTo>
                    <a:pt x="244" y="130"/>
                  </a:moveTo>
                  <a:lnTo>
                    <a:pt x="244" y="130"/>
                  </a:lnTo>
                  <a:lnTo>
                    <a:pt x="240" y="132"/>
                  </a:lnTo>
                  <a:lnTo>
                    <a:pt x="236" y="134"/>
                  </a:lnTo>
                  <a:lnTo>
                    <a:pt x="236" y="134"/>
                  </a:lnTo>
                  <a:lnTo>
                    <a:pt x="232" y="132"/>
                  </a:lnTo>
                  <a:lnTo>
                    <a:pt x="230" y="130"/>
                  </a:lnTo>
                  <a:lnTo>
                    <a:pt x="230" y="130"/>
                  </a:lnTo>
                  <a:lnTo>
                    <a:pt x="226" y="126"/>
                  </a:lnTo>
                  <a:lnTo>
                    <a:pt x="226" y="122"/>
                  </a:lnTo>
                  <a:lnTo>
                    <a:pt x="226" y="122"/>
                  </a:lnTo>
                  <a:lnTo>
                    <a:pt x="226" y="118"/>
                  </a:lnTo>
                  <a:lnTo>
                    <a:pt x="230" y="116"/>
                  </a:lnTo>
                  <a:lnTo>
                    <a:pt x="230" y="116"/>
                  </a:lnTo>
                  <a:lnTo>
                    <a:pt x="232" y="114"/>
                  </a:lnTo>
                  <a:lnTo>
                    <a:pt x="236" y="112"/>
                  </a:lnTo>
                  <a:lnTo>
                    <a:pt x="240" y="114"/>
                  </a:lnTo>
                  <a:lnTo>
                    <a:pt x="244" y="116"/>
                  </a:lnTo>
                  <a:lnTo>
                    <a:pt x="244" y="116"/>
                  </a:lnTo>
                  <a:lnTo>
                    <a:pt x="246" y="118"/>
                  </a:lnTo>
                  <a:lnTo>
                    <a:pt x="246" y="122"/>
                  </a:lnTo>
                  <a:lnTo>
                    <a:pt x="246" y="122"/>
                  </a:lnTo>
                  <a:lnTo>
                    <a:pt x="246" y="126"/>
                  </a:lnTo>
                  <a:lnTo>
                    <a:pt x="244" y="130"/>
                  </a:lnTo>
                  <a:lnTo>
                    <a:pt x="244" y="130"/>
                  </a:lnTo>
                  <a:close/>
                  <a:moveTo>
                    <a:pt x="256" y="96"/>
                  </a:moveTo>
                  <a:lnTo>
                    <a:pt x="256" y="96"/>
                  </a:lnTo>
                  <a:lnTo>
                    <a:pt x="252" y="98"/>
                  </a:lnTo>
                  <a:lnTo>
                    <a:pt x="248" y="98"/>
                  </a:lnTo>
                  <a:lnTo>
                    <a:pt x="248" y="98"/>
                  </a:lnTo>
                  <a:lnTo>
                    <a:pt x="244" y="98"/>
                  </a:lnTo>
                  <a:lnTo>
                    <a:pt x="240" y="96"/>
                  </a:lnTo>
                  <a:lnTo>
                    <a:pt x="240" y="96"/>
                  </a:lnTo>
                  <a:lnTo>
                    <a:pt x="238" y="92"/>
                  </a:lnTo>
                  <a:lnTo>
                    <a:pt x="238" y="88"/>
                  </a:lnTo>
                  <a:lnTo>
                    <a:pt x="238" y="84"/>
                  </a:lnTo>
                  <a:lnTo>
                    <a:pt x="240" y="80"/>
                  </a:lnTo>
                  <a:lnTo>
                    <a:pt x="240" y="80"/>
                  </a:lnTo>
                  <a:lnTo>
                    <a:pt x="244" y="78"/>
                  </a:lnTo>
                  <a:lnTo>
                    <a:pt x="248" y="78"/>
                  </a:lnTo>
                  <a:lnTo>
                    <a:pt x="252" y="78"/>
                  </a:lnTo>
                  <a:lnTo>
                    <a:pt x="256" y="80"/>
                  </a:lnTo>
                  <a:lnTo>
                    <a:pt x="256" y="80"/>
                  </a:lnTo>
                  <a:lnTo>
                    <a:pt x="258" y="84"/>
                  </a:lnTo>
                  <a:lnTo>
                    <a:pt x="258" y="88"/>
                  </a:lnTo>
                  <a:lnTo>
                    <a:pt x="258" y="92"/>
                  </a:lnTo>
                  <a:lnTo>
                    <a:pt x="256" y="96"/>
                  </a:lnTo>
                  <a:lnTo>
                    <a:pt x="256" y="96"/>
                  </a:lnTo>
                  <a:close/>
                  <a:moveTo>
                    <a:pt x="252" y="60"/>
                  </a:moveTo>
                  <a:lnTo>
                    <a:pt x="252" y="60"/>
                  </a:lnTo>
                  <a:lnTo>
                    <a:pt x="250" y="58"/>
                  </a:lnTo>
                  <a:lnTo>
                    <a:pt x="250" y="54"/>
                  </a:lnTo>
                  <a:lnTo>
                    <a:pt x="250" y="54"/>
                  </a:lnTo>
                  <a:lnTo>
                    <a:pt x="250" y="50"/>
                  </a:lnTo>
                  <a:lnTo>
                    <a:pt x="252" y="46"/>
                  </a:lnTo>
                  <a:lnTo>
                    <a:pt x="252" y="46"/>
                  </a:lnTo>
                  <a:lnTo>
                    <a:pt x="256" y="44"/>
                  </a:lnTo>
                  <a:lnTo>
                    <a:pt x="260" y="44"/>
                  </a:lnTo>
                  <a:lnTo>
                    <a:pt x="264" y="44"/>
                  </a:lnTo>
                  <a:lnTo>
                    <a:pt x="266" y="46"/>
                  </a:lnTo>
                  <a:lnTo>
                    <a:pt x="266" y="46"/>
                  </a:lnTo>
                  <a:lnTo>
                    <a:pt x="268" y="50"/>
                  </a:lnTo>
                  <a:lnTo>
                    <a:pt x="270" y="54"/>
                  </a:lnTo>
                  <a:lnTo>
                    <a:pt x="268" y="58"/>
                  </a:lnTo>
                  <a:lnTo>
                    <a:pt x="266" y="60"/>
                  </a:lnTo>
                  <a:lnTo>
                    <a:pt x="266" y="60"/>
                  </a:lnTo>
                  <a:lnTo>
                    <a:pt x="264" y="62"/>
                  </a:lnTo>
                  <a:lnTo>
                    <a:pt x="260" y="64"/>
                  </a:lnTo>
                  <a:lnTo>
                    <a:pt x="260" y="64"/>
                  </a:lnTo>
                  <a:lnTo>
                    <a:pt x="256" y="62"/>
                  </a:lnTo>
                  <a:lnTo>
                    <a:pt x="252" y="60"/>
                  </a:lnTo>
                  <a:lnTo>
                    <a:pt x="252" y="60"/>
                  </a:lnTo>
                  <a:close/>
                  <a:moveTo>
                    <a:pt x="278" y="118"/>
                  </a:moveTo>
                  <a:lnTo>
                    <a:pt x="278" y="118"/>
                  </a:lnTo>
                  <a:lnTo>
                    <a:pt x="274" y="120"/>
                  </a:lnTo>
                  <a:lnTo>
                    <a:pt x="270" y="122"/>
                  </a:lnTo>
                  <a:lnTo>
                    <a:pt x="270" y="122"/>
                  </a:lnTo>
                  <a:lnTo>
                    <a:pt x="268" y="120"/>
                  </a:lnTo>
                  <a:lnTo>
                    <a:pt x="264" y="118"/>
                  </a:lnTo>
                  <a:lnTo>
                    <a:pt x="264" y="118"/>
                  </a:lnTo>
                  <a:lnTo>
                    <a:pt x="262" y="116"/>
                  </a:lnTo>
                  <a:lnTo>
                    <a:pt x="260" y="112"/>
                  </a:lnTo>
                  <a:lnTo>
                    <a:pt x="260" y="112"/>
                  </a:lnTo>
                  <a:lnTo>
                    <a:pt x="262" y="108"/>
                  </a:lnTo>
                  <a:lnTo>
                    <a:pt x="264" y="104"/>
                  </a:lnTo>
                  <a:lnTo>
                    <a:pt x="264" y="104"/>
                  </a:lnTo>
                  <a:lnTo>
                    <a:pt x="268" y="102"/>
                  </a:lnTo>
                  <a:lnTo>
                    <a:pt x="270" y="102"/>
                  </a:lnTo>
                  <a:lnTo>
                    <a:pt x="274" y="102"/>
                  </a:lnTo>
                  <a:lnTo>
                    <a:pt x="278" y="104"/>
                  </a:lnTo>
                  <a:lnTo>
                    <a:pt x="278" y="104"/>
                  </a:lnTo>
                  <a:lnTo>
                    <a:pt x="280" y="108"/>
                  </a:lnTo>
                  <a:lnTo>
                    <a:pt x="282" y="112"/>
                  </a:lnTo>
                  <a:lnTo>
                    <a:pt x="282" y="112"/>
                  </a:lnTo>
                  <a:lnTo>
                    <a:pt x="280" y="116"/>
                  </a:lnTo>
                  <a:lnTo>
                    <a:pt x="278" y="118"/>
                  </a:lnTo>
                  <a:lnTo>
                    <a:pt x="278" y="118"/>
                  </a:lnTo>
                  <a:close/>
                  <a:moveTo>
                    <a:pt x="290" y="84"/>
                  </a:moveTo>
                  <a:lnTo>
                    <a:pt x="290" y="84"/>
                  </a:lnTo>
                  <a:lnTo>
                    <a:pt x="286" y="86"/>
                  </a:lnTo>
                  <a:lnTo>
                    <a:pt x="282" y="86"/>
                  </a:lnTo>
                  <a:lnTo>
                    <a:pt x="282" y="86"/>
                  </a:lnTo>
                  <a:lnTo>
                    <a:pt x="278" y="86"/>
                  </a:lnTo>
                  <a:lnTo>
                    <a:pt x="276" y="84"/>
                  </a:lnTo>
                  <a:lnTo>
                    <a:pt x="276" y="84"/>
                  </a:lnTo>
                  <a:lnTo>
                    <a:pt x="274" y="80"/>
                  </a:lnTo>
                  <a:lnTo>
                    <a:pt x="272" y="76"/>
                  </a:lnTo>
                  <a:lnTo>
                    <a:pt x="272" y="76"/>
                  </a:lnTo>
                  <a:lnTo>
                    <a:pt x="274" y="72"/>
                  </a:lnTo>
                  <a:lnTo>
                    <a:pt x="276" y="70"/>
                  </a:lnTo>
                  <a:lnTo>
                    <a:pt x="276" y="70"/>
                  </a:lnTo>
                  <a:lnTo>
                    <a:pt x="278" y="68"/>
                  </a:lnTo>
                  <a:lnTo>
                    <a:pt x="282" y="66"/>
                  </a:lnTo>
                  <a:lnTo>
                    <a:pt x="286" y="68"/>
                  </a:lnTo>
                  <a:lnTo>
                    <a:pt x="290" y="70"/>
                  </a:lnTo>
                  <a:lnTo>
                    <a:pt x="290" y="70"/>
                  </a:lnTo>
                  <a:lnTo>
                    <a:pt x="292" y="72"/>
                  </a:lnTo>
                  <a:lnTo>
                    <a:pt x="292" y="76"/>
                  </a:lnTo>
                  <a:lnTo>
                    <a:pt x="292" y="76"/>
                  </a:lnTo>
                  <a:lnTo>
                    <a:pt x="292" y="80"/>
                  </a:lnTo>
                  <a:lnTo>
                    <a:pt x="290" y="84"/>
                  </a:lnTo>
                  <a:lnTo>
                    <a:pt x="290" y="84"/>
                  </a:lnTo>
                  <a:close/>
                  <a:moveTo>
                    <a:pt x="168" y="122"/>
                  </a:moveTo>
                  <a:lnTo>
                    <a:pt x="214" y="168"/>
                  </a:lnTo>
                  <a:lnTo>
                    <a:pt x="168" y="214"/>
                  </a:lnTo>
                  <a:lnTo>
                    <a:pt x="122" y="168"/>
                  </a:lnTo>
                  <a:lnTo>
                    <a:pt x="168" y="12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10" name="Group 109">
            <a:extLst>
              <a:ext uri="{FF2B5EF4-FFF2-40B4-BE49-F238E27FC236}">
                <a16:creationId xmlns:a16="http://schemas.microsoft.com/office/drawing/2014/main" id="{76164F33-8E5B-4410-AE24-B01554E57295}"/>
              </a:ext>
            </a:extLst>
          </p:cNvPr>
          <p:cNvGrpSpPr/>
          <p:nvPr/>
        </p:nvGrpSpPr>
        <p:grpSpPr>
          <a:xfrm>
            <a:off x="5162133" y="1595303"/>
            <a:ext cx="612000" cy="612000"/>
            <a:chOff x="4091659" y="2258092"/>
            <a:chExt cx="612000" cy="612000"/>
          </a:xfrm>
        </p:grpSpPr>
        <p:sp>
          <p:nvSpPr>
            <p:cNvPr id="111" name="Oval 110">
              <a:extLst>
                <a:ext uri="{FF2B5EF4-FFF2-40B4-BE49-F238E27FC236}">
                  <a16:creationId xmlns:a16="http://schemas.microsoft.com/office/drawing/2014/main" id="{F2705E48-33B4-408D-8099-CE1168F53D42}"/>
                </a:ext>
              </a:extLst>
            </p:cNvPr>
            <p:cNvSpPr/>
            <p:nvPr/>
          </p:nvSpPr>
          <p:spPr bwMode="ltGray">
            <a:xfrm>
              <a:off x="4091659"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12" name="Freeform 4886">
              <a:extLst>
                <a:ext uri="{FF2B5EF4-FFF2-40B4-BE49-F238E27FC236}">
                  <a16:creationId xmlns:a16="http://schemas.microsoft.com/office/drawing/2014/main" id="{037B4E55-6A95-42EA-9449-DBD5EE695D03}"/>
                </a:ext>
              </a:extLst>
            </p:cNvPr>
            <p:cNvSpPr>
              <a:spLocks/>
            </p:cNvSpPr>
            <p:nvPr/>
          </p:nvSpPr>
          <p:spPr bwMode="auto">
            <a:xfrm>
              <a:off x="4203817" y="2370250"/>
              <a:ext cx="387684" cy="387684"/>
            </a:xfrm>
            <a:custGeom>
              <a:avLst/>
              <a:gdLst>
                <a:gd name="T0" fmla="*/ 320 w 320"/>
                <a:gd name="T1" fmla="*/ 124 h 320"/>
                <a:gd name="T2" fmla="*/ 320 w 320"/>
                <a:gd name="T3" fmla="*/ 196 h 320"/>
                <a:gd name="T4" fmla="*/ 320 w 320"/>
                <a:gd name="T5" fmla="*/ 196 h 320"/>
                <a:gd name="T6" fmla="*/ 318 w 320"/>
                <a:gd name="T7" fmla="*/ 202 h 320"/>
                <a:gd name="T8" fmla="*/ 316 w 320"/>
                <a:gd name="T9" fmla="*/ 208 h 320"/>
                <a:gd name="T10" fmla="*/ 310 w 320"/>
                <a:gd name="T11" fmla="*/ 210 h 320"/>
                <a:gd name="T12" fmla="*/ 304 w 320"/>
                <a:gd name="T13" fmla="*/ 212 h 320"/>
                <a:gd name="T14" fmla="*/ 212 w 320"/>
                <a:gd name="T15" fmla="*/ 212 h 320"/>
                <a:gd name="T16" fmla="*/ 212 w 320"/>
                <a:gd name="T17" fmla="*/ 304 h 320"/>
                <a:gd name="T18" fmla="*/ 212 w 320"/>
                <a:gd name="T19" fmla="*/ 304 h 320"/>
                <a:gd name="T20" fmla="*/ 210 w 320"/>
                <a:gd name="T21" fmla="*/ 310 h 320"/>
                <a:gd name="T22" fmla="*/ 208 w 320"/>
                <a:gd name="T23" fmla="*/ 316 h 320"/>
                <a:gd name="T24" fmla="*/ 202 w 320"/>
                <a:gd name="T25" fmla="*/ 318 h 320"/>
                <a:gd name="T26" fmla="*/ 196 w 320"/>
                <a:gd name="T27" fmla="*/ 320 h 320"/>
                <a:gd name="T28" fmla="*/ 124 w 320"/>
                <a:gd name="T29" fmla="*/ 320 h 320"/>
                <a:gd name="T30" fmla="*/ 124 w 320"/>
                <a:gd name="T31" fmla="*/ 320 h 320"/>
                <a:gd name="T32" fmla="*/ 118 w 320"/>
                <a:gd name="T33" fmla="*/ 318 h 320"/>
                <a:gd name="T34" fmla="*/ 112 w 320"/>
                <a:gd name="T35" fmla="*/ 316 h 320"/>
                <a:gd name="T36" fmla="*/ 110 w 320"/>
                <a:gd name="T37" fmla="*/ 310 h 320"/>
                <a:gd name="T38" fmla="*/ 108 w 320"/>
                <a:gd name="T39" fmla="*/ 304 h 320"/>
                <a:gd name="T40" fmla="*/ 108 w 320"/>
                <a:gd name="T41" fmla="*/ 212 h 320"/>
                <a:gd name="T42" fmla="*/ 16 w 320"/>
                <a:gd name="T43" fmla="*/ 212 h 320"/>
                <a:gd name="T44" fmla="*/ 16 w 320"/>
                <a:gd name="T45" fmla="*/ 212 h 320"/>
                <a:gd name="T46" fmla="*/ 10 w 320"/>
                <a:gd name="T47" fmla="*/ 210 h 320"/>
                <a:gd name="T48" fmla="*/ 4 w 320"/>
                <a:gd name="T49" fmla="*/ 208 h 320"/>
                <a:gd name="T50" fmla="*/ 2 w 320"/>
                <a:gd name="T51" fmla="*/ 202 h 320"/>
                <a:gd name="T52" fmla="*/ 0 w 320"/>
                <a:gd name="T53" fmla="*/ 196 h 320"/>
                <a:gd name="T54" fmla="*/ 0 w 320"/>
                <a:gd name="T55" fmla="*/ 124 h 320"/>
                <a:gd name="T56" fmla="*/ 0 w 320"/>
                <a:gd name="T57" fmla="*/ 124 h 320"/>
                <a:gd name="T58" fmla="*/ 2 w 320"/>
                <a:gd name="T59" fmla="*/ 118 h 320"/>
                <a:gd name="T60" fmla="*/ 4 w 320"/>
                <a:gd name="T61" fmla="*/ 112 h 320"/>
                <a:gd name="T62" fmla="*/ 10 w 320"/>
                <a:gd name="T63" fmla="*/ 110 h 320"/>
                <a:gd name="T64" fmla="*/ 16 w 320"/>
                <a:gd name="T65" fmla="*/ 108 h 320"/>
                <a:gd name="T66" fmla="*/ 108 w 320"/>
                <a:gd name="T67" fmla="*/ 108 h 320"/>
                <a:gd name="T68" fmla="*/ 108 w 320"/>
                <a:gd name="T69" fmla="*/ 16 h 320"/>
                <a:gd name="T70" fmla="*/ 108 w 320"/>
                <a:gd name="T71" fmla="*/ 16 h 320"/>
                <a:gd name="T72" fmla="*/ 110 w 320"/>
                <a:gd name="T73" fmla="*/ 10 h 320"/>
                <a:gd name="T74" fmla="*/ 112 w 320"/>
                <a:gd name="T75" fmla="*/ 4 h 320"/>
                <a:gd name="T76" fmla="*/ 118 w 320"/>
                <a:gd name="T77" fmla="*/ 2 h 320"/>
                <a:gd name="T78" fmla="*/ 124 w 320"/>
                <a:gd name="T79" fmla="*/ 0 h 320"/>
                <a:gd name="T80" fmla="*/ 196 w 320"/>
                <a:gd name="T81" fmla="*/ 0 h 320"/>
                <a:gd name="T82" fmla="*/ 196 w 320"/>
                <a:gd name="T83" fmla="*/ 0 h 320"/>
                <a:gd name="T84" fmla="*/ 202 w 320"/>
                <a:gd name="T85" fmla="*/ 2 h 320"/>
                <a:gd name="T86" fmla="*/ 208 w 320"/>
                <a:gd name="T87" fmla="*/ 4 h 320"/>
                <a:gd name="T88" fmla="*/ 210 w 320"/>
                <a:gd name="T89" fmla="*/ 10 h 320"/>
                <a:gd name="T90" fmla="*/ 212 w 320"/>
                <a:gd name="T91" fmla="*/ 16 h 320"/>
                <a:gd name="T92" fmla="*/ 212 w 320"/>
                <a:gd name="T93" fmla="*/ 108 h 320"/>
                <a:gd name="T94" fmla="*/ 304 w 320"/>
                <a:gd name="T95" fmla="*/ 108 h 320"/>
                <a:gd name="T96" fmla="*/ 304 w 320"/>
                <a:gd name="T97" fmla="*/ 108 h 320"/>
                <a:gd name="T98" fmla="*/ 310 w 320"/>
                <a:gd name="T99" fmla="*/ 110 h 320"/>
                <a:gd name="T100" fmla="*/ 316 w 320"/>
                <a:gd name="T101" fmla="*/ 112 h 320"/>
                <a:gd name="T102" fmla="*/ 318 w 320"/>
                <a:gd name="T103" fmla="*/ 118 h 320"/>
                <a:gd name="T104" fmla="*/ 320 w 320"/>
                <a:gd name="T105" fmla="*/ 124 h 320"/>
                <a:gd name="T106" fmla="*/ 320 w 320"/>
                <a:gd name="T107" fmla="*/ 12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20" h="320">
                  <a:moveTo>
                    <a:pt x="320" y="124"/>
                  </a:moveTo>
                  <a:lnTo>
                    <a:pt x="320" y="196"/>
                  </a:lnTo>
                  <a:lnTo>
                    <a:pt x="320" y="196"/>
                  </a:lnTo>
                  <a:lnTo>
                    <a:pt x="318" y="202"/>
                  </a:lnTo>
                  <a:lnTo>
                    <a:pt x="316" y="208"/>
                  </a:lnTo>
                  <a:lnTo>
                    <a:pt x="310" y="210"/>
                  </a:lnTo>
                  <a:lnTo>
                    <a:pt x="304" y="212"/>
                  </a:lnTo>
                  <a:lnTo>
                    <a:pt x="212" y="212"/>
                  </a:lnTo>
                  <a:lnTo>
                    <a:pt x="212" y="304"/>
                  </a:lnTo>
                  <a:lnTo>
                    <a:pt x="212" y="304"/>
                  </a:lnTo>
                  <a:lnTo>
                    <a:pt x="210" y="310"/>
                  </a:lnTo>
                  <a:lnTo>
                    <a:pt x="208" y="316"/>
                  </a:lnTo>
                  <a:lnTo>
                    <a:pt x="202" y="318"/>
                  </a:lnTo>
                  <a:lnTo>
                    <a:pt x="196" y="320"/>
                  </a:lnTo>
                  <a:lnTo>
                    <a:pt x="124" y="320"/>
                  </a:lnTo>
                  <a:lnTo>
                    <a:pt x="124" y="320"/>
                  </a:lnTo>
                  <a:lnTo>
                    <a:pt x="118" y="318"/>
                  </a:lnTo>
                  <a:lnTo>
                    <a:pt x="112" y="316"/>
                  </a:lnTo>
                  <a:lnTo>
                    <a:pt x="110" y="310"/>
                  </a:lnTo>
                  <a:lnTo>
                    <a:pt x="108" y="304"/>
                  </a:lnTo>
                  <a:lnTo>
                    <a:pt x="108" y="212"/>
                  </a:lnTo>
                  <a:lnTo>
                    <a:pt x="16" y="212"/>
                  </a:lnTo>
                  <a:lnTo>
                    <a:pt x="16" y="212"/>
                  </a:lnTo>
                  <a:lnTo>
                    <a:pt x="10" y="210"/>
                  </a:lnTo>
                  <a:lnTo>
                    <a:pt x="4" y="208"/>
                  </a:lnTo>
                  <a:lnTo>
                    <a:pt x="2" y="202"/>
                  </a:lnTo>
                  <a:lnTo>
                    <a:pt x="0" y="196"/>
                  </a:lnTo>
                  <a:lnTo>
                    <a:pt x="0" y="124"/>
                  </a:lnTo>
                  <a:lnTo>
                    <a:pt x="0" y="124"/>
                  </a:lnTo>
                  <a:lnTo>
                    <a:pt x="2" y="118"/>
                  </a:lnTo>
                  <a:lnTo>
                    <a:pt x="4" y="112"/>
                  </a:lnTo>
                  <a:lnTo>
                    <a:pt x="10" y="110"/>
                  </a:lnTo>
                  <a:lnTo>
                    <a:pt x="16" y="108"/>
                  </a:lnTo>
                  <a:lnTo>
                    <a:pt x="108" y="108"/>
                  </a:lnTo>
                  <a:lnTo>
                    <a:pt x="108" y="16"/>
                  </a:lnTo>
                  <a:lnTo>
                    <a:pt x="108" y="16"/>
                  </a:lnTo>
                  <a:lnTo>
                    <a:pt x="110" y="10"/>
                  </a:lnTo>
                  <a:lnTo>
                    <a:pt x="112" y="4"/>
                  </a:lnTo>
                  <a:lnTo>
                    <a:pt x="118" y="2"/>
                  </a:lnTo>
                  <a:lnTo>
                    <a:pt x="124" y="0"/>
                  </a:lnTo>
                  <a:lnTo>
                    <a:pt x="196" y="0"/>
                  </a:lnTo>
                  <a:lnTo>
                    <a:pt x="196" y="0"/>
                  </a:lnTo>
                  <a:lnTo>
                    <a:pt x="202" y="2"/>
                  </a:lnTo>
                  <a:lnTo>
                    <a:pt x="208" y="4"/>
                  </a:lnTo>
                  <a:lnTo>
                    <a:pt x="210" y="10"/>
                  </a:lnTo>
                  <a:lnTo>
                    <a:pt x="212" y="16"/>
                  </a:lnTo>
                  <a:lnTo>
                    <a:pt x="212" y="108"/>
                  </a:lnTo>
                  <a:lnTo>
                    <a:pt x="304" y="108"/>
                  </a:lnTo>
                  <a:lnTo>
                    <a:pt x="304" y="108"/>
                  </a:lnTo>
                  <a:lnTo>
                    <a:pt x="310" y="110"/>
                  </a:lnTo>
                  <a:lnTo>
                    <a:pt x="316" y="112"/>
                  </a:lnTo>
                  <a:lnTo>
                    <a:pt x="318" y="118"/>
                  </a:lnTo>
                  <a:lnTo>
                    <a:pt x="320" y="124"/>
                  </a:lnTo>
                  <a:lnTo>
                    <a:pt x="320" y="12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13" name="Group 112">
            <a:extLst>
              <a:ext uri="{FF2B5EF4-FFF2-40B4-BE49-F238E27FC236}">
                <a16:creationId xmlns:a16="http://schemas.microsoft.com/office/drawing/2014/main" id="{006F1D87-753E-48AC-BC52-AA3E17A013C0}"/>
              </a:ext>
            </a:extLst>
          </p:cNvPr>
          <p:cNvGrpSpPr/>
          <p:nvPr/>
        </p:nvGrpSpPr>
        <p:grpSpPr>
          <a:xfrm>
            <a:off x="9542683" y="3817274"/>
            <a:ext cx="612000" cy="612000"/>
            <a:chOff x="9322641" y="4690710"/>
            <a:chExt cx="612000" cy="612000"/>
          </a:xfrm>
        </p:grpSpPr>
        <p:sp>
          <p:nvSpPr>
            <p:cNvPr id="114" name="Oval 113">
              <a:extLst>
                <a:ext uri="{FF2B5EF4-FFF2-40B4-BE49-F238E27FC236}">
                  <a16:creationId xmlns:a16="http://schemas.microsoft.com/office/drawing/2014/main" id="{19E84805-7442-4B4E-A6DF-CFEEA648C669}"/>
                </a:ext>
              </a:extLst>
            </p:cNvPr>
            <p:cNvSpPr/>
            <p:nvPr/>
          </p:nvSpPr>
          <p:spPr bwMode="ltGray">
            <a:xfrm>
              <a:off x="9322641"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15" name="Freeform 4920">
              <a:extLst>
                <a:ext uri="{FF2B5EF4-FFF2-40B4-BE49-F238E27FC236}">
                  <a16:creationId xmlns:a16="http://schemas.microsoft.com/office/drawing/2014/main" id="{A70DC35A-180B-406D-BD23-9B26B56C3224}"/>
                </a:ext>
              </a:extLst>
            </p:cNvPr>
            <p:cNvSpPr>
              <a:spLocks noEditPoints="1"/>
            </p:cNvSpPr>
            <p:nvPr/>
          </p:nvSpPr>
          <p:spPr bwMode="auto">
            <a:xfrm>
              <a:off x="9398454" y="4812811"/>
              <a:ext cx="460374" cy="375569"/>
            </a:xfrm>
            <a:custGeom>
              <a:avLst/>
              <a:gdLst>
                <a:gd name="T0" fmla="*/ 196 w 380"/>
                <a:gd name="T1" fmla="*/ 2 h 310"/>
                <a:gd name="T2" fmla="*/ 118 w 380"/>
                <a:gd name="T3" fmla="*/ 46 h 310"/>
                <a:gd name="T4" fmla="*/ 116 w 380"/>
                <a:gd name="T5" fmla="*/ 6 h 310"/>
                <a:gd name="T6" fmla="*/ 108 w 380"/>
                <a:gd name="T7" fmla="*/ 0 h 310"/>
                <a:gd name="T8" fmla="*/ 64 w 380"/>
                <a:gd name="T9" fmla="*/ 0 h 310"/>
                <a:gd name="T10" fmla="*/ 58 w 380"/>
                <a:gd name="T11" fmla="*/ 10 h 310"/>
                <a:gd name="T12" fmla="*/ 4 w 380"/>
                <a:gd name="T13" fmla="*/ 120 h 310"/>
                <a:gd name="T14" fmla="*/ 0 w 380"/>
                <a:gd name="T15" fmla="*/ 132 h 310"/>
                <a:gd name="T16" fmla="*/ 56 w 380"/>
                <a:gd name="T17" fmla="*/ 138 h 310"/>
                <a:gd name="T18" fmla="*/ 58 w 380"/>
                <a:gd name="T19" fmla="*/ 300 h 310"/>
                <a:gd name="T20" fmla="*/ 72 w 380"/>
                <a:gd name="T21" fmla="*/ 310 h 310"/>
                <a:gd name="T22" fmla="*/ 120 w 380"/>
                <a:gd name="T23" fmla="*/ 306 h 310"/>
                <a:gd name="T24" fmla="*/ 102 w 380"/>
                <a:gd name="T25" fmla="*/ 252 h 310"/>
                <a:gd name="T26" fmla="*/ 96 w 380"/>
                <a:gd name="T27" fmla="*/ 250 h 310"/>
                <a:gd name="T28" fmla="*/ 92 w 380"/>
                <a:gd name="T29" fmla="*/ 182 h 310"/>
                <a:gd name="T30" fmla="*/ 96 w 380"/>
                <a:gd name="T31" fmla="*/ 176 h 310"/>
                <a:gd name="T32" fmla="*/ 162 w 380"/>
                <a:gd name="T33" fmla="*/ 172 h 310"/>
                <a:gd name="T34" fmla="*/ 170 w 380"/>
                <a:gd name="T35" fmla="*/ 176 h 310"/>
                <a:gd name="T36" fmla="*/ 172 w 380"/>
                <a:gd name="T37" fmla="*/ 242 h 310"/>
                <a:gd name="T38" fmla="*/ 170 w 380"/>
                <a:gd name="T39" fmla="*/ 250 h 310"/>
                <a:gd name="T40" fmla="*/ 146 w 380"/>
                <a:gd name="T41" fmla="*/ 252 h 310"/>
                <a:gd name="T42" fmla="*/ 144 w 380"/>
                <a:gd name="T43" fmla="*/ 306 h 310"/>
                <a:gd name="T44" fmla="*/ 232 w 380"/>
                <a:gd name="T45" fmla="*/ 310 h 310"/>
                <a:gd name="T46" fmla="*/ 226 w 380"/>
                <a:gd name="T47" fmla="*/ 252 h 310"/>
                <a:gd name="T48" fmla="*/ 198 w 380"/>
                <a:gd name="T49" fmla="*/ 250 h 310"/>
                <a:gd name="T50" fmla="*/ 192 w 380"/>
                <a:gd name="T51" fmla="*/ 244 h 310"/>
                <a:gd name="T52" fmla="*/ 212 w 380"/>
                <a:gd name="T53" fmla="*/ 180 h 310"/>
                <a:gd name="T54" fmla="*/ 256 w 380"/>
                <a:gd name="T55" fmla="*/ 172 h 310"/>
                <a:gd name="T56" fmla="*/ 266 w 380"/>
                <a:gd name="T57" fmla="*/ 180 h 310"/>
                <a:gd name="T58" fmla="*/ 288 w 380"/>
                <a:gd name="T59" fmla="*/ 242 h 310"/>
                <a:gd name="T60" fmla="*/ 284 w 380"/>
                <a:gd name="T61" fmla="*/ 250 h 310"/>
                <a:gd name="T62" fmla="*/ 278 w 380"/>
                <a:gd name="T63" fmla="*/ 252 h 310"/>
                <a:gd name="T64" fmla="*/ 254 w 380"/>
                <a:gd name="T65" fmla="*/ 298 h 310"/>
                <a:gd name="T66" fmla="*/ 246 w 380"/>
                <a:gd name="T67" fmla="*/ 310 h 310"/>
                <a:gd name="T68" fmla="*/ 314 w 380"/>
                <a:gd name="T69" fmla="*/ 310 h 310"/>
                <a:gd name="T70" fmla="*/ 324 w 380"/>
                <a:gd name="T71" fmla="*/ 294 h 310"/>
                <a:gd name="T72" fmla="*/ 370 w 380"/>
                <a:gd name="T73" fmla="*/ 138 h 310"/>
                <a:gd name="T74" fmla="*/ 374 w 380"/>
                <a:gd name="T75" fmla="*/ 138 h 310"/>
                <a:gd name="T76" fmla="*/ 380 w 380"/>
                <a:gd name="T77" fmla="*/ 128 h 310"/>
                <a:gd name="T78" fmla="*/ 376 w 380"/>
                <a:gd name="T79" fmla="*/ 120 h 310"/>
                <a:gd name="T80" fmla="*/ 132 w 380"/>
                <a:gd name="T81" fmla="*/ 162 h 310"/>
                <a:gd name="T82" fmla="*/ 110 w 380"/>
                <a:gd name="T83" fmla="*/ 146 h 310"/>
                <a:gd name="T84" fmla="*/ 110 w 380"/>
                <a:gd name="T85" fmla="*/ 128 h 310"/>
                <a:gd name="T86" fmla="*/ 132 w 380"/>
                <a:gd name="T87" fmla="*/ 114 h 310"/>
                <a:gd name="T88" fmla="*/ 150 w 380"/>
                <a:gd name="T89" fmla="*/ 120 h 310"/>
                <a:gd name="T90" fmla="*/ 156 w 380"/>
                <a:gd name="T91" fmla="*/ 138 h 310"/>
                <a:gd name="T92" fmla="*/ 142 w 380"/>
                <a:gd name="T93" fmla="*/ 160 h 310"/>
                <a:gd name="T94" fmla="*/ 240 w 380"/>
                <a:gd name="T95" fmla="*/ 162 h 310"/>
                <a:gd name="T96" fmla="*/ 222 w 380"/>
                <a:gd name="T97" fmla="*/ 154 h 310"/>
                <a:gd name="T98" fmla="*/ 216 w 380"/>
                <a:gd name="T99" fmla="*/ 138 h 310"/>
                <a:gd name="T100" fmla="*/ 230 w 380"/>
                <a:gd name="T101" fmla="*/ 116 h 310"/>
                <a:gd name="T102" fmla="*/ 248 w 380"/>
                <a:gd name="T103" fmla="*/ 116 h 310"/>
                <a:gd name="T104" fmla="*/ 264 w 380"/>
                <a:gd name="T105" fmla="*/ 138 h 310"/>
                <a:gd name="T106" fmla="*/ 256 w 380"/>
                <a:gd name="T107" fmla="*/ 154 h 310"/>
                <a:gd name="T108" fmla="*/ 240 w 380"/>
                <a:gd name="T109" fmla="*/ 162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80" h="310">
                  <a:moveTo>
                    <a:pt x="376" y="120"/>
                  </a:moveTo>
                  <a:lnTo>
                    <a:pt x="196" y="2"/>
                  </a:lnTo>
                  <a:lnTo>
                    <a:pt x="196" y="2"/>
                  </a:lnTo>
                  <a:lnTo>
                    <a:pt x="190" y="0"/>
                  </a:lnTo>
                  <a:lnTo>
                    <a:pt x="184" y="2"/>
                  </a:lnTo>
                  <a:lnTo>
                    <a:pt x="118" y="46"/>
                  </a:lnTo>
                  <a:lnTo>
                    <a:pt x="118" y="10"/>
                  </a:lnTo>
                  <a:lnTo>
                    <a:pt x="118" y="10"/>
                  </a:lnTo>
                  <a:lnTo>
                    <a:pt x="116" y="6"/>
                  </a:lnTo>
                  <a:lnTo>
                    <a:pt x="114" y="4"/>
                  </a:lnTo>
                  <a:lnTo>
                    <a:pt x="112" y="0"/>
                  </a:lnTo>
                  <a:lnTo>
                    <a:pt x="108" y="0"/>
                  </a:lnTo>
                  <a:lnTo>
                    <a:pt x="68" y="0"/>
                  </a:lnTo>
                  <a:lnTo>
                    <a:pt x="68" y="0"/>
                  </a:lnTo>
                  <a:lnTo>
                    <a:pt x="64" y="0"/>
                  </a:lnTo>
                  <a:lnTo>
                    <a:pt x="60" y="4"/>
                  </a:lnTo>
                  <a:lnTo>
                    <a:pt x="58" y="6"/>
                  </a:lnTo>
                  <a:lnTo>
                    <a:pt x="58" y="10"/>
                  </a:lnTo>
                  <a:lnTo>
                    <a:pt x="58" y="86"/>
                  </a:lnTo>
                  <a:lnTo>
                    <a:pt x="4" y="120"/>
                  </a:lnTo>
                  <a:lnTo>
                    <a:pt x="4" y="120"/>
                  </a:lnTo>
                  <a:lnTo>
                    <a:pt x="0" y="124"/>
                  </a:lnTo>
                  <a:lnTo>
                    <a:pt x="0" y="132"/>
                  </a:lnTo>
                  <a:lnTo>
                    <a:pt x="0" y="132"/>
                  </a:lnTo>
                  <a:lnTo>
                    <a:pt x="4" y="136"/>
                  </a:lnTo>
                  <a:lnTo>
                    <a:pt x="10" y="138"/>
                  </a:lnTo>
                  <a:lnTo>
                    <a:pt x="56" y="138"/>
                  </a:lnTo>
                  <a:lnTo>
                    <a:pt x="56" y="294"/>
                  </a:lnTo>
                  <a:lnTo>
                    <a:pt x="56" y="294"/>
                  </a:lnTo>
                  <a:lnTo>
                    <a:pt x="58" y="300"/>
                  </a:lnTo>
                  <a:lnTo>
                    <a:pt x="62" y="306"/>
                  </a:lnTo>
                  <a:lnTo>
                    <a:pt x="66" y="310"/>
                  </a:lnTo>
                  <a:lnTo>
                    <a:pt x="72" y="310"/>
                  </a:lnTo>
                  <a:lnTo>
                    <a:pt x="126" y="310"/>
                  </a:lnTo>
                  <a:lnTo>
                    <a:pt x="126" y="310"/>
                  </a:lnTo>
                  <a:lnTo>
                    <a:pt x="120" y="306"/>
                  </a:lnTo>
                  <a:lnTo>
                    <a:pt x="118" y="298"/>
                  </a:lnTo>
                  <a:lnTo>
                    <a:pt x="118" y="252"/>
                  </a:lnTo>
                  <a:lnTo>
                    <a:pt x="102" y="252"/>
                  </a:lnTo>
                  <a:lnTo>
                    <a:pt x="102" y="252"/>
                  </a:lnTo>
                  <a:lnTo>
                    <a:pt x="98" y="252"/>
                  </a:lnTo>
                  <a:lnTo>
                    <a:pt x="96" y="250"/>
                  </a:lnTo>
                  <a:lnTo>
                    <a:pt x="94" y="246"/>
                  </a:lnTo>
                  <a:lnTo>
                    <a:pt x="92" y="242"/>
                  </a:lnTo>
                  <a:lnTo>
                    <a:pt x="92" y="182"/>
                  </a:lnTo>
                  <a:lnTo>
                    <a:pt x="92" y="182"/>
                  </a:lnTo>
                  <a:lnTo>
                    <a:pt x="94" y="178"/>
                  </a:lnTo>
                  <a:lnTo>
                    <a:pt x="96" y="176"/>
                  </a:lnTo>
                  <a:lnTo>
                    <a:pt x="98" y="174"/>
                  </a:lnTo>
                  <a:lnTo>
                    <a:pt x="102" y="172"/>
                  </a:lnTo>
                  <a:lnTo>
                    <a:pt x="162" y="172"/>
                  </a:lnTo>
                  <a:lnTo>
                    <a:pt x="162" y="172"/>
                  </a:lnTo>
                  <a:lnTo>
                    <a:pt x="166" y="174"/>
                  </a:lnTo>
                  <a:lnTo>
                    <a:pt x="170" y="176"/>
                  </a:lnTo>
                  <a:lnTo>
                    <a:pt x="172" y="178"/>
                  </a:lnTo>
                  <a:lnTo>
                    <a:pt x="172" y="182"/>
                  </a:lnTo>
                  <a:lnTo>
                    <a:pt x="172" y="242"/>
                  </a:lnTo>
                  <a:lnTo>
                    <a:pt x="172" y="242"/>
                  </a:lnTo>
                  <a:lnTo>
                    <a:pt x="172" y="246"/>
                  </a:lnTo>
                  <a:lnTo>
                    <a:pt x="170" y="250"/>
                  </a:lnTo>
                  <a:lnTo>
                    <a:pt x="166" y="252"/>
                  </a:lnTo>
                  <a:lnTo>
                    <a:pt x="162" y="252"/>
                  </a:lnTo>
                  <a:lnTo>
                    <a:pt x="146" y="252"/>
                  </a:lnTo>
                  <a:lnTo>
                    <a:pt x="146" y="298"/>
                  </a:lnTo>
                  <a:lnTo>
                    <a:pt x="146" y="298"/>
                  </a:lnTo>
                  <a:lnTo>
                    <a:pt x="144" y="306"/>
                  </a:lnTo>
                  <a:lnTo>
                    <a:pt x="140" y="310"/>
                  </a:lnTo>
                  <a:lnTo>
                    <a:pt x="232" y="310"/>
                  </a:lnTo>
                  <a:lnTo>
                    <a:pt x="232" y="310"/>
                  </a:lnTo>
                  <a:lnTo>
                    <a:pt x="228" y="306"/>
                  </a:lnTo>
                  <a:lnTo>
                    <a:pt x="226" y="298"/>
                  </a:lnTo>
                  <a:lnTo>
                    <a:pt x="226" y="252"/>
                  </a:lnTo>
                  <a:lnTo>
                    <a:pt x="202" y="252"/>
                  </a:lnTo>
                  <a:lnTo>
                    <a:pt x="202" y="252"/>
                  </a:lnTo>
                  <a:lnTo>
                    <a:pt x="198" y="250"/>
                  </a:lnTo>
                  <a:lnTo>
                    <a:pt x="194" y="248"/>
                  </a:lnTo>
                  <a:lnTo>
                    <a:pt x="194" y="248"/>
                  </a:lnTo>
                  <a:lnTo>
                    <a:pt x="192" y="244"/>
                  </a:lnTo>
                  <a:lnTo>
                    <a:pt x="192" y="238"/>
                  </a:lnTo>
                  <a:lnTo>
                    <a:pt x="212" y="180"/>
                  </a:lnTo>
                  <a:lnTo>
                    <a:pt x="212" y="180"/>
                  </a:lnTo>
                  <a:lnTo>
                    <a:pt x="216" y="174"/>
                  </a:lnTo>
                  <a:lnTo>
                    <a:pt x="222" y="172"/>
                  </a:lnTo>
                  <a:lnTo>
                    <a:pt x="256" y="172"/>
                  </a:lnTo>
                  <a:lnTo>
                    <a:pt x="256" y="172"/>
                  </a:lnTo>
                  <a:lnTo>
                    <a:pt x="262" y="174"/>
                  </a:lnTo>
                  <a:lnTo>
                    <a:pt x="266" y="180"/>
                  </a:lnTo>
                  <a:lnTo>
                    <a:pt x="286" y="238"/>
                  </a:lnTo>
                  <a:lnTo>
                    <a:pt x="286" y="238"/>
                  </a:lnTo>
                  <a:lnTo>
                    <a:pt x="288" y="242"/>
                  </a:lnTo>
                  <a:lnTo>
                    <a:pt x="288" y="242"/>
                  </a:lnTo>
                  <a:lnTo>
                    <a:pt x="286" y="246"/>
                  </a:lnTo>
                  <a:lnTo>
                    <a:pt x="284" y="250"/>
                  </a:lnTo>
                  <a:lnTo>
                    <a:pt x="282" y="252"/>
                  </a:lnTo>
                  <a:lnTo>
                    <a:pt x="278" y="252"/>
                  </a:lnTo>
                  <a:lnTo>
                    <a:pt x="278" y="252"/>
                  </a:lnTo>
                  <a:lnTo>
                    <a:pt x="278" y="252"/>
                  </a:lnTo>
                  <a:lnTo>
                    <a:pt x="254" y="252"/>
                  </a:lnTo>
                  <a:lnTo>
                    <a:pt x="254" y="298"/>
                  </a:lnTo>
                  <a:lnTo>
                    <a:pt x="254" y="298"/>
                  </a:lnTo>
                  <a:lnTo>
                    <a:pt x="252" y="306"/>
                  </a:lnTo>
                  <a:lnTo>
                    <a:pt x="246" y="310"/>
                  </a:lnTo>
                  <a:lnTo>
                    <a:pt x="308" y="310"/>
                  </a:lnTo>
                  <a:lnTo>
                    <a:pt x="308" y="310"/>
                  </a:lnTo>
                  <a:lnTo>
                    <a:pt x="314" y="310"/>
                  </a:lnTo>
                  <a:lnTo>
                    <a:pt x="318" y="306"/>
                  </a:lnTo>
                  <a:lnTo>
                    <a:pt x="322" y="300"/>
                  </a:lnTo>
                  <a:lnTo>
                    <a:pt x="324" y="294"/>
                  </a:lnTo>
                  <a:lnTo>
                    <a:pt x="324" y="138"/>
                  </a:lnTo>
                  <a:lnTo>
                    <a:pt x="370" y="138"/>
                  </a:lnTo>
                  <a:lnTo>
                    <a:pt x="370" y="138"/>
                  </a:lnTo>
                  <a:lnTo>
                    <a:pt x="370" y="138"/>
                  </a:lnTo>
                  <a:lnTo>
                    <a:pt x="370" y="138"/>
                  </a:lnTo>
                  <a:lnTo>
                    <a:pt x="374" y="138"/>
                  </a:lnTo>
                  <a:lnTo>
                    <a:pt x="378" y="136"/>
                  </a:lnTo>
                  <a:lnTo>
                    <a:pt x="380" y="132"/>
                  </a:lnTo>
                  <a:lnTo>
                    <a:pt x="380" y="128"/>
                  </a:lnTo>
                  <a:lnTo>
                    <a:pt x="380" y="128"/>
                  </a:lnTo>
                  <a:lnTo>
                    <a:pt x="380" y="122"/>
                  </a:lnTo>
                  <a:lnTo>
                    <a:pt x="376" y="120"/>
                  </a:lnTo>
                  <a:lnTo>
                    <a:pt x="376" y="120"/>
                  </a:lnTo>
                  <a:close/>
                  <a:moveTo>
                    <a:pt x="132" y="162"/>
                  </a:moveTo>
                  <a:lnTo>
                    <a:pt x="132" y="162"/>
                  </a:lnTo>
                  <a:lnTo>
                    <a:pt x="124" y="160"/>
                  </a:lnTo>
                  <a:lnTo>
                    <a:pt x="116" y="154"/>
                  </a:lnTo>
                  <a:lnTo>
                    <a:pt x="110" y="146"/>
                  </a:lnTo>
                  <a:lnTo>
                    <a:pt x="108" y="138"/>
                  </a:lnTo>
                  <a:lnTo>
                    <a:pt x="108" y="138"/>
                  </a:lnTo>
                  <a:lnTo>
                    <a:pt x="110" y="128"/>
                  </a:lnTo>
                  <a:lnTo>
                    <a:pt x="116" y="120"/>
                  </a:lnTo>
                  <a:lnTo>
                    <a:pt x="124" y="116"/>
                  </a:lnTo>
                  <a:lnTo>
                    <a:pt x="132" y="114"/>
                  </a:lnTo>
                  <a:lnTo>
                    <a:pt x="132" y="114"/>
                  </a:lnTo>
                  <a:lnTo>
                    <a:pt x="142" y="116"/>
                  </a:lnTo>
                  <a:lnTo>
                    <a:pt x="150" y="120"/>
                  </a:lnTo>
                  <a:lnTo>
                    <a:pt x="154" y="128"/>
                  </a:lnTo>
                  <a:lnTo>
                    <a:pt x="156" y="138"/>
                  </a:lnTo>
                  <a:lnTo>
                    <a:pt x="156" y="138"/>
                  </a:lnTo>
                  <a:lnTo>
                    <a:pt x="154" y="146"/>
                  </a:lnTo>
                  <a:lnTo>
                    <a:pt x="150" y="154"/>
                  </a:lnTo>
                  <a:lnTo>
                    <a:pt x="142" y="160"/>
                  </a:lnTo>
                  <a:lnTo>
                    <a:pt x="132" y="162"/>
                  </a:lnTo>
                  <a:lnTo>
                    <a:pt x="132" y="162"/>
                  </a:lnTo>
                  <a:close/>
                  <a:moveTo>
                    <a:pt x="240" y="162"/>
                  </a:moveTo>
                  <a:lnTo>
                    <a:pt x="240" y="162"/>
                  </a:lnTo>
                  <a:lnTo>
                    <a:pt x="230" y="160"/>
                  </a:lnTo>
                  <a:lnTo>
                    <a:pt x="222" y="154"/>
                  </a:lnTo>
                  <a:lnTo>
                    <a:pt x="218" y="146"/>
                  </a:lnTo>
                  <a:lnTo>
                    <a:pt x="216" y="138"/>
                  </a:lnTo>
                  <a:lnTo>
                    <a:pt x="216" y="138"/>
                  </a:lnTo>
                  <a:lnTo>
                    <a:pt x="218" y="128"/>
                  </a:lnTo>
                  <a:lnTo>
                    <a:pt x="222" y="120"/>
                  </a:lnTo>
                  <a:lnTo>
                    <a:pt x="230" y="116"/>
                  </a:lnTo>
                  <a:lnTo>
                    <a:pt x="240" y="114"/>
                  </a:lnTo>
                  <a:lnTo>
                    <a:pt x="240" y="114"/>
                  </a:lnTo>
                  <a:lnTo>
                    <a:pt x="248" y="116"/>
                  </a:lnTo>
                  <a:lnTo>
                    <a:pt x="256" y="120"/>
                  </a:lnTo>
                  <a:lnTo>
                    <a:pt x="262" y="128"/>
                  </a:lnTo>
                  <a:lnTo>
                    <a:pt x="264" y="138"/>
                  </a:lnTo>
                  <a:lnTo>
                    <a:pt x="264" y="138"/>
                  </a:lnTo>
                  <a:lnTo>
                    <a:pt x="262" y="146"/>
                  </a:lnTo>
                  <a:lnTo>
                    <a:pt x="256" y="154"/>
                  </a:lnTo>
                  <a:lnTo>
                    <a:pt x="248" y="160"/>
                  </a:lnTo>
                  <a:lnTo>
                    <a:pt x="240" y="162"/>
                  </a:lnTo>
                  <a:lnTo>
                    <a:pt x="240" y="16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16" name="Group 115">
            <a:extLst>
              <a:ext uri="{FF2B5EF4-FFF2-40B4-BE49-F238E27FC236}">
                <a16:creationId xmlns:a16="http://schemas.microsoft.com/office/drawing/2014/main" id="{C7E95CC7-B792-4114-8C4F-AE1CE02E97FF}"/>
              </a:ext>
            </a:extLst>
          </p:cNvPr>
          <p:cNvGrpSpPr/>
          <p:nvPr/>
        </p:nvGrpSpPr>
        <p:grpSpPr>
          <a:xfrm>
            <a:off x="2494736" y="5031056"/>
            <a:ext cx="612000" cy="612000"/>
            <a:chOff x="9322641" y="5907019"/>
            <a:chExt cx="612000" cy="612000"/>
          </a:xfrm>
        </p:grpSpPr>
        <p:sp>
          <p:nvSpPr>
            <p:cNvPr id="117" name="Oval 116">
              <a:extLst>
                <a:ext uri="{FF2B5EF4-FFF2-40B4-BE49-F238E27FC236}">
                  <a16:creationId xmlns:a16="http://schemas.microsoft.com/office/drawing/2014/main" id="{EF4377E7-A462-4669-9C2B-9B7F3B135B9D}"/>
                </a:ext>
              </a:extLst>
            </p:cNvPr>
            <p:cNvSpPr/>
            <p:nvPr/>
          </p:nvSpPr>
          <p:spPr bwMode="ltGray">
            <a:xfrm>
              <a:off x="9322641"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18" name="Freeform 4921">
              <a:extLst>
                <a:ext uri="{FF2B5EF4-FFF2-40B4-BE49-F238E27FC236}">
                  <a16:creationId xmlns:a16="http://schemas.microsoft.com/office/drawing/2014/main" id="{9B817F2C-CE76-4D6C-99DD-03EC16C6FF61}"/>
                </a:ext>
              </a:extLst>
            </p:cNvPr>
            <p:cNvSpPr>
              <a:spLocks noEditPoints="1"/>
            </p:cNvSpPr>
            <p:nvPr/>
          </p:nvSpPr>
          <p:spPr bwMode="auto">
            <a:xfrm>
              <a:off x="9460241" y="5992823"/>
              <a:ext cx="336800" cy="431298"/>
            </a:xfrm>
            <a:custGeom>
              <a:avLst/>
              <a:gdLst>
                <a:gd name="T0" fmla="*/ 204 w 278"/>
                <a:gd name="T1" fmla="*/ 126 h 356"/>
                <a:gd name="T2" fmla="*/ 218 w 278"/>
                <a:gd name="T3" fmla="*/ 56 h 356"/>
                <a:gd name="T4" fmla="*/ 218 w 278"/>
                <a:gd name="T5" fmla="*/ 56 h 356"/>
                <a:gd name="T6" fmla="*/ 222 w 278"/>
                <a:gd name="T7" fmla="*/ 56 h 356"/>
                <a:gd name="T8" fmla="*/ 226 w 278"/>
                <a:gd name="T9" fmla="*/ 50 h 356"/>
                <a:gd name="T10" fmla="*/ 228 w 278"/>
                <a:gd name="T11" fmla="*/ 46 h 356"/>
                <a:gd name="T12" fmla="*/ 222 w 278"/>
                <a:gd name="T13" fmla="*/ 38 h 356"/>
                <a:gd name="T14" fmla="*/ 160 w 278"/>
                <a:gd name="T15" fmla="*/ 2 h 356"/>
                <a:gd name="T16" fmla="*/ 150 w 278"/>
                <a:gd name="T17" fmla="*/ 2 h 356"/>
                <a:gd name="T18" fmla="*/ 88 w 278"/>
                <a:gd name="T19" fmla="*/ 38 h 356"/>
                <a:gd name="T20" fmla="*/ 84 w 278"/>
                <a:gd name="T21" fmla="*/ 48 h 356"/>
                <a:gd name="T22" fmla="*/ 88 w 278"/>
                <a:gd name="T23" fmla="*/ 54 h 356"/>
                <a:gd name="T24" fmla="*/ 108 w 278"/>
                <a:gd name="T25" fmla="*/ 56 h 356"/>
                <a:gd name="T26" fmla="*/ 22 w 278"/>
                <a:gd name="T27" fmla="*/ 170 h 356"/>
                <a:gd name="T28" fmla="*/ 74 w 278"/>
                <a:gd name="T29" fmla="*/ 114 h 356"/>
                <a:gd name="T30" fmla="*/ 22 w 278"/>
                <a:gd name="T31" fmla="*/ 70 h 356"/>
                <a:gd name="T32" fmla="*/ 22 w 278"/>
                <a:gd name="T33" fmla="*/ 64 h 356"/>
                <a:gd name="T34" fmla="*/ 18 w 278"/>
                <a:gd name="T35" fmla="*/ 56 h 356"/>
                <a:gd name="T36" fmla="*/ 12 w 278"/>
                <a:gd name="T37" fmla="*/ 54 h 356"/>
                <a:gd name="T38" fmla="*/ 8 w 278"/>
                <a:gd name="T39" fmla="*/ 54 h 356"/>
                <a:gd name="T40" fmla="*/ 2 w 278"/>
                <a:gd name="T41" fmla="*/ 60 h 356"/>
                <a:gd name="T42" fmla="*/ 2 w 278"/>
                <a:gd name="T43" fmla="*/ 190 h 356"/>
                <a:gd name="T44" fmla="*/ 0 w 278"/>
                <a:gd name="T45" fmla="*/ 190 h 356"/>
                <a:gd name="T46" fmla="*/ 0 w 278"/>
                <a:gd name="T47" fmla="*/ 340 h 356"/>
                <a:gd name="T48" fmla="*/ 6 w 278"/>
                <a:gd name="T49" fmla="*/ 350 h 356"/>
                <a:gd name="T50" fmla="*/ 16 w 278"/>
                <a:gd name="T51" fmla="*/ 356 h 356"/>
                <a:gd name="T52" fmla="*/ 134 w 278"/>
                <a:gd name="T53" fmla="*/ 260 h 356"/>
                <a:gd name="T54" fmla="*/ 178 w 278"/>
                <a:gd name="T55" fmla="*/ 356 h 356"/>
                <a:gd name="T56" fmla="*/ 262 w 278"/>
                <a:gd name="T57" fmla="*/ 356 h 356"/>
                <a:gd name="T58" fmla="*/ 272 w 278"/>
                <a:gd name="T59" fmla="*/ 350 h 356"/>
                <a:gd name="T60" fmla="*/ 278 w 278"/>
                <a:gd name="T61" fmla="*/ 340 h 356"/>
                <a:gd name="T62" fmla="*/ 278 w 278"/>
                <a:gd name="T63" fmla="*/ 174 h 356"/>
                <a:gd name="T64" fmla="*/ 276 w 278"/>
                <a:gd name="T65" fmla="*/ 164 h 356"/>
                <a:gd name="T66" fmla="*/ 268 w 278"/>
                <a:gd name="T67" fmla="*/ 158 h 356"/>
                <a:gd name="T68" fmla="*/ 102 w 278"/>
                <a:gd name="T69" fmla="*/ 306 h 356"/>
                <a:gd name="T70" fmla="*/ 58 w 278"/>
                <a:gd name="T71" fmla="*/ 260 h 356"/>
                <a:gd name="T72" fmla="*/ 102 w 278"/>
                <a:gd name="T73" fmla="*/ 306 h 356"/>
                <a:gd name="T74" fmla="*/ 58 w 278"/>
                <a:gd name="T75" fmla="*/ 230 h 356"/>
                <a:gd name="T76" fmla="*/ 102 w 278"/>
                <a:gd name="T77" fmla="*/ 186 h 356"/>
                <a:gd name="T78" fmla="*/ 178 w 278"/>
                <a:gd name="T79" fmla="*/ 230 h 356"/>
                <a:gd name="T80" fmla="*/ 134 w 278"/>
                <a:gd name="T81" fmla="*/ 186 h 356"/>
                <a:gd name="T82" fmla="*/ 178 w 278"/>
                <a:gd name="T83" fmla="*/ 230 h 356"/>
                <a:gd name="T84" fmla="*/ 156 w 278"/>
                <a:gd name="T85" fmla="*/ 114 h 356"/>
                <a:gd name="T86" fmla="*/ 140 w 278"/>
                <a:gd name="T87" fmla="*/ 106 h 356"/>
                <a:gd name="T88" fmla="*/ 134 w 278"/>
                <a:gd name="T89" fmla="*/ 90 h 356"/>
                <a:gd name="T90" fmla="*/ 136 w 278"/>
                <a:gd name="T91" fmla="*/ 82 h 356"/>
                <a:gd name="T92" fmla="*/ 146 w 278"/>
                <a:gd name="T93" fmla="*/ 70 h 356"/>
                <a:gd name="T94" fmla="*/ 156 w 278"/>
                <a:gd name="T95" fmla="*/ 68 h 356"/>
                <a:gd name="T96" fmla="*/ 172 w 278"/>
                <a:gd name="T97" fmla="*/ 76 h 356"/>
                <a:gd name="T98" fmla="*/ 178 w 278"/>
                <a:gd name="T99" fmla="*/ 90 h 356"/>
                <a:gd name="T100" fmla="*/ 176 w 278"/>
                <a:gd name="T101" fmla="*/ 100 h 356"/>
                <a:gd name="T102" fmla="*/ 164 w 278"/>
                <a:gd name="T103" fmla="*/ 112 h 356"/>
                <a:gd name="T104" fmla="*/ 156 w 278"/>
                <a:gd name="T105" fmla="*/ 114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78" h="356">
                  <a:moveTo>
                    <a:pt x="268" y="158"/>
                  </a:moveTo>
                  <a:lnTo>
                    <a:pt x="204" y="126"/>
                  </a:lnTo>
                  <a:lnTo>
                    <a:pt x="204" y="56"/>
                  </a:lnTo>
                  <a:lnTo>
                    <a:pt x="218" y="56"/>
                  </a:lnTo>
                  <a:lnTo>
                    <a:pt x="218" y="56"/>
                  </a:lnTo>
                  <a:lnTo>
                    <a:pt x="218" y="56"/>
                  </a:lnTo>
                  <a:lnTo>
                    <a:pt x="218" y="56"/>
                  </a:lnTo>
                  <a:lnTo>
                    <a:pt x="222" y="56"/>
                  </a:lnTo>
                  <a:lnTo>
                    <a:pt x="224" y="54"/>
                  </a:lnTo>
                  <a:lnTo>
                    <a:pt x="226" y="50"/>
                  </a:lnTo>
                  <a:lnTo>
                    <a:pt x="228" y="46"/>
                  </a:lnTo>
                  <a:lnTo>
                    <a:pt x="228" y="46"/>
                  </a:lnTo>
                  <a:lnTo>
                    <a:pt x="226" y="40"/>
                  </a:lnTo>
                  <a:lnTo>
                    <a:pt x="222" y="38"/>
                  </a:lnTo>
                  <a:lnTo>
                    <a:pt x="160" y="2"/>
                  </a:lnTo>
                  <a:lnTo>
                    <a:pt x="160" y="2"/>
                  </a:lnTo>
                  <a:lnTo>
                    <a:pt x="156" y="0"/>
                  </a:lnTo>
                  <a:lnTo>
                    <a:pt x="150" y="2"/>
                  </a:lnTo>
                  <a:lnTo>
                    <a:pt x="88" y="38"/>
                  </a:lnTo>
                  <a:lnTo>
                    <a:pt x="88" y="38"/>
                  </a:lnTo>
                  <a:lnTo>
                    <a:pt x="84" y="42"/>
                  </a:lnTo>
                  <a:lnTo>
                    <a:pt x="84" y="48"/>
                  </a:lnTo>
                  <a:lnTo>
                    <a:pt x="84" y="48"/>
                  </a:lnTo>
                  <a:lnTo>
                    <a:pt x="88" y="54"/>
                  </a:lnTo>
                  <a:lnTo>
                    <a:pt x="94" y="56"/>
                  </a:lnTo>
                  <a:lnTo>
                    <a:pt x="108" y="56"/>
                  </a:lnTo>
                  <a:lnTo>
                    <a:pt x="108" y="126"/>
                  </a:lnTo>
                  <a:lnTo>
                    <a:pt x="22" y="170"/>
                  </a:lnTo>
                  <a:lnTo>
                    <a:pt x="22" y="114"/>
                  </a:lnTo>
                  <a:lnTo>
                    <a:pt x="74" y="114"/>
                  </a:lnTo>
                  <a:lnTo>
                    <a:pt x="74" y="70"/>
                  </a:lnTo>
                  <a:lnTo>
                    <a:pt x="22" y="70"/>
                  </a:lnTo>
                  <a:lnTo>
                    <a:pt x="22" y="64"/>
                  </a:lnTo>
                  <a:lnTo>
                    <a:pt x="22" y="64"/>
                  </a:lnTo>
                  <a:lnTo>
                    <a:pt x="20" y="60"/>
                  </a:lnTo>
                  <a:lnTo>
                    <a:pt x="18" y="56"/>
                  </a:lnTo>
                  <a:lnTo>
                    <a:pt x="14" y="54"/>
                  </a:lnTo>
                  <a:lnTo>
                    <a:pt x="12" y="54"/>
                  </a:lnTo>
                  <a:lnTo>
                    <a:pt x="12" y="54"/>
                  </a:lnTo>
                  <a:lnTo>
                    <a:pt x="8" y="54"/>
                  </a:lnTo>
                  <a:lnTo>
                    <a:pt x="4" y="56"/>
                  </a:lnTo>
                  <a:lnTo>
                    <a:pt x="2" y="60"/>
                  </a:lnTo>
                  <a:lnTo>
                    <a:pt x="2" y="64"/>
                  </a:lnTo>
                  <a:lnTo>
                    <a:pt x="2" y="190"/>
                  </a:lnTo>
                  <a:lnTo>
                    <a:pt x="2" y="190"/>
                  </a:lnTo>
                  <a:lnTo>
                    <a:pt x="0" y="190"/>
                  </a:lnTo>
                  <a:lnTo>
                    <a:pt x="0" y="340"/>
                  </a:lnTo>
                  <a:lnTo>
                    <a:pt x="0" y="340"/>
                  </a:lnTo>
                  <a:lnTo>
                    <a:pt x="2" y="346"/>
                  </a:lnTo>
                  <a:lnTo>
                    <a:pt x="6" y="350"/>
                  </a:lnTo>
                  <a:lnTo>
                    <a:pt x="10" y="354"/>
                  </a:lnTo>
                  <a:lnTo>
                    <a:pt x="16" y="356"/>
                  </a:lnTo>
                  <a:lnTo>
                    <a:pt x="134" y="356"/>
                  </a:lnTo>
                  <a:lnTo>
                    <a:pt x="134" y="260"/>
                  </a:lnTo>
                  <a:lnTo>
                    <a:pt x="178" y="260"/>
                  </a:lnTo>
                  <a:lnTo>
                    <a:pt x="178" y="356"/>
                  </a:lnTo>
                  <a:lnTo>
                    <a:pt x="262" y="356"/>
                  </a:lnTo>
                  <a:lnTo>
                    <a:pt x="262" y="356"/>
                  </a:lnTo>
                  <a:lnTo>
                    <a:pt x="268" y="354"/>
                  </a:lnTo>
                  <a:lnTo>
                    <a:pt x="272" y="350"/>
                  </a:lnTo>
                  <a:lnTo>
                    <a:pt x="276" y="346"/>
                  </a:lnTo>
                  <a:lnTo>
                    <a:pt x="278" y="340"/>
                  </a:lnTo>
                  <a:lnTo>
                    <a:pt x="278" y="174"/>
                  </a:lnTo>
                  <a:lnTo>
                    <a:pt x="278" y="174"/>
                  </a:lnTo>
                  <a:lnTo>
                    <a:pt x="276" y="168"/>
                  </a:lnTo>
                  <a:lnTo>
                    <a:pt x="276" y="164"/>
                  </a:lnTo>
                  <a:lnTo>
                    <a:pt x="272" y="162"/>
                  </a:lnTo>
                  <a:lnTo>
                    <a:pt x="268" y="158"/>
                  </a:lnTo>
                  <a:lnTo>
                    <a:pt x="268" y="158"/>
                  </a:lnTo>
                  <a:close/>
                  <a:moveTo>
                    <a:pt x="102" y="306"/>
                  </a:moveTo>
                  <a:lnTo>
                    <a:pt x="58" y="306"/>
                  </a:lnTo>
                  <a:lnTo>
                    <a:pt x="58" y="260"/>
                  </a:lnTo>
                  <a:lnTo>
                    <a:pt x="102" y="260"/>
                  </a:lnTo>
                  <a:lnTo>
                    <a:pt x="102" y="306"/>
                  </a:lnTo>
                  <a:close/>
                  <a:moveTo>
                    <a:pt x="102" y="230"/>
                  </a:moveTo>
                  <a:lnTo>
                    <a:pt x="58" y="230"/>
                  </a:lnTo>
                  <a:lnTo>
                    <a:pt x="58" y="186"/>
                  </a:lnTo>
                  <a:lnTo>
                    <a:pt x="102" y="186"/>
                  </a:lnTo>
                  <a:lnTo>
                    <a:pt x="102" y="230"/>
                  </a:lnTo>
                  <a:close/>
                  <a:moveTo>
                    <a:pt x="178" y="230"/>
                  </a:moveTo>
                  <a:lnTo>
                    <a:pt x="134" y="230"/>
                  </a:lnTo>
                  <a:lnTo>
                    <a:pt x="134" y="186"/>
                  </a:lnTo>
                  <a:lnTo>
                    <a:pt x="178" y="186"/>
                  </a:lnTo>
                  <a:lnTo>
                    <a:pt x="178" y="230"/>
                  </a:lnTo>
                  <a:close/>
                  <a:moveTo>
                    <a:pt x="156" y="114"/>
                  </a:moveTo>
                  <a:lnTo>
                    <a:pt x="156" y="114"/>
                  </a:lnTo>
                  <a:lnTo>
                    <a:pt x="146" y="112"/>
                  </a:lnTo>
                  <a:lnTo>
                    <a:pt x="140" y="106"/>
                  </a:lnTo>
                  <a:lnTo>
                    <a:pt x="136" y="100"/>
                  </a:lnTo>
                  <a:lnTo>
                    <a:pt x="134" y="90"/>
                  </a:lnTo>
                  <a:lnTo>
                    <a:pt x="134" y="90"/>
                  </a:lnTo>
                  <a:lnTo>
                    <a:pt x="136" y="82"/>
                  </a:lnTo>
                  <a:lnTo>
                    <a:pt x="140" y="76"/>
                  </a:lnTo>
                  <a:lnTo>
                    <a:pt x="146" y="70"/>
                  </a:lnTo>
                  <a:lnTo>
                    <a:pt x="156" y="68"/>
                  </a:lnTo>
                  <a:lnTo>
                    <a:pt x="156" y="68"/>
                  </a:lnTo>
                  <a:lnTo>
                    <a:pt x="164" y="70"/>
                  </a:lnTo>
                  <a:lnTo>
                    <a:pt x="172" y="76"/>
                  </a:lnTo>
                  <a:lnTo>
                    <a:pt x="176" y="82"/>
                  </a:lnTo>
                  <a:lnTo>
                    <a:pt x="178" y="90"/>
                  </a:lnTo>
                  <a:lnTo>
                    <a:pt x="178" y="90"/>
                  </a:lnTo>
                  <a:lnTo>
                    <a:pt x="176" y="100"/>
                  </a:lnTo>
                  <a:lnTo>
                    <a:pt x="172" y="106"/>
                  </a:lnTo>
                  <a:lnTo>
                    <a:pt x="164" y="112"/>
                  </a:lnTo>
                  <a:lnTo>
                    <a:pt x="156" y="114"/>
                  </a:lnTo>
                  <a:lnTo>
                    <a:pt x="156" y="11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19" name="Group 118">
            <a:extLst>
              <a:ext uri="{FF2B5EF4-FFF2-40B4-BE49-F238E27FC236}">
                <a16:creationId xmlns:a16="http://schemas.microsoft.com/office/drawing/2014/main" id="{61694BE6-4FBB-4F2C-8D91-4693548A16E6}"/>
              </a:ext>
            </a:extLst>
          </p:cNvPr>
          <p:cNvGrpSpPr/>
          <p:nvPr/>
        </p:nvGrpSpPr>
        <p:grpSpPr>
          <a:xfrm>
            <a:off x="6911559" y="3814747"/>
            <a:ext cx="612000" cy="612000"/>
            <a:chOff x="5841085" y="4690710"/>
            <a:chExt cx="612000" cy="612000"/>
          </a:xfrm>
        </p:grpSpPr>
        <p:sp>
          <p:nvSpPr>
            <p:cNvPr id="120" name="Oval 119">
              <a:extLst>
                <a:ext uri="{FF2B5EF4-FFF2-40B4-BE49-F238E27FC236}">
                  <a16:creationId xmlns:a16="http://schemas.microsoft.com/office/drawing/2014/main" id="{A318DFC5-01FF-4860-9500-4E109CD24EC5}"/>
                </a:ext>
              </a:extLst>
            </p:cNvPr>
            <p:cNvSpPr/>
            <p:nvPr/>
          </p:nvSpPr>
          <p:spPr bwMode="ltGray">
            <a:xfrm>
              <a:off x="5841085"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21" name="Freeform 4922">
              <a:extLst>
                <a:ext uri="{FF2B5EF4-FFF2-40B4-BE49-F238E27FC236}">
                  <a16:creationId xmlns:a16="http://schemas.microsoft.com/office/drawing/2014/main" id="{3296A282-B825-44A4-A7A3-655089442D33}"/>
                </a:ext>
              </a:extLst>
            </p:cNvPr>
            <p:cNvSpPr>
              <a:spLocks noEditPoints="1"/>
            </p:cNvSpPr>
            <p:nvPr/>
          </p:nvSpPr>
          <p:spPr bwMode="auto">
            <a:xfrm>
              <a:off x="5929013" y="4752236"/>
              <a:ext cx="436144" cy="494297"/>
            </a:xfrm>
            <a:custGeom>
              <a:avLst/>
              <a:gdLst>
                <a:gd name="T0" fmla="*/ 52 w 360"/>
                <a:gd name="T1" fmla="*/ 176 h 408"/>
                <a:gd name="T2" fmla="*/ 142 w 360"/>
                <a:gd name="T3" fmla="*/ 222 h 408"/>
                <a:gd name="T4" fmla="*/ 96 w 360"/>
                <a:gd name="T5" fmla="*/ 356 h 408"/>
                <a:gd name="T6" fmla="*/ 14 w 360"/>
                <a:gd name="T7" fmla="*/ 298 h 408"/>
                <a:gd name="T8" fmla="*/ 82 w 360"/>
                <a:gd name="T9" fmla="*/ 380 h 408"/>
                <a:gd name="T10" fmla="*/ 4 w 360"/>
                <a:gd name="T11" fmla="*/ 192 h 408"/>
                <a:gd name="T12" fmla="*/ 4 w 360"/>
                <a:gd name="T13" fmla="*/ 260 h 408"/>
                <a:gd name="T14" fmla="*/ 356 w 360"/>
                <a:gd name="T15" fmla="*/ 264 h 408"/>
                <a:gd name="T16" fmla="*/ 308 w 360"/>
                <a:gd name="T17" fmla="*/ 356 h 408"/>
                <a:gd name="T18" fmla="*/ 216 w 360"/>
                <a:gd name="T19" fmla="*/ 404 h 408"/>
                <a:gd name="T20" fmla="*/ 134 w 360"/>
                <a:gd name="T21" fmla="*/ 402 h 408"/>
                <a:gd name="T22" fmla="*/ 136 w 360"/>
                <a:gd name="T23" fmla="*/ 302 h 408"/>
                <a:gd name="T24" fmla="*/ 192 w 360"/>
                <a:gd name="T25" fmla="*/ 216 h 408"/>
                <a:gd name="T26" fmla="*/ 288 w 360"/>
                <a:gd name="T27" fmla="*/ 176 h 408"/>
                <a:gd name="T28" fmla="*/ 358 w 360"/>
                <a:gd name="T29" fmla="*/ 204 h 408"/>
                <a:gd name="T30" fmla="*/ 316 w 360"/>
                <a:gd name="T31" fmla="*/ 282 h 408"/>
                <a:gd name="T32" fmla="*/ 326 w 360"/>
                <a:gd name="T33" fmla="*/ 222 h 408"/>
                <a:gd name="T34" fmla="*/ 234 w 360"/>
                <a:gd name="T35" fmla="*/ 228 h 408"/>
                <a:gd name="T36" fmla="*/ 308 w 360"/>
                <a:gd name="T37" fmla="*/ 208 h 408"/>
                <a:gd name="T38" fmla="*/ 194 w 360"/>
                <a:gd name="T39" fmla="*/ 262 h 408"/>
                <a:gd name="T40" fmla="*/ 306 w 360"/>
                <a:gd name="T41" fmla="*/ 302 h 408"/>
                <a:gd name="T42" fmla="*/ 200 w 360"/>
                <a:gd name="T43" fmla="*/ 374 h 408"/>
                <a:gd name="T44" fmla="*/ 296 w 360"/>
                <a:gd name="T45" fmla="*/ 318 h 408"/>
                <a:gd name="T46" fmla="*/ 214 w 360"/>
                <a:gd name="T47" fmla="*/ 70 h 408"/>
                <a:gd name="T48" fmla="*/ 180 w 360"/>
                <a:gd name="T49" fmla="*/ 48 h 408"/>
                <a:gd name="T50" fmla="*/ 150 w 360"/>
                <a:gd name="T51" fmla="*/ 64 h 408"/>
                <a:gd name="T52" fmla="*/ 146 w 360"/>
                <a:gd name="T53" fmla="*/ 100 h 408"/>
                <a:gd name="T54" fmla="*/ 180 w 360"/>
                <a:gd name="T55" fmla="*/ 122 h 408"/>
                <a:gd name="T56" fmla="*/ 210 w 360"/>
                <a:gd name="T57" fmla="*/ 106 h 408"/>
                <a:gd name="T58" fmla="*/ 180 w 360"/>
                <a:gd name="T59" fmla="*/ 192 h 408"/>
                <a:gd name="T60" fmla="*/ 170 w 360"/>
                <a:gd name="T61" fmla="*/ 146 h 408"/>
                <a:gd name="T62" fmla="*/ 180 w 360"/>
                <a:gd name="T63" fmla="*/ 136 h 408"/>
                <a:gd name="T64" fmla="*/ 190 w 360"/>
                <a:gd name="T65" fmla="*/ 182 h 408"/>
                <a:gd name="T66" fmla="*/ 180 w 360"/>
                <a:gd name="T67" fmla="*/ 192 h 408"/>
                <a:gd name="T68" fmla="*/ 110 w 360"/>
                <a:gd name="T69" fmla="*/ 148 h 408"/>
                <a:gd name="T70" fmla="*/ 132 w 360"/>
                <a:gd name="T71" fmla="*/ 120 h 408"/>
                <a:gd name="T72" fmla="*/ 146 w 360"/>
                <a:gd name="T73" fmla="*/ 128 h 408"/>
                <a:gd name="T74" fmla="*/ 120 w 360"/>
                <a:gd name="T75" fmla="*/ 156 h 408"/>
                <a:gd name="T76" fmla="*/ 96 w 360"/>
                <a:gd name="T77" fmla="*/ 94 h 408"/>
                <a:gd name="T78" fmla="*/ 92 w 360"/>
                <a:gd name="T79" fmla="*/ 78 h 408"/>
                <a:gd name="T80" fmla="*/ 122 w 360"/>
                <a:gd name="T81" fmla="*/ 76 h 408"/>
                <a:gd name="T82" fmla="*/ 126 w 360"/>
                <a:gd name="T83" fmla="*/ 92 h 408"/>
                <a:gd name="T84" fmla="*/ 132 w 360"/>
                <a:gd name="T85" fmla="*/ 50 h 408"/>
                <a:gd name="T86" fmla="*/ 118 w 360"/>
                <a:gd name="T87" fmla="*/ 28 h 408"/>
                <a:gd name="T88" fmla="*/ 134 w 360"/>
                <a:gd name="T89" fmla="*/ 24 h 408"/>
                <a:gd name="T90" fmla="*/ 144 w 360"/>
                <a:gd name="T91" fmla="*/ 48 h 408"/>
                <a:gd name="T92" fmla="*/ 240 w 360"/>
                <a:gd name="T93" fmla="*/ 156 h 408"/>
                <a:gd name="T94" fmla="*/ 214 w 360"/>
                <a:gd name="T95" fmla="*/ 128 h 408"/>
                <a:gd name="T96" fmla="*/ 228 w 360"/>
                <a:gd name="T97" fmla="*/ 120 h 408"/>
                <a:gd name="T98" fmla="*/ 250 w 360"/>
                <a:gd name="T99" fmla="*/ 148 h 408"/>
                <a:gd name="T100" fmla="*/ 242 w 360"/>
                <a:gd name="T101" fmla="*/ 94 h 408"/>
                <a:gd name="T102" fmla="*/ 232 w 360"/>
                <a:gd name="T103" fmla="*/ 84 h 408"/>
                <a:gd name="T104" fmla="*/ 260 w 360"/>
                <a:gd name="T105" fmla="*/ 74 h 408"/>
                <a:gd name="T106" fmla="*/ 270 w 360"/>
                <a:gd name="T107" fmla="*/ 84 h 408"/>
                <a:gd name="T108" fmla="*/ 242 w 360"/>
                <a:gd name="T109" fmla="*/ 94 h 408"/>
                <a:gd name="T110" fmla="*/ 214 w 360"/>
                <a:gd name="T111" fmla="*/ 46 h 408"/>
                <a:gd name="T112" fmla="*/ 230 w 360"/>
                <a:gd name="T113" fmla="*/ 22 h 408"/>
                <a:gd name="T114" fmla="*/ 244 w 360"/>
                <a:gd name="T115" fmla="*/ 32 h 408"/>
                <a:gd name="T116" fmla="*/ 224 w 360"/>
                <a:gd name="T117" fmla="*/ 52 h 408"/>
                <a:gd name="T118" fmla="*/ 170 w 360"/>
                <a:gd name="T119" fmla="*/ 28 h 408"/>
                <a:gd name="T120" fmla="*/ 176 w 360"/>
                <a:gd name="T121" fmla="*/ 2 h 408"/>
                <a:gd name="T122" fmla="*/ 190 w 360"/>
                <a:gd name="T123" fmla="*/ 10 h 408"/>
                <a:gd name="T124" fmla="*/ 180 w 360"/>
                <a:gd name="T125" fmla="*/ 34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60" h="408">
                  <a:moveTo>
                    <a:pt x="112" y="272"/>
                  </a:moveTo>
                  <a:lnTo>
                    <a:pt x="18" y="178"/>
                  </a:lnTo>
                  <a:lnTo>
                    <a:pt x="18" y="178"/>
                  </a:lnTo>
                  <a:lnTo>
                    <a:pt x="36" y="176"/>
                  </a:lnTo>
                  <a:lnTo>
                    <a:pt x="52" y="176"/>
                  </a:lnTo>
                  <a:lnTo>
                    <a:pt x="52" y="176"/>
                  </a:lnTo>
                  <a:lnTo>
                    <a:pt x="80" y="178"/>
                  </a:lnTo>
                  <a:lnTo>
                    <a:pt x="108" y="184"/>
                  </a:lnTo>
                  <a:lnTo>
                    <a:pt x="132" y="194"/>
                  </a:lnTo>
                  <a:lnTo>
                    <a:pt x="156" y="208"/>
                  </a:lnTo>
                  <a:lnTo>
                    <a:pt x="156" y="208"/>
                  </a:lnTo>
                  <a:lnTo>
                    <a:pt x="142" y="222"/>
                  </a:lnTo>
                  <a:lnTo>
                    <a:pt x="130" y="238"/>
                  </a:lnTo>
                  <a:lnTo>
                    <a:pt x="120" y="256"/>
                  </a:lnTo>
                  <a:lnTo>
                    <a:pt x="112" y="272"/>
                  </a:lnTo>
                  <a:lnTo>
                    <a:pt x="112" y="272"/>
                  </a:lnTo>
                  <a:close/>
                  <a:moveTo>
                    <a:pt x="96" y="356"/>
                  </a:moveTo>
                  <a:lnTo>
                    <a:pt x="96" y="356"/>
                  </a:lnTo>
                  <a:lnTo>
                    <a:pt x="98" y="324"/>
                  </a:lnTo>
                  <a:lnTo>
                    <a:pt x="104" y="294"/>
                  </a:lnTo>
                  <a:lnTo>
                    <a:pt x="92" y="280"/>
                  </a:lnTo>
                  <a:lnTo>
                    <a:pt x="8" y="280"/>
                  </a:lnTo>
                  <a:lnTo>
                    <a:pt x="8" y="280"/>
                  </a:lnTo>
                  <a:lnTo>
                    <a:pt x="14" y="298"/>
                  </a:lnTo>
                  <a:lnTo>
                    <a:pt x="22" y="314"/>
                  </a:lnTo>
                  <a:lnTo>
                    <a:pt x="32" y="330"/>
                  </a:lnTo>
                  <a:lnTo>
                    <a:pt x="42" y="344"/>
                  </a:lnTo>
                  <a:lnTo>
                    <a:pt x="54" y="356"/>
                  </a:lnTo>
                  <a:lnTo>
                    <a:pt x="68" y="368"/>
                  </a:lnTo>
                  <a:lnTo>
                    <a:pt x="82" y="380"/>
                  </a:lnTo>
                  <a:lnTo>
                    <a:pt x="98" y="388"/>
                  </a:lnTo>
                  <a:lnTo>
                    <a:pt x="98" y="388"/>
                  </a:lnTo>
                  <a:lnTo>
                    <a:pt x="96" y="372"/>
                  </a:lnTo>
                  <a:lnTo>
                    <a:pt x="96" y="356"/>
                  </a:lnTo>
                  <a:lnTo>
                    <a:pt x="96" y="356"/>
                  </a:lnTo>
                  <a:close/>
                  <a:moveTo>
                    <a:pt x="4" y="192"/>
                  </a:moveTo>
                  <a:lnTo>
                    <a:pt x="4" y="192"/>
                  </a:lnTo>
                  <a:lnTo>
                    <a:pt x="2" y="210"/>
                  </a:lnTo>
                  <a:lnTo>
                    <a:pt x="0" y="228"/>
                  </a:lnTo>
                  <a:lnTo>
                    <a:pt x="0" y="228"/>
                  </a:lnTo>
                  <a:lnTo>
                    <a:pt x="0" y="244"/>
                  </a:lnTo>
                  <a:lnTo>
                    <a:pt x="4" y="260"/>
                  </a:lnTo>
                  <a:lnTo>
                    <a:pt x="72" y="260"/>
                  </a:lnTo>
                  <a:lnTo>
                    <a:pt x="4" y="192"/>
                  </a:lnTo>
                  <a:close/>
                  <a:moveTo>
                    <a:pt x="360" y="228"/>
                  </a:moveTo>
                  <a:lnTo>
                    <a:pt x="360" y="228"/>
                  </a:lnTo>
                  <a:lnTo>
                    <a:pt x="358" y="246"/>
                  </a:lnTo>
                  <a:lnTo>
                    <a:pt x="356" y="264"/>
                  </a:lnTo>
                  <a:lnTo>
                    <a:pt x="352" y="282"/>
                  </a:lnTo>
                  <a:lnTo>
                    <a:pt x="346" y="298"/>
                  </a:lnTo>
                  <a:lnTo>
                    <a:pt x="338" y="314"/>
                  </a:lnTo>
                  <a:lnTo>
                    <a:pt x="330" y="328"/>
                  </a:lnTo>
                  <a:lnTo>
                    <a:pt x="318" y="342"/>
                  </a:lnTo>
                  <a:lnTo>
                    <a:pt x="308" y="356"/>
                  </a:lnTo>
                  <a:lnTo>
                    <a:pt x="294" y="366"/>
                  </a:lnTo>
                  <a:lnTo>
                    <a:pt x="280" y="378"/>
                  </a:lnTo>
                  <a:lnTo>
                    <a:pt x="266" y="386"/>
                  </a:lnTo>
                  <a:lnTo>
                    <a:pt x="250" y="394"/>
                  </a:lnTo>
                  <a:lnTo>
                    <a:pt x="234" y="400"/>
                  </a:lnTo>
                  <a:lnTo>
                    <a:pt x="216" y="404"/>
                  </a:lnTo>
                  <a:lnTo>
                    <a:pt x="198" y="406"/>
                  </a:lnTo>
                  <a:lnTo>
                    <a:pt x="180" y="408"/>
                  </a:lnTo>
                  <a:lnTo>
                    <a:pt x="180" y="408"/>
                  </a:lnTo>
                  <a:lnTo>
                    <a:pt x="156" y="406"/>
                  </a:lnTo>
                  <a:lnTo>
                    <a:pt x="134" y="402"/>
                  </a:lnTo>
                  <a:lnTo>
                    <a:pt x="134" y="402"/>
                  </a:lnTo>
                  <a:lnTo>
                    <a:pt x="128" y="378"/>
                  </a:lnTo>
                  <a:lnTo>
                    <a:pt x="128" y="356"/>
                  </a:lnTo>
                  <a:lnTo>
                    <a:pt x="128" y="356"/>
                  </a:lnTo>
                  <a:lnTo>
                    <a:pt x="128" y="336"/>
                  </a:lnTo>
                  <a:lnTo>
                    <a:pt x="130" y="318"/>
                  </a:lnTo>
                  <a:lnTo>
                    <a:pt x="136" y="302"/>
                  </a:lnTo>
                  <a:lnTo>
                    <a:pt x="142" y="286"/>
                  </a:lnTo>
                  <a:lnTo>
                    <a:pt x="150" y="270"/>
                  </a:lnTo>
                  <a:lnTo>
                    <a:pt x="158" y="254"/>
                  </a:lnTo>
                  <a:lnTo>
                    <a:pt x="168" y="240"/>
                  </a:lnTo>
                  <a:lnTo>
                    <a:pt x="180" y="228"/>
                  </a:lnTo>
                  <a:lnTo>
                    <a:pt x="192" y="216"/>
                  </a:lnTo>
                  <a:lnTo>
                    <a:pt x="206" y="206"/>
                  </a:lnTo>
                  <a:lnTo>
                    <a:pt x="222" y="198"/>
                  </a:lnTo>
                  <a:lnTo>
                    <a:pt x="238" y="190"/>
                  </a:lnTo>
                  <a:lnTo>
                    <a:pt x="254" y="184"/>
                  </a:lnTo>
                  <a:lnTo>
                    <a:pt x="270" y="178"/>
                  </a:lnTo>
                  <a:lnTo>
                    <a:pt x="288" y="176"/>
                  </a:lnTo>
                  <a:lnTo>
                    <a:pt x="308" y="176"/>
                  </a:lnTo>
                  <a:lnTo>
                    <a:pt x="308" y="176"/>
                  </a:lnTo>
                  <a:lnTo>
                    <a:pt x="330" y="176"/>
                  </a:lnTo>
                  <a:lnTo>
                    <a:pt x="354" y="182"/>
                  </a:lnTo>
                  <a:lnTo>
                    <a:pt x="354" y="182"/>
                  </a:lnTo>
                  <a:lnTo>
                    <a:pt x="358" y="204"/>
                  </a:lnTo>
                  <a:lnTo>
                    <a:pt x="360" y="228"/>
                  </a:lnTo>
                  <a:lnTo>
                    <a:pt x="360" y="228"/>
                  </a:lnTo>
                  <a:close/>
                  <a:moveTo>
                    <a:pt x="326" y="222"/>
                  </a:moveTo>
                  <a:lnTo>
                    <a:pt x="268" y="282"/>
                  </a:lnTo>
                  <a:lnTo>
                    <a:pt x="316" y="282"/>
                  </a:lnTo>
                  <a:lnTo>
                    <a:pt x="316" y="282"/>
                  </a:lnTo>
                  <a:lnTo>
                    <a:pt x="320" y="268"/>
                  </a:lnTo>
                  <a:lnTo>
                    <a:pt x="324" y="256"/>
                  </a:lnTo>
                  <a:lnTo>
                    <a:pt x="326" y="242"/>
                  </a:lnTo>
                  <a:lnTo>
                    <a:pt x="326" y="228"/>
                  </a:lnTo>
                  <a:lnTo>
                    <a:pt x="326" y="228"/>
                  </a:lnTo>
                  <a:lnTo>
                    <a:pt x="326" y="222"/>
                  </a:lnTo>
                  <a:lnTo>
                    <a:pt x="326" y="222"/>
                  </a:lnTo>
                  <a:close/>
                  <a:moveTo>
                    <a:pt x="308" y="208"/>
                  </a:moveTo>
                  <a:lnTo>
                    <a:pt x="308" y="208"/>
                  </a:lnTo>
                  <a:lnTo>
                    <a:pt x="282" y="210"/>
                  </a:lnTo>
                  <a:lnTo>
                    <a:pt x="256" y="218"/>
                  </a:lnTo>
                  <a:lnTo>
                    <a:pt x="234" y="228"/>
                  </a:lnTo>
                  <a:lnTo>
                    <a:pt x="214" y="242"/>
                  </a:lnTo>
                  <a:lnTo>
                    <a:pt x="214" y="308"/>
                  </a:lnTo>
                  <a:lnTo>
                    <a:pt x="312" y="208"/>
                  </a:lnTo>
                  <a:lnTo>
                    <a:pt x="312" y="208"/>
                  </a:lnTo>
                  <a:lnTo>
                    <a:pt x="308" y="208"/>
                  </a:lnTo>
                  <a:lnTo>
                    <a:pt x="308" y="208"/>
                  </a:lnTo>
                  <a:close/>
                  <a:moveTo>
                    <a:pt x="160" y="356"/>
                  </a:moveTo>
                  <a:lnTo>
                    <a:pt x="160" y="356"/>
                  </a:lnTo>
                  <a:lnTo>
                    <a:pt x="160" y="360"/>
                  </a:lnTo>
                  <a:lnTo>
                    <a:pt x="194" y="328"/>
                  </a:lnTo>
                  <a:lnTo>
                    <a:pt x="194" y="262"/>
                  </a:lnTo>
                  <a:lnTo>
                    <a:pt x="194" y="262"/>
                  </a:lnTo>
                  <a:lnTo>
                    <a:pt x="180" y="282"/>
                  </a:lnTo>
                  <a:lnTo>
                    <a:pt x="170" y="306"/>
                  </a:lnTo>
                  <a:lnTo>
                    <a:pt x="162" y="330"/>
                  </a:lnTo>
                  <a:lnTo>
                    <a:pt x="160" y="356"/>
                  </a:lnTo>
                  <a:lnTo>
                    <a:pt x="160" y="356"/>
                  </a:lnTo>
                  <a:close/>
                  <a:moveTo>
                    <a:pt x="306" y="302"/>
                  </a:moveTo>
                  <a:lnTo>
                    <a:pt x="248" y="302"/>
                  </a:lnTo>
                  <a:lnTo>
                    <a:pt x="174" y="374"/>
                  </a:lnTo>
                  <a:lnTo>
                    <a:pt x="174" y="374"/>
                  </a:lnTo>
                  <a:lnTo>
                    <a:pt x="180" y="374"/>
                  </a:lnTo>
                  <a:lnTo>
                    <a:pt x="180" y="374"/>
                  </a:lnTo>
                  <a:lnTo>
                    <a:pt x="200" y="374"/>
                  </a:lnTo>
                  <a:lnTo>
                    <a:pt x="220" y="370"/>
                  </a:lnTo>
                  <a:lnTo>
                    <a:pt x="238" y="364"/>
                  </a:lnTo>
                  <a:lnTo>
                    <a:pt x="254" y="354"/>
                  </a:lnTo>
                  <a:lnTo>
                    <a:pt x="270" y="344"/>
                  </a:lnTo>
                  <a:lnTo>
                    <a:pt x="284" y="332"/>
                  </a:lnTo>
                  <a:lnTo>
                    <a:pt x="296" y="318"/>
                  </a:lnTo>
                  <a:lnTo>
                    <a:pt x="306" y="302"/>
                  </a:lnTo>
                  <a:lnTo>
                    <a:pt x="306" y="302"/>
                  </a:lnTo>
                  <a:close/>
                  <a:moveTo>
                    <a:pt x="216" y="84"/>
                  </a:moveTo>
                  <a:lnTo>
                    <a:pt x="216" y="84"/>
                  </a:lnTo>
                  <a:lnTo>
                    <a:pt x="216" y="78"/>
                  </a:lnTo>
                  <a:lnTo>
                    <a:pt x="214" y="70"/>
                  </a:lnTo>
                  <a:lnTo>
                    <a:pt x="210" y="64"/>
                  </a:lnTo>
                  <a:lnTo>
                    <a:pt x="206" y="60"/>
                  </a:lnTo>
                  <a:lnTo>
                    <a:pt x="200" y="56"/>
                  </a:lnTo>
                  <a:lnTo>
                    <a:pt x="194" y="52"/>
                  </a:lnTo>
                  <a:lnTo>
                    <a:pt x="188" y="50"/>
                  </a:lnTo>
                  <a:lnTo>
                    <a:pt x="180" y="48"/>
                  </a:lnTo>
                  <a:lnTo>
                    <a:pt x="180" y="48"/>
                  </a:lnTo>
                  <a:lnTo>
                    <a:pt x="172" y="50"/>
                  </a:lnTo>
                  <a:lnTo>
                    <a:pt x="166" y="52"/>
                  </a:lnTo>
                  <a:lnTo>
                    <a:pt x="160" y="56"/>
                  </a:lnTo>
                  <a:lnTo>
                    <a:pt x="154" y="60"/>
                  </a:lnTo>
                  <a:lnTo>
                    <a:pt x="150" y="64"/>
                  </a:lnTo>
                  <a:lnTo>
                    <a:pt x="146" y="70"/>
                  </a:lnTo>
                  <a:lnTo>
                    <a:pt x="144" y="78"/>
                  </a:lnTo>
                  <a:lnTo>
                    <a:pt x="144" y="84"/>
                  </a:lnTo>
                  <a:lnTo>
                    <a:pt x="144" y="84"/>
                  </a:lnTo>
                  <a:lnTo>
                    <a:pt x="144" y="92"/>
                  </a:lnTo>
                  <a:lnTo>
                    <a:pt x="146" y="100"/>
                  </a:lnTo>
                  <a:lnTo>
                    <a:pt x="150" y="106"/>
                  </a:lnTo>
                  <a:lnTo>
                    <a:pt x="154" y="110"/>
                  </a:lnTo>
                  <a:lnTo>
                    <a:pt x="160" y="114"/>
                  </a:lnTo>
                  <a:lnTo>
                    <a:pt x="166" y="118"/>
                  </a:lnTo>
                  <a:lnTo>
                    <a:pt x="172" y="120"/>
                  </a:lnTo>
                  <a:lnTo>
                    <a:pt x="180" y="122"/>
                  </a:lnTo>
                  <a:lnTo>
                    <a:pt x="180" y="122"/>
                  </a:lnTo>
                  <a:lnTo>
                    <a:pt x="188" y="120"/>
                  </a:lnTo>
                  <a:lnTo>
                    <a:pt x="194" y="118"/>
                  </a:lnTo>
                  <a:lnTo>
                    <a:pt x="200" y="114"/>
                  </a:lnTo>
                  <a:lnTo>
                    <a:pt x="206" y="110"/>
                  </a:lnTo>
                  <a:lnTo>
                    <a:pt x="210" y="106"/>
                  </a:lnTo>
                  <a:lnTo>
                    <a:pt x="214" y="100"/>
                  </a:lnTo>
                  <a:lnTo>
                    <a:pt x="216" y="92"/>
                  </a:lnTo>
                  <a:lnTo>
                    <a:pt x="216" y="84"/>
                  </a:lnTo>
                  <a:lnTo>
                    <a:pt x="216" y="84"/>
                  </a:lnTo>
                  <a:close/>
                  <a:moveTo>
                    <a:pt x="180" y="192"/>
                  </a:moveTo>
                  <a:lnTo>
                    <a:pt x="180" y="192"/>
                  </a:lnTo>
                  <a:lnTo>
                    <a:pt x="180" y="192"/>
                  </a:lnTo>
                  <a:lnTo>
                    <a:pt x="176" y="190"/>
                  </a:lnTo>
                  <a:lnTo>
                    <a:pt x="172" y="188"/>
                  </a:lnTo>
                  <a:lnTo>
                    <a:pt x="170" y="186"/>
                  </a:lnTo>
                  <a:lnTo>
                    <a:pt x="170" y="182"/>
                  </a:lnTo>
                  <a:lnTo>
                    <a:pt x="170" y="146"/>
                  </a:lnTo>
                  <a:lnTo>
                    <a:pt x="170" y="146"/>
                  </a:lnTo>
                  <a:lnTo>
                    <a:pt x="170" y="142"/>
                  </a:lnTo>
                  <a:lnTo>
                    <a:pt x="172" y="140"/>
                  </a:lnTo>
                  <a:lnTo>
                    <a:pt x="176" y="138"/>
                  </a:lnTo>
                  <a:lnTo>
                    <a:pt x="180" y="136"/>
                  </a:lnTo>
                  <a:lnTo>
                    <a:pt x="180" y="136"/>
                  </a:lnTo>
                  <a:lnTo>
                    <a:pt x="180" y="136"/>
                  </a:lnTo>
                  <a:lnTo>
                    <a:pt x="184" y="138"/>
                  </a:lnTo>
                  <a:lnTo>
                    <a:pt x="188" y="140"/>
                  </a:lnTo>
                  <a:lnTo>
                    <a:pt x="190" y="142"/>
                  </a:lnTo>
                  <a:lnTo>
                    <a:pt x="190" y="146"/>
                  </a:lnTo>
                  <a:lnTo>
                    <a:pt x="190" y="182"/>
                  </a:lnTo>
                  <a:lnTo>
                    <a:pt x="190" y="182"/>
                  </a:lnTo>
                  <a:lnTo>
                    <a:pt x="190" y="186"/>
                  </a:lnTo>
                  <a:lnTo>
                    <a:pt x="188" y="188"/>
                  </a:lnTo>
                  <a:lnTo>
                    <a:pt x="184" y="190"/>
                  </a:lnTo>
                  <a:lnTo>
                    <a:pt x="180" y="192"/>
                  </a:lnTo>
                  <a:lnTo>
                    <a:pt x="180" y="192"/>
                  </a:lnTo>
                  <a:close/>
                  <a:moveTo>
                    <a:pt x="120" y="156"/>
                  </a:moveTo>
                  <a:lnTo>
                    <a:pt x="120" y="156"/>
                  </a:lnTo>
                  <a:lnTo>
                    <a:pt x="116" y="154"/>
                  </a:lnTo>
                  <a:lnTo>
                    <a:pt x="112" y="152"/>
                  </a:lnTo>
                  <a:lnTo>
                    <a:pt x="112" y="152"/>
                  </a:lnTo>
                  <a:lnTo>
                    <a:pt x="110" y="148"/>
                  </a:lnTo>
                  <a:lnTo>
                    <a:pt x="110" y="146"/>
                  </a:lnTo>
                  <a:lnTo>
                    <a:pt x="110" y="142"/>
                  </a:lnTo>
                  <a:lnTo>
                    <a:pt x="112" y="138"/>
                  </a:lnTo>
                  <a:lnTo>
                    <a:pt x="130" y="122"/>
                  </a:lnTo>
                  <a:lnTo>
                    <a:pt x="130" y="122"/>
                  </a:lnTo>
                  <a:lnTo>
                    <a:pt x="132" y="120"/>
                  </a:lnTo>
                  <a:lnTo>
                    <a:pt x="136" y="118"/>
                  </a:lnTo>
                  <a:lnTo>
                    <a:pt x="140" y="120"/>
                  </a:lnTo>
                  <a:lnTo>
                    <a:pt x="144" y="122"/>
                  </a:lnTo>
                  <a:lnTo>
                    <a:pt x="144" y="122"/>
                  </a:lnTo>
                  <a:lnTo>
                    <a:pt x="146" y="124"/>
                  </a:lnTo>
                  <a:lnTo>
                    <a:pt x="146" y="128"/>
                  </a:lnTo>
                  <a:lnTo>
                    <a:pt x="146" y="132"/>
                  </a:lnTo>
                  <a:lnTo>
                    <a:pt x="144" y="136"/>
                  </a:lnTo>
                  <a:lnTo>
                    <a:pt x="126" y="152"/>
                  </a:lnTo>
                  <a:lnTo>
                    <a:pt x="126" y="152"/>
                  </a:lnTo>
                  <a:lnTo>
                    <a:pt x="124" y="154"/>
                  </a:lnTo>
                  <a:lnTo>
                    <a:pt x="120" y="156"/>
                  </a:lnTo>
                  <a:lnTo>
                    <a:pt x="120" y="156"/>
                  </a:lnTo>
                  <a:close/>
                  <a:moveTo>
                    <a:pt x="118" y="94"/>
                  </a:moveTo>
                  <a:lnTo>
                    <a:pt x="118" y="94"/>
                  </a:lnTo>
                  <a:lnTo>
                    <a:pt x="100" y="94"/>
                  </a:lnTo>
                  <a:lnTo>
                    <a:pt x="100" y="94"/>
                  </a:lnTo>
                  <a:lnTo>
                    <a:pt x="96" y="94"/>
                  </a:lnTo>
                  <a:lnTo>
                    <a:pt x="92" y="92"/>
                  </a:lnTo>
                  <a:lnTo>
                    <a:pt x="90" y="88"/>
                  </a:lnTo>
                  <a:lnTo>
                    <a:pt x="90" y="84"/>
                  </a:lnTo>
                  <a:lnTo>
                    <a:pt x="90" y="84"/>
                  </a:lnTo>
                  <a:lnTo>
                    <a:pt x="90" y="82"/>
                  </a:lnTo>
                  <a:lnTo>
                    <a:pt x="92" y="78"/>
                  </a:lnTo>
                  <a:lnTo>
                    <a:pt x="96" y="76"/>
                  </a:lnTo>
                  <a:lnTo>
                    <a:pt x="100" y="74"/>
                  </a:lnTo>
                  <a:lnTo>
                    <a:pt x="100" y="74"/>
                  </a:lnTo>
                  <a:lnTo>
                    <a:pt x="118" y="74"/>
                  </a:lnTo>
                  <a:lnTo>
                    <a:pt x="118" y="74"/>
                  </a:lnTo>
                  <a:lnTo>
                    <a:pt x="122" y="76"/>
                  </a:lnTo>
                  <a:lnTo>
                    <a:pt x="126" y="78"/>
                  </a:lnTo>
                  <a:lnTo>
                    <a:pt x="128" y="82"/>
                  </a:lnTo>
                  <a:lnTo>
                    <a:pt x="128" y="84"/>
                  </a:lnTo>
                  <a:lnTo>
                    <a:pt x="128" y="84"/>
                  </a:lnTo>
                  <a:lnTo>
                    <a:pt x="128" y="88"/>
                  </a:lnTo>
                  <a:lnTo>
                    <a:pt x="126" y="92"/>
                  </a:lnTo>
                  <a:lnTo>
                    <a:pt x="122" y="94"/>
                  </a:lnTo>
                  <a:lnTo>
                    <a:pt x="118" y="94"/>
                  </a:lnTo>
                  <a:lnTo>
                    <a:pt x="118" y="94"/>
                  </a:lnTo>
                  <a:close/>
                  <a:moveTo>
                    <a:pt x="136" y="52"/>
                  </a:moveTo>
                  <a:lnTo>
                    <a:pt x="136" y="52"/>
                  </a:lnTo>
                  <a:lnTo>
                    <a:pt x="132" y="50"/>
                  </a:lnTo>
                  <a:lnTo>
                    <a:pt x="130" y="48"/>
                  </a:lnTo>
                  <a:lnTo>
                    <a:pt x="120" y="38"/>
                  </a:lnTo>
                  <a:lnTo>
                    <a:pt x="120" y="38"/>
                  </a:lnTo>
                  <a:lnTo>
                    <a:pt x="118" y="36"/>
                  </a:lnTo>
                  <a:lnTo>
                    <a:pt x="116" y="32"/>
                  </a:lnTo>
                  <a:lnTo>
                    <a:pt x="118" y="28"/>
                  </a:lnTo>
                  <a:lnTo>
                    <a:pt x="120" y="24"/>
                  </a:lnTo>
                  <a:lnTo>
                    <a:pt x="120" y="24"/>
                  </a:lnTo>
                  <a:lnTo>
                    <a:pt x="122" y="22"/>
                  </a:lnTo>
                  <a:lnTo>
                    <a:pt x="126" y="22"/>
                  </a:lnTo>
                  <a:lnTo>
                    <a:pt x="130" y="22"/>
                  </a:lnTo>
                  <a:lnTo>
                    <a:pt x="134" y="24"/>
                  </a:lnTo>
                  <a:lnTo>
                    <a:pt x="144" y="34"/>
                  </a:lnTo>
                  <a:lnTo>
                    <a:pt x="144" y="34"/>
                  </a:lnTo>
                  <a:lnTo>
                    <a:pt x="146" y="38"/>
                  </a:lnTo>
                  <a:lnTo>
                    <a:pt x="146" y="42"/>
                  </a:lnTo>
                  <a:lnTo>
                    <a:pt x="146" y="46"/>
                  </a:lnTo>
                  <a:lnTo>
                    <a:pt x="144" y="48"/>
                  </a:lnTo>
                  <a:lnTo>
                    <a:pt x="144" y="48"/>
                  </a:lnTo>
                  <a:lnTo>
                    <a:pt x="140" y="50"/>
                  </a:lnTo>
                  <a:lnTo>
                    <a:pt x="136" y="52"/>
                  </a:lnTo>
                  <a:lnTo>
                    <a:pt x="136" y="52"/>
                  </a:lnTo>
                  <a:close/>
                  <a:moveTo>
                    <a:pt x="240" y="156"/>
                  </a:moveTo>
                  <a:lnTo>
                    <a:pt x="240" y="156"/>
                  </a:lnTo>
                  <a:lnTo>
                    <a:pt x="236" y="154"/>
                  </a:lnTo>
                  <a:lnTo>
                    <a:pt x="234" y="152"/>
                  </a:lnTo>
                  <a:lnTo>
                    <a:pt x="216" y="136"/>
                  </a:lnTo>
                  <a:lnTo>
                    <a:pt x="216" y="136"/>
                  </a:lnTo>
                  <a:lnTo>
                    <a:pt x="214" y="132"/>
                  </a:lnTo>
                  <a:lnTo>
                    <a:pt x="214" y="128"/>
                  </a:lnTo>
                  <a:lnTo>
                    <a:pt x="214" y="124"/>
                  </a:lnTo>
                  <a:lnTo>
                    <a:pt x="216" y="122"/>
                  </a:lnTo>
                  <a:lnTo>
                    <a:pt x="216" y="122"/>
                  </a:lnTo>
                  <a:lnTo>
                    <a:pt x="220" y="120"/>
                  </a:lnTo>
                  <a:lnTo>
                    <a:pt x="224" y="118"/>
                  </a:lnTo>
                  <a:lnTo>
                    <a:pt x="228" y="120"/>
                  </a:lnTo>
                  <a:lnTo>
                    <a:pt x="230" y="122"/>
                  </a:lnTo>
                  <a:lnTo>
                    <a:pt x="248" y="138"/>
                  </a:lnTo>
                  <a:lnTo>
                    <a:pt x="248" y="138"/>
                  </a:lnTo>
                  <a:lnTo>
                    <a:pt x="250" y="142"/>
                  </a:lnTo>
                  <a:lnTo>
                    <a:pt x="250" y="146"/>
                  </a:lnTo>
                  <a:lnTo>
                    <a:pt x="250" y="148"/>
                  </a:lnTo>
                  <a:lnTo>
                    <a:pt x="248" y="152"/>
                  </a:lnTo>
                  <a:lnTo>
                    <a:pt x="248" y="152"/>
                  </a:lnTo>
                  <a:lnTo>
                    <a:pt x="244" y="154"/>
                  </a:lnTo>
                  <a:lnTo>
                    <a:pt x="240" y="156"/>
                  </a:lnTo>
                  <a:lnTo>
                    <a:pt x="240" y="156"/>
                  </a:lnTo>
                  <a:close/>
                  <a:moveTo>
                    <a:pt x="242" y="94"/>
                  </a:moveTo>
                  <a:lnTo>
                    <a:pt x="242" y="94"/>
                  </a:lnTo>
                  <a:lnTo>
                    <a:pt x="238" y="94"/>
                  </a:lnTo>
                  <a:lnTo>
                    <a:pt x="234" y="92"/>
                  </a:lnTo>
                  <a:lnTo>
                    <a:pt x="232" y="88"/>
                  </a:lnTo>
                  <a:lnTo>
                    <a:pt x="232" y="84"/>
                  </a:lnTo>
                  <a:lnTo>
                    <a:pt x="232" y="84"/>
                  </a:lnTo>
                  <a:lnTo>
                    <a:pt x="232" y="82"/>
                  </a:lnTo>
                  <a:lnTo>
                    <a:pt x="234" y="78"/>
                  </a:lnTo>
                  <a:lnTo>
                    <a:pt x="238" y="76"/>
                  </a:lnTo>
                  <a:lnTo>
                    <a:pt x="242" y="74"/>
                  </a:lnTo>
                  <a:lnTo>
                    <a:pt x="260" y="74"/>
                  </a:lnTo>
                  <a:lnTo>
                    <a:pt x="260" y="74"/>
                  </a:lnTo>
                  <a:lnTo>
                    <a:pt x="260" y="74"/>
                  </a:lnTo>
                  <a:lnTo>
                    <a:pt x="264" y="76"/>
                  </a:lnTo>
                  <a:lnTo>
                    <a:pt x="268" y="78"/>
                  </a:lnTo>
                  <a:lnTo>
                    <a:pt x="270" y="82"/>
                  </a:lnTo>
                  <a:lnTo>
                    <a:pt x="270" y="84"/>
                  </a:lnTo>
                  <a:lnTo>
                    <a:pt x="270" y="84"/>
                  </a:lnTo>
                  <a:lnTo>
                    <a:pt x="270" y="88"/>
                  </a:lnTo>
                  <a:lnTo>
                    <a:pt x="268" y="92"/>
                  </a:lnTo>
                  <a:lnTo>
                    <a:pt x="264" y="94"/>
                  </a:lnTo>
                  <a:lnTo>
                    <a:pt x="260" y="94"/>
                  </a:lnTo>
                  <a:lnTo>
                    <a:pt x="242" y="94"/>
                  </a:lnTo>
                  <a:lnTo>
                    <a:pt x="242" y="94"/>
                  </a:lnTo>
                  <a:close/>
                  <a:moveTo>
                    <a:pt x="224" y="52"/>
                  </a:moveTo>
                  <a:lnTo>
                    <a:pt x="224" y="52"/>
                  </a:lnTo>
                  <a:lnTo>
                    <a:pt x="220" y="50"/>
                  </a:lnTo>
                  <a:lnTo>
                    <a:pt x="216" y="48"/>
                  </a:lnTo>
                  <a:lnTo>
                    <a:pt x="216" y="48"/>
                  </a:lnTo>
                  <a:lnTo>
                    <a:pt x="214" y="46"/>
                  </a:lnTo>
                  <a:lnTo>
                    <a:pt x="214" y="42"/>
                  </a:lnTo>
                  <a:lnTo>
                    <a:pt x="214" y="38"/>
                  </a:lnTo>
                  <a:lnTo>
                    <a:pt x="216" y="34"/>
                  </a:lnTo>
                  <a:lnTo>
                    <a:pt x="226" y="24"/>
                  </a:lnTo>
                  <a:lnTo>
                    <a:pt x="226" y="24"/>
                  </a:lnTo>
                  <a:lnTo>
                    <a:pt x="230" y="22"/>
                  </a:lnTo>
                  <a:lnTo>
                    <a:pt x="234" y="22"/>
                  </a:lnTo>
                  <a:lnTo>
                    <a:pt x="238" y="22"/>
                  </a:lnTo>
                  <a:lnTo>
                    <a:pt x="240" y="24"/>
                  </a:lnTo>
                  <a:lnTo>
                    <a:pt x="240" y="24"/>
                  </a:lnTo>
                  <a:lnTo>
                    <a:pt x="242" y="28"/>
                  </a:lnTo>
                  <a:lnTo>
                    <a:pt x="244" y="32"/>
                  </a:lnTo>
                  <a:lnTo>
                    <a:pt x="242" y="36"/>
                  </a:lnTo>
                  <a:lnTo>
                    <a:pt x="240" y="38"/>
                  </a:lnTo>
                  <a:lnTo>
                    <a:pt x="230" y="48"/>
                  </a:lnTo>
                  <a:lnTo>
                    <a:pt x="230" y="48"/>
                  </a:lnTo>
                  <a:lnTo>
                    <a:pt x="228" y="50"/>
                  </a:lnTo>
                  <a:lnTo>
                    <a:pt x="224" y="52"/>
                  </a:lnTo>
                  <a:lnTo>
                    <a:pt x="224" y="52"/>
                  </a:lnTo>
                  <a:close/>
                  <a:moveTo>
                    <a:pt x="180" y="34"/>
                  </a:moveTo>
                  <a:lnTo>
                    <a:pt x="180" y="34"/>
                  </a:lnTo>
                  <a:lnTo>
                    <a:pt x="176" y="32"/>
                  </a:lnTo>
                  <a:lnTo>
                    <a:pt x="172" y="30"/>
                  </a:lnTo>
                  <a:lnTo>
                    <a:pt x="170" y="28"/>
                  </a:lnTo>
                  <a:lnTo>
                    <a:pt x="170" y="24"/>
                  </a:lnTo>
                  <a:lnTo>
                    <a:pt x="170" y="10"/>
                  </a:lnTo>
                  <a:lnTo>
                    <a:pt x="170" y="10"/>
                  </a:lnTo>
                  <a:lnTo>
                    <a:pt x="170" y="6"/>
                  </a:lnTo>
                  <a:lnTo>
                    <a:pt x="172" y="4"/>
                  </a:lnTo>
                  <a:lnTo>
                    <a:pt x="176" y="2"/>
                  </a:lnTo>
                  <a:lnTo>
                    <a:pt x="180" y="0"/>
                  </a:lnTo>
                  <a:lnTo>
                    <a:pt x="180" y="0"/>
                  </a:lnTo>
                  <a:lnTo>
                    <a:pt x="184" y="2"/>
                  </a:lnTo>
                  <a:lnTo>
                    <a:pt x="188" y="4"/>
                  </a:lnTo>
                  <a:lnTo>
                    <a:pt x="190" y="6"/>
                  </a:lnTo>
                  <a:lnTo>
                    <a:pt x="190" y="10"/>
                  </a:lnTo>
                  <a:lnTo>
                    <a:pt x="190" y="24"/>
                  </a:lnTo>
                  <a:lnTo>
                    <a:pt x="190" y="24"/>
                  </a:lnTo>
                  <a:lnTo>
                    <a:pt x="190" y="28"/>
                  </a:lnTo>
                  <a:lnTo>
                    <a:pt x="188" y="30"/>
                  </a:lnTo>
                  <a:lnTo>
                    <a:pt x="184" y="32"/>
                  </a:lnTo>
                  <a:lnTo>
                    <a:pt x="180" y="34"/>
                  </a:lnTo>
                  <a:lnTo>
                    <a:pt x="180" y="3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22" name="Group 121">
            <a:extLst>
              <a:ext uri="{FF2B5EF4-FFF2-40B4-BE49-F238E27FC236}">
                <a16:creationId xmlns:a16="http://schemas.microsoft.com/office/drawing/2014/main" id="{4D87DB89-178B-4C6F-A4E8-F631CBBEFF86}"/>
              </a:ext>
            </a:extLst>
          </p:cNvPr>
          <p:cNvGrpSpPr/>
          <p:nvPr/>
        </p:nvGrpSpPr>
        <p:grpSpPr>
          <a:xfrm>
            <a:off x="8667970" y="3817274"/>
            <a:ext cx="612000" cy="612000"/>
            <a:chOff x="8447928" y="4690710"/>
            <a:chExt cx="612000" cy="612000"/>
          </a:xfrm>
        </p:grpSpPr>
        <p:sp>
          <p:nvSpPr>
            <p:cNvPr id="123" name="Oval 122">
              <a:extLst>
                <a:ext uri="{FF2B5EF4-FFF2-40B4-BE49-F238E27FC236}">
                  <a16:creationId xmlns:a16="http://schemas.microsoft.com/office/drawing/2014/main" id="{B651A844-80D6-44F6-923C-FD452410FC88}"/>
                </a:ext>
              </a:extLst>
            </p:cNvPr>
            <p:cNvSpPr/>
            <p:nvPr/>
          </p:nvSpPr>
          <p:spPr bwMode="ltGray">
            <a:xfrm>
              <a:off x="8447928"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24" name="Freeform 4924">
              <a:extLst>
                <a:ext uri="{FF2B5EF4-FFF2-40B4-BE49-F238E27FC236}">
                  <a16:creationId xmlns:a16="http://schemas.microsoft.com/office/drawing/2014/main" id="{50CFB21C-7C43-47E8-9ADA-9988B126CC7B}"/>
                </a:ext>
              </a:extLst>
            </p:cNvPr>
            <p:cNvSpPr>
              <a:spLocks noEditPoints="1"/>
            </p:cNvSpPr>
            <p:nvPr/>
          </p:nvSpPr>
          <p:spPr bwMode="auto">
            <a:xfrm>
              <a:off x="8515260" y="4795850"/>
              <a:ext cx="477336" cy="460374"/>
            </a:xfrm>
            <a:custGeom>
              <a:avLst/>
              <a:gdLst>
                <a:gd name="T0" fmla="*/ 78 w 394"/>
                <a:gd name="T1" fmla="*/ 20 h 380"/>
                <a:gd name="T2" fmla="*/ 116 w 394"/>
                <a:gd name="T3" fmla="*/ 0 h 380"/>
                <a:gd name="T4" fmla="*/ 148 w 394"/>
                <a:gd name="T5" fmla="*/ 14 h 380"/>
                <a:gd name="T6" fmla="*/ 162 w 394"/>
                <a:gd name="T7" fmla="*/ 46 h 380"/>
                <a:gd name="T8" fmla="*/ 142 w 394"/>
                <a:gd name="T9" fmla="*/ 84 h 380"/>
                <a:gd name="T10" fmla="*/ 106 w 394"/>
                <a:gd name="T11" fmla="*/ 92 h 380"/>
                <a:gd name="T12" fmla="*/ 74 w 394"/>
                <a:gd name="T13" fmla="*/ 64 h 380"/>
                <a:gd name="T14" fmla="*/ 120 w 394"/>
                <a:gd name="T15" fmla="*/ 232 h 380"/>
                <a:gd name="T16" fmla="*/ 148 w 394"/>
                <a:gd name="T17" fmla="*/ 198 h 380"/>
                <a:gd name="T18" fmla="*/ 142 w 394"/>
                <a:gd name="T19" fmla="*/ 164 h 380"/>
                <a:gd name="T20" fmla="*/ 170 w 394"/>
                <a:gd name="T21" fmla="*/ 128 h 380"/>
                <a:gd name="T22" fmla="*/ 176 w 394"/>
                <a:gd name="T23" fmla="*/ 114 h 380"/>
                <a:gd name="T24" fmla="*/ 72 w 394"/>
                <a:gd name="T25" fmla="*/ 112 h 380"/>
                <a:gd name="T26" fmla="*/ 38 w 394"/>
                <a:gd name="T27" fmla="*/ 130 h 380"/>
                <a:gd name="T28" fmla="*/ 0 w 394"/>
                <a:gd name="T29" fmla="*/ 244 h 380"/>
                <a:gd name="T30" fmla="*/ 46 w 394"/>
                <a:gd name="T31" fmla="*/ 318 h 380"/>
                <a:gd name="T32" fmla="*/ 152 w 394"/>
                <a:gd name="T33" fmla="*/ 376 h 380"/>
                <a:gd name="T34" fmla="*/ 130 w 394"/>
                <a:gd name="T35" fmla="*/ 332 h 380"/>
                <a:gd name="T36" fmla="*/ 390 w 394"/>
                <a:gd name="T37" fmla="*/ 154 h 380"/>
                <a:gd name="T38" fmla="*/ 372 w 394"/>
                <a:gd name="T39" fmla="*/ 124 h 380"/>
                <a:gd name="T40" fmla="*/ 318 w 394"/>
                <a:gd name="T41" fmla="*/ 112 h 380"/>
                <a:gd name="T42" fmla="*/ 228 w 394"/>
                <a:gd name="T43" fmla="*/ 112 h 380"/>
                <a:gd name="T44" fmla="*/ 196 w 394"/>
                <a:gd name="T45" fmla="*/ 124 h 380"/>
                <a:gd name="T46" fmla="*/ 228 w 394"/>
                <a:gd name="T47" fmla="*/ 138 h 380"/>
                <a:gd name="T48" fmla="*/ 242 w 394"/>
                <a:gd name="T49" fmla="*/ 174 h 380"/>
                <a:gd name="T50" fmla="*/ 256 w 394"/>
                <a:gd name="T51" fmla="*/ 210 h 380"/>
                <a:gd name="T52" fmla="*/ 264 w 394"/>
                <a:gd name="T53" fmla="*/ 314 h 380"/>
                <a:gd name="T54" fmla="*/ 232 w 394"/>
                <a:gd name="T55" fmla="*/ 342 h 380"/>
                <a:gd name="T56" fmla="*/ 278 w 394"/>
                <a:gd name="T57" fmla="*/ 362 h 380"/>
                <a:gd name="T58" fmla="*/ 338 w 394"/>
                <a:gd name="T59" fmla="*/ 260 h 380"/>
                <a:gd name="T60" fmla="*/ 366 w 394"/>
                <a:gd name="T61" fmla="*/ 284 h 380"/>
                <a:gd name="T62" fmla="*/ 394 w 394"/>
                <a:gd name="T63" fmla="*/ 198 h 380"/>
                <a:gd name="T64" fmla="*/ 192 w 394"/>
                <a:gd name="T65" fmla="*/ 380 h 380"/>
                <a:gd name="T66" fmla="*/ 236 w 394"/>
                <a:gd name="T67" fmla="*/ 320 h 380"/>
                <a:gd name="T68" fmla="*/ 244 w 394"/>
                <a:gd name="T69" fmla="*/ 232 h 380"/>
                <a:gd name="T70" fmla="*/ 154 w 394"/>
                <a:gd name="T71" fmla="*/ 218 h 380"/>
                <a:gd name="T72" fmla="*/ 140 w 394"/>
                <a:gd name="T73" fmla="*/ 232 h 380"/>
                <a:gd name="T74" fmla="*/ 148 w 394"/>
                <a:gd name="T75" fmla="*/ 320 h 380"/>
                <a:gd name="T76" fmla="*/ 192 w 394"/>
                <a:gd name="T77" fmla="*/ 380 h 380"/>
                <a:gd name="T78" fmla="*/ 242 w 394"/>
                <a:gd name="T79" fmla="*/ 64 h 380"/>
                <a:gd name="T80" fmla="*/ 274 w 394"/>
                <a:gd name="T81" fmla="*/ 92 h 380"/>
                <a:gd name="T82" fmla="*/ 308 w 394"/>
                <a:gd name="T83" fmla="*/ 84 h 380"/>
                <a:gd name="T84" fmla="*/ 330 w 394"/>
                <a:gd name="T85" fmla="*/ 46 h 380"/>
                <a:gd name="T86" fmla="*/ 314 w 394"/>
                <a:gd name="T87" fmla="*/ 12 h 380"/>
                <a:gd name="T88" fmla="*/ 284 w 394"/>
                <a:gd name="T89" fmla="*/ 0 h 380"/>
                <a:gd name="T90" fmla="*/ 250 w 394"/>
                <a:gd name="T91" fmla="*/ 14 h 380"/>
                <a:gd name="T92" fmla="*/ 238 w 394"/>
                <a:gd name="T93" fmla="*/ 46 h 380"/>
                <a:gd name="T94" fmla="*/ 214 w 394"/>
                <a:gd name="T95" fmla="*/ 196 h 380"/>
                <a:gd name="T96" fmla="*/ 222 w 394"/>
                <a:gd name="T97" fmla="*/ 168 h 380"/>
                <a:gd name="T98" fmla="*/ 192 w 394"/>
                <a:gd name="T99" fmla="*/ 142 h 380"/>
                <a:gd name="T100" fmla="*/ 164 w 394"/>
                <a:gd name="T101" fmla="*/ 162 h 380"/>
                <a:gd name="T102" fmla="*/ 164 w 394"/>
                <a:gd name="T103" fmla="*/ 186 h 380"/>
                <a:gd name="T104" fmla="*/ 192 w 394"/>
                <a:gd name="T105" fmla="*/ 20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94" h="380">
                  <a:moveTo>
                    <a:pt x="70" y="46"/>
                  </a:moveTo>
                  <a:lnTo>
                    <a:pt x="70" y="46"/>
                  </a:lnTo>
                  <a:lnTo>
                    <a:pt x="72" y="38"/>
                  </a:lnTo>
                  <a:lnTo>
                    <a:pt x="74" y="28"/>
                  </a:lnTo>
                  <a:lnTo>
                    <a:pt x="78" y="20"/>
                  </a:lnTo>
                  <a:lnTo>
                    <a:pt x="84" y="14"/>
                  </a:lnTo>
                  <a:lnTo>
                    <a:pt x="90" y="8"/>
                  </a:lnTo>
                  <a:lnTo>
                    <a:pt x="98" y="4"/>
                  </a:lnTo>
                  <a:lnTo>
                    <a:pt x="106" y="2"/>
                  </a:lnTo>
                  <a:lnTo>
                    <a:pt x="116" y="0"/>
                  </a:lnTo>
                  <a:lnTo>
                    <a:pt x="116" y="0"/>
                  </a:lnTo>
                  <a:lnTo>
                    <a:pt x="126" y="2"/>
                  </a:lnTo>
                  <a:lnTo>
                    <a:pt x="134" y="4"/>
                  </a:lnTo>
                  <a:lnTo>
                    <a:pt x="142" y="8"/>
                  </a:lnTo>
                  <a:lnTo>
                    <a:pt x="148" y="14"/>
                  </a:lnTo>
                  <a:lnTo>
                    <a:pt x="154" y="20"/>
                  </a:lnTo>
                  <a:lnTo>
                    <a:pt x="158" y="28"/>
                  </a:lnTo>
                  <a:lnTo>
                    <a:pt x="160" y="38"/>
                  </a:lnTo>
                  <a:lnTo>
                    <a:pt x="162" y="46"/>
                  </a:lnTo>
                  <a:lnTo>
                    <a:pt x="162" y="46"/>
                  </a:lnTo>
                  <a:lnTo>
                    <a:pt x="160" y="56"/>
                  </a:lnTo>
                  <a:lnTo>
                    <a:pt x="158" y="64"/>
                  </a:lnTo>
                  <a:lnTo>
                    <a:pt x="154" y="72"/>
                  </a:lnTo>
                  <a:lnTo>
                    <a:pt x="148" y="78"/>
                  </a:lnTo>
                  <a:lnTo>
                    <a:pt x="142" y="84"/>
                  </a:lnTo>
                  <a:lnTo>
                    <a:pt x="134" y="88"/>
                  </a:lnTo>
                  <a:lnTo>
                    <a:pt x="126" y="92"/>
                  </a:lnTo>
                  <a:lnTo>
                    <a:pt x="116" y="92"/>
                  </a:lnTo>
                  <a:lnTo>
                    <a:pt x="116" y="92"/>
                  </a:lnTo>
                  <a:lnTo>
                    <a:pt x="106" y="92"/>
                  </a:lnTo>
                  <a:lnTo>
                    <a:pt x="98" y="88"/>
                  </a:lnTo>
                  <a:lnTo>
                    <a:pt x="90" y="84"/>
                  </a:lnTo>
                  <a:lnTo>
                    <a:pt x="84" y="78"/>
                  </a:lnTo>
                  <a:lnTo>
                    <a:pt x="78" y="72"/>
                  </a:lnTo>
                  <a:lnTo>
                    <a:pt x="74" y="64"/>
                  </a:lnTo>
                  <a:lnTo>
                    <a:pt x="72" y="56"/>
                  </a:lnTo>
                  <a:lnTo>
                    <a:pt x="70" y="46"/>
                  </a:lnTo>
                  <a:lnTo>
                    <a:pt x="70" y="46"/>
                  </a:lnTo>
                  <a:close/>
                  <a:moveTo>
                    <a:pt x="120" y="308"/>
                  </a:moveTo>
                  <a:lnTo>
                    <a:pt x="120" y="232"/>
                  </a:lnTo>
                  <a:lnTo>
                    <a:pt x="120" y="232"/>
                  </a:lnTo>
                  <a:lnTo>
                    <a:pt x="122" y="220"/>
                  </a:lnTo>
                  <a:lnTo>
                    <a:pt x="128" y="210"/>
                  </a:lnTo>
                  <a:lnTo>
                    <a:pt x="136" y="202"/>
                  </a:lnTo>
                  <a:lnTo>
                    <a:pt x="148" y="198"/>
                  </a:lnTo>
                  <a:lnTo>
                    <a:pt x="148" y="198"/>
                  </a:lnTo>
                  <a:lnTo>
                    <a:pt x="144" y="186"/>
                  </a:lnTo>
                  <a:lnTo>
                    <a:pt x="142" y="174"/>
                  </a:lnTo>
                  <a:lnTo>
                    <a:pt x="142" y="174"/>
                  </a:lnTo>
                  <a:lnTo>
                    <a:pt x="142" y="164"/>
                  </a:lnTo>
                  <a:lnTo>
                    <a:pt x="146" y="154"/>
                  </a:lnTo>
                  <a:lnTo>
                    <a:pt x="150" y="146"/>
                  </a:lnTo>
                  <a:lnTo>
                    <a:pt x="156" y="140"/>
                  </a:lnTo>
                  <a:lnTo>
                    <a:pt x="162" y="132"/>
                  </a:lnTo>
                  <a:lnTo>
                    <a:pt x="170" y="128"/>
                  </a:lnTo>
                  <a:lnTo>
                    <a:pt x="178" y="124"/>
                  </a:lnTo>
                  <a:lnTo>
                    <a:pt x="188" y="124"/>
                  </a:lnTo>
                  <a:lnTo>
                    <a:pt x="188" y="124"/>
                  </a:lnTo>
                  <a:lnTo>
                    <a:pt x="182" y="118"/>
                  </a:lnTo>
                  <a:lnTo>
                    <a:pt x="176" y="114"/>
                  </a:lnTo>
                  <a:lnTo>
                    <a:pt x="168" y="112"/>
                  </a:lnTo>
                  <a:lnTo>
                    <a:pt x="160" y="112"/>
                  </a:lnTo>
                  <a:lnTo>
                    <a:pt x="116" y="112"/>
                  </a:lnTo>
                  <a:lnTo>
                    <a:pt x="72" y="112"/>
                  </a:lnTo>
                  <a:lnTo>
                    <a:pt x="72" y="112"/>
                  </a:lnTo>
                  <a:lnTo>
                    <a:pt x="64" y="112"/>
                  </a:lnTo>
                  <a:lnTo>
                    <a:pt x="56" y="114"/>
                  </a:lnTo>
                  <a:lnTo>
                    <a:pt x="50" y="118"/>
                  </a:lnTo>
                  <a:lnTo>
                    <a:pt x="44" y="124"/>
                  </a:lnTo>
                  <a:lnTo>
                    <a:pt x="38" y="130"/>
                  </a:lnTo>
                  <a:lnTo>
                    <a:pt x="34" y="136"/>
                  </a:lnTo>
                  <a:lnTo>
                    <a:pt x="30" y="144"/>
                  </a:lnTo>
                  <a:lnTo>
                    <a:pt x="28" y="152"/>
                  </a:lnTo>
                  <a:lnTo>
                    <a:pt x="0" y="244"/>
                  </a:lnTo>
                  <a:lnTo>
                    <a:pt x="0" y="244"/>
                  </a:lnTo>
                  <a:lnTo>
                    <a:pt x="12" y="270"/>
                  </a:lnTo>
                  <a:lnTo>
                    <a:pt x="26" y="296"/>
                  </a:lnTo>
                  <a:lnTo>
                    <a:pt x="60" y="188"/>
                  </a:lnTo>
                  <a:lnTo>
                    <a:pt x="76" y="188"/>
                  </a:lnTo>
                  <a:lnTo>
                    <a:pt x="46" y="318"/>
                  </a:lnTo>
                  <a:lnTo>
                    <a:pt x="46" y="318"/>
                  </a:lnTo>
                  <a:lnTo>
                    <a:pt x="70" y="338"/>
                  </a:lnTo>
                  <a:lnTo>
                    <a:pt x="94" y="356"/>
                  </a:lnTo>
                  <a:lnTo>
                    <a:pt x="122" y="368"/>
                  </a:lnTo>
                  <a:lnTo>
                    <a:pt x="152" y="376"/>
                  </a:lnTo>
                  <a:lnTo>
                    <a:pt x="152" y="342"/>
                  </a:lnTo>
                  <a:lnTo>
                    <a:pt x="152" y="342"/>
                  </a:lnTo>
                  <a:lnTo>
                    <a:pt x="146" y="340"/>
                  </a:lnTo>
                  <a:lnTo>
                    <a:pt x="140" y="338"/>
                  </a:lnTo>
                  <a:lnTo>
                    <a:pt x="130" y="332"/>
                  </a:lnTo>
                  <a:lnTo>
                    <a:pt x="122" y="320"/>
                  </a:lnTo>
                  <a:lnTo>
                    <a:pt x="120" y="314"/>
                  </a:lnTo>
                  <a:lnTo>
                    <a:pt x="120" y="308"/>
                  </a:lnTo>
                  <a:lnTo>
                    <a:pt x="120" y="308"/>
                  </a:lnTo>
                  <a:close/>
                  <a:moveTo>
                    <a:pt x="390" y="154"/>
                  </a:moveTo>
                  <a:lnTo>
                    <a:pt x="390" y="154"/>
                  </a:lnTo>
                  <a:lnTo>
                    <a:pt x="388" y="146"/>
                  </a:lnTo>
                  <a:lnTo>
                    <a:pt x="384" y="138"/>
                  </a:lnTo>
                  <a:lnTo>
                    <a:pt x="378" y="130"/>
                  </a:lnTo>
                  <a:lnTo>
                    <a:pt x="372" y="124"/>
                  </a:lnTo>
                  <a:lnTo>
                    <a:pt x="366" y="118"/>
                  </a:lnTo>
                  <a:lnTo>
                    <a:pt x="358" y="116"/>
                  </a:lnTo>
                  <a:lnTo>
                    <a:pt x="348" y="112"/>
                  </a:lnTo>
                  <a:lnTo>
                    <a:pt x="340" y="112"/>
                  </a:lnTo>
                  <a:lnTo>
                    <a:pt x="318" y="112"/>
                  </a:lnTo>
                  <a:lnTo>
                    <a:pt x="310" y="112"/>
                  </a:lnTo>
                  <a:lnTo>
                    <a:pt x="284" y="148"/>
                  </a:lnTo>
                  <a:lnTo>
                    <a:pt x="256" y="112"/>
                  </a:lnTo>
                  <a:lnTo>
                    <a:pt x="250" y="112"/>
                  </a:lnTo>
                  <a:lnTo>
                    <a:pt x="228" y="112"/>
                  </a:lnTo>
                  <a:lnTo>
                    <a:pt x="228" y="112"/>
                  </a:lnTo>
                  <a:lnTo>
                    <a:pt x="218" y="112"/>
                  </a:lnTo>
                  <a:lnTo>
                    <a:pt x="210" y="114"/>
                  </a:lnTo>
                  <a:lnTo>
                    <a:pt x="202" y="118"/>
                  </a:lnTo>
                  <a:lnTo>
                    <a:pt x="196" y="124"/>
                  </a:lnTo>
                  <a:lnTo>
                    <a:pt x="196" y="124"/>
                  </a:lnTo>
                  <a:lnTo>
                    <a:pt x="204" y="124"/>
                  </a:lnTo>
                  <a:lnTo>
                    <a:pt x="214" y="128"/>
                  </a:lnTo>
                  <a:lnTo>
                    <a:pt x="222" y="132"/>
                  </a:lnTo>
                  <a:lnTo>
                    <a:pt x="228" y="138"/>
                  </a:lnTo>
                  <a:lnTo>
                    <a:pt x="234" y="146"/>
                  </a:lnTo>
                  <a:lnTo>
                    <a:pt x="238" y="154"/>
                  </a:lnTo>
                  <a:lnTo>
                    <a:pt x="242" y="164"/>
                  </a:lnTo>
                  <a:lnTo>
                    <a:pt x="242" y="174"/>
                  </a:lnTo>
                  <a:lnTo>
                    <a:pt x="242" y="174"/>
                  </a:lnTo>
                  <a:lnTo>
                    <a:pt x="240" y="186"/>
                  </a:lnTo>
                  <a:lnTo>
                    <a:pt x="236" y="198"/>
                  </a:lnTo>
                  <a:lnTo>
                    <a:pt x="236" y="198"/>
                  </a:lnTo>
                  <a:lnTo>
                    <a:pt x="248" y="202"/>
                  </a:lnTo>
                  <a:lnTo>
                    <a:pt x="256" y="210"/>
                  </a:lnTo>
                  <a:lnTo>
                    <a:pt x="262" y="220"/>
                  </a:lnTo>
                  <a:lnTo>
                    <a:pt x="264" y="232"/>
                  </a:lnTo>
                  <a:lnTo>
                    <a:pt x="264" y="308"/>
                  </a:lnTo>
                  <a:lnTo>
                    <a:pt x="264" y="308"/>
                  </a:lnTo>
                  <a:lnTo>
                    <a:pt x="264" y="314"/>
                  </a:lnTo>
                  <a:lnTo>
                    <a:pt x="262" y="320"/>
                  </a:lnTo>
                  <a:lnTo>
                    <a:pt x="254" y="332"/>
                  </a:lnTo>
                  <a:lnTo>
                    <a:pt x="244" y="338"/>
                  </a:lnTo>
                  <a:lnTo>
                    <a:pt x="238" y="340"/>
                  </a:lnTo>
                  <a:lnTo>
                    <a:pt x="232" y="342"/>
                  </a:lnTo>
                  <a:lnTo>
                    <a:pt x="232" y="376"/>
                  </a:lnTo>
                  <a:lnTo>
                    <a:pt x="232" y="376"/>
                  </a:lnTo>
                  <a:lnTo>
                    <a:pt x="248" y="372"/>
                  </a:lnTo>
                  <a:lnTo>
                    <a:pt x="262" y="368"/>
                  </a:lnTo>
                  <a:lnTo>
                    <a:pt x="278" y="362"/>
                  </a:lnTo>
                  <a:lnTo>
                    <a:pt x="292" y="354"/>
                  </a:lnTo>
                  <a:lnTo>
                    <a:pt x="306" y="346"/>
                  </a:lnTo>
                  <a:lnTo>
                    <a:pt x="318" y="336"/>
                  </a:lnTo>
                  <a:lnTo>
                    <a:pt x="340" y="316"/>
                  </a:lnTo>
                  <a:lnTo>
                    <a:pt x="338" y="260"/>
                  </a:lnTo>
                  <a:lnTo>
                    <a:pt x="338" y="192"/>
                  </a:lnTo>
                  <a:lnTo>
                    <a:pt x="350" y="192"/>
                  </a:lnTo>
                  <a:lnTo>
                    <a:pt x="350" y="192"/>
                  </a:lnTo>
                  <a:lnTo>
                    <a:pt x="354" y="192"/>
                  </a:lnTo>
                  <a:lnTo>
                    <a:pt x="366" y="284"/>
                  </a:lnTo>
                  <a:lnTo>
                    <a:pt x="366" y="284"/>
                  </a:lnTo>
                  <a:lnTo>
                    <a:pt x="376" y="264"/>
                  </a:lnTo>
                  <a:lnTo>
                    <a:pt x="384" y="244"/>
                  </a:lnTo>
                  <a:lnTo>
                    <a:pt x="390" y="222"/>
                  </a:lnTo>
                  <a:lnTo>
                    <a:pt x="394" y="198"/>
                  </a:lnTo>
                  <a:lnTo>
                    <a:pt x="394" y="198"/>
                  </a:lnTo>
                  <a:lnTo>
                    <a:pt x="390" y="154"/>
                  </a:lnTo>
                  <a:lnTo>
                    <a:pt x="390" y="154"/>
                  </a:lnTo>
                  <a:close/>
                  <a:moveTo>
                    <a:pt x="192" y="380"/>
                  </a:moveTo>
                  <a:lnTo>
                    <a:pt x="192" y="380"/>
                  </a:lnTo>
                  <a:lnTo>
                    <a:pt x="212" y="380"/>
                  </a:lnTo>
                  <a:lnTo>
                    <a:pt x="212" y="322"/>
                  </a:lnTo>
                  <a:lnTo>
                    <a:pt x="230" y="322"/>
                  </a:lnTo>
                  <a:lnTo>
                    <a:pt x="230" y="322"/>
                  </a:lnTo>
                  <a:lnTo>
                    <a:pt x="236" y="320"/>
                  </a:lnTo>
                  <a:lnTo>
                    <a:pt x="240" y="318"/>
                  </a:lnTo>
                  <a:lnTo>
                    <a:pt x="242" y="314"/>
                  </a:lnTo>
                  <a:lnTo>
                    <a:pt x="244" y="308"/>
                  </a:lnTo>
                  <a:lnTo>
                    <a:pt x="244" y="232"/>
                  </a:lnTo>
                  <a:lnTo>
                    <a:pt x="244" y="232"/>
                  </a:lnTo>
                  <a:lnTo>
                    <a:pt x="242" y="226"/>
                  </a:lnTo>
                  <a:lnTo>
                    <a:pt x="240" y="222"/>
                  </a:lnTo>
                  <a:lnTo>
                    <a:pt x="236" y="218"/>
                  </a:lnTo>
                  <a:lnTo>
                    <a:pt x="230" y="218"/>
                  </a:lnTo>
                  <a:lnTo>
                    <a:pt x="154" y="218"/>
                  </a:lnTo>
                  <a:lnTo>
                    <a:pt x="154" y="218"/>
                  </a:lnTo>
                  <a:lnTo>
                    <a:pt x="148" y="218"/>
                  </a:lnTo>
                  <a:lnTo>
                    <a:pt x="144" y="222"/>
                  </a:lnTo>
                  <a:lnTo>
                    <a:pt x="142" y="226"/>
                  </a:lnTo>
                  <a:lnTo>
                    <a:pt x="140" y="232"/>
                  </a:lnTo>
                  <a:lnTo>
                    <a:pt x="140" y="308"/>
                  </a:lnTo>
                  <a:lnTo>
                    <a:pt x="140" y="308"/>
                  </a:lnTo>
                  <a:lnTo>
                    <a:pt x="142" y="314"/>
                  </a:lnTo>
                  <a:lnTo>
                    <a:pt x="144" y="318"/>
                  </a:lnTo>
                  <a:lnTo>
                    <a:pt x="148" y="320"/>
                  </a:lnTo>
                  <a:lnTo>
                    <a:pt x="154" y="322"/>
                  </a:lnTo>
                  <a:lnTo>
                    <a:pt x="172" y="322"/>
                  </a:lnTo>
                  <a:lnTo>
                    <a:pt x="172" y="380"/>
                  </a:lnTo>
                  <a:lnTo>
                    <a:pt x="172" y="380"/>
                  </a:lnTo>
                  <a:lnTo>
                    <a:pt x="192" y="380"/>
                  </a:lnTo>
                  <a:lnTo>
                    <a:pt x="192" y="380"/>
                  </a:lnTo>
                  <a:close/>
                  <a:moveTo>
                    <a:pt x="238" y="46"/>
                  </a:moveTo>
                  <a:lnTo>
                    <a:pt x="238" y="46"/>
                  </a:lnTo>
                  <a:lnTo>
                    <a:pt x="238" y="56"/>
                  </a:lnTo>
                  <a:lnTo>
                    <a:pt x="242" y="64"/>
                  </a:lnTo>
                  <a:lnTo>
                    <a:pt x="246" y="72"/>
                  </a:lnTo>
                  <a:lnTo>
                    <a:pt x="250" y="78"/>
                  </a:lnTo>
                  <a:lnTo>
                    <a:pt x="258" y="84"/>
                  </a:lnTo>
                  <a:lnTo>
                    <a:pt x="266" y="88"/>
                  </a:lnTo>
                  <a:lnTo>
                    <a:pt x="274" y="92"/>
                  </a:lnTo>
                  <a:lnTo>
                    <a:pt x="284" y="92"/>
                  </a:lnTo>
                  <a:lnTo>
                    <a:pt x="284" y="92"/>
                  </a:lnTo>
                  <a:lnTo>
                    <a:pt x="292" y="92"/>
                  </a:lnTo>
                  <a:lnTo>
                    <a:pt x="302" y="88"/>
                  </a:lnTo>
                  <a:lnTo>
                    <a:pt x="308" y="84"/>
                  </a:lnTo>
                  <a:lnTo>
                    <a:pt x="316" y="78"/>
                  </a:lnTo>
                  <a:lnTo>
                    <a:pt x="322" y="72"/>
                  </a:lnTo>
                  <a:lnTo>
                    <a:pt x="326" y="64"/>
                  </a:lnTo>
                  <a:lnTo>
                    <a:pt x="328" y="56"/>
                  </a:lnTo>
                  <a:lnTo>
                    <a:pt x="330" y="46"/>
                  </a:lnTo>
                  <a:lnTo>
                    <a:pt x="330" y="46"/>
                  </a:lnTo>
                  <a:lnTo>
                    <a:pt x="328" y="36"/>
                  </a:lnTo>
                  <a:lnTo>
                    <a:pt x="324" y="28"/>
                  </a:lnTo>
                  <a:lnTo>
                    <a:pt x="320" y="20"/>
                  </a:lnTo>
                  <a:lnTo>
                    <a:pt x="314" y="12"/>
                  </a:lnTo>
                  <a:lnTo>
                    <a:pt x="314" y="12"/>
                  </a:lnTo>
                  <a:lnTo>
                    <a:pt x="306" y="6"/>
                  </a:lnTo>
                  <a:lnTo>
                    <a:pt x="306" y="6"/>
                  </a:lnTo>
                  <a:lnTo>
                    <a:pt x="294" y="2"/>
                  </a:lnTo>
                  <a:lnTo>
                    <a:pt x="284" y="0"/>
                  </a:lnTo>
                  <a:lnTo>
                    <a:pt x="284" y="0"/>
                  </a:lnTo>
                  <a:lnTo>
                    <a:pt x="274" y="2"/>
                  </a:lnTo>
                  <a:lnTo>
                    <a:pt x="266" y="4"/>
                  </a:lnTo>
                  <a:lnTo>
                    <a:pt x="258" y="8"/>
                  </a:lnTo>
                  <a:lnTo>
                    <a:pt x="250" y="14"/>
                  </a:lnTo>
                  <a:lnTo>
                    <a:pt x="246" y="20"/>
                  </a:lnTo>
                  <a:lnTo>
                    <a:pt x="242" y="28"/>
                  </a:lnTo>
                  <a:lnTo>
                    <a:pt x="238" y="38"/>
                  </a:lnTo>
                  <a:lnTo>
                    <a:pt x="238" y="46"/>
                  </a:lnTo>
                  <a:lnTo>
                    <a:pt x="238" y="46"/>
                  </a:lnTo>
                  <a:close/>
                  <a:moveTo>
                    <a:pt x="192" y="204"/>
                  </a:moveTo>
                  <a:lnTo>
                    <a:pt x="192" y="204"/>
                  </a:lnTo>
                  <a:lnTo>
                    <a:pt x="198" y="204"/>
                  </a:lnTo>
                  <a:lnTo>
                    <a:pt x="204" y="202"/>
                  </a:lnTo>
                  <a:lnTo>
                    <a:pt x="214" y="196"/>
                  </a:lnTo>
                  <a:lnTo>
                    <a:pt x="220" y="186"/>
                  </a:lnTo>
                  <a:lnTo>
                    <a:pt x="222" y="180"/>
                  </a:lnTo>
                  <a:lnTo>
                    <a:pt x="222" y="174"/>
                  </a:lnTo>
                  <a:lnTo>
                    <a:pt x="222" y="174"/>
                  </a:lnTo>
                  <a:lnTo>
                    <a:pt x="222" y="168"/>
                  </a:lnTo>
                  <a:lnTo>
                    <a:pt x="220" y="162"/>
                  </a:lnTo>
                  <a:lnTo>
                    <a:pt x="214" y="152"/>
                  </a:lnTo>
                  <a:lnTo>
                    <a:pt x="204" y="146"/>
                  </a:lnTo>
                  <a:lnTo>
                    <a:pt x="198" y="144"/>
                  </a:lnTo>
                  <a:lnTo>
                    <a:pt x="192" y="142"/>
                  </a:lnTo>
                  <a:lnTo>
                    <a:pt x="192" y="142"/>
                  </a:lnTo>
                  <a:lnTo>
                    <a:pt x="186" y="144"/>
                  </a:lnTo>
                  <a:lnTo>
                    <a:pt x="180" y="146"/>
                  </a:lnTo>
                  <a:lnTo>
                    <a:pt x="170" y="152"/>
                  </a:lnTo>
                  <a:lnTo>
                    <a:pt x="164" y="162"/>
                  </a:lnTo>
                  <a:lnTo>
                    <a:pt x="162" y="168"/>
                  </a:lnTo>
                  <a:lnTo>
                    <a:pt x="162" y="174"/>
                  </a:lnTo>
                  <a:lnTo>
                    <a:pt x="162" y="174"/>
                  </a:lnTo>
                  <a:lnTo>
                    <a:pt x="162" y="180"/>
                  </a:lnTo>
                  <a:lnTo>
                    <a:pt x="164" y="186"/>
                  </a:lnTo>
                  <a:lnTo>
                    <a:pt x="170" y="196"/>
                  </a:lnTo>
                  <a:lnTo>
                    <a:pt x="180" y="202"/>
                  </a:lnTo>
                  <a:lnTo>
                    <a:pt x="186" y="204"/>
                  </a:lnTo>
                  <a:lnTo>
                    <a:pt x="192" y="204"/>
                  </a:lnTo>
                  <a:lnTo>
                    <a:pt x="192" y="20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25" name="Group 124">
            <a:extLst>
              <a:ext uri="{FF2B5EF4-FFF2-40B4-BE49-F238E27FC236}">
                <a16:creationId xmlns:a16="http://schemas.microsoft.com/office/drawing/2014/main" id="{4ED197B7-25D2-4707-A83C-BE78278B309C}"/>
              </a:ext>
            </a:extLst>
          </p:cNvPr>
          <p:cNvGrpSpPr/>
          <p:nvPr/>
        </p:nvGrpSpPr>
        <p:grpSpPr>
          <a:xfrm>
            <a:off x="5162133" y="3814747"/>
            <a:ext cx="612000" cy="612000"/>
            <a:chOff x="4091659" y="4690710"/>
            <a:chExt cx="612000" cy="612000"/>
          </a:xfrm>
        </p:grpSpPr>
        <p:sp>
          <p:nvSpPr>
            <p:cNvPr id="126" name="Oval 125">
              <a:extLst>
                <a:ext uri="{FF2B5EF4-FFF2-40B4-BE49-F238E27FC236}">
                  <a16:creationId xmlns:a16="http://schemas.microsoft.com/office/drawing/2014/main" id="{8FFE1274-ECFF-44CE-9F8D-7C0AE1BA08E4}"/>
                </a:ext>
              </a:extLst>
            </p:cNvPr>
            <p:cNvSpPr/>
            <p:nvPr/>
          </p:nvSpPr>
          <p:spPr bwMode="ltGray">
            <a:xfrm>
              <a:off x="4091659"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27" name="Freeform 4927">
              <a:extLst>
                <a:ext uri="{FF2B5EF4-FFF2-40B4-BE49-F238E27FC236}">
                  <a16:creationId xmlns:a16="http://schemas.microsoft.com/office/drawing/2014/main" id="{169109B5-5E7D-4888-A20D-614BB9CFADF5}"/>
                </a:ext>
              </a:extLst>
            </p:cNvPr>
            <p:cNvSpPr>
              <a:spLocks noEditPoints="1"/>
            </p:cNvSpPr>
            <p:nvPr/>
          </p:nvSpPr>
          <p:spPr bwMode="auto">
            <a:xfrm>
              <a:off x="4179587" y="4778889"/>
              <a:ext cx="436144" cy="411914"/>
            </a:xfrm>
            <a:custGeom>
              <a:avLst/>
              <a:gdLst>
                <a:gd name="T0" fmla="*/ 254 w 360"/>
                <a:gd name="T1" fmla="*/ 120 h 340"/>
                <a:gd name="T2" fmla="*/ 188 w 360"/>
                <a:gd name="T3" fmla="*/ 102 h 340"/>
                <a:gd name="T4" fmla="*/ 190 w 360"/>
                <a:gd name="T5" fmla="*/ 92 h 340"/>
                <a:gd name="T6" fmla="*/ 166 w 360"/>
                <a:gd name="T7" fmla="*/ 18 h 340"/>
                <a:gd name="T8" fmla="*/ 154 w 360"/>
                <a:gd name="T9" fmla="*/ 12 h 340"/>
                <a:gd name="T10" fmla="*/ 146 w 360"/>
                <a:gd name="T11" fmla="*/ 20 h 340"/>
                <a:gd name="T12" fmla="*/ 120 w 360"/>
                <a:gd name="T13" fmla="*/ 146 h 340"/>
                <a:gd name="T14" fmla="*/ 78 w 360"/>
                <a:gd name="T15" fmla="*/ 130 h 340"/>
                <a:gd name="T16" fmla="*/ 76 w 360"/>
                <a:gd name="T17" fmla="*/ 120 h 340"/>
                <a:gd name="T18" fmla="*/ 144 w 360"/>
                <a:gd name="T19" fmla="*/ 4 h 340"/>
                <a:gd name="T20" fmla="*/ 146 w 360"/>
                <a:gd name="T21" fmla="*/ 2 h 340"/>
                <a:gd name="T22" fmla="*/ 146 w 360"/>
                <a:gd name="T23" fmla="*/ 0 h 340"/>
                <a:gd name="T24" fmla="*/ 148 w 360"/>
                <a:gd name="T25" fmla="*/ 0 h 340"/>
                <a:gd name="T26" fmla="*/ 214 w 360"/>
                <a:gd name="T27" fmla="*/ 0 h 340"/>
                <a:gd name="T28" fmla="*/ 264 w 360"/>
                <a:gd name="T29" fmla="*/ 48 h 340"/>
                <a:gd name="T30" fmla="*/ 274 w 360"/>
                <a:gd name="T31" fmla="*/ 50 h 340"/>
                <a:gd name="T32" fmla="*/ 360 w 360"/>
                <a:gd name="T33" fmla="*/ 254 h 340"/>
                <a:gd name="T34" fmla="*/ 360 w 360"/>
                <a:gd name="T35" fmla="*/ 252 h 340"/>
                <a:gd name="T36" fmla="*/ 292 w 360"/>
                <a:gd name="T37" fmla="*/ 134 h 340"/>
                <a:gd name="T38" fmla="*/ 250 w 360"/>
                <a:gd name="T39" fmla="*/ 150 h 340"/>
                <a:gd name="T40" fmla="*/ 294 w 360"/>
                <a:gd name="T41" fmla="*/ 240 h 340"/>
                <a:gd name="T42" fmla="*/ 344 w 360"/>
                <a:gd name="T43" fmla="*/ 244 h 340"/>
                <a:gd name="T44" fmla="*/ 346 w 360"/>
                <a:gd name="T45" fmla="*/ 256 h 340"/>
                <a:gd name="T46" fmla="*/ 306 w 360"/>
                <a:gd name="T47" fmla="*/ 264 h 340"/>
                <a:gd name="T48" fmla="*/ 260 w 360"/>
                <a:gd name="T49" fmla="*/ 248 h 340"/>
                <a:gd name="T50" fmla="*/ 252 w 360"/>
                <a:gd name="T51" fmla="*/ 240 h 340"/>
                <a:gd name="T52" fmla="*/ 204 w 360"/>
                <a:gd name="T53" fmla="*/ 290 h 340"/>
                <a:gd name="T54" fmla="*/ 254 w 360"/>
                <a:gd name="T55" fmla="*/ 340 h 340"/>
                <a:gd name="T56" fmla="*/ 260 w 360"/>
                <a:gd name="T57" fmla="*/ 336 h 340"/>
                <a:gd name="T58" fmla="*/ 322 w 360"/>
                <a:gd name="T59" fmla="*/ 316 h 340"/>
                <a:gd name="T60" fmla="*/ 360 w 360"/>
                <a:gd name="T61" fmla="*/ 260 h 340"/>
                <a:gd name="T62" fmla="*/ 360 w 360"/>
                <a:gd name="T63" fmla="*/ 256 h 340"/>
                <a:gd name="T64" fmla="*/ 360 w 360"/>
                <a:gd name="T65" fmla="*/ 256 h 340"/>
                <a:gd name="T66" fmla="*/ 80 w 360"/>
                <a:gd name="T67" fmla="*/ 264 h 340"/>
                <a:gd name="T68" fmla="*/ 48 w 360"/>
                <a:gd name="T69" fmla="*/ 306 h 340"/>
                <a:gd name="T70" fmla="*/ 40 w 360"/>
                <a:gd name="T71" fmla="*/ 302 h 340"/>
                <a:gd name="T72" fmla="*/ 54 w 360"/>
                <a:gd name="T73" fmla="*/ 264 h 340"/>
                <a:gd name="T74" fmla="*/ 90 w 360"/>
                <a:gd name="T75" fmla="*/ 234 h 340"/>
                <a:gd name="T76" fmla="*/ 102 w 360"/>
                <a:gd name="T77" fmla="*/ 230 h 340"/>
                <a:gd name="T78" fmla="*/ 82 w 360"/>
                <a:gd name="T79" fmla="*/ 162 h 340"/>
                <a:gd name="T80" fmla="*/ 14 w 360"/>
                <a:gd name="T81" fmla="*/ 180 h 340"/>
                <a:gd name="T82" fmla="*/ 14 w 360"/>
                <a:gd name="T83" fmla="*/ 188 h 340"/>
                <a:gd name="T84" fmla="*/ 0 w 360"/>
                <a:gd name="T85" fmla="*/ 252 h 340"/>
                <a:gd name="T86" fmla="*/ 32 w 360"/>
                <a:gd name="T87" fmla="*/ 312 h 340"/>
                <a:gd name="T88" fmla="*/ 32 w 360"/>
                <a:gd name="T89" fmla="*/ 314 h 340"/>
                <a:gd name="T90" fmla="*/ 34 w 360"/>
                <a:gd name="T91" fmla="*/ 316 h 340"/>
                <a:gd name="T92" fmla="*/ 36 w 360"/>
                <a:gd name="T93" fmla="*/ 316 h 340"/>
                <a:gd name="T94" fmla="*/ 172 w 360"/>
                <a:gd name="T95" fmla="*/ 316 h 340"/>
                <a:gd name="T96" fmla="*/ 180 w 360"/>
                <a:gd name="T97" fmla="*/ 308 h 340"/>
                <a:gd name="T98" fmla="*/ 172 w 360"/>
                <a:gd name="T99" fmla="*/ 26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60" h="340">
                  <a:moveTo>
                    <a:pt x="274" y="56"/>
                  </a:moveTo>
                  <a:lnTo>
                    <a:pt x="258" y="116"/>
                  </a:lnTo>
                  <a:lnTo>
                    <a:pt x="258" y="116"/>
                  </a:lnTo>
                  <a:lnTo>
                    <a:pt x="254" y="120"/>
                  </a:lnTo>
                  <a:lnTo>
                    <a:pt x="250" y="120"/>
                  </a:lnTo>
                  <a:lnTo>
                    <a:pt x="190" y="104"/>
                  </a:lnTo>
                  <a:lnTo>
                    <a:pt x="190" y="104"/>
                  </a:lnTo>
                  <a:lnTo>
                    <a:pt x="188" y="102"/>
                  </a:lnTo>
                  <a:lnTo>
                    <a:pt x="186" y="98"/>
                  </a:lnTo>
                  <a:lnTo>
                    <a:pt x="186" y="98"/>
                  </a:lnTo>
                  <a:lnTo>
                    <a:pt x="186" y="94"/>
                  </a:lnTo>
                  <a:lnTo>
                    <a:pt x="190" y="92"/>
                  </a:lnTo>
                  <a:lnTo>
                    <a:pt x="204" y="82"/>
                  </a:lnTo>
                  <a:lnTo>
                    <a:pt x="180" y="42"/>
                  </a:lnTo>
                  <a:lnTo>
                    <a:pt x="180" y="42"/>
                  </a:lnTo>
                  <a:lnTo>
                    <a:pt x="166" y="18"/>
                  </a:lnTo>
                  <a:lnTo>
                    <a:pt x="166" y="18"/>
                  </a:lnTo>
                  <a:lnTo>
                    <a:pt x="164" y="14"/>
                  </a:lnTo>
                  <a:lnTo>
                    <a:pt x="160" y="12"/>
                  </a:lnTo>
                  <a:lnTo>
                    <a:pt x="154" y="12"/>
                  </a:lnTo>
                  <a:lnTo>
                    <a:pt x="150" y="14"/>
                  </a:lnTo>
                  <a:lnTo>
                    <a:pt x="150" y="14"/>
                  </a:lnTo>
                  <a:lnTo>
                    <a:pt x="148" y="16"/>
                  </a:lnTo>
                  <a:lnTo>
                    <a:pt x="146" y="20"/>
                  </a:lnTo>
                  <a:lnTo>
                    <a:pt x="146" y="26"/>
                  </a:lnTo>
                  <a:lnTo>
                    <a:pt x="146" y="30"/>
                  </a:lnTo>
                  <a:lnTo>
                    <a:pt x="168" y="66"/>
                  </a:lnTo>
                  <a:lnTo>
                    <a:pt x="120" y="146"/>
                  </a:lnTo>
                  <a:lnTo>
                    <a:pt x="120" y="146"/>
                  </a:lnTo>
                  <a:lnTo>
                    <a:pt x="116" y="150"/>
                  </a:lnTo>
                  <a:lnTo>
                    <a:pt x="110" y="150"/>
                  </a:lnTo>
                  <a:lnTo>
                    <a:pt x="78" y="130"/>
                  </a:lnTo>
                  <a:lnTo>
                    <a:pt x="78" y="130"/>
                  </a:lnTo>
                  <a:lnTo>
                    <a:pt x="76" y="126"/>
                  </a:lnTo>
                  <a:lnTo>
                    <a:pt x="76" y="126"/>
                  </a:lnTo>
                  <a:lnTo>
                    <a:pt x="76" y="120"/>
                  </a:lnTo>
                  <a:lnTo>
                    <a:pt x="144" y="4"/>
                  </a:lnTo>
                  <a:lnTo>
                    <a:pt x="144" y="4"/>
                  </a:lnTo>
                  <a:lnTo>
                    <a:pt x="144" y="4"/>
                  </a:lnTo>
                  <a:lnTo>
                    <a:pt x="144" y="4"/>
                  </a:lnTo>
                  <a:lnTo>
                    <a:pt x="146" y="2"/>
                  </a:lnTo>
                  <a:lnTo>
                    <a:pt x="146" y="2"/>
                  </a:lnTo>
                  <a:lnTo>
                    <a:pt x="146" y="2"/>
                  </a:lnTo>
                  <a:lnTo>
                    <a:pt x="146" y="2"/>
                  </a:lnTo>
                  <a:lnTo>
                    <a:pt x="146" y="2"/>
                  </a:lnTo>
                  <a:lnTo>
                    <a:pt x="146" y="2"/>
                  </a:lnTo>
                  <a:lnTo>
                    <a:pt x="146" y="0"/>
                  </a:lnTo>
                  <a:lnTo>
                    <a:pt x="146" y="0"/>
                  </a:lnTo>
                  <a:lnTo>
                    <a:pt x="148" y="0"/>
                  </a:lnTo>
                  <a:lnTo>
                    <a:pt x="148" y="0"/>
                  </a:lnTo>
                  <a:lnTo>
                    <a:pt x="148" y="0"/>
                  </a:lnTo>
                  <a:lnTo>
                    <a:pt x="148" y="0"/>
                  </a:lnTo>
                  <a:lnTo>
                    <a:pt x="150" y="0"/>
                  </a:lnTo>
                  <a:lnTo>
                    <a:pt x="210" y="0"/>
                  </a:lnTo>
                  <a:lnTo>
                    <a:pt x="210" y="0"/>
                  </a:lnTo>
                  <a:lnTo>
                    <a:pt x="214" y="0"/>
                  </a:lnTo>
                  <a:lnTo>
                    <a:pt x="218" y="4"/>
                  </a:lnTo>
                  <a:lnTo>
                    <a:pt x="248" y="58"/>
                  </a:lnTo>
                  <a:lnTo>
                    <a:pt x="264" y="48"/>
                  </a:lnTo>
                  <a:lnTo>
                    <a:pt x="264" y="48"/>
                  </a:lnTo>
                  <a:lnTo>
                    <a:pt x="268" y="48"/>
                  </a:lnTo>
                  <a:lnTo>
                    <a:pt x="272" y="48"/>
                  </a:lnTo>
                  <a:lnTo>
                    <a:pt x="272" y="48"/>
                  </a:lnTo>
                  <a:lnTo>
                    <a:pt x="274" y="50"/>
                  </a:lnTo>
                  <a:lnTo>
                    <a:pt x="274" y="50"/>
                  </a:lnTo>
                  <a:lnTo>
                    <a:pt x="274" y="56"/>
                  </a:lnTo>
                  <a:lnTo>
                    <a:pt x="274" y="56"/>
                  </a:lnTo>
                  <a:close/>
                  <a:moveTo>
                    <a:pt x="360" y="254"/>
                  </a:moveTo>
                  <a:lnTo>
                    <a:pt x="360" y="254"/>
                  </a:lnTo>
                  <a:lnTo>
                    <a:pt x="360" y="254"/>
                  </a:lnTo>
                  <a:lnTo>
                    <a:pt x="360" y="254"/>
                  </a:lnTo>
                  <a:lnTo>
                    <a:pt x="360" y="252"/>
                  </a:lnTo>
                  <a:lnTo>
                    <a:pt x="360" y="252"/>
                  </a:lnTo>
                  <a:lnTo>
                    <a:pt x="360" y="252"/>
                  </a:lnTo>
                  <a:lnTo>
                    <a:pt x="292" y="134"/>
                  </a:lnTo>
                  <a:lnTo>
                    <a:pt x="292" y="134"/>
                  </a:lnTo>
                  <a:lnTo>
                    <a:pt x="286" y="132"/>
                  </a:lnTo>
                  <a:lnTo>
                    <a:pt x="286" y="132"/>
                  </a:lnTo>
                  <a:lnTo>
                    <a:pt x="282" y="132"/>
                  </a:lnTo>
                  <a:lnTo>
                    <a:pt x="250" y="150"/>
                  </a:lnTo>
                  <a:lnTo>
                    <a:pt x="250" y="150"/>
                  </a:lnTo>
                  <a:lnTo>
                    <a:pt x="246" y="154"/>
                  </a:lnTo>
                  <a:lnTo>
                    <a:pt x="246" y="160"/>
                  </a:lnTo>
                  <a:lnTo>
                    <a:pt x="294" y="240"/>
                  </a:lnTo>
                  <a:lnTo>
                    <a:pt x="336" y="240"/>
                  </a:lnTo>
                  <a:lnTo>
                    <a:pt x="336" y="240"/>
                  </a:lnTo>
                  <a:lnTo>
                    <a:pt x="340" y="242"/>
                  </a:lnTo>
                  <a:lnTo>
                    <a:pt x="344" y="244"/>
                  </a:lnTo>
                  <a:lnTo>
                    <a:pt x="346" y="248"/>
                  </a:lnTo>
                  <a:lnTo>
                    <a:pt x="346" y="252"/>
                  </a:lnTo>
                  <a:lnTo>
                    <a:pt x="346" y="252"/>
                  </a:lnTo>
                  <a:lnTo>
                    <a:pt x="346" y="256"/>
                  </a:lnTo>
                  <a:lnTo>
                    <a:pt x="344" y="260"/>
                  </a:lnTo>
                  <a:lnTo>
                    <a:pt x="340" y="262"/>
                  </a:lnTo>
                  <a:lnTo>
                    <a:pt x="336" y="264"/>
                  </a:lnTo>
                  <a:lnTo>
                    <a:pt x="306" y="264"/>
                  </a:lnTo>
                  <a:lnTo>
                    <a:pt x="306" y="264"/>
                  </a:lnTo>
                  <a:lnTo>
                    <a:pt x="260" y="264"/>
                  </a:lnTo>
                  <a:lnTo>
                    <a:pt x="260" y="248"/>
                  </a:lnTo>
                  <a:lnTo>
                    <a:pt x="260" y="248"/>
                  </a:lnTo>
                  <a:lnTo>
                    <a:pt x="260" y="242"/>
                  </a:lnTo>
                  <a:lnTo>
                    <a:pt x="256" y="240"/>
                  </a:lnTo>
                  <a:lnTo>
                    <a:pt x="256" y="240"/>
                  </a:lnTo>
                  <a:lnTo>
                    <a:pt x="252" y="240"/>
                  </a:lnTo>
                  <a:lnTo>
                    <a:pt x="248" y="242"/>
                  </a:lnTo>
                  <a:lnTo>
                    <a:pt x="206" y="284"/>
                  </a:lnTo>
                  <a:lnTo>
                    <a:pt x="206" y="284"/>
                  </a:lnTo>
                  <a:lnTo>
                    <a:pt x="204" y="290"/>
                  </a:lnTo>
                  <a:lnTo>
                    <a:pt x="206" y="296"/>
                  </a:lnTo>
                  <a:lnTo>
                    <a:pt x="248" y="338"/>
                  </a:lnTo>
                  <a:lnTo>
                    <a:pt x="248" y="338"/>
                  </a:lnTo>
                  <a:lnTo>
                    <a:pt x="254" y="340"/>
                  </a:lnTo>
                  <a:lnTo>
                    <a:pt x="254" y="340"/>
                  </a:lnTo>
                  <a:lnTo>
                    <a:pt x="256" y="340"/>
                  </a:lnTo>
                  <a:lnTo>
                    <a:pt x="256" y="340"/>
                  </a:lnTo>
                  <a:lnTo>
                    <a:pt x="260" y="336"/>
                  </a:lnTo>
                  <a:lnTo>
                    <a:pt x="260" y="332"/>
                  </a:lnTo>
                  <a:lnTo>
                    <a:pt x="260" y="316"/>
                  </a:lnTo>
                  <a:lnTo>
                    <a:pt x="322" y="316"/>
                  </a:lnTo>
                  <a:lnTo>
                    <a:pt x="322" y="316"/>
                  </a:lnTo>
                  <a:lnTo>
                    <a:pt x="326" y="314"/>
                  </a:lnTo>
                  <a:lnTo>
                    <a:pt x="328" y="312"/>
                  </a:lnTo>
                  <a:lnTo>
                    <a:pt x="360" y="260"/>
                  </a:lnTo>
                  <a:lnTo>
                    <a:pt x="360" y="260"/>
                  </a:lnTo>
                  <a:lnTo>
                    <a:pt x="360" y="258"/>
                  </a:lnTo>
                  <a:lnTo>
                    <a:pt x="360" y="258"/>
                  </a:lnTo>
                  <a:lnTo>
                    <a:pt x="360" y="256"/>
                  </a:lnTo>
                  <a:lnTo>
                    <a:pt x="360" y="256"/>
                  </a:lnTo>
                  <a:lnTo>
                    <a:pt x="360" y="256"/>
                  </a:lnTo>
                  <a:lnTo>
                    <a:pt x="360" y="256"/>
                  </a:lnTo>
                  <a:lnTo>
                    <a:pt x="360" y="256"/>
                  </a:lnTo>
                  <a:lnTo>
                    <a:pt x="360" y="256"/>
                  </a:lnTo>
                  <a:lnTo>
                    <a:pt x="360" y="254"/>
                  </a:lnTo>
                  <a:lnTo>
                    <a:pt x="360" y="254"/>
                  </a:lnTo>
                  <a:close/>
                  <a:moveTo>
                    <a:pt x="172" y="264"/>
                  </a:moveTo>
                  <a:lnTo>
                    <a:pt x="80" y="264"/>
                  </a:lnTo>
                  <a:lnTo>
                    <a:pt x="58" y="300"/>
                  </a:lnTo>
                  <a:lnTo>
                    <a:pt x="58" y="300"/>
                  </a:lnTo>
                  <a:lnTo>
                    <a:pt x="54" y="304"/>
                  </a:lnTo>
                  <a:lnTo>
                    <a:pt x="48" y="306"/>
                  </a:lnTo>
                  <a:lnTo>
                    <a:pt x="48" y="306"/>
                  </a:lnTo>
                  <a:lnTo>
                    <a:pt x="44" y="304"/>
                  </a:lnTo>
                  <a:lnTo>
                    <a:pt x="44" y="304"/>
                  </a:lnTo>
                  <a:lnTo>
                    <a:pt x="40" y="302"/>
                  </a:lnTo>
                  <a:lnTo>
                    <a:pt x="38" y="298"/>
                  </a:lnTo>
                  <a:lnTo>
                    <a:pt x="38" y="294"/>
                  </a:lnTo>
                  <a:lnTo>
                    <a:pt x="38" y="290"/>
                  </a:lnTo>
                  <a:lnTo>
                    <a:pt x="54" y="264"/>
                  </a:lnTo>
                  <a:lnTo>
                    <a:pt x="54" y="264"/>
                  </a:lnTo>
                  <a:lnTo>
                    <a:pt x="76" y="224"/>
                  </a:lnTo>
                  <a:lnTo>
                    <a:pt x="90" y="234"/>
                  </a:lnTo>
                  <a:lnTo>
                    <a:pt x="90" y="234"/>
                  </a:lnTo>
                  <a:lnTo>
                    <a:pt x="94" y="234"/>
                  </a:lnTo>
                  <a:lnTo>
                    <a:pt x="98" y="232"/>
                  </a:lnTo>
                  <a:lnTo>
                    <a:pt x="98" y="232"/>
                  </a:lnTo>
                  <a:lnTo>
                    <a:pt x="102" y="230"/>
                  </a:lnTo>
                  <a:lnTo>
                    <a:pt x="102" y="224"/>
                  </a:lnTo>
                  <a:lnTo>
                    <a:pt x="86" y="166"/>
                  </a:lnTo>
                  <a:lnTo>
                    <a:pt x="86" y="166"/>
                  </a:lnTo>
                  <a:lnTo>
                    <a:pt x="82" y="162"/>
                  </a:lnTo>
                  <a:lnTo>
                    <a:pt x="76" y="162"/>
                  </a:lnTo>
                  <a:lnTo>
                    <a:pt x="18" y="176"/>
                  </a:lnTo>
                  <a:lnTo>
                    <a:pt x="18" y="176"/>
                  </a:lnTo>
                  <a:lnTo>
                    <a:pt x="14" y="180"/>
                  </a:lnTo>
                  <a:lnTo>
                    <a:pt x="14" y="180"/>
                  </a:lnTo>
                  <a:lnTo>
                    <a:pt x="14" y="184"/>
                  </a:lnTo>
                  <a:lnTo>
                    <a:pt x="14" y="184"/>
                  </a:lnTo>
                  <a:lnTo>
                    <a:pt x="14" y="188"/>
                  </a:lnTo>
                  <a:lnTo>
                    <a:pt x="16" y="190"/>
                  </a:lnTo>
                  <a:lnTo>
                    <a:pt x="32" y="200"/>
                  </a:lnTo>
                  <a:lnTo>
                    <a:pt x="0" y="252"/>
                  </a:lnTo>
                  <a:lnTo>
                    <a:pt x="0" y="252"/>
                  </a:lnTo>
                  <a:lnTo>
                    <a:pt x="0" y="256"/>
                  </a:lnTo>
                  <a:lnTo>
                    <a:pt x="0" y="260"/>
                  </a:lnTo>
                  <a:lnTo>
                    <a:pt x="32" y="312"/>
                  </a:lnTo>
                  <a:lnTo>
                    <a:pt x="32" y="312"/>
                  </a:lnTo>
                  <a:lnTo>
                    <a:pt x="32" y="314"/>
                  </a:lnTo>
                  <a:lnTo>
                    <a:pt x="32" y="314"/>
                  </a:lnTo>
                  <a:lnTo>
                    <a:pt x="32" y="314"/>
                  </a:lnTo>
                  <a:lnTo>
                    <a:pt x="32" y="314"/>
                  </a:lnTo>
                  <a:lnTo>
                    <a:pt x="34" y="314"/>
                  </a:lnTo>
                  <a:lnTo>
                    <a:pt x="34" y="314"/>
                  </a:lnTo>
                  <a:lnTo>
                    <a:pt x="34" y="316"/>
                  </a:lnTo>
                  <a:lnTo>
                    <a:pt x="34" y="316"/>
                  </a:lnTo>
                  <a:lnTo>
                    <a:pt x="36" y="316"/>
                  </a:lnTo>
                  <a:lnTo>
                    <a:pt x="36" y="316"/>
                  </a:lnTo>
                  <a:lnTo>
                    <a:pt x="36" y="316"/>
                  </a:lnTo>
                  <a:lnTo>
                    <a:pt x="36" y="316"/>
                  </a:lnTo>
                  <a:lnTo>
                    <a:pt x="38" y="316"/>
                  </a:lnTo>
                  <a:lnTo>
                    <a:pt x="38" y="316"/>
                  </a:lnTo>
                  <a:lnTo>
                    <a:pt x="38" y="316"/>
                  </a:lnTo>
                  <a:lnTo>
                    <a:pt x="172" y="316"/>
                  </a:lnTo>
                  <a:lnTo>
                    <a:pt x="172" y="316"/>
                  </a:lnTo>
                  <a:lnTo>
                    <a:pt x="178" y="314"/>
                  </a:lnTo>
                  <a:lnTo>
                    <a:pt x="178" y="314"/>
                  </a:lnTo>
                  <a:lnTo>
                    <a:pt x="180" y="308"/>
                  </a:lnTo>
                  <a:lnTo>
                    <a:pt x="180" y="272"/>
                  </a:lnTo>
                  <a:lnTo>
                    <a:pt x="180" y="272"/>
                  </a:lnTo>
                  <a:lnTo>
                    <a:pt x="178" y="266"/>
                  </a:lnTo>
                  <a:lnTo>
                    <a:pt x="172" y="264"/>
                  </a:lnTo>
                  <a:lnTo>
                    <a:pt x="172" y="26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28" name="Group 127">
            <a:extLst>
              <a:ext uri="{FF2B5EF4-FFF2-40B4-BE49-F238E27FC236}">
                <a16:creationId xmlns:a16="http://schemas.microsoft.com/office/drawing/2014/main" id="{A4D9A814-E13D-4D25-9691-E6263117B3B1}"/>
              </a:ext>
            </a:extLst>
          </p:cNvPr>
          <p:cNvGrpSpPr/>
          <p:nvPr/>
        </p:nvGrpSpPr>
        <p:grpSpPr>
          <a:xfrm>
            <a:off x="7793257" y="3817274"/>
            <a:ext cx="612000" cy="612000"/>
            <a:chOff x="7573215" y="4690710"/>
            <a:chExt cx="612000" cy="612000"/>
          </a:xfrm>
        </p:grpSpPr>
        <p:sp>
          <p:nvSpPr>
            <p:cNvPr id="129" name="Oval 128">
              <a:extLst>
                <a:ext uri="{FF2B5EF4-FFF2-40B4-BE49-F238E27FC236}">
                  <a16:creationId xmlns:a16="http://schemas.microsoft.com/office/drawing/2014/main" id="{28560F0A-132B-4B20-838B-8F9B7C642D01}"/>
                </a:ext>
              </a:extLst>
            </p:cNvPr>
            <p:cNvSpPr/>
            <p:nvPr/>
          </p:nvSpPr>
          <p:spPr bwMode="ltGray">
            <a:xfrm>
              <a:off x="7573215"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30" name="Freeform 4930">
              <a:extLst>
                <a:ext uri="{FF2B5EF4-FFF2-40B4-BE49-F238E27FC236}">
                  <a16:creationId xmlns:a16="http://schemas.microsoft.com/office/drawing/2014/main" id="{70A5AF75-B399-418A-BA89-1976031568AF}"/>
                </a:ext>
              </a:extLst>
            </p:cNvPr>
            <p:cNvSpPr>
              <a:spLocks noEditPoints="1"/>
            </p:cNvSpPr>
            <p:nvPr/>
          </p:nvSpPr>
          <p:spPr bwMode="auto">
            <a:xfrm>
              <a:off x="7695066" y="4776466"/>
              <a:ext cx="368299" cy="465220"/>
            </a:xfrm>
            <a:custGeom>
              <a:avLst/>
              <a:gdLst>
                <a:gd name="T0" fmla="*/ 302 w 304"/>
                <a:gd name="T1" fmla="*/ 270 h 384"/>
                <a:gd name="T2" fmla="*/ 284 w 304"/>
                <a:gd name="T3" fmla="*/ 322 h 384"/>
                <a:gd name="T4" fmla="*/ 254 w 304"/>
                <a:gd name="T5" fmla="*/ 354 h 384"/>
                <a:gd name="T6" fmla="*/ 204 w 304"/>
                <a:gd name="T7" fmla="*/ 380 h 384"/>
                <a:gd name="T8" fmla="*/ 162 w 304"/>
                <a:gd name="T9" fmla="*/ 384 h 384"/>
                <a:gd name="T10" fmla="*/ 170 w 304"/>
                <a:gd name="T11" fmla="*/ 330 h 384"/>
                <a:gd name="T12" fmla="*/ 202 w 304"/>
                <a:gd name="T13" fmla="*/ 282 h 384"/>
                <a:gd name="T14" fmla="*/ 236 w 304"/>
                <a:gd name="T15" fmla="*/ 256 h 384"/>
                <a:gd name="T16" fmla="*/ 290 w 304"/>
                <a:gd name="T17" fmla="*/ 242 h 384"/>
                <a:gd name="T18" fmla="*/ 0 w 304"/>
                <a:gd name="T19" fmla="*/ 242 h 384"/>
                <a:gd name="T20" fmla="*/ 8 w 304"/>
                <a:gd name="T21" fmla="*/ 298 h 384"/>
                <a:gd name="T22" fmla="*/ 38 w 304"/>
                <a:gd name="T23" fmla="*/ 346 h 384"/>
                <a:gd name="T24" fmla="*/ 74 w 304"/>
                <a:gd name="T25" fmla="*/ 370 h 384"/>
                <a:gd name="T26" fmla="*/ 128 w 304"/>
                <a:gd name="T27" fmla="*/ 384 h 384"/>
                <a:gd name="T28" fmla="*/ 140 w 304"/>
                <a:gd name="T29" fmla="*/ 356 h 384"/>
                <a:gd name="T30" fmla="*/ 122 w 304"/>
                <a:gd name="T31" fmla="*/ 304 h 384"/>
                <a:gd name="T32" fmla="*/ 92 w 304"/>
                <a:gd name="T33" fmla="*/ 272 h 384"/>
                <a:gd name="T34" fmla="*/ 42 w 304"/>
                <a:gd name="T35" fmla="*/ 246 h 384"/>
                <a:gd name="T36" fmla="*/ 0 w 304"/>
                <a:gd name="T37" fmla="*/ 242 h 384"/>
                <a:gd name="T38" fmla="*/ 138 w 304"/>
                <a:gd name="T39" fmla="*/ 68 h 384"/>
                <a:gd name="T40" fmla="*/ 160 w 304"/>
                <a:gd name="T41" fmla="*/ 78 h 384"/>
                <a:gd name="T42" fmla="*/ 172 w 304"/>
                <a:gd name="T43" fmla="*/ 44 h 384"/>
                <a:gd name="T44" fmla="*/ 152 w 304"/>
                <a:gd name="T45" fmla="*/ 0 h 384"/>
                <a:gd name="T46" fmla="*/ 134 w 304"/>
                <a:gd name="T47" fmla="*/ 30 h 384"/>
                <a:gd name="T48" fmla="*/ 182 w 304"/>
                <a:gd name="T49" fmla="*/ 94 h 384"/>
                <a:gd name="T50" fmla="*/ 162 w 304"/>
                <a:gd name="T51" fmla="*/ 146 h 384"/>
                <a:gd name="T52" fmla="*/ 202 w 304"/>
                <a:gd name="T53" fmla="*/ 136 h 384"/>
                <a:gd name="T54" fmla="*/ 230 w 304"/>
                <a:gd name="T55" fmla="*/ 102 h 384"/>
                <a:gd name="T56" fmla="*/ 220 w 304"/>
                <a:gd name="T57" fmla="*/ 76 h 384"/>
                <a:gd name="T58" fmla="*/ 182 w 304"/>
                <a:gd name="T59" fmla="*/ 94 h 384"/>
                <a:gd name="T60" fmla="*/ 74 w 304"/>
                <a:gd name="T61" fmla="*/ 102 h 384"/>
                <a:gd name="T62" fmla="*/ 102 w 304"/>
                <a:gd name="T63" fmla="*/ 136 h 384"/>
                <a:gd name="T64" fmla="*/ 142 w 304"/>
                <a:gd name="T65" fmla="*/ 146 h 384"/>
                <a:gd name="T66" fmla="*/ 122 w 304"/>
                <a:gd name="T67" fmla="*/ 94 h 384"/>
                <a:gd name="T68" fmla="*/ 84 w 304"/>
                <a:gd name="T69" fmla="*/ 76 h 384"/>
                <a:gd name="T70" fmla="*/ 192 w 304"/>
                <a:gd name="T71" fmla="*/ 176 h 384"/>
                <a:gd name="T72" fmla="*/ 164 w 304"/>
                <a:gd name="T73" fmla="*/ 232 h 384"/>
                <a:gd name="T74" fmla="*/ 204 w 304"/>
                <a:gd name="T75" fmla="*/ 246 h 384"/>
                <a:gd name="T76" fmla="*/ 240 w 304"/>
                <a:gd name="T77" fmla="*/ 224 h 384"/>
                <a:gd name="T78" fmla="*/ 268 w 304"/>
                <a:gd name="T79" fmla="*/ 166 h 384"/>
                <a:gd name="T80" fmla="*/ 228 w 304"/>
                <a:gd name="T81" fmla="*/ 152 h 384"/>
                <a:gd name="T82" fmla="*/ 192 w 304"/>
                <a:gd name="T83" fmla="*/ 176 h 384"/>
                <a:gd name="T84" fmla="*/ 42 w 304"/>
                <a:gd name="T85" fmla="*/ 188 h 384"/>
                <a:gd name="T86" fmla="*/ 64 w 304"/>
                <a:gd name="T87" fmla="*/ 224 h 384"/>
                <a:gd name="T88" fmla="*/ 120 w 304"/>
                <a:gd name="T89" fmla="*/ 252 h 384"/>
                <a:gd name="T90" fmla="*/ 136 w 304"/>
                <a:gd name="T91" fmla="*/ 212 h 384"/>
                <a:gd name="T92" fmla="*/ 112 w 304"/>
                <a:gd name="T93" fmla="*/ 176 h 384"/>
                <a:gd name="T94" fmla="*/ 56 w 304"/>
                <a:gd name="T95" fmla="*/ 14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04" h="384">
                  <a:moveTo>
                    <a:pt x="304" y="242"/>
                  </a:moveTo>
                  <a:lnTo>
                    <a:pt x="304" y="242"/>
                  </a:lnTo>
                  <a:lnTo>
                    <a:pt x="304" y="256"/>
                  </a:lnTo>
                  <a:lnTo>
                    <a:pt x="302" y="270"/>
                  </a:lnTo>
                  <a:lnTo>
                    <a:pt x="300" y="284"/>
                  </a:lnTo>
                  <a:lnTo>
                    <a:pt x="296" y="298"/>
                  </a:lnTo>
                  <a:lnTo>
                    <a:pt x="290" y="310"/>
                  </a:lnTo>
                  <a:lnTo>
                    <a:pt x="284" y="322"/>
                  </a:lnTo>
                  <a:lnTo>
                    <a:pt x="274" y="334"/>
                  </a:lnTo>
                  <a:lnTo>
                    <a:pt x="266" y="346"/>
                  </a:lnTo>
                  <a:lnTo>
                    <a:pt x="266" y="346"/>
                  </a:lnTo>
                  <a:lnTo>
                    <a:pt x="254" y="354"/>
                  </a:lnTo>
                  <a:lnTo>
                    <a:pt x="242" y="364"/>
                  </a:lnTo>
                  <a:lnTo>
                    <a:pt x="230" y="370"/>
                  </a:lnTo>
                  <a:lnTo>
                    <a:pt x="218" y="376"/>
                  </a:lnTo>
                  <a:lnTo>
                    <a:pt x="204" y="380"/>
                  </a:lnTo>
                  <a:lnTo>
                    <a:pt x="190" y="382"/>
                  </a:lnTo>
                  <a:lnTo>
                    <a:pt x="176" y="384"/>
                  </a:lnTo>
                  <a:lnTo>
                    <a:pt x="162" y="384"/>
                  </a:lnTo>
                  <a:lnTo>
                    <a:pt x="162" y="384"/>
                  </a:lnTo>
                  <a:lnTo>
                    <a:pt x="162" y="370"/>
                  </a:lnTo>
                  <a:lnTo>
                    <a:pt x="164" y="356"/>
                  </a:lnTo>
                  <a:lnTo>
                    <a:pt x="166" y="342"/>
                  </a:lnTo>
                  <a:lnTo>
                    <a:pt x="170" y="330"/>
                  </a:lnTo>
                  <a:lnTo>
                    <a:pt x="176" y="316"/>
                  </a:lnTo>
                  <a:lnTo>
                    <a:pt x="182" y="304"/>
                  </a:lnTo>
                  <a:lnTo>
                    <a:pt x="192" y="292"/>
                  </a:lnTo>
                  <a:lnTo>
                    <a:pt x="202" y="282"/>
                  </a:lnTo>
                  <a:lnTo>
                    <a:pt x="202" y="282"/>
                  </a:lnTo>
                  <a:lnTo>
                    <a:pt x="212" y="272"/>
                  </a:lnTo>
                  <a:lnTo>
                    <a:pt x="224" y="264"/>
                  </a:lnTo>
                  <a:lnTo>
                    <a:pt x="236" y="256"/>
                  </a:lnTo>
                  <a:lnTo>
                    <a:pt x="250" y="250"/>
                  </a:lnTo>
                  <a:lnTo>
                    <a:pt x="262" y="246"/>
                  </a:lnTo>
                  <a:lnTo>
                    <a:pt x="276" y="244"/>
                  </a:lnTo>
                  <a:lnTo>
                    <a:pt x="290" y="242"/>
                  </a:lnTo>
                  <a:lnTo>
                    <a:pt x="304" y="242"/>
                  </a:lnTo>
                  <a:lnTo>
                    <a:pt x="304" y="242"/>
                  </a:lnTo>
                  <a:close/>
                  <a:moveTo>
                    <a:pt x="0" y="242"/>
                  </a:moveTo>
                  <a:lnTo>
                    <a:pt x="0" y="242"/>
                  </a:lnTo>
                  <a:lnTo>
                    <a:pt x="0" y="256"/>
                  </a:lnTo>
                  <a:lnTo>
                    <a:pt x="2" y="270"/>
                  </a:lnTo>
                  <a:lnTo>
                    <a:pt x="4" y="284"/>
                  </a:lnTo>
                  <a:lnTo>
                    <a:pt x="8" y="298"/>
                  </a:lnTo>
                  <a:lnTo>
                    <a:pt x="14" y="310"/>
                  </a:lnTo>
                  <a:lnTo>
                    <a:pt x="20" y="322"/>
                  </a:lnTo>
                  <a:lnTo>
                    <a:pt x="30" y="334"/>
                  </a:lnTo>
                  <a:lnTo>
                    <a:pt x="38" y="346"/>
                  </a:lnTo>
                  <a:lnTo>
                    <a:pt x="38" y="346"/>
                  </a:lnTo>
                  <a:lnTo>
                    <a:pt x="50" y="354"/>
                  </a:lnTo>
                  <a:lnTo>
                    <a:pt x="62" y="364"/>
                  </a:lnTo>
                  <a:lnTo>
                    <a:pt x="74" y="370"/>
                  </a:lnTo>
                  <a:lnTo>
                    <a:pt x="86" y="376"/>
                  </a:lnTo>
                  <a:lnTo>
                    <a:pt x="100" y="380"/>
                  </a:lnTo>
                  <a:lnTo>
                    <a:pt x="114" y="382"/>
                  </a:lnTo>
                  <a:lnTo>
                    <a:pt x="128" y="384"/>
                  </a:lnTo>
                  <a:lnTo>
                    <a:pt x="142" y="384"/>
                  </a:lnTo>
                  <a:lnTo>
                    <a:pt x="142" y="384"/>
                  </a:lnTo>
                  <a:lnTo>
                    <a:pt x="142" y="370"/>
                  </a:lnTo>
                  <a:lnTo>
                    <a:pt x="140" y="356"/>
                  </a:lnTo>
                  <a:lnTo>
                    <a:pt x="138" y="342"/>
                  </a:lnTo>
                  <a:lnTo>
                    <a:pt x="134" y="330"/>
                  </a:lnTo>
                  <a:lnTo>
                    <a:pt x="128" y="316"/>
                  </a:lnTo>
                  <a:lnTo>
                    <a:pt x="122" y="304"/>
                  </a:lnTo>
                  <a:lnTo>
                    <a:pt x="112" y="292"/>
                  </a:lnTo>
                  <a:lnTo>
                    <a:pt x="102" y="282"/>
                  </a:lnTo>
                  <a:lnTo>
                    <a:pt x="102" y="282"/>
                  </a:lnTo>
                  <a:lnTo>
                    <a:pt x="92" y="272"/>
                  </a:lnTo>
                  <a:lnTo>
                    <a:pt x="80" y="264"/>
                  </a:lnTo>
                  <a:lnTo>
                    <a:pt x="68" y="256"/>
                  </a:lnTo>
                  <a:lnTo>
                    <a:pt x="54" y="250"/>
                  </a:lnTo>
                  <a:lnTo>
                    <a:pt x="42" y="246"/>
                  </a:lnTo>
                  <a:lnTo>
                    <a:pt x="28" y="244"/>
                  </a:lnTo>
                  <a:lnTo>
                    <a:pt x="14" y="242"/>
                  </a:lnTo>
                  <a:lnTo>
                    <a:pt x="0" y="242"/>
                  </a:lnTo>
                  <a:lnTo>
                    <a:pt x="0" y="242"/>
                  </a:lnTo>
                  <a:close/>
                  <a:moveTo>
                    <a:pt x="132" y="44"/>
                  </a:moveTo>
                  <a:lnTo>
                    <a:pt x="132" y="44"/>
                  </a:lnTo>
                  <a:lnTo>
                    <a:pt x="134" y="56"/>
                  </a:lnTo>
                  <a:lnTo>
                    <a:pt x="138" y="68"/>
                  </a:lnTo>
                  <a:lnTo>
                    <a:pt x="144" y="78"/>
                  </a:lnTo>
                  <a:lnTo>
                    <a:pt x="152" y="86"/>
                  </a:lnTo>
                  <a:lnTo>
                    <a:pt x="152" y="86"/>
                  </a:lnTo>
                  <a:lnTo>
                    <a:pt x="160" y="78"/>
                  </a:lnTo>
                  <a:lnTo>
                    <a:pt x="166" y="68"/>
                  </a:lnTo>
                  <a:lnTo>
                    <a:pt x="170" y="56"/>
                  </a:lnTo>
                  <a:lnTo>
                    <a:pt x="172" y="44"/>
                  </a:lnTo>
                  <a:lnTo>
                    <a:pt x="172" y="44"/>
                  </a:lnTo>
                  <a:lnTo>
                    <a:pt x="170" y="30"/>
                  </a:lnTo>
                  <a:lnTo>
                    <a:pt x="166" y="20"/>
                  </a:lnTo>
                  <a:lnTo>
                    <a:pt x="160" y="8"/>
                  </a:lnTo>
                  <a:lnTo>
                    <a:pt x="152" y="0"/>
                  </a:lnTo>
                  <a:lnTo>
                    <a:pt x="152" y="0"/>
                  </a:lnTo>
                  <a:lnTo>
                    <a:pt x="144" y="8"/>
                  </a:lnTo>
                  <a:lnTo>
                    <a:pt x="138" y="20"/>
                  </a:lnTo>
                  <a:lnTo>
                    <a:pt x="134" y="30"/>
                  </a:lnTo>
                  <a:lnTo>
                    <a:pt x="132" y="44"/>
                  </a:lnTo>
                  <a:lnTo>
                    <a:pt x="132" y="44"/>
                  </a:lnTo>
                  <a:close/>
                  <a:moveTo>
                    <a:pt x="182" y="94"/>
                  </a:moveTo>
                  <a:lnTo>
                    <a:pt x="182" y="94"/>
                  </a:lnTo>
                  <a:lnTo>
                    <a:pt x="172" y="106"/>
                  </a:lnTo>
                  <a:lnTo>
                    <a:pt x="166" y="118"/>
                  </a:lnTo>
                  <a:lnTo>
                    <a:pt x="164" y="132"/>
                  </a:lnTo>
                  <a:lnTo>
                    <a:pt x="162" y="146"/>
                  </a:lnTo>
                  <a:lnTo>
                    <a:pt x="162" y="146"/>
                  </a:lnTo>
                  <a:lnTo>
                    <a:pt x="176" y="146"/>
                  </a:lnTo>
                  <a:lnTo>
                    <a:pt x="190" y="142"/>
                  </a:lnTo>
                  <a:lnTo>
                    <a:pt x="202" y="136"/>
                  </a:lnTo>
                  <a:lnTo>
                    <a:pt x="214" y="126"/>
                  </a:lnTo>
                  <a:lnTo>
                    <a:pt x="214" y="126"/>
                  </a:lnTo>
                  <a:lnTo>
                    <a:pt x="222" y="116"/>
                  </a:lnTo>
                  <a:lnTo>
                    <a:pt x="230" y="102"/>
                  </a:lnTo>
                  <a:lnTo>
                    <a:pt x="232" y="90"/>
                  </a:lnTo>
                  <a:lnTo>
                    <a:pt x="234" y="76"/>
                  </a:lnTo>
                  <a:lnTo>
                    <a:pt x="234" y="76"/>
                  </a:lnTo>
                  <a:lnTo>
                    <a:pt x="220" y="76"/>
                  </a:lnTo>
                  <a:lnTo>
                    <a:pt x="206" y="80"/>
                  </a:lnTo>
                  <a:lnTo>
                    <a:pt x="194" y="86"/>
                  </a:lnTo>
                  <a:lnTo>
                    <a:pt x="182" y="94"/>
                  </a:lnTo>
                  <a:lnTo>
                    <a:pt x="182" y="94"/>
                  </a:lnTo>
                  <a:close/>
                  <a:moveTo>
                    <a:pt x="72" y="76"/>
                  </a:moveTo>
                  <a:lnTo>
                    <a:pt x="72" y="76"/>
                  </a:lnTo>
                  <a:lnTo>
                    <a:pt x="72" y="90"/>
                  </a:lnTo>
                  <a:lnTo>
                    <a:pt x="74" y="102"/>
                  </a:lnTo>
                  <a:lnTo>
                    <a:pt x="82" y="116"/>
                  </a:lnTo>
                  <a:lnTo>
                    <a:pt x="90" y="126"/>
                  </a:lnTo>
                  <a:lnTo>
                    <a:pt x="90" y="126"/>
                  </a:lnTo>
                  <a:lnTo>
                    <a:pt x="102" y="136"/>
                  </a:lnTo>
                  <a:lnTo>
                    <a:pt x="114" y="142"/>
                  </a:lnTo>
                  <a:lnTo>
                    <a:pt x="128" y="146"/>
                  </a:lnTo>
                  <a:lnTo>
                    <a:pt x="142" y="146"/>
                  </a:lnTo>
                  <a:lnTo>
                    <a:pt x="142" y="146"/>
                  </a:lnTo>
                  <a:lnTo>
                    <a:pt x="140" y="132"/>
                  </a:lnTo>
                  <a:lnTo>
                    <a:pt x="138" y="118"/>
                  </a:lnTo>
                  <a:lnTo>
                    <a:pt x="132" y="106"/>
                  </a:lnTo>
                  <a:lnTo>
                    <a:pt x="122" y="94"/>
                  </a:lnTo>
                  <a:lnTo>
                    <a:pt x="122" y="94"/>
                  </a:lnTo>
                  <a:lnTo>
                    <a:pt x="110" y="86"/>
                  </a:lnTo>
                  <a:lnTo>
                    <a:pt x="98" y="80"/>
                  </a:lnTo>
                  <a:lnTo>
                    <a:pt x="84" y="76"/>
                  </a:lnTo>
                  <a:lnTo>
                    <a:pt x="72" y="76"/>
                  </a:lnTo>
                  <a:lnTo>
                    <a:pt x="72" y="76"/>
                  </a:lnTo>
                  <a:close/>
                  <a:moveTo>
                    <a:pt x="192" y="176"/>
                  </a:moveTo>
                  <a:lnTo>
                    <a:pt x="192" y="176"/>
                  </a:lnTo>
                  <a:lnTo>
                    <a:pt x="184" y="184"/>
                  </a:lnTo>
                  <a:lnTo>
                    <a:pt x="178" y="192"/>
                  </a:lnTo>
                  <a:lnTo>
                    <a:pt x="168" y="212"/>
                  </a:lnTo>
                  <a:lnTo>
                    <a:pt x="164" y="232"/>
                  </a:lnTo>
                  <a:lnTo>
                    <a:pt x="162" y="252"/>
                  </a:lnTo>
                  <a:lnTo>
                    <a:pt x="162" y="252"/>
                  </a:lnTo>
                  <a:lnTo>
                    <a:pt x="184" y="252"/>
                  </a:lnTo>
                  <a:lnTo>
                    <a:pt x="204" y="246"/>
                  </a:lnTo>
                  <a:lnTo>
                    <a:pt x="222" y="236"/>
                  </a:lnTo>
                  <a:lnTo>
                    <a:pt x="232" y="230"/>
                  </a:lnTo>
                  <a:lnTo>
                    <a:pt x="240" y="224"/>
                  </a:lnTo>
                  <a:lnTo>
                    <a:pt x="240" y="224"/>
                  </a:lnTo>
                  <a:lnTo>
                    <a:pt x="246" y="214"/>
                  </a:lnTo>
                  <a:lnTo>
                    <a:pt x="254" y="206"/>
                  </a:lnTo>
                  <a:lnTo>
                    <a:pt x="262" y="188"/>
                  </a:lnTo>
                  <a:lnTo>
                    <a:pt x="268" y="166"/>
                  </a:lnTo>
                  <a:lnTo>
                    <a:pt x="268" y="146"/>
                  </a:lnTo>
                  <a:lnTo>
                    <a:pt x="268" y="146"/>
                  </a:lnTo>
                  <a:lnTo>
                    <a:pt x="248" y="148"/>
                  </a:lnTo>
                  <a:lnTo>
                    <a:pt x="228" y="152"/>
                  </a:lnTo>
                  <a:lnTo>
                    <a:pt x="208" y="162"/>
                  </a:lnTo>
                  <a:lnTo>
                    <a:pt x="200" y="168"/>
                  </a:lnTo>
                  <a:lnTo>
                    <a:pt x="192" y="176"/>
                  </a:lnTo>
                  <a:lnTo>
                    <a:pt x="192" y="176"/>
                  </a:lnTo>
                  <a:close/>
                  <a:moveTo>
                    <a:pt x="36" y="146"/>
                  </a:moveTo>
                  <a:lnTo>
                    <a:pt x="36" y="146"/>
                  </a:lnTo>
                  <a:lnTo>
                    <a:pt x="36" y="166"/>
                  </a:lnTo>
                  <a:lnTo>
                    <a:pt x="42" y="188"/>
                  </a:lnTo>
                  <a:lnTo>
                    <a:pt x="50" y="206"/>
                  </a:lnTo>
                  <a:lnTo>
                    <a:pt x="58" y="214"/>
                  </a:lnTo>
                  <a:lnTo>
                    <a:pt x="64" y="224"/>
                  </a:lnTo>
                  <a:lnTo>
                    <a:pt x="64" y="224"/>
                  </a:lnTo>
                  <a:lnTo>
                    <a:pt x="72" y="230"/>
                  </a:lnTo>
                  <a:lnTo>
                    <a:pt x="82" y="236"/>
                  </a:lnTo>
                  <a:lnTo>
                    <a:pt x="100" y="246"/>
                  </a:lnTo>
                  <a:lnTo>
                    <a:pt x="120" y="252"/>
                  </a:lnTo>
                  <a:lnTo>
                    <a:pt x="142" y="252"/>
                  </a:lnTo>
                  <a:lnTo>
                    <a:pt x="142" y="252"/>
                  </a:lnTo>
                  <a:lnTo>
                    <a:pt x="140" y="232"/>
                  </a:lnTo>
                  <a:lnTo>
                    <a:pt x="136" y="212"/>
                  </a:lnTo>
                  <a:lnTo>
                    <a:pt x="126" y="192"/>
                  </a:lnTo>
                  <a:lnTo>
                    <a:pt x="120" y="184"/>
                  </a:lnTo>
                  <a:lnTo>
                    <a:pt x="112" y="176"/>
                  </a:lnTo>
                  <a:lnTo>
                    <a:pt x="112" y="176"/>
                  </a:lnTo>
                  <a:lnTo>
                    <a:pt x="104" y="168"/>
                  </a:lnTo>
                  <a:lnTo>
                    <a:pt x="96" y="162"/>
                  </a:lnTo>
                  <a:lnTo>
                    <a:pt x="76" y="152"/>
                  </a:lnTo>
                  <a:lnTo>
                    <a:pt x="56" y="148"/>
                  </a:lnTo>
                  <a:lnTo>
                    <a:pt x="36" y="146"/>
                  </a:lnTo>
                  <a:lnTo>
                    <a:pt x="36" y="14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31" name="Group 130">
            <a:extLst>
              <a:ext uri="{FF2B5EF4-FFF2-40B4-BE49-F238E27FC236}">
                <a16:creationId xmlns:a16="http://schemas.microsoft.com/office/drawing/2014/main" id="{C17F7438-DF74-4A9F-82E6-5E9EDE610163}"/>
              </a:ext>
            </a:extLst>
          </p:cNvPr>
          <p:cNvGrpSpPr/>
          <p:nvPr/>
        </p:nvGrpSpPr>
        <p:grpSpPr>
          <a:xfrm>
            <a:off x="6911559" y="5031056"/>
            <a:ext cx="612000" cy="612000"/>
            <a:chOff x="5841085" y="5907019"/>
            <a:chExt cx="612000" cy="612000"/>
          </a:xfrm>
        </p:grpSpPr>
        <p:sp>
          <p:nvSpPr>
            <p:cNvPr id="132" name="Oval 131">
              <a:extLst>
                <a:ext uri="{FF2B5EF4-FFF2-40B4-BE49-F238E27FC236}">
                  <a16:creationId xmlns:a16="http://schemas.microsoft.com/office/drawing/2014/main" id="{36CF252E-AD05-40E2-A265-9FDA3EF7D4E2}"/>
                </a:ext>
              </a:extLst>
            </p:cNvPr>
            <p:cNvSpPr/>
            <p:nvPr/>
          </p:nvSpPr>
          <p:spPr bwMode="ltGray">
            <a:xfrm>
              <a:off x="5841085"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33" name="Freeform 4931">
              <a:extLst>
                <a:ext uri="{FF2B5EF4-FFF2-40B4-BE49-F238E27FC236}">
                  <a16:creationId xmlns:a16="http://schemas.microsoft.com/office/drawing/2014/main" id="{DC28D7BB-4B39-401C-9BAA-01CC3B22D401}"/>
                </a:ext>
              </a:extLst>
            </p:cNvPr>
            <p:cNvSpPr>
              <a:spLocks noEditPoints="1"/>
            </p:cNvSpPr>
            <p:nvPr/>
          </p:nvSpPr>
          <p:spPr bwMode="auto">
            <a:xfrm>
              <a:off x="6006550" y="6036438"/>
              <a:ext cx="281071" cy="394953"/>
            </a:xfrm>
            <a:custGeom>
              <a:avLst/>
              <a:gdLst>
                <a:gd name="T0" fmla="*/ 124 w 232"/>
                <a:gd name="T1" fmla="*/ 4 h 326"/>
                <a:gd name="T2" fmla="*/ 120 w 232"/>
                <a:gd name="T3" fmla="*/ 2 h 326"/>
                <a:gd name="T4" fmla="*/ 112 w 232"/>
                <a:gd name="T5" fmla="*/ 2 h 326"/>
                <a:gd name="T6" fmla="*/ 14 w 232"/>
                <a:gd name="T7" fmla="*/ 154 h 326"/>
                <a:gd name="T8" fmla="*/ 8 w 232"/>
                <a:gd name="T9" fmla="*/ 168 h 326"/>
                <a:gd name="T10" fmla="*/ 0 w 232"/>
                <a:gd name="T11" fmla="*/ 196 h 326"/>
                <a:gd name="T12" fmla="*/ 0 w 232"/>
                <a:gd name="T13" fmla="*/ 210 h 326"/>
                <a:gd name="T14" fmla="*/ 0 w 232"/>
                <a:gd name="T15" fmla="*/ 218 h 326"/>
                <a:gd name="T16" fmla="*/ 0 w 232"/>
                <a:gd name="T17" fmla="*/ 220 h 326"/>
                <a:gd name="T18" fmla="*/ 12 w 232"/>
                <a:gd name="T19" fmla="*/ 262 h 326"/>
                <a:gd name="T20" fmla="*/ 38 w 232"/>
                <a:gd name="T21" fmla="*/ 296 h 326"/>
                <a:gd name="T22" fmla="*/ 74 w 232"/>
                <a:gd name="T23" fmla="*/ 318 h 326"/>
                <a:gd name="T24" fmla="*/ 116 w 232"/>
                <a:gd name="T25" fmla="*/ 326 h 326"/>
                <a:gd name="T26" fmla="*/ 138 w 232"/>
                <a:gd name="T27" fmla="*/ 324 h 326"/>
                <a:gd name="T28" fmla="*/ 178 w 232"/>
                <a:gd name="T29" fmla="*/ 308 h 326"/>
                <a:gd name="T30" fmla="*/ 208 w 232"/>
                <a:gd name="T31" fmla="*/ 280 h 326"/>
                <a:gd name="T32" fmla="*/ 228 w 232"/>
                <a:gd name="T33" fmla="*/ 242 h 326"/>
                <a:gd name="T34" fmla="*/ 232 w 232"/>
                <a:gd name="T35" fmla="*/ 220 h 326"/>
                <a:gd name="T36" fmla="*/ 232 w 232"/>
                <a:gd name="T37" fmla="*/ 218 h 326"/>
                <a:gd name="T38" fmla="*/ 232 w 232"/>
                <a:gd name="T39" fmla="*/ 210 h 326"/>
                <a:gd name="T40" fmla="*/ 228 w 232"/>
                <a:gd name="T41" fmla="*/ 182 h 326"/>
                <a:gd name="T42" fmla="*/ 218 w 232"/>
                <a:gd name="T43" fmla="*/ 154 h 326"/>
                <a:gd name="T44" fmla="*/ 116 w 232"/>
                <a:gd name="T45" fmla="*/ 294 h 326"/>
                <a:gd name="T46" fmla="*/ 96 w 232"/>
                <a:gd name="T47" fmla="*/ 292 h 326"/>
                <a:gd name="T48" fmla="*/ 64 w 232"/>
                <a:gd name="T49" fmla="*/ 278 h 326"/>
                <a:gd name="T50" fmla="*/ 44 w 232"/>
                <a:gd name="T51" fmla="*/ 256 h 326"/>
                <a:gd name="T52" fmla="*/ 34 w 232"/>
                <a:gd name="T53" fmla="*/ 228 h 326"/>
                <a:gd name="T54" fmla="*/ 34 w 232"/>
                <a:gd name="T55" fmla="*/ 214 h 326"/>
                <a:gd name="T56" fmla="*/ 36 w 232"/>
                <a:gd name="T57" fmla="*/ 208 h 326"/>
                <a:gd name="T58" fmla="*/ 44 w 232"/>
                <a:gd name="T59" fmla="*/ 204 h 326"/>
                <a:gd name="T60" fmla="*/ 48 w 232"/>
                <a:gd name="T61" fmla="*/ 204 h 326"/>
                <a:gd name="T62" fmla="*/ 52 w 232"/>
                <a:gd name="T63" fmla="*/ 210 h 326"/>
                <a:gd name="T64" fmla="*/ 54 w 232"/>
                <a:gd name="T65" fmla="*/ 214 h 326"/>
                <a:gd name="T66" fmla="*/ 56 w 232"/>
                <a:gd name="T67" fmla="*/ 236 h 326"/>
                <a:gd name="T68" fmla="*/ 68 w 232"/>
                <a:gd name="T69" fmla="*/ 254 h 326"/>
                <a:gd name="T70" fmla="*/ 86 w 232"/>
                <a:gd name="T71" fmla="*/ 268 h 326"/>
                <a:gd name="T72" fmla="*/ 116 w 232"/>
                <a:gd name="T73" fmla="*/ 274 h 326"/>
                <a:gd name="T74" fmla="*/ 118 w 232"/>
                <a:gd name="T75" fmla="*/ 274 h 326"/>
                <a:gd name="T76" fmla="*/ 124 w 232"/>
                <a:gd name="T77" fmla="*/ 280 h 326"/>
                <a:gd name="T78" fmla="*/ 126 w 232"/>
                <a:gd name="T79" fmla="*/ 284 h 326"/>
                <a:gd name="T80" fmla="*/ 122 w 232"/>
                <a:gd name="T81" fmla="*/ 290 h 326"/>
                <a:gd name="T82" fmla="*/ 116 w 232"/>
                <a:gd name="T83" fmla="*/ 294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32" h="326">
                  <a:moveTo>
                    <a:pt x="218" y="154"/>
                  </a:moveTo>
                  <a:lnTo>
                    <a:pt x="124" y="4"/>
                  </a:lnTo>
                  <a:lnTo>
                    <a:pt x="124" y="4"/>
                  </a:lnTo>
                  <a:lnTo>
                    <a:pt x="120" y="2"/>
                  </a:lnTo>
                  <a:lnTo>
                    <a:pt x="116" y="0"/>
                  </a:lnTo>
                  <a:lnTo>
                    <a:pt x="112" y="2"/>
                  </a:lnTo>
                  <a:lnTo>
                    <a:pt x="108" y="4"/>
                  </a:lnTo>
                  <a:lnTo>
                    <a:pt x="14" y="154"/>
                  </a:lnTo>
                  <a:lnTo>
                    <a:pt x="14" y="154"/>
                  </a:lnTo>
                  <a:lnTo>
                    <a:pt x="8" y="168"/>
                  </a:lnTo>
                  <a:lnTo>
                    <a:pt x="4" y="182"/>
                  </a:lnTo>
                  <a:lnTo>
                    <a:pt x="0" y="196"/>
                  </a:lnTo>
                  <a:lnTo>
                    <a:pt x="0" y="210"/>
                  </a:lnTo>
                  <a:lnTo>
                    <a:pt x="0" y="210"/>
                  </a:lnTo>
                  <a:lnTo>
                    <a:pt x="0" y="218"/>
                  </a:lnTo>
                  <a:lnTo>
                    <a:pt x="0" y="218"/>
                  </a:lnTo>
                  <a:lnTo>
                    <a:pt x="0" y="220"/>
                  </a:lnTo>
                  <a:lnTo>
                    <a:pt x="0" y="220"/>
                  </a:lnTo>
                  <a:lnTo>
                    <a:pt x="4" y="242"/>
                  </a:lnTo>
                  <a:lnTo>
                    <a:pt x="12" y="262"/>
                  </a:lnTo>
                  <a:lnTo>
                    <a:pt x="24" y="280"/>
                  </a:lnTo>
                  <a:lnTo>
                    <a:pt x="38" y="296"/>
                  </a:lnTo>
                  <a:lnTo>
                    <a:pt x="54" y="308"/>
                  </a:lnTo>
                  <a:lnTo>
                    <a:pt x="74" y="318"/>
                  </a:lnTo>
                  <a:lnTo>
                    <a:pt x="94" y="324"/>
                  </a:lnTo>
                  <a:lnTo>
                    <a:pt x="116" y="326"/>
                  </a:lnTo>
                  <a:lnTo>
                    <a:pt x="116" y="326"/>
                  </a:lnTo>
                  <a:lnTo>
                    <a:pt x="138" y="324"/>
                  </a:lnTo>
                  <a:lnTo>
                    <a:pt x="158" y="318"/>
                  </a:lnTo>
                  <a:lnTo>
                    <a:pt x="178" y="308"/>
                  </a:lnTo>
                  <a:lnTo>
                    <a:pt x="194" y="296"/>
                  </a:lnTo>
                  <a:lnTo>
                    <a:pt x="208" y="280"/>
                  </a:lnTo>
                  <a:lnTo>
                    <a:pt x="220" y="262"/>
                  </a:lnTo>
                  <a:lnTo>
                    <a:pt x="228" y="242"/>
                  </a:lnTo>
                  <a:lnTo>
                    <a:pt x="232" y="220"/>
                  </a:lnTo>
                  <a:lnTo>
                    <a:pt x="232" y="220"/>
                  </a:lnTo>
                  <a:lnTo>
                    <a:pt x="232" y="218"/>
                  </a:lnTo>
                  <a:lnTo>
                    <a:pt x="232" y="218"/>
                  </a:lnTo>
                  <a:lnTo>
                    <a:pt x="232" y="210"/>
                  </a:lnTo>
                  <a:lnTo>
                    <a:pt x="232" y="210"/>
                  </a:lnTo>
                  <a:lnTo>
                    <a:pt x="232" y="196"/>
                  </a:lnTo>
                  <a:lnTo>
                    <a:pt x="228" y="182"/>
                  </a:lnTo>
                  <a:lnTo>
                    <a:pt x="224" y="166"/>
                  </a:lnTo>
                  <a:lnTo>
                    <a:pt x="218" y="154"/>
                  </a:lnTo>
                  <a:lnTo>
                    <a:pt x="218" y="154"/>
                  </a:lnTo>
                  <a:close/>
                  <a:moveTo>
                    <a:pt x="116" y="294"/>
                  </a:moveTo>
                  <a:lnTo>
                    <a:pt x="116" y="294"/>
                  </a:lnTo>
                  <a:lnTo>
                    <a:pt x="96" y="292"/>
                  </a:lnTo>
                  <a:lnTo>
                    <a:pt x="78" y="286"/>
                  </a:lnTo>
                  <a:lnTo>
                    <a:pt x="64" y="278"/>
                  </a:lnTo>
                  <a:lnTo>
                    <a:pt x="54" y="268"/>
                  </a:lnTo>
                  <a:lnTo>
                    <a:pt x="44" y="256"/>
                  </a:lnTo>
                  <a:lnTo>
                    <a:pt x="38" y="242"/>
                  </a:lnTo>
                  <a:lnTo>
                    <a:pt x="34" y="228"/>
                  </a:lnTo>
                  <a:lnTo>
                    <a:pt x="34" y="214"/>
                  </a:lnTo>
                  <a:lnTo>
                    <a:pt x="34" y="214"/>
                  </a:lnTo>
                  <a:lnTo>
                    <a:pt x="34" y="210"/>
                  </a:lnTo>
                  <a:lnTo>
                    <a:pt x="36" y="208"/>
                  </a:lnTo>
                  <a:lnTo>
                    <a:pt x="40" y="204"/>
                  </a:lnTo>
                  <a:lnTo>
                    <a:pt x="44" y="204"/>
                  </a:lnTo>
                  <a:lnTo>
                    <a:pt x="44" y="204"/>
                  </a:lnTo>
                  <a:lnTo>
                    <a:pt x="48" y="204"/>
                  </a:lnTo>
                  <a:lnTo>
                    <a:pt x="50" y="208"/>
                  </a:lnTo>
                  <a:lnTo>
                    <a:pt x="52" y="210"/>
                  </a:lnTo>
                  <a:lnTo>
                    <a:pt x="54" y="214"/>
                  </a:lnTo>
                  <a:lnTo>
                    <a:pt x="54" y="214"/>
                  </a:lnTo>
                  <a:lnTo>
                    <a:pt x="54" y="224"/>
                  </a:lnTo>
                  <a:lnTo>
                    <a:pt x="56" y="236"/>
                  </a:lnTo>
                  <a:lnTo>
                    <a:pt x="60" y="246"/>
                  </a:lnTo>
                  <a:lnTo>
                    <a:pt x="68" y="254"/>
                  </a:lnTo>
                  <a:lnTo>
                    <a:pt x="76" y="262"/>
                  </a:lnTo>
                  <a:lnTo>
                    <a:pt x="86" y="268"/>
                  </a:lnTo>
                  <a:lnTo>
                    <a:pt x="100" y="272"/>
                  </a:lnTo>
                  <a:lnTo>
                    <a:pt x="116" y="274"/>
                  </a:lnTo>
                  <a:lnTo>
                    <a:pt x="116" y="274"/>
                  </a:lnTo>
                  <a:lnTo>
                    <a:pt x="118" y="274"/>
                  </a:lnTo>
                  <a:lnTo>
                    <a:pt x="122" y="276"/>
                  </a:lnTo>
                  <a:lnTo>
                    <a:pt x="124" y="280"/>
                  </a:lnTo>
                  <a:lnTo>
                    <a:pt x="126" y="284"/>
                  </a:lnTo>
                  <a:lnTo>
                    <a:pt x="126" y="284"/>
                  </a:lnTo>
                  <a:lnTo>
                    <a:pt x="124" y="288"/>
                  </a:lnTo>
                  <a:lnTo>
                    <a:pt x="122" y="290"/>
                  </a:lnTo>
                  <a:lnTo>
                    <a:pt x="118" y="294"/>
                  </a:lnTo>
                  <a:lnTo>
                    <a:pt x="116" y="294"/>
                  </a:lnTo>
                  <a:lnTo>
                    <a:pt x="116" y="29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34" name="Group 133">
            <a:extLst>
              <a:ext uri="{FF2B5EF4-FFF2-40B4-BE49-F238E27FC236}">
                <a16:creationId xmlns:a16="http://schemas.microsoft.com/office/drawing/2014/main" id="{36145B49-7F4E-43B2-BF18-56653EF1CE16}"/>
              </a:ext>
            </a:extLst>
          </p:cNvPr>
          <p:cNvGrpSpPr/>
          <p:nvPr/>
        </p:nvGrpSpPr>
        <p:grpSpPr>
          <a:xfrm>
            <a:off x="5162133" y="5031056"/>
            <a:ext cx="612000" cy="612000"/>
            <a:chOff x="4091659" y="5907019"/>
            <a:chExt cx="612000" cy="612000"/>
          </a:xfrm>
        </p:grpSpPr>
        <p:sp>
          <p:nvSpPr>
            <p:cNvPr id="135" name="Oval 134">
              <a:extLst>
                <a:ext uri="{FF2B5EF4-FFF2-40B4-BE49-F238E27FC236}">
                  <a16:creationId xmlns:a16="http://schemas.microsoft.com/office/drawing/2014/main" id="{4310AA8E-355C-4ACC-939C-F49A58D31EE9}"/>
                </a:ext>
              </a:extLst>
            </p:cNvPr>
            <p:cNvSpPr/>
            <p:nvPr/>
          </p:nvSpPr>
          <p:spPr bwMode="ltGray">
            <a:xfrm>
              <a:off x="4091659"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36" name="Freeform 4939">
              <a:extLst>
                <a:ext uri="{FF2B5EF4-FFF2-40B4-BE49-F238E27FC236}">
                  <a16:creationId xmlns:a16="http://schemas.microsoft.com/office/drawing/2014/main" id="{B9E5B2CF-BA7B-496A-A76C-3AD8E11E23F5}"/>
                </a:ext>
              </a:extLst>
            </p:cNvPr>
            <p:cNvSpPr>
              <a:spLocks noEditPoints="1"/>
            </p:cNvSpPr>
            <p:nvPr/>
          </p:nvSpPr>
          <p:spPr bwMode="auto">
            <a:xfrm>
              <a:off x="4206533" y="6021900"/>
              <a:ext cx="414337" cy="416760"/>
            </a:xfrm>
            <a:custGeom>
              <a:avLst/>
              <a:gdLst>
                <a:gd name="T0" fmla="*/ 296 w 342"/>
                <a:gd name="T1" fmla="*/ 94 h 344"/>
                <a:gd name="T2" fmla="*/ 154 w 342"/>
                <a:gd name="T3" fmla="*/ 46 h 344"/>
                <a:gd name="T4" fmla="*/ 252 w 342"/>
                <a:gd name="T5" fmla="*/ 280 h 344"/>
                <a:gd name="T6" fmla="*/ 232 w 342"/>
                <a:gd name="T7" fmla="*/ 220 h 344"/>
                <a:gd name="T8" fmla="*/ 222 w 342"/>
                <a:gd name="T9" fmla="*/ 282 h 344"/>
                <a:gd name="T10" fmla="*/ 302 w 342"/>
                <a:gd name="T11" fmla="*/ 292 h 344"/>
                <a:gd name="T12" fmla="*/ 312 w 342"/>
                <a:gd name="T13" fmla="*/ 250 h 344"/>
                <a:gd name="T14" fmla="*/ 254 w 342"/>
                <a:gd name="T15" fmla="*/ 294 h 344"/>
                <a:gd name="T16" fmla="*/ 302 w 342"/>
                <a:gd name="T17" fmla="*/ 292 h 344"/>
                <a:gd name="T18" fmla="*/ 330 w 342"/>
                <a:gd name="T19" fmla="*/ 240 h 344"/>
                <a:gd name="T20" fmla="*/ 340 w 342"/>
                <a:gd name="T21" fmla="*/ 212 h 344"/>
                <a:gd name="T22" fmla="*/ 310 w 342"/>
                <a:gd name="T23" fmla="*/ 232 h 344"/>
                <a:gd name="T24" fmla="*/ 96 w 342"/>
                <a:gd name="T25" fmla="*/ 166 h 344"/>
                <a:gd name="T26" fmla="*/ 136 w 342"/>
                <a:gd name="T27" fmla="*/ 344 h 344"/>
                <a:gd name="T28" fmla="*/ 28 w 342"/>
                <a:gd name="T29" fmla="*/ 232 h 344"/>
                <a:gd name="T30" fmla="*/ 284 w 342"/>
                <a:gd name="T31" fmla="*/ 66 h 344"/>
                <a:gd name="T32" fmla="*/ 284 w 342"/>
                <a:gd name="T33" fmla="*/ 64 h 344"/>
                <a:gd name="T34" fmla="*/ 290 w 342"/>
                <a:gd name="T35" fmla="*/ 50 h 344"/>
                <a:gd name="T36" fmla="*/ 284 w 342"/>
                <a:gd name="T37" fmla="*/ 36 h 344"/>
                <a:gd name="T38" fmla="*/ 278 w 342"/>
                <a:gd name="T39" fmla="*/ 32 h 344"/>
                <a:gd name="T40" fmla="*/ 264 w 342"/>
                <a:gd name="T41" fmla="*/ 32 h 344"/>
                <a:gd name="T42" fmla="*/ 256 w 342"/>
                <a:gd name="T43" fmla="*/ 36 h 344"/>
                <a:gd name="T44" fmla="*/ 220 w 342"/>
                <a:gd name="T45" fmla="*/ 130 h 344"/>
                <a:gd name="T46" fmla="*/ 156 w 342"/>
                <a:gd name="T47" fmla="*/ 136 h 344"/>
                <a:gd name="T48" fmla="*/ 220 w 342"/>
                <a:gd name="T49" fmla="*/ 130 h 344"/>
                <a:gd name="T50" fmla="*/ 6 w 342"/>
                <a:gd name="T51" fmla="*/ 286 h 344"/>
                <a:gd name="T52" fmla="*/ 2 w 342"/>
                <a:gd name="T53" fmla="*/ 292 h 344"/>
                <a:gd name="T54" fmla="*/ 2 w 342"/>
                <a:gd name="T55" fmla="*/ 308 h 344"/>
                <a:gd name="T56" fmla="*/ 6 w 342"/>
                <a:gd name="T57" fmla="*/ 314 h 344"/>
                <a:gd name="T58" fmla="*/ 20 w 342"/>
                <a:gd name="T59" fmla="*/ 320 h 344"/>
                <a:gd name="T60" fmla="*/ 28 w 342"/>
                <a:gd name="T61" fmla="*/ 318 h 344"/>
                <a:gd name="T62" fmla="*/ 80 w 342"/>
                <a:gd name="T63" fmla="*/ 268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42" h="344">
                  <a:moveTo>
                    <a:pt x="202" y="0"/>
                  </a:moveTo>
                  <a:lnTo>
                    <a:pt x="296" y="94"/>
                  </a:lnTo>
                  <a:lnTo>
                    <a:pt x="278" y="172"/>
                  </a:lnTo>
                  <a:lnTo>
                    <a:pt x="154" y="46"/>
                  </a:lnTo>
                  <a:lnTo>
                    <a:pt x="202" y="0"/>
                  </a:lnTo>
                  <a:close/>
                  <a:moveTo>
                    <a:pt x="252" y="280"/>
                  </a:moveTo>
                  <a:lnTo>
                    <a:pt x="252" y="250"/>
                  </a:lnTo>
                  <a:lnTo>
                    <a:pt x="232" y="220"/>
                  </a:lnTo>
                  <a:lnTo>
                    <a:pt x="196" y="258"/>
                  </a:lnTo>
                  <a:lnTo>
                    <a:pt x="222" y="282"/>
                  </a:lnTo>
                  <a:lnTo>
                    <a:pt x="252" y="280"/>
                  </a:lnTo>
                  <a:close/>
                  <a:moveTo>
                    <a:pt x="302" y="292"/>
                  </a:moveTo>
                  <a:lnTo>
                    <a:pt x="326" y="292"/>
                  </a:lnTo>
                  <a:lnTo>
                    <a:pt x="312" y="250"/>
                  </a:lnTo>
                  <a:lnTo>
                    <a:pt x="286" y="232"/>
                  </a:lnTo>
                  <a:lnTo>
                    <a:pt x="254" y="294"/>
                  </a:lnTo>
                  <a:lnTo>
                    <a:pt x="296" y="310"/>
                  </a:lnTo>
                  <a:lnTo>
                    <a:pt x="302" y="292"/>
                  </a:lnTo>
                  <a:close/>
                  <a:moveTo>
                    <a:pt x="310" y="232"/>
                  </a:moveTo>
                  <a:lnTo>
                    <a:pt x="330" y="240"/>
                  </a:lnTo>
                  <a:lnTo>
                    <a:pt x="342" y="224"/>
                  </a:lnTo>
                  <a:lnTo>
                    <a:pt x="340" y="212"/>
                  </a:lnTo>
                  <a:lnTo>
                    <a:pt x="318" y="204"/>
                  </a:lnTo>
                  <a:lnTo>
                    <a:pt x="310" y="232"/>
                  </a:lnTo>
                  <a:close/>
                  <a:moveTo>
                    <a:pt x="28" y="12"/>
                  </a:moveTo>
                  <a:lnTo>
                    <a:pt x="96" y="166"/>
                  </a:lnTo>
                  <a:lnTo>
                    <a:pt x="136" y="124"/>
                  </a:lnTo>
                  <a:lnTo>
                    <a:pt x="136" y="344"/>
                  </a:lnTo>
                  <a:lnTo>
                    <a:pt x="70" y="190"/>
                  </a:lnTo>
                  <a:lnTo>
                    <a:pt x="28" y="232"/>
                  </a:lnTo>
                  <a:lnTo>
                    <a:pt x="28" y="12"/>
                  </a:lnTo>
                  <a:close/>
                  <a:moveTo>
                    <a:pt x="284" y="66"/>
                  </a:moveTo>
                  <a:lnTo>
                    <a:pt x="284" y="64"/>
                  </a:lnTo>
                  <a:lnTo>
                    <a:pt x="284" y="64"/>
                  </a:lnTo>
                  <a:lnTo>
                    <a:pt x="290" y="58"/>
                  </a:lnTo>
                  <a:lnTo>
                    <a:pt x="290" y="50"/>
                  </a:lnTo>
                  <a:lnTo>
                    <a:pt x="290" y="42"/>
                  </a:lnTo>
                  <a:lnTo>
                    <a:pt x="284" y="36"/>
                  </a:lnTo>
                  <a:lnTo>
                    <a:pt x="284" y="36"/>
                  </a:lnTo>
                  <a:lnTo>
                    <a:pt x="278" y="32"/>
                  </a:lnTo>
                  <a:lnTo>
                    <a:pt x="270" y="30"/>
                  </a:lnTo>
                  <a:lnTo>
                    <a:pt x="264" y="32"/>
                  </a:lnTo>
                  <a:lnTo>
                    <a:pt x="256" y="36"/>
                  </a:lnTo>
                  <a:lnTo>
                    <a:pt x="256" y="36"/>
                  </a:lnTo>
                  <a:lnTo>
                    <a:pt x="284" y="66"/>
                  </a:lnTo>
                  <a:close/>
                  <a:moveTo>
                    <a:pt x="220" y="130"/>
                  </a:moveTo>
                  <a:lnTo>
                    <a:pt x="190" y="102"/>
                  </a:lnTo>
                  <a:lnTo>
                    <a:pt x="156" y="136"/>
                  </a:lnTo>
                  <a:lnTo>
                    <a:pt x="156" y="192"/>
                  </a:lnTo>
                  <a:lnTo>
                    <a:pt x="220" y="130"/>
                  </a:lnTo>
                  <a:close/>
                  <a:moveTo>
                    <a:pt x="64" y="228"/>
                  </a:moveTo>
                  <a:lnTo>
                    <a:pt x="6" y="286"/>
                  </a:lnTo>
                  <a:lnTo>
                    <a:pt x="6" y="286"/>
                  </a:lnTo>
                  <a:lnTo>
                    <a:pt x="2" y="292"/>
                  </a:lnTo>
                  <a:lnTo>
                    <a:pt x="0" y="300"/>
                  </a:lnTo>
                  <a:lnTo>
                    <a:pt x="2" y="308"/>
                  </a:lnTo>
                  <a:lnTo>
                    <a:pt x="6" y="314"/>
                  </a:lnTo>
                  <a:lnTo>
                    <a:pt x="6" y="314"/>
                  </a:lnTo>
                  <a:lnTo>
                    <a:pt x="12" y="318"/>
                  </a:lnTo>
                  <a:lnTo>
                    <a:pt x="20" y="320"/>
                  </a:lnTo>
                  <a:lnTo>
                    <a:pt x="20" y="320"/>
                  </a:lnTo>
                  <a:lnTo>
                    <a:pt x="28" y="318"/>
                  </a:lnTo>
                  <a:lnTo>
                    <a:pt x="34" y="314"/>
                  </a:lnTo>
                  <a:lnTo>
                    <a:pt x="80" y="268"/>
                  </a:lnTo>
                  <a:lnTo>
                    <a:pt x="64" y="22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37" name="Group 136">
            <a:extLst>
              <a:ext uri="{FF2B5EF4-FFF2-40B4-BE49-F238E27FC236}">
                <a16:creationId xmlns:a16="http://schemas.microsoft.com/office/drawing/2014/main" id="{6E40D86A-BAEF-4AE8-9279-01ED25A681B4}"/>
              </a:ext>
            </a:extLst>
          </p:cNvPr>
          <p:cNvGrpSpPr/>
          <p:nvPr/>
        </p:nvGrpSpPr>
        <p:grpSpPr>
          <a:xfrm>
            <a:off x="6036846" y="5031056"/>
            <a:ext cx="612000" cy="612000"/>
            <a:chOff x="4966372" y="5907019"/>
            <a:chExt cx="612000" cy="612000"/>
          </a:xfrm>
        </p:grpSpPr>
        <p:sp>
          <p:nvSpPr>
            <p:cNvPr id="138" name="Oval 137">
              <a:extLst>
                <a:ext uri="{FF2B5EF4-FFF2-40B4-BE49-F238E27FC236}">
                  <a16:creationId xmlns:a16="http://schemas.microsoft.com/office/drawing/2014/main" id="{3B20E098-E64A-4C72-BBB0-12161B19A509}"/>
                </a:ext>
              </a:extLst>
            </p:cNvPr>
            <p:cNvSpPr/>
            <p:nvPr/>
          </p:nvSpPr>
          <p:spPr bwMode="ltGray">
            <a:xfrm>
              <a:off x="4966372"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39" name="Freeform 4948">
              <a:extLst>
                <a:ext uri="{FF2B5EF4-FFF2-40B4-BE49-F238E27FC236}">
                  <a16:creationId xmlns:a16="http://schemas.microsoft.com/office/drawing/2014/main" id="{26194937-E3CF-445E-8CC9-2D53056E88D9}"/>
                </a:ext>
              </a:extLst>
            </p:cNvPr>
            <p:cNvSpPr>
              <a:spLocks noEditPoints="1"/>
            </p:cNvSpPr>
            <p:nvPr/>
          </p:nvSpPr>
          <p:spPr bwMode="auto">
            <a:xfrm>
              <a:off x="5045820" y="5995246"/>
              <a:ext cx="453105" cy="491874"/>
            </a:xfrm>
            <a:custGeom>
              <a:avLst/>
              <a:gdLst>
                <a:gd name="T0" fmla="*/ 194 w 374"/>
                <a:gd name="T1" fmla="*/ 396 h 406"/>
                <a:gd name="T2" fmla="*/ 180 w 374"/>
                <a:gd name="T3" fmla="*/ 406 h 406"/>
                <a:gd name="T4" fmla="*/ 164 w 374"/>
                <a:gd name="T5" fmla="*/ 390 h 406"/>
                <a:gd name="T6" fmla="*/ 82 w 374"/>
                <a:gd name="T7" fmla="*/ 286 h 406"/>
                <a:gd name="T8" fmla="*/ 48 w 374"/>
                <a:gd name="T9" fmla="*/ 284 h 406"/>
                <a:gd name="T10" fmla="*/ 30 w 374"/>
                <a:gd name="T11" fmla="*/ 246 h 406"/>
                <a:gd name="T12" fmla="*/ 0 w 374"/>
                <a:gd name="T13" fmla="*/ 212 h 406"/>
                <a:gd name="T14" fmla="*/ 6 w 374"/>
                <a:gd name="T15" fmla="*/ 202 h 406"/>
                <a:gd name="T16" fmla="*/ 44 w 374"/>
                <a:gd name="T17" fmla="*/ 232 h 406"/>
                <a:gd name="T18" fmla="*/ 42 w 374"/>
                <a:gd name="T19" fmla="*/ 180 h 406"/>
                <a:gd name="T20" fmla="*/ 42 w 374"/>
                <a:gd name="T21" fmla="*/ 166 h 406"/>
                <a:gd name="T22" fmla="*/ 52 w 374"/>
                <a:gd name="T23" fmla="*/ 164 h 406"/>
                <a:gd name="T24" fmla="*/ 96 w 374"/>
                <a:gd name="T25" fmla="*/ 180 h 406"/>
                <a:gd name="T26" fmla="*/ 114 w 374"/>
                <a:gd name="T27" fmla="*/ 200 h 406"/>
                <a:gd name="T28" fmla="*/ 124 w 374"/>
                <a:gd name="T29" fmla="*/ 232 h 406"/>
                <a:gd name="T30" fmla="*/ 190 w 374"/>
                <a:gd name="T31" fmla="*/ 330 h 406"/>
                <a:gd name="T32" fmla="*/ 196 w 374"/>
                <a:gd name="T33" fmla="*/ 342 h 406"/>
                <a:gd name="T34" fmla="*/ 282 w 374"/>
                <a:gd name="T35" fmla="*/ 318 h 406"/>
                <a:gd name="T36" fmla="*/ 278 w 374"/>
                <a:gd name="T37" fmla="*/ 330 h 406"/>
                <a:gd name="T38" fmla="*/ 286 w 374"/>
                <a:gd name="T39" fmla="*/ 348 h 406"/>
                <a:gd name="T40" fmla="*/ 312 w 374"/>
                <a:gd name="T41" fmla="*/ 352 h 406"/>
                <a:gd name="T42" fmla="*/ 328 w 374"/>
                <a:gd name="T43" fmla="*/ 332 h 406"/>
                <a:gd name="T44" fmla="*/ 326 w 374"/>
                <a:gd name="T45" fmla="*/ 318 h 406"/>
                <a:gd name="T46" fmla="*/ 344 w 374"/>
                <a:gd name="T47" fmla="*/ 208 h 406"/>
                <a:gd name="T48" fmla="*/ 334 w 374"/>
                <a:gd name="T49" fmla="*/ 98 h 406"/>
                <a:gd name="T50" fmla="*/ 274 w 374"/>
                <a:gd name="T51" fmla="*/ 38 h 406"/>
                <a:gd name="T52" fmla="*/ 164 w 374"/>
                <a:gd name="T53" fmla="*/ 30 h 406"/>
                <a:gd name="T54" fmla="*/ 164 w 374"/>
                <a:gd name="T55" fmla="*/ 110 h 406"/>
                <a:gd name="T56" fmla="*/ 244 w 374"/>
                <a:gd name="T57" fmla="*/ 112 h 406"/>
                <a:gd name="T58" fmla="*/ 264 w 374"/>
                <a:gd name="T59" fmla="*/ 142 h 406"/>
                <a:gd name="T60" fmla="*/ 250 w 374"/>
                <a:gd name="T61" fmla="*/ 222 h 406"/>
                <a:gd name="T62" fmla="*/ 234 w 374"/>
                <a:gd name="T63" fmla="*/ 238 h 406"/>
                <a:gd name="T64" fmla="*/ 244 w 374"/>
                <a:gd name="T65" fmla="*/ 252 h 406"/>
                <a:gd name="T66" fmla="*/ 364 w 374"/>
                <a:gd name="T67" fmla="*/ 252 h 406"/>
                <a:gd name="T68" fmla="*/ 374 w 374"/>
                <a:gd name="T69" fmla="*/ 238 h 406"/>
                <a:gd name="T70" fmla="*/ 358 w 374"/>
                <a:gd name="T71" fmla="*/ 222 h 406"/>
                <a:gd name="T72" fmla="*/ 128 w 374"/>
                <a:gd name="T73" fmla="*/ 2 h 406"/>
                <a:gd name="T74" fmla="*/ 118 w 374"/>
                <a:gd name="T75" fmla="*/ 122 h 406"/>
                <a:gd name="T76" fmla="*/ 128 w 374"/>
                <a:gd name="T77" fmla="*/ 136 h 406"/>
                <a:gd name="T78" fmla="*/ 146 w 374"/>
                <a:gd name="T79" fmla="*/ 134 h 406"/>
                <a:gd name="T80" fmla="*/ 150 w 374"/>
                <a:gd name="T81" fmla="*/ 16 h 406"/>
                <a:gd name="T82" fmla="*/ 134 w 374"/>
                <a:gd name="T83" fmla="*/ 0 h 406"/>
                <a:gd name="T84" fmla="*/ 36 w 374"/>
                <a:gd name="T85" fmla="*/ 78 h 406"/>
                <a:gd name="T86" fmla="*/ 52 w 374"/>
                <a:gd name="T87" fmla="*/ 102 h 406"/>
                <a:gd name="T88" fmla="*/ 106 w 374"/>
                <a:gd name="T89" fmla="*/ 110 h 406"/>
                <a:gd name="T90" fmla="*/ 66 w 374"/>
                <a:gd name="T91" fmla="*/ 30 h 406"/>
                <a:gd name="T92" fmla="*/ 42 w 374"/>
                <a:gd name="T93" fmla="*/ 46 h 406"/>
                <a:gd name="T94" fmla="*/ 34 w 374"/>
                <a:gd name="T95" fmla="*/ 70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4" h="406">
                  <a:moveTo>
                    <a:pt x="196" y="342"/>
                  </a:moveTo>
                  <a:lnTo>
                    <a:pt x="196" y="390"/>
                  </a:lnTo>
                  <a:lnTo>
                    <a:pt x="196" y="390"/>
                  </a:lnTo>
                  <a:lnTo>
                    <a:pt x="194" y="396"/>
                  </a:lnTo>
                  <a:lnTo>
                    <a:pt x="190" y="400"/>
                  </a:lnTo>
                  <a:lnTo>
                    <a:pt x="186" y="404"/>
                  </a:lnTo>
                  <a:lnTo>
                    <a:pt x="180" y="406"/>
                  </a:lnTo>
                  <a:lnTo>
                    <a:pt x="180" y="406"/>
                  </a:lnTo>
                  <a:lnTo>
                    <a:pt x="174" y="404"/>
                  </a:lnTo>
                  <a:lnTo>
                    <a:pt x="168" y="400"/>
                  </a:lnTo>
                  <a:lnTo>
                    <a:pt x="164" y="396"/>
                  </a:lnTo>
                  <a:lnTo>
                    <a:pt x="164" y="390"/>
                  </a:lnTo>
                  <a:lnTo>
                    <a:pt x="164" y="348"/>
                  </a:lnTo>
                  <a:lnTo>
                    <a:pt x="96" y="280"/>
                  </a:lnTo>
                  <a:lnTo>
                    <a:pt x="96" y="280"/>
                  </a:lnTo>
                  <a:lnTo>
                    <a:pt x="82" y="286"/>
                  </a:lnTo>
                  <a:lnTo>
                    <a:pt x="68" y="288"/>
                  </a:lnTo>
                  <a:lnTo>
                    <a:pt x="68" y="288"/>
                  </a:lnTo>
                  <a:lnTo>
                    <a:pt x="58" y="286"/>
                  </a:lnTo>
                  <a:lnTo>
                    <a:pt x="48" y="284"/>
                  </a:lnTo>
                  <a:lnTo>
                    <a:pt x="38" y="278"/>
                  </a:lnTo>
                  <a:lnTo>
                    <a:pt x="30" y="272"/>
                  </a:lnTo>
                  <a:lnTo>
                    <a:pt x="16" y="258"/>
                  </a:lnTo>
                  <a:lnTo>
                    <a:pt x="30" y="246"/>
                  </a:lnTo>
                  <a:lnTo>
                    <a:pt x="2" y="218"/>
                  </a:lnTo>
                  <a:lnTo>
                    <a:pt x="2" y="218"/>
                  </a:lnTo>
                  <a:lnTo>
                    <a:pt x="0" y="216"/>
                  </a:lnTo>
                  <a:lnTo>
                    <a:pt x="0" y="212"/>
                  </a:lnTo>
                  <a:lnTo>
                    <a:pt x="0" y="208"/>
                  </a:lnTo>
                  <a:lnTo>
                    <a:pt x="2" y="204"/>
                  </a:lnTo>
                  <a:lnTo>
                    <a:pt x="2" y="204"/>
                  </a:lnTo>
                  <a:lnTo>
                    <a:pt x="6" y="202"/>
                  </a:lnTo>
                  <a:lnTo>
                    <a:pt x="10" y="202"/>
                  </a:lnTo>
                  <a:lnTo>
                    <a:pt x="14" y="202"/>
                  </a:lnTo>
                  <a:lnTo>
                    <a:pt x="16" y="204"/>
                  </a:lnTo>
                  <a:lnTo>
                    <a:pt x="44" y="232"/>
                  </a:lnTo>
                  <a:lnTo>
                    <a:pt x="68" y="206"/>
                  </a:lnTo>
                  <a:lnTo>
                    <a:pt x="68" y="206"/>
                  </a:lnTo>
                  <a:lnTo>
                    <a:pt x="42" y="180"/>
                  </a:lnTo>
                  <a:lnTo>
                    <a:pt x="42" y="180"/>
                  </a:lnTo>
                  <a:lnTo>
                    <a:pt x="40" y="176"/>
                  </a:lnTo>
                  <a:lnTo>
                    <a:pt x="38" y="172"/>
                  </a:lnTo>
                  <a:lnTo>
                    <a:pt x="40" y="168"/>
                  </a:lnTo>
                  <a:lnTo>
                    <a:pt x="42" y="166"/>
                  </a:lnTo>
                  <a:lnTo>
                    <a:pt x="42" y="166"/>
                  </a:lnTo>
                  <a:lnTo>
                    <a:pt x="44" y="164"/>
                  </a:lnTo>
                  <a:lnTo>
                    <a:pt x="48" y="162"/>
                  </a:lnTo>
                  <a:lnTo>
                    <a:pt x="52" y="164"/>
                  </a:lnTo>
                  <a:lnTo>
                    <a:pt x="56" y="166"/>
                  </a:lnTo>
                  <a:lnTo>
                    <a:pt x="82" y="192"/>
                  </a:lnTo>
                  <a:lnTo>
                    <a:pt x="96" y="180"/>
                  </a:lnTo>
                  <a:lnTo>
                    <a:pt x="96" y="180"/>
                  </a:lnTo>
                  <a:lnTo>
                    <a:pt x="96" y="180"/>
                  </a:lnTo>
                  <a:lnTo>
                    <a:pt x="108" y="192"/>
                  </a:lnTo>
                  <a:lnTo>
                    <a:pt x="108" y="192"/>
                  </a:lnTo>
                  <a:lnTo>
                    <a:pt x="114" y="200"/>
                  </a:lnTo>
                  <a:lnTo>
                    <a:pt x="118" y="206"/>
                  </a:lnTo>
                  <a:lnTo>
                    <a:pt x="122" y="216"/>
                  </a:lnTo>
                  <a:lnTo>
                    <a:pt x="124" y="224"/>
                  </a:lnTo>
                  <a:lnTo>
                    <a:pt x="124" y="232"/>
                  </a:lnTo>
                  <a:lnTo>
                    <a:pt x="124" y="242"/>
                  </a:lnTo>
                  <a:lnTo>
                    <a:pt x="122" y="250"/>
                  </a:lnTo>
                  <a:lnTo>
                    <a:pt x="118" y="258"/>
                  </a:lnTo>
                  <a:lnTo>
                    <a:pt x="190" y="330"/>
                  </a:lnTo>
                  <a:lnTo>
                    <a:pt x="190" y="330"/>
                  </a:lnTo>
                  <a:lnTo>
                    <a:pt x="194" y="336"/>
                  </a:lnTo>
                  <a:lnTo>
                    <a:pt x="196" y="342"/>
                  </a:lnTo>
                  <a:lnTo>
                    <a:pt x="196" y="342"/>
                  </a:lnTo>
                  <a:close/>
                  <a:moveTo>
                    <a:pt x="324" y="314"/>
                  </a:moveTo>
                  <a:lnTo>
                    <a:pt x="304" y="282"/>
                  </a:lnTo>
                  <a:lnTo>
                    <a:pt x="284" y="314"/>
                  </a:lnTo>
                  <a:lnTo>
                    <a:pt x="282" y="318"/>
                  </a:lnTo>
                  <a:lnTo>
                    <a:pt x="282" y="318"/>
                  </a:lnTo>
                  <a:lnTo>
                    <a:pt x="280" y="324"/>
                  </a:lnTo>
                  <a:lnTo>
                    <a:pt x="278" y="330"/>
                  </a:lnTo>
                  <a:lnTo>
                    <a:pt x="278" y="330"/>
                  </a:lnTo>
                  <a:lnTo>
                    <a:pt x="278" y="332"/>
                  </a:lnTo>
                  <a:lnTo>
                    <a:pt x="278" y="332"/>
                  </a:lnTo>
                  <a:lnTo>
                    <a:pt x="282" y="340"/>
                  </a:lnTo>
                  <a:lnTo>
                    <a:pt x="286" y="348"/>
                  </a:lnTo>
                  <a:lnTo>
                    <a:pt x="294" y="352"/>
                  </a:lnTo>
                  <a:lnTo>
                    <a:pt x="304" y="354"/>
                  </a:lnTo>
                  <a:lnTo>
                    <a:pt x="304" y="354"/>
                  </a:lnTo>
                  <a:lnTo>
                    <a:pt x="312" y="352"/>
                  </a:lnTo>
                  <a:lnTo>
                    <a:pt x="320" y="348"/>
                  </a:lnTo>
                  <a:lnTo>
                    <a:pt x="326" y="340"/>
                  </a:lnTo>
                  <a:lnTo>
                    <a:pt x="328" y="332"/>
                  </a:lnTo>
                  <a:lnTo>
                    <a:pt x="328" y="332"/>
                  </a:lnTo>
                  <a:lnTo>
                    <a:pt x="328" y="330"/>
                  </a:lnTo>
                  <a:lnTo>
                    <a:pt x="328" y="330"/>
                  </a:lnTo>
                  <a:lnTo>
                    <a:pt x="328" y="324"/>
                  </a:lnTo>
                  <a:lnTo>
                    <a:pt x="326" y="318"/>
                  </a:lnTo>
                  <a:lnTo>
                    <a:pt x="324" y="314"/>
                  </a:lnTo>
                  <a:close/>
                  <a:moveTo>
                    <a:pt x="264" y="142"/>
                  </a:moveTo>
                  <a:lnTo>
                    <a:pt x="264" y="208"/>
                  </a:lnTo>
                  <a:lnTo>
                    <a:pt x="344" y="208"/>
                  </a:lnTo>
                  <a:lnTo>
                    <a:pt x="344" y="142"/>
                  </a:lnTo>
                  <a:lnTo>
                    <a:pt x="344" y="142"/>
                  </a:lnTo>
                  <a:lnTo>
                    <a:pt x="342" y="118"/>
                  </a:lnTo>
                  <a:lnTo>
                    <a:pt x="334" y="98"/>
                  </a:lnTo>
                  <a:lnTo>
                    <a:pt x="324" y="78"/>
                  </a:lnTo>
                  <a:lnTo>
                    <a:pt x="310" y="62"/>
                  </a:lnTo>
                  <a:lnTo>
                    <a:pt x="294" y="48"/>
                  </a:lnTo>
                  <a:lnTo>
                    <a:pt x="274" y="38"/>
                  </a:lnTo>
                  <a:lnTo>
                    <a:pt x="254" y="32"/>
                  </a:lnTo>
                  <a:lnTo>
                    <a:pt x="232" y="30"/>
                  </a:lnTo>
                  <a:lnTo>
                    <a:pt x="164" y="30"/>
                  </a:lnTo>
                  <a:lnTo>
                    <a:pt x="164" y="30"/>
                  </a:lnTo>
                  <a:lnTo>
                    <a:pt x="164" y="30"/>
                  </a:lnTo>
                  <a:lnTo>
                    <a:pt x="164" y="110"/>
                  </a:lnTo>
                  <a:lnTo>
                    <a:pt x="164" y="110"/>
                  </a:lnTo>
                  <a:lnTo>
                    <a:pt x="164" y="110"/>
                  </a:lnTo>
                  <a:lnTo>
                    <a:pt x="232" y="110"/>
                  </a:lnTo>
                  <a:lnTo>
                    <a:pt x="232" y="110"/>
                  </a:lnTo>
                  <a:lnTo>
                    <a:pt x="238" y="110"/>
                  </a:lnTo>
                  <a:lnTo>
                    <a:pt x="244" y="112"/>
                  </a:lnTo>
                  <a:lnTo>
                    <a:pt x="254" y="118"/>
                  </a:lnTo>
                  <a:lnTo>
                    <a:pt x="260" y="128"/>
                  </a:lnTo>
                  <a:lnTo>
                    <a:pt x="262" y="134"/>
                  </a:lnTo>
                  <a:lnTo>
                    <a:pt x="264" y="142"/>
                  </a:lnTo>
                  <a:lnTo>
                    <a:pt x="264" y="142"/>
                  </a:lnTo>
                  <a:close/>
                  <a:moveTo>
                    <a:pt x="358" y="222"/>
                  </a:moveTo>
                  <a:lnTo>
                    <a:pt x="250" y="222"/>
                  </a:lnTo>
                  <a:lnTo>
                    <a:pt x="250" y="222"/>
                  </a:lnTo>
                  <a:lnTo>
                    <a:pt x="244" y="222"/>
                  </a:lnTo>
                  <a:lnTo>
                    <a:pt x="238" y="226"/>
                  </a:lnTo>
                  <a:lnTo>
                    <a:pt x="234" y="232"/>
                  </a:lnTo>
                  <a:lnTo>
                    <a:pt x="234" y="238"/>
                  </a:lnTo>
                  <a:lnTo>
                    <a:pt x="234" y="238"/>
                  </a:lnTo>
                  <a:lnTo>
                    <a:pt x="234" y="244"/>
                  </a:lnTo>
                  <a:lnTo>
                    <a:pt x="238" y="248"/>
                  </a:lnTo>
                  <a:lnTo>
                    <a:pt x="244" y="252"/>
                  </a:lnTo>
                  <a:lnTo>
                    <a:pt x="250" y="254"/>
                  </a:lnTo>
                  <a:lnTo>
                    <a:pt x="358" y="254"/>
                  </a:lnTo>
                  <a:lnTo>
                    <a:pt x="358" y="254"/>
                  </a:lnTo>
                  <a:lnTo>
                    <a:pt x="364" y="252"/>
                  </a:lnTo>
                  <a:lnTo>
                    <a:pt x="368" y="248"/>
                  </a:lnTo>
                  <a:lnTo>
                    <a:pt x="372" y="244"/>
                  </a:lnTo>
                  <a:lnTo>
                    <a:pt x="374" y="238"/>
                  </a:lnTo>
                  <a:lnTo>
                    <a:pt x="374" y="238"/>
                  </a:lnTo>
                  <a:lnTo>
                    <a:pt x="372" y="232"/>
                  </a:lnTo>
                  <a:lnTo>
                    <a:pt x="368" y="226"/>
                  </a:lnTo>
                  <a:lnTo>
                    <a:pt x="364" y="222"/>
                  </a:lnTo>
                  <a:lnTo>
                    <a:pt x="358" y="222"/>
                  </a:lnTo>
                  <a:lnTo>
                    <a:pt x="358" y="222"/>
                  </a:lnTo>
                  <a:close/>
                  <a:moveTo>
                    <a:pt x="134" y="0"/>
                  </a:moveTo>
                  <a:lnTo>
                    <a:pt x="134" y="0"/>
                  </a:lnTo>
                  <a:lnTo>
                    <a:pt x="128" y="2"/>
                  </a:lnTo>
                  <a:lnTo>
                    <a:pt x="122" y="6"/>
                  </a:lnTo>
                  <a:lnTo>
                    <a:pt x="120" y="10"/>
                  </a:lnTo>
                  <a:lnTo>
                    <a:pt x="118" y="16"/>
                  </a:lnTo>
                  <a:lnTo>
                    <a:pt x="118" y="122"/>
                  </a:lnTo>
                  <a:lnTo>
                    <a:pt x="118" y="122"/>
                  </a:lnTo>
                  <a:lnTo>
                    <a:pt x="120" y="128"/>
                  </a:lnTo>
                  <a:lnTo>
                    <a:pt x="122" y="134"/>
                  </a:lnTo>
                  <a:lnTo>
                    <a:pt x="128" y="136"/>
                  </a:lnTo>
                  <a:lnTo>
                    <a:pt x="134" y="138"/>
                  </a:lnTo>
                  <a:lnTo>
                    <a:pt x="134" y="138"/>
                  </a:lnTo>
                  <a:lnTo>
                    <a:pt x="140" y="136"/>
                  </a:lnTo>
                  <a:lnTo>
                    <a:pt x="146" y="134"/>
                  </a:lnTo>
                  <a:lnTo>
                    <a:pt x="148" y="128"/>
                  </a:lnTo>
                  <a:lnTo>
                    <a:pt x="150" y="122"/>
                  </a:lnTo>
                  <a:lnTo>
                    <a:pt x="150" y="16"/>
                  </a:lnTo>
                  <a:lnTo>
                    <a:pt x="150" y="16"/>
                  </a:lnTo>
                  <a:lnTo>
                    <a:pt x="148" y="10"/>
                  </a:lnTo>
                  <a:lnTo>
                    <a:pt x="146" y="6"/>
                  </a:lnTo>
                  <a:lnTo>
                    <a:pt x="140" y="2"/>
                  </a:lnTo>
                  <a:lnTo>
                    <a:pt x="134" y="0"/>
                  </a:lnTo>
                  <a:lnTo>
                    <a:pt x="134" y="0"/>
                  </a:lnTo>
                  <a:close/>
                  <a:moveTo>
                    <a:pt x="34" y="70"/>
                  </a:moveTo>
                  <a:lnTo>
                    <a:pt x="34" y="70"/>
                  </a:lnTo>
                  <a:lnTo>
                    <a:pt x="36" y="78"/>
                  </a:lnTo>
                  <a:lnTo>
                    <a:pt x="38" y="84"/>
                  </a:lnTo>
                  <a:lnTo>
                    <a:pt x="42" y="92"/>
                  </a:lnTo>
                  <a:lnTo>
                    <a:pt x="46" y="98"/>
                  </a:lnTo>
                  <a:lnTo>
                    <a:pt x="52" y="102"/>
                  </a:lnTo>
                  <a:lnTo>
                    <a:pt x="60" y="106"/>
                  </a:lnTo>
                  <a:lnTo>
                    <a:pt x="66" y="108"/>
                  </a:lnTo>
                  <a:lnTo>
                    <a:pt x="74" y="110"/>
                  </a:lnTo>
                  <a:lnTo>
                    <a:pt x="106" y="110"/>
                  </a:lnTo>
                  <a:lnTo>
                    <a:pt x="106" y="30"/>
                  </a:lnTo>
                  <a:lnTo>
                    <a:pt x="74" y="30"/>
                  </a:lnTo>
                  <a:lnTo>
                    <a:pt x="74" y="30"/>
                  </a:lnTo>
                  <a:lnTo>
                    <a:pt x="66" y="30"/>
                  </a:lnTo>
                  <a:lnTo>
                    <a:pt x="60" y="32"/>
                  </a:lnTo>
                  <a:lnTo>
                    <a:pt x="52" y="36"/>
                  </a:lnTo>
                  <a:lnTo>
                    <a:pt x="46" y="40"/>
                  </a:lnTo>
                  <a:lnTo>
                    <a:pt x="42" y="46"/>
                  </a:lnTo>
                  <a:lnTo>
                    <a:pt x="38" y="54"/>
                  </a:lnTo>
                  <a:lnTo>
                    <a:pt x="36" y="62"/>
                  </a:lnTo>
                  <a:lnTo>
                    <a:pt x="34" y="70"/>
                  </a:lnTo>
                  <a:lnTo>
                    <a:pt x="34" y="7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40" name="Group 139">
            <a:extLst>
              <a:ext uri="{FF2B5EF4-FFF2-40B4-BE49-F238E27FC236}">
                <a16:creationId xmlns:a16="http://schemas.microsoft.com/office/drawing/2014/main" id="{B1B82802-F898-4D4A-9E37-59BE57C7C38A}"/>
              </a:ext>
            </a:extLst>
          </p:cNvPr>
          <p:cNvGrpSpPr/>
          <p:nvPr/>
        </p:nvGrpSpPr>
        <p:grpSpPr>
          <a:xfrm>
            <a:off x="7786272" y="5031056"/>
            <a:ext cx="612000" cy="612000"/>
            <a:chOff x="6715798" y="5907019"/>
            <a:chExt cx="612000" cy="612000"/>
          </a:xfrm>
        </p:grpSpPr>
        <p:sp>
          <p:nvSpPr>
            <p:cNvPr id="141" name="Oval 140">
              <a:extLst>
                <a:ext uri="{FF2B5EF4-FFF2-40B4-BE49-F238E27FC236}">
                  <a16:creationId xmlns:a16="http://schemas.microsoft.com/office/drawing/2014/main" id="{4EBFAC74-CDBE-4340-870F-41A69BC3927C}"/>
                </a:ext>
              </a:extLst>
            </p:cNvPr>
            <p:cNvSpPr/>
            <p:nvPr/>
          </p:nvSpPr>
          <p:spPr bwMode="ltGray">
            <a:xfrm>
              <a:off x="6715798"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42" name="Freeform 4950">
              <a:extLst>
                <a:ext uri="{FF2B5EF4-FFF2-40B4-BE49-F238E27FC236}">
                  <a16:creationId xmlns:a16="http://schemas.microsoft.com/office/drawing/2014/main" id="{2CDC8936-AE87-4318-A432-815149E44108}"/>
                </a:ext>
              </a:extLst>
            </p:cNvPr>
            <p:cNvSpPr>
              <a:spLocks noEditPoints="1"/>
            </p:cNvSpPr>
            <p:nvPr/>
          </p:nvSpPr>
          <p:spPr bwMode="auto">
            <a:xfrm>
              <a:off x="6867936" y="6031592"/>
              <a:ext cx="307724" cy="414337"/>
            </a:xfrm>
            <a:custGeom>
              <a:avLst/>
              <a:gdLst>
                <a:gd name="T0" fmla="*/ 188 w 254"/>
                <a:gd name="T1" fmla="*/ 216 h 342"/>
                <a:gd name="T2" fmla="*/ 150 w 254"/>
                <a:gd name="T3" fmla="*/ 196 h 342"/>
                <a:gd name="T4" fmla="*/ 130 w 254"/>
                <a:gd name="T5" fmla="*/ 162 h 342"/>
                <a:gd name="T6" fmla="*/ 126 w 254"/>
                <a:gd name="T7" fmla="*/ 148 h 342"/>
                <a:gd name="T8" fmla="*/ 126 w 254"/>
                <a:gd name="T9" fmla="*/ 132 h 342"/>
                <a:gd name="T10" fmla="*/ 136 w 254"/>
                <a:gd name="T11" fmla="*/ 106 h 342"/>
                <a:gd name="T12" fmla="*/ 130 w 254"/>
                <a:gd name="T13" fmla="*/ 4 h 342"/>
                <a:gd name="T14" fmla="*/ 122 w 254"/>
                <a:gd name="T15" fmla="*/ 0 h 342"/>
                <a:gd name="T16" fmla="*/ 24 w 254"/>
                <a:gd name="T17" fmla="*/ 148 h 342"/>
                <a:gd name="T18" fmla="*/ 8 w 254"/>
                <a:gd name="T19" fmla="*/ 174 h 342"/>
                <a:gd name="T20" fmla="*/ 0 w 254"/>
                <a:gd name="T21" fmla="*/ 220 h 342"/>
                <a:gd name="T22" fmla="*/ 0 w 254"/>
                <a:gd name="T23" fmla="*/ 228 h 342"/>
                <a:gd name="T24" fmla="*/ 6 w 254"/>
                <a:gd name="T25" fmla="*/ 254 h 342"/>
                <a:gd name="T26" fmla="*/ 40 w 254"/>
                <a:gd name="T27" fmla="*/ 310 h 342"/>
                <a:gd name="T28" fmla="*/ 98 w 254"/>
                <a:gd name="T29" fmla="*/ 340 h 342"/>
                <a:gd name="T30" fmla="*/ 146 w 254"/>
                <a:gd name="T31" fmla="*/ 340 h 342"/>
                <a:gd name="T32" fmla="*/ 204 w 254"/>
                <a:gd name="T33" fmla="*/ 310 h 342"/>
                <a:gd name="T34" fmla="*/ 238 w 254"/>
                <a:gd name="T35" fmla="*/ 254 h 342"/>
                <a:gd name="T36" fmla="*/ 244 w 254"/>
                <a:gd name="T37" fmla="*/ 228 h 342"/>
                <a:gd name="T38" fmla="*/ 244 w 254"/>
                <a:gd name="T39" fmla="*/ 220 h 342"/>
                <a:gd name="T40" fmla="*/ 234 w 254"/>
                <a:gd name="T41" fmla="*/ 210 h 342"/>
                <a:gd name="T42" fmla="*/ 202 w 254"/>
                <a:gd name="T43" fmla="*/ 216 h 342"/>
                <a:gd name="T44" fmla="*/ 122 w 254"/>
                <a:gd name="T45" fmla="*/ 308 h 342"/>
                <a:gd name="T46" fmla="*/ 76 w 254"/>
                <a:gd name="T47" fmla="*/ 296 h 342"/>
                <a:gd name="T48" fmla="*/ 44 w 254"/>
                <a:gd name="T49" fmla="*/ 262 h 342"/>
                <a:gd name="T50" fmla="*/ 36 w 254"/>
                <a:gd name="T51" fmla="*/ 224 h 342"/>
                <a:gd name="T52" fmla="*/ 42 w 254"/>
                <a:gd name="T53" fmla="*/ 214 h 342"/>
                <a:gd name="T54" fmla="*/ 50 w 254"/>
                <a:gd name="T55" fmla="*/ 214 h 342"/>
                <a:gd name="T56" fmla="*/ 56 w 254"/>
                <a:gd name="T57" fmla="*/ 224 h 342"/>
                <a:gd name="T58" fmla="*/ 58 w 254"/>
                <a:gd name="T59" fmla="*/ 246 h 342"/>
                <a:gd name="T60" fmla="*/ 80 w 254"/>
                <a:gd name="T61" fmla="*/ 276 h 342"/>
                <a:gd name="T62" fmla="*/ 122 w 254"/>
                <a:gd name="T63" fmla="*/ 288 h 342"/>
                <a:gd name="T64" fmla="*/ 128 w 254"/>
                <a:gd name="T65" fmla="*/ 290 h 342"/>
                <a:gd name="T66" fmla="*/ 132 w 254"/>
                <a:gd name="T67" fmla="*/ 298 h 342"/>
                <a:gd name="T68" fmla="*/ 124 w 254"/>
                <a:gd name="T69" fmla="*/ 306 h 342"/>
                <a:gd name="T70" fmla="*/ 248 w 254"/>
                <a:gd name="T71" fmla="*/ 116 h 342"/>
                <a:gd name="T72" fmla="*/ 206 w 254"/>
                <a:gd name="T73" fmla="*/ 52 h 342"/>
                <a:gd name="T74" fmla="*/ 196 w 254"/>
                <a:gd name="T75" fmla="*/ 52 h 342"/>
                <a:gd name="T76" fmla="*/ 156 w 254"/>
                <a:gd name="T77" fmla="*/ 116 h 342"/>
                <a:gd name="T78" fmla="*/ 148 w 254"/>
                <a:gd name="T79" fmla="*/ 142 h 342"/>
                <a:gd name="T80" fmla="*/ 148 w 254"/>
                <a:gd name="T81" fmla="*/ 146 h 342"/>
                <a:gd name="T82" fmla="*/ 160 w 254"/>
                <a:gd name="T83" fmla="*/ 174 h 342"/>
                <a:gd name="T84" fmla="*/ 182 w 254"/>
                <a:gd name="T85" fmla="*/ 190 h 342"/>
                <a:gd name="T86" fmla="*/ 202 w 254"/>
                <a:gd name="T87" fmla="*/ 194 h 342"/>
                <a:gd name="T88" fmla="*/ 230 w 254"/>
                <a:gd name="T89" fmla="*/ 186 h 342"/>
                <a:gd name="T90" fmla="*/ 248 w 254"/>
                <a:gd name="T91" fmla="*/ 166 h 342"/>
                <a:gd name="T92" fmla="*/ 254 w 254"/>
                <a:gd name="T93" fmla="*/ 146 h 342"/>
                <a:gd name="T94" fmla="*/ 254 w 254"/>
                <a:gd name="T95" fmla="*/ 142 h 342"/>
                <a:gd name="T96" fmla="*/ 248 w 254"/>
                <a:gd name="T97" fmla="*/ 116 h 342"/>
                <a:gd name="T98" fmla="*/ 196 w 254"/>
                <a:gd name="T99" fmla="*/ 174 h 342"/>
                <a:gd name="T100" fmla="*/ 174 w 254"/>
                <a:gd name="T101" fmla="*/ 164 h 342"/>
                <a:gd name="T102" fmla="*/ 166 w 254"/>
                <a:gd name="T103" fmla="*/ 144 h 342"/>
                <a:gd name="T104" fmla="*/ 166 w 254"/>
                <a:gd name="T105" fmla="*/ 132 h 342"/>
                <a:gd name="T106" fmla="*/ 176 w 254"/>
                <a:gd name="T107" fmla="*/ 132 h 342"/>
                <a:gd name="T108" fmla="*/ 180 w 254"/>
                <a:gd name="T109" fmla="*/ 146 h 342"/>
                <a:gd name="T110" fmla="*/ 192 w 254"/>
                <a:gd name="T111" fmla="*/ 160 h 342"/>
                <a:gd name="T112" fmla="*/ 204 w 254"/>
                <a:gd name="T113" fmla="*/ 162 h 342"/>
                <a:gd name="T114" fmla="*/ 212 w 254"/>
                <a:gd name="T115" fmla="*/ 168 h 342"/>
                <a:gd name="T116" fmla="*/ 204 w 254"/>
                <a:gd name="T117" fmla="*/ 176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54" h="342">
                  <a:moveTo>
                    <a:pt x="202" y="216"/>
                  </a:moveTo>
                  <a:lnTo>
                    <a:pt x="202" y="216"/>
                  </a:lnTo>
                  <a:lnTo>
                    <a:pt x="188" y="216"/>
                  </a:lnTo>
                  <a:lnTo>
                    <a:pt x="174" y="212"/>
                  </a:lnTo>
                  <a:lnTo>
                    <a:pt x="162" y="206"/>
                  </a:lnTo>
                  <a:lnTo>
                    <a:pt x="150" y="196"/>
                  </a:lnTo>
                  <a:lnTo>
                    <a:pt x="142" y="188"/>
                  </a:lnTo>
                  <a:lnTo>
                    <a:pt x="134" y="176"/>
                  </a:lnTo>
                  <a:lnTo>
                    <a:pt x="130" y="162"/>
                  </a:lnTo>
                  <a:lnTo>
                    <a:pt x="126" y="148"/>
                  </a:lnTo>
                  <a:lnTo>
                    <a:pt x="126" y="148"/>
                  </a:lnTo>
                  <a:lnTo>
                    <a:pt x="126" y="148"/>
                  </a:lnTo>
                  <a:lnTo>
                    <a:pt x="126" y="142"/>
                  </a:lnTo>
                  <a:lnTo>
                    <a:pt x="126" y="142"/>
                  </a:lnTo>
                  <a:lnTo>
                    <a:pt x="126" y="132"/>
                  </a:lnTo>
                  <a:lnTo>
                    <a:pt x="128" y="124"/>
                  </a:lnTo>
                  <a:lnTo>
                    <a:pt x="136" y="106"/>
                  </a:lnTo>
                  <a:lnTo>
                    <a:pt x="136" y="106"/>
                  </a:lnTo>
                  <a:lnTo>
                    <a:pt x="136" y="104"/>
                  </a:lnTo>
                  <a:lnTo>
                    <a:pt x="164" y="58"/>
                  </a:lnTo>
                  <a:lnTo>
                    <a:pt x="130" y="4"/>
                  </a:lnTo>
                  <a:lnTo>
                    <a:pt x="130" y="4"/>
                  </a:lnTo>
                  <a:lnTo>
                    <a:pt x="126" y="0"/>
                  </a:lnTo>
                  <a:lnTo>
                    <a:pt x="122" y="0"/>
                  </a:lnTo>
                  <a:lnTo>
                    <a:pt x="118" y="0"/>
                  </a:lnTo>
                  <a:lnTo>
                    <a:pt x="114" y="4"/>
                  </a:lnTo>
                  <a:lnTo>
                    <a:pt x="24" y="148"/>
                  </a:lnTo>
                  <a:lnTo>
                    <a:pt x="16" y="160"/>
                  </a:lnTo>
                  <a:lnTo>
                    <a:pt x="16" y="160"/>
                  </a:lnTo>
                  <a:lnTo>
                    <a:pt x="8" y="174"/>
                  </a:lnTo>
                  <a:lnTo>
                    <a:pt x="4" y="190"/>
                  </a:lnTo>
                  <a:lnTo>
                    <a:pt x="0" y="204"/>
                  </a:lnTo>
                  <a:lnTo>
                    <a:pt x="0" y="220"/>
                  </a:lnTo>
                  <a:lnTo>
                    <a:pt x="0" y="220"/>
                  </a:lnTo>
                  <a:lnTo>
                    <a:pt x="0" y="228"/>
                  </a:lnTo>
                  <a:lnTo>
                    <a:pt x="0" y="228"/>
                  </a:lnTo>
                  <a:lnTo>
                    <a:pt x="2" y="230"/>
                  </a:lnTo>
                  <a:lnTo>
                    <a:pt x="2" y="230"/>
                  </a:lnTo>
                  <a:lnTo>
                    <a:pt x="6" y="254"/>
                  </a:lnTo>
                  <a:lnTo>
                    <a:pt x="14" y="274"/>
                  </a:lnTo>
                  <a:lnTo>
                    <a:pt x="26" y="294"/>
                  </a:lnTo>
                  <a:lnTo>
                    <a:pt x="40" y="310"/>
                  </a:lnTo>
                  <a:lnTo>
                    <a:pt x="58" y="324"/>
                  </a:lnTo>
                  <a:lnTo>
                    <a:pt x="78" y="334"/>
                  </a:lnTo>
                  <a:lnTo>
                    <a:pt x="98" y="340"/>
                  </a:lnTo>
                  <a:lnTo>
                    <a:pt x="122" y="342"/>
                  </a:lnTo>
                  <a:lnTo>
                    <a:pt x="122" y="342"/>
                  </a:lnTo>
                  <a:lnTo>
                    <a:pt x="146" y="340"/>
                  </a:lnTo>
                  <a:lnTo>
                    <a:pt x="166" y="334"/>
                  </a:lnTo>
                  <a:lnTo>
                    <a:pt x="186" y="324"/>
                  </a:lnTo>
                  <a:lnTo>
                    <a:pt x="204" y="310"/>
                  </a:lnTo>
                  <a:lnTo>
                    <a:pt x="218" y="294"/>
                  </a:lnTo>
                  <a:lnTo>
                    <a:pt x="230" y="274"/>
                  </a:lnTo>
                  <a:lnTo>
                    <a:pt x="238" y="254"/>
                  </a:lnTo>
                  <a:lnTo>
                    <a:pt x="242" y="230"/>
                  </a:lnTo>
                  <a:lnTo>
                    <a:pt x="242" y="230"/>
                  </a:lnTo>
                  <a:lnTo>
                    <a:pt x="244" y="228"/>
                  </a:lnTo>
                  <a:lnTo>
                    <a:pt x="244" y="228"/>
                  </a:lnTo>
                  <a:lnTo>
                    <a:pt x="244" y="220"/>
                  </a:lnTo>
                  <a:lnTo>
                    <a:pt x="244" y="220"/>
                  </a:lnTo>
                  <a:lnTo>
                    <a:pt x="242" y="204"/>
                  </a:lnTo>
                  <a:lnTo>
                    <a:pt x="242" y="204"/>
                  </a:lnTo>
                  <a:lnTo>
                    <a:pt x="234" y="210"/>
                  </a:lnTo>
                  <a:lnTo>
                    <a:pt x="224" y="214"/>
                  </a:lnTo>
                  <a:lnTo>
                    <a:pt x="212" y="216"/>
                  </a:lnTo>
                  <a:lnTo>
                    <a:pt x="202" y="216"/>
                  </a:lnTo>
                  <a:lnTo>
                    <a:pt x="202" y="216"/>
                  </a:lnTo>
                  <a:close/>
                  <a:moveTo>
                    <a:pt x="122" y="308"/>
                  </a:moveTo>
                  <a:lnTo>
                    <a:pt x="122" y="308"/>
                  </a:lnTo>
                  <a:lnTo>
                    <a:pt x="106" y="306"/>
                  </a:lnTo>
                  <a:lnTo>
                    <a:pt x="90" y="302"/>
                  </a:lnTo>
                  <a:lnTo>
                    <a:pt x="76" y="296"/>
                  </a:lnTo>
                  <a:lnTo>
                    <a:pt x="62" y="288"/>
                  </a:lnTo>
                  <a:lnTo>
                    <a:pt x="52" y="276"/>
                  </a:lnTo>
                  <a:lnTo>
                    <a:pt x="44" y="262"/>
                  </a:lnTo>
                  <a:lnTo>
                    <a:pt x="38" y="244"/>
                  </a:lnTo>
                  <a:lnTo>
                    <a:pt x="36" y="224"/>
                  </a:lnTo>
                  <a:lnTo>
                    <a:pt x="36" y="224"/>
                  </a:lnTo>
                  <a:lnTo>
                    <a:pt x="36" y="220"/>
                  </a:lnTo>
                  <a:lnTo>
                    <a:pt x="38" y="216"/>
                  </a:lnTo>
                  <a:lnTo>
                    <a:pt x="42" y="214"/>
                  </a:lnTo>
                  <a:lnTo>
                    <a:pt x="46" y="214"/>
                  </a:lnTo>
                  <a:lnTo>
                    <a:pt x="46" y="214"/>
                  </a:lnTo>
                  <a:lnTo>
                    <a:pt x="50" y="214"/>
                  </a:lnTo>
                  <a:lnTo>
                    <a:pt x="52" y="216"/>
                  </a:lnTo>
                  <a:lnTo>
                    <a:pt x="54" y="220"/>
                  </a:lnTo>
                  <a:lnTo>
                    <a:pt x="56" y="224"/>
                  </a:lnTo>
                  <a:lnTo>
                    <a:pt x="56" y="224"/>
                  </a:lnTo>
                  <a:lnTo>
                    <a:pt x="56" y="236"/>
                  </a:lnTo>
                  <a:lnTo>
                    <a:pt x="58" y="246"/>
                  </a:lnTo>
                  <a:lnTo>
                    <a:pt x="64" y="256"/>
                  </a:lnTo>
                  <a:lnTo>
                    <a:pt x="70" y="266"/>
                  </a:lnTo>
                  <a:lnTo>
                    <a:pt x="80" y="276"/>
                  </a:lnTo>
                  <a:lnTo>
                    <a:pt x="90" y="282"/>
                  </a:lnTo>
                  <a:lnTo>
                    <a:pt x="104" y="286"/>
                  </a:lnTo>
                  <a:lnTo>
                    <a:pt x="122" y="288"/>
                  </a:lnTo>
                  <a:lnTo>
                    <a:pt x="122" y="288"/>
                  </a:lnTo>
                  <a:lnTo>
                    <a:pt x="124" y="288"/>
                  </a:lnTo>
                  <a:lnTo>
                    <a:pt x="128" y="290"/>
                  </a:lnTo>
                  <a:lnTo>
                    <a:pt x="130" y="294"/>
                  </a:lnTo>
                  <a:lnTo>
                    <a:pt x="132" y="298"/>
                  </a:lnTo>
                  <a:lnTo>
                    <a:pt x="132" y="298"/>
                  </a:lnTo>
                  <a:lnTo>
                    <a:pt x="130" y="302"/>
                  </a:lnTo>
                  <a:lnTo>
                    <a:pt x="128" y="304"/>
                  </a:lnTo>
                  <a:lnTo>
                    <a:pt x="124" y="306"/>
                  </a:lnTo>
                  <a:lnTo>
                    <a:pt x="122" y="308"/>
                  </a:lnTo>
                  <a:lnTo>
                    <a:pt x="122" y="308"/>
                  </a:lnTo>
                  <a:close/>
                  <a:moveTo>
                    <a:pt x="248" y="116"/>
                  </a:moveTo>
                  <a:lnTo>
                    <a:pt x="210" y="56"/>
                  </a:lnTo>
                  <a:lnTo>
                    <a:pt x="210" y="56"/>
                  </a:lnTo>
                  <a:lnTo>
                    <a:pt x="206" y="52"/>
                  </a:lnTo>
                  <a:lnTo>
                    <a:pt x="202" y="50"/>
                  </a:lnTo>
                  <a:lnTo>
                    <a:pt x="202" y="50"/>
                  </a:lnTo>
                  <a:lnTo>
                    <a:pt x="196" y="52"/>
                  </a:lnTo>
                  <a:lnTo>
                    <a:pt x="192" y="56"/>
                  </a:lnTo>
                  <a:lnTo>
                    <a:pt x="156" y="116"/>
                  </a:lnTo>
                  <a:lnTo>
                    <a:pt x="156" y="116"/>
                  </a:lnTo>
                  <a:lnTo>
                    <a:pt x="150" y="128"/>
                  </a:lnTo>
                  <a:lnTo>
                    <a:pt x="148" y="142"/>
                  </a:lnTo>
                  <a:lnTo>
                    <a:pt x="148" y="142"/>
                  </a:lnTo>
                  <a:lnTo>
                    <a:pt x="148" y="146"/>
                  </a:lnTo>
                  <a:lnTo>
                    <a:pt x="148" y="146"/>
                  </a:lnTo>
                  <a:lnTo>
                    <a:pt x="148" y="146"/>
                  </a:lnTo>
                  <a:lnTo>
                    <a:pt x="150" y="156"/>
                  </a:lnTo>
                  <a:lnTo>
                    <a:pt x="154" y="166"/>
                  </a:lnTo>
                  <a:lnTo>
                    <a:pt x="160" y="174"/>
                  </a:lnTo>
                  <a:lnTo>
                    <a:pt x="166" y="180"/>
                  </a:lnTo>
                  <a:lnTo>
                    <a:pt x="174" y="186"/>
                  </a:lnTo>
                  <a:lnTo>
                    <a:pt x="182" y="190"/>
                  </a:lnTo>
                  <a:lnTo>
                    <a:pt x="192" y="194"/>
                  </a:lnTo>
                  <a:lnTo>
                    <a:pt x="202" y="194"/>
                  </a:lnTo>
                  <a:lnTo>
                    <a:pt x="202" y="194"/>
                  </a:lnTo>
                  <a:lnTo>
                    <a:pt x="212" y="194"/>
                  </a:lnTo>
                  <a:lnTo>
                    <a:pt x="220" y="190"/>
                  </a:lnTo>
                  <a:lnTo>
                    <a:pt x="230" y="186"/>
                  </a:lnTo>
                  <a:lnTo>
                    <a:pt x="236" y="180"/>
                  </a:lnTo>
                  <a:lnTo>
                    <a:pt x="244" y="174"/>
                  </a:lnTo>
                  <a:lnTo>
                    <a:pt x="248" y="166"/>
                  </a:lnTo>
                  <a:lnTo>
                    <a:pt x="252" y="156"/>
                  </a:lnTo>
                  <a:lnTo>
                    <a:pt x="254" y="146"/>
                  </a:lnTo>
                  <a:lnTo>
                    <a:pt x="254" y="146"/>
                  </a:lnTo>
                  <a:lnTo>
                    <a:pt x="254" y="146"/>
                  </a:lnTo>
                  <a:lnTo>
                    <a:pt x="254" y="142"/>
                  </a:lnTo>
                  <a:lnTo>
                    <a:pt x="254" y="142"/>
                  </a:lnTo>
                  <a:lnTo>
                    <a:pt x="252" y="128"/>
                  </a:lnTo>
                  <a:lnTo>
                    <a:pt x="248" y="116"/>
                  </a:lnTo>
                  <a:lnTo>
                    <a:pt x="248" y="116"/>
                  </a:lnTo>
                  <a:close/>
                  <a:moveTo>
                    <a:pt x="204" y="176"/>
                  </a:moveTo>
                  <a:lnTo>
                    <a:pt x="204" y="176"/>
                  </a:lnTo>
                  <a:lnTo>
                    <a:pt x="196" y="174"/>
                  </a:lnTo>
                  <a:lnTo>
                    <a:pt x="186" y="172"/>
                  </a:lnTo>
                  <a:lnTo>
                    <a:pt x="180" y="168"/>
                  </a:lnTo>
                  <a:lnTo>
                    <a:pt x="174" y="164"/>
                  </a:lnTo>
                  <a:lnTo>
                    <a:pt x="170" y="158"/>
                  </a:lnTo>
                  <a:lnTo>
                    <a:pt x="168" y="150"/>
                  </a:lnTo>
                  <a:lnTo>
                    <a:pt x="166" y="144"/>
                  </a:lnTo>
                  <a:lnTo>
                    <a:pt x="164" y="136"/>
                  </a:lnTo>
                  <a:lnTo>
                    <a:pt x="164" y="136"/>
                  </a:lnTo>
                  <a:lnTo>
                    <a:pt x="166" y="132"/>
                  </a:lnTo>
                  <a:lnTo>
                    <a:pt x="172" y="130"/>
                  </a:lnTo>
                  <a:lnTo>
                    <a:pt x="172" y="130"/>
                  </a:lnTo>
                  <a:lnTo>
                    <a:pt x="176" y="132"/>
                  </a:lnTo>
                  <a:lnTo>
                    <a:pt x="178" y="136"/>
                  </a:lnTo>
                  <a:lnTo>
                    <a:pt x="178" y="136"/>
                  </a:lnTo>
                  <a:lnTo>
                    <a:pt x="180" y="146"/>
                  </a:lnTo>
                  <a:lnTo>
                    <a:pt x="184" y="154"/>
                  </a:lnTo>
                  <a:lnTo>
                    <a:pt x="188" y="158"/>
                  </a:lnTo>
                  <a:lnTo>
                    <a:pt x="192" y="160"/>
                  </a:lnTo>
                  <a:lnTo>
                    <a:pt x="198" y="162"/>
                  </a:lnTo>
                  <a:lnTo>
                    <a:pt x="204" y="162"/>
                  </a:lnTo>
                  <a:lnTo>
                    <a:pt x="204" y="162"/>
                  </a:lnTo>
                  <a:lnTo>
                    <a:pt x="210" y="164"/>
                  </a:lnTo>
                  <a:lnTo>
                    <a:pt x="212" y="168"/>
                  </a:lnTo>
                  <a:lnTo>
                    <a:pt x="212" y="168"/>
                  </a:lnTo>
                  <a:lnTo>
                    <a:pt x="210" y="174"/>
                  </a:lnTo>
                  <a:lnTo>
                    <a:pt x="204" y="176"/>
                  </a:lnTo>
                  <a:lnTo>
                    <a:pt x="204" y="1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43" name="Group 142">
            <a:extLst>
              <a:ext uri="{FF2B5EF4-FFF2-40B4-BE49-F238E27FC236}">
                <a16:creationId xmlns:a16="http://schemas.microsoft.com/office/drawing/2014/main" id="{D200C7AF-2126-4226-83C2-77A3A85BC8C0}"/>
              </a:ext>
            </a:extLst>
          </p:cNvPr>
          <p:cNvGrpSpPr/>
          <p:nvPr/>
        </p:nvGrpSpPr>
        <p:grpSpPr>
          <a:xfrm>
            <a:off x="9518402" y="5031056"/>
            <a:ext cx="612000" cy="612000"/>
            <a:chOff x="8447928" y="5907019"/>
            <a:chExt cx="612000" cy="612000"/>
          </a:xfrm>
        </p:grpSpPr>
        <p:sp>
          <p:nvSpPr>
            <p:cNvPr id="144" name="Oval 143">
              <a:extLst>
                <a:ext uri="{FF2B5EF4-FFF2-40B4-BE49-F238E27FC236}">
                  <a16:creationId xmlns:a16="http://schemas.microsoft.com/office/drawing/2014/main" id="{A33034AD-A67A-4973-974E-53E5AE8D1B48}"/>
                </a:ext>
              </a:extLst>
            </p:cNvPr>
            <p:cNvSpPr/>
            <p:nvPr/>
          </p:nvSpPr>
          <p:spPr bwMode="ltGray">
            <a:xfrm>
              <a:off x="8447928"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45" name="Freeform 4951">
              <a:extLst>
                <a:ext uri="{FF2B5EF4-FFF2-40B4-BE49-F238E27FC236}">
                  <a16:creationId xmlns:a16="http://schemas.microsoft.com/office/drawing/2014/main" id="{9E07F8FC-717D-44A2-8CEA-3EFA5249442A}"/>
                </a:ext>
              </a:extLst>
            </p:cNvPr>
            <p:cNvSpPr>
              <a:spLocks noEditPoints="1"/>
            </p:cNvSpPr>
            <p:nvPr/>
          </p:nvSpPr>
          <p:spPr bwMode="auto">
            <a:xfrm>
              <a:off x="8612307" y="6036438"/>
              <a:ext cx="363453" cy="387684"/>
            </a:xfrm>
            <a:custGeom>
              <a:avLst/>
              <a:gdLst>
                <a:gd name="T0" fmla="*/ 282 w 300"/>
                <a:gd name="T1" fmla="*/ 168 h 320"/>
                <a:gd name="T2" fmla="*/ 278 w 300"/>
                <a:gd name="T3" fmla="*/ 146 h 320"/>
                <a:gd name="T4" fmla="*/ 286 w 300"/>
                <a:gd name="T5" fmla="*/ 116 h 320"/>
                <a:gd name="T6" fmla="*/ 294 w 300"/>
                <a:gd name="T7" fmla="*/ 108 h 320"/>
                <a:gd name="T8" fmla="*/ 298 w 300"/>
                <a:gd name="T9" fmla="*/ 100 h 320"/>
                <a:gd name="T10" fmla="*/ 248 w 300"/>
                <a:gd name="T11" fmla="*/ 44 h 320"/>
                <a:gd name="T12" fmla="*/ 242 w 300"/>
                <a:gd name="T13" fmla="*/ 42 h 320"/>
                <a:gd name="T14" fmla="*/ 234 w 300"/>
                <a:gd name="T15" fmla="*/ 44 h 320"/>
                <a:gd name="T16" fmla="*/ 232 w 300"/>
                <a:gd name="T17" fmla="*/ 54 h 320"/>
                <a:gd name="T18" fmla="*/ 270 w 300"/>
                <a:gd name="T19" fmla="*/ 108 h 320"/>
                <a:gd name="T20" fmla="*/ 260 w 300"/>
                <a:gd name="T21" fmla="*/ 134 h 320"/>
                <a:gd name="T22" fmla="*/ 262 w 300"/>
                <a:gd name="T23" fmla="*/ 162 h 320"/>
                <a:gd name="T24" fmla="*/ 274 w 300"/>
                <a:gd name="T25" fmla="*/ 192 h 320"/>
                <a:gd name="T26" fmla="*/ 282 w 300"/>
                <a:gd name="T27" fmla="*/ 210 h 320"/>
                <a:gd name="T28" fmla="*/ 280 w 300"/>
                <a:gd name="T29" fmla="*/ 224 h 320"/>
                <a:gd name="T30" fmla="*/ 264 w 300"/>
                <a:gd name="T31" fmla="*/ 234 h 320"/>
                <a:gd name="T32" fmla="*/ 252 w 300"/>
                <a:gd name="T33" fmla="*/ 230 h 320"/>
                <a:gd name="T34" fmla="*/ 248 w 300"/>
                <a:gd name="T35" fmla="*/ 128 h 320"/>
                <a:gd name="T36" fmla="*/ 242 w 300"/>
                <a:gd name="T37" fmla="*/ 114 h 320"/>
                <a:gd name="T38" fmla="*/ 206 w 300"/>
                <a:gd name="T39" fmla="*/ 110 h 320"/>
                <a:gd name="T40" fmla="*/ 206 w 300"/>
                <a:gd name="T41" fmla="*/ 10 h 320"/>
                <a:gd name="T42" fmla="*/ 192 w 300"/>
                <a:gd name="T43" fmla="*/ 0 h 320"/>
                <a:gd name="T44" fmla="*/ 42 w 300"/>
                <a:gd name="T45" fmla="*/ 2 h 320"/>
                <a:gd name="T46" fmla="*/ 32 w 300"/>
                <a:gd name="T47" fmla="*/ 14 h 320"/>
                <a:gd name="T48" fmla="*/ 16 w 300"/>
                <a:gd name="T49" fmla="*/ 290 h 320"/>
                <a:gd name="T50" fmla="*/ 2 w 300"/>
                <a:gd name="T51" fmla="*/ 300 h 320"/>
                <a:gd name="T52" fmla="*/ 2 w 300"/>
                <a:gd name="T53" fmla="*/ 310 h 320"/>
                <a:gd name="T54" fmla="*/ 16 w 300"/>
                <a:gd name="T55" fmla="*/ 320 h 320"/>
                <a:gd name="T56" fmla="*/ 224 w 300"/>
                <a:gd name="T57" fmla="*/ 320 h 320"/>
                <a:gd name="T58" fmla="*/ 234 w 300"/>
                <a:gd name="T59" fmla="*/ 316 h 320"/>
                <a:gd name="T60" fmla="*/ 238 w 300"/>
                <a:gd name="T61" fmla="*/ 306 h 320"/>
                <a:gd name="T62" fmla="*/ 230 w 300"/>
                <a:gd name="T63" fmla="*/ 292 h 320"/>
                <a:gd name="T64" fmla="*/ 206 w 300"/>
                <a:gd name="T65" fmla="*/ 128 h 320"/>
                <a:gd name="T66" fmla="*/ 230 w 300"/>
                <a:gd name="T67" fmla="*/ 128 h 320"/>
                <a:gd name="T68" fmla="*/ 230 w 300"/>
                <a:gd name="T69" fmla="*/ 226 h 320"/>
                <a:gd name="T70" fmla="*/ 240 w 300"/>
                <a:gd name="T71" fmla="*/ 242 h 320"/>
                <a:gd name="T72" fmla="*/ 256 w 300"/>
                <a:gd name="T73" fmla="*/ 252 h 320"/>
                <a:gd name="T74" fmla="*/ 272 w 300"/>
                <a:gd name="T75" fmla="*/ 252 h 320"/>
                <a:gd name="T76" fmla="*/ 292 w 300"/>
                <a:gd name="T77" fmla="*/ 242 h 320"/>
                <a:gd name="T78" fmla="*/ 300 w 300"/>
                <a:gd name="T79" fmla="*/ 224 h 320"/>
                <a:gd name="T80" fmla="*/ 300 w 300"/>
                <a:gd name="T81" fmla="*/ 206 h 320"/>
                <a:gd name="T82" fmla="*/ 290 w 300"/>
                <a:gd name="T83" fmla="*/ 182 h 320"/>
                <a:gd name="T84" fmla="*/ 172 w 300"/>
                <a:gd name="T85" fmla="*/ 130 h 320"/>
                <a:gd name="T86" fmla="*/ 162 w 300"/>
                <a:gd name="T87" fmla="*/ 136 h 320"/>
                <a:gd name="T88" fmla="*/ 72 w 300"/>
                <a:gd name="T89" fmla="*/ 136 h 320"/>
                <a:gd name="T90" fmla="*/ 66 w 300"/>
                <a:gd name="T91" fmla="*/ 126 h 320"/>
                <a:gd name="T92" fmla="*/ 68 w 300"/>
                <a:gd name="T93" fmla="*/ 40 h 320"/>
                <a:gd name="T94" fmla="*/ 76 w 300"/>
                <a:gd name="T95" fmla="*/ 34 h 320"/>
                <a:gd name="T96" fmla="*/ 166 w 300"/>
                <a:gd name="T97" fmla="*/ 36 h 320"/>
                <a:gd name="T98" fmla="*/ 172 w 300"/>
                <a:gd name="T99" fmla="*/ 4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00" h="320">
                  <a:moveTo>
                    <a:pt x="290" y="182"/>
                  </a:moveTo>
                  <a:lnTo>
                    <a:pt x="290" y="182"/>
                  </a:lnTo>
                  <a:lnTo>
                    <a:pt x="282" y="168"/>
                  </a:lnTo>
                  <a:lnTo>
                    <a:pt x="280" y="158"/>
                  </a:lnTo>
                  <a:lnTo>
                    <a:pt x="278" y="146"/>
                  </a:lnTo>
                  <a:lnTo>
                    <a:pt x="278" y="146"/>
                  </a:lnTo>
                  <a:lnTo>
                    <a:pt x="280" y="136"/>
                  </a:lnTo>
                  <a:lnTo>
                    <a:pt x="282" y="128"/>
                  </a:lnTo>
                  <a:lnTo>
                    <a:pt x="286" y="116"/>
                  </a:lnTo>
                  <a:lnTo>
                    <a:pt x="292" y="110"/>
                  </a:lnTo>
                  <a:lnTo>
                    <a:pt x="294" y="108"/>
                  </a:lnTo>
                  <a:lnTo>
                    <a:pt x="294" y="108"/>
                  </a:lnTo>
                  <a:lnTo>
                    <a:pt x="298" y="104"/>
                  </a:lnTo>
                  <a:lnTo>
                    <a:pt x="298" y="100"/>
                  </a:lnTo>
                  <a:lnTo>
                    <a:pt x="298" y="100"/>
                  </a:lnTo>
                  <a:lnTo>
                    <a:pt x="298" y="96"/>
                  </a:lnTo>
                  <a:lnTo>
                    <a:pt x="296" y="94"/>
                  </a:lnTo>
                  <a:lnTo>
                    <a:pt x="248" y="44"/>
                  </a:lnTo>
                  <a:lnTo>
                    <a:pt x="248" y="44"/>
                  </a:lnTo>
                  <a:lnTo>
                    <a:pt x="244" y="42"/>
                  </a:lnTo>
                  <a:lnTo>
                    <a:pt x="242" y="42"/>
                  </a:lnTo>
                  <a:lnTo>
                    <a:pt x="238" y="42"/>
                  </a:lnTo>
                  <a:lnTo>
                    <a:pt x="234" y="44"/>
                  </a:lnTo>
                  <a:lnTo>
                    <a:pt x="234" y="44"/>
                  </a:lnTo>
                  <a:lnTo>
                    <a:pt x="232" y="48"/>
                  </a:lnTo>
                  <a:lnTo>
                    <a:pt x="232" y="50"/>
                  </a:lnTo>
                  <a:lnTo>
                    <a:pt x="232" y="54"/>
                  </a:lnTo>
                  <a:lnTo>
                    <a:pt x="234" y="58"/>
                  </a:lnTo>
                  <a:lnTo>
                    <a:pt x="270" y="108"/>
                  </a:lnTo>
                  <a:lnTo>
                    <a:pt x="270" y="108"/>
                  </a:lnTo>
                  <a:lnTo>
                    <a:pt x="266" y="116"/>
                  </a:lnTo>
                  <a:lnTo>
                    <a:pt x="264" y="124"/>
                  </a:lnTo>
                  <a:lnTo>
                    <a:pt x="260" y="134"/>
                  </a:lnTo>
                  <a:lnTo>
                    <a:pt x="260" y="146"/>
                  </a:lnTo>
                  <a:lnTo>
                    <a:pt x="260" y="146"/>
                  </a:lnTo>
                  <a:lnTo>
                    <a:pt x="262" y="162"/>
                  </a:lnTo>
                  <a:lnTo>
                    <a:pt x="264" y="174"/>
                  </a:lnTo>
                  <a:lnTo>
                    <a:pt x="268" y="184"/>
                  </a:lnTo>
                  <a:lnTo>
                    <a:pt x="274" y="192"/>
                  </a:lnTo>
                  <a:lnTo>
                    <a:pt x="274" y="192"/>
                  </a:lnTo>
                  <a:lnTo>
                    <a:pt x="280" y="204"/>
                  </a:lnTo>
                  <a:lnTo>
                    <a:pt x="282" y="210"/>
                  </a:lnTo>
                  <a:lnTo>
                    <a:pt x="282" y="218"/>
                  </a:lnTo>
                  <a:lnTo>
                    <a:pt x="282" y="218"/>
                  </a:lnTo>
                  <a:lnTo>
                    <a:pt x="280" y="224"/>
                  </a:lnTo>
                  <a:lnTo>
                    <a:pt x="278" y="228"/>
                  </a:lnTo>
                  <a:lnTo>
                    <a:pt x="272" y="232"/>
                  </a:lnTo>
                  <a:lnTo>
                    <a:pt x="264" y="234"/>
                  </a:lnTo>
                  <a:lnTo>
                    <a:pt x="264" y="234"/>
                  </a:lnTo>
                  <a:lnTo>
                    <a:pt x="258" y="232"/>
                  </a:lnTo>
                  <a:lnTo>
                    <a:pt x="252" y="230"/>
                  </a:lnTo>
                  <a:lnTo>
                    <a:pt x="250" y="224"/>
                  </a:lnTo>
                  <a:lnTo>
                    <a:pt x="248" y="218"/>
                  </a:lnTo>
                  <a:lnTo>
                    <a:pt x="248" y="128"/>
                  </a:lnTo>
                  <a:lnTo>
                    <a:pt x="248" y="128"/>
                  </a:lnTo>
                  <a:lnTo>
                    <a:pt x="246" y="120"/>
                  </a:lnTo>
                  <a:lnTo>
                    <a:pt x="242" y="114"/>
                  </a:lnTo>
                  <a:lnTo>
                    <a:pt x="238" y="110"/>
                  </a:lnTo>
                  <a:lnTo>
                    <a:pt x="230" y="110"/>
                  </a:lnTo>
                  <a:lnTo>
                    <a:pt x="206" y="110"/>
                  </a:lnTo>
                  <a:lnTo>
                    <a:pt x="206" y="14"/>
                  </a:lnTo>
                  <a:lnTo>
                    <a:pt x="206" y="14"/>
                  </a:lnTo>
                  <a:lnTo>
                    <a:pt x="206" y="10"/>
                  </a:lnTo>
                  <a:lnTo>
                    <a:pt x="202" y="4"/>
                  </a:lnTo>
                  <a:lnTo>
                    <a:pt x="198" y="2"/>
                  </a:lnTo>
                  <a:lnTo>
                    <a:pt x="192" y="0"/>
                  </a:lnTo>
                  <a:lnTo>
                    <a:pt x="48" y="0"/>
                  </a:lnTo>
                  <a:lnTo>
                    <a:pt x="48" y="0"/>
                  </a:lnTo>
                  <a:lnTo>
                    <a:pt x="42" y="2"/>
                  </a:lnTo>
                  <a:lnTo>
                    <a:pt x="38" y="4"/>
                  </a:lnTo>
                  <a:lnTo>
                    <a:pt x="34" y="10"/>
                  </a:lnTo>
                  <a:lnTo>
                    <a:pt x="32" y="14"/>
                  </a:lnTo>
                  <a:lnTo>
                    <a:pt x="32" y="290"/>
                  </a:lnTo>
                  <a:lnTo>
                    <a:pt x="16" y="290"/>
                  </a:lnTo>
                  <a:lnTo>
                    <a:pt x="16" y="290"/>
                  </a:lnTo>
                  <a:lnTo>
                    <a:pt x="10" y="292"/>
                  </a:lnTo>
                  <a:lnTo>
                    <a:pt x="4" y="294"/>
                  </a:lnTo>
                  <a:lnTo>
                    <a:pt x="2" y="300"/>
                  </a:lnTo>
                  <a:lnTo>
                    <a:pt x="0" y="306"/>
                  </a:lnTo>
                  <a:lnTo>
                    <a:pt x="0" y="306"/>
                  </a:lnTo>
                  <a:lnTo>
                    <a:pt x="2" y="310"/>
                  </a:lnTo>
                  <a:lnTo>
                    <a:pt x="4" y="316"/>
                  </a:lnTo>
                  <a:lnTo>
                    <a:pt x="10" y="318"/>
                  </a:lnTo>
                  <a:lnTo>
                    <a:pt x="16" y="320"/>
                  </a:lnTo>
                  <a:lnTo>
                    <a:pt x="48" y="320"/>
                  </a:lnTo>
                  <a:lnTo>
                    <a:pt x="192" y="320"/>
                  </a:lnTo>
                  <a:lnTo>
                    <a:pt x="224" y="320"/>
                  </a:lnTo>
                  <a:lnTo>
                    <a:pt x="224" y="320"/>
                  </a:lnTo>
                  <a:lnTo>
                    <a:pt x="230" y="318"/>
                  </a:lnTo>
                  <a:lnTo>
                    <a:pt x="234" y="316"/>
                  </a:lnTo>
                  <a:lnTo>
                    <a:pt x="238" y="310"/>
                  </a:lnTo>
                  <a:lnTo>
                    <a:pt x="238" y="306"/>
                  </a:lnTo>
                  <a:lnTo>
                    <a:pt x="238" y="306"/>
                  </a:lnTo>
                  <a:lnTo>
                    <a:pt x="238" y="300"/>
                  </a:lnTo>
                  <a:lnTo>
                    <a:pt x="234" y="294"/>
                  </a:lnTo>
                  <a:lnTo>
                    <a:pt x="230" y="292"/>
                  </a:lnTo>
                  <a:lnTo>
                    <a:pt x="224" y="290"/>
                  </a:lnTo>
                  <a:lnTo>
                    <a:pt x="206" y="290"/>
                  </a:lnTo>
                  <a:lnTo>
                    <a:pt x="206" y="128"/>
                  </a:lnTo>
                  <a:lnTo>
                    <a:pt x="230" y="128"/>
                  </a:lnTo>
                  <a:lnTo>
                    <a:pt x="230" y="128"/>
                  </a:lnTo>
                  <a:lnTo>
                    <a:pt x="230" y="128"/>
                  </a:lnTo>
                  <a:lnTo>
                    <a:pt x="230" y="218"/>
                  </a:lnTo>
                  <a:lnTo>
                    <a:pt x="230" y="218"/>
                  </a:lnTo>
                  <a:lnTo>
                    <a:pt x="230" y="226"/>
                  </a:lnTo>
                  <a:lnTo>
                    <a:pt x="232" y="232"/>
                  </a:lnTo>
                  <a:lnTo>
                    <a:pt x="234" y="238"/>
                  </a:lnTo>
                  <a:lnTo>
                    <a:pt x="240" y="242"/>
                  </a:lnTo>
                  <a:lnTo>
                    <a:pt x="244" y="246"/>
                  </a:lnTo>
                  <a:lnTo>
                    <a:pt x="250" y="250"/>
                  </a:lnTo>
                  <a:lnTo>
                    <a:pt x="256" y="252"/>
                  </a:lnTo>
                  <a:lnTo>
                    <a:pt x="264" y="252"/>
                  </a:lnTo>
                  <a:lnTo>
                    <a:pt x="264" y="252"/>
                  </a:lnTo>
                  <a:lnTo>
                    <a:pt x="272" y="252"/>
                  </a:lnTo>
                  <a:lnTo>
                    <a:pt x="280" y="250"/>
                  </a:lnTo>
                  <a:lnTo>
                    <a:pt x="286" y="246"/>
                  </a:lnTo>
                  <a:lnTo>
                    <a:pt x="292" y="242"/>
                  </a:lnTo>
                  <a:lnTo>
                    <a:pt x="296" y="236"/>
                  </a:lnTo>
                  <a:lnTo>
                    <a:pt x="298" y="230"/>
                  </a:lnTo>
                  <a:lnTo>
                    <a:pt x="300" y="224"/>
                  </a:lnTo>
                  <a:lnTo>
                    <a:pt x="300" y="218"/>
                  </a:lnTo>
                  <a:lnTo>
                    <a:pt x="300" y="218"/>
                  </a:lnTo>
                  <a:lnTo>
                    <a:pt x="300" y="206"/>
                  </a:lnTo>
                  <a:lnTo>
                    <a:pt x="298" y="198"/>
                  </a:lnTo>
                  <a:lnTo>
                    <a:pt x="290" y="182"/>
                  </a:lnTo>
                  <a:lnTo>
                    <a:pt x="290" y="182"/>
                  </a:lnTo>
                  <a:close/>
                  <a:moveTo>
                    <a:pt x="172" y="126"/>
                  </a:moveTo>
                  <a:lnTo>
                    <a:pt x="172" y="126"/>
                  </a:lnTo>
                  <a:lnTo>
                    <a:pt x="172" y="130"/>
                  </a:lnTo>
                  <a:lnTo>
                    <a:pt x="170" y="134"/>
                  </a:lnTo>
                  <a:lnTo>
                    <a:pt x="166" y="136"/>
                  </a:lnTo>
                  <a:lnTo>
                    <a:pt x="162" y="136"/>
                  </a:lnTo>
                  <a:lnTo>
                    <a:pt x="76" y="136"/>
                  </a:lnTo>
                  <a:lnTo>
                    <a:pt x="76" y="136"/>
                  </a:lnTo>
                  <a:lnTo>
                    <a:pt x="72" y="136"/>
                  </a:lnTo>
                  <a:lnTo>
                    <a:pt x="70" y="134"/>
                  </a:lnTo>
                  <a:lnTo>
                    <a:pt x="68" y="130"/>
                  </a:lnTo>
                  <a:lnTo>
                    <a:pt x="66" y="126"/>
                  </a:lnTo>
                  <a:lnTo>
                    <a:pt x="66" y="44"/>
                  </a:lnTo>
                  <a:lnTo>
                    <a:pt x="66" y="44"/>
                  </a:lnTo>
                  <a:lnTo>
                    <a:pt x="68" y="40"/>
                  </a:lnTo>
                  <a:lnTo>
                    <a:pt x="70" y="38"/>
                  </a:lnTo>
                  <a:lnTo>
                    <a:pt x="72" y="36"/>
                  </a:lnTo>
                  <a:lnTo>
                    <a:pt x="76" y="34"/>
                  </a:lnTo>
                  <a:lnTo>
                    <a:pt x="162" y="34"/>
                  </a:lnTo>
                  <a:lnTo>
                    <a:pt x="162" y="34"/>
                  </a:lnTo>
                  <a:lnTo>
                    <a:pt x="166" y="36"/>
                  </a:lnTo>
                  <a:lnTo>
                    <a:pt x="170" y="38"/>
                  </a:lnTo>
                  <a:lnTo>
                    <a:pt x="172" y="40"/>
                  </a:lnTo>
                  <a:lnTo>
                    <a:pt x="172" y="44"/>
                  </a:lnTo>
                  <a:lnTo>
                    <a:pt x="172" y="12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46" name="Group 145">
            <a:extLst>
              <a:ext uri="{FF2B5EF4-FFF2-40B4-BE49-F238E27FC236}">
                <a16:creationId xmlns:a16="http://schemas.microsoft.com/office/drawing/2014/main" id="{E3DCB06C-3B2A-4E63-84DF-001E6775DB50}"/>
              </a:ext>
            </a:extLst>
          </p:cNvPr>
          <p:cNvGrpSpPr/>
          <p:nvPr/>
        </p:nvGrpSpPr>
        <p:grpSpPr>
          <a:xfrm>
            <a:off x="8643689" y="5031056"/>
            <a:ext cx="612000" cy="612000"/>
            <a:chOff x="7573215" y="5907019"/>
            <a:chExt cx="612000" cy="612000"/>
          </a:xfrm>
        </p:grpSpPr>
        <p:sp>
          <p:nvSpPr>
            <p:cNvPr id="147" name="Oval 146">
              <a:extLst>
                <a:ext uri="{FF2B5EF4-FFF2-40B4-BE49-F238E27FC236}">
                  <a16:creationId xmlns:a16="http://schemas.microsoft.com/office/drawing/2014/main" id="{038BE2BB-873E-4EC3-8D45-0359BDC177F9}"/>
                </a:ext>
              </a:extLst>
            </p:cNvPr>
            <p:cNvSpPr/>
            <p:nvPr/>
          </p:nvSpPr>
          <p:spPr bwMode="ltGray">
            <a:xfrm>
              <a:off x="7573215"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48" name="Freeform 4952">
              <a:extLst>
                <a:ext uri="{FF2B5EF4-FFF2-40B4-BE49-F238E27FC236}">
                  <a16:creationId xmlns:a16="http://schemas.microsoft.com/office/drawing/2014/main" id="{6F210715-24BF-4929-B673-3E51E1FC5628}"/>
                </a:ext>
              </a:extLst>
            </p:cNvPr>
            <p:cNvSpPr>
              <a:spLocks noEditPoints="1"/>
            </p:cNvSpPr>
            <p:nvPr/>
          </p:nvSpPr>
          <p:spPr bwMode="auto">
            <a:xfrm>
              <a:off x="7658720" y="6043707"/>
              <a:ext cx="440990" cy="331954"/>
            </a:xfrm>
            <a:custGeom>
              <a:avLst/>
              <a:gdLst>
                <a:gd name="T0" fmla="*/ 332 w 364"/>
                <a:gd name="T1" fmla="*/ 64 h 274"/>
                <a:gd name="T2" fmla="*/ 286 w 364"/>
                <a:gd name="T3" fmla="*/ 8 h 274"/>
                <a:gd name="T4" fmla="*/ 264 w 364"/>
                <a:gd name="T5" fmla="*/ 2 h 274"/>
                <a:gd name="T6" fmla="*/ 182 w 364"/>
                <a:gd name="T7" fmla="*/ 0 h 274"/>
                <a:gd name="T8" fmla="*/ 86 w 364"/>
                <a:gd name="T9" fmla="*/ 4 h 274"/>
                <a:gd name="T10" fmla="*/ 66 w 364"/>
                <a:gd name="T11" fmla="*/ 18 h 274"/>
                <a:gd name="T12" fmla="*/ 32 w 364"/>
                <a:gd name="T13" fmla="*/ 64 h 274"/>
                <a:gd name="T14" fmla="*/ 8 w 364"/>
                <a:gd name="T15" fmla="*/ 110 h 274"/>
                <a:gd name="T16" fmla="*/ 0 w 364"/>
                <a:gd name="T17" fmla="*/ 172 h 274"/>
                <a:gd name="T18" fmla="*/ 6 w 364"/>
                <a:gd name="T19" fmla="*/ 228 h 274"/>
                <a:gd name="T20" fmla="*/ 10 w 364"/>
                <a:gd name="T21" fmla="*/ 262 h 274"/>
                <a:gd name="T22" fmla="*/ 18 w 364"/>
                <a:gd name="T23" fmla="*/ 274 h 274"/>
                <a:gd name="T24" fmla="*/ 54 w 364"/>
                <a:gd name="T25" fmla="*/ 274 h 274"/>
                <a:gd name="T26" fmla="*/ 60 w 364"/>
                <a:gd name="T27" fmla="*/ 238 h 274"/>
                <a:gd name="T28" fmla="*/ 304 w 364"/>
                <a:gd name="T29" fmla="*/ 262 h 274"/>
                <a:gd name="T30" fmla="*/ 316 w 364"/>
                <a:gd name="T31" fmla="*/ 274 h 274"/>
                <a:gd name="T32" fmla="*/ 350 w 364"/>
                <a:gd name="T33" fmla="*/ 270 h 274"/>
                <a:gd name="T34" fmla="*/ 354 w 364"/>
                <a:gd name="T35" fmla="*/ 236 h 274"/>
                <a:gd name="T36" fmla="*/ 362 w 364"/>
                <a:gd name="T37" fmla="*/ 212 h 274"/>
                <a:gd name="T38" fmla="*/ 364 w 364"/>
                <a:gd name="T39" fmla="*/ 152 h 274"/>
                <a:gd name="T40" fmla="*/ 348 w 364"/>
                <a:gd name="T41" fmla="*/ 90 h 274"/>
                <a:gd name="T42" fmla="*/ 86 w 364"/>
                <a:gd name="T43" fmla="*/ 18 h 274"/>
                <a:gd name="T44" fmla="*/ 182 w 364"/>
                <a:gd name="T45" fmla="*/ 14 h 274"/>
                <a:gd name="T46" fmla="*/ 278 w 364"/>
                <a:gd name="T47" fmla="*/ 18 h 274"/>
                <a:gd name="T48" fmla="*/ 304 w 364"/>
                <a:gd name="T49" fmla="*/ 56 h 274"/>
                <a:gd name="T50" fmla="*/ 290 w 364"/>
                <a:gd name="T51" fmla="*/ 62 h 274"/>
                <a:gd name="T52" fmla="*/ 74 w 364"/>
                <a:gd name="T53" fmla="*/ 62 h 274"/>
                <a:gd name="T54" fmla="*/ 60 w 364"/>
                <a:gd name="T55" fmla="*/ 56 h 274"/>
                <a:gd name="T56" fmla="*/ 86 w 364"/>
                <a:gd name="T57" fmla="*/ 18 h 274"/>
                <a:gd name="T58" fmla="*/ 194 w 364"/>
                <a:gd name="T59" fmla="*/ 120 h 274"/>
                <a:gd name="T60" fmla="*/ 174 w 364"/>
                <a:gd name="T61" fmla="*/ 122 h 274"/>
                <a:gd name="T62" fmla="*/ 170 w 364"/>
                <a:gd name="T63" fmla="*/ 116 h 274"/>
                <a:gd name="T64" fmla="*/ 190 w 364"/>
                <a:gd name="T65" fmla="*/ 114 h 274"/>
                <a:gd name="T66" fmla="*/ 50 w 364"/>
                <a:gd name="T67" fmla="*/ 126 h 274"/>
                <a:gd name="T68" fmla="*/ 22 w 364"/>
                <a:gd name="T69" fmla="*/ 112 h 274"/>
                <a:gd name="T70" fmla="*/ 32 w 364"/>
                <a:gd name="T71" fmla="*/ 94 h 274"/>
                <a:gd name="T72" fmla="*/ 64 w 364"/>
                <a:gd name="T73" fmla="*/ 94 h 274"/>
                <a:gd name="T74" fmla="*/ 82 w 364"/>
                <a:gd name="T75" fmla="*/ 112 h 274"/>
                <a:gd name="T76" fmla="*/ 50 w 364"/>
                <a:gd name="T77" fmla="*/ 126 h 274"/>
                <a:gd name="T78" fmla="*/ 242 w 364"/>
                <a:gd name="T79" fmla="*/ 220 h 274"/>
                <a:gd name="T80" fmla="*/ 98 w 364"/>
                <a:gd name="T81" fmla="*/ 218 h 274"/>
                <a:gd name="T82" fmla="*/ 76 w 364"/>
                <a:gd name="T83" fmla="*/ 202 h 274"/>
                <a:gd name="T84" fmla="*/ 144 w 364"/>
                <a:gd name="T85" fmla="*/ 198 h 274"/>
                <a:gd name="T86" fmla="*/ 254 w 364"/>
                <a:gd name="T87" fmla="*/ 198 h 274"/>
                <a:gd name="T88" fmla="*/ 282 w 364"/>
                <a:gd name="T89" fmla="*/ 210 h 274"/>
                <a:gd name="T90" fmla="*/ 182 w 364"/>
                <a:gd name="T91" fmla="*/ 184 h 274"/>
                <a:gd name="T92" fmla="*/ 56 w 364"/>
                <a:gd name="T93" fmla="*/ 178 h 274"/>
                <a:gd name="T94" fmla="*/ 66 w 364"/>
                <a:gd name="T95" fmla="*/ 150 h 274"/>
                <a:gd name="T96" fmla="*/ 100 w 364"/>
                <a:gd name="T97" fmla="*/ 130 h 274"/>
                <a:gd name="T98" fmla="*/ 254 w 364"/>
                <a:gd name="T99" fmla="*/ 130 h 274"/>
                <a:gd name="T100" fmla="*/ 282 w 364"/>
                <a:gd name="T101" fmla="*/ 138 h 274"/>
                <a:gd name="T102" fmla="*/ 306 w 364"/>
                <a:gd name="T103" fmla="*/ 168 h 274"/>
                <a:gd name="T104" fmla="*/ 240 w 364"/>
                <a:gd name="T105" fmla="*/ 184 h 274"/>
                <a:gd name="T106" fmla="*/ 314 w 364"/>
                <a:gd name="T107" fmla="*/ 126 h 274"/>
                <a:gd name="T108" fmla="*/ 282 w 364"/>
                <a:gd name="T109" fmla="*/ 112 h 274"/>
                <a:gd name="T110" fmla="*/ 300 w 364"/>
                <a:gd name="T111" fmla="*/ 94 h 274"/>
                <a:gd name="T112" fmla="*/ 332 w 364"/>
                <a:gd name="T113" fmla="*/ 94 h 274"/>
                <a:gd name="T114" fmla="*/ 342 w 364"/>
                <a:gd name="T115" fmla="*/ 112 h 274"/>
                <a:gd name="T116" fmla="*/ 314 w 364"/>
                <a:gd name="T117" fmla="*/ 126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4" h="274">
                  <a:moveTo>
                    <a:pt x="338" y="72"/>
                  </a:moveTo>
                  <a:lnTo>
                    <a:pt x="338" y="72"/>
                  </a:lnTo>
                  <a:lnTo>
                    <a:pt x="332" y="64"/>
                  </a:lnTo>
                  <a:lnTo>
                    <a:pt x="332" y="64"/>
                  </a:lnTo>
                  <a:lnTo>
                    <a:pt x="322" y="46"/>
                  </a:lnTo>
                  <a:lnTo>
                    <a:pt x="310" y="32"/>
                  </a:lnTo>
                  <a:lnTo>
                    <a:pt x="298" y="18"/>
                  </a:lnTo>
                  <a:lnTo>
                    <a:pt x="286" y="8"/>
                  </a:lnTo>
                  <a:lnTo>
                    <a:pt x="286" y="8"/>
                  </a:lnTo>
                  <a:lnTo>
                    <a:pt x="284" y="6"/>
                  </a:lnTo>
                  <a:lnTo>
                    <a:pt x="278" y="4"/>
                  </a:lnTo>
                  <a:lnTo>
                    <a:pt x="264" y="2"/>
                  </a:lnTo>
                  <a:lnTo>
                    <a:pt x="238" y="2"/>
                  </a:lnTo>
                  <a:lnTo>
                    <a:pt x="238" y="2"/>
                  </a:lnTo>
                  <a:lnTo>
                    <a:pt x="182" y="0"/>
                  </a:lnTo>
                  <a:lnTo>
                    <a:pt x="182" y="0"/>
                  </a:lnTo>
                  <a:lnTo>
                    <a:pt x="126" y="2"/>
                  </a:lnTo>
                  <a:lnTo>
                    <a:pt x="126" y="2"/>
                  </a:lnTo>
                  <a:lnTo>
                    <a:pt x="100" y="2"/>
                  </a:lnTo>
                  <a:lnTo>
                    <a:pt x="86" y="4"/>
                  </a:lnTo>
                  <a:lnTo>
                    <a:pt x="80" y="6"/>
                  </a:lnTo>
                  <a:lnTo>
                    <a:pt x="78" y="8"/>
                  </a:lnTo>
                  <a:lnTo>
                    <a:pt x="78" y="8"/>
                  </a:lnTo>
                  <a:lnTo>
                    <a:pt x="66" y="18"/>
                  </a:lnTo>
                  <a:lnTo>
                    <a:pt x="54" y="32"/>
                  </a:lnTo>
                  <a:lnTo>
                    <a:pt x="42" y="46"/>
                  </a:lnTo>
                  <a:lnTo>
                    <a:pt x="32" y="64"/>
                  </a:lnTo>
                  <a:lnTo>
                    <a:pt x="32" y="64"/>
                  </a:lnTo>
                  <a:lnTo>
                    <a:pt x="26" y="72"/>
                  </a:lnTo>
                  <a:lnTo>
                    <a:pt x="26" y="72"/>
                  </a:lnTo>
                  <a:lnTo>
                    <a:pt x="16" y="90"/>
                  </a:lnTo>
                  <a:lnTo>
                    <a:pt x="8" y="110"/>
                  </a:lnTo>
                  <a:lnTo>
                    <a:pt x="4" y="122"/>
                  </a:lnTo>
                  <a:lnTo>
                    <a:pt x="2" y="136"/>
                  </a:lnTo>
                  <a:lnTo>
                    <a:pt x="0" y="152"/>
                  </a:lnTo>
                  <a:lnTo>
                    <a:pt x="0" y="172"/>
                  </a:lnTo>
                  <a:lnTo>
                    <a:pt x="0" y="172"/>
                  </a:lnTo>
                  <a:lnTo>
                    <a:pt x="0" y="196"/>
                  </a:lnTo>
                  <a:lnTo>
                    <a:pt x="2" y="212"/>
                  </a:lnTo>
                  <a:lnTo>
                    <a:pt x="6" y="228"/>
                  </a:lnTo>
                  <a:lnTo>
                    <a:pt x="6" y="228"/>
                  </a:lnTo>
                  <a:lnTo>
                    <a:pt x="8" y="232"/>
                  </a:lnTo>
                  <a:lnTo>
                    <a:pt x="10" y="236"/>
                  </a:lnTo>
                  <a:lnTo>
                    <a:pt x="10" y="262"/>
                  </a:lnTo>
                  <a:lnTo>
                    <a:pt x="10" y="262"/>
                  </a:lnTo>
                  <a:lnTo>
                    <a:pt x="12" y="268"/>
                  </a:lnTo>
                  <a:lnTo>
                    <a:pt x="14" y="270"/>
                  </a:lnTo>
                  <a:lnTo>
                    <a:pt x="18" y="274"/>
                  </a:lnTo>
                  <a:lnTo>
                    <a:pt x="22" y="274"/>
                  </a:lnTo>
                  <a:lnTo>
                    <a:pt x="48" y="274"/>
                  </a:lnTo>
                  <a:lnTo>
                    <a:pt x="48" y="274"/>
                  </a:lnTo>
                  <a:lnTo>
                    <a:pt x="54" y="274"/>
                  </a:lnTo>
                  <a:lnTo>
                    <a:pt x="58" y="270"/>
                  </a:lnTo>
                  <a:lnTo>
                    <a:pt x="60" y="268"/>
                  </a:lnTo>
                  <a:lnTo>
                    <a:pt x="60" y="262"/>
                  </a:lnTo>
                  <a:lnTo>
                    <a:pt x="60" y="238"/>
                  </a:lnTo>
                  <a:lnTo>
                    <a:pt x="182" y="236"/>
                  </a:lnTo>
                  <a:lnTo>
                    <a:pt x="304" y="238"/>
                  </a:lnTo>
                  <a:lnTo>
                    <a:pt x="304" y="262"/>
                  </a:lnTo>
                  <a:lnTo>
                    <a:pt x="304" y="262"/>
                  </a:lnTo>
                  <a:lnTo>
                    <a:pt x="304" y="268"/>
                  </a:lnTo>
                  <a:lnTo>
                    <a:pt x="306" y="270"/>
                  </a:lnTo>
                  <a:lnTo>
                    <a:pt x="310" y="274"/>
                  </a:lnTo>
                  <a:lnTo>
                    <a:pt x="316" y="274"/>
                  </a:lnTo>
                  <a:lnTo>
                    <a:pt x="342" y="274"/>
                  </a:lnTo>
                  <a:lnTo>
                    <a:pt x="342" y="274"/>
                  </a:lnTo>
                  <a:lnTo>
                    <a:pt x="346" y="274"/>
                  </a:lnTo>
                  <a:lnTo>
                    <a:pt x="350" y="270"/>
                  </a:lnTo>
                  <a:lnTo>
                    <a:pt x="352" y="268"/>
                  </a:lnTo>
                  <a:lnTo>
                    <a:pt x="354" y="262"/>
                  </a:lnTo>
                  <a:lnTo>
                    <a:pt x="354" y="236"/>
                  </a:lnTo>
                  <a:lnTo>
                    <a:pt x="354" y="236"/>
                  </a:lnTo>
                  <a:lnTo>
                    <a:pt x="356" y="232"/>
                  </a:lnTo>
                  <a:lnTo>
                    <a:pt x="360" y="228"/>
                  </a:lnTo>
                  <a:lnTo>
                    <a:pt x="360" y="228"/>
                  </a:lnTo>
                  <a:lnTo>
                    <a:pt x="362" y="212"/>
                  </a:lnTo>
                  <a:lnTo>
                    <a:pt x="364" y="196"/>
                  </a:lnTo>
                  <a:lnTo>
                    <a:pt x="364" y="172"/>
                  </a:lnTo>
                  <a:lnTo>
                    <a:pt x="364" y="172"/>
                  </a:lnTo>
                  <a:lnTo>
                    <a:pt x="364" y="152"/>
                  </a:lnTo>
                  <a:lnTo>
                    <a:pt x="362" y="136"/>
                  </a:lnTo>
                  <a:lnTo>
                    <a:pt x="360" y="122"/>
                  </a:lnTo>
                  <a:lnTo>
                    <a:pt x="356" y="110"/>
                  </a:lnTo>
                  <a:lnTo>
                    <a:pt x="348" y="90"/>
                  </a:lnTo>
                  <a:lnTo>
                    <a:pt x="338" y="72"/>
                  </a:lnTo>
                  <a:lnTo>
                    <a:pt x="338" y="72"/>
                  </a:lnTo>
                  <a:close/>
                  <a:moveTo>
                    <a:pt x="86" y="18"/>
                  </a:moveTo>
                  <a:lnTo>
                    <a:pt x="86" y="18"/>
                  </a:lnTo>
                  <a:lnTo>
                    <a:pt x="112" y="16"/>
                  </a:lnTo>
                  <a:lnTo>
                    <a:pt x="142" y="14"/>
                  </a:lnTo>
                  <a:lnTo>
                    <a:pt x="182" y="14"/>
                  </a:lnTo>
                  <a:lnTo>
                    <a:pt x="182" y="14"/>
                  </a:lnTo>
                  <a:lnTo>
                    <a:pt x="222" y="14"/>
                  </a:lnTo>
                  <a:lnTo>
                    <a:pt x="252" y="16"/>
                  </a:lnTo>
                  <a:lnTo>
                    <a:pt x="278" y="18"/>
                  </a:lnTo>
                  <a:lnTo>
                    <a:pt x="278" y="18"/>
                  </a:lnTo>
                  <a:lnTo>
                    <a:pt x="292" y="34"/>
                  </a:lnTo>
                  <a:lnTo>
                    <a:pt x="302" y="48"/>
                  </a:lnTo>
                  <a:lnTo>
                    <a:pt x="304" y="52"/>
                  </a:lnTo>
                  <a:lnTo>
                    <a:pt x="304" y="56"/>
                  </a:lnTo>
                  <a:lnTo>
                    <a:pt x="304" y="56"/>
                  </a:lnTo>
                  <a:lnTo>
                    <a:pt x="304" y="58"/>
                  </a:lnTo>
                  <a:lnTo>
                    <a:pt x="302" y="60"/>
                  </a:lnTo>
                  <a:lnTo>
                    <a:pt x="290" y="62"/>
                  </a:lnTo>
                  <a:lnTo>
                    <a:pt x="182" y="62"/>
                  </a:lnTo>
                  <a:lnTo>
                    <a:pt x="182" y="62"/>
                  </a:lnTo>
                  <a:lnTo>
                    <a:pt x="74" y="62"/>
                  </a:lnTo>
                  <a:lnTo>
                    <a:pt x="74" y="62"/>
                  </a:lnTo>
                  <a:lnTo>
                    <a:pt x="62" y="60"/>
                  </a:lnTo>
                  <a:lnTo>
                    <a:pt x="60" y="58"/>
                  </a:lnTo>
                  <a:lnTo>
                    <a:pt x="60" y="56"/>
                  </a:lnTo>
                  <a:lnTo>
                    <a:pt x="60" y="56"/>
                  </a:lnTo>
                  <a:lnTo>
                    <a:pt x="60" y="52"/>
                  </a:lnTo>
                  <a:lnTo>
                    <a:pt x="62" y="48"/>
                  </a:lnTo>
                  <a:lnTo>
                    <a:pt x="72" y="34"/>
                  </a:lnTo>
                  <a:lnTo>
                    <a:pt x="86" y="18"/>
                  </a:lnTo>
                  <a:lnTo>
                    <a:pt x="86" y="18"/>
                  </a:lnTo>
                  <a:close/>
                  <a:moveTo>
                    <a:pt x="194" y="118"/>
                  </a:moveTo>
                  <a:lnTo>
                    <a:pt x="194" y="118"/>
                  </a:lnTo>
                  <a:lnTo>
                    <a:pt x="194" y="120"/>
                  </a:lnTo>
                  <a:lnTo>
                    <a:pt x="190" y="122"/>
                  </a:lnTo>
                  <a:lnTo>
                    <a:pt x="182" y="124"/>
                  </a:lnTo>
                  <a:lnTo>
                    <a:pt x="182" y="124"/>
                  </a:lnTo>
                  <a:lnTo>
                    <a:pt x="174" y="122"/>
                  </a:lnTo>
                  <a:lnTo>
                    <a:pt x="170" y="120"/>
                  </a:lnTo>
                  <a:lnTo>
                    <a:pt x="170" y="118"/>
                  </a:lnTo>
                  <a:lnTo>
                    <a:pt x="170" y="118"/>
                  </a:lnTo>
                  <a:lnTo>
                    <a:pt x="170" y="116"/>
                  </a:lnTo>
                  <a:lnTo>
                    <a:pt x="174" y="114"/>
                  </a:lnTo>
                  <a:lnTo>
                    <a:pt x="182" y="112"/>
                  </a:lnTo>
                  <a:lnTo>
                    <a:pt x="182" y="112"/>
                  </a:lnTo>
                  <a:lnTo>
                    <a:pt x="190" y="114"/>
                  </a:lnTo>
                  <a:lnTo>
                    <a:pt x="194" y="116"/>
                  </a:lnTo>
                  <a:lnTo>
                    <a:pt x="194" y="118"/>
                  </a:lnTo>
                  <a:lnTo>
                    <a:pt x="194" y="118"/>
                  </a:lnTo>
                  <a:close/>
                  <a:moveTo>
                    <a:pt x="50" y="126"/>
                  </a:moveTo>
                  <a:lnTo>
                    <a:pt x="50" y="126"/>
                  </a:lnTo>
                  <a:lnTo>
                    <a:pt x="38" y="124"/>
                  </a:lnTo>
                  <a:lnTo>
                    <a:pt x="28" y="120"/>
                  </a:lnTo>
                  <a:lnTo>
                    <a:pt x="22" y="112"/>
                  </a:lnTo>
                  <a:lnTo>
                    <a:pt x="22" y="106"/>
                  </a:lnTo>
                  <a:lnTo>
                    <a:pt x="22" y="106"/>
                  </a:lnTo>
                  <a:lnTo>
                    <a:pt x="24" y="100"/>
                  </a:lnTo>
                  <a:lnTo>
                    <a:pt x="32" y="94"/>
                  </a:lnTo>
                  <a:lnTo>
                    <a:pt x="42" y="92"/>
                  </a:lnTo>
                  <a:lnTo>
                    <a:pt x="52" y="92"/>
                  </a:lnTo>
                  <a:lnTo>
                    <a:pt x="52" y="92"/>
                  </a:lnTo>
                  <a:lnTo>
                    <a:pt x="64" y="94"/>
                  </a:lnTo>
                  <a:lnTo>
                    <a:pt x="74" y="98"/>
                  </a:lnTo>
                  <a:lnTo>
                    <a:pt x="80" y="104"/>
                  </a:lnTo>
                  <a:lnTo>
                    <a:pt x="82" y="112"/>
                  </a:lnTo>
                  <a:lnTo>
                    <a:pt x="82" y="112"/>
                  </a:lnTo>
                  <a:lnTo>
                    <a:pt x="78" y="118"/>
                  </a:lnTo>
                  <a:lnTo>
                    <a:pt x="72" y="124"/>
                  </a:lnTo>
                  <a:lnTo>
                    <a:pt x="62" y="126"/>
                  </a:lnTo>
                  <a:lnTo>
                    <a:pt x="50" y="126"/>
                  </a:lnTo>
                  <a:lnTo>
                    <a:pt x="50" y="126"/>
                  </a:lnTo>
                  <a:close/>
                  <a:moveTo>
                    <a:pt x="268" y="218"/>
                  </a:moveTo>
                  <a:lnTo>
                    <a:pt x="268" y="218"/>
                  </a:lnTo>
                  <a:lnTo>
                    <a:pt x="242" y="220"/>
                  </a:lnTo>
                  <a:lnTo>
                    <a:pt x="182" y="222"/>
                  </a:lnTo>
                  <a:lnTo>
                    <a:pt x="182" y="222"/>
                  </a:lnTo>
                  <a:lnTo>
                    <a:pt x="122" y="220"/>
                  </a:lnTo>
                  <a:lnTo>
                    <a:pt x="98" y="218"/>
                  </a:lnTo>
                  <a:lnTo>
                    <a:pt x="98" y="218"/>
                  </a:lnTo>
                  <a:lnTo>
                    <a:pt x="88" y="216"/>
                  </a:lnTo>
                  <a:lnTo>
                    <a:pt x="82" y="210"/>
                  </a:lnTo>
                  <a:lnTo>
                    <a:pt x="76" y="202"/>
                  </a:lnTo>
                  <a:lnTo>
                    <a:pt x="74" y="194"/>
                  </a:lnTo>
                  <a:lnTo>
                    <a:pt x="74" y="194"/>
                  </a:lnTo>
                  <a:lnTo>
                    <a:pt x="110" y="198"/>
                  </a:lnTo>
                  <a:lnTo>
                    <a:pt x="144" y="198"/>
                  </a:lnTo>
                  <a:lnTo>
                    <a:pt x="182" y="200"/>
                  </a:lnTo>
                  <a:lnTo>
                    <a:pt x="182" y="200"/>
                  </a:lnTo>
                  <a:lnTo>
                    <a:pt x="220" y="198"/>
                  </a:lnTo>
                  <a:lnTo>
                    <a:pt x="254" y="198"/>
                  </a:lnTo>
                  <a:lnTo>
                    <a:pt x="290" y="194"/>
                  </a:lnTo>
                  <a:lnTo>
                    <a:pt x="290" y="194"/>
                  </a:lnTo>
                  <a:lnTo>
                    <a:pt x="288" y="202"/>
                  </a:lnTo>
                  <a:lnTo>
                    <a:pt x="282" y="210"/>
                  </a:lnTo>
                  <a:lnTo>
                    <a:pt x="276" y="216"/>
                  </a:lnTo>
                  <a:lnTo>
                    <a:pt x="268" y="218"/>
                  </a:lnTo>
                  <a:lnTo>
                    <a:pt x="268" y="218"/>
                  </a:lnTo>
                  <a:close/>
                  <a:moveTo>
                    <a:pt x="182" y="184"/>
                  </a:moveTo>
                  <a:lnTo>
                    <a:pt x="182" y="184"/>
                  </a:lnTo>
                  <a:lnTo>
                    <a:pt x="124" y="184"/>
                  </a:lnTo>
                  <a:lnTo>
                    <a:pt x="86" y="180"/>
                  </a:lnTo>
                  <a:lnTo>
                    <a:pt x="56" y="178"/>
                  </a:lnTo>
                  <a:lnTo>
                    <a:pt x="56" y="178"/>
                  </a:lnTo>
                  <a:lnTo>
                    <a:pt x="58" y="168"/>
                  </a:lnTo>
                  <a:lnTo>
                    <a:pt x="62" y="160"/>
                  </a:lnTo>
                  <a:lnTo>
                    <a:pt x="66" y="150"/>
                  </a:lnTo>
                  <a:lnTo>
                    <a:pt x="74" y="144"/>
                  </a:lnTo>
                  <a:lnTo>
                    <a:pt x="82" y="138"/>
                  </a:lnTo>
                  <a:lnTo>
                    <a:pt x="90" y="134"/>
                  </a:lnTo>
                  <a:lnTo>
                    <a:pt x="100" y="130"/>
                  </a:lnTo>
                  <a:lnTo>
                    <a:pt x="110" y="130"/>
                  </a:lnTo>
                  <a:lnTo>
                    <a:pt x="126" y="130"/>
                  </a:lnTo>
                  <a:lnTo>
                    <a:pt x="238" y="130"/>
                  </a:lnTo>
                  <a:lnTo>
                    <a:pt x="254" y="130"/>
                  </a:lnTo>
                  <a:lnTo>
                    <a:pt x="254" y="130"/>
                  </a:lnTo>
                  <a:lnTo>
                    <a:pt x="264" y="130"/>
                  </a:lnTo>
                  <a:lnTo>
                    <a:pt x="274" y="134"/>
                  </a:lnTo>
                  <a:lnTo>
                    <a:pt x="282" y="138"/>
                  </a:lnTo>
                  <a:lnTo>
                    <a:pt x="290" y="144"/>
                  </a:lnTo>
                  <a:lnTo>
                    <a:pt x="298" y="150"/>
                  </a:lnTo>
                  <a:lnTo>
                    <a:pt x="302" y="160"/>
                  </a:lnTo>
                  <a:lnTo>
                    <a:pt x="306" y="168"/>
                  </a:lnTo>
                  <a:lnTo>
                    <a:pt x="308" y="178"/>
                  </a:lnTo>
                  <a:lnTo>
                    <a:pt x="308" y="178"/>
                  </a:lnTo>
                  <a:lnTo>
                    <a:pt x="278" y="180"/>
                  </a:lnTo>
                  <a:lnTo>
                    <a:pt x="240" y="184"/>
                  </a:lnTo>
                  <a:lnTo>
                    <a:pt x="182" y="184"/>
                  </a:lnTo>
                  <a:lnTo>
                    <a:pt x="182" y="184"/>
                  </a:lnTo>
                  <a:close/>
                  <a:moveTo>
                    <a:pt x="314" y="126"/>
                  </a:moveTo>
                  <a:lnTo>
                    <a:pt x="314" y="126"/>
                  </a:lnTo>
                  <a:lnTo>
                    <a:pt x="302" y="126"/>
                  </a:lnTo>
                  <a:lnTo>
                    <a:pt x="292" y="124"/>
                  </a:lnTo>
                  <a:lnTo>
                    <a:pt x="286" y="118"/>
                  </a:lnTo>
                  <a:lnTo>
                    <a:pt x="282" y="112"/>
                  </a:lnTo>
                  <a:lnTo>
                    <a:pt x="282" y="112"/>
                  </a:lnTo>
                  <a:lnTo>
                    <a:pt x="284" y="104"/>
                  </a:lnTo>
                  <a:lnTo>
                    <a:pt x="290" y="98"/>
                  </a:lnTo>
                  <a:lnTo>
                    <a:pt x="300" y="94"/>
                  </a:lnTo>
                  <a:lnTo>
                    <a:pt x="312" y="92"/>
                  </a:lnTo>
                  <a:lnTo>
                    <a:pt x="312" y="92"/>
                  </a:lnTo>
                  <a:lnTo>
                    <a:pt x="322" y="92"/>
                  </a:lnTo>
                  <a:lnTo>
                    <a:pt x="332" y="94"/>
                  </a:lnTo>
                  <a:lnTo>
                    <a:pt x="340" y="100"/>
                  </a:lnTo>
                  <a:lnTo>
                    <a:pt x="342" y="106"/>
                  </a:lnTo>
                  <a:lnTo>
                    <a:pt x="342" y="106"/>
                  </a:lnTo>
                  <a:lnTo>
                    <a:pt x="342" y="112"/>
                  </a:lnTo>
                  <a:lnTo>
                    <a:pt x="336" y="120"/>
                  </a:lnTo>
                  <a:lnTo>
                    <a:pt x="326" y="124"/>
                  </a:lnTo>
                  <a:lnTo>
                    <a:pt x="314" y="126"/>
                  </a:lnTo>
                  <a:lnTo>
                    <a:pt x="314" y="12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49" name="Group 148">
            <a:extLst>
              <a:ext uri="{FF2B5EF4-FFF2-40B4-BE49-F238E27FC236}">
                <a16:creationId xmlns:a16="http://schemas.microsoft.com/office/drawing/2014/main" id="{74C7C715-8735-4344-8990-DB601EC4CC2E}"/>
              </a:ext>
            </a:extLst>
          </p:cNvPr>
          <p:cNvGrpSpPr/>
          <p:nvPr/>
        </p:nvGrpSpPr>
        <p:grpSpPr>
          <a:xfrm>
            <a:off x="6036846" y="3814747"/>
            <a:ext cx="612000" cy="612000"/>
            <a:chOff x="4966372" y="4690710"/>
            <a:chExt cx="612000" cy="612000"/>
          </a:xfrm>
        </p:grpSpPr>
        <p:sp>
          <p:nvSpPr>
            <p:cNvPr id="150" name="Oval 149">
              <a:extLst>
                <a:ext uri="{FF2B5EF4-FFF2-40B4-BE49-F238E27FC236}">
                  <a16:creationId xmlns:a16="http://schemas.microsoft.com/office/drawing/2014/main" id="{CA8B9AF5-F22F-4E9C-888D-AF7EB2DBEADB}"/>
                </a:ext>
              </a:extLst>
            </p:cNvPr>
            <p:cNvSpPr/>
            <p:nvPr/>
          </p:nvSpPr>
          <p:spPr bwMode="ltGray">
            <a:xfrm>
              <a:off x="4966372"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51" name="Freeform 4968">
              <a:extLst>
                <a:ext uri="{FF2B5EF4-FFF2-40B4-BE49-F238E27FC236}">
                  <a16:creationId xmlns:a16="http://schemas.microsoft.com/office/drawing/2014/main" id="{716B75F3-AB53-4DEB-8205-AD2EC0A2C97F}"/>
                </a:ext>
              </a:extLst>
            </p:cNvPr>
            <p:cNvSpPr>
              <a:spLocks noEditPoints="1"/>
            </p:cNvSpPr>
            <p:nvPr/>
          </p:nvSpPr>
          <p:spPr bwMode="auto">
            <a:xfrm>
              <a:off x="5032493" y="4754408"/>
              <a:ext cx="479759" cy="484605"/>
            </a:xfrm>
            <a:custGeom>
              <a:avLst/>
              <a:gdLst>
                <a:gd name="T0" fmla="*/ 354 w 396"/>
                <a:gd name="T1" fmla="*/ 78 h 400"/>
                <a:gd name="T2" fmla="*/ 198 w 396"/>
                <a:gd name="T3" fmla="*/ 0 h 400"/>
                <a:gd name="T4" fmla="*/ 130 w 396"/>
                <a:gd name="T5" fmla="*/ 14 h 400"/>
                <a:gd name="T6" fmla="*/ 38 w 396"/>
                <a:gd name="T7" fmla="*/ 82 h 400"/>
                <a:gd name="T8" fmla="*/ 0 w 396"/>
                <a:gd name="T9" fmla="*/ 190 h 400"/>
                <a:gd name="T10" fmla="*/ 18 w 396"/>
                <a:gd name="T11" fmla="*/ 282 h 400"/>
                <a:gd name="T12" fmla="*/ 110 w 396"/>
                <a:gd name="T13" fmla="*/ 378 h 400"/>
                <a:gd name="T14" fmla="*/ 232 w 396"/>
                <a:gd name="T15" fmla="*/ 396 h 400"/>
                <a:gd name="T16" fmla="*/ 318 w 396"/>
                <a:gd name="T17" fmla="*/ 358 h 400"/>
                <a:gd name="T18" fmla="*/ 386 w 396"/>
                <a:gd name="T19" fmla="*/ 266 h 400"/>
                <a:gd name="T20" fmla="*/ 390 w 396"/>
                <a:gd name="T21" fmla="*/ 152 h 400"/>
                <a:gd name="T22" fmla="*/ 360 w 396"/>
                <a:gd name="T23" fmla="*/ 232 h 400"/>
                <a:gd name="T24" fmla="*/ 322 w 396"/>
                <a:gd name="T25" fmla="*/ 174 h 400"/>
                <a:gd name="T26" fmla="*/ 354 w 396"/>
                <a:gd name="T27" fmla="*/ 120 h 400"/>
                <a:gd name="T28" fmla="*/ 372 w 396"/>
                <a:gd name="T29" fmla="*/ 198 h 400"/>
                <a:gd name="T30" fmla="*/ 326 w 396"/>
                <a:gd name="T31" fmla="*/ 122 h 400"/>
                <a:gd name="T32" fmla="*/ 248 w 396"/>
                <a:gd name="T33" fmla="*/ 110 h 400"/>
                <a:gd name="T34" fmla="*/ 248 w 396"/>
                <a:gd name="T35" fmla="*/ 42 h 400"/>
                <a:gd name="T36" fmla="*/ 318 w 396"/>
                <a:gd name="T37" fmla="*/ 74 h 400"/>
                <a:gd name="T38" fmla="*/ 24 w 396"/>
                <a:gd name="T39" fmla="*/ 180 h 400"/>
                <a:gd name="T40" fmla="*/ 58 w 396"/>
                <a:gd name="T41" fmla="*/ 94 h 400"/>
                <a:gd name="T42" fmla="*/ 88 w 396"/>
                <a:gd name="T43" fmla="*/ 158 h 400"/>
                <a:gd name="T44" fmla="*/ 66 w 396"/>
                <a:gd name="T45" fmla="*/ 234 h 400"/>
                <a:gd name="T46" fmla="*/ 28 w 396"/>
                <a:gd name="T47" fmla="*/ 190 h 400"/>
                <a:gd name="T48" fmla="*/ 176 w 396"/>
                <a:gd name="T49" fmla="*/ 58 h 400"/>
                <a:gd name="T50" fmla="*/ 230 w 396"/>
                <a:gd name="T51" fmla="*/ 44 h 400"/>
                <a:gd name="T52" fmla="*/ 240 w 396"/>
                <a:gd name="T53" fmla="*/ 92 h 400"/>
                <a:gd name="T54" fmla="*/ 186 w 396"/>
                <a:gd name="T55" fmla="*/ 28 h 400"/>
                <a:gd name="T56" fmla="*/ 162 w 396"/>
                <a:gd name="T57" fmla="*/ 28 h 400"/>
                <a:gd name="T58" fmla="*/ 118 w 396"/>
                <a:gd name="T59" fmla="*/ 62 h 400"/>
                <a:gd name="T60" fmla="*/ 130 w 396"/>
                <a:gd name="T61" fmla="*/ 38 h 400"/>
                <a:gd name="T62" fmla="*/ 124 w 396"/>
                <a:gd name="T63" fmla="*/ 78 h 400"/>
                <a:gd name="T64" fmla="*/ 96 w 396"/>
                <a:gd name="T65" fmla="*/ 144 h 400"/>
                <a:gd name="T66" fmla="*/ 74 w 396"/>
                <a:gd name="T67" fmla="*/ 100 h 400"/>
                <a:gd name="T68" fmla="*/ 170 w 396"/>
                <a:gd name="T69" fmla="*/ 148 h 400"/>
                <a:gd name="T70" fmla="*/ 136 w 396"/>
                <a:gd name="T71" fmla="*/ 122 h 400"/>
                <a:gd name="T72" fmla="*/ 226 w 396"/>
                <a:gd name="T73" fmla="*/ 116 h 400"/>
                <a:gd name="T74" fmla="*/ 166 w 396"/>
                <a:gd name="T75" fmla="*/ 88 h 400"/>
                <a:gd name="T76" fmla="*/ 176 w 396"/>
                <a:gd name="T77" fmla="*/ 164 h 400"/>
                <a:gd name="T78" fmla="*/ 140 w 396"/>
                <a:gd name="T79" fmla="*/ 252 h 400"/>
                <a:gd name="T80" fmla="*/ 108 w 396"/>
                <a:gd name="T81" fmla="*/ 208 h 400"/>
                <a:gd name="T82" fmla="*/ 218 w 396"/>
                <a:gd name="T83" fmla="*/ 144 h 400"/>
                <a:gd name="T84" fmla="*/ 302 w 396"/>
                <a:gd name="T85" fmla="*/ 176 h 400"/>
                <a:gd name="T86" fmla="*/ 86 w 396"/>
                <a:gd name="T87" fmla="*/ 260 h 400"/>
                <a:gd name="T88" fmla="*/ 94 w 396"/>
                <a:gd name="T89" fmla="*/ 328 h 400"/>
                <a:gd name="T90" fmla="*/ 40 w 396"/>
                <a:gd name="T91" fmla="*/ 274 h 400"/>
                <a:gd name="T92" fmla="*/ 36 w 396"/>
                <a:gd name="T93" fmla="*/ 232 h 400"/>
                <a:gd name="T94" fmla="*/ 112 w 396"/>
                <a:gd name="T95" fmla="*/ 332 h 400"/>
                <a:gd name="T96" fmla="*/ 120 w 396"/>
                <a:gd name="T97" fmla="*/ 266 h 400"/>
                <a:gd name="T98" fmla="*/ 192 w 396"/>
                <a:gd name="T99" fmla="*/ 260 h 400"/>
                <a:gd name="T100" fmla="*/ 142 w 396"/>
                <a:gd name="T101" fmla="*/ 338 h 400"/>
                <a:gd name="T102" fmla="*/ 224 w 396"/>
                <a:gd name="T103" fmla="*/ 250 h 400"/>
                <a:gd name="T104" fmla="*/ 324 w 396"/>
                <a:gd name="T105" fmla="*/ 202 h 400"/>
                <a:gd name="T106" fmla="*/ 350 w 396"/>
                <a:gd name="T107" fmla="*/ 248 h 400"/>
                <a:gd name="T108" fmla="*/ 128 w 396"/>
                <a:gd name="T109" fmla="*/ 360 h 400"/>
                <a:gd name="T110" fmla="*/ 160 w 396"/>
                <a:gd name="T111" fmla="*/ 356 h 400"/>
                <a:gd name="T112" fmla="*/ 250 w 396"/>
                <a:gd name="T113" fmla="*/ 366 h 400"/>
                <a:gd name="T114" fmla="*/ 144 w 396"/>
                <a:gd name="T115" fmla="*/ 366 h 400"/>
                <a:gd name="T116" fmla="*/ 284 w 396"/>
                <a:gd name="T117" fmla="*/ 322 h 400"/>
                <a:gd name="T118" fmla="*/ 354 w 396"/>
                <a:gd name="T119" fmla="*/ 278 h 400"/>
                <a:gd name="T120" fmla="*/ 294 w 396"/>
                <a:gd name="T121" fmla="*/ 346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96" h="400">
                  <a:moveTo>
                    <a:pt x="384" y="132"/>
                  </a:moveTo>
                  <a:lnTo>
                    <a:pt x="384" y="132"/>
                  </a:lnTo>
                  <a:lnTo>
                    <a:pt x="378" y="118"/>
                  </a:lnTo>
                  <a:lnTo>
                    <a:pt x="372" y="104"/>
                  </a:lnTo>
                  <a:lnTo>
                    <a:pt x="364" y="90"/>
                  </a:lnTo>
                  <a:lnTo>
                    <a:pt x="354" y="78"/>
                  </a:lnTo>
                  <a:lnTo>
                    <a:pt x="334" y="54"/>
                  </a:lnTo>
                  <a:lnTo>
                    <a:pt x="310" y="36"/>
                  </a:lnTo>
                  <a:lnTo>
                    <a:pt x="286" y="22"/>
                  </a:lnTo>
                  <a:lnTo>
                    <a:pt x="258" y="10"/>
                  </a:lnTo>
                  <a:lnTo>
                    <a:pt x="228" y="4"/>
                  </a:lnTo>
                  <a:lnTo>
                    <a:pt x="198" y="0"/>
                  </a:lnTo>
                  <a:lnTo>
                    <a:pt x="198" y="0"/>
                  </a:lnTo>
                  <a:lnTo>
                    <a:pt x="180" y="2"/>
                  </a:lnTo>
                  <a:lnTo>
                    <a:pt x="164" y="4"/>
                  </a:lnTo>
                  <a:lnTo>
                    <a:pt x="146" y="8"/>
                  </a:lnTo>
                  <a:lnTo>
                    <a:pt x="130" y="14"/>
                  </a:lnTo>
                  <a:lnTo>
                    <a:pt x="130" y="14"/>
                  </a:lnTo>
                  <a:lnTo>
                    <a:pt x="112" y="20"/>
                  </a:lnTo>
                  <a:lnTo>
                    <a:pt x="94" y="30"/>
                  </a:lnTo>
                  <a:lnTo>
                    <a:pt x="78" y="42"/>
                  </a:lnTo>
                  <a:lnTo>
                    <a:pt x="62" y="54"/>
                  </a:lnTo>
                  <a:lnTo>
                    <a:pt x="50" y="68"/>
                  </a:lnTo>
                  <a:lnTo>
                    <a:pt x="38" y="82"/>
                  </a:lnTo>
                  <a:lnTo>
                    <a:pt x="26" y="98"/>
                  </a:lnTo>
                  <a:lnTo>
                    <a:pt x="18" y="116"/>
                  </a:lnTo>
                  <a:lnTo>
                    <a:pt x="10" y="134"/>
                  </a:lnTo>
                  <a:lnTo>
                    <a:pt x="4" y="152"/>
                  </a:lnTo>
                  <a:lnTo>
                    <a:pt x="2" y="170"/>
                  </a:lnTo>
                  <a:lnTo>
                    <a:pt x="0" y="190"/>
                  </a:lnTo>
                  <a:lnTo>
                    <a:pt x="0" y="210"/>
                  </a:lnTo>
                  <a:lnTo>
                    <a:pt x="2" y="228"/>
                  </a:lnTo>
                  <a:lnTo>
                    <a:pt x="6" y="248"/>
                  </a:lnTo>
                  <a:lnTo>
                    <a:pt x="12" y="268"/>
                  </a:lnTo>
                  <a:lnTo>
                    <a:pt x="12" y="268"/>
                  </a:lnTo>
                  <a:lnTo>
                    <a:pt x="18" y="282"/>
                  </a:lnTo>
                  <a:lnTo>
                    <a:pt x="24" y="296"/>
                  </a:lnTo>
                  <a:lnTo>
                    <a:pt x="32" y="310"/>
                  </a:lnTo>
                  <a:lnTo>
                    <a:pt x="42" y="322"/>
                  </a:lnTo>
                  <a:lnTo>
                    <a:pt x="62" y="344"/>
                  </a:lnTo>
                  <a:lnTo>
                    <a:pt x="86" y="364"/>
                  </a:lnTo>
                  <a:lnTo>
                    <a:pt x="110" y="378"/>
                  </a:lnTo>
                  <a:lnTo>
                    <a:pt x="138" y="390"/>
                  </a:lnTo>
                  <a:lnTo>
                    <a:pt x="168" y="396"/>
                  </a:lnTo>
                  <a:lnTo>
                    <a:pt x="198" y="400"/>
                  </a:lnTo>
                  <a:lnTo>
                    <a:pt x="198" y="400"/>
                  </a:lnTo>
                  <a:lnTo>
                    <a:pt x="216" y="398"/>
                  </a:lnTo>
                  <a:lnTo>
                    <a:pt x="232" y="396"/>
                  </a:lnTo>
                  <a:lnTo>
                    <a:pt x="250" y="392"/>
                  </a:lnTo>
                  <a:lnTo>
                    <a:pt x="266" y="386"/>
                  </a:lnTo>
                  <a:lnTo>
                    <a:pt x="266" y="386"/>
                  </a:lnTo>
                  <a:lnTo>
                    <a:pt x="284" y="380"/>
                  </a:lnTo>
                  <a:lnTo>
                    <a:pt x="302" y="370"/>
                  </a:lnTo>
                  <a:lnTo>
                    <a:pt x="318" y="358"/>
                  </a:lnTo>
                  <a:lnTo>
                    <a:pt x="334" y="346"/>
                  </a:lnTo>
                  <a:lnTo>
                    <a:pt x="346" y="332"/>
                  </a:lnTo>
                  <a:lnTo>
                    <a:pt x="358" y="316"/>
                  </a:lnTo>
                  <a:lnTo>
                    <a:pt x="370" y="300"/>
                  </a:lnTo>
                  <a:lnTo>
                    <a:pt x="378" y="284"/>
                  </a:lnTo>
                  <a:lnTo>
                    <a:pt x="386" y="266"/>
                  </a:lnTo>
                  <a:lnTo>
                    <a:pt x="392" y="248"/>
                  </a:lnTo>
                  <a:lnTo>
                    <a:pt x="394" y="230"/>
                  </a:lnTo>
                  <a:lnTo>
                    <a:pt x="396" y="210"/>
                  </a:lnTo>
                  <a:lnTo>
                    <a:pt x="396" y="190"/>
                  </a:lnTo>
                  <a:lnTo>
                    <a:pt x="394" y="170"/>
                  </a:lnTo>
                  <a:lnTo>
                    <a:pt x="390" y="152"/>
                  </a:lnTo>
                  <a:lnTo>
                    <a:pt x="384" y="132"/>
                  </a:lnTo>
                  <a:lnTo>
                    <a:pt x="384" y="132"/>
                  </a:lnTo>
                  <a:close/>
                  <a:moveTo>
                    <a:pt x="372" y="198"/>
                  </a:moveTo>
                  <a:lnTo>
                    <a:pt x="372" y="198"/>
                  </a:lnTo>
                  <a:lnTo>
                    <a:pt x="368" y="214"/>
                  </a:lnTo>
                  <a:lnTo>
                    <a:pt x="360" y="232"/>
                  </a:lnTo>
                  <a:lnTo>
                    <a:pt x="360" y="232"/>
                  </a:lnTo>
                  <a:lnTo>
                    <a:pt x="352" y="216"/>
                  </a:lnTo>
                  <a:lnTo>
                    <a:pt x="344" y="202"/>
                  </a:lnTo>
                  <a:lnTo>
                    <a:pt x="334" y="188"/>
                  </a:lnTo>
                  <a:lnTo>
                    <a:pt x="322" y="174"/>
                  </a:lnTo>
                  <a:lnTo>
                    <a:pt x="322" y="174"/>
                  </a:lnTo>
                  <a:lnTo>
                    <a:pt x="332" y="156"/>
                  </a:lnTo>
                  <a:lnTo>
                    <a:pt x="338" y="138"/>
                  </a:lnTo>
                  <a:lnTo>
                    <a:pt x="342" y="120"/>
                  </a:lnTo>
                  <a:lnTo>
                    <a:pt x="344" y="102"/>
                  </a:lnTo>
                  <a:lnTo>
                    <a:pt x="344" y="102"/>
                  </a:lnTo>
                  <a:lnTo>
                    <a:pt x="354" y="120"/>
                  </a:lnTo>
                  <a:lnTo>
                    <a:pt x="362" y="140"/>
                  </a:lnTo>
                  <a:lnTo>
                    <a:pt x="362" y="140"/>
                  </a:lnTo>
                  <a:lnTo>
                    <a:pt x="366" y="154"/>
                  </a:lnTo>
                  <a:lnTo>
                    <a:pt x="370" y="168"/>
                  </a:lnTo>
                  <a:lnTo>
                    <a:pt x="372" y="198"/>
                  </a:lnTo>
                  <a:lnTo>
                    <a:pt x="372" y="198"/>
                  </a:lnTo>
                  <a:close/>
                  <a:moveTo>
                    <a:pt x="322" y="82"/>
                  </a:moveTo>
                  <a:lnTo>
                    <a:pt x="322" y="82"/>
                  </a:lnTo>
                  <a:lnTo>
                    <a:pt x="326" y="92"/>
                  </a:lnTo>
                  <a:lnTo>
                    <a:pt x="328" y="102"/>
                  </a:lnTo>
                  <a:lnTo>
                    <a:pt x="328" y="112"/>
                  </a:lnTo>
                  <a:lnTo>
                    <a:pt x="326" y="122"/>
                  </a:lnTo>
                  <a:lnTo>
                    <a:pt x="320" y="142"/>
                  </a:lnTo>
                  <a:lnTo>
                    <a:pt x="312" y="162"/>
                  </a:lnTo>
                  <a:lnTo>
                    <a:pt x="312" y="162"/>
                  </a:lnTo>
                  <a:lnTo>
                    <a:pt x="282" y="136"/>
                  </a:lnTo>
                  <a:lnTo>
                    <a:pt x="248" y="110"/>
                  </a:lnTo>
                  <a:lnTo>
                    <a:pt x="248" y="110"/>
                  </a:lnTo>
                  <a:lnTo>
                    <a:pt x="256" y="96"/>
                  </a:lnTo>
                  <a:lnTo>
                    <a:pt x="258" y="82"/>
                  </a:lnTo>
                  <a:lnTo>
                    <a:pt x="258" y="68"/>
                  </a:lnTo>
                  <a:lnTo>
                    <a:pt x="256" y="56"/>
                  </a:lnTo>
                  <a:lnTo>
                    <a:pt x="256" y="56"/>
                  </a:lnTo>
                  <a:lnTo>
                    <a:pt x="248" y="42"/>
                  </a:lnTo>
                  <a:lnTo>
                    <a:pt x="236" y="30"/>
                  </a:lnTo>
                  <a:lnTo>
                    <a:pt x="236" y="30"/>
                  </a:lnTo>
                  <a:lnTo>
                    <a:pt x="260" y="36"/>
                  </a:lnTo>
                  <a:lnTo>
                    <a:pt x="280" y="46"/>
                  </a:lnTo>
                  <a:lnTo>
                    <a:pt x="300" y="58"/>
                  </a:lnTo>
                  <a:lnTo>
                    <a:pt x="318" y="74"/>
                  </a:lnTo>
                  <a:lnTo>
                    <a:pt x="318" y="74"/>
                  </a:lnTo>
                  <a:lnTo>
                    <a:pt x="322" y="82"/>
                  </a:lnTo>
                  <a:lnTo>
                    <a:pt x="322" y="82"/>
                  </a:lnTo>
                  <a:close/>
                  <a:moveTo>
                    <a:pt x="28" y="190"/>
                  </a:moveTo>
                  <a:lnTo>
                    <a:pt x="28" y="190"/>
                  </a:lnTo>
                  <a:lnTo>
                    <a:pt x="24" y="180"/>
                  </a:lnTo>
                  <a:lnTo>
                    <a:pt x="24" y="180"/>
                  </a:lnTo>
                  <a:lnTo>
                    <a:pt x="28" y="156"/>
                  </a:lnTo>
                  <a:lnTo>
                    <a:pt x="36" y="134"/>
                  </a:lnTo>
                  <a:lnTo>
                    <a:pt x="46" y="114"/>
                  </a:lnTo>
                  <a:lnTo>
                    <a:pt x="58" y="94"/>
                  </a:lnTo>
                  <a:lnTo>
                    <a:pt x="58" y="94"/>
                  </a:lnTo>
                  <a:lnTo>
                    <a:pt x="58" y="110"/>
                  </a:lnTo>
                  <a:lnTo>
                    <a:pt x="60" y="126"/>
                  </a:lnTo>
                  <a:lnTo>
                    <a:pt x="60" y="126"/>
                  </a:lnTo>
                  <a:lnTo>
                    <a:pt x="68" y="138"/>
                  </a:lnTo>
                  <a:lnTo>
                    <a:pt x="76" y="150"/>
                  </a:lnTo>
                  <a:lnTo>
                    <a:pt x="88" y="158"/>
                  </a:lnTo>
                  <a:lnTo>
                    <a:pt x="102" y="164"/>
                  </a:lnTo>
                  <a:lnTo>
                    <a:pt x="102" y="164"/>
                  </a:lnTo>
                  <a:lnTo>
                    <a:pt x="92" y="204"/>
                  </a:lnTo>
                  <a:lnTo>
                    <a:pt x="88" y="244"/>
                  </a:lnTo>
                  <a:lnTo>
                    <a:pt x="88" y="244"/>
                  </a:lnTo>
                  <a:lnTo>
                    <a:pt x="66" y="234"/>
                  </a:lnTo>
                  <a:lnTo>
                    <a:pt x="50" y="222"/>
                  </a:lnTo>
                  <a:lnTo>
                    <a:pt x="42" y="216"/>
                  </a:lnTo>
                  <a:lnTo>
                    <a:pt x="36" y="208"/>
                  </a:lnTo>
                  <a:lnTo>
                    <a:pt x="32" y="200"/>
                  </a:lnTo>
                  <a:lnTo>
                    <a:pt x="28" y="190"/>
                  </a:lnTo>
                  <a:lnTo>
                    <a:pt x="28" y="190"/>
                  </a:lnTo>
                  <a:close/>
                  <a:moveTo>
                    <a:pt x="234" y="102"/>
                  </a:moveTo>
                  <a:lnTo>
                    <a:pt x="234" y="102"/>
                  </a:lnTo>
                  <a:lnTo>
                    <a:pt x="200" y="84"/>
                  </a:lnTo>
                  <a:lnTo>
                    <a:pt x="166" y="72"/>
                  </a:lnTo>
                  <a:lnTo>
                    <a:pt x="166" y="72"/>
                  </a:lnTo>
                  <a:lnTo>
                    <a:pt x="176" y="58"/>
                  </a:lnTo>
                  <a:lnTo>
                    <a:pt x="188" y="48"/>
                  </a:lnTo>
                  <a:lnTo>
                    <a:pt x="198" y="40"/>
                  </a:lnTo>
                  <a:lnTo>
                    <a:pt x="210" y="32"/>
                  </a:lnTo>
                  <a:lnTo>
                    <a:pt x="210" y="32"/>
                  </a:lnTo>
                  <a:lnTo>
                    <a:pt x="220" y="38"/>
                  </a:lnTo>
                  <a:lnTo>
                    <a:pt x="230" y="44"/>
                  </a:lnTo>
                  <a:lnTo>
                    <a:pt x="236" y="52"/>
                  </a:lnTo>
                  <a:lnTo>
                    <a:pt x="240" y="60"/>
                  </a:lnTo>
                  <a:lnTo>
                    <a:pt x="240" y="60"/>
                  </a:lnTo>
                  <a:lnTo>
                    <a:pt x="242" y="70"/>
                  </a:lnTo>
                  <a:lnTo>
                    <a:pt x="242" y="82"/>
                  </a:lnTo>
                  <a:lnTo>
                    <a:pt x="240" y="92"/>
                  </a:lnTo>
                  <a:lnTo>
                    <a:pt x="234" y="102"/>
                  </a:lnTo>
                  <a:lnTo>
                    <a:pt x="234" y="102"/>
                  </a:lnTo>
                  <a:close/>
                  <a:moveTo>
                    <a:pt x="180" y="28"/>
                  </a:moveTo>
                  <a:lnTo>
                    <a:pt x="180" y="28"/>
                  </a:lnTo>
                  <a:lnTo>
                    <a:pt x="186" y="28"/>
                  </a:lnTo>
                  <a:lnTo>
                    <a:pt x="186" y="28"/>
                  </a:lnTo>
                  <a:lnTo>
                    <a:pt x="170" y="42"/>
                  </a:lnTo>
                  <a:lnTo>
                    <a:pt x="156" y="58"/>
                  </a:lnTo>
                  <a:lnTo>
                    <a:pt x="146" y="34"/>
                  </a:lnTo>
                  <a:lnTo>
                    <a:pt x="146" y="34"/>
                  </a:lnTo>
                  <a:lnTo>
                    <a:pt x="162" y="28"/>
                  </a:lnTo>
                  <a:lnTo>
                    <a:pt x="162" y="28"/>
                  </a:lnTo>
                  <a:lnTo>
                    <a:pt x="180" y="28"/>
                  </a:lnTo>
                  <a:lnTo>
                    <a:pt x="180" y="28"/>
                  </a:lnTo>
                  <a:close/>
                  <a:moveTo>
                    <a:pt x="130" y="38"/>
                  </a:moveTo>
                  <a:lnTo>
                    <a:pt x="140" y="64"/>
                  </a:lnTo>
                  <a:lnTo>
                    <a:pt x="140" y="64"/>
                  </a:lnTo>
                  <a:lnTo>
                    <a:pt x="118" y="62"/>
                  </a:lnTo>
                  <a:lnTo>
                    <a:pt x="96" y="60"/>
                  </a:lnTo>
                  <a:lnTo>
                    <a:pt x="96" y="60"/>
                  </a:lnTo>
                  <a:lnTo>
                    <a:pt x="106" y="52"/>
                  </a:lnTo>
                  <a:lnTo>
                    <a:pt x="116" y="46"/>
                  </a:lnTo>
                  <a:lnTo>
                    <a:pt x="116" y="46"/>
                  </a:lnTo>
                  <a:lnTo>
                    <a:pt x="130" y="38"/>
                  </a:lnTo>
                  <a:lnTo>
                    <a:pt x="130" y="38"/>
                  </a:lnTo>
                  <a:close/>
                  <a:moveTo>
                    <a:pt x="82" y="80"/>
                  </a:moveTo>
                  <a:lnTo>
                    <a:pt x="82" y="80"/>
                  </a:lnTo>
                  <a:lnTo>
                    <a:pt x="94" y="78"/>
                  </a:lnTo>
                  <a:lnTo>
                    <a:pt x="108" y="76"/>
                  </a:lnTo>
                  <a:lnTo>
                    <a:pt x="124" y="78"/>
                  </a:lnTo>
                  <a:lnTo>
                    <a:pt x="140" y="80"/>
                  </a:lnTo>
                  <a:lnTo>
                    <a:pt x="140" y="80"/>
                  </a:lnTo>
                  <a:lnTo>
                    <a:pt x="122" y="114"/>
                  </a:lnTo>
                  <a:lnTo>
                    <a:pt x="108" y="148"/>
                  </a:lnTo>
                  <a:lnTo>
                    <a:pt x="108" y="148"/>
                  </a:lnTo>
                  <a:lnTo>
                    <a:pt x="96" y="144"/>
                  </a:lnTo>
                  <a:lnTo>
                    <a:pt x="88" y="138"/>
                  </a:lnTo>
                  <a:lnTo>
                    <a:pt x="80" y="130"/>
                  </a:lnTo>
                  <a:lnTo>
                    <a:pt x="76" y="120"/>
                  </a:lnTo>
                  <a:lnTo>
                    <a:pt x="76" y="120"/>
                  </a:lnTo>
                  <a:lnTo>
                    <a:pt x="74" y="110"/>
                  </a:lnTo>
                  <a:lnTo>
                    <a:pt x="74" y="100"/>
                  </a:lnTo>
                  <a:lnTo>
                    <a:pt x="76" y="90"/>
                  </a:lnTo>
                  <a:lnTo>
                    <a:pt x="82" y="80"/>
                  </a:lnTo>
                  <a:lnTo>
                    <a:pt x="82" y="80"/>
                  </a:lnTo>
                  <a:close/>
                  <a:moveTo>
                    <a:pt x="150" y="94"/>
                  </a:moveTo>
                  <a:lnTo>
                    <a:pt x="170" y="148"/>
                  </a:lnTo>
                  <a:lnTo>
                    <a:pt x="170" y="148"/>
                  </a:lnTo>
                  <a:lnTo>
                    <a:pt x="154" y="152"/>
                  </a:lnTo>
                  <a:lnTo>
                    <a:pt x="138" y="154"/>
                  </a:lnTo>
                  <a:lnTo>
                    <a:pt x="138" y="154"/>
                  </a:lnTo>
                  <a:lnTo>
                    <a:pt x="122" y="152"/>
                  </a:lnTo>
                  <a:lnTo>
                    <a:pt x="122" y="152"/>
                  </a:lnTo>
                  <a:lnTo>
                    <a:pt x="136" y="122"/>
                  </a:lnTo>
                  <a:lnTo>
                    <a:pt x="150" y="94"/>
                  </a:lnTo>
                  <a:lnTo>
                    <a:pt x="150" y="94"/>
                  </a:lnTo>
                  <a:close/>
                  <a:moveTo>
                    <a:pt x="166" y="88"/>
                  </a:moveTo>
                  <a:lnTo>
                    <a:pt x="166" y="88"/>
                  </a:lnTo>
                  <a:lnTo>
                    <a:pt x="196" y="100"/>
                  </a:lnTo>
                  <a:lnTo>
                    <a:pt x="226" y="116"/>
                  </a:lnTo>
                  <a:lnTo>
                    <a:pt x="226" y="116"/>
                  </a:lnTo>
                  <a:lnTo>
                    <a:pt x="218" y="124"/>
                  </a:lnTo>
                  <a:lnTo>
                    <a:pt x="208" y="132"/>
                  </a:lnTo>
                  <a:lnTo>
                    <a:pt x="198" y="138"/>
                  </a:lnTo>
                  <a:lnTo>
                    <a:pt x="186" y="144"/>
                  </a:lnTo>
                  <a:lnTo>
                    <a:pt x="166" y="88"/>
                  </a:lnTo>
                  <a:close/>
                  <a:moveTo>
                    <a:pt x="118" y="168"/>
                  </a:moveTo>
                  <a:lnTo>
                    <a:pt x="118" y="168"/>
                  </a:lnTo>
                  <a:lnTo>
                    <a:pt x="138" y="170"/>
                  </a:lnTo>
                  <a:lnTo>
                    <a:pt x="138" y="170"/>
                  </a:lnTo>
                  <a:lnTo>
                    <a:pt x="156" y="168"/>
                  </a:lnTo>
                  <a:lnTo>
                    <a:pt x="176" y="164"/>
                  </a:lnTo>
                  <a:lnTo>
                    <a:pt x="204" y="240"/>
                  </a:lnTo>
                  <a:lnTo>
                    <a:pt x="204" y="240"/>
                  </a:lnTo>
                  <a:lnTo>
                    <a:pt x="188" y="246"/>
                  </a:lnTo>
                  <a:lnTo>
                    <a:pt x="172" y="248"/>
                  </a:lnTo>
                  <a:lnTo>
                    <a:pt x="156" y="252"/>
                  </a:lnTo>
                  <a:lnTo>
                    <a:pt x="140" y="252"/>
                  </a:lnTo>
                  <a:lnTo>
                    <a:pt x="140" y="252"/>
                  </a:lnTo>
                  <a:lnTo>
                    <a:pt x="140" y="252"/>
                  </a:lnTo>
                  <a:lnTo>
                    <a:pt x="120" y="250"/>
                  </a:lnTo>
                  <a:lnTo>
                    <a:pt x="102" y="248"/>
                  </a:lnTo>
                  <a:lnTo>
                    <a:pt x="102" y="248"/>
                  </a:lnTo>
                  <a:lnTo>
                    <a:pt x="108" y="208"/>
                  </a:lnTo>
                  <a:lnTo>
                    <a:pt x="118" y="168"/>
                  </a:lnTo>
                  <a:lnTo>
                    <a:pt x="118" y="168"/>
                  </a:lnTo>
                  <a:close/>
                  <a:moveTo>
                    <a:pt x="192" y="158"/>
                  </a:moveTo>
                  <a:lnTo>
                    <a:pt x="192" y="158"/>
                  </a:lnTo>
                  <a:lnTo>
                    <a:pt x="206" y="152"/>
                  </a:lnTo>
                  <a:lnTo>
                    <a:pt x="218" y="144"/>
                  </a:lnTo>
                  <a:lnTo>
                    <a:pt x="230" y="134"/>
                  </a:lnTo>
                  <a:lnTo>
                    <a:pt x="240" y="124"/>
                  </a:lnTo>
                  <a:lnTo>
                    <a:pt x="240" y="124"/>
                  </a:lnTo>
                  <a:lnTo>
                    <a:pt x="272" y="148"/>
                  </a:lnTo>
                  <a:lnTo>
                    <a:pt x="302" y="176"/>
                  </a:lnTo>
                  <a:lnTo>
                    <a:pt x="302" y="176"/>
                  </a:lnTo>
                  <a:lnTo>
                    <a:pt x="286" y="194"/>
                  </a:lnTo>
                  <a:lnTo>
                    <a:pt x="266" y="210"/>
                  </a:lnTo>
                  <a:lnTo>
                    <a:pt x="244" y="224"/>
                  </a:lnTo>
                  <a:lnTo>
                    <a:pt x="220" y="236"/>
                  </a:lnTo>
                  <a:lnTo>
                    <a:pt x="192" y="158"/>
                  </a:lnTo>
                  <a:close/>
                  <a:moveTo>
                    <a:pt x="86" y="260"/>
                  </a:moveTo>
                  <a:lnTo>
                    <a:pt x="86" y="260"/>
                  </a:lnTo>
                  <a:lnTo>
                    <a:pt x="86" y="278"/>
                  </a:lnTo>
                  <a:lnTo>
                    <a:pt x="88" y="296"/>
                  </a:lnTo>
                  <a:lnTo>
                    <a:pt x="90" y="312"/>
                  </a:lnTo>
                  <a:lnTo>
                    <a:pt x="94" y="328"/>
                  </a:lnTo>
                  <a:lnTo>
                    <a:pt x="94" y="328"/>
                  </a:lnTo>
                  <a:lnTo>
                    <a:pt x="78" y="320"/>
                  </a:lnTo>
                  <a:lnTo>
                    <a:pt x="62" y="310"/>
                  </a:lnTo>
                  <a:lnTo>
                    <a:pt x="62" y="310"/>
                  </a:lnTo>
                  <a:lnTo>
                    <a:pt x="54" y="298"/>
                  </a:lnTo>
                  <a:lnTo>
                    <a:pt x="46" y="286"/>
                  </a:lnTo>
                  <a:lnTo>
                    <a:pt x="40" y="274"/>
                  </a:lnTo>
                  <a:lnTo>
                    <a:pt x="34" y="260"/>
                  </a:lnTo>
                  <a:lnTo>
                    <a:pt x="34" y="260"/>
                  </a:lnTo>
                  <a:lnTo>
                    <a:pt x="28" y="240"/>
                  </a:lnTo>
                  <a:lnTo>
                    <a:pt x="24" y="218"/>
                  </a:lnTo>
                  <a:lnTo>
                    <a:pt x="24" y="218"/>
                  </a:lnTo>
                  <a:lnTo>
                    <a:pt x="36" y="232"/>
                  </a:lnTo>
                  <a:lnTo>
                    <a:pt x="50" y="244"/>
                  </a:lnTo>
                  <a:lnTo>
                    <a:pt x="68" y="252"/>
                  </a:lnTo>
                  <a:lnTo>
                    <a:pt x="86" y="260"/>
                  </a:lnTo>
                  <a:lnTo>
                    <a:pt x="86" y="260"/>
                  </a:lnTo>
                  <a:close/>
                  <a:moveTo>
                    <a:pt x="112" y="332"/>
                  </a:moveTo>
                  <a:lnTo>
                    <a:pt x="112" y="332"/>
                  </a:lnTo>
                  <a:lnTo>
                    <a:pt x="108" y="316"/>
                  </a:lnTo>
                  <a:lnTo>
                    <a:pt x="104" y="300"/>
                  </a:lnTo>
                  <a:lnTo>
                    <a:pt x="102" y="282"/>
                  </a:lnTo>
                  <a:lnTo>
                    <a:pt x="102" y="264"/>
                  </a:lnTo>
                  <a:lnTo>
                    <a:pt x="102" y="264"/>
                  </a:lnTo>
                  <a:lnTo>
                    <a:pt x="120" y="266"/>
                  </a:lnTo>
                  <a:lnTo>
                    <a:pt x="140" y="268"/>
                  </a:lnTo>
                  <a:lnTo>
                    <a:pt x="140" y="268"/>
                  </a:lnTo>
                  <a:lnTo>
                    <a:pt x="140" y="268"/>
                  </a:lnTo>
                  <a:lnTo>
                    <a:pt x="156" y="266"/>
                  </a:lnTo>
                  <a:lnTo>
                    <a:pt x="174" y="264"/>
                  </a:lnTo>
                  <a:lnTo>
                    <a:pt x="192" y="260"/>
                  </a:lnTo>
                  <a:lnTo>
                    <a:pt x="210" y="256"/>
                  </a:lnTo>
                  <a:lnTo>
                    <a:pt x="236" y="326"/>
                  </a:lnTo>
                  <a:lnTo>
                    <a:pt x="236" y="326"/>
                  </a:lnTo>
                  <a:lnTo>
                    <a:pt x="204" y="334"/>
                  </a:lnTo>
                  <a:lnTo>
                    <a:pt x="172" y="338"/>
                  </a:lnTo>
                  <a:lnTo>
                    <a:pt x="142" y="338"/>
                  </a:lnTo>
                  <a:lnTo>
                    <a:pt x="112" y="334"/>
                  </a:lnTo>
                  <a:lnTo>
                    <a:pt x="112" y="334"/>
                  </a:lnTo>
                  <a:lnTo>
                    <a:pt x="112" y="332"/>
                  </a:lnTo>
                  <a:lnTo>
                    <a:pt x="112" y="332"/>
                  </a:lnTo>
                  <a:close/>
                  <a:moveTo>
                    <a:pt x="224" y="250"/>
                  </a:moveTo>
                  <a:lnTo>
                    <a:pt x="224" y="250"/>
                  </a:lnTo>
                  <a:lnTo>
                    <a:pt x="252" y="238"/>
                  </a:lnTo>
                  <a:lnTo>
                    <a:pt x="274" y="224"/>
                  </a:lnTo>
                  <a:lnTo>
                    <a:pt x="296" y="206"/>
                  </a:lnTo>
                  <a:lnTo>
                    <a:pt x="312" y="188"/>
                  </a:lnTo>
                  <a:lnTo>
                    <a:pt x="312" y="188"/>
                  </a:lnTo>
                  <a:lnTo>
                    <a:pt x="324" y="202"/>
                  </a:lnTo>
                  <a:lnTo>
                    <a:pt x="334" y="216"/>
                  </a:lnTo>
                  <a:lnTo>
                    <a:pt x="342" y="232"/>
                  </a:lnTo>
                  <a:lnTo>
                    <a:pt x="348" y="246"/>
                  </a:lnTo>
                  <a:lnTo>
                    <a:pt x="348" y="246"/>
                  </a:lnTo>
                  <a:lnTo>
                    <a:pt x="350" y="248"/>
                  </a:lnTo>
                  <a:lnTo>
                    <a:pt x="350" y="248"/>
                  </a:lnTo>
                  <a:lnTo>
                    <a:pt x="330" y="270"/>
                  </a:lnTo>
                  <a:lnTo>
                    <a:pt x="306" y="290"/>
                  </a:lnTo>
                  <a:lnTo>
                    <a:pt x="280" y="308"/>
                  </a:lnTo>
                  <a:lnTo>
                    <a:pt x="250" y="322"/>
                  </a:lnTo>
                  <a:lnTo>
                    <a:pt x="224" y="250"/>
                  </a:lnTo>
                  <a:close/>
                  <a:moveTo>
                    <a:pt x="128" y="360"/>
                  </a:moveTo>
                  <a:lnTo>
                    <a:pt x="128" y="360"/>
                  </a:lnTo>
                  <a:lnTo>
                    <a:pt x="122" y="352"/>
                  </a:lnTo>
                  <a:lnTo>
                    <a:pt x="122" y="352"/>
                  </a:lnTo>
                  <a:lnTo>
                    <a:pt x="140" y="354"/>
                  </a:lnTo>
                  <a:lnTo>
                    <a:pt x="160" y="356"/>
                  </a:lnTo>
                  <a:lnTo>
                    <a:pt x="160" y="356"/>
                  </a:lnTo>
                  <a:lnTo>
                    <a:pt x="180" y="354"/>
                  </a:lnTo>
                  <a:lnTo>
                    <a:pt x="200" y="352"/>
                  </a:lnTo>
                  <a:lnTo>
                    <a:pt x="220" y="348"/>
                  </a:lnTo>
                  <a:lnTo>
                    <a:pt x="242" y="342"/>
                  </a:lnTo>
                  <a:lnTo>
                    <a:pt x="250" y="366"/>
                  </a:lnTo>
                  <a:lnTo>
                    <a:pt x="250" y="366"/>
                  </a:lnTo>
                  <a:lnTo>
                    <a:pt x="224" y="372"/>
                  </a:lnTo>
                  <a:lnTo>
                    <a:pt x="198" y="376"/>
                  </a:lnTo>
                  <a:lnTo>
                    <a:pt x="198" y="376"/>
                  </a:lnTo>
                  <a:lnTo>
                    <a:pt x="180" y="374"/>
                  </a:lnTo>
                  <a:lnTo>
                    <a:pt x="162" y="372"/>
                  </a:lnTo>
                  <a:lnTo>
                    <a:pt x="144" y="366"/>
                  </a:lnTo>
                  <a:lnTo>
                    <a:pt x="128" y="360"/>
                  </a:lnTo>
                  <a:lnTo>
                    <a:pt x="128" y="360"/>
                  </a:lnTo>
                  <a:close/>
                  <a:moveTo>
                    <a:pt x="266" y="362"/>
                  </a:moveTo>
                  <a:lnTo>
                    <a:pt x="256" y="336"/>
                  </a:lnTo>
                  <a:lnTo>
                    <a:pt x="256" y="336"/>
                  </a:lnTo>
                  <a:lnTo>
                    <a:pt x="284" y="322"/>
                  </a:lnTo>
                  <a:lnTo>
                    <a:pt x="310" y="306"/>
                  </a:lnTo>
                  <a:lnTo>
                    <a:pt x="334" y="288"/>
                  </a:lnTo>
                  <a:lnTo>
                    <a:pt x="354" y="268"/>
                  </a:lnTo>
                  <a:lnTo>
                    <a:pt x="354" y="268"/>
                  </a:lnTo>
                  <a:lnTo>
                    <a:pt x="354" y="278"/>
                  </a:lnTo>
                  <a:lnTo>
                    <a:pt x="354" y="278"/>
                  </a:lnTo>
                  <a:lnTo>
                    <a:pt x="348" y="292"/>
                  </a:lnTo>
                  <a:lnTo>
                    <a:pt x="338" y="304"/>
                  </a:lnTo>
                  <a:lnTo>
                    <a:pt x="328" y="316"/>
                  </a:lnTo>
                  <a:lnTo>
                    <a:pt x="318" y="328"/>
                  </a:lnTo>
                  <a:lnTo>
                    <a:pt x="306" y="338"/>
                  </a:lnTo>
                  <a:lnTo>
                    <a:pt x="294" y="346"/>
                  </a:lnTo>
                  <a:lnTo>
                    <a:pt x="280" y="354"/>
                  </a:lnTo>
                  <a:lnTo>
                    <a:pt x="266" y="362"/>
                  </a:lnTo>
                  <a:lnTo>
                    <a:pt x="266" y="36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52" name="Group 151">
            <a:extLst>
              <a:ext uri="{FF2B5EF4-FFF2-40B4-BE49-F238E27FC236}">
                <a16:creationId xmlns:a16="http://schemas.microsoft.com/office/drawing/2014/main" id="{D049A75F-73C0-4C19-9C47-07E9A5795788}"/>
              </a:ext>
            </a:extLst>
          </p:cNvPr>
          <p:cNvGrpSpPr/>
          <p:nvPr/>
        </p:nvGrpSpPr>
        <p:grpSpPr>
          <a:xfrm>
            <a:off x="5162133" y="2811612"/>
            <a:ext cx="612000" cy="612000"/>
            <a:chOff x="4091659" y="3474401"/>
            <a:chExt cx="612000" cy="612000"/>
          </a:xfrm>
        </p:grpSpPr>
        <p:sp>
          <p:nvSpPr>
            <p:cNvPr id="153" name="Oval 152">
              <a:extLst>
                <a:ext uri="{FF2B5EF4-FFF2-40B4-BE49-F238E27FC236}">
                  <a16:creationId xmlns:a16="http://schemas.microsoft.com/office/drawing/2014/main" id="{B0DA3681-A318-4F9E-AD96-C7606FA67FB9}"/>
                </a:ext>
              </a:extLst>
            </p:cNvPr>
            <p:cNvSpPr/>
            <p:nvPr/>
          </p:nvSpPr>
          <p:spPr bwMode="ltGray">
            <a:xfrm>
              <a:off x="4091659"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54" name="Freeform 4990">
              <a:extLst>
                <a:ext uri="{FF2B5EF4-FFF2-40B4-BE49-F238E27FC236}">
                  <a16:creationId xmlns:a16="http://schemas.microsoft.com/office/drawing/2014/main" id="{FB2F904D-85ED-4058-B109-B36B558BD0DF}"/>
                </a:ext>
              </a:extLst>
            </p:cNvPr>
            <p:cNvSpPr>
              <a:spLocks noEditPoints="1"/>
            </p:cNvSpPr>
            <p:nvPr/>
          </p:nvSpPr>
          <p:spPr bwMode="auto">
            <a:xfrm>
              <a:off x="4254701" y="3589185"/>
              <a:ext cx="285917" cy="397376"/>
            </a:xfrm>
            <a:custGeom>
              <a:avLst/>
              <a:gdLst>
                <a:gd name="T0" fmla="*/ 0 w 236"/>
                <a:gd name="T1" fmla="*/ 16 h 328"/>
                <a:gd name="T2" fmla="*/ 220 w 236"/>
                <a:gd name="T3" fmla="*/ 328 h 328"/>
                <a:gd name="T4" fmla="*/ 236 w 236"/>
                <a:gd name="T5" fmla="*/ 16 h 328"/>
                <a:gd name="T6" fmla="*/ 66 w 236"/>
                <a:gd name="T7" fmla="*/ 290 h 328"/>
                <a:gd name="T8" fmla="*/ 40 w 236"/>
                <a:gd name="T9" fmla="*/ 300 h 328"/>
                <a:gd name="T10" fmla="*/ 36 w 236"/>
                <a:gd name="T11" fmla="*/ 270 h 328"/>
                <a:gd name="T12" fmla="*/ 64 w 236"/>
                <a:gd name="T13" fmla="*/ 274 h 328"/>
                <a:gd name="T14" fmla="*/ 60 w 236"/>
                <a:gd name="T15" fmla="*/ 252 h 328"/>
                <a:gd name="T16" fmla="*/ 34 w 236"/>
                <a:gd name="T17" fmla="*/ 244 h 328"/>
                <a:gd name="T18" fmla="*/ 56 w 236"/>
                <a:gd name="T19" fmla="*/ 220 h 328"/>
                <a:gd name="T20" fmla="*/ 66 w 236"/>
                <a:gd name="T21" fmla="*/ 196 h 328"/>
                <a:gd name="T22" fmla="*/ 44 w 236"/>
                <a:gd name="T23" fmla="*/ 206 h 328"/>
                <a:gd name="T24" fmla="*/ 34 w 236"/>
                <a:gd name="T25" fmla="*/ 180 h 328"/>
                <a:gd name="T26" fmla="*/ 62 w 236"/>
                <a:gd name="T27" fmla="*/ 178 h 328"/>
                <a:gd name="T28" fmla="*/ 62 w 236"/>
                <a:gd name="T29" fmla="*/ 158 h 328"/>
                <a:gd name="T30" fmla="*/ 34 w 236"/>
                <a:gd name="T31" fmla="*/ 154 h 328"/>
                <a:gd name="T32" fmla="*/ 44 w 236"/>
                <a:gd name="T33" fmla="*/ 128 h 328"/>
                <a:gd name="T34" fmla="*/ 66 w 236"/>
                <a:gd name="T35" fmla="*/ 150 h 328"/>
                <a:gd name="T36" fmla="*/ 88 w 236"/>
                <a:gd name="T37" fmla="*/ 300 h 328"/>
                <a:gd name="T38" fmla="*/ 78 w 236"/>
                <a:gd name="T39" fmla="*/ 278 h 328"/>
                <a:gd name="T40" fmla="*/ 106 w 236"/>
                <a:gd name="T41" fmla="*/ 268 h 328"/>
                <a:gd name="T42" fmla="*/ 110 w 236"/>
                <a:gd name="T43" fmla="*/ 248 h 328"/>
                <a:gd name="T44" fmla="*/ 82 w 236"/>
                <a:gd name="T45" fmla="*/ 250 h 328"/>
                <a:gd name="T46" fmla="*/ 86 w 236"/>
                <a:gd name="T47" fmla="*/ 222 h 328"/>
                <a:gd name="T48" fmla="*/ 112 w 236"/>
                <a:gd name="T49" fmla="*/ 230 h 328"/>
                <a:gd name="T50" fmla="*/ 102 w 236"/>
                <a:gd name="T51" fmla="*/ 206 h 328"/>
                <a:gd name="T52" fmla="*/ 78 w 236"/>
                <a:gd name="T53" fmla="*/ 184 h 328"/>
                <a:gd name="T54" fmla="*/ 102 w 236"/>
                <a:gd name="T55" fmla="*/ 174 h 328"/>
                <a:gd name="T56" fmla="*/ 112 w 236"/>
                <a:gd name="T57" fmla="*/ 150 h 328"/>
                <a:gd name="T58" fmla="*/ 86 w 236"/>
                <a:gd name="T59" fmla="*/ 160 h 328"/>
                <a:gd name="T60" fmla="*/ 82 w 236"/>
                <a:gd name="T61" fmla="*/ 130 h 328"/>
                <a:gd name="T62" fmla="*/ 110 w 236"/>
                <a:gd name="T63" fmla="*/ 134 h 328"/>
                <a:gd name="T64" fmla="*/ 150 w 236"/>
                <a:gd name="T65" fmla="*/ 300 h 328"/>
                <a:gd name="T66" fmla="*/ 124 w 236"/>
                <a:gd name="T67" fmla="*/ 290 h 328"/>
                <a:gd name="T68" fmla="*/ 148 w 236"/>
                <a:gd name="T69" fmla="*/ 268 h 328"/>
                <a:gd name="T70" fmla="*/ 158 w 236"/>
                <a:gd name="T71" fmla="*/ 244 h 328"/>
                <a:gd name="T72" fmla="*/ 134 w 236"/>
                <a:gd name="T73" fmla="*/ 254 h 328"/>
                <a:gd name="T74" fmla="*/ 126 w 236"/>
                <a:gd name="T75" fmla="*/ 226 h 328"/>
                <a:gd name="T76" fmla="*/ 154 w 236"/>
                <a:gd name="T77" fmla="*/ 224 h 328"/>
                <a:gd name="T78" fmla="*/ 154 w 236"/>
                <a:gd name="T79" fmla="*/ 204 h 328"/>
                <a:gd name="T80" fmla="*/ 126 w 236"/>
                <a:gd name="T81" fmla="*/ 200 h 328"/>
                <a:gd name="T82" fmla="*/ 134 w 236"/>
                <a:gd name="T83" fmla="*/ 174 h 328"/>
                <a:gd name="T84" fmla="*/ 158 w 236"/>
                <a:gd name="T85" fmla="*/ 196 h 328"/>
                <a:gd name="T86" fmla="*/ 134 w 236"/>
                <a:gd name="T87" fmla="*/ 160 h 328"/>
                <a:gd name="T88" fmla="*/ 124 w 236"/>
                <a:gd name="T89" fmla="*/ 138 h 328"/>
                <a:gd name="T90" fmla="*/ 150 w 236"/>
                <a:gd name="T91" fmla="*/ 128 h 328"/>
                <a:gd name="T92" fmla="*/ 202 w 236"/>
                <a:gd name="T93" fmla="*/ 290 h 328"/>
                <a:gd name="T94" fmla="*/ 176 w 236"/>
                <a:gd name="T95" fmla="*/ 300 h 328"/>
                <a:gd name="T96" fmla="*/ 172 w 236"/>
                <a:gd name="T97" fmla="*/ 226 h 328"/>
                <a:gd name="T98" fmla="*/ 200 w 236"/>
                <a:gd name="T99" fmla="*/ 224 h 328"/>
                <a:gd name="T100" fmla="*/ 200 w 236"/>
                <a:gd name="T101" fmla="*/ 204 h 328"/>
                <a:gd name="T102" fmla="*/ 172 w 236"/>
                <a:gd name="T103" fmla="*/ 200 h 328"/>
                <a:gd name="T104" fmla="*/ 180 w 236"/>
                <a:gd name="T105" fmla="*/ 174 h 328"/>
                <a:gd name="T106" fmla="*/ 202 w 236"/>
                <a:gd name="T107" fmla="*/ 196 h 328"/>
                <a:gd name="T108" fmla="*/ 180 w 236"/>
                <a:gd name="T109" fmla="*/ 160 h 328"/>
                <a:gd name="T110" fmla="*/ 170 w 236"/>
                <a:gd name="T111" fmla="*/ 138 h 328"/>
                <a:gd name="T112" fmla="*/ 196 w 236"/>
                <a:gd name="T113" fmla="*/ 128 h 328"/>
                <a:gd name="T114" fmla="*/ 202 w 236"/>
                <a:gd name="T115" fmla="*/ 88 h 328"/>
                <a:gd name="T116" fmla="*/ 36 w 236"/>
                <a:gd name="T117" fmla="*/ 92 h 328"/>
                <a:gd name="T118" fmla="*/ 40 w 236"/>
                <a:gd name="T119" fmla="*/ 48 h 328"/>
                <a:gd name="T120" fmla="*/ 202 w 236"/>
                <a:gd name="T121" fmla="*/ 56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6" h="328">
                  <a:moveTo>
                    <a:pt x="220" y="0"/>
                  </a:moveTo>
                  <a:lnTo>
                    <a:pt x="16" y="0"/>
                  </a:lnTo>
                  <a:lnTo>
                    <a:pt x="16" y="0"/>
                  </a:lnTo>
                  <a:lnTo>
                    <a:pt x="10" y="2"/>
                  </a:lnTo>
                  <a:lnTo>
                    <a:pt x="6" y="6"/>
                  </a:lnTo>
                  <a:lnTo>
                    <a:pt x="2" y="10"/>
                  </a:lnTo>
                  <a:lnTo>
                    <a:pt x="0" y="16"/>
                  </a:lnTo>
                  <a:lnTo>
                    <a:pt x="0" y="312"/>
                  </a:lnTo>
                  <a:lnTo>
                    <a:pt x="0" y="312"/>
                  </a:lnTo>
                  <a:lnTo>
                    <a:pt x="2" y="318"/>
                  </a:lnTo>
                  <a:lnTo>
                    <a:pt x="6" y="322"/>
                  </a:lnTo>
                  <a:lnTo>
                    <a:pt x="10" y="326"/>
                  </a:lnTo>
                  <a:lnTo>
                    <a:pt x="16" y="328"/>
                  </a:lnTo>
                  <a:lnTo>
                    <a:pt x="220" y="328"/>
                  </a:lnTo>
                  <a:lnTo>
                    <a:pt x="220" y="328"/>
                  </a:lnTo>
                  <a:lnTo>
                    <a:pt x="226" y="326"/>
                  </a:lnTo>
                  <a:lnTo>
                    <a:pt x="230" y="322"/>
                  </a:lnTo>
                  <a:lnTo>
                    <a:pt x="234" y="318"/>
                  </a:lnTo>
                  <a:lnTo>
                    <a:pt x="236" y="312"/>
                  </a:lnTo>
                  <a:lnTo>
                    <a:pt x="236" y="16"/>
                  </a:lnTo>
                  <a:lnTo>
                    <a:pt x="236" y="16"/>
                  </a:lnTo>
                  <a:lnTo>
                    <a:pt x="234" y="10"/>
                  </a:lnTo>
                  <a:lnTo>
                    <a:pt x="230" y="6"/>
                  </a:lnTo>
                  <a:lnTo>
                    <a:pt x="226" y="2"/>
                  </a:lnTo>
                  <a:lnTo>
                    <a:pt x="220" y="0"/>
                  </a:lnTo>
                  <a:lnTo>
                    <a:pt x="220" y="0"/>
                  </a:lnTo>
                  <a:close/>
                  <a:moveTo>
                    <a:pt x="66" y="290"/>
                  </a:moveTo>
                  <a:lnTo>
                    <a:pt x="66" y="290"/>
                  </a:lnTo>
                  <a:lnTo>
                    <a:pt x="64" y="294"/>
                  </a:lnTo>
                  <a:lnTo>
                    <a:pt x="62" y="296"/>
                  </a:lnTo>
                  <a:lnTo>
                    <a:pt x="60" y="300"/>
                  </a:lnTo>
                  <a:lnTo>
                    <a:pt x="56" y="300"/>
                  </a:lnTo>
                  <a:lnTo>
                    <a:pt x="44" y="300"/>
                  </a:lnTo>
                  <a:lnTo>
                    <a:pt x="44" y="300"/>
                  </a:lnTo>
                  <a:lnTo>
                    <a:pt x="40" y="300"/>
                  </a:lnTo>
                  <a:lnTo>
                    <a:pt x="36" y="296"/>
                  </a:lnTo>
                  <a:lnTo>
                    <a:pt x="34" y="294"/>
                  </a:lnTo>
                  <a:lnTo>
                    <a:pt x="34" y="290"/>
                  </a:lnTo>
                  <a:lnTo>
                    <a:pt x="34" y="278"/>
                  </a:lnTo>
                  <a:lnTo>
                    <a:pt x="34" y="278"/>
                  </a:lnTo>
                  <a:lnTo>
                    <a:pt x="34" y="274"/>
                  </a:lnTo>
                  <a:lnTo>
                    <a:pt x="36" y="270"/>
                  </a:lnTo>
                  <a:lnTo>
                    <a:pt x="40" y="268"/>
                  </a:lnTo>
                  <a:lnTo>
                    <a:pt x="44" y="268"/>
                  </a:lnTo>
                  <a:lnTo>
                    <a:pt x="56" y="268"/>
                  </a:lnTo>
                  <a:lnTo>
                    <a:pt x="56" y="268"/>
                  </a:lnTo>
                  <a:lnTo>
                    <a:pt x="60" y="268"/>
                  </a:lnTo>
                  <a:lnTo>
                    <a:pt x="62" y="270"/>
                  </a:lnTo>
                  <a:lnTo>
                    <a:pt x="64" y="274"/>
                  </a:lnTo>
                  <a:lnTo>
                    <a:pt x="66" y="278"/>
                  </a:lnTo>
                  <a:lnTo>
                    <a:pt x="66" y="290"/>
                  </a:lnTo>
                  <a:close/>
                  <a:moveTo>
                    <a:pt x="66" y="244"/>
                  </a:moveTo>
                  <a:lnTo>
                    <a:pt x="66" y="244"/>
                  </a:lnTo>
                  <a:lnTo>
                    <a:pt x="64" y="248"/>
                  </a:lnTo>
                  <a:lnTo>
                    <a:pt x="62" y="250"/>
                  </a:lnTo>
                  <a:lnTo>
                    <a:pt x="60" y="252"/>
                  </a:lnTo>
                  <a:lnTo>
                    <a:pt x="56" y="254"/>
                  </a:lnTo>
                  <a:lnTo>
                    <a:pt x="44" y="254"/>
                  </a:lnTo>
                  <a:lnTo>
                    <a:pt x="44" y="254"/>
                  </a:lnTo>
                  <a:lnTo>
                    <a:pt x="40" y="252"/>
                  </a:lnTo>
                  <a:lnTo>
                    <a:pt x="36" y="250"/>
                  </a:lnTo>
                  <a:lnTo>
                    <a:pt x="34" y="248"/>
                  </a:lnTo>
                  <a:lnTo>
                    <a:pt x="34" y="244"/>
                  </a:lnTo>
                  <a:lnTo>
                    <a:pt x="34" y="230"/>
                  </a:lnTo>
                  <a:lnTo>
                    <a:pt x="34" y="230"/>
                  </a:lnTo>
                  <a:lnTo>
                    <a:pt x="34" y="226"/>
                  </a:lnTo>
                  <a:lnTo>
                    <a:pt x="36" y="224"/>
                  </a:lnTo>
                  <a:lnTo>
                    <a:pt x="40" y="222"/>
                  </a:lnTo>
                  <a:lnTo>
                    <a:pt x="44" y="220"/>
                  </a:lnTo>
                  <a:lnTo>
                    <a:pt x="56" y="220"/>
                  </a:lnTo>
                  <a:lnTo>
                    <a:pt x="56" y="220"/>
                  </a:lnTo>
                  <a:lnTo>
                    <a:pt x="60" y="222"/>
                  </a:lnTo>
                  <a:lnTo>
                    <a:pt x="62" y="224"/>
                  </a:lnTo>
                  <a:lnTo>
                    <a:pt x="64" y="226"/>
                  </a:lnTo>
                  <a:lnTo>
                    <a:pt x="66" y="230"/>
                  </a:lnTo>
                  <a:lnTo>
                    <a:pt x="66" y="244"/>
                  </a:lnTo>
                  <a:close/>
                  <a:moveTo>
                    <a:pt x="66" y="196"/>
                  </a:moveTo>
                  <a:lnTo>
                    <a:pt x="66" y="196"/>
                  </a:lnTo>
                  <a:lnTo>
                    <a:pt x="64" y="200"/>
                  </a:lnTo>
                  <a:lnTo>
                    <a:pt x="62" y="204"/>
                  </a:lnTo>
                  <a:lnTo>
                    <a:pt x="60" y="206"/>
                  </a:lnTo>
                  <a:lnTo>
                    <a:pt x="56" y="206"/>
                  </a:lnTo>
                  <a:lnTo>
                    <a:pt x="44" y="206"/>
                  </a:lnTo>
                  <a:lnTo>
                    <a:pt x="44" y="206"/>
                  </a:lnTo>
                  <a:lnTo>
                    <a:pt x="40" y="206"/>
                  </a:lnTo>
                  <a:lnTo>
                    <a:pt x="36" y="204"/>
                  </a:lnTo>
                  <a:lnTo>
                    <a:pt x="34" y="200"/>
                  </a:lnTo>
                  <a:lnTo>
                    <a:pt x="34" y="196"/>
                  </a:lnTo>
                  <a:lnTo>
                    <a:pt x="34" y="184"/>
                  </a:lnTo>
                  <a:lnTo>
                    <a:pt x="34" y="184"/>
                  </a:lnTo>
                  <a:lnTo>
                    <a:pt x="34" y="180"/>
                  </a:lnTo>
                  <a:lnTo>
                    <a:pt x="36" y="178"/>
                  </a:lnTo>
                  <a:lnTo>
                    <a:pt x="40" y="176"/>
                  </a:lnTo>
                  <a:lnTo>
                    <a:pt x="44" y="174"/>
                  </a:lnTo>
                  <a:lnTo>
                    <a:pt x="56" y="174"/>
                  </a:lnTo>
                  <a:lnTo>
                    <a:pt x="56" y="174"/>
                  </a:lnTo>
                  <a:lnTo>
                    <a:pt x="60" y="176"/>
                  </a:lnTo>
                  <a:lnTo>
                    <a:pt x="62" y="178"/>
                  </a:lnTo>
                  <a:lnTo>
                    <a:pt x="64" y="180"/>
                  </a:lnTo>
                  <a:lnTo>
                    <a:pt x="66" y="184"/>
                  </a:lnTo>
                  <a:lnTo>
                    <a:pt x="66" y="196"/>
                  </a:lnTo>
                  <a:close/>
                  <a:moveTo>
                    <a:pt x="66" y="150"/>
                  </a:moveTo>
                  <a:lnTo>
                    <a:pt x="66" y="150"/>
                  </a:lnTo>
                  <a:lnTo>
                    <a:pt x="64" y="154"/>
                  </a:lnTo>
                  <a:lnTo>
                    <a:pt x="62" y="158"/>
                  </a:lnTo>
                  <a:lnTo>
                    <a:pt x="60" y="160"/>
                  </a:lnTo>
                  <a:lnTo>
                    <a:pt x="56" y="160"/>
                  </a:lnTo>
                  <a:lnTo>
                    <a:pt x="44" y="160"/>
                  </a:lnTo>
                  <a:lnTo>
                    <a:pt x="44" y="160"/>
                  </a:lnTo>
                  <a:lnTo>
                    <a:pt x="40" y="160"/>
                  </a:lnTo>
                  <a:lnTo>
                    <a:pt x="36" y="158"/>
                  </a:lnTo>
                  <a:lnTo>
                    <a:pt x="34" y="154"/>
                  </a:lnTo>
                  <a:lnTo>
                    <a:pt x="34" y="150"/>
                  </a:lnTo>
                  <a:lnTo>
                    <a:pt x="34" y="138"/>
                  </a:lnTo>
                  <a:lnTo>
                    <a:pt x="34" y="138"/>
                  </a:lnTo>
                  <a:lnTo>
                    <a:pt x="34" y="134"/>
                  </a:lnTo>
                  <a:lnTo>
                    <a:pt x="36" y="130"/>
                  </a:lnTo>
                  <a:lnTo>
                    <a:pt x="40" y="128"/>
                  </a:lnTo>
                  <a:lnTo>
                    <a:pt x="44" y="128"/>
                  </a:lnTo>
                  <a:lnTo>
                    <a:pt x="56" y="128"/>
                  </a:lnTo>
                  <a:lnTo>
                    <a:pt x="56" y="128"/>
                  </a:lnTo>
                  <a:lnTo>
                    <a:pt x="60" y="128"/>
                  </a:lnTo>
                  <a:lnTo>
                    <a:pt x="62" y="130"/>
                  </a:lnTo>
                  <a:lnTo>
                    <a:pt x="64" y="134"/>
                  </a:lnTo>
                  <a:lnTo>
                    <a:pt x="66" y="138"/>
                  </a:lnTo>
                  <a:lnTo>
                    <a:pt x="66" y="150"/>
                  </a:lnTo>
                  <a:close/>
                  <a:moveTo>
                    <a:pt x="112" y="290"/>
                  </a:moveTo>
                  <a:lnTo>
                    <a:pt x="112" y="290"/>
                  </a:lnTo>
                  <a:lnTo>
                    <a:pt x="110" y="294"/>
                  </a:lnTo>
                  <a:lnTo>
                    <a:pt x="108" y="296"/>
                  </a:lnTo>
                  <a:lnTo>
                    <a:pt x="106" y="300"/>
                  </a:lnTo>
                  <a:lnTo>
                    <a:pt x="102" y="300"/>
                  </a:lnTo>
                  <a:lnTo>
                    <a:pt x="88" y="300"/>
                  </a:lnTo>
                  <a:lnTo>
                    <a:pt x="88" y="300"/>
                  </a:lnTo>
                  <a:lnTo>
                    <a:pt x="86" y="300"/>
                  </a:lnTo>
                  <a:lnTo>
                    <a:pt x="82" y="296"/>
                  </a:lnTo>
                  <a:lnTo>
                    <a:pt x="80" y="294"/>
                  </a:lnTo>
                  <a:lnTo>
                    <a:pt x="78" y="290"/>
                  </a:lnTo>
                  <a:lnTo>
                    <a:pt x="78" y="278"/>
                  </a:lnTo>
                  <a:lnTo>
                    <a:pt x="78" y="278"/>
                  </a:lnTo>
                  <a:lnTo>
                    <a:pt x="80" y="274"/>
                  </a:lnTo>
                  <a:lnTo>
                    <a:pt x="82" y="270"/>
                  </a:lnTo>
                  <a:lnTo>
                    <a:pt x="86" y="268"/>
                  </a:lnTo>
                  <a:lnTo>
                    <a:pt x="88" y="268"/>
                  </a:lnTo>
                  <a:lnTo>
                    <a:pt x="102" y="268"/>
                  </a:lnTo>
                  <a:lnTo>
                    <a:pt x="102" y="268"/>
                  </a:lnTo>
                  <a:lnTo>
                    <a:pt x="106" y="268"/>
                  </a:lnTo>
                  <a:lnTo>
                    <a:pt x="108" y="270"/>
                  </a:lnTo>
                  <a:lnTo>
                    <a:pt x="110" y="274"/>
                  </a:lnTo>
                  <a:lnTo>
                    <a:pt x="112" y="278"/>
                  </a:lnTo>
                  <a:lnTo>
                    <a:pt x="112" y="290"/>
                  </a:lnTo>
                  <a:close/>
                  <a:moveTo>
                    <a:pt x="112" y="244"/>
                  </a:moveTo>
                  <a:lnTo>
                    <a:pt x="112" y="244"/>
                  </a:lnTo>
                  <a:lnTo>
                    <a:pt x="110" y="248"/>
                  </a:lnTo>
                  <a:lnTo>
                    <a:pt x="108" y="250"/>
                  </a:lnTo>
                  <a:lnTo>
                    <a:pt x="106" y="252"/>
                  </a:lnTo>
                  <a:lnTo>
                    <a:pt x="102" y="254"/>
                  </a:lnTo>
                  <a:lnTo>
                    <a:pt x="88" y="254"/>
                  </a:lnTo>
                  <a:lnTo>
                    <a:pt x="88" y="254"/>
                  </a:lnTo>
                  <a:lnTo>
                    <a:pt x="86" y="252"/>
                  </a:lnTo>
                  <a:lnTo>
                    <a:pt x="82" y="250"/>
                  </a:lnTo>
                  <a:lnTo>
                    <a:pt x="80" y="248"/>
                  </a:lnTo>
                  <a:lnTo>
                    <a:pt x="78" y="244"/>
                  </a:lnTo>
                  <a:lnTo>
                    <a:pt x="78" y="230"/>
                  </a:lnTo>
                  <a:lnTo>
                    <a:pt x="78" y="230"/>
                  </a:lnTo>
                  <a:lnTo>
                    <a:pt x="80" y="226"/>
                  </a:lnTo>
                  <a:lnTo>
                    <a:pt x="82" y="224"/>
                  </a:lnTo>
                  <a:lnTo>
                    <a:pt x="86" y="222"/>
                  </a:lnTo>
                  <a:lnTo>
                    <a:pt x="88" y="220"/>
                  </a:lnTo>
                  <a:lnTo>
                    <a:pt x="102" y="220"/>
                  </a:lnTo>
                  <a:lnTo>
                    <a:pt x="102" y="220"/>
                  </a:lnTo>
                  <a:lnTo>
                    <a:pt x="106" y="222"/>
                  </a:lnTo>
                  <a:lnTo>
                    <a:pt x="108" y="224"/>
                  </a:lnTo>
                  <a:lnTo>
                    <a:pt x="110" y="226"/>
                  </a:lnTo>
                  <a:lnTo>
                    <a:pt x="112" y="230"/>
                  </a:lnTo>
                  <a:lnTo>
                    <a:pt x="112" y="244"/>
                  </a:lnTo>
                  <a:close/>
                  <a:moveTo>
                    <a:pt x="112" y="196"/>
                  </a:moveTo>
                  <a:lnTo>
                    <a:pt x="112" y="196"/>
                  </a:lnTo>
                  <a:lnTo>
                    <a:pt x="110" y="200"/>
                  </a:lnTo>
                  <a:lnTo>
                    <a:pt x="108" y="204"/>
                  </a:lnTo>
                  <a:lnTo>
                    <a:pt x="106" y="206"/>
                  </a:lnTo>
                  <a:lnTo>
                    <a:pt x="102" y="206"/>
                  </a:lnTo>
                  <a:lnTo>
                    <a:pt x="88" y="206"/>
                  </a:lnTo>
                  <a:lnTo>
                    <a:pt x="88" y="206"/>
                  </a:lnTo>
                  <a:lnTo>
                    <a:pt x="86" y="206"/>
                  </a:lnTo>
                  <a:lnTo>
                    <a:pt x="82" y="204"/>
                  </a:lnTo>
                  <a:lnTo>
                    <a:pt x="80" y="200"/>
                  </a:lnTo>
                  <a:lnTo>
                    <a:pt x="78" y="196"/>
                  </a:lnTo>
                  <a:lnTo>
                    <a:pt x="78" y="184"/>
                  </a:lnTo>
                  <a:lnTo>
                    <a:pt x="78" y="184"/>
                  </a:lnTo>
                  <a:lnTo>
                    <a:pt x="80" y="180"/>
                  </a:lnTo>
                  <a:lnTo>
                    <a:pt x="82" y="178"/>
                  </a:lnTo>
                  <a:lnTo>
                    <a:pt x="86" y="176"/>
                  </a:lnTo>
                  <a:lnTo>
                    <a:pt x="88" y="174"/>
                  </a:lnTo>
                  <a:lnTo>
                    <a:pt x="102" y="174"/>
                  </a:lnTo>
                  <a:lnTo>
                    <a:pt x="102" y="174"/>
                  </a:lnTo>
                  <a:lnTo>
                    <a:pt x="106" y="176"/>
                  </a:lnTo>
                  <a:lnTo>
                    <a:pt x="108" y="178"/>
                  </a:lnTo>
                  <a:lnTo>
                    <a:pt x="110" y="180"/>
                  </a:lnTo>
                  <a:lnTo>
                    <a:pt x="112" y="184"/>
                  </a:lnTo>
                  <a:lnTo>
                    <a:pt x="112" y="196"/>
                  </a:lnTo>
                  <a:close/>
                  <a:moveTo>
                    <a:pt x="112" y="150"/>
                  </a:moveTo>
                  <a:lnTo>
                    <a:pt x="112" y="150"/>
                  </a:lnTo>
                  <a:lnTo>
                    <a:pt x="110" y="154"/>
                  </a:lnTo>
                  <a:lnTo>
                    <a:pt x="108" y="158"/>
                  </a:lnTo>
                  <a:lnTo>
                    <a:pt x="106" y="160"/>
                  </a:lnTo>
                  <a:lnTo>
                    <a:pt x="102" y="160"/>
                  </a:lnTo>
                  <a:lnTo>
                    <a:pt x="88" y="160"/>
                  </a:lnTo>
                  <a:lnTo>
                    <a:pt x="88" y="160"/>
                  </a:lnTo>
                  <a:lnTo>
                    <a:pt x="86" y="160"/>
                  </a:lnTo>
                  <a:lnTo>
                    <a:pt x="82" y="158"/>
                  </a:lnTo>
                  <a:lnTo>
                    <a:pt x="80" y="154"/>
                  </a:lnTo>
                  <a:lnTo>
                    <a:pt x="78" y="150"/>
                  </a:lnTo>
                  <a:lnTo>
                    <a:pt x="78" y="138"/>
                  </a:lnTo>
                  <a:lnTo>
                    <a:pt x="78" y="138"/>
                  </a:lnTo>
                  <a:lnTo>
                    <a:pt x="80" y="134"/>
                  </a:lnTo>
                  <a:lnTo>
                    <a:pt x="82" y="130"/>
                  </a:lnTo>
                  <a:lnTo>
                    <a:pt x="86" y="128"/>
                  </a:lnTo>
                  <a:lnTo>
                    <a:pt x="88" y="128"/>
                  </a:lnTo>
                  <a:lnTo>
                    <a:pt x="102" y="128"/>
                  </a:lnTo>
                  <a:lnTo>
                    <a:pt x="102" y="128"/>
                  </a:lnTo>
                  <a:lnTo>
                    <a:pt x="106" y="128"/>
                  </a:lnTo>
                  <a:lnTo>
                    <a:pt x="108" y="130"/>
                  </a:lnTo>
                  <a:lnTo>
                    <a:pt x="110" y="134"/>
                  </a:lnTo>
                  <a:lnTo>
                    <a:pt x="112" y="138"/>
                  </a:lnTo>
                  <a:lnTo>
                    <a:pt x="112" y="150"/>
                  </a:lnTo>
                  <a:close/>
                  <a:moveTo>
                    <a:pt x="158" y="290"/>
                  </a:moveTo>
                  <a:lnTo>
                    <a:pt x="158" y="290"/>
                  </a:lnTo>
                  <a:lnTo>
                    <a:pt x="156" y="294"/>
                  </a:lnTo>
                  <a:lnTo>
                    <a:pt x="154" y="296"/>
                  </a:lnTo>
                  <a:lnTo>
                    <a:pt x="150" y="300"/>
                  </a:lnTo>
                  <a:lnTo>
                    <a:pt x="148" y="300"/>
                  </a:lnTo>
                  <a:lnTo>
                    <a:pt x="134" y="300"/>
                  </a:lnTo>
                  <a:lnTo>
                    <a:pt x="134" y="300"/>
                  </a:lnTo>
                  <a:lnTo>
                    <a:pt x="130" y="300"/>
                  </a:lnTo>
                  <a:lnTo>
                    <a:pt x="128" y="296"/>
                  </a:lnTo>
                  <a:lnTo>
                    <a:pt x="126" y="294"/>
                  </a:lnTo>
                  <a:lnTo>
                    <a:pt x="124" y="290"/>
                  </a:lnTo>
                  <a:lnTo>
                    <a:pt x="124" y="278"/>
                  </a:lnTo>
                  <a:lnTo>
                    <a:pt x="124" y="278"/>
                  </a:lnTo>
                  <a:lnTo>
                    <a:pt x="126" y="274"/>
                  </a:lnTo>
                  <a:lnTo>
                    <a:pt x="128" y="270"/>
                  </a:lnTo>
                  <a:lnTo>
                    <a:pt x="130" y="268"/>
                  </a:lnTo>
                  <a:lnTo>
                    <a:pt x="134" y="268"/>
                  </a:lnTo>
                  <a:lnTo>
                    <a:pt x="148" y="268"/>
                  </a:lnTo>
                  <a:lnTo>
                    <a:pt x="148" y="268"/>
                  </a:lnTo>
                  <a:lnTo>
                    <a:pt x="150" y="268"/>
                  </a:lnTo>
                  <a:lnTo>
                    <a:pt x="154" y="270"/>
                  </a:lnTo>
                  <a:lnTo>
                    <a:pt x="156" y="274"/>
                  </a:lnTo>
                  <a:lnTo>
                    <a:pt x="158" y="278"/>
                  </a:lnTo>
                  <a:lnTo>
                    <a:pt x="158" y="290"/>
                  </a:lnTo>
                  <a:close/>
                  <a:moveTo>
                    <a:pt x="158" y="244"/>
                  </a:moveTo>
                  <a:lnTo>
                    <a:pt x="158" y="244"/>
                  </a:lnTo>
                  <a:lnTo>
                    <a:pt x="156" y="248"/>
                  </a:lnTo>
                  <a:lnTo>
                    <a:pt x="154" y="250"/>
                  </a:lnTo>
                  <a:lnTo>
                    <a:pt x="150" y="252"/>
                  </a:lnTo>
                  <a:lnTo>
                    <a:pt x="148" y="254"/>
                  </a:lnTo>
                  <a:lnTo>
                    <a:pt x="134" y="254"/>
                  </a:lnTo>
                  <a:lnTo>
                    <a:pt x="134" y="254"/>
                  </a:lnTo>
                  <a:lnTo>
                    <a:pt x="130" y="252"/>
                  </a:lnTo>
                  <a:lnTo>
                    <a:pt x="128" y="250"/>
                  </a:lnTo>
                  <a:lnTo>
                    <a:pt x="126" y="248"/>
                  </a:lnTo>
                  <a:lnTo>
                    <a:pt x="124" y="244"/>
                  </a:lnTo>
                  <a:lnTo>
                    <a:pt x="124" y="230"/>
                  </a:lnTo>
                  <a:lnTo>
                    <a:pt x="124" y="230"/>
                  </a:lnTo>
                  <a:lnTo>
                    <a:pt x="126" y="226"/>
                  </a:lnTo>
                  <a:lnTo>
                    <a:pt x="128" y="224"/>
                  </a:lnTo>
                  <a:lnTo>
                    <a:pt x="130" y="222"/>
                  </a:lnTo>
                  <a:lnTo>
                    <a:pt x="134" y="220"/>
                  </a:lnTo>
                  <a:lnTo>
                    <a:pt x="148" y="220"/>
                  </a:lnTo>
                  <a:lnTo>
                    <a:pt x="148" y="220"/>
                  </a:lnTo>
                  <a:lnTo>
                    <a:pt x="150" y="222"/>
                  </a:lnTo>
                  <a:lnTo>
                    <a:pt x="154" y="224"/>
                  </a:lnTo>
                  <a:lnTo>
                    <a:pt x="156" y="226"/>
                  </a:lnTo>
                  <a:lnTo>
                    <a:pt x="158" y="230"/>
                  </a:lnTo>
                  <a:lnTo>
                    <a:pt x="158" y="244"/>
                  </a:lnTo>
                  <a:close/>
                  <a:moveTo>
                    <a:pt x="158" y="196"/>
                  </a:moveTo>
                  <a:lnTo>
                    <a:pt x="158" y="196"/>
                  </a:lnTo>
                  <a:lnTo>
                    <a:pt x="156" y="200"/>
                  </a:lnTo>
                  <a:lnTo>
                    <a:pt x="154" y="204"/>
                  </a:lnTo>
                  <a:lnTo>
                    <a:pt x="150" y="206"/>
                  </a:lnTo>
                  <a:lnTo>
                    <a:pt x="148" y="206"/>
                  </a:lnTo>
                  <a:lnTo>
                    <a:pt x="134" y="206"/>
                  </a:lnTo>
                  <a:lnTo>
                    <a:pt x="134" y="206"/>
                  </a:lnTo>
                  <a:lnTo>
                    <a:pt x="130" y="206"/>
                  </a:lnTo>
                  <a:lnTo>
                    <a:pt x="128" y="204"/>
                  </a:lnTo>
                  <a:lnTo>
                    <a:pt x="126" y="200"/>
                  </a:lnTo>
                  <a:lnTo>
                    <a:pt x="124" y="196"/>
                  </a:lnTo>
                  <a:lnTo>
                    <a:pt x="124" y="184"/>
                  </a:lnTo>
                  <a:lnTo>
                    <a:pt x="124" y="184"/>
                  </a:lnTo>
                  <a:lnTo>
                    <a:pt x="126" y="180"/>
                  </a:lnTo>
                  <a:lnTo>
                    <a:pt x="128" y="178"/>
                  </a:lnTo>
                  <a:lnTo>
                    <a:pt x="130" y="176"/>
                  </a:lnTo>
                  <a:lnTo>
                    <a:pt x="134" y="174"/>
                  </a:lnTo>
                  <a:lnTo>
                    <a:pt x="148" y="174"/>
                  </a:lnTo>
                  <a:lnTo>
                    <a:pt x="148" y="174"/>
                  </a:lnTo>
                  <a:lnTo>
                    <a:pt x="150" y="176"/>
                  </a:lnTo>
                  <a:lnTo>
                    <a:pt x="154" y="178"/>
                  </a:lnTo>
                  <a:lnTo>
                    <a:pt x="156" y="180"/>
                  </a:lnTo>
                  <a:lnTo>
                    <a:pt x="158" y="184"/>
                  </a:lnTo>
                  <a:lnTo>
                    <a:pt x="158" y="196"/>
                  </a:lnTo>
                  <a:close/>
                  <a:moveTo>
                    <a:pt x="158" y="150"/>
                  </a:moveTo>
                  <a:lnTo>
                    <a:pt x="158" y="150"/>
                  </a:lnTo>
                  <a:lnTo>
                    <a:pt x="156" y="154"/>
                  </a:lnTo>
                  <a:lnTo>
                    <a:pt x="154" y="158"/>
                  </a:lnTo>
                  <a:lnTo>
                    <a:pt x="150" y="160"/>
                  </a:lnTo>
                  <a:lnTo>
                    <a:pt x="148" y="160"/>
                  </a:lnTo>
                  <a:lnTo>
                    <a:pt x="134" y="160"/>
                  </a:lnTo>
                  <a:lnTo>
                    <a:pt x="134" y="160"/>
                  </a:lnTo>
                  <a:lnTo>
                    <a:pt x="130" y="160"/>
                  </a:lnTo>
                  <a:lnTo>
                    <a:pt x="128" y="158"/>
                  </a:lnTo>
                  <a:lnTo>
                    <a:pt x="126" y="154"/>
                  </a:lnTo>
                  <a:lnTo>
                    <a:pt x="124" y="150"/>
                  </a:lnTo>
                  <a:lnTo>
                    <a:pt x="124" y="138"/>
                  </a:lnTo>
                  <a:lnTo>
                    <a:pt x="124" y="138"/>
                  </a:lnTo>
                  <a:lnTo>
                    <a:pt x="126" y="134"/>
                  </a:lnTo>
                  <a:lnTo>
                    <a:pt x="128" y="130"/>
                  </a:lnTo>
                  <a:lnTo>
                    <a:pt x="130" y="128"/>
                  </a:lnTo>
                  <a:lnTo>
                    <a:pt x="134" y="128"/>
                  </a:lnTo>
                  <a:lnTo>
                    <a:pt x="148" y="128"/>
                  </a:lnTo>
                  <a:lnTo>
                    <a:pt x="148" y="128"/>
                  </a:lnTo>
                  <a:lnTo>
                    <a:pt x="150" y="128"/>
                  </a:lnTo>
                  <a:lnTo>
                    <a:pt x="154" y="130"/>
                  </a:lnTo>
                  <a:lnTo>
                    <a:pt x="156" y="134"/>
                  </a:lnTo>
                  <a:lnTo>
                    <a:pt x="158" y="138"/>
                  </a:lnTo>
                  <a:lnTo>
                    <a:pt x="158" y="150"/>
                  </a:lnTo>
                  <a:close/>
                  <a:moveTo>
                    <a:pt x="202" y="244"/>
                  </a:moveTo>
                  <a:lnTo>
                    <a:pt x="202" y="290"/>
                  </a:lnTo>
                  <a:lnTo>
                    <a:pt x="202" y="290"/>
                  </a:lnTo>
                  <a:lnTo>
                    <a:pt x="202" y="294"/>
                  </a:lnTo>
                  <a:lnTo>
                    <a:pt x="200" y="296"/>
                  </a:lnTo>
                  <a:lnTo>
                    <a:pt x="196" y="300"/>
                  </a:lnTo>
                  <a:lnTo>
                    <a:pt x="192" y="300"/>
                  </a:lnTo>
                  <a:lnTo>
                    <a:pt x="180" y="300"/>
                  </a:lnTo>
                  <a:lnTo>
                    <a:pt x="180" y="300"/>
                  </a:lnTo>
                  <a:lnTo>
                    <a:pt x="176" y="300"/>
                  </a:lnTo>
                  <a:lnTo>
                    <a:pt x="174" y="296"/>
                  </a:lnTo>
                  <a:lnTo>
                    <a:pt x="172" y="294"/>
                  </a:lnTo>
                  <a:lnTo>
                    <a:pt x="170" y="290"/>
                  </a:lnTo>
                  <a:lnTo>
                    <a:pt x="170" y="244"/>
                  </a:lnTo>
                  <a:lnTo>
                    <a:pt x="170" y="230"/>
                  </a:lnTo>
                  <a:lnTo>
                    <a:pt x="170" y="230"/>
                  </a:lnTo>
                  <a:lnTo>
                    <a:pt x="172" y="226"/>
                  </a:lnTo>
                  <a:lnTo>
                    <a:pt x="174" y="224"/>
                  </a:lnTo>
                  <a:lnTo>
                    <a:pt x="176" y="222"/>
                  </a:lnTo>
                  <a:lnTo>
                    <a:pt x="180" y="220"/>
                  </a:lnTo>
                  <a:lnTo>
                    <a:pt x="192" y="220"/>
                  </a:lnTo>
                  <a:lnTo>
                    <a:pt x="192" y="220"/>
                  </a:lnTo>
                  <a:lnTo>
                    <a:pt x="196" y="222"/>
                  </a:lnTo>
                  <a:lnTo>
                    <a:pt x="200" y="224"/>
                  </a:lnTo>
                  <a:lnTo>
                    <a:pt x="202" y="226"/>
                  </a:lnTo>
                  <a:lnTo>
                    <a:pt x="202" y="230"/>
                  </a:lnTo>
                  <a:lnTo>
                    <a:pt x="202" y="244"/>
                  </a:lnTo>
                  <a:close/>
                  <a:moveTo>
                    <a:pt x="202" y="196"/>
                  </a:moveTo>
                  <a:lnTo>
                    <a:pt x="202" y="196"/>
                  </a:lnTo>
                  <a:lnTo>
                    <a:pt x="202" y="200"/>
                  </a:lnTo>
                  <a:lnTo>
                    <a:pt x="200" y="204"/>
                  </a:lnTo>
                  <a:lnTo>
                    <a:pt x="196" y="206"/>
                  </a:lnTo>
                  <a:lnTo>
                    <a:pt x="192" y="206"/>
                  </a:lnTo>
                  <a:lnTo>
                    <a:pt x="180" y="206"/>
                  </a:lnTo>
                  <a:lnTo>
                    <a:pt x="180" y="206"/>
                  </a:lnTo>
                  <a:lnTo>
                    <a:pt x="176" y="206"/>
                  </a:lnTo>
                  <a:lnTo>
                    <a:pt x="174" y="204"/>
                  </a:lnTo>
                  <a:lnTo>
                    <a:pt x="172" y="200"/>
                  </a:lnTo>
                  <a:lnTo>
                    <a:pt x="170" y="196"/>
                  </a:lnTo>
                  <a:lnTo>
                    <a:pt x="170" y="184"/>
                  </a:lnTo>
                  <a:lnTo>
                    <a:pt x="170" y="184"/>
                  </a:lnTo>
                  <a:lnTo>
                    <a:pt x="172" y="180"/>
                  </a:lnTo>
                  <a:lnTo>
                    <a:pt x="174" y="178"/>
                  </a:lnTo>
                  <a:lnTo>
                    <a:pt x="176" y="176"/>
                  </a:lnTo>
                  <a:lnTo>
                    <a:pt x="180" y="174"/>
                  </a:lnTo>
                  <a:lnTo>
                    <a:pt x="192" y="174"/>
                  </a:lnTo>
                  <a:lnTo>
                    <a:pt x="192" y="174"/>
                  </a:lnTo>
                  <a:lnTo>
                    <a:pt x="196" y="176"/>
                  </a:lnTo>
                  <a:lnTo>
                    <a:pt x="200" y="178"/>
                  </a:lnTo>
                  <a:lnTo>
                    <a:pt x="202" y="180"/>
                  </a:lnTo>
                  <a:lnTo>
                    <a:pt x="202" y="184"/>
                  </a:lnTo>
                  <a:lnTo>
                    <a:pt x="202" y="196"/>
                  </a:lnTo>
                  <a:close/>
                  <a:moveTo>
                    <a:pt x="202" y="150"/>
                  </a:moveTo>
                  <a:lnTo>
                    <a:pt x="202" y="150"/>
                  </a:lnTo>
                  <a:lnTo>
                    <a:pt x="202" y="154"/>
                  </a:lnTo>
                  <a:lnTo>
                    <a:pt x="200" y="158"/>
                  </a:lnTo>
                  <a:lnTo>
                    <a:pt x="196" y="160"/>
                  </a:lnTo>
                  <a:lnTo>
                    <a:pt x="192" y="160"/>
                  </a:lnTo>
                  <a:lnTo>
                    <a:pt x="180" y="160"/>
                  </a:lnTo>
                  <a:lnTo>
                    <a:pt x="180" y="160"/>
                  </a:lnTo>
                  <a:lnTo>
                    <a:pt x="176" y="160"/>
                  </a:lnTo>
                  <a:lnTo>
                    <a:pt x="174" y="158"/>
                  </a:lnTo>
                  <a:lnTo>
                    <a:pt x="172" y="154"/>
                  </a:lnTo>
                  <a:lnTo>
                    <a:pt x="170" y="150"/>
                  </a:lnTo>
                  <a:lnTo>
                    <a:pt x="170" y="138"/>
                  </a:lnTo>
                  <a:lnTo>
                    <a:pt x="170" y="138"/>
                  </a:lnTo>
                  <a:lnTo>
                    <a:pt x="172" y="134"/>
                  </a:lnTo>
                  <a:lnTo>
                    <a:pt x="174" y="130"/>
                  </a:lnTo>
                  <a:lnTo>
                    <a:pt x="176" y="128"/>
                  </a:lnTo>
                  <a:lnTo>
                    <a:pt x="180" y="128"/>
                  </a:lnTo>
                  <a:lnTo>
                    <a:pt x="192" y="128"/>
                  </a:lnTo>
                  <a:lnTo>
                    <a:pt x="192" y="128"/>
                  </a:lnTo>
                  <a:lnTo>
                    <a:pt x="196" y="128"/>
                  </a:lnTo>
                  <a:lnTo>
                    <a:pt x="200" y="130"/>
                  </a:lnTo>
                  <a:lnTo>
                    <a:pt x="202" y="134"/>
                  </a:lnTo>
                  <a:lnTo>
                    <a:pt x="202" y="138"/>
                  </a:lnTo>
                  <a:lnTo>
                    <a:pt x="202" y="150"/>
                  </a:lnTo>
                  <a:close/>
                  <a:moveTo>
                    <a:pt x="202" y="84"/>
                  </a:moveTo>
                  <a:lnTo>
                    <a:pt x="202" y="84"/>
                  </a:lnTo>
                  <a:lnTo>
                    <a:pt x="202" y="88"/>
                  </a:lnTo>
                  <a:lnTo>
                    <a:pt x="200" y="92"/>
                  </a:lnTo>
                  <a:lnTo>
                    <a:pt x="196" y="94"/>
                  </a:lnTo>
                  <a:lnTo>
                    <a:pt x="192" y="94"/>
                  </a:lnTo>
                  <a:lnTo>
                    <a:pt x="44" y="94"/>
                  </a:lnTo>
                  <a:lnTo>
                    <a:pt x="44" y="94"/>
                  </a:lnTo>
                  <a:lnTo>
                    <a:pt x="40" y="94"/>
                  </a:lnTo>
                  <a:lnTo>
                    <a:pt x="36" y="92"/>
                  </a:lnTo>
                  <a:lnTo>
                    <a:pt x="34" y="88"/>
                  </a:lnTo>
                  <a:lnTo>
                    <a:pt x="34" y="84"/>
                  </a:lnTo>
                  <a:lnTo>
                    <a:pt x="34" y="56"/>
                  </a:lnTo>
                  <a:lnTo>
                    <a:pt x="34" y="56"/>
                  </a:lnTo>
                  <a:lnTo>
                    <a:pt x="34" y="52"/>
                  </a:lnTo>
                  <a:lnTo>
                    <a:pt x="36" y="50"/>
                  </a:lnTo>
                  <a:lnTo>
                    <a:pt x="40" y="48"/>
                  </a:lnTo>
                  <a:lnTo>
                    <a:pt x="44" y="46"/>
                  </a:lnTo>
                  <a:lnTo>
                    <a:pt x="192" y="46"/>
                  </a:lnTo>
                  <a:lnTo>
                    <a:pt x="192" y="46"/>
                  </a:lnTo>
                  <a:lnTo>
                    <a:pt x="196" y="48"/>
                  </a:lnTo>
                  <a:lnTo>
                    <a:pt x="200" y="50"/>
                  </a:lnTo>
                  <a:lnTo>
                    <a:pt x="202" y="52"/>
                  </a:lnTo>
                  <a:lnTo>
                    <a:pt x="202" y="56"/>
                  </a:lnTo>
                  <a:lnTo>
                    <a:pt x="202" y="8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55" name="Group 154">
            <a:extLst>
              <a:ext uri="{FF2B5EF4-FFF2-40B4-BE49-F238E27FC236}">
                <a16:creationId xmlns:a16="http://schemas.microsoft.com/office/drawing/2014/main" id="{91372C1D-6198-4B94-AA4A-7A9909F68609}"/>
              </a:ext>
            </a:extLst>
          </p:cNvPr>
          <p:cNvGrpSpPr/>
          <p:nvPr/>
        </p:nvGrpSpPr>
        <p:grpSpPr>
          <a:xfrm>
            <a:off x="6036846" y="2811612"/>
            <a:ext cx="612000" cy="612000"/>
            <a:chOff x="4966372" y="3474401"/>
            <a:chExt cx="612000" cy="612000"/>
          </a:xfrm>
        </p:grpSpPr>
        <p:sp>
          <p:nvSpPr>
            <p:cNvPr id="156" name="Oval 155">
              <a:extLst>
                <a:ext uri="{FF2B5EF4-FFF2-40B4-BE49-F238E27FC236}">
                  <a16:creationId xmlns:a16="http://schemas.microsoft.com/office/drawing/2014/main" id="{B8FE4018-6FDB-4EE5-B83D-5CEB25D84670}"/>
                </a:ext>
              </a:extLst>
            </p:cNvPr>
            <p:cNvSpPr/>
            <p:nvPr/>
          </p:nvSpPr>
          <p:spPr bwMode="ltGray">
            <a:xfrm>
              <a:off x="4966372"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57" name="Freeform 4991">
              <a:extLst>
                <a:ext uri="{FF2B5EF4-FFF2-40B4-BE49-F238E27FC236}">
                  <a16:creationId xmlns:a16="http://schemas.microsoft.com/office/drawing/2014/main" id="{6B601536-7D4A-488B-8952-92AC9D905C1C}"/>
                </a:ext>
              </a:extLst>
            </p:cNvPr>
            <p:cNvSpPr>
              <a:spLocks noEditPoints="1"/>
            </p:cNvSpPr>
            <p:nvPr/>
          </p:nvSpPr>
          <p:spPr bwMode="auto">
            <a:xfrm>
              <a:off x="5148464" y="3577070"/>
              <a:ext cx="344069" cy="407068"/>
            </a:xfrm>
            <a:custGeom>
              <a:avLst/>
              <a:gdLst>
                <a:gd name="T0" fmla="*/ 50 w 284"/>
                <a:gd name="T1" fmla="*/ 26 h 336"/>
                <a:gd name="T2" fmla="*/ 170 w 284"/>
                <a:gd name="T3" fmla="*/ 0 h 336"/>
                <a:gd name="T4" fmla="*/ 182 w 284"/>
                <a:gd name="T5" fmla="*/ 2 h 336"/>
                <a:gd name="T6" fmla="*/ 200 w 284"/>
                <a:gd name="T7" fmla="*/ 52 h 336"/>
                <a:gd name="T8" fmla="*/ 180 w 284"/>
                <a:gd name="T9" fmla="*/ 20 h 336"/>
                <a:gd name="T10" fmla="*/ 162 w 284"/>
                <a:gd name="T11" fmla="*/ 20 h 336"/>
                <a:gd name="T12" fmla="*/ 142 w 284"/>
                <a:gd name="T13" fmla="*/ 52 h 336"/>
                <a:gd name="T14" fmla="*/ 204 w 284"/>
                <a:gd name="T15" fmla="*/ 326 h 336"/>
                <a:gd name="T16" fmla="*/ 16 w 284"/>
                <a:gd name="T17" fmla="*/ 336 h 336"/>
                <a:gd name="T18" fmla="*/ 0 w 284"/>
                <a:gd name="T19" fmla="*/ 92 h 336"/>
                <a:gd name="T20" fmla="*/ 16 w 284"/>
                <a:gd name="T21" fmla="*/ 76 h 336"/>
                <a:gd name="T22" fmla="*/ 204 w 284"/>
                <a:gd name="T23" fmla="*/ 86 h 336"/>
                <a:gd name="T24" fmla="*/ 66 w 284"/>
                <a:gd name="T25" fmla="*/ 278 h 336"/>
                <a:gd name="T26" fmla="*/ 38 w 284"/>
                <a:gd name="T27" fmla="*/ 272 h 336"/>
                <a:gd name="T28" fmla="*/ 28 w 284"/>
                <a:gd name="T29" fmla="*/ 300 h 336"/>
                <a:gd name="T30" fmla="*/ 38 w 284"/>
                <a:gd name="T31" fmla="*/ 310 h 336"/>
                <a:gd name="T32" fmla="*/ 66 w 284"/>
                <a:gd name="T33" fmla="*/ 304 h 336"/>
                <a:gd name="T34" fmla="*/ 66 w 284"/>
                <a:gd name="T35" fmla="*/ 222 h 336"/>
                <a:gd name="T36" fmla="*/ 38 w 284"/>
                <a:gd name="T37" fmla="*/ 216 h 336"/>
                <a:gd name="T38" fmla="*/ 28 w 284"/>
                <a:gd name="T39" fmla="*/ 246 h 336"/>
                <a:gd name="T40" fmla="*/ 38 w 284"/>
                <a:gd name="T41" fmla="*/ 256 h 336"/>
                <a:gd name="T42" fmla="*/ 66 w 284"/>
                <a:gd name="T43" fmla="*/ 250 h 336"/>
                <a:gd name="T44" fmla="*/ 66 w 284"/>
                <a:gd name="T45" fmla="*/ 168 h 336"/>
                <a:gd name="T46" fmla="*/ 38 w 284"/>
                <a:gd name="T47" fmla="*/ 162 h 336"/>
                <a:gd name="T48" fmla="*/ 28 w 284"/>
                <a:gd name="T49" fmla="*/ 192 h 336"/>
                <a:gd name="T50" fmla="*/ 38 w 284"/>
                <a:gd name="T51" fmla="*/ 202 h 336"/>
                <a:gd name="T52" fmla="*/ 66 w 284"/>
                <a:gd name="T53" fmla="*/ 196 h 336"/>
                <a:gd name="T54" fmla="*/ 122 w 284"/>
                <a:gd name="T55" fmla="*/ 278 h 336"/>
                <a:gd name="T56" fmla="*/ 94 w 284"/>
                <a:gd name="T57" fmla="*/ 272 h 336"/>
                <a:gd name="T58" fmla="*/ 84 w 284"/>
                <a:gd name="T59" fmla="*/ 300 h 336"/>
                <a:gd name="T60" fmla="*/ 94 w 284"/>
                <a:gd name="T61" fmla="*/ 310 h 336"/>
                <a:gd name="T62" fmla="*/ 122 w 284"/>
                <a:gd name="T63" fmla="*/ 304 h 336"/>
                <a:gd name="T64" fmla="*/ 122 w 284"/>
                <a:gd name="T65" fmla="*/ 222 h 336"/>
                <a:gd name="T66" fmla="*/ 94 w 284"/>
                <a:gd name="T67" fmla="*/ 216 h 336"/>
                <a:gd name="T68" fmla="*/ 84 w 284"/>
                <a:gd name="T69" fmla="*/ 246 h 336"/>
                <a:gd name="T70" fmla="*/ 94 w 284"/>
                <a:gd name="T71" fmla="*/ 256 h 336"/>
                <a:gd name="T72" fmla="*/ 122 w 284"/>
                <a:gd name="T73" fmla="*/ 250 h 336"/>
                <a:gd name="T74" fmla="*/ 112 w 284"/>
                <a:gd name="T75" fmla="*/ 202 h 336"/>
                <a:gd name="T76" fmla="*/ 122 w 284"/>
                <a:gd name="T77" fmla="*/ 172 h 336"/>
                <a:gd name="T78" fmla="*/ 112 w 284"/>
                <a:gd name="T79" fmla="*/ 162 h 336"/>
                <a:gd name="T80" fmla="*/ 84 w 284"/>
                <a:gd name="T81" fmla="*/ 168 h 336"/>
                <a:gd name="T82" fmla="*/ 86 w 284"/>
                <a:gd name="T83" fmla="*/ 198 h 336"/>
                <a:gd name="T84" fmla="*/ 176 w 284"/>
                <a:gd name="T85" fmla="*/ 226 h 336"/>
                <a:gd name="T86" fmla="*/ 148 w 284"/>
                <a:gd name="T87" fmla="*/ 216 h 336"/>
                <a:gd name="T88" fmla="*/ 138 w 284"/>
                <a:gd name="T89" fmla="*/ 226 h 336"/>
                <a:gd name="T90" fmla="*/ 140 w 284"/>
                <a:gd name="T91" fmla="*/ 308 h 336"/>
                <a:gd name="T92" fmla="*/ 170 w 284"/>
                <a:gd name="T93" fmla="*/ 310 h 336"/>
                <a:gd name="T94" fmla="*/ 176 w 284"/>
                <a:gd name="T95" fmla="*/ 226 h 336"/>
                <a:gd name="T96" fmla="*/ 170 w 284"/>
                <a:gd name="T97" fmla="*/ 164 h 336"/>
                <a:gd name="T98" fmla="*/ 140 w 284"/>
                <a:gd name="T99" fmla="*/ 166 h 336"/>
                <a:gd name="T100" fmla="*/ 138 w 284"/>
                <a:gd name="T101" fmla="*/ 196 h 336"/>
                <a:gd name="T102" fmla="*/ 166 w 284"/>
                <a:gd name="T103" fmla="*/ 202 h 336"/>
                <a:gd name="T104" fmla="*/ 176 w 284"/>
                <a:gd name="T105" fmla="*/ 172 h 336"/>
                <a:gd name="T106" fmla="*/ 176 w 284"/>
                <a:gd name="T107" fmla="*/ 104 h 336"/>
                <a:gd name="T108" fmla="*/ 264 w 284"/>
                <a:gd name="T109" fmla="*/ 162 h 336"/>
                <a:gd name="T110" fmla="*/ 244 w 284"/>
                <a:gd name="T111" fmla="*/ 138 h 336"/>
                <a:gd name="T112" fmla="*/ 238 w 284"/>
                <a:gd name="T113" fmla="*/ 124 h 336"/>
                <a:gd name="T114" fmla="*/ 228 w 284"/>
                <a:gd name="T115" fmla="*/ 128 h 336"/>
                <a:gd name="T116" fmla="*/ 226 w 284"/>
                <a:gd name="T117" fmla="*/ 196 h 336"/>
                <a:gd name="T118" fmla="*/ 234 w 284"/>
                <a:gd name="T119" fmla="*/ 204 h 336"/>
                <a:gd name="T120" fmla="*/ 276 w 284"/>
                <a:gd name="T121" fmla="*/ 190 h 336"/>
                <a:gd name="T122" fmla="*/ 284 w 284"/>
                <a:gd name="T123" fmla="*/ 174 h 336"/>
                <a:gd name="T124" fmla="*/ 280 w 284"/>
                <a:gd name="T125" fmla="*/ 166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36">
                  <a:moveTo>
                    <a:pt x="76" y="52"/>
                  </a:moveTo>
                  <a:lnTo>
                    <a:pt x="50" y="52"/>
                  </a:lnTo>
                  <a:lnTo>
                    <a:pt x="50" y="26"/>
                  </a:lnTo>
                  <a:lnTo>
                    <a:pt x="50" y="26"/>
                  </a:lnTo>
                  <a:lnTo>
                    <a:pt x="50" y="26"/>
                  </a:lnTo>
                  <a:lnTo>
                    <a:pt x="52" y="16"/>
                  </a:lnTo>
                  <a:lnTo>
                    <a:pt x="58" y="8"/>
                  </a:lnTo>
                  <a:lnTo>
                    <a:pt x="66" y="2"/>
                  </a:lnTo>
                  <a:lnTo>
                    <a:pt x="76" y="0"/>
                  </a:lnTo>
                  <a:lnTo>
                    <a:pt x="170" y="0"/>
                  </a:lnTo>
                  <a:lnTo>
                    <a:pt x="170" y="0"/>
                  </a:lnTo>
                  <a:lnTo>
                    <a:pt x="170" y="0"/>
                  </a:lnTo>
                  <a:lnTo>
                    <a:pt x="170" y="0"/>
                  </a:lnTo>
                  <a:lnTo>
                    <a:pt x="176" y="2"/>
                  </a:lnTo>
                  <a:lnTo>
                    <a:pt x="182" y="2"/>
                  </a:lnTo>
                  <a:lnTo>
                    <a:pt x="192" y="10"/>
                  </a:lnTo>
                  <a:lnTo>
                    <a:pt x="198" y="18"/>
                  </a:lnTo>
                  <a:lnTo>
                    <a:pt x="200" y="24"/>
                  </a:lnTo>
                  <a:lnTo>
                    <a:pt x="200" y="30"/>
                  </a:lnTo>
                  <a:lnTo>
                    <a:pt x="200" y="52"/>
                  </a:lnTo>
                  <a:lnTo>
                    <a:pt x="184" y="52"/>
                  </a:lnTo>
                  <a:lnTo>
                    <a:pt x="184" y="30"/>
                  </a:lnTo>
                  <a:lnTo>
                    <a:pt x="184" y="30"/>
                  </a:lnTo>
                  <a:lnTo>
                    <a:pt x="184" y="24"/>
                  </a:lnTo>
                  <a:lnTo>
                    <a:pt x="180" y="20"/>
                  </a:lnTo>
                  <a:lnTo>
                    <a:pt x="176" y="18"/>
                  </a:lnTo>
                  <a:lnTo>
                    <a:pt x="170" y="16"/>
                  </a:lnTo>
                  <a:lnTo>
                    <a:pt x="170" y="16"/>
                  </a:lnTo>
                  <a:lnTo>
                    <a:pt x="166" y="18"/>
                  </a:lnTo>
                  <a:lnTo>
                    <a:pt x="162" y="20"/>
                  </a:lnTo>
                  <a:lnTo>
                    <a:pt x="158" y="24"/>
                  </a:lnTo>
                  <a:lnTo>
                    <a:pt x="158" y="30"/>
                  </a:lnTo>
                  <a:lnTo>
                    <a:pt x="158" y="52"/>
                  </a:lnTo>
                  <a:lnTo>
                    <a:pt x="150" y="52"/>
                  </a:lnTo>
                  <a:lnTo>
                    <a:pt x="142" y="52"/>
                  </a:lnTo>
                  <a:lnTo>
                    <a:pt x="76" y="52"/>
                  </a:lnTo>
                  <a:close/>
                  <a:moveTo>
                    <a:pt x="206" y="92"/>
                  </a:moveTo>
                  <a:lnTo>
                    <a:pt x="206" y="320"/>
                  </a:lnTo>
                  <a:lnTo>
                    <a:pt x="206" y="320"/>
                  </a:lnTo>
                  <a:lnTo>
                    <a:pt x="204" y="326"/>
                  </a:lnTo>
                  <a:lnTo>
                    <a:pt x="200" y="332"/>
                  </a:lnTo>
                  <a:lnTo>
                    <a:pt x="196" y="334"/>
                  </a:lnTo>
                  <a:lnTo>
                    <a:pt x="190" y="336"/>
                  </a:lnTo>
                  <a:lnTo>
                    <a:pt x="16" y="336"/>
                  </a:lnTo>
                  <a:lnTo>
                    <a:pt x="16" y="336"/>
                  </a:lnTo>
                  <a:lnTo>
                    <a:pt x="10" y="334"/>
                  </a:lnTo>
                  <a:lnTo>
                    <a:pt x="4" y="332"/>
                  </a:lnTo>
                  <a:lnTo>
                    <a:pt x="2" y="326"/>
                  </a:lnTo>
                  <a:lnTo>
                    <a:pt x="0" y="320"/>
                  </a:lnTo>
                  <a:lnTo>
                    <a:pt x="0" y="92"/>
                  </a:lnTo>
                  <a:lnTo>
                    <a:pt x="0" y="92"/>
                  </a:lnTo>
                  <a:lnTo>
                    <a:pt x="2" y="86"/>
                  </a:lnTo>
                  <a:lnTo>
                    <a:pt x="4" y="80"/>
                  </a:lnTo>
                  <a:lnTo>
                    <a:pt x="10" y="78"/>
                  </a:lnTo>
                  <a:lnTo>
                    <a:pt x="16" y="76"/>
                  </a:lnTo>
                  <a:lnTo>
                    <a:pt x="190" y="76"/>
                  </a:lnTo>
                  <a:lnTo>
                    <a:pt x="190" y="76"/>
                  </a:lnTo>
                  <a:lnTo>
                    <a:pt x="196" y="78"/>
                  </a:lnTo>
                  <a:lnTo>
                    <a:pt x="200" y="80"/>
                  </a:lnTo>
                  <a:lnTo>
                    <a:pt x="204" y="86"/>
                  </a:lnTo>
                  <a:lnTo>
                    <a:pt x="206" y="92"/>
                  </a:lnTo>
                  <a:lnTo>
                    <a:pt x="206" y="92"/>
                  </a:lnTo>
                  <a:close/>
                  <a:moveTo>
                    <a:pt x="68" y="282"/>
                  </a:moveTo>
                  <a:lnTo>
                    <a:pt x="68" y="282"/>
                  </a:lnTo>
                  <a:lnTo>
                    <a:pt x="66" y="278"/>
                  </a:lnTo>
                  <a:lnTo>
                    <a:pt x="64" y="274"/>
                  </a:lnTo>
                  <a:lnTo>
                    <a:pt x="62" y="272"/>
                  </a:lnTo>
                  <a:lnTo>
                    <a:pt x="58" y="272"/>
                  </a:lnTo>
                  <a:lnTo>
                    <a:pt x="38" y="272"/>
                  </a:lnTo>
                  <a:lnTo>
                    <a:pt x="38" y="272"/>
                  </a:lnTo>
                  <a:lnTo>
                    <a:pt x="34" y="272"/>
                  </a:lnTo>
                  <a:lnTo>
                    <a:pt x="32" y="274"/>
                  </a:lnTo>
                  <a:lnTo>
                    <a:pt x="30" y="278"/>
                  </a:lnTo>
                  <a:lnTo>
                    <a:pt x="28" y="282"/>
                  </a:lnTo>
                  <a:lnTo>
                    <a:pt x="28" y="300"/>
                  </a:lnTo>
                  <a:lnTo>
                    <a:pt x="28" y="300"/>
                  </a:lnTo>
                  <a:lnTo>
                    <a:pt x="30" y="304"/>
                  </a:lnTo>
                  <a:lnTo>
                    <a:pt x="32" y="308"/>
                  </a:lnTo>
                  <a:lnTo>
                    <a:pt x="34" y="310"/>
                  </a:lnTo>
                  <a:lnTo>
                    <a:pt x="38" y="310"/>
                  </a:lnTo>
                  <a:lnTo>
                    <a:pt x="58" y="310"/>
                  </a:lnTo>
                  <a:lnTo>
                    <a:pt x="58" y="310"/>
                  </a:lnTo>
                  <a:lnTo>
                    <a:pt x="62" y="310"/>
                  </a:lnTo>
                  <a:lnTo>
                    <a:pt x="64" y="308"/>
                  </a:lnTo>
                  <a:lnTo>
                    <a:pt x="66" y="304"/>
                  </a:lnTo>
                  <a:lnTo>
                    <a:pt x="68" y="300"/>
                  </a:lnTo>
                  <a:lnTo>
                    <a:pt x="68" y="282"/>
                  </a:lnTo>
                  <a:close/>
                  <a:moveTo>
                    <a:pt x="68" y="226"/>
                  </a:moveTo>
                  <a:lnTo>
                    <a:pt x="68" y="226"/>
                  </a:lnTo>
                  <a:lnTo>
                    <a:pt x="66" y="222"/>
                  </a:lnTo>
                  <a:lnTo>
                    <a:pt x="64" y="220"/>
                  </a:lnTo>
                  <a:lnTo>
                    <a:pt x="62" y="218"/>
                  </a:lnTo>
                  <a:lnTo>
                    <a:pt x="58" y="216"/>
                  </a:lnTo>
                  <a:lnTo>
                    <a:pt x="38" y="216"/>
                  </a:lnTo>
                  <a:lnTo>
                    <a:pt x="38" y="216"/>
                  </a:lnTo>
                  <a:lnTo>
                    <a:pt x="34" y="218"/>
                  </a:lnTo>
                  <a:lnTo>
                    <a:pt x="32" y="220"/>
                  </a:lnTo>
                  <a:lnTo>
                    <a:pt x="30" y="222"/>
                  </a:lnTo>
                  <a:lnTo>
                    <a:pt x="28" y="226"/>
                  </a:lnTo>
                  <a:lnTo>
                    <a:pt x="28" y="246"/>
                  </a:lnTo>
                  <a:lnTo>
                    <a:pt x="28" y="246"/>
                  </a:lnTo>
                  <a:lnTo>
                    <a:pt x="30" y="250"/>
                  </a:lnTo>
                  <a:lnTo>
                    <a:pt x="32" y="252"/>
                  </a:lnTo>
                  <a:lnTo>
                    <a:pt x="34" y="254"/>
                  </a:lnTo>
                  <a:lnTo>
                    <a:pt x="38" y="256"/>
                  </a:lnTo>
                  <a:lnTo>
                    <a:pt x="58" y="256"/>
                  </a:lnTo>
                  <a:lnTo>
                    <a:pt x="58" y="256"/>
                  </a:lnTo>
                  <a:lnTo>
                    <a:pt x="62" y="254"/>
                  </a:lnTo>
                  <a:lnTo>
                    <a:pt x="64" y="252"/>
                  </a:lnTo>
                  <a:lnTo>
                    <a:pt x="66" y="250"/>
                  </a:lnTo>
                  <a:lnTo>
                    <a:pt x="68" y="246"/>
                  </a:lnTo>
                  <a:lnTo>
                    <a:pt x="68" y="226"/>
                  </a:lnTo>
                  <a:close/>
                  <a:moveTo>
                    <a:pt x="68" y="172"/>
                  </a:moveTo>
                  <a:lnTo>
                    <a:pt x="68" y="172"/>
                  </a:lnTo>
                  <a:lnTo>
                    <a:pt x="66" y="168"/>
                  </a:lnTo>
                  <a:lnTo>
                    <a:pt x="64" y="166"/>
                  </a:lnTo>
                  <a:lnTo>
                    <a:pt x="62" y="164"/>
                  </a:lnTo>
                  <a:lnTo>
                    <a:pt x="58" y="162"/>
                  </a:lnTo>
                  <a:lnTo>
                    <a:pt x="38" y="162"/>
                  </a:lnTo>
                  <a:lnTo>
                    <a:pt x="38" y="162"/>
                  </a:lnTo>
                  <a:lnTo>
                    <a:pt x="34" y="164"/>
                  </a:lnTo>
                  <a:lnTo>
                    <a:pt x="32" y="166"/>
                  </a:lnTo>
                  <a:lnTo>
                    <a:pt x="30" y="168"/>
                  </a:lnTo>
                  <a:lnTo>
                    <a:pt x="28" y="172"/>
                  </a:lnTo>
                  <a:lnTo>
                    <a:pt x="28" y="192"/>
                  </a:lnTo>
                  <a:lnTo>
                    <a:pt x="28" y="192"/>
                  </a:lnTo>
                  <a:lnTo>
                    <a:pt x="30" y="196"/>
                  </a:lnTo>
                  <a:lnTo>
                    <a:pt x="32" y="198"/>
                  </a:lnTo>
                  <a:lnTo>
                    <a:pt x="34" y="200"/>
                  </a:lnTo>
                  <a:lnTo>
                    <a:pt x="38" y="202"/>
                  </a:lnTo>
                  <a:lnTo>
                    <a:pt x="58" y="202"/>
                  </a:lnTo>
                  <a:lnTo>
                    <a:pt x="58" y="202"/>
                  </a:lnTo>
                  <a:lnTo>
                    <a:pt x="62" y="200"/>
                  </a:lnTo>
                  <a:lnTo>
                    <a:pt x="64" y="198"/>
                  </a:lnTo>
                  <a:lnTo>
                    <a:pt x="66" y="196"/>
                  </a:lnTo>
                  <a:lnTo>
                    <a:pt x="68" y="192"/>
                  </a:lnTo>
                  <a:lnTo>
                    <a:pt x="68" y="172"/>
                  </a:lnTo>
                  <a:close/>
                  <a:moveTo>
                    <a:pt x="122" y="282"/>
                  </a:moveTo>
                  <a:lnTo>
                    <a:pt x="122" y="282"/>
                  </a:lnTo>
                  <a:lnTo>
                    <a:pt x="122" y="278"/>
                  </a:lnTo>
                  <a:lnTo>
                    <a:pt x="120" y="274"/>
                  </a:lnTo>
                  <a:lnTo>
                    <a:pt x="116" y="272"/>
                  </a:lnTo>
                  <a:lnTo>
                    <a:pt x="112" y="272"/>
                  </a:lnTo>
                  <a:lnTo>
                    <a:pt x="94" y="272"/>
                  </a:lnTo>
                  <a:lnTo>
                    <a:pt x="94" y="272"/>
                  </a:lnTo>
                  <a:lnTo>
                    <a:pt x="90" y="272"/>
                  </a:lnTo>
                  <a:lnTo>
                    <a:pt x="86" y="274"/>
                  </a:lnTo>
                  <a:lnTo>
                    <a:pt x="84" y="278"/>
                  </a:lnTo>
                  <a:lnTo>
                    <a:pt x="84" y="282"/>
                  </a:lnTo>
                  <a:lnTo>
                    <a:pt x="84" y="300"/>
                  </a:lnTo>
                  <a:lnTo>
                    <a:pt x="84" y="300"/>
                  </a:lnTo>
                  <a:lnTo>
                    <a:pt x="84" y="304"/>
                  </a:lnTo>
                  <a:lnTo>
                    <a:pt x="86" y="308"/>
                  </a:lnTo>
                  <a:lnTo>
                    <a:pt x="90" y="310"/>
                  </a:lnTo>
                  <a:lnTo>
                    <a:pt x="94" y="310"/>
                  </a:lnTo>
                  <a:lnTo>
                    <a:pt x="112" y="310"/>
                  </a:lnTo>
                  <a:lnTo>
                    <a:pt x="112" y="310"/>
                  </a:lnTo>
                  <a:lnTo>
                    <a:pt x="116" y="310"/>
                  </a:lnTo>
                  <a:lnTo>
                    <a:pt x="120" y="308"/>
                  </a:lnTo>
                  <a:lnTo>
                    <a:pt x="122" y="304"/>
                  </a:lnTo>
                  <a:lnTo>
                    <a:pt x="122" y="300"/>
                  </a:lnTo>
                  <a:lnTo>
                    <a:pt x="122" y="282"/>
                  </a:lnTo>
                  <a:close/>
                  <a:moveTo>
                    <a:pt x="122" y="226"/>
                  </a:moveTo>
                  <a:lnTo>
                    <a:pt x="122" y="226"/>
                  </a:lnTo>
                  <a:lnTo>
                    <a:pt x="122" y="222"/>
                  </a:lnTo>
                  <a:lnTo>
                    <a:pt x="120" y="220"/>
                  </a:lnTo>
                  <a:lnTo>
                    <a:pt x="116" y="218"/>
                  </a:lnTo>
                  <a:lnTo>
                    <a:pt x="112" y="216"/>
                  </a:lnTo>
                  <a:lnTo>
                    <a:pt x="94" y="216"/>
                  </a:lnTo>
                  <a:lnTo>
                    <a:pt x="94" y="216"/>
                  </a:lnTo>
                  <a:lnTo>
                    <a:pt x="90" y="218"/>
                  </a:lnTo>
                  <a:lnTo>
                    <a:pt x="86" y="220"/>
                  </a:lnTo>
                  <a:lnTo>
                    <a:pt x="84" y="222"/>
                  </a:lnTo>
                  <a:lnTo>
                    <a:pt x="84" y="226"/>
                  </a:lnTo>
                  <a:lnTo>
                    <a:pt x="84" y="246"/>
                  </a:lnTo>
                  <a:lnTo>
                    <a:pt x="84" y="246"/>
                  </a:lnTo>
                  <a:lnTo>
                    <a:pt x="84" y="250"/>
                  </a:lnTo>
                  <a:lnTo>
                    <a:pt x="86" y="252"/>
                  </a:lnTo>
                  <a:lnTo>
                    <a:pt x="90" y="254"/>
                  </a:lnTo>
                  <a:lnTo>
                    <a:pt x="94" y="256"/>
                  </a:lnTo>
                  <a:lnTo>
                    <a:pt x="112" y="256"/>
                  </a:lnTo>
                  <a:lnTo>
                    <a:pt x="112" y="256"/>
                  </a:lnTo>
                  <a:lnTo>
                    <a:pt x="116" y="254"/>
                  </a:lnTo>
                  <a:lnTo>
                    <a:pt x="120" y="252"/>
                  </a:lnTo>
                  <a:lnTo>
                    <a:pt x="122" y="250"/>
                  </a:lnTo>
                  <a:lnTo>
                    <a:pt x="122" y="246"/>
                  </a:lnTo>
                  <a:lnTo>
                    <a:pt x="122" y="226"/>
                  </a:lnTo>
                  <a:close/>
                  <a:moveTo>
                    <a:pt x="94" y="202"/>
                  </a:moveTo>
                  <a:lnTo>
                    <a:pt x="112" y="202"/>
                  </a:lnTo>
                  <a:lnTo>
                    <a:pt x="112" y="202"/>
                  </a:lnTo>
                  <a:lnTo>
                    <a:pt x="116" y="200"/>
                  </a:lnTo>
                  <a:lnTo>
                    <a:pt x="120" y="198"/>
                  </a:lnTo>
                  <a:lnTo>
                    <a:pt x="122" y="196"/>
                  </a:lnTo>
                  <a:lnTo>
                    <a:pt x="122" y="192"/>
                  </a:lnTo>
                  <a:lnTo>
                    <a:pt x="122" y="172"/>
                  </a:lnTo>
                  <a:lnTo>
                    <a:pt x="122" y="172"/>
                  </a:lnTo>
                  <a:lnTo>
                    <a:pt x="122" y="168"/>
                  </a:lnTo>
                  <a:lnTo>
                    <a:pt x="120" y="166"/>
                  </a:lnTo>
                  <a:lnTo>
                    <a:pt x="116" y="164"/>
                  </a:lnTo>
                  <a:lnTo>
                    <a:pt x="112" y="162"/>
                  </a:lnTo>
                  <a:lnTo>
                    <a:pt x="94" y="162"/>
                  </a:lnTo>
                  <a:lnTo>
                    <a:pt x="94" y="162"/>
                  </a:lnTo>
                  <a:lnTo>
                    <a:pt x="90" y="164"/>
                  </a:lnTo>
                  <a:lnTo>
                    <a:pt x="86" y="166"/>
                  </a:lnTo>
                  <a:lnTo>
                    <a:pt x="84" y="168"/>
                  </a:lnTo>
                  <a:lnTo>
                    <a:pt x="84" y="172"/>
                  </a:lnTo>
                  <a:lnTo>
                    <a:pt x="84" y="192"/>
                  </a:lnTo>
                  <a:lnTo>
                    <a:pt x="84" y="192"/>
                  </a:lnTo>
                  <a:lnTo>
                    <a:pt x="84" y="196"/>
                  </a:lnTo>
                  <a:lnTo>
                    <a:pt x="86" y="198"/>
                  </a:lnTo>
                  <a:lnTo>
                    <a:pt x="90" y="200"/>
                  </a:lnTo>
                  <a:lnTo>
                    <a:pt x="94" y="202"/>
                  </a:lnTo>
                  <a:lnTo>
                    <a:pt x="94" y="202"/>
                  </a:lnTo>
                  <a:close/>
                  <a:moveTo>
                    <a:pt x="176" y="226"/>
                  </a:moveTo>
                  <a:lnTo>
                    <a:pt x="176" y="226"/>
                  </a:lnTo>
                  <a:lnTo>
                    <a:pt x="176" y="222"/>
                  </a:lnTo>
                  <a:lnTo>
                    <a:pt x="174" y="220"/>
                  </a:lnTo>
                  <a:lnTo>
                    <a:pt x="170" y="218"/>
                  </a:lnTo>
                  <a:lnTo>
                    <a:pt x="166" y="216"/>
                  </a:lnTo>
                  <a:lnTo>
                    <a:pt x="148" y="216"/>
                  </a:lnTo>
                  <a:lnTo>
                    <a:pt x="148" y="216"/>
                  </a:lnTo>
                  <a:lnTo>
                    <a:pt x="144" y="218"/>
                  </a:lnTo>
                  <a:lnTo>
                    <a:pt x="140" y="220"/>
                  </a:lnTo>
                  <a:lnTo>
                    <a:pt x="138" y="222"/>
                  </a:lnTo>
                  <a:lnTo>
                    <a:pt x="138" y="226"/>
                  </a:lnTo>
                  <a:lnTo>
                    <a:pt x="138" y="282"/>
                  </a:lnTo>
                  <a:lnTo>
                    <a:pt x="138" y="300"/>
                  </a:lnTo>
                  <a:lnTo>
                    <a:pt x="138" y="300"/>
                  </a:lnTo>
                  <a:lnTo>
                    <a:pt x="138" y="304"/>
                  </a:lnTo>
                  <a:lnTo>
                    <a:pt x="140" y="308"/>
                  </a:lnTo>
                  <a:lnTo>
                    <a:pt x="144" y="310"/>
                  </a:lnTo>
                  <a:lnTo>
                    <a:pt x="148" y="310"/>
                  </a:lnTo>
                  <a:lnTo>
                    <a:pt x="166" y="310"/>
                  </a:lnTo>
                  <a:lnTo>
                    <a:pt x="166" y="310"/>
                  </a:lnTo>
                  <a:lnTo>
                    <a:pt x="170" y="310"/>
                  </a:lnTo>
                  <a:lnTo>
                    <a:pt x="174" y="308"/>
                  </a:lnTo>
                  <a:lnTo>
                    <a:pt x="176" y="304"/>
                  </a:lnTo>
                  <a:lnTo>
                    <a:pt x="176" y="300"/>
                  </a:lnTo>
                  <a:lnTo>
                    <a:pt x="176" y="282"/>
                  </a:lnTo>
                  <a:lnTo>
                    <a:pt x="176" y="226"/>
                  </a:lnTo>
                  <a:close/>
                  <a:moveTo>
                    <a:pt x="176" y="172"/>
                  </a:moveTo>
                  <a:lnTo>
                    <a:pt x="176" y="172"/>
                  </a:lnTo>
                  <a:lnTo>
                    <a:pt x="176" y="168"/>
                  </a:lnTo>
                  <a:lnTo>
                    <a:pt x="174" y="166"/>
                  </a:lnTo>
                  <a:lnTo>
                    <a:pt x="170" y="164"/>
                  </a:lnTo>
                  <a:lnTo>
                    <a:pt x="166" y="162"/>
                  </a:lnTo>
                  <a:lnTo>
                    <a:pt x="148" y="162"/>
                  </a:lnTo>
                  <a:lnTo>
                    <a:pt x="148" y="162"/>
                  </a:lnTo>
                  <a:lnTo>
                    <a:pt x="144" y="164"/>
                  </a:lnTo>
                  <a:lnTo>
                    <a:pt x="140" y="166"/>
                  </a:lnTo>
                  <a:lnTo>
                    <a:pt x="138" y="168"/>
                  </a:lnTo>
                  <a:lnTo>
                    <a:pt x="138" y="172"/>
                  </a:lnTo>
                  <a:lnTo>
                    <a:pt x="138" y="192"/>
                  </a:lnTo>
                  <a:lnTo>
                    <a:pt x="138" y="192"/>
                  </a:lnTo>
                  <a:lnTo>
                    <a:pt x="138" y="196"/>
                  </a:lnTo>
                  <a:lnTo>
                    <a:pt x="140" y="198"/>
                  </a:lnTo>
                  <a:lnTo>
                    <a:pt x="144" y="200"/>
                  </a:lnTo>
                  <a:lnTo>
                    <a:pt x="148" y="202"/>
                  </a:lnTo>
                  <a:lnTo>
                    <a:pt x="166" y="202"/>
                  </a:lnTo>
                  <a:lnTo>
                    <a:pt x="166" y="202"/>
                  </a:lnTo>
                  <a:lnTo>
                    <a:pt x="170" y="200"/>
                  </a:lnTo>
                  <a:lnTo>
                    <a:pt x="174" y="198"/>
                  </a:lnTo>
                  <a:lnTo>
                    <a:pt x="176" y="196"/>
                  </a:lnTo>
                  <a:lnTo>
                    <a:pt x="176" y="192"/>
                  </a:lnTo>
                  <a:lnTo>
                    <a:pt x="176" y="172"/>
                  </a:lnTo>
                  <a:close/>
                  <a:moveTo>
                    <a:pt x="176" y="104"/>
                  </a:moveTo>
                  <a:lnTo>
                    <a:pt x="28" y="104"/>
                  </a:lnTo>
                  <a:lnTo>
                    <a:pt x="28" y="142"/>
                  </a:lnTo>
                  <a:lnTo>
                    <a:pt x="176" y="142"/>
                  </a:lnTo>
                  <a:lnTo>
                    <a:pt x="176" y="104"/>
                  </a:lnTo>
                  <a:close/>
                  <a:moveTo>
                    <a:pt x="276" y="166"/>
                  </a:moveTo>
                  <a:lnTo>
                    <a:pt x="276" y="166"/>
                  </a:lnTo>
                  <a:lnTo>
                    <a:pt x="276" y="166"/>
                  </a:lnTo>
                  <a:lnTo>
                    <a:pt x="270" y="164"/>
                  </a:lnTo>
                  <a:lnTo>
                    <a:pt x="264" y="162"/>
                  </a:lnTo>
                  <a:lnTo>
                    <a:pt x="258" y="160"/>
                  </a:lnTo>
                  <a:lnTo>
                    <a:pt x="252" y="156"/>
                  </a:lnTo>
                  <a:lnTo>
                    <a:pt x="248" y="150"/>
                  </a:lnTo>
                  <a:lnTo>
                    <a:pt x="246" y="144"/>
                  </a:lnTo>
                  <a:lnTo>
                    <a:pt x="244" y="138"/>
                  </a:lnTo>
                  <a:lnTo>
                    <a:pt x="242" y="132"/>
                  </a:lnTo>
                  <a:lnTo>
                    <a:pt x="242" y="132"/>
                  </a:lnTo>
                  <a:lnTo>
                    <a:pt x="242" y="128"/>
                  </a:lnTo>
                  <a:lnTo>
                    <a:pt x="240" y="126"/>
                  </a:lnTo>
                  <a:lnTo>
                    <a:pt x="238" y="124"/>
                  </a:lnTo>
                  <a:lnTo>
                    <a:pt x="234" y="124"/>
                  </a:lnTo>
                  <a:lnTo>
                    <a:pt x="234" y="124"/>
                  </a:lnTo>
                  <a:lnTo>
                    <a:pt x="232" y="124"/>
                  </a:lnTo>
                  <a:lnTo>
                    <a:pt x="230" y="126"/>
                  </a:lnTo>
                  <a:lnTo>
                    <a:pt x="228" y="128"/>
                  </a:lnTo>
                  <a:lnTo>
                    <a:pt x="226" y="132"/>
                  </a:lnTo>
                  <a:lnTo>
                    <a:pt x="226" y="174"/>
                  </a:lnTo>
                  <a:lnTo>
                    <a:pt x="226" y="174"/>
                  </a:lnTo>
                  <a:lnTo>
                    <a:pt x="226" y="196"/>
                  </a:lnTo>
                  <a:lnTo>
                    <a:pt x="226" y="196"/>
                  </a:lnTo>
                  <a:lnTo>
                    <a:pt x="228" y="198"/>
                  </a:lnTo>
                  <a:lnTo>
                    <a:pt x="230" y="200"/>
                  </a:lnTo>
                  <a:lnTo>
                    <a:pt x="232" y="202"/>
                  </a:lnTo>
                  <a:lnTo>
                    <a:pt x="234" y="204"/>
                  </a:lnTo>
                  <a:lnTo>
                    <a:pt x="234" y="204"/>
                  </a:lnTo>
                  <a:lnTo>
                    <a:pt x="246" y="202"/>
                  </a:lnTo>
                  <a:lnTo>
                    <a:pt x="254" y="200"/>
                  </a:lnTo>
                  <a:lnTo>
                    <a:pt x="264" y="198"/>
                  </a:lnTo>
                  <a:lnTo>
                    <a:pt x="270" y="194"/>
                  </a:lnTo>
                  <a:lnTo>
                    <a:pt x="276" y="190"/>
                  </a:lnTo>
                  <a:lnTo>
                    <a:pt x="280" y="186"/>
                  </a:lnTo>
                  <a:lnTo>
                    <a:pt x="284" y="180"/>
                  </a:lnTo>
                  <a:lnTo>
                    <a:pt x="284" y="174"/>
                  </a:lnTo>
                  <a:lnTo>
                    <a:pt x="284" y="174"/>
                  </a:lnTo>
                  <a:lnTo>
                    <a:pt x="284" y="174"/>
                  </a:lnTo>
                  <a:lnTo>
                    <a:pt x="284" y="174"/>
                  </a:lnTo>
                  <a:lnTo>
                    <a:pt x="284" y="174"/>
                  </a:lnTo>
                  <a:lnTo>
                    <a:pt x="284" y="170"/>
                  </a:lnTo>
                  <a:lnTo>
                    <a:pt x="282" y="168"/>
                  </a:lnTo>
                  <a:lnTo>
                    <a:pt x="280" y="166"/>
                  </a:lnTo>
                  <a:lnTo>
                    <a:pt x="276" y="166"/>
                  </a:lnTo>
                  <a:lnTo>
                    <a:pt x="276" y="16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58" name="Group 157">
            <a:extLst>
              <a:ext uri="{FF2B5EF4-FFF2-40B4-BE49-F238E27FC236}">
                <a16:creationId xmlns:a16="http://schemas.microsoft.com/office/drawing/2014/main" id="{5B9E1A85-908B-47E4-9646-2634389033D3}"/>
              </a:ext>
            </a:extLst>
          </p:cNvPr>
          <p:cNvGrpSpPr/>
          <p:nvPr/>
        </p:nvGrpSpPr>
        <p:grpSpPr>
          <a:xfrm>
            <a:off x="7793257" y="2814139"/>
            <a:ext cx="612000" cy="612000"/>
            <a:chOff x="7573215" y="3474401"/>
            <a:chExt cx="612000" cy="612000"/>
          </a:xfrm>
        </p:grpSpPr>
        <p:sp>
          <p:nvSpPr>
            <p:cNvPr id="159" name="Oval 158">
              <a:extLst>
                <a:ext uri="{FF2B5EF4-FFF2-40B4-BE49-F238E27FC236}">
                  <a16:creationId xmlns:a16="http://schemas.microsoft.com/office/drawing/2014/main" id="{3EFE1B2D-F908-433F-8B88-C61C6846F46C}"/>
                </a:ext>
              </a:extLst>
            </p:cNvPr>
            <p:cNvSpPr/>
            <p:nvPr/>
          </p:nvSpPr>
          <p:spPr bwMode="ltGray">
            <a:xfrm>
              <a:off x="7573215"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60" name="Freeform 4992">
              <a:extLst>
                <a:ext uri="{FF2B5EF4-FFF2-40B4-BE49-F238E27FC236}">
                  <a16:creationId xmlns:a16="http://schemas.microsoft.com/office/drawing/2014/main" id="{3CFF4B8E-760A-4AB8-B0C2-2F9E75F303DC}"/>
                </a:ext>
              </a:extLst>
            </p:cNvPr>
            <p:cNvSpPr>
              <a:spLocks noEditPoints="1"/>
            </p:cNvSpPr>
            <p:nvPr/>
          </p:nvSpPr>
          <p:spPr bwMode="auto">
            <a:xfrm>
              <a:off x="7695985" y="3601300"/>
              <a:ext cx="334377" cy="373145"/>
            </a:xfrm>
            <a:custGeom>
              <a:avLst/>
              <a:gdLst>
                <a:gd name="T0" fmla="*/ 14 w 276"/>
                <a:gd name="T1" fmla="*/ 26 h 308"/>
                <a:gd name="T2" fmla="*/ 36 w 276"/>
                <a:gd name="T3" fmla="*/ 30 h 308"/>
                <a:gd name="T4" fmla="*/ 2 w 276"/>
                <a:gd name="T5" fmla="*/ 52 h 308"/>
                <a:gd name="T6" fmla="*/ 6 w 276"/>
                <a:gd name="T7" fmla="*/ 30 h 308"/>
                <a:gd name="T8" fmla="*/ 176 w 276"/>
                <a:gd name="T9" fmla="*/ 202 h 308"/>
                <a:gd name="T10" fmla="*/ 174 w 276"/>
                <a:gd name="T11" fmla="*/ 194 h 308"/>
                <a:gd name="T12" fmla="*/ 100 w 276"/>
                <a:gd name="T13" fmla="*/ 132 h 308"/>
                <a:gd name="T14" fmla="*/ 50 w 276"/>
                <a:gd name="T15" fmla="*/ 80 h 308"/>
                <a:gd name="T16" fmla="*/ 30 w 276"/>
                <a:gd name="T17" fmla="*/ 58 h 308"/>
                <a:gd name="T18" fmla="*/ 22 w 276"/>
                <a:gd name="T19" fmla="*/ 64 h 308"/>
                <a:gd name="T20" fmla="*/ 42 w 276"/>
                <a:gd name="T21" fmla="*/ 88 h 308"/>
                <a:gd name="T22" fmla="*/ 92 w 276"/>
                <a:gd name="T23" fmla="*/ 140 h 308"/>
                <a:gd name="T24" fmla="*/ 168 w 276"/>
                <a:gd name="T25" fmla="*/ 204 h 308"/>
                <a:gd name="T26" fmla="*/ 172 w 276"/>
                <a:gd name="T27" fmla="*/ 206 h 308"/>
                <a:gd name="T28" fmla="*/ 176 w 276"/>
                <a:gd name="T29" fmla="*/ 202 h 308"/>
                <a:gd name="T30" fmla="*/ 276 w 276"/>
                <a:gd name="T31" fmla="*/ 292 h 308"/>
                <a:gd name="T32" fmla="*/ 266 w 276"/>
                <a:gd name="T33" fmla="*/ 308 h 308"/>
                <a:gd name="T34" fmla="*/ 62 w 276"/>
                <a:gd name="T35" fmla="*/ 308 h 308"/>
                <a:gd name="T36" fmla="*/ 46 w 276"/>
                <a:gd name="T37" fmla="*/ 298 h 308"/>
                <a:gd name="T38" fmla="*/ 46 w 276"/>
                <a:gd name="T39" fmla="*/ 112 h 308"/>
                <a:gd name="T40" fmla="*/ 88 w 276"/>
                <a:gd name="T41" fmla="*/ 156 h 308"/>
                <a:gd name="T42" fmla="*/ 168 w 276"/>
                <a:gd name="T43" fmla="*/ 220 h 308"/>
                <a:gd name="T44" fmla="*/ 182 w 276"/>
                <a:gd name="T45" fmla="*/ 214 h 308"/>
                <a:gd name="T46" fmla="*/ 200 w 276"/>
                <a:gd name="T47" fmla="*/ 196 h 308"/>
                <a:gd name="T48" fmla="*/ 204 w 276"/>
                <a:gd name="T49" fmla="*/ 182 h 308"/>
                <a:gd name="T50" fmla="*/ 136 w 276"/>
                <a:gd name="T51" fmla="*/ 106 h 308"/>
                <a:gd name="T52" fmla="*/ 86 w 276"/>
                <a:gd name="T53" fmla="*/ 62 h 308"/>
                <a:gd name="T54" fmla="*/ 62 w 276"/>
                <a:gd name="T55" fmla="*/ 34 h 308"/>
                <a:gd name="T56" fmla="*/ 116 w 276"/>
                <a:gd name="T57" fmla="*/ 68 h 308"/>
                <a:gd name="T58" fmla="*/ 150 w 276"/>
                <a:gd name="T59" fmla="*/ 106 h 308"/>
                <a:gd name="T60" fmla="*/ 162 w 276"/>
                <a:gd name="T61" fmla="*/ 126 h 308"/>
                <a:gd name="T62" fmla="*/ 168 w 276"/>
                <a:gd name="T63" fmla="*/ 126 h 308"/>
                <a:gd name="T64" fmla="*/ 170 w 276"/>
                <a:gd name="T65" fmla="*/ 118 h 308"/>
                <a:gd name="T66" fmla="*/ 144 w 276"/>
                <a:gd name="T67" fmla="*/ 80 h 308"/>
                <a:gd name="T68" fmla="*/ 102 w 276"/>
                <a:gd name="T69" fmla="*/ 40 h 308"/>
                <a:gd name="T70" fmla="*/ 62 w 276"/>
                <a:gd name="T71" fmla="*/ 20 h 308"/>
                <a:gd name="T72" fmla="*/ 46 w 276"/>
                <a:gd name="T73" fmla="*/ 16 h 308"/>
                <a:gd name="T74" fmla="*/ 50 w 276"/>
                <a:gd name="T75" fmla="*/ 4 h 308"/>
                <a:gd name="T76" fmla="*/ 194 w 276"/>
                <a:gd name="T77" fmla="*/ 0 h 308"/>
                <a:gd name="T78" fmla="*/ 276 w 276"/>
                <a:gd name="T79" fmla="*/ 82 h 308"/>
                <a:gd name="T80" fmla="*/ 220 w 276"/>
                <a:gd name="T81" fmla="*/ 206 h 308"/>
                <a:gd name="T82" fmla="*/ 220 w 276"/>
                <a:gd name="T83" fmla="*/ 206 h 308"/>
                <a:gd name="T84" fmla="*/ 202 w 276"/>
                <a:gd name="T85" fmla="*/ 214 h 308"/>
                <a:gd name="T86" fmla="*/ 194 w 276"/>
                <a:gd name="T87" fmla="*/ 226 h 308"/>
                <a:gd name="T88" fmla="*/ 240 w 276"/>
                <a:gd name="T89" fmla="*/ 272 h 308"/>
                <a:gd name="T90" fmla="*/ 238 w 276"/>
                <a:gd name="T91" fmla="*/ 266 h 308"/>
                <a:gd name="T92" fmla="*/ 88 w 276"/>
                <a:gd name="T93" fmla="*/ 264 h 308"/>
                <a:gd name="T94" fmla="*/ 84 w 276"/>
                <a:gd name="T95" fmla="*/ 266 h 308"/>
                <a:gd name="T96" fmla="*/ 80 w 276"/>
                <a:gd name="T97" fmla="*/ 272 h 308"/>
                <a:gd name="T98" fmla="*/ 86 w 276"/>
                <a:gd name="T99" fmla="*/ 280 h 308"/>
                <a:gd name="T100" fmla="*/ 232 w 276"/>
                <a:gd name="T101" fmla="*/ 280 h 308"/>
                <a:gd name="T102" fmla="*/ 240 w 276"/>
                <a:gd name="T103" fmla="*/ 274 h 308"/>
                <a:gd name="T104" fmla="*/ 262 w 276"/>
                <a:gd name="T105" fmla="*/ 84 h 308"/>
                <a:gd name="T106" fmla="*/ 220 w 276"/>
                <a:gd name="T107" fmla="*/ 42 h 308"/>
                <a:gd name="T108" fmla="*/ 262 w 276"/>
                <a:gd name="T109" fmla="*/ 84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76" h="308">
                  <a:moveTo>
                    <a:pt x="6" y="30"/>
                  </a:moveTo>
                  <a:lnTo>
                    <a:pt x="6" y="30"/>
                  </a:lnTo>
                  <a:lnTo>
                    <a:pt x="14" y="26"/>
                  </a:lnTo>
                  <a:lnTo>
                    <a:pt x="20" y="24"/>
                  </a:lnTo>
                  <a:lnTo>
                    <a:pt x="28" y="26"/>
                  </a:lnTo>
                  <a:lnTo>
                    <a:pt x="36" y="30"/>
                  </a:lnTo>
                  <a:lnTo>
                    <a:pt x="8" y="60"/>
                  </a:lnTo>
                  <a:lnTo>
                    <a:pt x="8" y="60"/>
                  </a:lnTo>
                  <a:lnTo>
                    <a:pt x="2" y="52"/>
                  </a:lnTo>
                  <a:lnTo>
                    <a:pt x="0" y="46"/>
                  </a:lnTo>
                  <a:lnTo>
                    <a:pt x="2" y="38"/>
                  </a:lnTo>
                  <a:lnTo>
                    <a:pt x="6" y="30"/>
                  </a:lnTo>
                  <a:lnTo>
                    <a:pt x="6" y="30"/>
                  </a:lnTo>
                  <a:close/>
                  <a:moveTo>
                    <a:pt x="176" y="202"/>
                  </a:moveTo>
                  <a:lnTo>
                    <a:pt x="176" y="202"/>
                  </a:lnTo>
                  <a:lnTo>
                    <a:pt x="176" y="198"/>
                  </a:lnTo>
                  <a:lnTo>
                    <a:pt x="174" y="194"/>
                  </a:lnTo>
                  <a:lnTo>
                    <a:pt x="174" y="194"/>
                  </a:lnTo>
                  <a:lnTo>
                    <a:pt x="154" y="178"/>
                  </a:lnTo>
                  <a:lnTo>
                    <a:pt x="130" y="158"/>
                  </a:lnTo>
                  <a:lnTo>
                    <a:pt x="100" y="132"/>
                  </a:lnTo>
                  <a:lnTo>
                    <a:pt x="100" y="132"/>
                  </a:lnTo>
                  <a:lnTo>
                    <a:pt x="70" y="102"/>
                  </a:lnTo>
                  <a:lnTo>
                    <a:pt x="50" y="80"/>
                  </a:lnTo>
                  <a:lnTo>
                    <a:pt x="32" y="60"/>
                  </a:lnTo>
                  <a:lnTo>
                    <a:pt x="32" y="60"/>
                  </a:lnTo>
                  <a:lnTo>
                    <a:pt x="30" y="58"/>
                  </a:lnTo>
                  <a:lnTo>
                    <a:pt x="24" y="60"/>
                  </a:lnTo>
                  <a:lnTo>
                    <a:pt x="24" y="60"/>
                  </a:lnTo>
                  <a:lnTo>
                    <a:pt x="22" y="64"/>
                  </a:lnTo>
                  <a:lnTo>
                    <a:pt x="24" y="68"/>
                  </a:lnTo>
                  <a:lnTo>
                    <a:pt x="24" y="68"/>
                  </a:lnTo>
                  <a:lnTo>
                    <a:pt x="42" y="88"/>
                  </a:lnTo>
                  <a:lnTo>
                    <a:pt x="62" y="110"/>
                  </a:lnTo>
                  <a:lnTo>
                    <a:pt x="92" y="140"/>
                  </a:lnTo>
                  <a:lnTo>
                    <a:pt x="92" y="140"/>
                  </a:lnTo>
                  <a:lnTo>
                    <a:pt x="122" y="168"/>
                  </a:lnTo>
                  <a:lnTo>
                    <a:pt x="146" y="188"/>
                  </a:lnTo>
                  <a:lnTo>
                    <a:pt x="168" y="204"/>
                  </a:lnTo>
                  <a:lnTo>
                    <a:pt x="168" y="204"/>
                  </a:lnTo>
                  <a:lnTo>
                    <a:pt x="172" y="206"/>
                  </a:lnTo>
                  <a:lnTo>
                    <a:pt x="172" y="206"/>
                  </a:lnTo>
                  <a:lnTo>
                    <a:pt x="174" y="204"/>
                  </a:lnTo>
                  <a:lnTo>
                    <a:pt x="176" y="202"/>
                  </a:lnTo>
                  <a:lnTo>
                    <a:pt x="176" y="202"/>
                  </a:lnTo>
                  <a:close/>
                  <a:moveTo>
                    <a:pt x="276" y="82"/>
                  </a:moveTo>
                  <a:lnTo>
                    <a:pt x="276" y="292"/>
                  </a:lnTo>
                  <a:lnTo>
                    <a:pt x="276" y="292"/>
                  </a:lnTo>
                  <a:lnTo>
                    <a:pt x="274" y="298"/>
                  </a:lnTo>
                  <a:lnTo>
                    <a:pt x="270" y="304"/>
                  </a:lnTo>
                  <a:lnTo>
                    <a:pt x="266" y="308"/>
                  </a:lnTo>
                  <a:lnTo>
                    <a:pt x="260" y="308"/>
                  </a:lnTo>
                  <a:lnTo>
                    <a:pt x="62" y="308"/>
                  </a:lnTo>
                  <a:lnTo>
                    <a:pt x="62" y="308"/>
                  </a:lnTo>
                  <a:lnTo>
                    <a:pt x="56" y="308"/>
                  </a:lnTo>
                  <a:lnTo>
                    <a:pt x="50" y="304"/>
                  </a:lnTo>
                  <a:lnTo>
                    <a:pt x="46" y="298"/>
                  </a:lnTo>
                  <a:lnTo>
                    <a:pt x="46" y="292"/>
                  </a:lnTo>
                  <a:lnTo>
                    <a:pt x="46" y="112"/>
                  </a:lnTo>
                  <a:lnTo>
                    <a:pt x="46" y="112"/>
                  </a:lnTo>
                  <a:lnTo>
                    <a:pt x="64" y="132"/>
                  </a:lnTo>
                  <a:lnTo>
                    <a:pt x="88" y="156"/>
                  </a:lnTo>
                  <a:lnTo>
                    <a:pt x="88" y="156"/>
                  </a:lnTo>
                  <a:lnTo>
                    <a:pt x="122" y="186"/>
                  </a:lnTo>
                  <a:lnTo>
                    <a:pt x="150" y="208"/>
                  </a:lnTo>
                  <a:lnTo>
                    <a:pt x="168" y="220"/>
                  </a:lnTo>
                  <a:lnTo>
                    <a:pt x="178" y="226"/>
                  </a:lnTo>
                  <a:lnTo>
                    <a:pt x="178" y="226"/>
                  </a:lnTo>
                  <a:lnTo>
                    <a:pt x="182" y="214"/>
                  </a:lnTo>
                  <a:lnTo>
                    <a:pt x="190" y="204"/>
                  </a:lnTo>
                  <a:lnTo>
                    <a:pt x="190" y="204"/>
                  </a:lnTo>
                  <a:lnTo>
                    <a:pt x="200" y="196"/>
                  </a:lnTo>
                  <a:lnTo>
                    <a:pt x="210" y="192"/>
                  </a:lnTo>
                  <a:lnTo>
                    <a:pt x="210" y="192"/>
                  </a:lnTo>
                  <a:lnTo>
                    <a:pt x="204" y="182"/>
                  </a:lnTo>
                  <a:lnTo>
                    <a:pt x="190" y="164"/>
                  </a:lnTo>
                  <a:lnTo>
                    <a:pt x="168" y="136"/>
                  </a:lnTo>
                  <a:lnTo>
                    <a:pt x="136" y="106"/>
                  </a:lnTo>
                  <a:lnTo>
                    <a:pt x="136" y="106"/>
                  </a:lnTo>
                  <a:lnTo>
                    <a:pt x="110" y="82"/>
                  </a:lnTo>
                  <a:lnTo>
                    <a:pt x="86" y="62"/>
                  </a:lnTo>
                  <a:lnTo>
                    <a:pt x="54" y="40"/>
                  </a:lnTo>
                  <a:lnTo>
                    <a:pt x="62" y="34"/>
                  </a:lnTo>
                  <a:lnTo>
                    <a:pt x="62" y="34"/>
                  </a:lnTo>
                  <a:lnTo>
                    <a:pt x="84" y="44"/>
                  </a:lnTo>
                  <a:lnTo>
                    <a:pt x="98" y="54"/>
                  </a:lnTo>
                  <a:lnTo>
                    <a:pt x="116" y="68"/>
                  </a:lnTo>
                  <a:lnTo>
                    <a:pt x="116" y="68"/>
                  </a:lnTo>
                  <a:lnTo>
                    <a:pt x="136" y="88"/>
                  </a:lnTo>
                  <a:lnTo>
                    <a:pt x="150" y="106"/>
                  </a:lnTo>
                  <a:lnTo>
                    <a:pt x="160" y="124"/>
                  </a:lnTo>
                  <a:lnTo>
                    <a:pt x="160" y="124"/>
                  </a:lnTo>
                  <a:lnTo>
                    <a:pt x="162" y="126"/>
                  </a:lnTo>
                  <a:lnTo>
                    <a:pt x="166" y="126"/>
                  </a:lnTo>
                  <a:lnTo>
                    <a:pt x="166" y="126"/>
                  </a:lnTo>
                  <a:lnTo>
                    <a:pt x="168" y="126"/>
                  </a:lnTo>
                  <a:lnTo>
                    <a:pt x="168" y="126"/>
                  </a:lnTo>
                  <a:lnTo>
                    <a:pt x="172" y="122"/>
                  </a:lnTo>
                  <a:lnTo>
                    <a:pt x="170" y="118"/>
                  </a:lnTo>
                  <a:lnTo>
                    <a:pt x="170" y="118"/>
                  </a:lnTo>
                  <a:lnTo>
                    <a:pt x="158" y="98"/>
                  </a:lnTo>
                  <a:lnTo>
                    <a:pt x="144" y="80"/>
                  </a:lnTo>
                  <a:lnTo>
                    <a:pt x="124" y="58"/>
                  </a:lnTo>
                  <a:lnTo>
                    <a:pt x="124" y="58"/>
                  </a:lnTo>
                  <a:lnTo>
                    <a:pt x="102" y="40"/>
                  </a:lnTo>
                  <a:lnTo>
                    <a:pt x="82" y="30"/>
                  </a:lnTo>
                  <a:lnTo>
                    <a:pt x="68" y="22"/>
                  </a:lnTo>
                  <a:lnTo>
                    <a:pt x="62" y="20"/>
                  </a:lnTo>
                  <a:lnTo>
                    <a:pt x="58" y="20"/>
                  </a:lnTo>
                  <a:lnTo>
                    <a:pt x="46" y="34"/>
                  </a:lnTo>
                  <a:lnTo>
                    <a:pt x="46" y="16"/>
                  </a:lnTo>
                  <a:lnTo>
                    <a:pt x="46" y="16"/>
                  </a:lnTo>
                  <a:lnTo>
                    <a:pt x="46" y="10"/>
                  </a:lnTo>
                  <a:lnTo>
                    <a:pt x="50" y="4"/>
                  </a:lnTo>
                  <a:lnTo>
                    <a:pt x="56" y="0"/>
                  </a:lnTo>
                  <a:lnTo>
                    <a:pt x="62" y="0"/>
                  </a:lnTo>
                  <a:lnTo>
                    <a:pt x="194" y="0"/>
                  </a:lnTo>
                  <a:lnTo>
                    <a:pt x="210" y="16"/>
                  </a:lnTo>
                  <a:lnTo>
                    <a:pt x="260" y="66"/>
                  </a:lnTo>
                  <a:lnTo>
                    <a:pt x="276" y="82"/>
                  </a:lnTo>
                  <a:close/>
                  <a:moveTo>
                    <a:pt x="194" y="234"/>
                  </a:moveTo>
                  <a:lnTo>
                    <a:pt x="234" y="246"/>
                  </a:lnTo>
                  <a:lnTo>
                    <a:pt x="220" y="206"/>
                  </a:lnTo>
                  <a:lnTo>
                    <a:pt x="220" y="206"/>
                  </a:lnTo>
                  <a:lnTo>
                    <a:pt x="220" y="206"/>
                  </a:lnTo>
                  <a:lnTo>
                    <a:pt x="220" y="206"/>
                  </a:lnTo>
                  <a:lnTo>
                    <a:pt x="212" y="208"/>
                  </a:lnTo>
                  <a:lnTo>
                    <a:pt x="206" y="210"/>
                  </a:lnTo>
                  <a:lnTo>
                    <a:pt x="202" y="214"/>
                  </a:lnTo>
                  <a:lnTo>
                    <a:pt x="202" y="214"/>
                  </a:lnTo>
                  <a:lnTo>
                    <a:pt x="198" y="220"/>
                  </a:lnTo>
                  <a:lnTo>
                    <a:pt x="194" y="226"/>
                  </a:lnTo>
                  <a:lnTo>
                    <a:pt x="194" y="234"/>
                  </a:lnTo>
                  <a:lnTo>
                    <a:pt x="194" y="234"/>
                  </a:lnTo>
                  <a:close/>
                  <a:moveTo>
                    <a:pt x="240" y="272"/>
                  </a:moveTo>
                  <a:lnTo>
                    <a:pt x="240" y="272"/>
                  </a:lnTo>
                  <a:lnTo>
                    <a:pt x="240" y="268"/>
                  </a:lnTo>
                  <a:lnTo>
                    <a:pt x="238" y="266"/>
                  </a:lnTo>
                  <a:lnTo>
                    <a:pt x="236" y="264"/>
                  </a:lnTo>
                  <a:lnTo>
                    <a:pt x="232" y="264"/>
                  </a:lnTo>
                  <a:lnTo>
                    <a:pt x="88" y="264"/>
                  </a:lnTo>
                  <a:lnTo>
                    <a:pt x="88" y="264"/>
                  </a:lnTo>
                  <a:lnTo>
                    <a:pt x="86" y="264"/>
                  </a:lnTo>
                  <a:lnTo>
                    <a:pt x="84" y="266"/>
                  </a:lnTo>
                  <a:lnTo>
                    <a:pt x="82" y="268"/>
                  </a:lnTo>
                  <a:lnTo>
                    <a:pt x="80" y="272"/>
                  </a:lnTo>
                  <a:lnTo>
                    <a:pt x="80" y="272"/>
                  </a:lnTo>
                  <a:lnTo>
                    <a:pt x="82" y="274"/>
                  </a:lnTo>
                  <a:lnTo>
                    <a:pt x="84" y="278"/>
                  </a:lnTo>
                  <a:lnTo>
                    <a:pt x="86" y="280"/>
                  </a:lnTo>
                  <a:lnTo>
                    <a:pt x="88" y="280"/>
                  </a:lnTo>
                  <a:lnTo>
                    <a:pt x="232" y="280"/>
                  </a:lnTo>
                  <a:lnTo>
                    <a:pt x="232" y="280"/>
                  </a:lnTo>
                  <a:lnTo>
                    <a:pt x="236" y="280"/>
                  </a:lnTo>
                  <a:lnTo>
                    <a:pt x="238" y="278"/>
                  </a:lnTo>
                  <a:lnTo>
                    <a:pt x="240" y="274"/>
                  </a:lnTo>
                  <a:lnTo>
                    <a:pt x="240" y="272"/>
                  </a:lnTo>
                  <a:lnTo>
                    <a:pt x="240" y="272"/>
                  </a:lnTo>
                  <a:close/>
                  <a:moveTo>
                    <a:pt x="262" y="84"/>
                  </a:moveTo>
                  <a:lnTo>
                    <a:pt x="244" y="66"/>
                  </a:lnTo>
                  <a:lnTo>
                    <a:pt x="220" y="66"/>
                  </a:lnTo>
                  <a:lnTo>
                    <a:pt x="220" y="42"/>
                  </a:lnTo>
                  <a:lnTo>
                    <a:pt x="202" y="24"/>
                  </a:lnTo>
                  <a:lnTo>
                    <a:pt x="202" y="84"/>
                  </a:lnTo>
                  <a:lnTo>
                    <a:pt x="262" y="8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61" name="Group 160">
            <a:extLst>
              <a:ext uri="{FF2B5EF4-FFF2-40B4-BE49-F238E27FC236}">
                <a16:creationId xmlns:a16="http://schemas.microsoft.com/office/drawing/2014/main" id="{C9858BE2-1934-4603-AE15-2D8163FA2453}"/>
              </a:ext>
            </a:extLst>
          </p:cNvPr>
          <p:cNvGrpSpPr/>
          <p:nvPr/>
        </p:nvGrpSpPr>
        <p:grpSpPr>
          <a:xfrm>
            <a:off x="9542683" y="2814139"/>
            <a:ext cx="612000" cy="612000"/>
            <a:chOff x="9322641" y="3474401"/>
            <a:chExt cx="612000" cy="612000"/>
          </a:xfrm>
        </p:grpSpPr>
        <p:sp>
          <p:nvSpPr>
            <p:cNvPr id="162" name="Oval 161">
              <a:extLst>
                <a:ext uri="{FF2B5EF4-FFF2-40B4-BE49-F238E27FC236}">
                  <a16:creationId xmlns:a16="http://schemas.microsoft.com/office/drawing/2014/main" id="{569A7001-C1B8-4FDF-AD87-DF7F4EE1DCBF}"/>
                </a:ext>
              </a:extLst>
            </p:cNvPr>
            <p:cNvSpPr/>
            <p:nvPr/>
          </p:nvSpPr>
          <p:spPr bwMode="ltGray">
            <a:xfrm>
              <a:off x="9322641"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63" name="Freeform 4993">
              <a:extLst>
                <a:ext uri="{FF2B5EF4-FFF2-40B4-BE49-F238E27FC236}">
                  <a16:creationId xmlns:a16="http://schemas.microsoft.com/office/drawing/2014/main" id="{A63A5E6B-EC05-4B96-9563-E09E930EBF9E}"/>
                </a:ext>
              </a:extLst>
            </p:cNvPr>
            <p:cNvSpPr>
              <a:spLocks noEditPoints="1"/>
            </p:cNvSpPr>
            <p:nvPr/>
          </p:nvSpPr>
          <p:spPr bwMode="auto">
            <a:xfrm>
              <a:off x="9465212" y="3531032"/>
              <a:ext cx="407068" cy="465220"/>
            </a:xfrm>
            <a:custGeom>
              <a:avLst/>
              <a:gdLst>
                <a:gd name="T0" fmla="*/ 188 w 336"/>
                <a:gd name="T1" fmla="*/ 270 h 384"/>
                <a:gd name="T2" fmla="*/ 204 w 336"/>
                <a:gd name="T3" fmla="*/ 282 h 384"/>
                <a:gd name="T4" fmla="*/ 226 w 336"/>
                <a:gd name="T5" fmla="*/ 306 h 384"/>
                <a:gd name="T6" fmla="*/ 228 w 336"/>
                <a:gd name="T7" fmla="*/ 320 h 384"/>
                <a:gd name="T8" fmla="*/ 212 w 336"/>
                <a:gd name="T9" fmla="*/ 348 h 384"/>
                <a:gd name="T10" fmla="*/ 166 w 336"/>
                <a:gd name="T11" fmla="*/ 368 h 384"/>
                <a:gd name="T12" fmla="*/ 116 w 336"/>
                <a:gd name="T13" fmla="*/ 376 h 384"/>
                <a:gd name="T14" fmla="*/ 10 w 336"/>
                <a:gd name="T15" fmla="*/ 384 h 384"/>
                <a:gd name="T16" fmla="*/ 2 w 336"/>
                <a:gd name="T17" fmla="*/ 380 h 384"/>
                <a:gd name="T18" fmla="*/ 0 w 336"/>
                <a:gd name="T19" fmla="*/ 374 h 384"/>
                <a:gd name="T20" fmla="*/ 6 w 336"/>
                <a:gd name="T21" fmla="*/ 364 h 384"/>
                <a:gd name="T22" fmla="*/ 54 w 336"/>
                <a:gd name="T23" fmla="*/ 362 h 384"/>
                <a:gd name="T24" fmla="*/ 156 w 336"/>
                <a:gd name="T25" fmla="*/ 350 h 384"/>
                <a:gd name="T26" fmla="*/ 206 w 336"/>
                <a:gd name="T27" fmla="*/ 328 h 384"/>
                <a:gd name="T28" fmla="*/ 208 w 336"/>
                <a:gd name="T29" fmla="*/ 320 h 384"/>
                <a:gd name="T30" fmla="*/ 192 w 336"/>
                <a:gd name="T31" fmla="*/ 300 h 384"/>
                <a:gd name="T32" fmla="*/ 176 w 336"/>
                <a:gd name="T33" fmla="*/ 286 h 384"/>
                <a:gd name="T34" fmla="*/ 166 w 336"/>
                <a:gd name="T35" fmla="*/ 264 h 384"/>
                <a:gd name="T36" fmla="*/ 172 w 336"/>
                <a:gd name="T37" fmla="*/ 246 h 384"/>
                <a:gd name="T38" fmla="*/ 194 w 336"/>
                <a:gd name="T39" fmla="*/ 228 h 384"/>
                <a:gd name="T40" fmla="*/ 254 w 336"/>
                <a:gd name="T41" fmla="*/ 212 h 384"/>
                <a:gd name="T42" fmla="*/ 326 w 336"/>
                <a:gd name="T43" fmla="*/ 206 h 384"/>
                <a:gd name="T44" fmla="*/ 334 w 336"/>
                <a:gd name="T45" fmla="*/ 212 h 384"/>
                <a:gd name="T46" fmla="*/ 334 w 336"/>
                <a:gd name="T47" fmla="*/ 220 h 384"/>
                <a:gd name="T48" fmla="*/ 326 w 336"/>
                <a:gd name="T49" fmla="*/ 226 h 384"/>
                <a:gd name="T50" fmla="*/ 264 w 336"/>
                <a:gd name="T51" fmla="*/ 230 h 384"/>
                <a:gd name="T52" fmla="*/ 206 w 336"/>
                <a:gd name="T53" fmla="*/ 244 h 384"/>
                <a:gd name="T54" fmla="*/ 186 w 336"/>
                <a:gd name="T55" fmla="*/ 264 h 384"/>
                <a:gd name="T56" fmla="*/ 174 w 336"/>
                <a:gd name="T57" fmla="*/ 70 h 384"/>
                <a:gd name="T58" fmla="*/ 186 w 336"/>
                <a:gd name="T59" fmla="*/ 10 h 384"/>
                <a:gd name="T60" fmla="*/ 136 w 336"/>
                <a:gd name="T61" fmla="*/ 0 h 384"/>
                <a:gd name="T62" fmla="*/ 114 w 336"/>
                <a:gd name="T63" fmla="*/ 36 h 384"/>
                <a:gd name="T64" fmla="*/ 62 w 336"/>
                <a:gd name="T65" fmla="*/ 144 h 384"/>
                <a:gd name="T66" fmla="*/ 82 w 336"/>
                <a:gd name="T67" fmla="*/ 204 h 384"/>
                <a:gd name="T68" fmla="*/ 122 w 336"/>
                <a:gd name="T69" fmla="*/ 216 h 384"/>
                <a:gd name="T70" fmla="*/ 192 w 336"/>
                <a:gd name="T71" fmla="*/ 124 h 384"/>
                <a:gd name="T72" fmla="*/ 228 w 336"/>
                <a:gd name="T73" fmla="*/ 62 h 384"/>
                <a:gd name="T74" fmla="*/ 222 w 336"/>
                <a:gd name="T75" fmla="*/ 24 h 384"/>
                <a:gd name="T76" fmla="*/ 190 w 336"/>
                <a:gd name="T77" fmla="*/ 80 h 384"/>
                <a:gd name="T78" fmla="*/ 118 w 336"/>
                <a:gd name="T79" fmla="*/ 188 h 384"/>
                <a:gd name="T80" fmla="*/ 110 w 336"/>
                <a:gd name="T81" fmla="*/ 192 h 384"/>
                <a:gd name="T82" fmla="*/ 104 w 336"/>
                <a:gd name="T83" fmla="*/ 190 h 384"/>
                <a:gd name="T84" fmla="*/ 100 w 336"/>
                <a:gd name="T85" fmla="*/ 184 h 384"/>
                <a:gd name="T86" fmla="*/ 104 w 336"/>
                <a:gd name="T87" fmla="*/ 176 h 384"/>
                <a:gd name="T88" fmla="*/ 174 w 336"/>
                <a:gd name="T89" fmla="*/ 70 h 384"/>
                <a:gd name="T90" fmla="*/ 40 w 336"/>
                <a:gd name="T91" fmla="*/ 232 h 384"/>
                <a:gd name="T92" fmla="*/ 60 w 336"/>
                <a:gd name="T93" fmla="*/ 242 h 384"/>
                <a:gd name="T94" fmla="*/ 78 w 336"/>
                <a:gd name="T95" fmla="*/ 254 h 384"/>
                <a:gd name="T96" fmla="*/ 46 w 336"/>
                <a:gd name="T97" fmla="*/ 252 h 384"/>
                <a:gd name="T98" fmla="*/ 22 w 336"/>
                <a:gd name="T99" fmla="*/ 244 h 384"/>
                <a:gd name="T100" fmla="*/ 4 w 336"/>
                <a:gd name="T101" fmla="*/ 338 h 384"/>
                <a:gd name="T102" fmla="*/ 82 w 336"/>
                <a:gd name="T103" fmla="*/ 284 h 384"/>
                <a:gd name="T104" fmla="*/ 58 w 336"/>
                <a:gd name="T105" fmla="*/ 258 h 384"/>
                <a:gd name="T106" fmla="*/ 34 w 336"/>
                <a:gd name="T107" fmla="*/ 296 h 384"/>
                <a:gd name="T108" fmla="*/ 28 w 336"/>
                <a:gd name="T109" fmla="*/ 296 h 384"/>
                <a:gd name="T110" fmla="*/ 26 w 336"/>
                <a:gd name="T111" fmla="*/ 28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36" h="384">
                  <a:moveTo>
                    <a:pt x="186" y="264"/>
                  </a:moveTo>
                  <a:lnTo>
                    <a:pt x="186" y="264"/>
                  </a:lnTo>
                  <a:lnTo>
                    <a:pt x="188" y="270"/>
                  </a:lnTo>
                  <a:lnTo>
                    <a:pt x="192" y="274"/>
                  </a:lnTo>
                  <a:lnTo>
                    <a:pt x="204" y="282"/>
                  </a:lnTo>
                  <a:lnTo>
                    <a:pt x="204" y="282"/>
                  </a:lnTo>
                  <a:lnTo>
                    <a:pt x="212" y="288"/>
                  </a:lnTo>
                  <a:lnTo>
                    <a:pt x="220" y="296"/>
                  </a:lnTo>
                  <a:lnTo>
                    <a:pt x="226" y="306"/>
                  </a:lnTo>
                  <a:lnTo>
                    <a:pt x="228" y="312"/>
                  </a:lnTo>
                  <a:lnTo>
                    <a:pt x="228" y="320"/>
                  </a:lnTo>
                  <a:lnTo>
                    <a:pt x="228" y="320"/>
                  </a:lnTo>
                  <a:lnTo>
                    <a:pt x="226" y="330"/>
                  </a:lnTo>
                  <a:lnTo>
                    <a:pt x="222" y="338"/>
                  </a:lnTo>
                  <a:lnTo>
                    <a:pt x="212" y="348"/>
                  </a:lnTo>
                  <a:lnTo>
                    <a:pt x="200" y="354"/>
                  </a:lnTo>
                  <a:lnTo>
                    <a:pt x="184" y="362"/>
                  </a:lnTo>
                  <a:lnTo>
                    <a:pt x="166" y="368"/>
                  </a:lnTo>
                  <a:lnTo>
                    <a:pt x="142" y="372"/>
                  </a:lnTo>
                  <a:lnTo>
                    <a:pt x="116" y="376"/>
                  </a:lnTo>
                  <a:lnTo>
                    <a:pt x="116" y="376"/>
                  </a:lnTo>
                  <a:lnTo>
                    <a:pt x="78" y="380"/>
                  </a:lnTo>
                  <a:lnTo>
                    <a:pt x="44" y="382"/>
                  </a:lnTo>
                  <a:lnTo>
                    <a:pt x="10" y="384"/>
                  </a:lnTo>
                  <a:lnTo>
                    <a:pt x="10" y="384"/>
                  </a:lnTo>
                  <a:lnTo>
                    <a:pt x="6" y="382"/>
                  </a:lnTo>
                  <a:lnTo>
                    <a:pt x="2" y="380"/>
                  </a:lnTo>
                  <a:lnTo>
                    <a:pt x="0" y="378"/>
                  </a:lnTo>
                  <a:lnTo>
                    <a:pt x="0" y="374"/>
                  </a:lnTo>
                  <a:lnTo>
                    <a:pt x="0" y="374"/>
                  </a:lnTo>
                  <a:lnTo>
                    <a:pt x="0" y="370"/>
                  </a:lnTo>
                  <a:lnTo>
                    <a:pt x="2" y="366"/>
                  </a:lnTo>
                  <a:lnTo>
                    <a:pt x="6" y="364"/>
                  </a:lnTo>
                  <a:lnTo>
                    <a:pt x="10" y="364"/>
                  </a:lnTo>
                  <a:lnTo>
                    <a:pt x="10" y="364"/>
                  </a:lnTo>
                  <a:lnTo>
                    <a:pt x="54" y="362"/>
                  </a:lnTo>
                  <a:lnTo>
                    <a:pt x="92" y="360"/>
                  </a:lnTo>
                  <a:lnTo>
                    <a:pt x="126" y="354"/>
                  </a:lnTo>
                  <a:lnTo>
                    <a:pt x="156" y="350"/>
                  </a:lnTo>
                  <a:lnTo>
                    <a:pt x="178" y="342"/>
                  </a:lnTo>
                  <a:lnTo>
                    <a:pt x="194" y="336"/>
                  </a:lnTo>
                  <a:lnTo>
                    <a:pt x="206" y="328"/>
                  </a:lnTo>
                  <a:lnTo>
                    <a:pt x="208" y="324"/>
                  </a:lnTo>
                  <a:lnTo>
                    <a:pt x="208" y="320"/>
                  </a:lnTo>
                  <a:lnTo>
                    <a:pt x="208" y="320"/>
                  </a:lnTo>
                  <a:lnTo>
                    <a:pt x="208" y="314"/>
                  </a:lnTo>
                  <a:lnTo>
                    <a:pt x="204" y="308"/>
                  </a:lnTo>
                  <a:lnTo>
                    <a:pt x="192" y="300"/>
                  </a:lnTo>
                  <a:lnTo>
                    <a:pt x="192" y="300"/>
                  </a:lnTo>
                  <a:lnTo>
                    <a:pt x="184" y="294"/>
                  </a:lnTo>
                  <a:lnTo>
                    <a:pt x="176" y="286"/>
                  </a:lnTo>
                  <a:lnTo>
                    <a:pt x="170" y="276"/>
                  </a:lnTo>
                  <a:lnTo>
                    <a:pt x="168" y="270"/>
                  </a:lnTo>
                  <a:lnTo>
                    <a:pt x="166" y="264"/>
                  </a:lnTo>
                  <a:lnTo>
                    <a:pt x="166" y="264"/>
                  </a:lnTo>
                  <a:lnTo>
                    <a:pt x="168" y="254"/>
                  </a:lnTo>
                  <a:lnTo>
                    <a:pt x="172" y="246"/>
                  </a:lnTo>
                  <a:lnTo>
                    <a:pt x="178" y="240"/>
                  </a:lnTo>
                  <a:lnTo>
                    <a:pt x="186" y="234"/>
                  </a:lnTo>
                  <a:lnTo>
                    <a:pt x="194" y="228"/>
                  </a:lnTo>
                  <a:lnTo>
                    <a:pt x="204" y="224"/>
                  </a:lnTo>
                  <a:lnTo>
                    <a:pt x="228" y="216"/>
                  </a:lnTo>
                  <a:lnTo>
                    <a:pt x="254" y="212"/>
                  </a:lnTo>
                  <a:lnTo>
                    <a:pt x="280" y="208"/>
                  </a:lnTo>
                  <a:lnTo>
                    <a:pt x="326" y="206"/>
                  </a:lnTo>
                  <a:lnTo>
                    <a:pt x="326" y="206"/>
                  </a:lnTo>
                  <a:lnTo>
                    <a:pt x="330" y="208"/>
                  </a:lnTo>
                  <a:lnTo>
                    <a:pt x="332" y="210"/>
                  </a:lnTo>
                  <a:lnTo>
                    <a:pt x="334" y="212"/>
                  </a:lnTo>
                  <a:lnTo>
                    <a:pt x="336" y="216"/>
                  </a:lnTo>
                  <a:lnTo>
                    <a:pt x="336" y="216"/>
                  </a:lnTo>
                  <a:lnTo>
                    <a:pt x="334" y="220"/>
                  </a:lnTo>
                  <a:lnTo>
                    <a:pt x="332" y="224"/>
                  </a:lnTo>
                  <a:lnTo>
                    <a:pt x="330" y="226"/>
                  </a:lnTo>
                  <a:lnTo>
                    <a:pt x="326" y="226"/>
                  </a:lnTo>
                  <a:lnTo>
                    <a:pt x="326" y="226"/>
                  </a:lnTo>
                  <a:lnTo>
                    <a:pt x="292" y="228"/>
                  </a:lnTo>
                  <a:lnTo>
                    <a:pt x="264" y="230"/>
                  </a:lnTo>
                  <a:lnTo>
                    <a:pt x="240" y="234"/>
                  </a:lnTo>
                  <a:lnTo>
                    <a:pt x="220" y="238"/>
                  </a:lnTo>
                  <a:lnTo>
                    <a:pt x="206" y="244"/>
                  </a:lnTo>
                  <a:lnTo>
                    <a:pt x="196" y="250"/>
                  </a:lnTo>
                  <a:lnTo>
                    <a:pt x="188" y="258"/>
                  </a:lnTo>
                  <a:lnTo>
                    <a:pt x="186" y="264"/>
                  </a:lnTo>
                  <a:lnTo>
                    <a:pt x="186" y="264"/>
                  </a:lnTo>
                  <a:close/>
                  <a:moveTo>
                    <a:pt x="174" y="70"/>
                  </a:moveTo>
                  <a:lnTo>
                    <a:pt x="174" y="70"/>
                  </a:lnTo>
                  <a:lnTo>
                    <a:pt x="204" y="16"/>
                  </a:lnTo>
                  <a:lnTo>
                    <a:pt x="204" y="16"/>
                  </a:lnTo>
                  <a:lnTo>
                    <a:pt x="186" y="10"/>
                  </a:lnTo>
                  <a:lnTo>
                    <a:pt x="170" y="4"/>
                  </a:lnTo>
                  <a:lnTo>
                    <a:pt x="152" y="2"/>
                  </a:lnTo>
                  <a:lnTo>
                    <a:pt x="136" y="0"/>
                  </a:lnTo>
                  <a:lnTo>
                    <a:pt x="136" y="0"/>
                  </a:lnTo>
                  <a:lnTo>
                    <a:pt x="114" y="36"/>
                  </a:lnTo>
                  <a:lnTo>
                    <a:pt x="114" y="36"/>
                  </a:lnTo>
                  <a:lnTo>
                    <a:pt x="96" y="68"/>
                  </a:lnTo>
                  <a:lnTo>
                    <a:pt x="82" y="96"/>
                  </a:lnTo>
                  <a:lnTo>
                    <a:pt x="62" y="144"/>
                  </a:lnTo>
                  <a:lnTo>
                    <a:pt x="52" y="176"/>
                  </a:lnTo>
                  <a:lnTo>
                    <a:pt x="48" y="186"/>
                  </a:lnTo>
                  <a:lnTo>
                    <a:pt x="82" y="204"/>
                  </a:lnTo>
                  <a:lnTo>
                    <a:pt x="114" y="224"/>
                  </a:lnTo>
                  <a:lnTo>
                    <a:pt x="114" y="224"/>
                  </a:lnTo>
                  <a:lnTo>
                    <a:pt x="122" y="216"/>
                  </a:lnTo>
                  <a:lnTo>
                    <a:pt x="142" y="192"/>
                  </a:lnTo>
                  <a:lnTo>
                    <a:pt x="174" y="150"/>
                  </a:lnTo>
                  <a:lnTo>
                    <a:pt x="192" y="124"/>
                  </a:lnTo>
                  <a:lnTo>
                    <a:pt x="212" y="92"/>
                  </a:lnTo>
                  <a:lnTo>
                    <a:pt x="212" y="92"/>
                  </a:lnTo>
                  <a:lnTo>
                    <a:pt x="228" y="62"/>
                  </a:lnTo>
                  <a:lnTo>
                    <a:pt x="242" y="36"/>
                  </a:lnTo>
                  <a:lnTo>
                    <a:pt x="242" y="36"/>
                  </a:lnTo>
                  <a:lnTo>
                    <a:pt x="222" y="24"/>
                  </a:lnTo>
                  <a:lnTo>
                    <a:pt x="222" y="24"/>
                  </a:lnTo>
                  <a:lnTo>
                    <a:pt x="190" y="80"/>
                  </a:lnTo>
                  <a:lnTo>
                    <a:pt x="190" y="80"/>
                  </a:lnTo>
                  <a:lnTo>
                    <a:pt x="162" y="126"/>
                  </a:lnTo>
                  <a:lnTo>
                    <a:pt x="140" y="160"/>
                  </a:lnTo>
                  <a:lnTo>
                    <a:pt x="118" y="188"/>
                  </a:lnTo>
                  <a:lnTo>
                    <a:pt x="118" y="188"/>
                  </a:lnTo>
                  <a:lnTo>
                    <a:pt x="116" y="192"/>
                  </a:lnTo>
                  <a:lnTo>
                    <a:pt x="110" y="192"/>
                  </a:lnTo>
                  <a:lnTo>
                    <a:pt x="110" y="192"/>
                  </a:lnTo>
                  <a:lnTo>
                    <a:pt x="108" y="192"/>
                  </a:lnTo>
                  <a:lnTo>
                    <a:pt x="104" y="190"/>
                  </a:lnTo>
                  <a:lnTo>
                    <a:pt x="104" y="190"/>
                  </a:lnTo>
                  <a:lnTo>
                    <a:pt x="102" y="186"/>
                  </a:lnTo>
                  <a:lnTo>
                    <a:pt x="100" y="184"/>
                  </a:lnTo>
                  <a:lnTo>
                    <a:pt x="102" y="180"/>
                  </a:lnTo>
                  <a:lnTo>
                    <a:pt x="104" y="176"/>
                  </a:lnTo>
                  <a:lnTo>
                    <a:pt x="104" y="176"/>
                  </a:lnTo>
                  <a:lnTo>
                    <a:pt x="124" y="148"/>
                  </a:lnTo>
                  <a:lnTo>
                    <a:pt x="146" y="116"/>
                  </a:lnTo>
                  <a:lnTo>
                    <a:pt x="174" y="70"/>
                  </a:lnTo>
                  <a:lnTo>
                    <a:pt x="174" y="70"/>
                  </a:lnTo>
                  <a:close/>
                  <a:moveTo>
                    <a:pt x="44" y="202"/>
                  </a:moveTo>
                  <a:lnTo>
                    <a:pt x="40" y="232"/>
                  </a:lnTo>
                  <a:lnTo>
                    <a:pt x="40" y="232"/>
                  </a:lnTo>
                  <a:lnTo>
                    <a:pt x="50" y="236"/>
                  </a:lnTo>
                  <a:lnTo>
                    <a:pt x="60" y="242"/>
                  </a:lnTo>
                  <a:lnTo>
                    <a:pt x="60" y="242"/>
                  </a:lnTo>
                  <a:lnTo>
                    <a:pt x="70" y="248"/>
                  </a:lnTo>
                  <a:lnTo>
                    <a:pt x="78" y="254"/>
                  </a:lnTo>
                  <a:lnTo>
                    <a:pt x="100" y="236"/>
                  </a:lnTo>
                  <a:lnTo>
                    <a:pt x="44" y="202"/>
                  </a:lnTo>
                  <a:close/>
                  <a:moveTo>
                    <a:pt x="46" y="252"/>
                  </a:moveTo>
                  <a:lnTo>
                    <a:pt x="46" y="252"/>
                  </a:lnTo>
                  <a:lnTo>
                    <a:pt x="34" y="246"/>
                  </a:lnTo>
                  <a:lnTo>
                    <a:pt x="22" y="244"/>
                  </a:lnTo>
                  <a:lnTo>
                    <a:pt x="12" y="244"/>
                  </a:lnTo>
                  <a:lnTo>
                    <a:pt x="4" y="244"/>
                  </a:lnTo>
                  <a:lnTo>
                    <a:pt x="4" y="338"/>
                  </a:lnTo>
                  <a:lnTo>
                    <a:pt x="84" y="292"/>
                  </a:lnTo>
                  <a:lnTo>
                    <a:pt x="84" y="292"/>
                  </a:lnTo>
                  <a:lnTo>
                    <a:pt x="82" y="284"/>
                  </a:lnTo>
                  <a:lnTo>
                    <a:pt x="76" y="276"/>
                  </a:lnTo>
                  <a:lnTo>
                    <a:pt x="68" y="266"/>
                  </a:lnTo>
                  <a:lnTo>
                    <a:pt x="58" y="258"/>
                  </a:lnTo>
                  <a:lnTo>
                    <a:pt x="36" y="294"/>
                  </a:lnTo>
                  <a:lnTo>
                    <a:pt x="36" y="294"/>
                  </a:lnTo>
                  <a:lnTo>
                    <a:pt x="34" y="296"/>
                  </a:lnTo>
                  <a:lnTo>
                    <a:pt x="32" y="296"/>
                  </a:lnTo>
                  <a:lnTo>
                    <a:pt x="32" y="296"/>
                  </a:lnTo>
                  <a:lnTo>
                    <a:pt x="28" y="296"/>
                  </a:lnTo>
                  <a:lnTo>
                    <a:pt x="28" y="296"/>
                  </a:lnTo>
                  <a:lnTo>
                    <a:pt x="26" y="292"/>
                  </a:lnTo>
                  <a:lnTo>
                    <a:pt x="26" y="288"/>
                  </a:lnTo>
                  <a:lnTo>
                    <a:pt x="46" y="2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64" name="Group 163">
            <a:extLst>
              <a:ext uri="{FF2B5EF4-FFF2-40B4-BE49-F238E27FC236}">
                <a16:creationId xmlns:a16="http://schemas.microsoft.com/office/drawing/2014/main" id="{13B35B47-0EA2-41F0-A976-99C7EF6DF8AC}"/>
              </a:ext>
            </a:extLst>
          </p:cNvPr>
          <p:cNvGrpSpPr/>
          <p:nvPr/>
        </p:nvGrpSpPr>
        <p:grpSpPr>
          <a:xfrm>
            <a:off x="6911559" y="2811612"/>
            <a:ext cx="612000" cy="612000"/>
            <a:chOff x="5841085" y="3474401"/>
            <a:chExt cx="612000" cy="612000"/>
          </a:xfrm>
        </p:grpSpPr>
        <p:sp>
          <p:nvSpPr>
            <p:cNvPr id="165" name="Oval 164">
              <a:extLst>
                <a:ext uri="{FF2B5EF4-FFF2-40B4-BE49-F238E27FC236}">
                  <a16:creationId xmlns:a16="http://schemas.microsoft.com/office/drawing/2014/main" id="{1CA84393-8056-4A8C-B9E1-731B2A78AA08}"/>
                </a:ext>
              </a:extLst>
            </p:cNvPr>
            <p:cNvSpPr/>
            <p:nvPr/>
          </p:nvSpPr>
          <p:spPr bwMode="ltGray">
            <a:xfrm>
              <a:off x="5841085"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66" name="Freeform 4994">
              <a:extLst>
                <a:ext uri="{FF2B5EF4-FFF2-40B4-BE49-F238E27FC236}">
                  <a16:creationId xmlns:a16="http://schemas.microsoft.com/office/drawing/2014/main" id="{D88CD6C1-982E-4B12-B877-A231311F44E0}"/>
                </a:ext>
              </a:extLst>
            </p:cNvPr>
            <p:cNvSpPr>
              <a:spLocks noEditPoints="1"/>
            </p:cNvSpPr>
            <p:nvPr/>
          </p:nvSpPr>
          <p:spPr bwMode="auto">
            <a:xfrm>
              <a:off x="6006550" y="3601300"/>
              <a:ext cx="281071" cy="373145"/>
            </a:xfrm>
            <a:custGeom>
              <a:avLst/>
              <a:gdLst>
                <a:gd name="T0" fmla="*/ 188 w 232"/>
                <a:gd name="T1" fmla="*/ 150 h 308"/>
                <a:gd name="T2" fmla="*/ 178 w 232"/>
                <a:gd name="T3" fmla="*/ 142 h 308"/>
                <a:gd name="T4" fmla="*/ 182 w 232"/>
                <a:gd name="T5" fmla="*/ 126 h 308"/>
                <a:gd name="T6" fmla="*/ 194 w 232"/>
                <a:gd name="T7" fmla="*/ 132 h 308"/>
                <a:gd name="T8" fmla="*/ 232 w 232"/>
                <a:gd name="T9" fmla="*/ 292 h 308"/>
                <a:gd name="T10" fmla="*/ 16 w 232"/>
                <a:gd name="T11" fmla="*/ 308 h 308"/>
                <a:gd name="T12" fmla="*/ 0 w 232"/>
                <a:gd name="T13" fmla="*/ 292 h 308"/>
                <a:gd name="T14" fmla="*/ 10 w 232"/>
                <a:gd name="T15" fmla="*/ 0 h 308"/>
                <a:gd name="T16" fmla="*/ 232 w 232"/>
                <a:gd name="T17" fmla="*/ 82 h 308"/>
                <a:gd name="T18" fmla="*/ 116 w 232"/>
                <a:gd name="T19" fmla="*/ 146 h 308"/>
                <a:gd name="T20" fmla="*/ 136 w 232"/>
                <a:gd name="T21" fmla="*/ 162 h 308"/>
                <a:gd name="T22" fmla="*/ 146 w 232"/>
                <a:gd name="T23" fmla="*/ 166 h 308"/>
                <a:gd name="T24" fmla="*/ 150 w 232"/>
                <a:gd name="T25" fmla="*/ 148 h 308"/>
                <a:gd name="T26" fmla="*/ 158 w 232"/>
                <a:gd name="T27" fmla="*/ 140 h 308"/>
                <a:gd name="T28" fmla="*/ 150 w 232"/>
                <a:gd name="T29" fmla="*/ 116 h 308"/>
                <a:gd name="T30" fmla="*/ 142 w 232"/>
                <a:gd name="T31" fmla="*/ 108 h 308"/>
                <a:gd name="T32" fmla="*/ 134 w 232"/>
                <a:gd name="T33" fmla="*/ 116 h 308"/>
                <a:gd name="T34" fmla="*/ 126 w 232"/>
                <a:gd name="T35" fmla="*/ 114 h 308"/>
                <a:gd name="T36" fmla="*/ 116 w 232"/>
                <a:gd name="T37" fmla="*/ 110 h 308"/>
                <a:gd name="T38" fmla="*/ 116 w 232"/>
                <a:gd name="T39" fmla="*/ 192 h 308"/>
                <a:gd name="T40" fmla="*/ 24 w 232"/>
                <a:gd name="T41" fmla="*/ 198 h 308"/>
                <a:gd name="T42" fmla="*/ 28 w 232"/>
                <a:gd name="T43" fmla="*/ 208 h 308"/>
                <a:gd name="T44" fmla="*/ 122 w 232"/>
                <a:gd name="T45" fmla="*/ 206 h 308"/>
                <a:gd name="T46" fmla="*/ 122 w 232"/>
                <a:gd name="T47" fmla="*/ 196 h 308"/>
                <a:gd name="T48" fmla="*/ 54 w 232"/>
                <a:gd name="T49" fmla="*/ 138 h 308"/>
                <a:gd name="T50" fmla="*/ 78 w 232"/>
                <a:gd name="T51" fmla="*/ 166 h 308"/>
                <a:gd name="T52" fmla="*/ 104 w 232"/>
                <a:gd name="T53" fmla="*/ 138 h 308"/>
                <a:gd name="T54" fmla="*/ 78 w 232"/>
                <a:gd name="T55" fmla="*/ 108 h 308"/>
                <a:gd name="T56" fmla="*/ 54 w 232"/>
                <a:gd name="T57" fmla="*/ 138 h 308"/>
                <a:gd name="T58" fmla="*/ 30 w 232"/>
                <a:gd name="T59" fmla="*/ 158 h 308"/>
                <a:gd name="T60" fmla="*/ 38 w 232"/>
                <a:gd name="T61" fmla="*/ 166 h 308"/>
                <a:gd name="T62" fmla="*/ 46 w 232"/>
                <a:gd name="T63" fmla="*/ 158 h 308"/>
                <a:gd name="T64" fmla="*/ 40 w 232"/>
                <a:gd name="T65" fmla="*/ 110 h 308"/>
                <a:gd name="T66" fmla="*/ 20 w 232"/>
                <a:gd name="T67" fmla="*/ 124 h 308"/>
                <a:gd name="T68" fmla="*/ 208 w 232"/>
                <a:gd name="T69" fmla="*/ 278 h 308"/>
                <a:gd name="T70" fmla="*/ 200 w 232"/>
                <a:gd name="T71" fmla="*/ 270 h 308"/>
                <a:gd name="T72" fmla="*/ 24 w 232"/>
                <a:gd name="T73" fmla="*/ 276 h 308"/>
                <a:gd name="T74" fmla="*/ 28 w 232"/>
                <a:gd name="T75" fmla="*/ 286 h 308"/>
                <a:gd name="T76" fmla="*/ 206 w 232"/>
                <a:gd name="T77" fmla="*/ 284 h 308"/>
                <a:gd name="T78" fmla="*/ 208 w 232"/>
                <a:gd name="T79" fmla="*/ 240 h 308"/>
                <a:gd name="T80" fmla="*/ 32 w 232"/>
                <a:gd name="T81" fmla="*/ 232 h 308"/>
                <a:gd name="T82" fmla="*/ 24 w 232"/>
                <a:gd name="T83" fmla="*/ 240 h 308"/>
                <a:gd name="T84" fmla="*/ 32 w 232"/>
                <a:gd name="T85" fmla="*/ 248 h 308"/>
                <a:gd name="T86" fmla="*/ 208 w 232"/>
                <a:gd name="T87" fmla="*/ 242 h 308"/>
                <a:gd name="T88" fmla="*/ 208 w 232"/>
                <a:gd name="T89" fmla="*/ 126 h 308"/>
                <a:gd name="T90" fmla="*/ 176 w 232"/>
                <a:gd name="T91" fmla="*/ 110 h 308"/>
                <a:gd name="T92" fmla="*/ 162 w 232"/>
                <a:gd name="T93" fmla="*/ 148 h 308"/>
                <a:gd name="T94" fmla="*/ 196 w 232"/>
                <a:gd name="T95" fmla="*/ 164 h 308"/>
                <a:gd name="T96" fmla="*/ 216 w 232"/>
                <a:gd name="T97" fmla="*/ 86 h 308"/>
                <a:gd name="T98" fmla="*/ 156 w 232"/>
                <a:gd name="T99" fmla="*/ 86 h 308"/>
                <a:gd name="T100" fmla="*/ 84 w 232"/>
                <a:gd name="T101" fmla="*/ 146 h 308"/>
                <a:gd name="T102" fmla="*/ 84 w 232"/>
                <a:gd name="T103" fmla="*/ 128 h 308"/>
                <a:gd name="T104" fmla="*/ 72 w 232"/>
                <a:gd name="T105" fmla="*/ 128 h 308"/>
                <a:gd name="T106" fmla="*/ 72 w 232"/>
                <a:gd name="T107" fmla="*/ 146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32" h="308">
                  <a:moveTo>
                    <a:pt x="194" y="138"/>
                  </a:moveTo>
                  <a:lnTo>
                    <a:pt x="194" y="138"/>
                  </a:lnTo>
                  <a:lnTo>
                    <a:pt x="194" y="142"/>
                  </a:lnTo>
                  <a:lnTo>
                    <a:pt x="192" y="146"/>
                  </a:lnTo>
                  <a:lnTo>
                    <a:pt x="188" y="150"/>
                  </a:lnTo>
                  <a:lnTo>
                    <a:pt x="186" y="150"/>
                  </a:lnTo>
                  <a:lnTo>
                    <a:pt x="186" y="150"/>
                  </a:lnTo>
                  <a:lnTo>
                    <a:pt x="182" y="150"/>
                  </a:lnTo>
                  <a:lnTo>
                    <a:pt x="180" y="146"/>
                  </a:lnTo>
                  <a:lnTo>
                    <a:pt x="178" y="142"/>
                  </a:lnTo>
                  <a:lnTo>
                    <a:pt x="178" y="138"/>
                  </a:lnTo>
                  <a:lnTo>
                    <a:pt x="178" y="138"/>
                  </a:lnTo>
                  <a:lnTo>
                    <a:pt x="178" y="132"/>
                  </a:lnTo>
                  <a:lnTo>
                    <a:pt x="180" y="128"/>
                  </a:lnTo>
                  <a:lnTo>
                    <a:pt x="182" y="126"/>
                  </a:lnTo>
                  <a:lnTo>
                    <a:pt x="186" y="124"/>
                  </a:lnTo>
                  <a:lnTo>
                    <a:pt x="186" y="124"/>
                  </a:lnTo>
                  <a:lnTo>
                    <a:pt x="188" y="126"/>
                  </a:lnTo>
                  <a:lnTo>
                    <a:pt x="192" y="128"/>
                  </a:lnTo>
                  <a:lnTo>
                    <a:pt x="194" y="132"/>
                  </a:lnTo>
                  <a:lnTo>
                    <a:pt x="194" y="138"/>
                  </a:lnTo>
                  <a:lnTo>
                    <a:pt x="194" y="138"/>
                  </a:lnTo>
                  <a:close/>
                  <a:moveTo>
                    <a:pt x="232" y="82"/>
                  </a:moveTo>
                  <a:lnTo>
                    <a:pt x="232" y="292"/>
                  </a:lnTo>
                  <a:lnTo>
                    <a:pt x="232" y="292"/>
                  </a:lnTo>
                  <a:lnTo>
                    <a:pt x="230" y="298"/>
                  </a:lnTo>
                  <a:lnTo>
                    <a:pt x="226" y="304"/>
                  </a:lnTo>
                  <a:lnTo>
                    <a:pt x="222" y="308"/>
                  </a:lnTo>
                  <a:lnTo>
                    <a:pt x="216" y="308"/>
                  </a:lnTo>
                  <a:lnTo>
                    <a:pt x="16" y="308"/>
                  </a:lnTo>
                  <a:lnTo>
                    <a:pt x="16" y="308"/>
                  </a:lnTo>
                  <a:lnTo>
                    <a:pt x="10" y="308"/>
                  </a:lnTo>
                  <a:lnTo>
                    <a:pt x="6" y="304"/>
                  </a:lnTo>
                  <a:lnTo>
                    <a:pt x="2" y="298"/>
                  </a:lnTo>
                  <a:lnTo>
                    <a:pt x="0" y="292"/>
                  </a:lnTo>
                  <a:lnTo>
                    <a:pt x="0" y="16"/>
                  </a:lnTo>
                  <a:lnTo>
                    <a:pt x="0" y="16"/>
                  </a:lnTo>
                  <a:lnTo>
                    <a:pt x="2" y="10"/>
                  </a:lnTo>
                  <a:lnTo>
                    <a:pt x="6" y="4"/>
                  </a:lnTo>
                  <a:lnTo>
                    <a:pt x="10" y="0"/>
                  </a:lnTo>
                  <a:lnTo>
                    <a:pt x="16" y="0"/>
                  </a:lnTo>
                  <a:lnTo>
                    <a:pt x="150" y="0"/>
                  </a:lnTo>
                  <a:lnTo>
                    <a:pt x="166" y="16"/>
                  </a:lnTo>
                  <a:lnTo>
                    <a:pt x="214" y="66"/>
                  </a:lnTo>
                  <a:lnTo>
                    <a:pt x="232" y="82"/>
                  </a:lnTo>
                  <a:close/>
                  <a:moveTo>
                    <a:pt x="110" y="140"/>
                  </a:moveTo>
                  <a:lnTo>
                    <a:pt x="110" y="140"/>
                  </a:lnTo>
                  <a:lnTo>
                    <a:pt x="110" y="142"/>
                  </a:lnTo>
                  <a:lnTo>
                    <a:pt x="112" y="146"/>
                  </a:lnTo>
                  <a:lnTo>
                    <a:pt x="116" y="146"/>
                  </a:lnTo>
                  <a:lnTo>
                    <a:pt x="118" y="148"/>
                  </a:lnTo>
                  <a:lnTo>
                    <a:pt x="134" y="148"/>
                  </a:lnTo>
                  <a:lnTo>
                    <a:pt x="134" y="158"/>
                  </a:lnTo>
                  <a:lnTo>
                    <a:pt x="134" y="158"/>
                  </a:lnTo>
                  <a:lnTo>
                    <a:pt x="136" y="162"/>
                  </a:lnTo>
                  <a:lnTo>
                    <a:pt x="136" y="164"/>
                  </a:lnTo>
                  <a:lnTo>
                    <a:pt x="140" y="166"/>
                  </a:lnTo>
                  <a:lnTo>
                    <a:pt x="142" y="166"/>
                  </a:lnTo>
                  <a:lnTo>
                    <a:pt x="142" y="166"/>
                  </a:lnTo>
                  <a:lnTo>
                    <a:pt x="146" y="166"/>
                  </a:lnTo>
                  <a:lnTo>
                    <a:pt x="148" y="164"/>
                  </a:lnTo>
                  <a:lnTo>
                    <a:pt x="150" y="162"/>
                  </a:lnTo>
                  <a:lnTo>
                    <a:pt x="150" y="158"/>
                  </a:lnTo>
                  <a:lnTo>
                    <a:pt x="150" y="148"/>
                  </a:lnTo>
                  <a:lnTo>
                    <a:pt x="150" y="148"/>
                  </a:lnTo>
                  <a:lnTo>
                    <a:pt x="154" y="146"/>
                  </a:lnTo>
                  <a:lnTo>
                    <a:pt x="156" y="146"/>
                  </a:lnTo>
                  <a:lnTo>
                    <a:pt x="158" y="142"/>
                  </a:lnTo>
                  <a:lnTo>
                    <a:pt x="158" y="140"/>
                  </a:lnTo>
                  <a:lnTo>
                    <a:pt x="158" y="140"/>
                  </a:lnTo>
                  <a:lnTo>
                    <a:pt x="158" y="136"/>
                  </a:lnTo>
                  <a:lnTo>
                    <a:pt x="156" y="134"/>
                  </a:lnTo>
                  <a:lnTo>
                    <a:pt x="154" y="132"/>
                  </a:lnTo>
                  <a:lnTo>
                    <a:pt x="150" y="132"/>
                  </a:lnTo>
                  <a:lnTo>
                    <a:pt x="150" y="116"/>
                  </a:lnTo>
                  <a:lnTo>
                    <a:pt x="150" y="116"/>
                  </a:lnTo>
                  <a:lnTo>
                    <a:pt x="150" y="114"/>
                  </a:lnTo>
                  <a:lnTo>
                    <a:pt x="148" y="110"/>
                  </a:lnTo>
                  <a:lnTo>
                    <a:pt x="146" y="110"/>
                  </a:lnTo>
                  <a:lnTo>
                    <a:pt x="142" y="108"/>
                  </a:lnTo>
                  <a:lnTo>
                    <a:pt x="142" y="108"/>
                  </a:lnTo>
                  <a:lnTo>
                    <a:pt x="140" y="110"/>
                  </a:lnTo>
                  <a:lnTo>
                    <a:pt x="136" y="110"/>
                  </a:lnTo>
                  <a:lnTo>
                    <a:pt x="136" y="114"/>
                  </a:lnTo>
                  <a:lnTo>
                    <a:pt x="134" y="116"/>
                  </a:lnTo>
                  <a:lnTo>
                    <a:pt x="134" y="132"/>
                  </a:lnTo>
                  <a:lnTo>
                    <a:pt x="126" y="132"/>
                  </a:lnTo>
                  <a:lnTo>
                    <a:pt x="126" y="116"/>
                  </a:lnTo>
                  <a:lnTo>
                    <a:pt x="126" y="116"/>
                  </a:lnTo>
                  <a:lnTo>
                    <a:pt x="126" y="114"/>
                  </a:lnTo>
                  <a:lnTo>
                    <a:pt x="124" y="110"/>
                  </a:lnTo>
                  <a:lnTo>
                    <a:pt x="122" y="110"/>
                  </a:lnTo>
                  <a:lnTo>
                    <a:pt x="118" y="108"/>
                  </a:lnTo>
                  <a:lnTo>
                    <a:pt x="118" y="108"/>
                  </a:lnTo>
                  <a:lnTo>
                    <a:pt x="116" y="110"/>
                  </a:lnTo>
                  <a:lnTo>
                    <a:pt x="112" y="110"/>
                  </a:lnTo>
                  <a:lnTo>
                    <a:pt x="110" y="114"/>
                  </a:lnTo>
                  <a:lnTo>
                    <a:pt x="110" y="116"/>
                  </a:lnTo>
                  <a:lnTo>
                    <a:pt x="110" y="140"/>
                  </a:lnTo>
                  <a:close/>
                  <a:moveTo>
                    <a:pt x="116" y="192"/>
                  </a:moveTo>
                  <a:lnTo>
                    <a:pt x="32" y="192"/>
                  </a:lnTo>
                  <a:lnTo>
                    <a:pt x="32" y="192"/>
                  </a:lnTo>
                  <a:lnTo>
                    <a:pt x="28" y="194"/>
                  </a:lnTo>
                  <a:lnTo>
                    <a:pt x="26" y="196"/>
                  </a:lnTo>
                  <a:lnTo>
                    <a:pt x="24" y="198"/>
                  </a:lnTo>
                  <a:lnTo>
                    <a:pt x="24" y="200"/>
                  </a:lnTo>
                  <a:lnTo>
                    <a:pt x="24" y="200"/>
                  </a:lnTo>
                  <a:lnTo>
                    <a:pt x="24" y="204"/>
                  </a:lnTo>
                  <a:lnTo>
                    <a:pt x="26" y="206"/>
                  </a:lnTo>
                  <a:lnTo>
                    <a:pt x="28" y="208"/>
                  </a:lnTo>
                  <a:lnTo>
                    <a:pt x="32" y="208"/>
                  </a:lnTo>
                  <a:lnTo>
                    <a:pt x="116" y="208"/>
                  </a:lnTo>
                  <a:lnTo>
                    <a:pt x="116" y="208"/>
                  </a:lnTo>
                  <a:lnTo>
                    <a:pt x="120" y="208"/>
                  </a:lnTo>
                  <a:lnTo>
                    <a:pt x="122" y="206"/>
                  </a:lnTo>
                  <a:lnTo>
                    <a:pt x="124" y="204"/>
                  </a:lnTo>
                  <a:lnTo>
                    <a:pt x="124" y="200"/>
                  </a:lnTo>
                  <a:lnTo>
                    <a:pt x="124" y="200"/>
                  </a:lnTo>
                  <a:lnTo>
                    <a:pt x="124" y="198"/>
                  </a:lnTo>
                  <a:lnTo>
                    <a:pt x="122" y="196"/>
                  </a:lnTo>
                  <a:lnTo>
                    <a:pt x="120" y="194"/>
                  </a:lnTo>
                  <a:lnTo>
                    <a:pt x="116" y="192"/>
                  </a:lnTo>
                  <a:lnTo>
                    <a:pt x="116" y="192"/>
                  </a:lnTo>
                  <a:close/>
                  <a:moveTo>
                    <a:pt x="54" y="138"/>
                  </a:moveTo>
                  <a:lnTo>
                    <a:pt x="54" y="138"/>
                  </a:lnTo>
                  <a:lnTo>
                    <a:pt x="56" y="148"/>
                  </a:lnTo>
                  <a:lnTo>
                    <a:pt x="62" y="158"/>
                  </a:lnTo>
                  <a:lnTo>
                    <a:pt x="70" y="164"/>
                  </a:lnTo>
                  <a:lnTo>
                    <a:pt x="78" y="166"/>
                  </a:lnTo>
                  <a:lnTo>
                    <a:pt x="78" y="166"/>
                  </a:lnTo>
                  <a:lnTo>
                    <a:pt x="88" y="164"/>
                  </a:lnTo>
                  <a:lnTo>
                    <a:pt x="96" y="158"/>
                  </a:lnTo>
                  <a:lnTo>
                    <a:pt x="102" y="148"/>
                  </a:lnTo>
                  <a:lnTo>
                    <a:pt x="104" y="138"/>
                  </a:lnTo>
                  <a:lnTo>
                    <a:pt x="104" y="138"/>
                  </a:lnTo>
                  <a:lnTo>
                    <a:pt x="102" y="126"/>
                  </a:lnTo>
                  <a:lnTo>
                    <a:pt x="96" y="118"/>
                  </a:lnTo>
                  <a:lnTo>
                    <a:pt x="88" y="110"/>
                  </a:lnTo>
                  <a:lnTo>
                    <a:pt x="78" y="108"/>
                  </a:lnTo>
                  <a:lnTo>
                    <a:pt x="78" y="108"/>
                  </a:lnTo>
                  <a:lnTo>
                    <a:pt x="70" y="110"/>
                  </a:lnTo>
                  <a:lnTo>
                    <a:pt x="62" y="118"/>
                  </a:lnTo>
                  <a:lnTo>
                    <a:pt x="56" y="126"/>
                  </a:lnTo>
                  <a:lnTo>
                    <a:pt x="54" y="138"/>
                  </a:lnTo>
                  <a:lnTo>
                    <a:pt x="54" y="138"/>
                  </a:lnTo>
                  <a:close/>
                  <a:moveTo>
                    <a:pt x="22" y="132"/>
                  </a:moveTo>
                  <a:lnTo>
                    <a:pt x="22" y="132"/>
                  </a:lnTo>
                  <a:lnTo>
                    <a:pt x="24" y="134"/>
                  </a:lnTo>
                  <a:lnTo>
                    <a:pt x="30" y="134"/>
                  </a:lnTo>
                  <a:lnTo>
                    <a:pt x="30" y="158"/>
                  </a:lnTo>
                  <a:lnTo>
                    <a:pt x="30" y="158"/>
                  </a:lnTo>
                  <a:lnTo>
                    <a:pt x="30" y="162"/>
                  </a:lnTo>
                  <a:lnTo>
                    <a:pt x="32" y="164"/>
                  </a:lnTo>
                  <a:lnTo>
                    <a:pt x="34" y="166"/>
                  </a:lnTo>
                  <a:lnTo>
                    <a:pt x="38" y="166"/>
                  </a:lnTo>
                  <a:lnTo>
                    <a:pt x="38" y="166"/>
                  </a:lnTo>
                  <a:lnTo>
                    <a:pt x="40" y="166"/>
                  </a:lnTo>
                  <a:lnTo>
                    <a:pt x="42" y="164"/>
                  </a:lnTo>
                  <a:lnTo>
                    <a:pt x="44" y="162"/>
                  </a:lnTo>
                  <a:lnTo>
                    <a:pt x="46" y="158"/>
                  </a:lnTo>
                  <a:lnTo>
                    <a:pt x="46" y="116"/>
                  </a:lnTo>
                  <a:lnTo>
                    <a:pt x="46" y="116"/>
                  </a:lnTo>
                  <a:lnTo>
                    <a:pt x="44" y="112"/>
                  </a:lnTo>
                  <a:lnTo>
                    <a:pt x="40" y="110"/>
                  </a:lnTo>
                  <a:lnTo>
                    <a:pt x="40" y="110"/>
                  </a:lnTo>
                  <a:lnTo>
                    <a:pt x="36" y="108"/>
                  </a:lnTo>
                  <a:lnTo>
                    <a:pt x="32" y="110"/>
                  </a:lnTo>
                  <a:lnTo>
                    <a:pt x="22" y="122"/>
                  </a:lnTo>
                  <a:lnTo>
                    <a:pt x="22" y="122"/>
                  </a:lnTo>
                  <a:lnTo>
                    <a:pt x="20" y="124"/>
                  </a:lnTo>
                  <a:lnTo>
                    <a:pt x="18" y="128"/>
                  </a:lnTo>
                  <a:lnTo>
                    <a:pt x="20" y="130"/>
                  </a:lnTo>
                  <a:lnTo>
                    <a:pt x="22" y="132"/>
                  </a:lnTo>
                  <a:lnTo>
                    <a:pt x="22" y="132"/>
                  </a:lnTo>
                  <a:close/>
                  <a:moveTo>
                    <a:pt x="208" y="278"/>
                  </a:moveTo>
                  <a:lnTo>
                    <a:pt x="208" y="278"/>
                  </a:lnTo>
                  <a:lnTo>
                    <a:pt x="208" y="276"/>
                  </a:lnTo>
                  <a:lnTo>
                    <a:pt x="206" y="272"/>
                  </a:lnTo>
                  <a:lnTo>
                    <a:pt x="204" y="270"/>
                  </a:lnTo>
                  <a:lnTo>
                    <a:pt x="200" y="270"/>
                  </a:lnTo>
                  <a:lnTo>
                    <a:pt x="32" y="270"/>
                  </a:lnTo>
                  <a:lnTo>
                    <a:pt x="32" y="270"/>
                  </a:lnTo>
                  <a:lnTo>
                    <a:pt x="28" y="270"/>
                  </a:lnTo>
                  <a:lnTo>
                    <a:pt x="26" y="272"/>
                  </a:lnTo>
                  <a:lnTo>
                    <a:pt x="24" y="276"/>
                  </a:lnTo>
                  <a:lnTo>
                    <a:pt x="24" y="278"/>
                  </a:lnTo>
                  <a:lnTo>
                    <a:pt x="24" y="278"/>
                  </a:lnTo>
                  <a:lnTo>
                    <a:pt x="24" y="282"/>
                  </a:lnTo>
                  <a:lnTo>
                    <a:pt x="26" y="284"/>
                  </a:lnTo>
                  <a:lnTo>
                    <a:pt x="28" y="286"/>
                  </a:lnTo>
                  <a:lnTo>
                    <a:pt x="32" y="286"/>
                  </a:lnTo>
                  <a:lnTo>
                    <a:pt x="200" y="286"/>
                  </a:lnTo>
                  <a:lnTo>
                    <a:pt x="200" y="286"/>
                  </a:lnTo>
                  <a:lnTo>
                    <a:pt x="204" y="286"/>
                  </a:lnTo>
                  <a:lnTo>
                    <a:pt x="206" y="284"/>
                  </a:lnTo>
                  <a:lnTo>
                    <a:pt x="208" y="282"/>
                  </a:lnTo>
                  <a:lnTo>
                    <a:pt x="208" y="278"/>
                  </a:lnTo>
                  <a:lnTo>
                    <a:pt x="208" y="278"/>
                  </a:lnTo>
                  <a:close/>
                  <a:moveTo>
                    <a:pt x="208" y="240"/>
                  </a:moveTo>
                  <a:lnTo>
                    <a:pt x="208" y="240"/>
                  </a:lnTo>
                  <a:lnTo>
                    <a:pt x="208" y="236"/>
                  </a:lnTo>
                  <a:lnTo>
                    <a:pt x="206" y="234"/>
                  </a:lnTo>
                  <a:lnTo>
                    <a:pt x="204" y="232"/>
                  </a:lnTo>
                  <a:lnTo>
                    <a:pt x="200" y="232"/>
                  </a:lnTo>
                  <a:lnTo>
                    <a:pt x="32" y="232"/>
                  </a:lnTo>
                  <a:lnTo>
                    <a:pt x="32" y="232"/>
                  </a:lnTo>
                  <a:lnTo>
                    <a:pt x="28" y="232"/>
                  </a:lnTo>
                  <a:lnTo>
                    <a:pt x="26" y="234"/>
                  </a:lnTo>
                  <a:lnTo>
                    <a:pt x="24" y="236"/>
                  </a:lnTo>
                  <a:lnTo>
                    <a:pt x="24" y="240"/>
                  </a:lnTo>
                  <a:lnTo>
                    <a:pt x="24" y="240"/>
                  </a:lnTo>
                  <a:lnTo>
                    <a:pt x="24" y="242"/>
                  </a:lnTo>
                  <a:lnTo>
                    <a:pt x="26" y="246"/>
                  </a:lnTo>
                  <a:lnTo>
                    <a:pt x="28" y="246"/>
                  </a:lnTo>
                  <a:lnTo>
                    <a:pt x="32" y="248"/>
                  </a:lnTo>
                  <a:lnTo>
                    <a:pt x="200" y="248"/>
                  </a:lnTo>
                  <a:lnTo>
                    <a:pt x="200" y="248"/>
                  </a:lnTo>
                  <a:lnTo>
                    <a:pt x="204" y="246"/>
                  </a:lnTo>
                  <a:lnTo>
                    <a:pt x="206" y="246"/>
                  </a:lnTo>
                  <a:lnTo>
                    <a:pt x="208" y="242"/>
                  </a:lnTo>
                  <a:lnTo>
                    <a:pt x="208" y="240"/>
                  </a:lnTo>
                  <a:lnTo>
                    <a:pt x="208" y="240"/>
                  </a:lnTo>
                  <a:close/>
                  <a:moveTo>
                    <a:pt x="210" y="138"/>
                  </a:moveTo>
                  <a:lnTo>
                    <a:pt x="210" y="138"/>
                  </a:lnTo>
                  <a:lnTo>
                    <a:pt x="208" y="126"/>
                  </a:lnTo>
                  <a:lnTo>
                    <a:pt x="202" y="118"/>
                  </a:lnTo>
                  <a:lnTo>
                    <a:pt x="196" y="110"/>
                  </a:lnTo>
                  <a:lnTo>
                    <a:pt x="186" y="108"/>
                  </a:lnTo>
                  <a:lnTo>
                    <a:pt x="186" y="108"/>
                  </a:lnTo>
                  <a:lnTo>
                    <a:pt x="176" y="110"/>
                  </a:lnTo>
                  <a:lnTo>
                    <a:pt x="168" y="118"/>
                  </a:lnTo>
                  <a:lnTo>
                    <a:pt x="162" y="126"/>
                  </a:lnTo>
                  <a:lnTo>
                    <a:pt x="162" y="138"/>
                  </a:lnTo>
                  <a:lnTo>
                    <a:pt x="162" y="138"/>
                  </a:lnTo>
                  <a:lnTo>
                    <a:pt x="162" y="148"/>
                  </a:lnTo>
                  <a:lnTo>
                    <a:pt x="168" y="158"/>
                  </a:lnTo>
                  <a:lnTo>
                    <a:pt x="176" y="164"/>
                  </a:lnTo>
                  <a:lnTo>
                    <a:pt x="186" y="166"/>
                  </a:lnTo>
                  <a:lnTo>
                    <a:pt x="186" y="166"/>
                  </a:lnTo>
                  <a:lnTo>
                    <a:pt x="196" y="164"/>
                  </a:lnTo>
                  <a:lnTo>
                    <a:pt x="202" y="158"/>
                  </a:lnTo>
                  <a:lnTo>
                    <a:pt x="208" y="148"/>
                  </a:lnTo>
                  <a:lnTo>
                    <a:pt x="210" y="138"/>
                  </a:lnTo>
                  <a:lnTo>
                    <a:pt x="210" y="138"/>
                  </a:lnTo>
                  <a:close/>
                  <a:moveTo>
                    <a:pt x="216" y="86"/>
                  </a:moveTo>
                  <a:lnTo>
                    <a:pt x="198" y="68"/>
                  </a:lnTo>
                  <a:lnTo>
                    <a:pt x="174" y="68"/>
                  </a:lnTo>
                  <a:lnTo>
                    <a:pt x="174" y="44"/>
                  </a:lnTo>
                  <a:lnTo>
                    <a:pt x="156" y="26"/>
                  </a:lnTo>
                  <a:lnTo>
                    <a:pt x="156" y="86"/>
                  </a:lnTo>
                  <a:lnTo>
                    <a:pt x="216" y="86"/>
                  </a:lnTo>
                  <a:close/>
                  <a:moveTo>
                    <a:pt x="78" y="150"/>
                  </a:moveTo>
                  <a:lnTo>
                    <a:pt x="78" y="150"/>
                  </a:lnTo>
                  <a:lnTo>
                    <a:pt x="82" y="150"/>
                  </a:lnTo>
                  <a:lnTo>
                    <a:pt x="84" y="146"/>
                  </a:lnTo>
                  <a:lnTo>
                    <a:pt x="86" y="142"/>
                  </a:lnTo>
                  <a:lnTo>
                    <a:pt x="88" y="138"/>
                  </a:lnTo>
                  <a:lnTo>
                    <a:pt x="88" y="138"/>
                  </a:lnTo>
                  <a:lnTo>
                    <a:pt x="86" y="132"/>
                  </a:lnTo>
                  <a:lnTo>
                    <a:pt x="84" y="128"/>
                  </a:lnTo>
                  <a:lnTo>
                    <a:pt x="82" y="126"/>
                  </a:lnTo>
                  <a:lnTo>
                    <a:pt x="78" y="124"/>
                  </a:lnTo>
                  <a:lnTo>
                    <a:pt x="78" y="124"/>
                  </a:lnTo>
                  <a:lnTo>
                    <a:pt x="76" y="126"/>
                  </a:lnTo>
                  <a:lnTo>
                    <a:pt x="72" y="128"/>
                  </a:lnTo>
                  <a:lnTo>
                    <a:pt x="70" y="132"/>
                  </a:lnTo>
                  <a:lnTo>
                    <a:pt x="70" y="138"/>
                  </a:lnTo>
                  <a:lnTo>
                    <a:pt x="70" y="138"/>
                  </a:lnTo>
                  <a:lnTo>
                    <a:pt x="70" y="142"/>
                  </a:lnTo>
                  <a:lnTo>
                    <a:pt x="72" y="146"/>
                  </a:lnTo>
                  <a:lnTo>
                    <a:pt x="76" y="150"/>
                  </a:lnTo>
                  <a:lnTo>
                    <a:pt x="78" y="150"/>
                  </a:lnTo>
                  <a:lnTo>
                    <a:pt x="78" y="15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grpSp>
        <p:nvGrpSpPr>
          <p:cNvPr id="167" name="Group 166">
            <a:extLst>
              <a:ext uri="{FF2B5EF4-FFF2-40B4-BE49-F238E27FC236}">
                <a16:creationId xmlns:a16="http://schemas.microsoft.com/office/drawing/2014/main" id="{E6A21C1D-2FAB-4DC2-B09B-9F98717B4D44}"/>
              </a:ext>
            </a:extLst>
          </p:cNvPr>
          <p:cNvGrpSpPr/>
          <p:nvPr/>
        </p:nvGrpSpPr>
        <p:grpSpPr>
          <a:xfrm>
            <a:off x="8667970" y="2814139"/>
            <a:ext cx="612000" cy="612000"/>
            <a:chOff x="8447928" y="3474401"/>
            <a:chExt cx="612000" cy="612000"/>
          </a:xfrm>
        </p:grpSpPr>
        <p:sp>
          <p:nvSpPr>
            <p:cNvPr id="168" name="Oval 167">
              <a:extLst>
                <a:ext uri="{FF2B5EF4-FFF2-40B4-BE49-F238E27FC236}">
                  <a16:creationId xmlns:a16="http://schemas.microsoft.com/office/drawing/2014/main" id="{1442F20D-04B8-4829-BA41-9287D007292A}"/>
                </a:ext>
              </a:extLst>
            </p:cNvPr>
            <p:cNvSpPr/>
            <p:nvPr/>
          </p:nvSpPr>
          <p:spPr bwMode="ltGray">
            <a:xfrm>
              <a:off x="8447928"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rgbClr val="505050"/>
                </a:solidFill>
                <a:latin typeface="Segoe UI Light" panose="020B0502040204020203" pitchFamily="34" charset="0"/>
                <a:cs typeface="Segoe UI Light" panose="020B0502040204020203" pitchFamily="34" charset="0"/>
              </a:endParaRPr>
            </a:p>
          </p:txBody>
        </p:sp>
        <p:sp>
          <p:nvSpPr>
            <p:cNvPr id="169" name="Freeform 4995">
              <a:extLst>
                <a:ext uri="{FF2B5EF4-FFF2-40B4-BE49-F238E27FC236}">
                  <a16:creationId xmlns:a16="http://schemas.microsoft.com/office/drawing/2014/main" id="{590C1827-428D-4077-8689-290415800B6F}"/>
                </a:ext>
              </a:extLst>
            </p:cNvPr>
            <p:cNvSpPr>
              <a:spLocks noEditPoints="1"/>
            </p:cNvSpPr>
            <p:nvPr/>
          </p:nvSpPr>
          <p:spPr bwMode="auto">
            <a:xfrm>
              <a:off x="8598520" y="3550417"/>
              <a:ext cx="407068" cy="457951"/>
            </a:xfrm>
            <a:custGeom>
              <a:avLst/>
              <a:gdLst>
                <a:gd name="T0" fmla="*/ 54 w 336"/>
                <a:gd name="T1" fmla="*/ 152 h 378"/>
                <a:gd name="T2" fmla="*/ 62 w 336"/>
                <a:gd name="T3" fmla="*/ 142 h 378"/>
                <a:gd name="T4" fmla="*/ 86 w 336"/>
                <a:gd name="T5" fmla="*/ 122 h 378"/>
                <a:gd name="T6" fmla="*/ 42 w 336"/>
                <a:gd name="T7" fmla="*/ 228 h 378"/>
                <a:gd name="T8" fmla="*/ 94 w 336"/>
                <a:gd name="T9" fmla="*/ 250 h 378"/>
                <a:gd name="T10" fmla="*/ 162 w 336"/>
                <a:gd name="T11" fmla="*/ 160 h 378"/>
                <a:gd name="T12" fmla="*/ 200 w 336"/>
                <a:gd name="T13" fmla="*/ 80 h 378"/>
                <a:gd name="T14" fmla="*/ 162 w 336"/>
                <a:gd name="T15" fmla="*/ 22 h 378"/>
                <a:gd name="T16" fmla="*/ 154 w 336"/>
                <a:gd name="T17" fmla="*/ 8 h 378"/>
                <a:gd name="T18" fmla="*/ 122 w 336"/>
                <a:gd name="T19" fmla="*/ 8 h 378"/>
                <a:gd name="T20" fmla="*/ 104 w 336"/>
                <a:gd name="T21" fmla="*/ 40 h 378"/>
                <a:gd name="T22" fmla="*/ 84 w 336"/>
                <a:gd name="T23" fmla="*/ 98 h 378"/>
                <a:gd name="T24" fmla="*/ 56 w 336"/>
                <a:gd name="T25" fmla="*/ 128 h 378"/>
                <a:gd name="T26" fmla="*/ 50 w 336"/>
                <a:gd name="T27" fmla="*/ 126 h 378"/>
                <a:gd name="T28" fmla="*/ 36 w 336"/>
                <a:gd name="T29" fmla="*/ 134 h 378"/>
                <a:gd name="T30" fmla="*/ 42 w 336"/>
                <a:gd name="T31" fmla="*/ 152 h 378"/>
                <a:gd name="T32" fmla="*/ 162 w 336"/>
                <a:gd name="T33" fmla="*/ 46 h 378"/>
                <a:gd name="T34" fmla="*/ 168 w 336"/>
                <a:gd name="T35" fmla="*/ 54 h 378"/>
                <a:gd name="T36" fmla="*/ 116 w 336"/>
                <a:gd name="T37" fmla="*/ 134 h 378"/>
                <a:gd name="T38" fmla="*/ 74 w 336"/>
                <a:gd name="T39" fmla="*/ 216 h 378"/>
                <a:gd name="T40" fmla="*/ 68 w 336"/>
                <a:gd name="T41" fmla="*/ 220 h 378"/>
                <a:gd name="T42" fmla="*/ 62 w 336"/>
                <a:gd name="T43" fmla="*/ 212 h 378"/>
                <a:gd name="T44" fmla="*/ 106 w 336"/>
                <a:gd name="T45" fmla="*/ 128 h 378"/>
                <a:gd name="T46" fmla="*/ 158 w 336"/>
                <a:gd name="T47" fmla="*/ 48 h 378"/>
                <a:gd name="T48" fmla="*/ 124 w 336"/>
                <a:gd name="T49" fmla="*/ 28 h 378"/>
                <a:gd name="T50" fmla="*/ 134 w 336"/>
                <a:gd name="T51" fmla="*/ 20 h 378"/>
                <a:gd name="T52" fmla="*/ 148 w 336"/>
                <a:gd name="T53" fmla="*/ 26 h 378"/>
                <a:gd name="T54" fmla="*/ 128 w 336"/>
                <a:gd name="T55" fmla="*/ 58 h 378"/>
                <a:gd name="T56" fmla="*/ 120 w 336"/>
                <a:gd name="T57" fmla="*/ 44 h 378"/>
                <a:gd name="T58" fmla="*/ 34 w 336"/>
                <a:gd name="T59" fmla="*/ 262 h 378"/>
                <a:gd name="T60" fmla="*/ 64 w 336"/>
                <a:gd name="T61" fmla="*/ 280 h 378"/>
                <a:gd name="T62" fmla="*/ 170 w 336"/>
                <a:gd name="T63" fmla="*/ 12 h 378"/>
                <a:gd name="T64" fmla="*/ 194 w 336"/>
                <a:gd name="T65" fmla="*/ 0 h 378"/>
                <a:gd name="T66" fmla="*/ 214 w 336"/>
                <a:gd name="T67" fmla="*/ 18 h 378"/>
                <a:gd name="T68" fmla="*/ 336 w 336"/>
                <a:gd name="T69" fmla="*/ 212 h 378"/>
                <a:gd name="T70" fmla="*/ 330 w 336"/>
                <a:gd name="T71" fmla="*/ 222 h 378"/>
                <a:gd name="T72" fmla="*/ 264 w 336"/>
                <a:gd name="T73" fmla="*/ 226 h 378"/>
                <a:gd name="T74" fmla="*/ 196 w 336"/>
                <a:gd name="T75" fmla="*/ 246 h 378"/>
                <a:gd name="T76" fmla="*/ 188 w 336"/>
                <a:gd name="T77" fmla="*/ 264 h 378"/>
                <a:gd name="T78" fmla="*/ 212 w 336"/>
                <a:gd name="T79" fmla="*/ 284 h 378"/>
                <a:gd name="T80" fmla="*/ 228 w 336"/>
                <a:gd name="T81" fmla="*/ 314 h 378"/>
                <a:gd name="T82" fmla="*/ 214 w 336"/>
                <a:gd name="T83" fmla="*/ 342 h 378"/>
                <a:gd name="T84" fmla="*/ 142 w 336"/>
                <a:gd name="T85" fmla="*/ 368 h 378"/>
                <a:gd name="T86" fmla="*/ 44 w 336"/>
                <a:gd name="T87" fmla="*/ 378 h 378"/>
                <a:gd name="T88" fmla="*/ 2 w 336"/>
                <a:gd name="T89" fmla="*/ 376 h 378"/>
                <a:gd name="T90" fmla="*/ 0 w 336"/>
                <a:gd name="T91" fmla="*/ 364 h 378"/>
                <a:gd name="T92" fmla="*/ 10 w 336"/>
                <a:gd name="T93" fmla="*/ 358 h 378"/>
                <a:gd name="T94" fmla="*/ 156 w 336"/>
                <a:gd name="T95" fmla="*/ 344 h 378"/>
                <a:gd name="T96" fmla="*/ 208 w 336"/>
                <a:gd name="T97" fmla="*/ 318 h 378"/>
                <a:gd name="T98" fmla="*/ 204 w 336"/>
                <a:gd name="T99" fmla="*/ 304 h 378"/>
                <a:gd name="T100" fmla="*/ 176 w 336"/>
                <a:gd name="T101" fmla="*/ 282 h 378"/>
                <a:gd name="T102" fmla="*/ 168 w 336"/>
                <a:gd name="T103" fmla="*/ 260 h 378"/>
                <a:gd name="T104" fmla="*/ 186 w 336"/>
                <a:gd name="T105" fmla="*/ 228 h 378"/>
                <a:gd name="T106" fmla="*/ 254 w 336"/>
                <a:gd name="T107" fmla="*/ 206 h 378"/>
                <a:gd name="T108" fmla="*/ 330 w 336"/>
                <a:gd name="T109" fmla="*/ 202 h 378"/>
                <a:gd name="T110" fmla="*/ 336 w 336"/>
                <a:gd name="T111" fmla="*/ 212 h 378"/>
                <a:gd name="T112" fmla="*/ 10 w 336"/>
                <a:gd name="T113" fmla="*/ 270 h 378"/>
                <a:gd name="T114" fmla="*/ 40 w 336"/>
                <a:gd name="T115" fmla="*/ 274 h 378"/>
                <a:gd name="T116" fmla="*/ 26 w 336"/>
                <a:gd name="T117" fmla="*/ 310 h 378"/>
                <a:gd name="T118" fmla="*/ 32 w 336"/>
                <a:gd name="T119" fmla="*/ 310 h 378"/>
                <a:gd name="T120" fmla="*/ 58 w 336"/>
                <a:gd name="T121" fmla="*/ 286 h 378"/>
                <a:gd name="T122" fmla="*/ 68 w 336"/>
                <a:gd name="T123" fmla="*/ 304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6" h="378">
                  <a:moveTo>
                    <a:pt x="42" y="152"/>
                  </a:moveTo>
                  <a:lnTo>
                    <a:pt x="42" y="152"/>
                  </a:lnTo>
                  <a:lnTo>
                    <a:pt x="48" y="154"/>
                  </a:lnTo>
                  <a:lnTo>
                    <a:pt x="54" y="152"/>
                  </a:lnTo>
                  <a:lnTo>
                    <a:pt x="58" y="150"/>
                  </a:lnTo>
                  <a:lnTo>
                    <a:pt x="62" y="146"/>
                  </a:lnTo>
                  <a:lnTo>
                    <a:pt x="62" y="146"/>
                  </a:lnTo>
                  <a:lnTo>
                    <a:pt x="62" y="142"/>
                  </a:lnTo>
                  <a:lnTo>
                    <a:pt x="62" y="142"/>
                  </a:lnTo>
                  <a:lnTo>
                    <a:pt x="74" y="134"/>
                  </a:lnTo>
                  <a:lnTo>
                    <a:pt x="86" y="122"/>
                  </a:lnTo>
                  <a:lnTo>
                    <a:pt x="86" y="122"/>
                  </a:lnTo>
                  <a:lnTo>
                    <a:pt x="64" y="166"/>
                  </a:lnTo>
                  <a:lnTo>
                    <a:pt x="50" y="200"/>
                  </a:lnTo>
                  <a:lnTo>
                    <a:pt x="44" y="220"/>
                  </a:lnTo>
                  <a:lnTo>
                    <a:pt x="42" y="228"/>
                  </a:lnTo>
                  <a:lnTo>
                    <a:pt x="66" y="242"/>
                  </a:lnTo>
                  <a:lnTo>
                    <a:pt x="88" y="256"/>
                  </a:lnTo>
                  <a:lnTo>
                    <a:pt x="88" y="256"/>
                  </a:lnTo>
                  <a:lnTo>
                    <a:pt x="94" y="250"/>
                  </a:lnTo>
                  <a:lnTo>
                    <a:pt x="110" y="232"/>
                  </a:lnTo>
                  <a:lnTo>
                    <a:pt x="134" y="202"/>
                  </a:lnTo>
                  <a:lnTo>
                    <a:pt x="148" y="182"/>
                  </a:lnTo>
                  <a:lnTo>
                    <a:pt x="162" y="160"/>
                  </a:lnTo>
                  <a:lnTo>
                    <a:pt x="162" y="160"/>
                  </a:lnTo>
                  <a:lnTo>
                    <a:pt x="174" y="136"/>
                  </a:lnTo>
                  <a:lnTo>
                    <a:pt x="184" y="114"/>
                  </a:lnTo>
                  <a:lnTo>
                    <a:pt x="200" y="80"/>
                  </a:lnTo>
                  <a:lnTo>
                    <a:pt x="206" y="56"/>
                  </a:lnTo>
                  <a:lnTo>
                    <a:pt x="208" y="48"/>
                  </a:lnTo>
                  <a:lnTo>
                    <a:pt x="184" y="34"/>
                  </a:lnTo>
                  <a:lnTo>
                    <a:pt x="162" y="22"/>
                  </a:lnTo>
                  <a:lnTo>
                    <a:pt x="162" y="22"/>
                  </a:lnTo>
                  <a:lnTo>
                    <a:pt x="160" y="14"/>
                  </a:lnTo>
                  <a:lnTo>
                    <a:pt x="154" y="8"/>
                  </a:lnTo>
                  <a:lnTo>
                    <a:pt x="154" y="8"/>
                  </a:lnTo>
                  <a:lnTo>
                    <a:pt x="146" y="4"/>
                  </a:lnTo>
                  <a:lnTo>
                    <a:pt x="138" y="4"/>
                  </a:lnTo>
                  <a:lnTo>
                    <a:pt x="130" y="4"/>
                  </a:lnTo>
                  <a:lnTo>
                    <a:pt x="122" y="8"/>
                  </a:lnTo>
                  <a:lnTo>
                    <a:pt x="122" y="8"/>
                  </a:lnTo>
                  <a:lnTo>
                    <a:pt x="116" y="14"/>
                  </a:lnTo>
                  <a:lnTo>
                    <a:pt x="110" y="20"/>
                  </a:lnTo>
                  <a:lnTo>
                    <a:pt x="104" y="40"/>
                  </a:lnTo>
                  <a:lnTo>
                    <a:pt x="104" y="40"/>
                  </a:lnTo>
                  <a:lnTo>
                    <a:pt x="98" y="64"/>
                  </a:lnTo>
                  <a:lnTo>
                    <a:pt x="92" y="80"/>
                  </a:lnTo>
                  <a:lnTo>
                    <a:pt x="84" y="98"/>
                  </a:lnTo>
                  <a:lnTo>
                    <a:pt x="84" y="98"/>
                  </a:lnTo>
                  <a:lnTo>
                    <a:pt x="78" y="108"/>
                  </a:lnTo>
                  <a:lnTo>
                    <a:pt x="70" y="116"/>
                  </a:lnTo>
                  <a:lnTo>
                    <a:pt x="56" y="128"/>
                  </a:lnTo>
                  <a:lnTo>
                    <a:pt x="56" y="128"/>
                  </a:lnTo>
                  <a:lnTo>
                    <a:pt x="54" y="126"/>
                  </a:lnTo>
                  <a:lnTo>
                    <a:pt x="54" y="126"/>
                  </a:lnTo>
                  <a:lnTo>
                    <a:pt x="50" y="126"/>
                  </a:lnTo>
                  <a:lnTo>
                    <a:pt x="44" y="126"/>
                  </a:lnTo>
                  <a:lnTo>
                    <a:pt x="40" y="128"/>
                  </a:lnTo>
                  <a:lnTo>
                    <a:pt x="36" y="134"/>
                  </a:lnTo>
                  <a:lnTo>
                    <a:pt x="36" y="134"/>
                  </a:lnTo>
                  <a:lnTo>
                    <a:pt x="34" y="138"/>
                  </a:lnTo>
                  <a:lnTo>
                    <a:pt x="36" y="144"/>
                  </a:lnTo>
                  <a:lnTo>
                    <a:pt x="38" y="148"/>
                  </a:lnTo>
                  <a:lnTo>
                    <a:pt x="42" y="152"/>
                  </a:lnTo>
                  <a:lnTo>
                    <a:pt x="42" y="152"/>
                  </a:lnTo>
                  <a:close/>
                  <a:moveTo>
                    <a:pt x="158" y="48"/>
                  </a:moveTo>
                  <a:lnTo>
                    <a:pt x="158" y="48"/>
                  </a:lnTo>
                  <a:lnTo>
                    <a:pt x="162" y="46"/>
                  </a:lnTo>
                  <a:lnTo>
                    <a:pt x="166" y="46"/>
                  </a:lnTo>
                  <a:lnTo>
                    <a:pt x="166" y="46"/>
                  </a:lnTo>
                  <a:lnTo>
                    <a:pt x="168" y="50"/>
                  </a:lnTo>
                  <a:lnTo>
                    <a:pt x="168" y="54"/>
                  </a:lnTo>
                  <a:lnTo>
                    <a:pt x="168" y="54"/>
                  </a:lnTo>
                  <a:lnTo>
                    <a:pt x="152" y="76"/>
                  </a:lnTo>
                  <a:lnTo>
                    <a:pt x="136" y="100"/>
                  </a:lnTo>
                  <a:lnTo>
                    <a:pt x="116" y="134"/>
                  </a:lnTo>
                  <a:lnTo>
                    <a:pt x="116" y="134"/>
                  </a:lnTo>
                  <a:lnTo>
                    <a:pt x="96" y="168"/>
                  </a:lnTo>
                  <a:lnTo>
                    <a:pt x="84" y="194"/>
                  </a:lnTo>
                  <a:lnTo>
                    <a:pt x="74" y="216"/>
                  </a:lnTo>
                  <a:lnTo>
                    <a:pt x="74" y="216"/>
                  </a:lnTo>
                  <a:lnTo>
                    <a:pt x="72" y="220"/>
                  </a:lnTo>
                  <a:lnTo>
                    <a:pt x="68" y="220"/>
                  </a:lnTo>
                  <a:lnTo>
                    <a:pt x="68" y="220"/>
                  </a:lnTo>
                  <a:lnTo>
                    <a:pt x="66" y="220"/>
                  </a:lnTo>
                  <a:lnTo>
                    <a:pt x="66" y="220"/>
                  </a:lnTo>
                  <a:lnTo>
                    <a:pt x="64" y="218"/>
                  </a:lnTo>
                  <a:lnTo>
                    <a:pt x="62" y="212"/>
                  </a:lnTo>
                  <a:lnTo>
                    <a:pt x="62" y="212"/>
                  </a:lnTo>
                  <a:lnTo>
                    <a:pt x="74" y="188"/>
                  </a:lnTo>
                  <a:lnTo>
                    <a:pt x="86" y="162"/>
                  </a:lnTo>
                  <a:lnTo>
                    <a:pt x="106" y="128"/>
                  </a:lnTo>
                  <a:lnTo>
                    <a:pt x="106" y="128"/>
                  </a:lnTo>
                  <a:lnTo>
                    <a:pt x="126" y="92"/>
                  </a:lnTo>
                  <a:lnTo>
                    <a:pt x="142" y="68"/>
                  </a:lnTo>
                  <a:lnTo>
                    <a:pt x="158" y="48"/>
                  </a:lnTo>
                  <a:lnTo>
                    <a:pt x="158" y="48"/>
                  </a:lnTo>
                  <a:close/>
                  <a:moveTo>
                    <a:pt x="120" y="44"/>
                  </a:moveTo>
                  <a:lnTo>
                    <a:pt x="120" y="44"/>
                  </a:lnTo>
                  <a:lnTo>
                    <a:pt x="124" y="28"/>
                  </a:lnTo>
                  <a:lnTo>
                    <a:pt x="128" y="24"/>
                  </a:lnTo>
                  <a:lnTo>
                    <a:pt x="130" y="20"/>
                  </a:lnTo>
                  <a:lnTo>
                    <a:pt x="130" y="20"/>
                  </a:lnTo>
                  <a:lnTo>
                    <a:pt x="134" y="20"/>
                  </a:lnTo>
                  <a:lnTo>
                    <a:pt x="138" y="20"/>
                  </a:lnTo>
                  <a:lnTo>
                    <a:pt x="144" y="22"/>
                  </a:lnTo>
                  <a:lnTo>
                    <a:pt x="144" y="22"/>
                  </a:lnTo>
                  <a:lnTo>
                    <a:pt x="148" y="26"/>
                  </a:lnTo>
                  <a:lnTo>
                    <a:pt x="148" y="30"/>
                  </a:lnTo>
                  <a:lnTo>
                    <a:pt x="148" y="34"/>
                  </a:lnTo>
                  <a:lnTo>
                    <a:pt x="148" y="34"/>
                  </a:lnTo>
                  <a:lnTo>
                    <a:pt x="128" y="58"/>
                  </a:lnTo>
                  <a:lnTo>
                    <a:pt x="104" y="94"/>
                  </a:lnTo>
                  <a:lnTo>
                    <a:pt x="104" y="94"/>
                  </a:lnTo>
                  <a:lnTo>
                    <a:pt x="114" y="66"/>
                  </a:lnTo>
                  <a:lnTo>
                    <a:pt x="120" y="44"/>
                  </a:lnTo>
                  <a:lnTo>
                    <a:pt x="120" y="44"/>
                  </a:lnTo>
                  <a:close/>
                  <a:moveTo>
                    <a:pt x="50" y="270"/>
                  </a:moveTo>
                  <a:lnTo>
                    <a:pt x="50" y="270"/>
                  </a:lnTo>
                  <a:lnTo>
                    <a:pt x="34" y="262"/>
                  </a:lnTo>
                  <a:lnTo>
                    <a:pt x="38" y="240"/>
                  </a:lnTo>
                  <a:lnTo>
                    <a:pt x="80" y="264"/>
                  </a:lnTo>
                  <a:lnTo>
                    <a:pt x="64" y="280"/>
                  </a:lnTo>
                  <a:lnTo>
                    <a:pt x="64" y="280"/>
                  </a:lnTo>
                  <a:lnTo>
                    <a:pt x="50" y="270"/>
                  </a:lnTo>
                  <a:lnTo>
                    <a:pt x="50" y="270"/>
                  </a:lnTo>
                  <a:close/>
                  <a:moveTo>
                    <a:pt x="212" y="36"/>
                  </a:moveTo>
                  <a:lnTo>
                    <a:pt x="170" y="12"/>
                  </a:lnTo>
                  <a:lnTo>
                    <a:pt x="170" y="12"/>
                  </a:lnTo>
                  <a:lnTo>
                    <a:pt x="176" y="4"/>
                  </a:lnTo>
                  <a:lnTo>
                    <a:pt x="184" y="0"/>
                  </a:lnTo>
                  <a:lnTo>
                    <a:pt x="194" y="0"/>
                  </a:lnTo>
                  <a:lnTo>
                    <a:pt x="204" y="2"/>
                  </a:lnTo>
                  <a:lnTo>
                    <a:pt x="204" y="2"/>
                  </a:lnTo>
                  <a:lnTo>
                    <a:pt x="210" y="8"/>
                  </a:lnTo>
                  <a:lnTo>
                    <a:pt x="214" y="18"/>
                  </a:lnTo>
                  <a:lnTo>
                    <a:pt x="216" y="26"/>
                  </a:lnTo>
                  <a:lnTo>
                    <a:pt x="212" y="36"/>
                  </a:lnTo>
                  <a:lnTo>
                    <a:pt x="212" y="36"/>
                  </a:lnTo>
                  <a:close/>
                  <a:moveTo>
                    <a:pt x="336" y="212"/>
                  </a:moveTo>
                  <a:lnTo>
                    <a:pt x="336" y="212"/>
                  </a:lnTo>
                  <a:lnTo>
                    <a:pt x="334" y="216"/>
                  </a:lnTo>
                  <a:lnTo>
                    <a:pt x="332" y="218"/>
                  </a:lnTo>
                  <a:lnTo>
                    <a:pt x="330" y="222"/>
                  </a:lnTo>
                  <a:lnTo>
                    <a:pt x="326" y="222"/>
                  </a:lnTo>
                  <a:lnTo>
                    <a:pt x="326" y="222"/>
                  </a:lnTo>
                  <a:lnTo>
                    <a:pt x="292" y="222"/>
                  </a:lnTo>
                  <a:lnTo>
                    <a:pt x="264" y="226"/>
                  </a:lnTo>
                  <a:lnTo>
                    <a:pt x="240" y="228"/>
                  </a:lnTo>
                  <a:lnTo>
                    <a:pt x="220" y="234"/>
                  </a:lnTo>
                  <a:lnTo>
                    <a:pt x="206" y="240"/>
                  </a:lnTo>
                  <a:lnTo>
                    <a:pt x="196" y="246"/>
                  </a:lnTo>
                  <a:lnTo>
                    <a:pt x="190" y="252"/>
                  </a:lnTo>
                  <a:lnTo>
                    <a:pt x="188" y="260"/>
                  </a:lnTo>
                  <a:lnTo>
                    <a:pt x="188" y="260"/>
                  </a:lnTo>
                  <a:lnTo>
                    <a:pt x="188" y="264"/>
                  </a:lnTo>
                  <a:lnTo>
                    <a:pt x="192" y="270"/>
                  </a:lnTo>
                  <a:lnTo>
                    <a:pt x="204" y="278"/>
                  </a:lnTo>
                  <a:lnTo>
                    <a:pt x="204" y="278"/>
                  </a:lnTo>
                  <a:lnTo>
                    <a:pt x="212" y="284"/>
                  </a:lnTo>
                  <a:lnTo>
                    <a:pt x="220" y="292"/>
                  </a:lnTo>
                  <a:lnTo>
                    <a:pt x="226" y="302"/>
                  </a:lnTo>
                  <a:lnTo>
                    <a:pt x="228" y="308"/>
                  </a:lnTo>
                  <a:lnTo>
                    <a:pt x="228" y="314"/>
                  </a:lnTo>
                  <a:lnTo>
                    <a:pt x="228" y="314"/>
                  </a:lnTo>
                  <a:lnTo>
                    <a:pt x="228" y="324"/>
                  </a:lnTo>
                  <a:lnTo>
                    <a:pt x="222" y="334"/>
                  </a:lnTo>
                  <a:lnTo>
                    <a:pt x="214" y="342"/>
                  </a:lnTo>
                  <a:lnTo>
                    <a:pt x="200" y="350"/>
                  </a:lnTo>
                  <a:lnTo>
                    <a:pt x="184" y="356"/>
                  </a:lnTo>
                  <a:lnTo>
                    <a:pt x="166" y="362"/>
                  </a:lnTo>
                  <a:lnTo>
                    <a:pt x="142" y="368"/>
                  </a:lnTo>
                  <a:lnTo>
                    <a:pt x="116" y="372"/>
                  </a:lnTo>
                  <a:lnTo>
                    <a:pt x="116" y="372"/>
                  </a:lnTo>
                  <a:lnTo>
                    <a:pt x="78" y="376"/>
                  </a:lnTo>
                  <a:lnTo>
                    <a:pt x="44" y="378"/>
                  </a:lnTo>
                  <a:lnTo>
                    <a:pt x="10" y="378"/>
                  </a:lnTo>
                  <a:lnTo>
                    <a:pt x="10" y="378"/>
                  </a:lnTo>
                  <a:lnTo>
                    <a:pt x="6" y="378"/>
                  </a:lnTo>
                  <a:lnTo>
                    <a:pt x="2" y="376"/>
                  </a:lnTo>
                  <a:lnTo>
                    <a:pt x="0" y="372"/>
                  </a:lnTo>
                  <a:lnTo>
                    <a:pt x="0" y="368"/>
                  </a:lnTo>
                  <a:lnTo>
                    <a:pt x="0" y="368"/>
                  </a:lnTo>
                  <a:lnTo>
                    <a:pt x="0" y="364"/>
                  </a:lnTo>
                  <a:lnTo>
                    <a:pt x="2" y="362"/>
                  </a:lnTo>
                  <a:lnTo>
                    <a:pt x="6" y="360"/>
                  </a:lnTo>
                  <a:lnTo>
                    <a:pt x="10" y="358"/>
                  </a:lnTo>
                  <a:lnTo>
                    <a:pt x="10" y="358"/>
                  </a:lnTo>
                  <a:lnTo>
                    <a:pt x="54" y="358"/>
                  </a:lnTo>
                  <a:lnTo>
                    <a:pt x="92" y="354"/>
                  </a:lnTo>
                  <a:lnTo>
                    <a:pt x="126" y="350"/>
                  </a:lnTo>
                  <a:lnTo>
                    <a:pt x="156" y="344"/>
                  </a:lnTo>
                  <a:lnTo>
                    <a:pt x="178" y="338"/>
                  </a:lnTo>
                  <a:lnTo>
                    <a:pt x="194" y="330"/>
                  </a:lnTo>
                  <a:lnTo>
                    <a:pt x="206" y="322"/>
                  </a:lnTo>
                  <a:lnTo>
                    <a:pt x="208" y="318"/>
                  </a:lnTo>
                  <a:lnTo>
                    <a:pt x="208" y="314"/>
                  </a:lnTo>
                  <a:lnTo>
                    <a:pt x="208" y="314"/>
                  </a:lnTo>
                  <a:lnTo>
                    <a:pt x="208" y="310"/>
                  </a:lnTo>
                  <a:lnTo>
                    <a:pt x="204" y="304"/>
                  </a:lnTo>
                  <a:lnTo>
                    <a:pt x="192" y="294"/>
                  </a:lnTo>
                  <a:lnTo>
                    <a:pt x="192" y="294"/>
                  </a:lnTo>
                  <a:lnTo>
                    <a:pt x="184" y="288"/>
                  </a:lnTo>
                  <a:lnTo>
                    <a:pt x="176" y="282"/>
                  </a:lnTo>
                  <a:lnTo>
                    <a:pt x="170" y="272"/>
                  </a:lnTo>
                  <a:lnTo>
                    <a:pt x="168" y="266"/>
                  </a:lnTo>
                  <a:lnTo>
                    <a:pt x="168" y="260"/>
                  </a:lnTo>
                  <a:lnTo>
                    <a:pt x="168" y="260"/>
                  </a:lnTo>
                  <a:lnTo>
                    <a:pt x="168" y="250"/>
                  </a:lnTo>
                  <a:lnTo>
                    <a:pt x="172" y="242"/>
                  </a:lnTo>
                  <a:lnTo>
                    <a:pt x="178" y="234"/>
                  </a:lnTo>
                  <a:lnTo>
                    <a:pt x="186" y="228"/>
                  </a:lnTo>
                  <a:lnTo>
                    <a:pt x="194" y="224"/>
                  </a:lnTo>
                  <a:lnTo>
                    <a:pt x="204" y="218"/>
                  </a:lnTo>
                  <a:lnTo>
                    <a:pt x="228" y="212"/>
                  </a:lnTo>
                  <a:lnTo>
                    <a:pt x="254" y="206"/>
                  </a:lnTo>
                  <a:lnTo>
                    <a:pt x="280" y="204"/>
                  </a:lnTo>
                  <a:lnTo>
                    <a:pt x="326" y="202"/>
                  </a:lnTo>
                  <a:lnTo>
                    <a:pt x="326" y="202"/>
                  </a:lnTo>
                  <a:lnTo>
                    <a:pt x="330" y="202"/>
                  </a:lnTo>
                  <a:lnTo>
                    <a:pt x="332" y="204"/>
                  </a:lnTo>
                  <a:lnTo>
                    <a:pt x="334" y="208"/>
                  </a:lnTo>
                  <a:lnTo>
                    <a:pt x="336" y="212"/>
                  </a:lnTo>
                  <a:lnTo>
                    <a:pt x="336" y="212"/>
                  </a:lnTo>
                  <a:close/>
                  <a:moveTo>
                    <a:pt x="68" y="304"/>
                  </a:moveTo>
                  <a:lnTo>
                    <a:pt x="10" y="338"/>
                  </a:lnTo>
                  <a:lnTo>
                    <a:pt x="10" y="270"/>
                  </a:lnTo>
                  <a:lnTo>
                    <a:pt x="10" y="270"/>
                  </a:lnTo>
                  <a:lnTo>
                    <a:pt x="16" y="268"/>
                  </a:lnTo>
                  <a:lnTo>
                    <a:pt x="22" y="270"/>
                  </a:lnTo>
                  <a:lnTo>
                    <a:pt x="30" y="270"/>
                  </a:lnTo>
                  <a:lnTo>
                    <a:pt x="40" y="274"/>
                  </a:lnTo>
                  <a:lnTo>
                    <a:pt x="24" y="302"/>
                  </a:lnTo>
                  <a:lnTo>
                    <a:pt x="24" y="302"/>
                  </a:lnTo>
                  <a:lnTo>
                    <a:pt x="22" y="308"/>
                  </a:lnTo>
                  <a:lnTo>
                    <a:pt x="26" y="310"/>
                  </a:lnTo>
                  <a:lnTo>
                    <a:pt x="26" y="310"/>
                  </a:lnTo>
                  <a:lnTo>
                    <a:pt x="28" y="312"/>
                  </a:lnTo>
                  <a:lnTo>
                    <a:pt x="28" y="312"/>
                  </a:lnTo>
                  <a:lnTo>
                    <a:pt x="32" y="310"/>
                  </a:lnTo>
                  <a:lnTo>
                    <a:pt x="34" y="308"/>
                  </a:lnTo>
                  <a:lnTo>
                    <a:pt x="50" y="280"/>
                  </a:lnTo>
                  <a:lnTo>
                    <a:pt x="50" y="280"/>
                  </a:lnTo>
                  <a:lnTo>
                    <a:pt x="58" y="286"/>
                  </a:lnTo>
                  <a:lnTo>
                    <a:pt x="64" y="292"/>
                  </a:lnTo>
                  <a:lnTo>
                    <a:pt x="66" y="298"/>
                  </a:lnTo>
                  <a:lnTo>
                    <a:pt x="68" y="304"/>
                  </a:lnTo>
                  <a:lnTo>
                    <a:pt x="68" y="30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505050"/>
                </a:solidFill>
                <a:latin typeface="Segoe UI Light" panose="020B0502040204020203" pitchFamily="34" charset="0"/>
                <a:cs typeface="Segoe UI Light" panose="020B0502040204020203" pitchFamily="34" charset="0"/>
              </a:endParaRPr>
            </a:p>
          </p:txBody>
        </p:sp>
      </p:grpSp>
      <p:sp>
        <p:nvSpPr>
          <p:cNvPr id="174" name="TextBox 173">
            <a:extLst>
              <a:ext uri="{FF2B5EF4-FFF2-40B4-BE49-F238E27FC236}">
                <a16:creationId xmlns:a16="http://schemas.microsoft.com/office/drawing/2014/main" id="{77D3F843-7A74-4507-9999-5B3C8AC0455B}"/>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ssorted Icons</a:t>
            </a:r>
          </a:p>
        </p:txBody>
      </p:sp>
    </p:spTree>
    <p:extLst>
      <p:ext uri="{BB962C8B-B14F-4D97-AF65-F5344CB8AC3E}">
        <p14:creationId xmlns:p14="http://schemas.microsoft.com/office/powerpoint/2010/main" val="368312495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0B9F49B3-0EB3-4F01-8B16-F392DBCD145A}"/>
              </a:ext>
            </a:extLst>
          </p:cNvPr>
          <p:cNvSpPr txBox="1"/>
          <p:nvPr/>
        </p:nvSpPr>
        <p:spPr>
          <a:xfrm>
            <a:off x="1787898" y="2183288"/>
            <a:ext cx="819184"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DNA; life sciences; medical; healthcare</a:t>
            </a:r>
          </a:p>
        </p:txBody>
      </p:sp>
      <p:sp>
        <p:nvSpPr>
          <p:cNvPr id="3" name="TextBox 2">
            <a:extLst>
              <a:ext uri="{FF2B5EF4-FFF2-40B4-BE49-F238E27FC236}">
                <a16:creationId xmlns:a16="http://schemas.microsoft.com/office/drawing/2014/main" id="{619EB7A2-8222-428C-98DC-725214C47F3E}"/>
              </a:ext>
            </a:extLst>
          </p:cNvPr>
          <p:cNvSpPr txBox="1"/>
          <p:nvPr/>
        </p:nvSpPr>
        <p:spPr>
          <a:xfrm>
            <a:off x="2679090" y="2183288"/>
            <a:ext cx="74717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Industry; industrial manufacturing; factory</a:t>
            </a:r>
          </a:p>
        </p:txBody>
      </p:sp>
      <p:sp>
        <p:nvSpPr>
          <p:cNvPr id="4" name="TextBox 3">
            <a:extLst>
              <a:ext uri="{FF2B5EF4-FFF2-40B4-BE49-F238E27FC236}">
                <a16:creationId xmlns:a16="http://schemas.microsoft.com/office/drawing/2014/main" id="{8044C423-2C72-45A0-A6B3-48F77C52DB8B}"/>
              </a:ext>
            </a:extLst>
          </p:cNvPr>
          <p:cNvSpPr txBox="1"/>
          <p:nvPr/>
        </p:nvSpPr>
        <p:spPr>
          <a:xfrm>
            <a:off x="3480871" y="2183288"/>
            <a:ext cx="88630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Forest; trees</a:t>
            </a:r>
          </a:p>
        </p:txBody>
      </p:sp>
      <p:sp>
        <p:nvSpPr>
          <p:cNvPr id="5" name="TextBox 4">
            <a:extLst>
              <a:ext uri="{FF2B5EF4-FFF2-40B4-BE49-F238E27FC236}">
                <a16:creationId xmlns:a16="http://schemas.microsoft.com/office/drawing/2014/main" id="{20950B2E-0C8B-4CB2-9BEF-9FE6B14BAB14}"/>
              </a:ext>
            </a:extLst>
          </p:cNvPr>
          <p:cNvSpPr txBox="1"/>
          <p:nvPr/>
        </p:nvSpPr>
        <p:spPr>
          <a:xfrm>
            <a:off x="4508845" y="2210576"/>
            <a:ext cx="74717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Forest; paper; packaging</a:t>
            </a:r>
          </a:p>
        </p:txBody>
      </p:sp>
      <p:sp>
        <p:nvSpPr>
          <p:cNvPr id="6" name="TextBox 5">
            <a:extLst>
              <a:ext uri="{FF2B5EF4-FFF2-40B4-BE49-F238E27FC236}">
                <a16:creationId xmlns:a16="http://schemas.microsoft.com/office/drawing/2014/main" id="{271E8F67-9C47-4664-B7C2-68DD0EC13C45}"/>
              </a:ext>
            </a:extLst>
          </p:cNvPr>
          <p:cNvSpPr txBox="1"/>
          <p:nvPr/>
        </p:nvSpPr>
        <p:spPr>
          <a:xfrm>
            <a:off x="5401811" y="2210576"/>
            <a:ext cx="74717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Shipping box</a:t>
            </a:r>
          </a:p>
        </p:txBody>
      </p:sp>
      <p:sp>
        <p:nvSpPr>
          <p:cNvPr id="7" name="TextBox 6">
            <a:extLst>
              <a:ext uri="{FF2B5EF4-FFF2-40B4-BE49-F238E27FC236}">
                <a16:creationId xmlns:a16="http://schemas.microsoft.com/office/drawing/2014/main" id="{F0DA8DED-6382-4915-A8DF-77C0A4CE9FD5}"/>
              </a:ext>
            </a:extLst>
          </p:cNvPr>
          <p:cNvSpPr txBox="1"/>
          <p:nvPr/>
        </p:nvSpPr>
        <p:spPr>
          <a:xfrm>
            <a:off x="6198273" y="2210576"/>
            <a:ext cx="866274"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Open shipping crate; product; industrial</a:t>
            </a:r>
          </a:p>
        </p:txBody>
      </p:sp>
      <p:sp>
        <p:nvSpPr>
          <p:cNvPr id="8" name="TextBox 7">
            <a:extLst>
              <a:ext uri="{FF2B5EF4-FFF2-40B4-BE49-F238E27FC236}">
                <a16:creationId xmlns:a16="http://schemas.microsoft.com/office/drawing/2014/main" id="{A74E18B5-498F-4777-B1FB-413EA607ED61}"/>
              </a:ext>
            </a:extLst>
          </p:cNvPr>
          <p:cNvSpPr txBox="1"/>
          <p:nvPr/>
        </p:nvSpPr>
        <p:spPr>
          <a:xfrm>
            <a:off x="7142379" y="2210576"/>
            <a:ext cx="74717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Open shipping crate; product; industrial</a:t>
            </a:r>
          </a:p>
        </p:txBody>
      </p:sp>
      <p:sp>
        <p:nvSpPr>
          <p:cNvPr id="9" name="TextBox 8">
            <a:extLst>
              <a:ext uri="{FF2B5EF4-FFF2-40B4-BE49-F238E27FC236}">
                <a16:creationId xmlns:a16="http://schemas.microsoft.com/office/drawing/2014/main" id="{7C62D414-3AF5-4B79-AFE8-1F184604DE9D}"/>
              </a:ext>
            </a:extLst>
          </p:cNvPr>
          <p:cNvSpPr txBox="1"/>
          <p:nvPr/>
        </p:nvSpPr>
        <p:spPr>
          <a:xfrm>
            <a:off x="7934467" y="2210576"/>
            <a:ext cx="856094"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Conveyor belt; product; industrial manufacturing</a:t>
            </a:r>
          </a:p>
        </p:txBody>
      </p:sp>
      <p:sp>
        <p:nvSpPr>
          <p:cNvPr id="10" name="TextBox 9">
            <a:extLst>
              <a:ext uri="{FF2B5EF4-FFF2-40B4-BE49-F238E27FC236}">
                <a16:creationId xmlns:a16="http://schemas.microsoft.com/office/drawing/2014/main" id="{B80E4361-8D22-4D46-AC11-BE52E50A3C3F}"/>
              </a:ext>
            </a:extLst>
          </p:cNvPr>
          <p:cNvSpPr txBox="1"/>
          <p:nvPr/>
        </p:nvSpPr>
        <p:spPr>
          <a:xfrm>
            <a:off x="8862569" y="2210576"/>
            <a:ext cx="823150"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Checklist; regulation</a:t>
            </a:r>
          </a:p>
        </p:txBody>
      </p:sp>
      <p:sp>
        <p:nvSpPr>
          <p:cNvPr id="11" name="TextBox 10">
            <a:extLst>
              <a:ext uri="{FF2B5EF4-FFF2-40B4-BE49-F238E27FC236}">
                <a16:creationId xmlns:a16="http://schemas.microsoft.com/office/drawing/2014/main" id="{0CC6B97F-3736-49C9-B0DE-357281342274}"/>
              </a:ext>
            </a:extLst>
          </p:cNvPr>
          <p:cNvSpPr txBox="1"/>
          <p:nvPr/>
        </p:nvSpPr>
        <p:spPr>
          <a:xfrm>
            <a:off x="9760520" y="2210576"/>
            <a:ext cx="739881"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Financial; reporting</a:t>
            </a:r>
          </a:p>
        </p:txBody>
      </p:sp>
      <p:sp>
        <p:nvSpPr>
          <p:cNvPr id="12" name="TextBox 11">
            <a:extLst>
              <a:ext uri="{FF2B5EF4-FFF2-40B4-BE49-F238E27FC236}">
                <a16:creationId xmlns:a16="http://schemas.microsoft.com/office/drawing/2014/main" id="{C961AE61-5101-4DD7-98BC-8503A532F1EC}"/>
              </a:ext>
            </a:extLst>
          </p:cNvPr>
          <p:cNvSpPr txBox="1"/>
          <p:nvPr/>
        </p:nvSpPr>
        <p:spPr>
          <a:xfrm>
            <a:off x="1814994" y="3596885"/>
            <a:ext cx="747176" cy="352323"/>
          </a:xfrm>
          <a:prstGeom prst="rect">
            <a:avLst/>
          </a:prstGeom>
          <a:noFill/>
        </p:spPr>
        <p:txBody>
          <a:bodyPr wrap="square" lIns="0" tIns="0" rIns="0" bIns="0" rtlCol="0">
            <a:noAutofit/>
          </a:bodyPr>
          <a:lstStyle/>
          <a:p>
            <a:pPr algn="ctr">
              <a:spcAft>
                <a:spcPts val="900"/>
              </a:spcAft>
            </a:pPr>
            <a:r>
              <a:rPr lang="en-GB" sz="800" err="1">
                <a:latin typeface="Segoe UI Light" panose="020B0502040204020203" pitchFamily="34" charset="0"/>
                <a:cs typeface="Segoe UI Light" panose="020B0502040204020203" pitchFamily="34" charset="0"/>
              </a:rPr>
              <a:t>Asterix</a:t>
            </a:r>
            <a:r>
              <a:rPr lang="en-GB" sz="800">
                <a:latin typeface="Segoe UI Light" panose="020B0502040204020203" pitchFamily="34" charset="0"/>
                <a:cs typeface="Segoe UI Light" panose="020B0502040204020203" pitchFamily="34" charset="0"/>
              </a:rPr>
              <a:t>; miscellaneous</a:t>
            </a:r>
          </a:p>
        </p:txBody>
      </p:sp>
      <p:sp>
        <p:nvSpPr>
          <p:cNvPr id="13" name="TextBox 12">
            <a:extLst>
              <a:ext uri="{FF2B5EF4-FFF2-40B4-BE49-F238E27FC236}">
                <a16:creationId xmlns:a16="http://schemas.microsoft.com/office/drawing/2014/main" id="{276A0786-B045-47AD-A0B0-17FB258AAC53}"/>
              </a:ext>
            </a:extLst>
          </p:cNvPr>
          <p:cNvSpPr txBox="1"/>
          <p:nvPr/>
        </p:nvSpPr>
        <p:spPr>
          <a:xfrm>
            <a:off x="2751098" y="3596885"/>
            <a:ext cx="615538"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Business; financial; media</a:t>
            </a:r>
          </a:p>
        </p:txBody>
      </p:sp>
      <p:sp>
        <p:nvSpPr>
          <p:cNvPr id="14" name="TextBox 13">
            <a:extLst>
              <a:ext uri="{FF2B5EF4-FFF2-40B4-BE49-F238E27FC236}">
                <a16:creationId xmlns:a16="http://schemas.microsoft.com/office/drawing/2014/main" id="{A3F7BB06-E917-4C16-8843-58BBFD306AE2}"/>
              </a:ext>
            </a:extLst>
          </p:cNvPr>
          <p:cNvSpPr txBox="1"/>
          <p:nvPr/>
        </p:nvSpPr>
        <p:spPr>
          <a:xfrm>
            <a:off x="3623240" y="3596885"/>
            <a:ext cx="62388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Working; laptop; business</a:t>
            </a:r>
          </a:p>
        </p:txBody>
      </p:sp>
      <p:sp>
        <p:nvSpPr>
          <p:cNvPr id="15" name="TextBox 14">
            <a:extLst>
              <a:ext uri="{FF2B5EF4-FFF2-40B4-BE49-F238E27FC236}">
                <a16:creationId xmlns:a16="http://schemas.microsoft.com/office/drawing/2014/main" id="{EBDFC586-FBAC-4D16-89AD-D6EA0BD945E6}"/>
              </a:ext>
            </a:extLst>
          </p:cNvPr>
          <p:cNvSpPr txBox="1"/>
          <p:nvPr/>
        </p:nvSpPr>
        <p:spPr>
          <a:xfrm>
            <a:off x="4432825" y="3596885"/>
            <a:ext cx="734461"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Talent; award; medal</a:t>
            </a:r>
          </a:p>
        </p:txBody>
      </p:sp>
      <p:sp>
        <p:nvSpPr>
          <p:cNvPr id="16" name="TextBox 15">
            <a:extLst>
              <a:ext uri="{FF2B5EF4-FFF2-40B4-BE49-F238E27FC236}">
                <a16:creationId xmlns:a16="http://schemas.microsoft.com/office/drawing/2014/main" id="{CECA6605-72DE-491D-ABAE-A8A419A726AB}"/>
              </a:ext>
            </a:extLst>
          </p:cNvPr>
          <p:cNvSpPr txBox="1"/>
          <p:nvPr/>
        </p:nvSpPr>
        <p:spPr>
          <a:xfrm>
            <a:off x="5320124" y="3596885"/>
            <a:ext cx="706754"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Trophy; award; talent</a:t>
            </a:r>
          </a:p>
        </p:txBody>
      </p:sp>
      <p:sp>
        <p:nvSpPr>
          <p:cNvPr id="17" name="TextBox 16">
            <a:extLst>
              <a:ext uri="{FF2B5EF4-FFF2-40B4-BE49-F238E27FC236}">
                <a16:creationId xmlns:a16="http://schemas.microsoft.com/office/drawing/2014/main" id="{ADF3DCF0-3EE5-4D42-9306-D6598BBFDF61}"/>
              </a:ext>
            </a:extLst>
          </p:cNvPr>
          <p:cNvSpPr txBox="1"/>
          <p:nvPr/>
        </p:nvSpPr>
        <p:spPr>
          <a:xfrm>
            <a:off x="6116586" y="3596885"/>
            <a:ext cx="816754"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Add friend; </a:t>
            </a:r>
            <a:br>
              <a:rPr lang="en-GB" sz="800">
                <a:latin typeface="Segoe UI Light" panose="020B0502040204020203" pitchFamily="34" charset="0"/>
                <a:cs typeface="Segoe UI Light" panose="020B0502040204020203" pitchFamily="34" charset="0"/>
              </a:rPr>
            </a:br>
            <a:r>
              <a:rPr lang="en-GB" sz="800">
                <a:latin typeface="Segoe UI Light" panose="020B0502040204020203" pitchFamily="34" charset="0"/>
                <a:cs typeface="Segoe UI Light" panose="020B0502040204020203" pitchFamily="34" charset="0"/>
              </a:rPr>
              <a:t>social network</a:t>
            </a:r>
          </a:p>
        </p:txBody>
      </p:sp>
      <p:sp>
        <p:nvSpPr>
          <p:cNvPr id="18" name="TextBox 17">
            <a:extLst>
              <a:ext uri="{FF2B5EF4-FFF2-40B4-BE49-F238E27FC236}">
                <a16:creationId xmlns:a16="http://schemas.microsoft.com/office/drawing/2014/main" id="{401B5BA3-F7DA-44FE-B3E6-5C310C4CE6CE}"/>
              </a:ext>
            </a:extLst>
          </p:cNvPr>
          <p:cNvSpPr txBox="1"/>
          <p:nvPr/>
        </p:nvSpPr>
        <p:spPr>
          <a:xfrm>
            <a:off x="7084774" y="3596885"/>
            <a:ext cx="653699"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Thumbs up; like</a:t>
            </a:r>
          </a:p>
        </p:txBody>
      </p:sp>
      <p:sp>
        <p:nvSpPr>
          <p:cNvPr id="19" name="TextBox 18">
            <a:extLst>
              <a:ext uri="{FF2B5EF4-FFF2-40B4-BE49-F238E27FC236}">
                <a16:creationId xmlns:a16="http://schemas.microsoft.com/office/drawing/2014/main" id="{76F908F3-7A5A-458F-BB5A-957EBF7184D3}"/>
              </a:ext>
            </a:extLst>
          </p:cNvPr>
          <p:cNvSpPr txBox="1"/>
          <p:nvPr/>
        </p:nvSpPr>
        <p:spPr>
          <a:xfrm>
            <a:off x="7969701" y="3596885"/>
            <a:ext cx="651123"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Thumbs up; like</a:t>
            </a:r>
          </a:p>
        </p:txBody>
      </p:sp>
      <p:sp>
        <p:nvSpPr>
          <p:cNvPr id="20" name="TextBox 19">
            <a:extLst>
              <a:ext uri="{FF2B5EF4-FFF2-40B4-BE49-F238E27FC236}">
                <a16:creationId xmlns:a16="http://schemas.microsoft.com/office/drawing/2014/main" id="{B8A88915-D567-4896-BF54-36354C11E0C8}"/>
              </a:ext>
            </a:extLst>
          </p:cNvPr>
          <p:cNvSpPr txBox="1"/>
          <p:nvPr/>
        </p:nvSpPr>
        <p:spPr>
          <a:xfrm>
            <a:off x="8814991" y="3596885"/>
            <a:ext cx="710034"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Unlocked; padlock; insecure</a:t>
            </a:r>
          </a:p>
        </p:txBody>
      </p:sp>
      <p:sp>
        <p:nvSpPr>
          <p:cNvPr id="21" name="TextBox 20">
            <a:extLst>
              <a:ext uri="{FF2B5EF4-FFF2-40B4-BE49-F238E27FC236}">
                <a16:creationId xmlns:a16="http://schemas.microsoft.com/office/drawing/2014/main" id="{0FB23A41-E76A-4FF0-BD17-995F06E2B571}"/>
              </a:ext>
            </a:extLst>
          </p:cNvPr>
          <p:cNvSpPr txBox="1"/>
          <p:nvPr/>
        </p:nvSpPr>
        <p:spPr>
          <a:xfrm>
            <a:off x="9716986" y="3596885"/>
            <a:ext cx="701728"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Locked; padlock; insecure</a:t>
            </a:r>
          </a:p>
        </p:txBody>
      </p:sp>
      <p:sp>
        <p:nvSpPr>
          <p:cNvPr id="22" name="TextBox 21">
            <a:extLst>
              <a:ext uri="{FF2B5EF4-FFF2-40B4-BE49-F238E27FC236}">
                <a16:creationId xmlns:a16="http://schemas.microsoft.com/office/drawing/2014/main" id="{8FBA467E-8AA8-48D6-9A69-E193568457B9}"/>
              </a:ext>
            </a:extLst>
          </p:cNvPr>
          <p:cNvSpPr txBox="1"/>
          <p:nvPr/>
        </p:nvSpPr>
        <p:spPr>
          <a:xfrm>
            <a:off x="1707458" y="4840564"/>
            <a:ext cx="971632"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House; community; corporate responsibility</a:t>
            </a:r>
          </a:p>
        </p:txBody>
      </p:sp>
      <p:sp>
        <p:nvSpPr>
          <p:cNvPr id="23" name="TextBox 22">
            <a:extLst>
              <a:ext uri="{FF2B5EF4-FFF2-40B4-BE49-F238E27FC236}">
                <a16:creationId xmlns:a16="http://schemas.microsoft.com/office/drawing/2014/main" id="{B6D68341-5F4B-4B90-8BD3-106DF4E06644}"/>
              </a:ext>
            </a:extLst>
          </p:cNvPr>
          <p:cNvSpPr txBox="1"/>
          <p:nvPr/>
        </p:nvSpPr>
        <p:spPr>
          <a:xfrm>
            <a:off x="2674880" y="4835274"/>
            <a:ext cx="722312"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Intersection; highway; roads; infrastructure</a:t>
            </a:r>
          </a:p>
        </p:txBody>
      </p:sp>
      <p:sp>
        <p:nvSpPr>
          <p:cNvPr id="24" name="TextBox 23">
            <a:extLst>
              <a:ext uri="{FF2B5EF4-FFF2-40B4-BE49-F238E27FC236}">
                <a16:creationId xmlns:a16="http://schemas.microsoft.com/office/drawing/2014/main" id="{B85CAB8E-ED9D-4B68-9704-978CCFAAB8E0}"/>
              </a:ext>
            </a:extLst>
          </p:cNvPr>
          <p:cNvSpPr txBox="1"/>
          <p:nvPr/>
        </p:nvSpPr>
        <p:spPr>
          <a:xfrm>
            <a:off x="3510813" y="4835274"/>
            <a:ext cx="785940"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Stock exchange; Wall Street; invest; public</a:t>
            </a:r>
          </a:p>
        </p:txBody>
      </p:sp>
      <p:sp>
        <p:nvSpPr>
          <p:cNvPr id="25" name="TextBox 24">
            <a:extLst>
              <a:ext uri="{FF2B5EF4-FFF2-40B4-BE49-F238E27FC236}">
                <a16:creationId xmlns:a16="http://schemas.microsoft.com/office/drawing/2014/main" id="{87496DC6-B795-4E71-BCA0-840CDEFEDA57}"/>
              </a:ext>
            </a:extLst>
          </p:cNvPr>
          <p:cNvSpPr txBox="1"/>
          <p:nvPr/>
        </p:nvSpPr>
        <p:spPr>
          <a:xfrm>
            <a:off x="4366888" y="4835274"/>
            <a:ext cx="86409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Briefcase; security; business; privacy</a:t>
            </a:r>
          </a:p>
        </p:txBody>
      </p:sp>
      <p:sp>
        <p:nvSpPr>
          <p:cNvPr id="26" name="TextBox 25">
            <a:extLst>
              <a:ext uri="{FF2B5EF4-FFF2-40B4-BE49-F238E27FC236}">
                <a16:creationId xmlns:a16="http://schemas.microsoft.com/office/drawing/2014/main" id="{D7DD1C96-344E-4811-86AA-E729B73FA29D}"/>
              </a:ext>
            </a:extLst>
          </p:cNvPr>
          <p:cNvSpPr txBox="1"/>
          <p:nvPr/>
        </p:nvSpPr>
        <p:spPr>
          <a:xfrm>
            <a:off x="5322681" y="4835274"/>
            <a:ext cx="74717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Chess; pawn; strategy; game</a:t>
            </a:r>
          </a:p>
        </p:txBody>
      </p:sp>
      <p:sp>
        <p:nvSpPr>
          <p:cNvPr id="27" name="TextBox 26">
            <a:extLst>
              <a:ext uri="{FF2B5EF4-FFF2-40B4-BE49-F238E27FC236}">
                <a16:creationId xmlns:a16="http://schemas.microsoft.com/office/drawing/2014/main" id="{5376DE56-F8A1-4F17-BDB0-D5DA874B2806}"/>
              </a:ext>
            </a:extLst>
          </p:cNvPr>
          <p:cNvSpPr txBox="1"/>
          <p:nvPr/>
        </p:nvSpPr>
        <p:spPr>
          <a:xfrm>
            <a:off x="6196856" y="4835274"/>
            <a:ext cx="714375"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Hand; volunteer</a:t>
            </a:r>
          </a:p>
        </p:txBody>
      </p:sp>
      <p:sp>
        <p:nvSpPr>
          <p:cNvPr id="28" name="TextBox 27">
            <a:extLst>
              <a:ext uri="{FF2B5EF4-FFF2-40B4-BE49-F238E27FC236}">
                <a16:creationId xmlns:a16="http://schemas.microsoft.com/office/drawing/2014/main" id="{A4B611D3-EA94-40A8-9726-820AB5835FBF}"/>
              </a:ext>
            </a:extLst>
          </p:cNvPr>
          <p:cNvSpPr txBox="1"/>
          <p:nvPr/>
        </p:nvSpPr>
        <p:spPr>
          <a:xfrm>
            <a:off x="7063249" y="4835274"/>
            <a:ext cx="74717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Insurance</a:t>
            </a:r>
          </a:p>
        </p:txBody>
      </p:sp>
      <p:sp>
        <p:nvSpPr>
          <p:cNvPr id="29" name="TextBox 28">
            <a:extLst>
              <a:ext uri="{FF2B5EF4-FFF2-40B4-BE49-F238E27FC236}">
                <a16:creationId xmlns:a16="http://schemas.microsoft.com/office/drawing/2014/main" id="{059464AE-4510-4A00-A445-E207F4987499}"/>
              </a:ext>
            </a:extLst>
          </p:cNvPr>
          <p:cNvSpPr txBox="1"/>
          <p:nvPr/>
        </p:nvSpPr>
        <p:spPr>
          <a:xfrm>
            <a:off x="7919343" y="4835274"/>
            <a:ext cx="74717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Bench; public; park</a:t>
            </a:r>
          </a:p>
        </p:txBody>
      </p:sp>
      <p:sp>
        <p:nvSpPr>
          <p:cNvPr id="30" name="TextBox 29">
            <a:extLst>
              <a:ext uri="{FF2B5EF4-FFF2-40B4-BE49-F238E27FC236}">
                <a16:creationId xmlns:a16="http://schemas.microsoft.com/office/drawing/2014/main" id="{B52CA264-0339-42ED-86AA-9A638A47E0DD}"/>
              </a:ext>
            </a:extLst>
          </p:cNvPr>
          <p:cNvSpPr txBox="1"/>
          <p:nvPr/>
        </p:nvSpPr>
        <p:spPr>
          <a:xfrm>
            <a:off x="8756497" y="4835274"/>
            <a:ext cx="834610"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Traffic cone; caution; construction; zone</a:t>
            </a:r>
          </a:p>
        </p:txBody>
      </p:sp>
      <p:sp>
        <p:nvSpPr>
          <p:cNvPr id="31" name="TextBox 30">
            <a:extLst>
              <a:ext uri="{FF2B5EF4-FFF2-40B4-BE49-F238E27FC236}">
                <a16:creationId xmlns:a16="http://schemas.microsoft.com/office/drawing/2014/main" id="{5E66AACB-7EA6-42F4-A5F0-56D9A53F5384}"/>
              </a:ext>
            </a:extLst>
          </p:cNvPr>
          <p:cNvSpPr txBox="1"/>
          <p:nvPr/>
        </p:nvSpPr>
        <p:spPr>
          <a:xfrm>
            <a:off x="9615632" y="4835274"/>
            <a:ext cx="86409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Smart phone; mobile device</a:t>
            </a:r>
          </a:p>
        </p:txBody>
      </p:sp>
      <p:sp>
        <p:nvSpPr>
          <p:cNvPr id="32" name="TextBox 31">
            <a:extLst>
              <a:ext uri="{FF2B5EF4-FFF2-40B4-BE49-F238E27FC236}">
                <a16:creationId xmlns:a16="http://schemas.microsoft.com/office/drawing/2014/main" id="{F1B599FE-25EA-46CA-A256-F9A35DDB74D8}"/>
              </a:ext>
            </a:extLst>
          </p:cNvPr>
          <p:cNvSpPr txBox="1"/>
          <p:nvPr/>
        </p:nvSpPr>
        <p:spPr>
          <a:xfrm>
            <a:off x="1742986" y="5748139"/>
            <a:ext cx="86409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Mortar cap; graduate; school; education</a:t>
            </a:r>
          </a:p>
        </p:txBody>
      </p:sp>
      <p:sp>
        <p:nvSpPr>
          <p:cNvPr id="33" name="TextBox 32">
            <a:extLst>
              <a:ext uri="{FF2B5EF4-FFF2-40B4-BE49-F238E27FC236}">
                <a16:creationId xmlns:a16="http://schemas.microsoft.com/office/drawing/2014/main" id="{93837046-AC34-4FF4-BD2E-309632F1A517}"/>
              </a:ext>
            </a:extLst>
          </p:cNvPr>
          <p:cNvSpPr txBox="1"/>
          <p:nvPr/>
        </p:nvSpPr>
        <p:spPr>
          <a:xfrm>
            <a:off x="2630106" y="5748139"/>
            <a:ext cx="853092"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Gauge; speedometer; performance</a:t>
            </a:r>
          </a:p>
        </p:txBody>
      </p:sp>
      <p:sp>
        <p:nvSpPr>
          <p:cNvPr id="34" name="TextBox 33">
            <a:extLst>
              <a:ext uri="{FF2B5EF4-FFF2-40B4-BE49-F238E27FC236}">
                <a16:creationId xmlns:a16="http://schemas.microsoft.com/office/drawing/2014/main" id="{59BE8B87-EBC0-4E28-9230-1B7BDF0BF6B7}"/>
              </a:ext>
            </a:extLst>
          </p:cNvPr>
          <p:cNvSpPr txBox="1"/>
          <p:nvPr/>
        </p:nvSpPr>
        <p:spPr>
          <a:xfrm>
            <a:off x="3623240" y="5748139"/>
            <a:ext cx="62388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Stopwatch; timer; performance</a:t>
            </a:r>
          </a:p>
        </p:txBody>
      </p:sp>
      <p:sp>
        <p:nvSpPr>
          <p:cNvPr id="35" name="TextBox 34">
            <a:extLst>
              <a:ext uri="{FF2B5EF4-FFF2-40B4-BE49-F238E27FC236}">
                <a16:creationId xmlns:a16="http://schemas.microsoft.com/office/drawing/2014/main" id="{D04E6C5C-0914-4C49-857E-FB60FF188577}"/>
              </a:ext>
            </a:extLst>
          </p:cNvPr>
          <p:cNvSpPr txBox="1"/>
          <p:nvPr/>
        </p:nvSpPr>
        <p:spPr>
          <a:xfrm>
            <a:off x="4429715" y="5748139"/>
            <a:ext cx="74717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Tickets; media; entertainment</a:t>
            </a:r>
          </a:p>
        </p:txBody>
      </p:sp>
      <p:sp>
        <p:nvSpPr>
          <p:cNvPr id="36" name="TextBox 35">
            <a:extLst>
              <a:ext uri="{FF2B5EF4-FFF2-40B4-BE49-F238E27FC236}">
                <a16:creationId xmlns:a16="http://schemas.microsoft.com/office/drawing/2014/main" id="{2664CFEC-9DFC-44C7-8EE5-8FA63F8212A3}"/>
              </a:ext>
            </a:extLst>
          </p:cNvPr>
          <p:cNvSpPr txBox="1"/>
          <p:nvPr/>
        </p:nvSpPr>
        <p:spPr>
          <a:xfrm>
            <a:off x="5299959" y="5748139"/>
            <a:ext cx="747176"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Piggy bank; invest; save</a:t>
            </a:r>
          </a:p>
        </p:txBody>
      </p:sp>
      <p:sp>
        <p:nvSpPr>
          <p:cNvPr id="37" name="TextBox 36">
            <a:extLst>
              <a:ext uri="{FF2B5EF4-FFF2-40B4-BE49-F238E27FC236}">
                <a16:creationId xmlns:a16="http://schemas.microsoft.com/office/drawing/2014/main" id="{DB620179-32D6-422C-9F50-43C90CDEAE7F}"/>
              </a:ext>
            </a:extLst>
          </p:cNvPr>
          <p:cNvSpPr txBox="1"/>
          <p:nvPr/>
        </p:nvSpPr>
        <p:spPr>
          <a:xfrm>
            <a:off x="6119143" y="5748139"/>
            <a:ext cx="866274"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Safe; security; privacy</a:t>
            </a:r>
          </a:p>
        </p:txBody>
      </p:sp>
      <p:sp>
        <p:nvSpPr>
          <p:cNvPr id="38" name="TextBox 37">
            <a:extLst>
              <a:ext uri="{FF2B5EF4-FFF2-40B4-BE49-F238E27FC236}">
                <a16:creationId xmlns:a16="http://schemas.microsoft.com/office/drawing/2014/main" id="{D4C3BF59-1C26-4A54-9F7C-A8BDFA637D3E}"/>
              </a:ext>
            </a:extLst>
          </p:cNvPr>
          <p:cNvSpPr txBox="1"/>
          <p:nvPr/>
        </p:nvSpPr>
        <p:spPr>
          <a:xfrm>
            <a:off x="7063249" y="5748139"/>
            <a:ext cx="648936" cy="352323"/>
          </a:xfrm>
          <a:prstGeom prst="rect">
            <a:avLst/>
          </a:prstGeom>
          <a:noFill/>
        </p:spPr>
        <p:txBody>
          <a:bodyPr wrap="square" lIns="0" tIns="0" rIns="0" bIns="0" rtlCol="0">
            <a:noAutofit/>
          </a:bodyPr>
          <a:lstStyle/>
          <a:p>
            <a:pPr algn="ctr">
              <a:spcAft>
                <a:spcPts val="900"/>
              </a:spcAft>
            </a:pPr>
            <a:r>
              <a:rPr lang="en-GB" sz="800" err="1">
                <a:latin typeface="Segoe UI Light" panose="020B0502040204020203" pitchFamily="34" charset="0"/>
                <a:cs typeface="Segoe UI Light" panose="020B0502040204020203" pitchFamily="34" charset="0"/>
              </a:rPr>
              <a:t>Percent</a:t>
            </a:r>
            <a:r>
              <a:rPr lang="en-GB" sz="800">
                <a:latin typeface="Segoe UI Light" panose="020B0502040204020203" pitchFamily="34" charset="0"/>
                <a:cs typeface="Segoe UI Light" panose="020B0502040204020203" pitchFamily="34" charset="0"/>
              </a:rPr>
              <a:t> key; tax</a:t>
            </a:r>
          </a:p>
        </p:txBody>
      </p:sp>
      <p:sp>
        <p:nvSpPr>
          <p:cNvPr id="39" name="TextBox 38">
            <a:extLst>
              <a:ext uri="{FF2B5EF4-FFF2-40B4-BE49-F238E27FC236}">
                <a16:creationId xmlns:a16="http://schemas.microsoft.com/office/drawing/2014/main" id="{204504AE-517B-43D2-8A33-5E8E31BA67BA}"/>
              </a:ext>
            </a:extLst>
          </p:cNvPr>
          <p:cNvSpPr txBox="1"/>
          <p:nvPr/>
        </p:nvSpPr>
        <p:spPr>
          <a:xfrm>
            <a:off x="7948614" y="5748139"/>
            <a:ext cx="690809" cy="352323"/>
          </a:xfrm>
          <a:prstGeom prst="rect">
            <a:avLst/>
          </a:prstGeom>
          <a:noFill/>
        </p:spPr>
        <p:txBody>
          <a:bodyPr wrap="square" lIns="0" tIns="0" rIns="0" bIns="0" rtlCol="0">
            <a:noAutofit/>
          </a:bodyPr>
          <a:lstStyle/>
          <a:p>
            <a:pPr algn="ctr">
              <a:spcAft>
                <a:spcPts val="900"/>
              </a:spcAft>
            </a:pPr>
            <a:r>
              <a:rPr lang="en-GB" sz="800" err="1">
                <a:latin typeface="Segoe UI Light" panose="020B0502040204020203" pitchFamily="34" charset="0"/>
                <a:cs typeface="Segoe UI Light" panose="020B0502040204020203" pitchFamily="34" charset="0"/>
              </a:rPr>
              <a:t>Percent</a:t>
            </a:r>
            <a:r>
              <a:rPr lang="en-GB" sz="800">
                <a:latin typeface="Segoe UI Light" panose="020B0502040204020203" pitchFamily="34" charset="0"/>
                <a:cs typeface="Segoe UI Light" panose="020B0502040204020203" pitchFamily="34" charset="0"/>
              </a:rPr>
              <a:t> key; tax</a:t>
            </a:r>
          </a:p>
        </p:txBody>
      </p:sp>
      <p:sp>
        <p:nvSpPr>
          <p:cNvPr id="40" name="TextBox 39">
            <a:extLst>
              <a:ext uri="{FF2B5EF4-FFF2-40B4-BE49-F238E27FC236}">
                <a16:creationId xmlns:a16="http://schemas.microsoft.com/office/drawing/2014/main" id="{07E85A78-45C1-4A61-86AF-A27256F692A3}"/>
              </a:ext>
            </a:extLst>
          </p:cNvPr>
          <p:cNvSpPr txBox="1"/>
          <p:nvPr/>
        </p:nvSpPr>
        <p:spPr>
          <a:xfrm>
            <a:off x="8869978" y="5748139"/>
            <a:ext cx="633542"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Smart phone with content; mobile device</a:t>
            </a:r>
          </a:p>
        </p:txBody>
      </p:sp>
      <p:sp>
        <p:nvSpPr>
          <p:cNvPr id="41" name="TextBox 40">
            <a:extLst>
              <a:ext uri="{FF2B5EF4-FFF2-40B4-BE49-F238E27FC236}">
                <a16:creationId xmlns:a16="http://schemas.microsoft.com/office/drawing/2014/main" id="{3B1E9FEE-3DCD-4137-BA7C-C689CE80703C}"/>
              </a:ext>
            </a:extLst>
          </p:cNvPr>
          <p:cNvSpPr txBox="1"/>
          <p:nvPr/>
        </p:nvSpPr>
        <p:spPr>
          <a:xfrm>
            <a:off x="9691593" y="5748139"/>
            <a:ext cx="748030" cy="352323"/>
          </a:xfrm>
          <a:prstGeom prst="rect">
            <a:avLst/>
          </a:prstGeom>
          <a:noFill/>
        </p:spPr>
        <p:txBody>
          <a:bodyPr wrap="square" lIns="0" tIns="0" rIns="0" bIns="0" rtlCol="0">
            <a:noAutofit/>
          </a:bodyPr>
          <a:lstStyle/>
          <a:p>
            <a:pPr algn="ctr">
              <a:spcAft>
                <a:spcPts val="900"/>
              </a:spcAft>
            </a:pPr>
            <a:r>
              <a:rPr lang="en-GB" sz="800">
                <a:latin typeface="Segoe UI Light" panose="020B0502040204020203" pitchFamily="34" charset="0"/>
                <a:cs typeface="Segoe UI Light" panose="020B0502040204020203" pitchFamily="34" charset="0"/>
              </a:rPr>
              <a:t>Laptop; computer; notebook</a:t>
            </a:r>
          </a:p>
        </p:txBody>
      </p:sp>
      <p:grpSp>
        <p:nvGrpSpPr>
          <p:cNvPr id="42" name="Group 41">
            <a:extLst>
              <a:ext uri="{FF2B5EF4-FFF2-40B4-BE49-F238E27FC236}">
                <a16:creationId xmlns:a16="http://schemas.microsoft.com/office/drawing/2014/main" id="{591258A4-5DFB-4C08-A2A7-FE84AA07BA4E}"/>
              </a:ext>
            </a:extLst>
          </p:cNvPr>
          <p:cNvGrpSpPr/>
          <p:nvPr/>
        </p:nvGrpSpPr>
        <p:grpSpPr>
          <a:xfrm>
            <a:off x="1885637" y="1492761"/>
            <a:ext cx="612000" cy="612000"/>
            <a:chOff x="592807" y="2258092"/>
            <a:chExt cx="612000" cy="612000"/>
          </a:xfrm>
        </p:grpSpPr>
        <p:sp>
          <p:nvSpPr>
            <p:cNvPr id="43" name="Oval 42">
              <a:extLst>
                <a:ext uri="{FF2B5EF4-FFF2-40B4-BE49-F238E27FC236}">
                  <a16:creationId xmlns:a16="http://schemas.microsoft.com/office/drawing/2014/main" id="{BDC26B87-D26A-4CFC-B581-E779557F7D72}"/>
                </a:ext>
              </a:extLst>
            </p:cNvPr>
            <p:cNvSpPr/>
            <p:nvPr/>
          </p:nvSpPr>
          <p:spPr bwMode="ltGray">
            <a:xfrm>
              <a:off x="592807"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44" name="Freeform 4870">
              <a:extLst>
                <a:ext uri="{FF2B5EF4-FFF2-40B4-BE49-F238E27FC236}">
                  <a16:creationId xmlns:a16="http://schemas.microsoft.com/office/drawing/2014/main" id="{69DC5E3B-6A41-4981-8CFB-99F5FBF79264}"/>
                </a:ext>
              </a:extLst>
            </p:cNvPr>
            <p:cNvSpPr>
              <a:spLocks noEditPoints="1"/>
            </p:cNvSpPr>
            <p:nvPr/>
          </p:nvSpPr>
          <p:spPr bwMode="auto">
            <a:xfrm>
              <a:off x="643441" y="2340146"/>
              <a:ext cx="510732" cy="510732"/>
            </a:xfrm>
            <a:custGeom>
              <a:avLst/>
              <a:gdLst>
                <a:gd name="T0" fmla="*/ 382 w 424"/>
                <a:gd name="T1" fmla="*/ 120 h 424"/>
                <a:gd name="T2" fmla="*/ 308 w 424"/>
                <a:gd name="T3" fmla="*/ 70 h 424"/>
                <a:gd name="T4" fmla="*/ 386 w 424"/>
                <a:gd name="T5" fmla="*/ 136 h 424"/>
                <a:gd name="T6" fmla="*/ 326 w 424"/>
                <a:gd name="T7" fmla="*/ 126 h 424"/>
                <a:gd name="T8" fmla="*/ 342 w 424"/>
                <a:gd name="T9" fmla="*/ 174 h 424"/>
                <a:gd name="T10" fmla="*/ 376 w 424"/>
                <a:gd name="T11" fmla="*/ 166 h 424"/>
                <a:gd name="T12" fmla="*/ 424 w 424"/>
                <a:gd name="T13" fmla="*/ 128 h 424"/>
                <a:gd name="T14" fmla="*/ 386 w 424"/>
                <a:gd name="T15" fmla="*/ 136 h 424"/>
                <a:gd name="T16" fmla="*/ 272 w 424"/>
                <a:gd name="T17" fmla="*/ 226 h 424"/>
                <a:gd name="T18" fmla="*/ 204 w 424"/>
                <a:gd name="T19" fmla="*/ 136 h 424"/>
                <a:gd name="T20" fmla="*/ 252 w 424"/>
                <a:gd name="T21" fmla="*/ 146 h 424"/>
                <a:gd name="T22" fmla="*/ 234 w 424"/>
                <a:gd name="T23" fmla="*/ 98 h 424"/>
                <a:gd name="T24" fmla="*/ 182 w 424"/>
                <a:gd name="T25" fmla="*/ 118 h 424"/>
                <a:gd name="T26" fmla="*/ 164 w 424"/>
                <a:gd name="T27" fmla="*/ 140 h 424"/>
                <a:gd name="T28" fmla="*/ 204 w 424"/>
                <a:gd name="T29" fmla="*/ 136 h 424"/>
                <a:gd name="T30" fmla="*/ 204 w 424"/>
                <a:gd name="T31" fmla="*/ 136 h 424"/>
                <a:gd name="T32" fmla="*/ 272 w 424"/>
                <a:gd name="T33" fmla="*/ 28 h 424"/>
                <a:gd name="T34" fmla="*/ 252 w 424"/>
                <a:gd name="T35" fmla="*/ 94 h 424"/>
                <a:gd name="T36" fmla="*/ 272 w 424"/>
                <a:gd name="T37" fmla="*/ 152 h 424"/>
                <a:gd name="T38" fmla="*/ 288 w 424"/>
                <a:gd name="T39" fmla="*/ 224 h 424"/>
                <a:gd name="T40" fmla="*/ 282 w 424"/>
                <a:gd name="T41" fmla="*/ 270 h 424"/>
                <a:gd name="T42" fmla="*/ 318 w 424"/>
                <a:gd name="T43" fmla="*/ 226 h 424"/>
                <a:gd name="T44" fmla="*/ 322 w 424"/>
                <a:gd name="T45" fmla="*/ 162 h 424"/>
                <a:gd name="T46" fmla="*/ 306 w 424"/>
                <a:gd name="T47" fmla="*/ 118 h 424"/>
                <a:gd name="T48" fmla="*/ 290 w 424"/>
                <a:gd name="T49" fmla="*/ 30 h 424"/>
                <a:gd name="T50" fmla="*/ 82 w 424"/>
                <a:gd name="T51" fmla="*/ 250 h 424"/>
                <a:gd name="T52" fmla="*/ 28 w 424"/>
                <a:gd name="T53" fmla="*/ 270 h 424"/>
                <a:gd name="T54" fmla="*/ 6 w 424"/>
                <a:gd name="T55" fmla="*/ 294 h 424"/>
                <a:gd name="T56" fmla="*/ 76 w 424"/>
                <a:gd name="T57" fmla="*/ 292 h 424"/>
                <a:gd name="T58" fmla="*/ 82 w 424"/>
                <a:gd name="T59" fmla="*/ 250 h 424"/>
                <a:gd name="T60" fmla="*/ 194 w 424"/>
                <a:gd name="T61" fmla="*/ 240 h 424"/>
                <a:gd name="T62" fmla="*/ 198 w 424"/>
                <a:gd name="T63" fmla="*/ 284 h 424"/>
                <a:gd name="T64" fmla="*/ 188 w 424"/>
                <a:gd name="T65" fmla="*/ 326 h 424"/>
                <a:gd name="T66" fmla="*/ 242 w 424"/>
                <a:gd name="T67" fmla="*/ 306 h 424"/>
                <a:gd name="T68" fmla="*/ 268 w 424"/>
                <a:gd name="T69" fmla="*/ 282 h 424"/>
                <a:gd name="T70" fmla="*/ 220 w 424"/>
                <a:gd name="T71" fmla="*/ 288 h 424"/>
                <a:gd name="T72" fmla="*/ 172 w 424"/>
                <a:gd name="T73" fmla="*/ 240 h 424"/>
                <a:gd name="T74" fmla="*/ 98 w 424"/>
                <a:gd name="T75" fmla="*/ 336 h 424"/>
                <a:gd name="T76" fmla="*/ 116 w 424"/>
                <a:gd name="T77" fmla="*/ 354 h 424"/>
                <a:gd name="T78" fmla="*/ 88 w 424"/>
                <a:gd name="T79" fmla="*/ 326 h 424"/>
                <a:gd name="T80" fmla="*/ 136 w 424"/>
                <a:gd name="T81" fmla="*/ 162 h 424"/>
                <a:gd name="T82" fmla="*/ 100 w 424"/>
                <a:gd name="T83" fmla="*/ 216 h 424"/>
                <a:gd name="T84" fmla="*/ 114 w 424"/>
                <a:gd name="T85" fmla="*/ 294 h 424"/>
                <a:gd name="T86" fmla="*/ 118 w 424"/>
                <a:gd name="T87" fmla="*/ 306 h 424"/>
                <a:gd name="T88" fmla="*/ 134 w 424"/>
                <a:gd name="T89" fmla="*/ 394 h 424"/>
                <a:gd name="T90" fmla="*/ 136 w 424"/>
                <a:gd name="T91" fmla="*/ 416 h 424"/>
                <a:gd name="T92" fmla="*/ 170 w 424"/>
                <a:gd name="T93" fmla="*/ 362 h 424"/>
                <a:gd name="T94" fmla="*/ 158 w 424"/>
                <a:gd name="T95" fmla="*/ 282 h 424"/>
                <a:gd name="T96" fmla="*/ 144 w 424"/>
                <a:gd name="T97" fmla="*/ 244 h 424"/>
                <a:gd name="T98" fmla="*/ 138 w 424"/>
                <a:gd name="T99" fmla="*/ 170 h 424"/>
                <a:gd name="T100" fmla="*/ 164 w 424"/>
                <a:gd name="T101" fmla="*/ 152 h 424"/>
                <a:gd name="T102" fmla="*/ 272 w 424"/>
                <a:gd name="T103" fmla="*/ 260 h 424"/>
                <a:gd name="T104" fmla="*/ 272 w 424"/>
                <a:gd name="T105" fmla="*/ 26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4" h="424">
                  <a:moveTo>
                    <a:pt x="370" y="132"/>
                  </a:moveTo>
                  <a:lnTo>
                    <a:pt x="336" y="98"/>
                  </a:lnTo>
                  <a:lnTo>
                    <a:pt x="348" y="88"/>
                  </a:lnTo>
                  <a:lnTo>
                    <a:pt x="382" y="120"/>
                  </a:lnTo>
                  <a:lnTo>
                    <a:pt x="370" y="132"/>
                  </a:lnTo>
                  <a:close/>
                  <a:moveTo>
                    <a:pt x="306" y="44"/>
                  </a:moveTo>
                  <a:lnTo>
                    <a:pt x="306" y="44"/>
                  </a:lnTo>
                  <a:lnTo>
                    <a:pt x="308" y="70"/>
                  </a:lnTo>
                  <a:lnTo>
                    <a:pt x="326" y="88"/>
                  </a:lnTo>
                  <a:lnTo>
                    <a:pt x="336" y="76"/>
                  </a:lnTo>
                  <a:lnTo>
                    <a:pt x="306" y="44"/>
                  </a:lnTo>
                  <a:close/>
                  <a:moveTo>
                    <a:pt x="386" y="136"/>
                  </a:moveTo>
                  <a:lnTo>
                    <a:pt x="386" y="136"/>
                  </a:lnTo>
                  <a:lnTo>
                    <a:pt x="358" y="134"/>
                  </a:lnTo>
                  <a:lnTo>
                    <a:pt x="344" y="130"/>
                  </a:lnTo>
                  <a:lnTo>
                    <a:pt x="326" y="126"/>
                  </a:lnTo>
                  <a:lnTo>
                    <a:pt x="326" y="126"/>
                  </a:lnTo>
                  <a:lnTo>
                    <a:pt x="336" y="150"/>
                  </a:lnTo>
                  <a:lnTo>
                    <a:pt x="342" y="174"/>
                  </a:lnTo>
                  <a:lnTo>
                    <a:pt x="342" y="174"/>
                  </a:lnTo>
                  <a:lnTo>
                    <a:pt x="342" y="174"/>
                  </a:lnTo>
                  <a:lnTo>
                    <a:pt x="342" y="174"/>
                  </a:lnTo>
                  <a:lnTo>
                    <a:pt x="358" y="172"/>
                  </a:lnTo>
                  <a:lnTo>
                    <a:pt x="376" y="166"/>
                  </a:lnTo>
                  <a:lnTo>
                    <a:pt x="396" y="154"/>
                  </a:lnTo>
                  <a:lnTo>
                    <a:pt x="416" y="136"/>
                  </a:lnTo>
                  <a:lnTo>
                    <a:pt x="424" y="128"/>
                  </a:lnTo>
                  <a:lnTo>
                    <a:pt x="424" y="128"/>
                  </a:lnTo>
                  <a:lnTo>
                    <a:pt x="414" y="132"/>
                  </a:lnTo>
                  <a:lnTo>
                    <a:pt x="402" y="134"/>
                  </a:lnTo>
                  <a:lnTo>
                    <a:pt x="386" y="136"/>
                  </a:lnTo>
                  <a:lnTo>
                    <a:pt x="386" y="136"/>
                  </a:lnTo>
                  <a:close/>
                  <a:moveTo>
                    <a:pt x="268" y="200"/>
                  </a:moveTo>
                  <a:lnTo>
                    <a:pt x="252" y="184"/>
                  </a:lnTo>
                  <a:lnTo>
                    <a:pt x="240" y="194"/>
                  </a:lnTo>
                  <a:lnTo>
                    <a:pt x="272" y="226"/>
                  </a:lnTo>
                  <a:lnTo>
                    <a:pt x="272" y="226"/>
                  </a:lnTo>
                  <a:lnTo>
                    <a:pt x="268" y="200"/>
                  </a:lnTo>
                  <a:lnTo>
                    <a:pt x="268" y="200"/>
                  </a:lnTo>
                  <a:close/>
                  <a:moveTo>
                    <a:pt x="204" y="136"/>
                  </a:moveTo>
                  <a:lnTo>
                    <a:pt x="204" y="136"/>
                  </a:lnTo>
                  <a:lnTo>
                    <a:pt x="226" y="140"/>
                  </a:lnTo>
                  <a:lnTo>
                    <a:pt x="252" y="146"/>
                  </a:lnTo>
                  <a:lnTo>
                    <a:pt x="252" y="146"/>
                  </a:lnTo>
                  <a:lnTo>
                    <a:pt x="242" y="122"/>
                  </a:lnTo>
                  <a:lnTo>
                    <a:pt x="236" y="98"/>
                  </a:lnTo>
                  <a:lnTo>
                    <a:pt x="236" y="98"/>
                  </a:lnTo>
                  <a:lnTo>
                    <a:pt x="234" y="98"/>
                  </a:lnTo>
                  <a:lnTo>
                    <a:pt x="234" y="98"/>
                  </a:lnTo>
                  <a:lnTo>
                    <a:pt x="218" y="100"/>
                  </a:lnTo>
                  <a:lnTo>
                    <a:pt x="200" y="106"/>
                  </a:lnTo>
                  <a:lnTo>
                    <a:pt x="182" y="118"/>
                  </a:lnTo>
                  <a:lnTo>
                    <a:pt x="162" y="136"/>
                  </a:lnTo>
                  <a:lnTo>
                    <a:pt x="154" y="142"/>
                  </a:lnTo>
                  <a:lnTo>
                    <a:pt x="154" y="142"/>
                  </a:lnTo>
                  <a:lnTo>
                    <a:pt x="164" y="140"/>
                  </a:lnTo>
                  <a:lnTo>
                    <a:pt x="176" y="136"/>
                  </a:lnTo>
                  <a:lnTo>
                    <a:pt x="192" y="136"/>
                  </a:lnTo>
                  <a:lnTo>
                    <a:pt x="192" y="136"/>
                  </a:lnTo>
                  <a:lnTo>
                    <a:pt x="204" y="136"/>
                  </a:lnTo>
                  <a:lnTo>
                    <a:pt x="192" y="146"/>
                  </a:lnTo>
                  <a:lnTo>
                    <a:pt x="230" y="184"/>
                  </a:lnTo>
                  <a:lnTo>
                    <a:pt x="240" y="172"/>
                  </a:lnTo>
                  <a:lnTo>
                    <a:pt x="204" y="136"/>
                  </a:lnTo>
                  <a:close/>
                  <a:moveTo>
                    <a:pt x="296" y="0"/>
                  </a:moveTo>
                  <a:lnTo>
                    <a:pt x="288" y="8"/>
                  </a:lnTo>
                  <a:lnTo>
                    <a:pt x="288" y="8"/>
                  </a:lnTo>
                  <a:lnTo>
                    <a:pt x="272" y="28"/>
                  </a:lnTo>
                  <a:lnTo>
                    <a:pt x="260" y="46"/>
                  </a:lnTo>
                  <a:lnTo>
                    <a:pt x="254" y="62"/>
                  </a:lnTo>
                  <a:lnTo>
                    <a:pt x="250" y="78"/>
                  </a:lnTo>
                  <a:lnTo>
                    <a:pt x="252" y="94"/>
                  </a:lnTo>
                  <a:lnTo>
                    <a:pt x="256" y="110"/>
                  </a:lnTo>
                  <a:lnTo>
                    <a:pt x="266" y="142"/>
                  </a:lnTo>
                  <a:lnTo>
                    <a:pt x="266" y="142"/>
                  </a:lnTo>
                  <a:lnTo>
                    <a:pt x="272" y="152"/>
                  </a:lnTo>
                  <a:lnTo>
                    <a:pt x="272" y="152"/>
                  </a:lnTo>
                  <a:lnTo>
                    <a:pt x="280" y="180"/>
                  </a:lnTo>
                  <a:lnTo>
                    <a:pt x="286" y="204"/>
                  </a:lnTo>
                  <a:lnTo>
                    <a:pt x="288" y="224"/>
                  </a:lnTo>
                  <a:lnTo>
                    <a:pt x="288" y="242"/>
                  </a:lnTo>
                  <a:lnTo>
                    <a:pt x="286" y="254"/>
                  </a:lnTo>
                  <a:lnTo>
                    <a:pt x="284" y="262"/>
                  </a:lnTo>
                  <a:lnTo>
                    <a:pt x="282" y="270"/>
                  </a:lnTo>
                  <a:lnTo>
                    <a:pt x="288" y="262"/>
                  </a:lnTo>
                  <a:lnTo>
                    <a:pt x="288" y="262"/>
                  </a:lnTo>
                  <a:lnTo>
                    <a:pt x="306" y="244"/>
                  </a:lnTo>
                  <a:lnTo>
                    <a:pt x="318" y="226"/>
                  </a:lnTo>
                  <a:lnTo>
                    <a:pt x="324" y="208"/>
                  </a:lnTo>
                  <a:lnTo>
                    <a:pt x="326" y="192"/>
                  </a:lnTo>
                  <a:lnTo>
                    <a:pt x="326" y="176"/>
                  </a:lnTo>
                  <a:lnTo>
                    <a:pt x="322" y="162"/>
                  </a:lnTo>
                  <a:lnTo>
                    <a:pt x="310" y="130"/>
                  </a:lnTo>
                  <a:lnTo>
                    <a:pt x="310" y="130"/>
                  </a:lnTo>
                  <a:lnTo>
                    <a:pt x="306" y="118"/>
                  </a:lnTo>
                  <a:lnTo>
                    <a:pt x="306" y="118"/>
                  </a:lnTo>
                  <a:lnTo>
                    <a:pt x="296" y="90"/>
                  </a:lnTo>
                  <a:lnTo>
                    <a:pt x="292" y="66"/>
                  </a:lnTo>
                  <a:lnTo>
                    <a:pt x="288" y="46"/>
                  </a:lnTo>
                  <a:lnTo>
                    <a:pt x="290" y="30"/>
                  </a:lnTo>
                  <a:lnTo>
                    <a:pt x="290" y="16"/>
                  </a:lnTo>
                  <a:lnTo>
                    <a:pt x="292" y="8"/>
                  </a:lnTo>
                  <a:lnTo>
                    <a:pt x="296" y="0"/>
                  </a:lnTo>
                  <a:close/>
                  <a:moveTo>
                    <a:pt x="82" y="250"/>
                  </a:moveTo>
                  <a:lnTo>
                    <a:pt x="82" y="250"/>
                  </a:lnTo>
                  <a:lnTo>
                    <a:pt x="66" y="252"/>
                  </a:lnTo>
                  <a:lnTo>
                    <a:pt x="48" y="258"/>
                  </a:lnTo>
                  <a:lnTo>
                    <a:pt x="28" y="270"/>
                  </a:lnTo>
                  <a:lnTo>
                    <a:pt x="8" y="288"/>
                  </a:lnTo>
                  <a:lnTo>
                    <a:pt x="0" y="296"/>
                  </a:lnTo>
                  <a:lnTo>
                    <a:pt x="0" y="296"/>
                  </a:lnTo>
                  <a:lnTo>
                    <a:pt x="6" y="294"/>
                  </a:lnTo>
                  <a:lnTo>
                    <a:pt x="24" y="290"/>
                  </a:lnTo>
                  <a:lnTo>
                    <a:pt x="38" y="288"/>
                  </a:lnTo>
                  <a:lnTo>
                    <a:pt x="56" y="290"/>
                  </a:lnTo>
                  <a:lnTo>
                    <a:pt x="76" y="292"/>
                  </a:lnTo>
                  <a:lnTo>
                    <a:pt x="98" y="298"/>
                  </a:lnTo>
                  <a:lnTo>
                    <a:pt x="98" y="298"/>
                  </a:lnTo>
                  <a:lnTo>
                    <a:pt x="90" y="274"/>
                  </a:lnTo>
                  <a:lnTo>
                    <a:pt x="82" y="250"/>
                  </a:lnTo>
                  <a:lnTo>
                    <a:pt x="82" y="250"/>
                  </a:lnTo>
                  <a:close/>
                  <a:moveTo>
                    <a:pt x="220" y="288"/>
                  </a:moveTo>
                  <a:lnTo>
                    <a:pt x="232" y="278"/>
                  </a:lnTo>
                  <a:lnTo>
                    <a:pt x="194" y="240"/>
                  </a:lnTo>
                  <a:lnTo>
                    <a:pt x="184" y="252"/>
                  </a:lnTo>
                  <a:lnTo>
                    <a:pt x="220" y="288"/>
                  </a:lnTo>
                  <a:lnTo>
                    <a:pt x="220" y="288"/>
                  </a:lnTo>
                  <a:lnTo>
                    <a:pt x="198" y="284"/>
                  </a:lnTo>
                  <a:lnTo>
                    <a:pt x="172" y="278"/>
                  </a:lnTo>
                  <a:lnTo>
                    <a:pt x="172" y="278"/>
                  </a:lnTo>
                  <a:lnTo>
                    <a:pt x="182" y="302"/>
                  </a:lnTo>
                  <a:lnTo>
                    <a:pt x="188" y="326"/>
                  </a:lnTo>
                  <a:lnTo>
                    <a:pt x="188" y="326"/>
                  </a:lnTo>
                  <a:lnTo>
                    <a:pt x="206" y="324"/>
                  </a:lnTo>
                  <a:lnTo>
                    <a:pt x="222" y="318"/>
                  </a:lnTo>
                  <a:lnTo>
                    <a:pt x="242" y="306"/>
                  </a:lnTo>
                  <a:lnTo>
                    <a:pt x="262" y="288"/>
                  </a:lnTo>
                  <a:lnTo>
                    <a:pt x="270" y="282"/>
                  </a:lnTo>
                  <a:lnTo>
                    <a:pt x="270" y="282"/>
                  </a:lnTo>
                  <a:lnTo>
                    <a:pt x="268" y="282"/>
                  </a:lnTo>
                  <a:lnTo>
                    <a:pt x="258" y="286"/>
                  </a:lnTo>
                  <a:lnTo>
                    <a:pt x="242" y="288"/>
                  </a:lnTo>
                  <a:lnTo>
                    <a:pt x="220" y="288"/>
                  </a:lnTo>
                  <a:lnTo>
                    <a:pt x="220" y="288"/>
                  </a:lnTo>
                  <a:close/>
                  <a:moveTo>
                    <a:pt x="152" y="198"/>
                  </a:moveTo>
                  <a:lnTo>
                    <a:pt x="152" y="198"/>
                  </a:lnTo>
                  <a:lnTo>
                    <a:pt x="156" y="224"/>
                  </a:lnTo>
                  <a:lnTo>
                    <a:pt x="172" y="240"/>
                  </a:lnTo>
                  <a:lnTo>
                    <a:pt x="184" y="230"/>
                  </a:lnTo>
                  <a:lnTo>
                    <a:pt x="152" y="198"/>
                  </a:lnTo>
                  <a:close/>
                  <a:moveTo>
                    <a:pt x="116" y="354"/>
                  </a:moveTo>
                  <a:lnTo>
                    <a:pt x="98" y="336"/>
                  </a:lnTo>
                  <a:lnTo>
                    <a:pt x="88" y="348"/>
                  </a:lnTo>
                  <a:lnTo>
                    <a:pt x="120" y="380"/>
                  </a:lnTo>
                  <a:lnTo>
                    <a:pt x="120" y="380"/>
                  </a:lnTo>
                  <a:lnTo>
                    <a:pt x="116" y="354"/>
                  </a:lnTo>
                  <a:lnTo>
                    <a:pt x="116" y="354"/>
                  </a:lnTo>
                  <a:close/>
                  <a:moveTo>
                    <a:pt x="42" y="304"/>
                  </a:moveTo>
                  <a:lnTo>
                    <a:pt x="76" y="336"/>
                  </a:lnTo>
                  <a:lnTo>
                    <a:pt x="88" y="326"/>
                  </a:lnTo>
                  <a:lnTo>
                    <a:pt x="54" y="292"/>
                  </a:lnTo>
                  <a:lnTo>
                    <a:pt x="42" y="304"/>
                  </a:lnTo>
                  <a:close/>
                  <a:moveTo>
                    <a:pt x="142" y="154"/>
                  </a:moveTo>
                  <a:lnTo>
                    <a:pt x="136" y="162"/>
                  </a:lnTo>
                  <a:lnTo>
                    <a:pt x="136" y="162"/>
                  </a:lnTo>
                  <a:lnTo>
                    <a:pt x="118" y="180"/>
                  </a:lnTo>
                  <a:lnTo>
                    <a:pt x="106" y="198"/>
                  </a:lnTo>
                  <a:lnTo>
                    <a:pt x="100" y="216"/>
                  </a:lnTo>
                  <a:lnTo>
                    <a:pt x="98" y="232"/>
                  </a:lnTo>
                  <a:lnTo>
                    <a:pt x="98" y="248"/>
                  </a:lnTo>
                  <a:lnTo>
                    <a:pt x="102" y="262"/>
                  </a:lnTo>
                  <a:lnTo>
                    <a:pt x="114" y="294"/>
                  </a:lnTo>
                  <a:lnTo>
                    <a:pt x="114" y="294"/>
                  </a:lnTo>
                  <a:lnTo>
                    <a:pt x="118" y="306"/>
                  </a:lnTo>
                  <a:lnTo>
                    <a:pt x="118" y="306"/>
                  </a:lnTo>
                  <a:lnTo>
                    <a:pt x="118" y="306"/>
                  </a:lnTo>
                  <a:lnTo>
                    <a:pt x="128" y="334"/>
                  </a:lnTo>
                  <a:lnTo>
                    <a:pt x="132" y="358"/>
                  </a:lnTo>
                  <a:lnTo>
                    <a:pt x="136" y="378"/>
                  </a:lnTo>
                  <a:lnTo>
                    <a:pt x="134" y="394"/>
                  </a:lnTo>
                  <a:lnTo>
                    <a:pt x="134" y="408"/>
                  </a:lnTo>
                  <a:lnTo>
                    <a:pt x="132" y="416"/>
                  </a:lnTo>
                  <a:lnTo>
                    <a:pt x="128" y="424"/>
                  </a:lnTo>
                  <a:lnTo>
                    <a:pt x="136" y="416"/>
                  </a:lnTo>
                  <a:lnTo>
                    <a:pt x="136" y="416"/>
                  </a:lnTo>
                  <a:lnTo>
                    <a:pt x="152" y="396"/>
                  </a:lnTo>
                  <a:lnTo>
                    <a:pt x="164" y="378"/>
                  </a:lnTo>
                  <a:lnTo>
                    <a:pt x="170" y="362"/>
                  </a:lnTo>
                  <a:lnTo>
                    <a:pt x="174" y="346"/>
                  </a:lnTo>
                  <a:lnTo>
                    <a:pt x="172" y="330"/>
                  </a:lnTo>
                  <a:lnTo>
                    <a:pt x="168" y="314"/>
                  </a:lnTo>
                  <a:lnTo>
                    <a:pt x="158" y="282"/>
                  </a:lnTo>
                  <a:lnTo>
                    <a:pt x="158" y="282"/>
                  </a:lnTo>
                  <a:lnTo>
                    <a:pt x="152" y="272"/>
                  </a:lnTo>
                  <a:lnTo>
                    <a:pt x="152" y="272"/>
                  </a:lnTo>
                  <a:lnTo>
                    <a:pt x="144" y="244"/>
                  </a:lnTo>
                  <a:lnTo>
                    <a:pt x="138" y="220"/>
                  </a:lnTo>
                  <a:lnTo>
                    <a:pt x="136" y="200"/>
                  </a:lnTo>
                  <a:lnTo>
                    <a:pt x="136" y="182"/>
                  </a:lnTo>
                  <a:lnTo>
                    <a:pt x="138" y="170"/>
                  </a:lnTo>
                  <a:lnTo>
                    <a:pt x="140" y="162"/>
                  </a:lnTo>
                  <a:lnTo>
                    <a:pt x="142" y="154"/>
                  </a:lnTo>
                  <a:close/>
                  <a:moveTo>
                    <a:pt x="212" y="200"/>
                  </a:moveTo>
                  <a:lnTo>
                    <a:pt x="164" y="152"/>
                  </a:lnTo>
                  <a:lnTo>
                    <a:pt x="152" y="164"/>
                  </a:lnTo>
                  <a:lnTo>
                    <a:pt x="200" y="212"/>
                  </a:lnTo>
                  <a:lnTo>
                    <a:pt x="212" y="200"/>
                  </a:lnTo>
                  <a:close/>
                  <a:moveTo>
                    <a:pt x="272" y="260"/>
                  </a:moveTo>
                  <a:lnTo>
                    <a:pt x="224" y="212"/>
                  </a:lnTo>
                  <a:lnTo>
                    <a:pt x="212" y="224"/>
                  </a:lnTo>
                  <a:lnTo>
                    <a:pt x="260" y="272"/>
                  </a:lnTo>
                  <a:lnTo>
                    <a:pt x="272" y="26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45" name="Group 44">
            <a:extLst>
              <a:ext uri="{FF2B5EF4-FFF2-40B4-BE49-F238E27FC236}">
                <a16:creationId xmlns:a16="http://schemas.microsoft.com/office/drawing/2014/main" id="{F92C2B5D-1123-4210-9995-A6E3ED841AD5}"/>
              </a:ext>
            </a:extLst>
          </p:cNvPr>
          <p:cNvGrpSpPr/>
          <p:nvPr/>
        </p:nvGrpSpPr>
        <p:grpSpPr>
          <a:xfrm>
            <a:off x="3647535" y="4200579"/>
            <a:ext cx="612000" cy="612000"/>
            <a:chOff x="3216946" y="4690710"/>
            <a:chExt cx="612000" cy="612000"/>
          </a:xfrm>
        </p:grpSpPr>
        <p:sp>
          <p:nvSpPr>
            <p:cNvPr id="46" name="Oval 45">
              <a:extLst>
                <a:ext uri="{FF2B5EF4-FFF2-40B4-BE49-F238E27FC236}">
                  <a16:creationId xmlns:a16="http://schemas.microsoft.com/office/drawing/2014/main" id="{7F30A99D-AC99-49D6-8C27-18A7E7DAC311}"/>
                </a:ext>
              </a:extLst>
            </p:cNvPr>
            <p:cNvSpPr/>
            <p:nvPr/>
          </p:nvSpPr>
          <p:spPr bwMode="ltGray">
            <a:xfrm>
              <a:off x="3216946"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47" name="Freeform 4903">
              <a:extLst>
                <a:ext uri="{FF2B5EF4-FFF2-40B4-BE49-F238E27FC236}">
                  <a16:creationId xmlns:a16="http://schemas.microsoft.com/office/drawing/2014/main" id="{A3944567-F65E-44BB-827A-B5BF88A3EAE2}"/>
                </a:ext>
              </a:extLst>
            </p:cNvPr>
            <p:cNvSpPr>
              <a:spLocks noEditPoints="1"/>
            </p:cNvSpPr>
            <p:nvPr/>
          </p:nvSpPr>
          <p:spPr bwMode="auto">
            <a:xfrm>
              <a:off x="3308535" y="4787801"/>
              <a:ext cx="428822" cy="378230"/>
            </a:xfrm>
            <a:custGeom>
              <a:avLst/>
              <a:gdLst>
                <a:gd name="T0" fmla="*/ 36 w 356"/>
                <a:gd name="T1" fmla="*/ 242 h 314"/>
                <a:gd name="T2" fmla="*/ 34 w 356"/>
                <a:gd name="T3" fmla="*/ 104 h 314"/>
                <a:gd name="T4" fmla="*/ 44 w 356"/>
                <a:gd name="T5" fmla="*/ 94 h 314"/>
                <a:gd name="T6" fmla="*/ 72 w 356"/>
                <a:gd name="T7" fmla="*/ 98 h 314"/>
                <a:gd name="T8" fmla="*/ 76 w 356"/>
                <a:gd name="T9" fmla="*/ 236 h 314"/>
                <a:gd name="T10" fmla="*/ 66 w 356"/>
                <a:gd name="T11" fmla="*/ 246 h 314"/>
                <a:gd name="T12" fmla="*/ 32 w 356"/>
                <a:gd name="T13" fmla="*/ 274 h 314"/>
                <a:gd name="T14" fmla="*/ 316 w 356"/>
                <a:gd name="T15" fmla="*/ 280 h 314"/>
                <a:gd name="T16" fmla="*/ 324 w 356"/>
                <a:gd name="T17" fmla="*/ 274 h 314"/>
                <a:gd name="T18" fmla="*/ 322 w 356"/>
                <a:gd name="T19" fmla="*/ 262 h 314"/>
                <a:gd name="T20" fmla="*/ 40 w 356"/>
                <a:gd name="T21" fmla="*/ 260 h 314"/>
                <a:gd name="T22" fmla="*/ 30 w 356"/>
                <a:gd name="T23" fmla="*/ 270 h 314"/>
                <a:gd name="T24" fmla="*/ 152 w 356"/>
                <a:gd name="T25" fmla="*/ 244 h 314"/>
                <a:gd name="T26" fmla="*/ 158 w 356"/>
                <a:gd name="T27" fmla="*/ 104 h 314"/>
                <a:gd name="T28" fmla="*/ 152 w 356"/>
                <a:gd name="T29" fmla="*/ 96 h 314"/>
                <a:gd name="T30" fmla="*/ 122 w 356"/>
                <a:gd name="T31" fmla="*/ 96 h 314"/>
                <a:gd name="T32" fmla="*/ 116 w 356"/>
                <a:gd name="T33" fmla="*/ 236 h 314"/>
                <a:gd name="T34" fmla="*/ 122 w 356"/>
                <a:gd name="T35" fmla="*/ 244 h 314"/>
                <a:gd name="T36" fmla="*/ 6 w 356"/>
                <a:gd name="T37" fmla="*/ 72 h 314"/>
                <a:gd name="T38" fmla="*/ 12 w 356"/>
                <a:gd name="T39" fmla="*/ 60 h 314"/>
                <a:gd name="T40" fmla="*/ 174 w 356"/>
                <a:gd name="T41" fmla="*/ 0 h 314"/>
                <a:gd name="T42" fmla="*/ 176 w 356"/>
                <a:gd name="T43" fmla="*/ 0 h 314"/>
                <a:gd name="T44" fmla="*/ 180 w 356"/>
                <a:gd name="T45" fmla="*/ 0 h 314"/>
                <a:gd name="T46" fmla="*/ 182 w 356"/>
                <a:gd name="T47" fmla="*/ 0 h 314"/>
                <a:gd name="T48" fmla="*/ 342 w 356"/>
                <a:gd name="T49" fmla="*/ 60 h 314"/>
                <a:gd name="T50" fmla="*/ 350 w 356"/>
                <a:gd name="T51" fmla="*/ 74 h 314"/>
                <a:gd name="T52" fmla="*/ 340 w 356"/>
                <a:gd name="T53" fmla="*/ 80 h 314"/>
                <a:gd name="T54" fmla="*/ 16 w 356"/>
                <a:gd name="T55" fmla="*/ 80 h 314"/>
                <a:gd name="T56" fmla="*/ 8 w 356"/>
                <a:gd name="T57" fmla="*/ 74 h 314"/>
                <a:gd name="T58" fmla="*/ 160 w 356"/>
                <a:gd name="T59" fmla="*/ 42 h 314"/>
                <a:gd name="T60" fmla="*/ 178 w 356"/>
                <a:gd name="T61" fmla="*/ 60 h 314"/>
                <a:gd name="T62" fmla="*/ 194 w 356"/>
                <a:gd name="T63" fmla="*/ 50 h 314"/>
                <a:gd name="T64" fmla="*/ 190 w 356"/>
                <a:gd name="T65" fmla="*/ 30 h 314"/>
                <a:gd name="T66" fmla="*/ 170 w 356"/>
                <a:gd name="T67" fmla="*/ 26 h 314"/>
                <a:gd name="T68" fmla="*/ 160 w 356"/>
                <a:gd name="T69" fmla="*/ 42 h 314"/>
                <a:gd name="T70" fmla="*/ 6 w 356"/>
                <a:gd name="T71" fmla="*/ 294 h 314"/>
                <a:gd name="T72" fmla="*/ 0 w 356"/>
                <a:gd name="T73" fmla="*/ 304 h 314"/>
                <a:gd name="T74" fmla="*/ 10 w 356"/>
                <a:gd name="T75" fmla="*/ 314 h 314"/>
                <a:gd name="T76" fmla="*/ 352 w 356"/>
                <a:gd name="T77" fmla="*/ 312 h 314"/>
                <a:gd name="T78" fmla="*/ 354 w 356"/>
                <a:gd name="T79" fmla="*/ 300 h 314"/>
                <a:gd name="T80" fmla="*/ 346 w 356"/>
                <a:gd name="T81" fmla="*/ 294 h 314"/>
                <a:gd name="T82" fmla="*/ 238 w 356"/>
                <a:gd name="T83" fmla="*/ 242 h 314"/>
                <a:gd name="T84" fmla="*/ 240 w 356"/>
                <a:gd name="T85" fmla="*/ 104 h 314"/>
                <a:gd name="T86" fmla="*/ 230 w 356"/>
                <a:gd name="T87" fmla="*/ 94 h 314"/>
                <a:gd name="T88" fmla="*/ 200 w 356"/>
                <a:gd name="T89" fmla="*/ 98 h 314"/>
                <a:gd name="T90" fmla="*/ 198 w 356"/>
                <a:gd name="T91" fmla="*/ 236 h 314"/>
                <a:gd name="T92" fmla="*/ 208 w 356"/>
                <a:gd name="T93" fmla="*/ 246 h 314"/>
                <a:gd name="T94" fmla="*/ 316 w 356"/>
                <a:gd name="T95" fmla="*/ 244 h 314"/>
                <a:gd name="T96" fmla="*/ 322 w 356"/>
                <a:gd name="T97" fmla="*/ 104 h 314"/>
                <a:gd name="T98" fmla="*/ 316 w 356"/>
                <a:gd name="T99" fmla="*/ 96 h 314"/>
                <a:gd name="T100" fmla="*/ 286 w 356"/>
                <a:gd name="T101" fmla="*/ 96 h 314"/>
                <a:gd name="T102" fmla="*/ 280 w 356"/>
                <a:gd name="T103" fmla="*/ 236 h 314"/>
                <a:gd name="T104" fmla="*/ 286 w 356"/>
                <a:gd name="T105" fmla="*/ 24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6" h="314">
                  <a:moveTo>
                    <a:pt x="44" y="246"/>
                  </a:moveTo>
                  <a:lnTo>
                    <a:pt x="44" y="246"/>
                  </a:lnTo>
                  <a:lnTo>
                    <a:pt x="40" y="244"/>
                  </a:lnTo>
                  <a:lnTo>
                    <a:pt x="36" y="242"/>
                  </a:lnTo>
                  <a:lnTo>
                    <a:pt x="34" y="240"/>
                  </a:lnTo>
                  <a:lnTo>
                    <a:pt x="34" y="236"/>
                  </a:lnTo>
                  <a:lnTo>
                    <a:pt x="34" y="104"/>
                  </a:lnTo>
                  <a:lnTo>
                    <a:pt x="34" y="104"/>
                  </a:lnTo>
                  <a:lnTo>
                    <a:pt x="34" y="100"/>
                  </a:lnTo>
                  <a:lnTo>
                    <a:pt x="36" y="98"/>
                  </a:lnTo>
                  <a:lnTo>
                    <a:pt x="40" y="96"/>
                  </a:lnTo>
                  <a:lnTo>
                    <a:pt x="44" y="94"/>
                  </a:lnTo>
                  <a:lnTo>
                    <a:pt x="66" y="94"/>
                  </a:lnTo>
                  <a:lnTo>
                    <a:pt x="66" y="94"/>
                  </a:lnTo>
                  <a:lnTo>
                    <a:pt x="70" y="96"/>
                  </a:lnTo>
                  <a:lnTo>
                    <a:pt x="72" y="98"/>
                  </a:lnTo>
                  <a:lnTo>
                    <a:pt x="76" y="100"/>
                  </a:lnTo>
                  <a:lnTo>
                    <a:pt x="76" y="104"/>
                  </a:lnTo>
                  <a:lnTo>
                    <a:pt x="76" y="236"/>
                  </a:lnTo>
                  <a:lnTo>
                    <a:pt x="76" y="236"/>
                  </a:lnTo>
                  <a:lnTo>
                    <a:pt x="76" y="240"/>
                  </a:lnTo>
                  <a:lnTo>
                    <a:pt x="72" y="242"/>
                  </a:lnTo>
                  <a:lnTo>
                    <a:pt x="70" y="244"/>
                  </a:lnTo>
                  <a:lnTo>
                    <a:pt x="66" y="246"/>
                  </a:lnTo>
                  <a:lnTo>
                    <a:pt x="44" y="246"/>
                  </a:lnTo>
                  <a:close/>
                  <a:moveTo>
                    <a:pt x="30" y="270"/>
                  </a:moveTo>
                  <a:lnTo>
                    <a:pt x="30" y="270"/>
                  </a:lnTo>
                  <a:lnTo>
                    <a:pt x="32" y="274"/>
                  </a:lnTo>
                  <a:lnTo>
                    <a:pt x="34" y="276"/>
                  </a:lnTo>
                  <a:lnTo>
                    <a:pt x="36" y="278"/>
                  </a:lnTo>
                  <a:lnTo>
                    <a:pt x="40" y="280"/>
                  </a:lnTo>
                  <a:lnTo>
                    <a:pt x="316" y="280"/>
                  </a:lnTo>
                  <a:lnTo>
                    <a:pt x="316" y="280"/>
                  </a:lnTo>
                  <a:lnTo>
                    <a:pt x="320" y="278"/>
                  </a:lnTo>
                  <a:lnTo>
                    <a:pt x="322" y="276"/>
                  </a:lnTo>
                  <a:lnTo>
                    <a:pt x="324" y="274"/>
                  </a:lnTo>
                  <a:lnTo>
                    <a:pt x="326" y="270"/>
                  </a:lnTo>
                  <a:lnTo>
                    <a:pt x="326" y="270"/>
                  </a:lnTo>
                  <a:lnTo>
                    <a:pt x="324" y="266"/>
                  </a:lnTo>
                  <a:lnTo>
                    <a:pt x="322" y="262"/>
                  </a:lnTo>
                  <a:lnTo>
                    <a:pt x="320" y="260"/>
                  </a:lnTo>
                  <a:lnTo>
                    <a:pt x="316" y="260"/>
                  </a:lnTo>
                  <a:lnTo>
                    <a:pt x="40" y="260"/>
                  </a:lnTo>
                  <a:lnTo>
                    <a:pt x="40" y="260"/>
                  </a:lnTo>
                  <a:lnTo>
                    <a:pt x="36" y="260"/>
                  </a:lnTo>
                  <a:lnTo>
                    <a:pt x="34" y="262"/>
                  </a:lnTo>
                  <a:lnTo>
                    <a:pt x="32" y="266"/>
                  </a:lnTo>
                  <a:lnTo>
                    <a:pt x="30" y="270"/>
                  </a:lnTo>
                  <a:lnTo>
                    <a:pt x="30" y="270"/>
                  </a:lnTo>
                  <a:close/>
                  <a:moveTo>
                    <a:pt x="148" y="246"/>
                  </a:moveTo>
                  <a:lnTo>
                    <a:pt x="148" y="246"/>
                  </a:lnTo>
                  <a:lnTo>
                    <a:pt x="152" y="244"/>
                  </a:lnTo>
                  <a:lnTo>
                    <a:pt x="156" y="242"/>
                  </a:lnTo>
                  <a:lnTo>
                    <a:pt x="158" y="240"/>
                  </a:lnTo>
                  <a:lnTo>
                    <a:pt x="158" y="236"/>
                  </a:lnTo>
                  <a:lnTo>
                    <a:pt x="158" y="104"/>
                  </a:lnTo>
                  <a:lnTo>
                    <a:pt x="158" y="104"/>
                  </a:lnTo>
                  <a:lnTo>
                    <a:pt x="158" y="100"/>
                  </a:lnTo>
                  <a:lnTo>
                    <a:pt x="156" y="98"/>
                  </a:lnTo>
                  <a:lnTo>
                    <a:pt x="152" y="96"/>
                  </a:lnTo>
                  <a:lnTo>
                    <a:pt x="148" y="94"/>
                  </a:lnTo>
                  <a:lnTo>
                    <a:pt x="126" y="94"/>
                  </a:lnTo>
                  <a:lnTo>
                    <a:pt x="126" y="94"/>
                  </a:lnTo>
                  <a:lnTo>
                    <a:pt x="122" y="96"/>
                  </a:lnTo>
                  <a:lnTo>
                    <a:pt x="118" y="98"/>
                  </a:lnTo>
                  <a:lnTo>
                    <a:pt x="116" y="100"/>
                  </a:lnTo>
                  <a:lnTo>
                    <a:pt x="116" y="104"/>
                  </a:lnTo>
                  <a:lnTo>
                    <a:pt x="116" y="236"/>
                  </a:lnTo>
                  <a:lnTo>
                    <a:pt x="116" y="236"/>
                  </a:lnTo>
                  <a:lnTo>
                    <a:pt x="116" y="240"/>
                  </a:lnTo>
                  <a:lnTo>
                    <a:pt x="118" y="242"/>
                  </a:lnTo>
                  <a:lnTo>
                    <a:pt x="122" y="244"/>
                  </a:lnTo>
                  <a:lnTo>
                    <a:pt x="126" y="246"/>
                  </a:lnTo>
                  <a:lnTo>
                    <a:pt x="148" y="246"/>
                  </a:lnTo>
                  <a:close/>
                  <a:moveTo>
                    <a:pt x="6" y="72"/>
                  </a:moveTo>
                  <a:lnTo>
                    <a:pt x="6" y="72"/>
                  </a:lnTo>
                  <a:lnTo>
                    <a:pt x="6" y="68"/>
                  </a:lnTo>
                  <a:lnTo>
                    <a:pt x="8" y="64"/>
                  </a:lnTo>
                  <a:lnTo>
                    <a:pt x="10" y="62"/>
                  </a:lnTo>
                  <a:lnTo>
                    <a:pt x="12" y="60"/>
                  </a:lnTo>
                  <a:lnTo>
                    <a:pt x="174" y="0"/>
                  </a:lnTo>
                  <a:lnTo>
                    <a:pt x="174" y="0"/>
                  </a:lnTo>
                  <a:lnTo>
                    <a:pt x="174" y="0"/>
                  </a:lnTo>
                  <a:lnTo>
                    <a:pt x="174" y="0"/>
                  </a:lnTo>
                  <a:lnTo>
                    <a:pt x="176" y="0"/>
                  </a:lnTo>
                  <a:lnTo>
                    <a:pt x="176" y="0"/>
                  </a:lnTo>
                  <a:lnTo>
                    <a:pt x="176" y="0"/>
                  </a:lnTo>
                  <a:lnTo>
                    <a:pt x="176" y="0"/>
                  </a:lnTo>
                  <a:lnTo>
                    <a:pt x="178" y="0"/>
                  </a:lnTo>
                  <a:lnTo>
                    <a:pt x="178" y="0"/>
                  </a:lnTo>
                  <a:lnTo>
                    <a:pt x="180" y="0"/>
                  </a:lnTo>
                  <a:lnTo>
                    <a:pt x="180" y="0"/>
                  </a:lnTo>
                  <a:lnTo>
                    <a:pt x="180" y="0"/>
                  </a:lnTo>
                  <a:lnTo>
                    <a:pt x="180" y="0"/>
                  </a:lnTo>
                  <a:lnTo>
                    <a:pt x="182" y="0"/>
                  </a:lnTo>
                  <a:lnTo>
                    <a:pt x="182" y="0"/>
                  </a:lnTo>
                  <a:lnTo>
                    <a:pt x="182" y="0"/>
                  </a:lnTo>
                  <a:lnTo>
                    <a:pt x="182" y="0"/>
                  </a:lnTo>
                  <a:lnTo>
                    <a:pt x="342" y="60"/>
                  </a:lnTo>
                  <a:lnTo>
                    <a:pt x="342" y="60"/>
                  </a:lnTo>
                  <a:lnTo>
                    <a:pt x="348" y="64"/>
                  </a:lnTo>
                  <a:lnTo>
                    <a:pt x="350" y="70"/>
                  </a:lnTo>
                  <a:lnTo>
                    <a:pt x="350" y="70"/>
                  </a:lnTo>
                  <a:lnTo>
                    <a:pt x="350" y="74"/>
                  </a:lnTo>
                  <a:lnTo>
                    <a:pt x="346" y="76"/>
                  </a:lnTo>
                  <a:lnTo>
                    <a:pt x="344" y="80"/>
                  </a:lnTo>
                  <a:lnTo>
                    <a:pt x="340" y="80"/>
                  </a:lnTo>
                  <a:lnTo>
                    <a:pt x="340" y="80"/>
                  </a:lnTo>
                  <a:lnTo>
                    <a:pt x="340" y="80"/>
                  </a:lnTo>
                  <a:lnTo>
                    <a:pt x="178" y="80"/>
                  </a:lnTo>
                  <a:lnTo>
                    <a:pt x="178" y="80"/>
                  </a:lnTo>
                  <a:lnTo>
                    <a:pt x="16" y="80"/>
                  </a:lnTo>
                  <a:lnTo>
                    <a:pt x="16" y="80"/>
                  </a:lnTo>
                  <a:lnTo>
                    <a:pt x="12" y="80"/>
                  </a:lnTo>
                  <a:lnTo>
                    <a:pt x="10" y="78"/>
                  </a:lnTo>
                  <a:lnTo>
                    <a:pt x="8" y="74"/>
                  </a:lnTo>
                  <a:lnTo>
                    <a:pt x="6" y="72"/>
                  </a:lnTo>
                  <a:lnTo>
                    <a:pt x="6" y="72"/>
                  </a:lnTo>
                  <a:close/>
                  <a:moveTo>
                    <a:pt x="160" y="42"/>
                  </a:moveTo>
                  <a:lnTo>
                    <a:pt x="160" y="42"/>
                  </a:lnTo>
                  <a:lnTo>
                    <a:pt x="162" y="50"/>
                  </a:lnTo>
                  <a:lnTo>
                    <a:pt x="166" y="54"/>
                  </a:lnTo>
                  <a:lnTo>
                    <a:pt x="170" y="58"/>
                  </a:lnTo>
                  <a:lnTo>
                    <a:pt x="178" y="60"/>
                  </a:lnTo>
                  <a:lnTo>
                    <a:pt x="178" y="60"/>
                  </a:lnTo>
                  <a:lnTo>
                    <a:pt x="184" y="58"/>
                  </a:lnTo>
                  <a:lnTo>
                    <a:pt x="190" y="54"/>
                  </a:lnTo>
                  <a:lnTo>
                    <a:pt x="194" y="50"/>
                  </a:lnTo>
                  <a:lnTo>
                    <a:pt x="196" y="42"/>
                  </a:lnTo>
                  <a:lnTo>
                    <a:pt x="196" y="42"/>
                  </a:lnTo>
                  <a:lnTo>
                    <a:pt x="194" y="36"/>
                  </a:lnTo>
                  <a:lnTo>
                    <a:pt x="190" y="30"/>
                  </a:lnTo>
                  <a:lnTo>
                    <a:pt x="184" y="26"/>
                  </a:lnTo>
                  <a:lnTo>
                    <a:pt x="178" y="24"/>
                  </a:lnTo>
                  <a:lnTo>
                    <a:pt x="178" y="24"/>
                  </a:lnTo>
                  <a:lnTo>
                    <a:pt x="170" y="26"/>
                  </a:lnTo>
                  <a:lnTo>
                    <a:pt x="166" y="30"/>
                  </a:lnTo>
                  <a:lnTo>
                    <a:pt x="162" y="36"/>
                  </a:lnTo>
                  <a:lnTo>
                    <a:pt x="160" y="42"/>
                  </a:lnTo>
                  <a:lnTo>
                    <a:pt x="160" y="42"/>
                  </a:lnTo>
                  <a:close/>
                  <a:moveTo>
                    <a:pt x="346" y="294"/>
                  </a:moveTo>
                  <a:lnTo>
                    <a:pt x="10" y="294"/>
                  </a:lnTo>
                  <a:lnTo>
                    <a:pt x="10" y="294"/>
                  </a:lnTo>
                  <a:lnTo>
                    <a:pt x="6" y="294"/>
                  </a:lnTo>
                  <a:lnTo>
                    <a:pt x="4" y="298"/>
                  </a:lnTo>
                  <a:lnTo>
                    <a:pt x="2" y="300"/>
                  </a:lnTo>
                  <a:lnTo>
                    <a:pt x="0" y="304"/>
                  </a:lnTo>
                  <a:lnTo>
                    <a:pt x="0" y="304"/>
                  </a:lnTo>
                  <a:lnTo>
                    <a:pt x="2" y="308"/>
                  </a:lnTo>
                  <a:lnTo>
                    <a:pt x="4" y="312"/>
                  </a:lnTo>
                  <a:lnTo>
                    <a:pt x="6" y="314"/>
                  </a:lnTo>
                  <a:lnTo>
                    <a:pt x="10" y="314"/>
                  </a:lnTo>
                  <a:lnTo>
                    <a:pt x="346" y="314"/>
                  </a:lnTo>
                  <a:lnTo>
                    <a:pt x="346" y="314"/>
                  </a:lnTo>
                  <a:lnTo>
                    <a:pt x="350" y="314"/>
                  </a:lnTo>
                  <a:lnTo>
                    <a:pt x="352" y="312"/>
                  </a:lnTo>
                  <a:lnTo>
                    <a:pt x="354" y="308"/>
                  </a:lnTo>
                  <a:lnTo>
                    <a:pt x="356" y="304"/>
                  </a:lnTo>
                  <a:lnTo>
                    <a:pt x="356" y="304"/>
                  </a:lnTo>
                  <a:lnTo>
                    <a:pt x="354" y="300"/>
                  </a:lnTo>
                  <a:lnTo>
                    <a:pt x="352" y="298"/>
                  </a:lnTo>
                  <a:lnTo>
                    <a:pt x="350" y="294"/>
                  </a:lnTo>
                  <a:lnTo>
                    <a:pt x="346" y="294"/>
                  </a:lnTo>
                  <a:lnTo>
                    <a:pt x="346" y="294"/>
                  </a:lnTo>
                  <a:close/>
                  <a:moveTo>
                    <a:pt x="230" y="246"/>
                  </a:moveTo>
                  <a:lnTo>
                    <a:pt x="230" y="246"/>
                  </a:lnTo>
                  <a:lnTo>
                    <a:pt x="234" y="244"/>
                  </a:lnTo>
                  <a:lnTo>
                    <a:pt x="238" y="242"/>
                  </a:lnTo>
                  <a:lnTo>
                    <a:pt x="240" y="240"/>
                  </a:lnTo>
                  <a:lnTo>
                    <a:pt x="240" y="236"/>
                  </a:lnTo>
                  <a:lnTo>
                    <a:pt x="240" y="104"/>
                  </a:lnTo>
                  <a:lnTo>
                    <a:pt x="240" y="104"/>
                  </a:lnTo>
                  <a:lnTo>
                    <a:pt x="240" y="100"/>
                  </a:lnTo>
                  <a:lnTo>
                    <a:pt x="238" y="98"/>
                  </a:lnTo>
                  <a:lnTo>
                    <a:pt x="234" y="96"/>
                  </a:lnTo>
                  <a:lnTo>
                    <a:pt x="230" y="94"/>
                  </a:lnTo>
                  <a:lnTo>
                    <a:pt x="208" y="94"/>
                  </a:lnTo>
                  <a:lnTo>
                    <a:pt x="208" y="94"/>
                  </a:lnTo>
                  <a:lnTo>
                    <a:pt x="204" y="96"/>
                  </a:lnTo>
                  <a:lnTo>
                    <a:pt x="200" y="98"/>
                  </a:lnTo>
                  <a:lnTo>
                    <a:pt x="198" y="100"/>
                  </a:lnTo>
                  <a:lnTo>
                    <a:pt x="198" y="104"/>
                  </a:lnTo>
                  <a:lnTo>
                    <a:pt x="198" y="236"/>
                  </a:lnTo>
                  <a:lnTo>
                    <a:pt x="198" y="236"/>
                  </a:lnTo>
                  <a:lnTo>
                    <a:pt x="198" y="240"/>
                  </a:lnTo>
                  <a:lnTo>
                    <a:pt x="200" y="242"/>
                  </a:lnTo>
                  <a:lnTo>
                    <a:pt x="204" y="244"/>
                  </a:lnTo>
                  <a:lnTo>
                    <a:pt x="208" y="246"/>
                  </a:lnTo>
                  <a:lnTo>
                    <a:pt x="230" y="246"/>
                  </a:lnTo>
                  <a:close/>
                  <a:moveTo>
                    <a:pt x="312" y="246"/>
                  </a:moveTo>
                  <a:lnTo>
                    <a:pt x="312" y="246"/>
                  </a:lnTo>
                  <a:lnTo>
                    <a:pt x="316" y="244"/>
                  </a:lnTo>
                  <a:lnTo>
                    <a:pt x="320" y="242"/>
                  </a:lnTo>
                  <a:lnTo>
                    <a:pt x="322" y="240"/>
                  </a:lnTo>
                  <a:lnTo>
                    <a:pt x="322" y="236"/>
                  </a:lnTo>
                  <a:lnTo>
                    <a:pt x="322" y="104"/>
                  </a:lnTo>
                  <a:lnTo>
                    <a:pt x="322" y="104"/>
                  </a:lnTo>
                  <a:lnTo>
                    <a:pt x="322" y="100"/>
                  </a:lnTo>
                  <a:lnTo>
                    <a:pt x="320" y="98"/>
                  </a:lnTo>
                  <a:lnTo>
                    <a:pt x="316" y="96"/>
                  </a:lnTo>
                  <a:lnTo>
                    <a:pt x="312" y="94"/>
                  </a:lnTo>
                  <a:lnTo>
                    <a:pt x="290" y="94"/>
                  </a:lnTo>
                  <a:lnTo>
                    <a:pt x="290" y="94"/>
                  </a:lnTo>
                  <a:lnTo>
                    <a:pt x="286" y="96"/>
                  </a:lnTo>
                  <a:lnTo>
                    <a:pt x="284" y="98"/>
                  </a:lnTo>
                  <a:lnTo>
                    <a:pt x="280" y="100"/>
                  </a:lnTo>
                  <a:lnTo>
                    <a:pt x="280" y="104"/>
                  </a:lnTo>
                  <a:lnTo>
                    <a:pt x="280" y="236"/>
                  </a:lnTo>
                  <a:lnTo>
                    <a:pt x="280" y="236"/>
                  </a:lnTo>
                  <a:lnTo>
                    <a:pt x="280" y="240"/>
                  </a:lnTo>
                  <a:lnTo>
                    <a:pt x="284" y="242"/>
                  </a:lnTo>
                  <a:lnTo>
                    <a:pt x="286" y="244"/>
                  </a:lnTo>
                  <a:lnTo>
                    <a:pt x="290" y="246"/>
                  </a:lnTo>
                  <a:lnTo>
                    <a:pt x="312" y="24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48" name="Group 47">
            <a:extLst>
              <a:ext uri="{FF2B5EF4-FFF2-40B4-BE49-F238E27FC236}">
                <a16:creationId xmlns:a16="http://schemas.microsoft.com/office/drawing/2014/main" id="{B39E2C06-BE0C-4B64-8432-565945394AB5}"/>
              </a:ext>
            </a:extLst>
          </p:cNvPr>
          <p:cNvGrpSpPr/>
          <p:nvPr/>
        </p:nvGrpSpPr>
        <p:grpSpPr>
          <a:xfrm>
            <a:off x="5409433" y="2882974"/>
            <a:ext cx="612000" cy="612000"/>
            <a:chOff x="4974643" y="3474401"/>
            <a:chExt cx="612000" cy="612000"/>
          </a:xfrm>
        </p:grpSpPr>
        <p:sp>
          <p:nvSpPr>
            <p:cNvPr id="49" name="Oval 48">
              <a:extLst>
                <a:ext uri="{FF2B5EF4-FFF2-40B4-BE49-F238E27FC236}">
                  <a16:creationId xmlns:a16="http://schemas.microsoft.com/office/drawing/2014/main" id="{D79C73AE-2007-40E6-AB50-C197B98C3F4E}"/>
                </a:ext>
              </a:extLst>
            </p:cNvPr>
            <p:cNvSpPr/>
            <p:nvPr/>
          </p:nvSpPr>
          <p:spPr bwMode="ltGray">
            <a:xfrm>
              <a:off x="4974643"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50" name="Freeform 4915">
              <a:extLst>
                <a:ext uri="{FF2B5EF4-FFF2-40B4-BE49-F238E27FC236}">
                  <a16:creationId xmlns:a16="http://schemas.microsoft.com/office/drawing/2014/main" id="{8864F3A4-6F18-41A5-B8F0-D6D82C1F672B}"/>
                </a:ext>
              </a:extLst>
            </p:cNvPr>
            <p:cNvSpPr>
              <a:spLocks noEditPoints="1"/>
            </p:cNvSpPr>
            <p:nvPr/>
          </p:nvSpPr>
          <p:spPr bwMode="auto">
            <a:xfrm>
              <a:off x="5056596" y="3626611"/>
              <a:ext cx="448094" cy="385457"/>
            </a:xfrm>
            <a:custGeom>
              <a:avLst/>
              <a:gdLst>
                <a:gd name="T0" fmla="*/ 160 w 372"/>
                <a:gd name="T1" fmla="*/ 242 h 320"/>
                <a:gd name="T2" fmla="*/ 166 w 372"/>
                <a:gd name="T3" fmla="*/ 226 h 320"/>
                <a:gd name="T4" fmla="*/ 210 w 372"/>
                <a:gd name="T5" fmla="*/ 228 h 320"/>
                <a:gd name="T6" fmla="*/ 210 w 372"/>
                <a:gd name="T7" fmla="*/ 246 h 320"/>
                <a:gd name="T8" fmla="*/ 98 w 372"/>
                <a:gd name="T9" fmla="*/ 320 h 320"/>
                <a:gd name="T10" fmla="*/ 372 w 372"/>
                <a:gd name="T11" fmla="*/ 54 h 320"/>
                <a:gd name="T12" fmla="*/ 356 w 372"/>
                <a:gd name="T13" fmla="*/ 92 h 320"/>
                <a:gd name="T14" fmla="*/ 308 w 372"/>
                <a:gd name="T15" fmla="*/ 118 h 320"/>
                <a:gd name="T16" fmla="*/ 266 w 372"/>
                <a:gd name="T17" fmla="*/ 144 h 320"/>
                <a:gd name="T18" fmla="*/ 280 w 372"/>
                <a:gd name="T19" fmla="*/ 154 h 320"/>
                <a:gd name="T20" fmla="*/ 292 w 372"/>
                <a:gd name="T21" fmla="*/ 158 h 320"/>
                <a:gd name="T22" fmla="*/ 288 w 372"/>
                <a:gd name="T23" fmla="*/ 170 h 320"/>
                <a:gd name="T24" fmla="*/ 266 w 372"/>
                <a:gd name="T25" fmla="*/ 172 h 320"/>
                <a:gd name="T26" fmla="*/ 240 w 372"/>
                <a:gd name="T27" fmla="*/ 184 h 320"/>
                <a:gd name="T28" fmla="*/ 196 w 372"/>
                <a:gd name="T29" fmla="*/ 212 h 320"/>
                <a:gd name="T30" fmla="*/ 158 w 372"/>
                <a:gd name="T31" fmla="*/ 206 h 320"/>
                <a:gd name="T32" fmla="*/ 118 w 372"/>
                <a:gd name="T33" fmla="*/ 162 h 320"/>
                <a:gd name="T34" fmla="*/ 98 w 372"/>
                <a:gd name="T35" fmla="*/ 172 h 320"/>
                <a:gd name="T36" fmla="*/ 80 w 372"/>
                <a:gd name="T37" fmla="*/ 164 h 320"/>
                <a:gd name="T38" fmla="*/ 84 w 372"/>
                <a:gd name="T39" fmla="*/ 154 h 320"/>
                <a:gd name="T40" fmla="*/ 104 w 372"/>
                <a:gd name="T41" fmla="*/ 154 h 320"/>
                <a:gd name="T42" fmla="*/ 104 w 372"/>
                <a:gd name="T43" fmla="*/ 140 h 320"/>
                <a:gd name="T44" fmla="*/ 42 w 372"/>
                <a:gd name="T45" fmla="*/ 110 h 320"/>
                <a:gd name="T46" fmla="*/ 4 w 372"/>
                <a:gd name="T47" fmla="*/ 78 h 320"/>
                <a:gd name="T48" fmla="*/ 0 w 372"/>
                <a:gd name="T49" fmla="*/ 46 h 320"/>
                <a:gd name="T50" fmla="*/ 24 w 372"/>
                <a:gd name="T51" fmla="*/ 18 h 320"/>
                <a:gd name="T52" fmla="*/ 66 w 372"/>
                <a:gd name="T53" fmla="*/ 24 h 320"/>
                <a:gd name="T54" fmla="*/ 292 w 372"/>
                <a:gd name="T55" fmla="*/ 0 h 320"/>
                <a:gd name="T56" fmla="*/ 306 w 372"/>
                <a:gd name="T57" fmla="*/ 24 h 320"/>
                <a:gd name="T58" fmla="*/ 348 w 372"/>
                <a:gd name="T59" fmla="*/ 18 h 320"/>
                <a:gd name="T60" fmla="*/ 372 w 372"/>
                <a:gd name="T61" fmla="*/ 46 h 320"/>
                <a:gd name="T62" fmla="*/ 88 w 372"/>
                <a:gd name="T63" fmla="*/ 86 h 320"/>
                <a:gd name="T64" fmla="*/ 74 w 372"/>
                <a:gd name="T65" fmla="*/ 80 h 320"/>
                <a:gd name="T66" fmla="*/ 62 w 372"/>
                <a:gd name="T67" fmla="*/ 80 h 320"/>
                <a:gd name="T68" fmla="*/ 62 w 372"/>
                <a:gd name="T69" fmla="*/ 68 h 320"/>
                <a:gd name="T70" fmla="*/ 60 w 372"/>
                <a:gd name="T71" fmla="*/ 38 h 320"/>
                <a:gd name="T72" fmla="*/ 22 w 372"/>
                <a:gd name="T73" fmla="*/ 38 h 320"/>
                <a:gd name="T74" fmla="*/ 20 w 372"/>
                <a:gd name="T75" fmla="*/ 74 h 320"/>
                <a:gd name="T76" fmla="*/ 70 w 372"/>
                <a:gd name="T77" fmla="*/ 104 h 320"/>
                <a:gd name="T78" fmla="*/ 272 w 372"/>
                <a:gd name="T79" fmla="*/ 26 h 320"/>
                <a:gd name="T80" fmla="*/ 234 w 372"/>
                <a:gd name="T81" fmla="*/ 20 h 320"/>
                <a:gd name="T82" fmla="*/ 226 w 372"/>
                <a:gd name="T83" fmla="*/ 28 h 320"/>
                <a:gd name="T84" fmla="*/ 234 w 372"/>
                <a:gd name="T85" fmla="*/ 36 h 320"/>
                <a:gd name="T86" fmla="*/ 240 w 372"/>
                <a:gd name="T87" fmla="*/ 112 h 320"/>
                <a:gd name="T88" fmla="*/ 192 w 372"/>
                <a:gd name="T89" fmla="*/ 176 h 320"/>
                <a:gd name="T90" fmla="*/ 186 w 372"/>
                <a:gd name="T91" fmla="*/ 186 h 320"/>
                <a:gd name="T92" fmla="*/ 196 w 372"/>
                <a:gd name="T93" fmla="*/ 192 h 320"/>
                <a:gd name="T94" fmla="*/ 236 w 372"/>
                <a:gd name="T95" fmla="*/ 158 h 320"/>
                <a:gd name="T96" fmla="*/ 272 w 372"/>
                <a:gd name="T97" fmla="*/ 28 h 320"/>
                <a:gd name="T98" fmla="*/ 350 w 372"/>
                <a:gd name="T99" fmla="*/ 38 h 320"/>
                <a:gd name="T100" fmla="*/ 312 w 372"/>
                <a:gd name="T101" fmla="*/ 38 h 320"/>
                <a:gd name="T102" fmla="*/ 310 w 372"/>
                <a:gd name="T103" fmla="*/ 68 h 320"/>
                <a:gd name="T104" fmla="*/ 310 w 372"/>
                <a:gd name="T105" fmla="*/ 80 h 320"/>
                <a:gd name="T106" fmla="*/ 298 w 372"/>
                <a:gd name="T107" fmla="*/ 80 h 320"/>
                <a:gd name="T108" fmla="*/ 284 w 372"/>
                <a:gd name="T109" fmla="*/ 86 h 320"/>
                <a:gd name="T110" fmla="*/ 322 w 372"/>
                <a:gd name="T111" fmla="*/ 96 h 320"/>
                <a:gd name="T112" fmla="*/ 356 w 372"/>
                <a:gd name="T113" fmla="*/ 54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72" h="320">
                  <a:moveTo>
                    <a:pt x="170" y="250"/>
                  </a:moveTo>
                  <a:lnTo>
                    <a:pt x="170" y="250"/>
                  </a:lnTo>
                  <a:lnTo>
                    <a:pt x="166" y="248"/>
                  </a:lnTo>
                  <a:lnTo>
                    <a:pt x="162" y="246"/>
                  </a:lnTo>
                  <a:lnTo>
                    <a:pt x="160" y="242"/>
                  </a:lnTo>
                  <a:lnTo>
                    <a:pt x="158" y="238"/>
                  </a:lnTo>
                  <a:lnTo>
                    <a:pt x="158" y="238"/>
                  </a:lnTo>
                  <a:lnTo>
                    <a:pt x="160" y="232"/>
                  </a:lnTo>
                  <a:lnTo>
                    <a:pt x="162" y="228"/>
                  </a:lnTo>
                  <a:lnTo>
                    <a:pt x="166" y="226"/>
                  </a:lnTo>
                  <a:lnTo>
                    <a:pt x="170" y="226"/>
                  </a:lnTo>
                  <a:lnTo>
                    <a:pt x="202" y="226"/>
                  </a:lnTo>
                  <a:lnTo>
                    <a:pt x="202" y="226"/>
                  </a:lnTo>
                  <a:lnTo>
                    <a:pt x="206" y="226"/>
                  </a:lnTo>
                  <a:lnTo>
                    <a:pt x="210" y="228"/>
                  </a:lnTo>
                  <a:lnTo>
                    <a:pt x="212" y="232"/>
                  </a:lnTo>
                  <a:lnTo>
                    <a:pt x="214" y="238"/>
                  </a:lnTo>
                  <a:lnTo>
                    <a:pt x="214" y="238"/>
                  </a:lnTo>
                  <a:lnTo>
                    <a:pt x="212" y="242"/>
                  </a:lnTo>
                  <a:lnTo>
                    <a:pt x="210" y="246"/>
                  </a:lnTo>
                  <a:lnTo>
                    <a:pt x="206" y="248"/>
                  </a:lnTo>
                  <a:lnTo>
                    <a:pt x="202" y="250"/>
                  </a:lnTo>
                  <a:lnTo>
                    <a:pt x="170" y="250"/>
                  </a:lnTo>
                  <a:close/>
                  <a:moveTo>
                    <a:pt x="130" y="264"/>
                  </a:moveTo>
                  <a:lnTo>
                    <a:pt x="98" y="320"/>
                  </a:lnTo>
                  <a:lnTo>
                    <a:pt x="274" y="320"/>
                  </a:lnTo>
                  <a:lnTo>
                    <a:pt x="242" y="264"/>
                  </a:lnTo>
                  <a:lnTo>
                    <a:pt x="130" y="264"/>
                  </a:lnTo>
                  <a:close/>
                  <a:moveTo>
                    <a:pt x="372" y="54"/>
                  </a:moveTo>
                  <a:lnTo>
                    <a:pt x="372" y="54"/>
                  </a:lnTo>
                  <a:lnTo>
                    <a:pt x="372" y="64"/>
                  </a:lnTo>
                  <a:lnTo>
                    <a:pt x="370" y="72"/>
                  </a:lnTo>
                  <a:lnTo>
                    <a:pt x="368" y="78"/>
                  </a:lnTo>
                  <a:lnTo>
                    <a:pt x="362" y="86"/>
                  </a:lnTo>
                  <a:lnTo>
                    <a:pt x="356" y="92"/>
                  </a:lnTo>
                  <a:lnTo>
                    <a:pt x="350" y="98"/>
                  </a:lnTo>
                  <a:lnTo>
                    <a:pt x="330" y="110"/>
                  </a:lnTo>
                  <a:lnTo>
                    <a:pt x="330" y="110"/>
                  </a:lnTo>
                  <a:lnTo>
                    <a:pt x="308" y="118"/>
                  </a:lnTo>
                  <a:lnTo>
                    <a:pt x="308" y="118"/>
                  </a:lnTo>
                  <a:lnTo>
                    <a:pt x="282" y="130"/>
                  </a:lnTo>
                  <a:lnTo>
                    <a:pt x="272" y="136"/>
                  </a:lnTo>
                  <a:lnTo>
                    <a:pt x="268" y="140"/>
                  </a:lnTo>
                  <a:lnTo>
                    <a:pt x="266" y="144"/>
                  </a:lnTo>
                  <a:lnTo>
                    <a:pt x="266" y="144"/>
                  </a:lnTo>
                  <a:lnTo>
                    <a:pt x="266" y="150"/>
                  </a:lnTo>
                  <a:lnTo>
                    <a:pt x="268" y="154"/>
                  </a:lnTo>
                  <a:lnTo>
                    <a:pt x="268" y="154"/>
                  </a:lnTo>
                  <a:lnTo>
                    <a:pt x="274" y="156"/>
                  </a:lnTo>
                  <a:lnTo>
                    <a:pt x="280" y="154"/>
                  </a:lnTo>
                  <a:lnTo>
                    <a:pt x="280" y="154"/>
                  </a:lnTo>
                  <a:lnTo>
                    <a:pt x="284" y="154"/>
                  </a:lnTo>
                  <a:lnTo>
                    <a:pt x="288" y="154"/>
                  </a:lnTo>
                  <a:lnTo>
                    <a:pt x="290" y="156"/>
                  </a:lnTo>
                  <a:lnTo>
                    <a:pt x="292" y="158"/>
                  </a:lnTo>
                  <a:lnTo>
                    <a:pt x="292" y="158"/>
                  </a:lnTo>
                  <a:lnTo>
                    <a:pt x="292" y="162"/>
                  </a:lnTo>
                  <a:lnTo>
                    <a:pt x="292" y="164"/>
                  </a:lnTo>
                  <a:lnTo>
                    <a:pt x="290" y="168"/>
                  </a:lnTo>
                  <a:lnTo>
                    <a:pt x="288" y="170"/>
                  </a:lnTo>
                  <a:lnTo>
                    <a:pt x="288" y="170"/>
                  </a:lnTo>
                  <a:lnTo>
                    <a:pt x="282" y="172"/>
                  </a:lnTo>
                  <a:lnTo>
                    <a:pt x="274" y="172"/>
                  </a:lnTo>
                  <a:lnTo>
                    <a:pt x="274" y="172"/>
                  </a:lnTo>
                  <a:lnTo>
                    <a:pt x="266" y="172"/>
                  </a:lnTo>
                  <a:lnTo>
                    <a:pt x="258" y="166"/>
                  </a:lnTo>
                  <a:lnTo>
                    <a:pt x="258" y="166"/>
                  </a:lnTo>
                  <a:lnTo>
                    <a:pt x="254" y="162"/>
                  </a:lnTo>
                  <a:lnTo>
                    <a:pt x="254" y="162"/>
                  </a:lnTo>
                  <a:lnTo>
                    <a:pt x="240" y="184"/>
                  </a:lnTo>
                  <a:lnTo>
                    <a:pt x="232" y="192"/>
                  </a:lnTo>
                  <a:lnTo>
                    <a:pt x="224" y="200"/>
                  </a:lnTo>
                  <a:lnTo>
                    <a:pt x="214" y="206"/>
                  </a:lnTo>
                  <a:lnTo>
                    <a:pt x="206" y="210"/>
                  </a:lnTo>
                  <a:lnTo>
                    <a:pt x="196" y="212"/>
                  </a:lnTo>
                  <a:lnTo>
                    <a:pt x="186" y="212"/>
                  </a:lnTo>
                  <a:lnTo>
                    <a:pt x="186" y="212"/>
                  </a:lnTo>
                  <a:lnTo>
                    <a:pt x="176" y="212"/>
                  </a:lnTo>
                  <a:lnTo>
                    <a:pt x="166" y="210"/>
                  </a:lnTo>
                  <a:lnTo>
                    <a:pt x="158" y="206"/>
                  </a:lnTo>
                  <a:lnTo>
                    <a:pt x="148" y="200"/>
                  </a:lnTo>
                  <a:lnTo>
                    <a:pt x="140" y="192"/>
                  </a:lnTo>
                  <a:lnTo>
                    <a:pt x="132" y="184"/>
                  </a:lnTo>
                  <a:lnTo>
                    <a:pt x="118" y="162"/>
                  </a:lnTo>
                  <a:lnTo>
                    <a:pt x="118" y="162"/>
                  </a:lnTo>
                  <a:lnTo>
                    <a:pt x="114" y="166"/>
                  </a:lnTo>
                  <a:lnTo>
                    <a:pt x="114" y="166"/>
                  </a:lnTo>
                  <a:lnTo>
                    <a:pt x="106" y="172"/>
                  </a:lnTo>
                  <a:lnTo>
                    <a:pt x="98" y="172"/>
                  </a:lnTo>
                  <a:lnTo>
                    <a:pt x="98" y="172"/>
                  </a:lnTo>
                  <a:lnTo>
                    <a:pt x="90" y="172"/>
                  </a:lnTo>
                  <a:lnTo>
                    <a:pt x="84" y="170"/>
                  </a:lnTo>
                  <a:lnTo>
                    <a:pt x="84" y="170"/>
                  </a:lnTo>
                  <a:lnTo>
                    <a:pt x="82" y="168"/>
                  </a:lnTo>
                  <a:lnTo>
                    <a:pt x="80" y="164"/>
                  </a:lnTo>
                  <a:lnTo>
                    <a:pt x="80" y="162"/>
                  </a:lnTo>
                  <a:lnTo>
                    <a:pt x="80" y="158"/>
                  </a:lnTo>
                  <a:lnTo>
                    <a:pt x="80" y="158"/>
                  </a:lnTo>
                  <a:lnTo>
                    <a:pt x="82" y="156"/>
                  </a:lnTo>
                  <a:lnTo>
                    <a:pt x="84" y="154"/>
                  </a:lnTo>
                  <a:lnTo>
                    <a:pt x="88" y="154"/>
                  </a:lnTo>
                  <a:lnTo>
                    <a:pt x="92" y="154"/>
                  </a:lnTo>
                  <a:lnTo>
                    <a:pt x="92" y="154"/>
                  </a:lnTo>
                  <a:lnTo>
                    <a:pt x="98" y="156"/>
                  </a:lnTo>
                  <a:lnTo>
                    <a:pt x="104" y="154"/>
                  </a:lnTo>
                  <a:lnTo>
                    <a:pt x="104" y="154"/>
                  </a:lnTo>
                  <a:lnTo>
                    <a:pt x="106" y="150"/>
                  </a:lnTo>
                  <a:lnTo>
                    <a:pt x="106" y="144"/>
                  </a:lnTo>
                  <a:lnTo>
                    <a:pt x="106" y="144"/>
                  </a:lnTo>
                  <a:lnTo>
                    <a:pt x="104" y="140"/>
                  </a:lnTo>
                  <a:lnTo>
                    <a:pt x="100" y="136"/>
                  </a:lnTo>
                  <a:lnTo>
                    <a:pt x="90" y="130"/>
                  </a:lnTo>
                  <a:lnTo>
                    <a:pt x="64" y="118"/>
                  </a:lnTo>
                  <a:lnTo>
                    <a:pt x="64" y="118"/>
                  </a:lnTo>
                  <a:lnTo>
                    <a:pt x="42" y="110"/>
                  </a:lnTo>
                  <a:lnTo>
                    <a:pt x="42" y="110"/>
                  </a:lnTo>
                  <a:lnTo>
                    <a:pt x="22" y="98"/>
                  </a:lnTo>
                  <a:lnTo>
                    <a:pt x="16" y="92"/>
                  </a:lnTo>
                  <a:lnTo>
                    <a:pt x="10" y="86"/>
                  </a:lnTo>
                  <a:lnTo>
                    <a:pt x="4" y="78"/>
                  </a:lnTo>
                  <a:lnTo>
                    <a:pt x="2" y="72"/>
                  </a:lnTo>
                  <a:lnTo>
                    <a:pt x="0" y="64"/>
                  </a:lnTo>
                  <a:lnTo>
                    <a:pt x="0" y="54"/>
                  </a:lnTo>
                  <a:lnTo>
                    <a:pt x="0" y="54"/>
                  </a:lnTo>
                  <a:lnTo>
                    <a:pt x="0" y="46"/>
                  </a:lnTo>
                  <a:lnTo>
                    <a:pt x="2" y="40"/>
                  </a:lnTo>
                  <a:lnTo>
                    <a:pt x="6" y="32"/>
                  </a:lnTo>
                  <a:lnTo>
                    <a:pt x="12" y="26"/>
                  </a:lnTo>
                  <a:lnTo>
                    <a:pt x="18" y="22"/>
                  </a:lnTo>
                  <a:lnTo>
                    <a:pt x="24" y="18"/>
                  </a:lnTo>
                  <a:lnTo>
                    <a:pt x="32" y="16"/>
                  </a:lnTo>
                  <a:lnTo>
                    <a:pt x="42" y="14"/>
                  </a:lnTo>
                  <a:lnTo>
                    <a:pt x="42" y="14"/>
                  </a:lnTo>
                  <a:lnTo>
                    <a:pt x="54" y="18"/>
                  </a:lnTo>
                  <a:lnTo>
                    <a:pt x="66" y="24"/>
                  </a:lnTo>
                  <a:lnTo>
                    <a:pt x="76" y="32"/>
                  </a:lnTo>
                  <a:lnTo>
                    <a:pt x="82" y="44"/>
                  </a:lnTo>
                  <a:lnTo>
                    <a:pt x="82" y="44"/>
                  </a:lnTo>
                  <a:lnTo>
                    <a:pt x="80" y="0"/>
                  </a:lnTo>
                  <a:lnTo>
                    <a:pt x="292" y="0"/>
                  </a:lnTo>
                  <a:lnTo>
                    <a:pt x="292" y="0"/>
                  </a:lnTo>
                  <a:lnTo>
                    <a:pt x="290" y="44"/>
                  </a:lnTo>
                  <a:lnTo>
                    <a:pt x="290" y="44"/>
                  </a:lnTo>
                  <a:lnTo>
                    <a:pt x="296" y="32"/>
                  </a:lnTo>
                  <a:lnTo>
                    <a:pt x="306" y="24"/>
                  </a:lnTo>
                  <a:lnTo>
                    <a:pt x="318" y="18"/>
                  </a:lnTo>
                  <a:lnTo>
                    <a:pt x="330" y="14"/>
                  </a:lnTo>
                  <a:lnTo>
                    <a:pt x="330" y="14"/>
                  </a:lnTo>
                  <a:lnTo>
                    <a:pt x="340" y="16"/>
                  </a:lnTo>
                  <a:lnTo>
                    <a:pt x="348" y="18"/>
                  </a:lnTo>
                  <a:lnTo>
                    <a:pt x="354" y="22"/>
                  </a:lnTo>
                  <a:lnTo>
                    <a:pt x="360" y="26"/>
                  </a:lnTo>
                  <a:lnTo>
                    <a:pt x="366" y="32"/>
                  </a:lnTo>
                  <a:lnTo>
                    <a:pt x="370" y="40"/>
                  </a:lnTo>
                  <a:lnTo>
                    <a:pt x="372" y="46"/>
                  </a:lnTo>
                  <a:lnTo>
                    <a:pt x="372" y="54"/>
                  </a:lnTo>
                  <a:lnTo>
                    <a:pt x="372" y="54"/>
                  </a:lnTo>
                  <a:close/>
                  <a:moveTo>
                    <a:pt x="96" y="114"/>
                  </a:moveTo>
                  <a:lnTo>
                    <a:pt x="96" y="114"/>
                  </a:lnTo>
                  <a:lnTo>
                    <a:pt x="88" y="86"/>
                  </a:lnTo>
                  <a:lnTo>
                    <a:pt x="82" y="56"/>
                  </a:lnTo>
                  <a:lnTo>
                    <a:pt x="82" y="56"/>
                  </a:lnTo>
                  <a:lnTo>
                    <a:pt x="80" y="68"/>
                  </a:lnTo>
                  <a:lnTo>
                    <a:pt x="74" y="80"/>
                  </a:lnTo>
                  <a:lnTo>
                    <a:pt x="74" y="80"/>
                  </a:lnTo>
                  <a:lnTo>
                    <a:pt x="72" y="82"/>
                  </a:lnTo>
                  <a:lnTo>
                    <a:pt x="68" y="82"/>
                  </a:lnTo>
                  <a:lnTo>
                    <a:pt x="66" y="82"/>
                  </a:lnTo>
                  <a:lnTo>
                    <a:pt x="62" y="80"/>
                  </a:lnTo>
                  <a:lnTo>
                    <a:pt x="62" y="80"/>
                  </a:lnTo>
                  <a:lnTo>
                    <a:pt x="60" y="78"/>
                  </a:lnTo>
                  <a:lnTo>
                    <a:pt x="60" y="74"/>
                  </a:lnTo>
                  <a:lnTo>
                    <a:pt x="60" y="72"/>
                  </a:lnTo>
                  <a:lnTo>
                    <a:pt x="62" y="68"/>
                  </a:lnTo>
                  <a:lnTo>
                    <a:pt x="62" y="68"/>
                  </a:lnTo>
                  <a:lnTo>
                    <a:pt x="66" y="62"/>
                  </a:lnTo>
                  <a:lnTo>
                    <a:pt x="66" y="54"/>
                  </a:lnTo>
                  <a:lnTo>
                    <a:pt x="66" y="54"/>
                  </a:lnTo>
                  <a:lnTo>
                    <a:pt x="64" y="46"/>
                  </a:lnTo>
                  <a:lnTo>
                    <a:pt x="60" y="38"/>
                  </a:lnTo>
                  <a:lnTo>
                    <a:pt x="52" y="32"/>
                  </a:lnTo>
                  <a:lnTo>
                    <a:pt x="42" y="30"/>
                  </a:lnTo>
                  <a:lnTo>
                    <a:pt x="42" y="30"/>
                  </a:lnTo>
                  <a:lnTo>
                    <a:pt x="32" y="32"/>
                  </a:lnTo>
                  <a:lnTo>
                    <a:pt x="22" y="38"/>
                  </a:lnTo>
                  <a:lnTo>
                    <a:pt x="18" y="46"/>
                  </a:lnTo>
                  <a:lnTo>
                    <a:pt x="16" y="54"/>
                  </a:lnTo>
                  <a:lnTo>
                    <a:pt x="16" y="54"/>
                  </a:lnTo>
                  <a:lnTo>
                    <a:pt x="16" y="64"/>
                  </a:lnTo>
                  <a:lnTo>
                    <a:pt x="20" y="74"/>
                  </a:lnTo>
                  <a:lnTo>
                    <a:pt x="32" y="84"/>
                  </a:lnTo>
                  <a:lnTo>
                    <a:pt x="50" y="96"/>
                  </a:lnTo>
                  <a:lnTo>
                    <a:pt x="50" y="96"/>
                  </a:lnTo>
                  <a:lnTo>
                    <a:pt x="70" y="104"/>
                  </a:lnTo>
                  <a:lnTo>
                    <a:pt x="70" y="104"/>
                  </a:lnTo>
                  <a:lnTo>
                    <a:pt x="96" y="114"/>
                  </a:lnTo>
                  <a:lnTo>
                    <a:pt x="96" y="114"/>
                  </a:lnTo>
                  <a:close/>
                  <a:moveTo>
                    <a:pt x="272" y="28"/>
                  </a:moveTo>
                  <a:lnTo>
                    <a:pt x="272" y="28"/>
                  </a:lnTo>
                  <a:lnTo>
                    <a:pt x="272" y="26"/>
                  </a:lnTo>
                  <a:lnTo>
                    <a:pt x="270" y="22"/>
                  </a:lnTo>
                  <a:lnTo>
                    <a:pt x="270" y="22"/>
                  </a:lnTo>
                  <a:lnTo>
                    <a:pt x="268" y="20"/>
                  </a:lnTo>
                  <a:lnTo>
                    <a:pt x="264" y="20"/>
                  </a:lnTo>
                  <a:lnTo>
                    <a:pt x="234" y="20"/>
                  </a:lnTo>
                  <a:lnTo>
                    <a:pt x="234" y="20"/>
                  </a:lnTo>
                  <a:lnTo>
                    <a:pt x="230" y="20"/>
                  </a:lnTo>
                  <a:lnTo>
                    <a:pt x="228" y="22"/>
                  </a:lnTo>
                  <a:lnTo>
                    <a:pt x="226" y="24"/>
                  </a:lnTo>
                  <a:lnTo>
                    <a:pt x="226" y="28"/>
                  </a:lnTo>
                  <a:lnTo>
                    <a:pt x="226" y="28"/>
                  </a:lnTo>
                  <a:lnTo>
                    <a:pt x="226" y="32"/>
                  </a:lnTo>
                  <a:lnTo>
                    <a:pt x="228" y="34"/>
                  </a:lnTo>
                  <a:lnTo>
                    <a:pt x="230" y="36"/>
                  </a:lnTo>
                  <a:lnTo>
                    <a:pt x="234" y="36"/>
                  </a:lnTo>
                  <a:lnTo>
                    <a:pt x="256" y="36"/>
                  </a:lnTo>
                  <a:lnTo>
                    <a:pt x="256" y="36"/>
                  </a:lnTo>
                  <a:lnTo>
                    <a:pt x="252" y="64"/>
                  </a:lnTo>
                  <a:lnTo>
                    <a:pt x="246" y="90"/>
                  </a:lnTo>
                  <a:lnTo>
                    <a:pt x="240" y="112"/>
                  </a:lnTo>
                  <a:lnTo>
                    <a:pt x="232" y="132"/>
                  </a:lnTo>
                  <a:lnTo>
                    <a:pt x="222" y="150"/>
                  </a:lnTo>
                  <a:lnTo>
                    <a:pt x="212" y="162"/>
                  </a:lnTo>
                  <a:lnTo>
                    <a:pt x="202" y="172"/>
                  </a:lnTo>
                  <a:lnTo>
                    <a:pt x="192" y="176"/>
                  </a:lnTo>
                  <a:lnTo>
                    <a:pt x="192" y="176"/>
                  </a:lnTo>
                  <a:lnTo>
                    <a:pt x="190" y="178"/>
                  </a:lnTo>
                  <a:lnTo>
                    <a:pt x="188" y="180"/>
                  </a:lnTo>
                  <a:lnTo>
                    <a:pt x="186" y="184"/>
                  </a:lnTo>
                  <a:lnTo>
                    <a:pt x="186" y="186"/>
                  </a:lnTo>
                  <a:lnTo>
                    <a:pt x="186" y="186"/>
                  </a:lnTo>
                  <a:lnTo>
                    <a:pt x="190" y="190"/>
                  </a:lnTo>
                  <a:lnTo>
                    <a:pt x="194" y="192"/>
                  </a:lnTo>
                  <a:lnTo>
                    <a:pt x="194" y="192"/>
                  </a:lnTo>
                  <a:lnTo>
                    <a:pt x="196" y="192"/>
                  </a:lnTo>
                  <a:lnTo>
                    <a:pt x="196" y="192"/>
                  </a:lnTo>
                  <a:lnTo>
                    <a:pt x="204" y="190"/>
                  </a:lnTo>
                  <a:lnTo>
                    <a:pt x="210" y="186"/>
                  </a:lnTo>
                  <a:lnTo>
                    <a:pt x="224" y="174"/>
                  </a:lnTo>
                  <a:lnTo>
                    <a:pt x="236" y="158"/>
                  </a:lnTo>
                  <a:lnTo>
                    <a:pt x="248" y="138"/>
                  </a:lnTo>
                  <a:lnTo>
                    <a:pt x="256" y="114"/>
                  </a:lnTo>
                  <a:lnTo>
                    <a:pt x="264" y="88"/>
                  </a:lnTo>
                  <a:lnTo>
                    <a:pt x="270" y="58"/>
                  </a:lnTo>
                  <a:lnTo>
                    <a:pt x="272" y="28"/>
                  </a:lnTo>
                  <a:lnTo>
                    <a:pt x="272" y="28"/>
                  </a:lnTo>
                  <a:close/>
                  <a:moveTo>
                    <a:pt x="356" y="54"/>
                  </a:moveTo>
                  <a:lnTo>
                    <a:pt x="356" y="54"/>
                  </a:lnTo>
                  <a:lnTo>
                    <a:pt x="354" y="46"/>
                  </a:lnTo>
                  <a:lnTo>
                    <a:pt x="350" y="38"/>
                  </a:lnTo>
                  <a:lnTo>
                    <a:pt x="340" y="32"/>
                  </a:lnTo>
                  <a:lnTo>
                    <a:pt x="330" y="30"/>
                  </a:lnTo>
                  <a:lnTo>
                    <a:pt x="330" y="30"/>
                  </a:lnTo>
                  <a:lnTo>
                    <a:pt x="320" y="32"/>
                  </a:lnTo>
                  <a:lnTo>
                    <a:pt x="312" y="38"/>
                  </a:lnTo>
                  <a:lnTo>
                    <a:pt x="308" y="46"/>
                  </a:lnTo>
                  <a:lnTo>
                    <a:pt x="306" y="54"/>
                  </a:lnTo>
                  <a:lnTo>
                    <a:pt x="306" y="54"/>
                  </a:lnTo>
                  <a:lnTo>
                    <a:pt x="306" y="62"/>
                  </a:lnTo>
                  <a:lnTo>
                    <a:pt x="310" y="68"/>
                  </a:lnTo>
                  <a:lnTo>
                    <a:pt x="310" y="68"/>
                  </a:lnTo>
                  <a:lnTo>
                    <a:pt x="312" y="72"/>
                  </a:lnTo>
                  <a:lnTo>
                    <a:pt x="312" y="74"/>
                  </a:lnTo>
                  <a:lnTo>
                    <a:pt x="312" y="78"/>
                  </a:lnTo>
                  <a:lnTo>
                    <a:pt x="310" y="80"/>
                  </a:lnTo>
                  <a:lnTo>
                    <a:pt x="310" y="80"/>
                  </a:lnTo>
                  <a:lnTo>
                    <a:pt x="306" y="82"/>
                  </a:lnTo>
                  <a:lnTo>
                    <a:pt x="304" y="82"/>
                  </a:lnTo>
                  <a:lnTo>
                    <a:pt x="300" y="82"/>
                  </a:lnTo>
                  <a:lnTo>
                    <a:pt x="298" y="80"/>
                  </a:lnTo>
                  <a:lnTo>
                    <a:pt x="298" y="80"/>
                  </a:lnTo>
                  <a:lnTo>
                    <a:pt x="292" y="68"/>
                  </a:lnTo>
                  <a:lnTo>
                    <a:pt x="290" y="56"/>
                  </a:lnTo>
                  <a:lnTo>
                    <a:pt x="290" y="56"/>
                  </a:lnTo>
                  <a:lnTo>
                    <a:pt x="284" y="86"/>
                  </a:lnTo>
                  <a:lnTo>
                    <a:pt x="276" y="114"/>
                  </a:lnTo>
                  <a:lnTo>
                    <a:pt x="276" y="114"/>
                  </a:lnTo>
                  <a:lnTo>
                    <a:pt x="302" y="104"/>
                  </a:lnTo>
                  <a:lnTo>
                    <a:pt x="302" y="104"/>
                  </a:lnTo>
                  <a:lnTo>
                    <a:pt x="322" y="96"/>
                  </a:lnTo>
                  <a:lnTo>
                    <a:pt x="322" y="96"/>
                  </a:lnTo>
                  <a:lnTo>
                    <a:pt x="340" y="84"/>
                  </a:lnTo>
                  <a:lnTo>
                    <a:pt x="352" y="74"/>
                  </a:lnTo>
                  <a:lnTo>
                    <a:pt x="356" y="64"/>
                  </a:lnTo>
                  <a:lnTo>
                    <a:pt x="356" y="54"/>
                  </a:lnTo>
                  <a:lnTo>
                    <a:pt x="356" y="5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51" name="Group 50">
            <a:extLst>
              <a:ext uri="{FF2B5EF4-FFF2-40B4-BE49-F238E27FC236}">
                <a16:creationId xmlns:a16="http://schemas.microsoft.com/office/drawing/2014/main" id="{46F362FC-D557-4948-984D-49D889542AF4}"/>
              </a:ext>
            </a:extLst>
          </p:cNvPr>
          <p:cNvGrpSpPr/>
          <p:nvPr/>
        </p:nvGrpSpPr>
        <p:grpSpPr>
          <a:xfrm>
            <a:off x="4528484" y="2882974"/>
            <a:ext cx="612000" cy="612000"/>
            <a:chOff x="3216946" y="3474401"/>
            <a:chExt cx="612000" cy="612000"/>
          </a:xfrm>
        </p:grpSpPr>
        <p:sp>
          <p:nvSpPr>
            <p:cNvPr id="52" name="Oval 51">
              <a:extLst>
                <a:ext uri="{FF2B5EF4-FFF2-40B4-BE49-F238E27FC236}">
                  <a16:creationId xmlns:a16="http://schemas.microsoft.com/office/drawing/2014/main" id="{D4BF98F0-3E54-48C5-9735-C0E0EC5AFE23}"/>
                </a:ext>
              </a:extLst>
            </p:cNvPr>
            <p:cNvSpPr/>
            <p:nvPr/>
          </p:nvSpPr>
          <p:spPr bwMode="ltGray">
            <a:xfrm>
              <a:off x="3216946"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53" name="Freeform 4917">
              <a:extLst>
                <a:ext uri="{FF2B5EF4-FFF2-40B4-BE49-F238E27FC236}">
                  <a16:creationId xmlns:a16="http://schemas.microsoft.com/office/drawing/2014/main" id="{0ABEF9BB-1441-4DEF-B3E6-E71C76355928}"/>
                </a:ext>
              </a:extLst>
            </p:cNvPr>
            <p:cNvSpPr>
              <a:spLocks noEditPoints="1"/>
            </p:cNvSpPr>
            <p:nvPr/>
          </p:nvSpPr>
          <p:spPr bwMode="auto">
            <a:xfrm>
              <a:off x="3310945" y="3544701"/>
              <a:ext cx="424003" cy="501094"/>
            </a:xfrm>
            <a:custGeom>
              <a:avLst/>
              <a:gdLst>
                <a:gd name="T0" fmla="*/ 176 w 352"/>
                <a:gd name="T1" fmla="*/ 222 h 416"/>
                <a:gd name="T2" fmla="*/ 352 w 352"/>
                <a:gd name="T3" fmla="*/ 264 h 416"/>
                <a:gd name="T4" fmla="*/ 328 w 352"/>
                <a:gd name="T5" fmla="*/ 212 h 416"/>
                <a:gd name="T6" fmla="*/ 292 w 352"/>
                <a:gd name="T7" fmla="*/ 186 h 416"/>
                <a:gd name="T8" fmla="*/ 226 w 352"/>
                <a:gd name="T9" fmla="*/ 300 h 416"/>
                <a:gd name="T10" fmla="*/ 232 w 352"/>
                <a:gd name="T11" fmla="*/ 324 h 416"/>
                <a:gd name="T12" fmla="*/ 214 w 352"/>
                <a:gd name="T13" fmla="*/ 362 h 416"/>
                <a:gd name="T14" fmla="*/ 176 w 352"/>
                <a:gd name="T15" fmla="*/ 378 h 416"/>
                <a:gd name="T16" fmla="*/ 146 w 352"/>
                <a:gd name="T17" fmla="*/ 370 h 416"/>
                <a:gd name="T18" fmla="*/ 122 w 352"/>
                <a:gd name="T19" fmla="*/ 334 h 416"/>
                <a:gd name="T20" fmla="*/ 124 w 352"/>
                <a:gd name="T21" fmla="*/ 306 h 416"/>
                <a:gd name="T22" fmla="*/ 62 w 352"/>
                <a:gd name="T23" fmla="*/ 190 h 416"/>
                <a:gd name="T24" fmla="*/ 36 w 352"/>
                <a:gd name="T25" fmla="*/ 200 h 416"/>
                <a:gd name="T26" fmla="*/ 4 w 352"/>
                <a:gd name="T27" fmla="*/ 246 h 416"/>
                <a:gd name="T28" fmla="*/ 0 w 352"/>
                <a:gd name="T29" fmla="*/ 318 h 416"/>
                <a:gd name="T30" fmla="*/ 66 w 352"/>
                <a:gd name="T31" fmla="*/ 384 h 416"/>
                <a:gd name="T32" fmla="*/ 92 w 352"/>
                <a:gd name="T33" fmla="*/ 398 h 416"/>
                <a:gd name="T34" fmla="*/ 176 w 352"/>
                <a:gd name="T35" fmla="*/ 416 h 416"/>
                <a:gd name="T36" fmla="*/ 240 w 352"/>
                <a:gd name="T37" fmla="*/ 406 h 416"/>
                <a:gd name="T38" fmla="*/ 288 w 352"/>
                <a:gd name="T39" fmla="*/ 384 h 416"/>
                <a:gd name="T40" fmla="*/ 338 w 352"/>
                <a:gd name="T41" fmla="*/ 336 h 416"/>
                <a:gd name="T42" fmla="*/ 158 w 352"/>
                <a:gd name="T43" fmla="*/ 250 h 416"/>
                <a:gd name="T44" fmla="*/ 80 w 352"/>
                <a:gd name="T45" fmla="*/ 180 h 416"/>
                <a:gd name="T46" fmla="*/ 92 w 352"/>
                <a:gd name="T47" fmla="*/ 180 h 416"/>
                <a:gd name="T48" fmla="*/ 102 w 352"/>
                <a:gd name="T49" fmla="*/ 76 h 416"/>
                <a:gd name="T50" fmla="*/ 124 w 352"/>
                <a:gd name="T51" fmla="*/ 128 h 416"/>
                <a:gd name="T52" fmla="*/ 176 w 352"/>
                <a:gd name="T53" fmla="*/ 150 h 416"/>
                <a:gd name="T54" fmla="*/ 218 w 352"/>
                <a:gd name="T55" fmla="*/ 138 h 416"/>
                <a:gd name="T56" fmla="*/ 250 w 352"/>
                <a:gd name="T57" fmla="*/ 90 h 416"/>
                <a:gd name="T58" fmla="*/ 246 w 352"/>
                <a:gd name="T59" fmla="*/ 46 h 416"/>
                <a:gd name="T60" fmla="*/ 206 w 352"/>
                <a:gd name="T61" fmla="*/ 6 h 416"/>
                <a:gd name="T62" fmla="*/ 176 w 352"/>
                <a:gd name="T63" fmla="*/ 0 h 416"/>
                <a:gd name="T64" fmla="*/ 134 w 352"/>
                <a:gd name="T65" fmla="*/ 14 h 416"/>
                <a:gd name="T66" fmla="*/ 104 w 352"/>
                <a:gd name="T67" fmla="*/ 60 h 416"/>
                <a:gd name="T68" fmla="*/ 140 w 352"/>
                <a:gd name="T69" fmla="*/ 324 h 416"/>
                <a:gd name="T70" fmla="*/ 152 w 352"/>
                <a:gd name="T71" fmla="*/ 298 h 416"/>
                <a:gd name="T72" fmla="*/ 176 w 352"/>
                <a:gd name="T73" fmla="*/ 288 h 416"/>
                <a:gd name="T74" fmla="*/ 196 w 352"/>
                <a:gd name="T75" fmla="*/ 294 h 416"/>
                <a:gd name="T76" fmla="*/ 210 w 352"/>
                <a:gd name="T77" fmla="*/ 316 h 416"/>
                <a:gd name="T78" fmla="*/ 208 w 352"/>
                <a:gd name="T79" fmla="*/ 338 h 416"/>
                <a:gd name="T80" fmla="*/ 190 w 352"/>
                <a:gd name="T81" fmla="*/ 356 h 416"/>
                <a:gd name="T82" fmla="*/ 168 w 352"/>
                <a:gd name="T83" fmla="*/ 358 h 416"/>
                <a:gd name="T84" fmla="*/ 146 w 352"/>
                <a:gd name="T85" fmla="*/ 344 h 416"/>
                <a:gd name="T86" fmla="*/ 140 w 352"/>
                <a:gd name="T87" fmla="*/ 324 h 416"/>
                <a:gd name="T88" fmla="*/ 168 w 352"/>
                <a:gd name="T89" fmla="*/ 344 h 416"/>
                <a:gd name="T90" fmla="*/ 180 w 352"/>
                <a:gd name="T91" fmla="*/ 346 h 416"/>
                <a:gd name="T92" fmla="*/ 186 w 352"/>
                <a:gd name="T93" fmla="*/ 310 h 416"/>
                <a:gd name="T94" fmla="*/ 180 w 352"/>
                <a:gd name="T95" fmla="*/ 302 h 416"/>
                <a:gd name="T96" fmla="*/ 168 w 352"/>
                <a:gd name="T97" fmla="*/ 304 h 416"/>
                <a:gd name="T98" fmla="*/ 254 w 352"/>
                <a:gd name="T99" fmla="*/ 178 h 416"/>
                <a:gd name="T100" fmla="*/ 176 w 352"/>
                <a:gd name="T101" fmla="*/ 258 h 416"/>
                <a:gd name="T102" fmla="*/ 176 w 352"/>
                <a:gd name="T103" fmla="*/ 268 h 416"/>
                <a:gd name="T104" fmla="*/ 272 w 352"/>
                <a:gd name="T105" fmla="*/ 18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2" h="416">
                  <a:moveTo>
                    <a:pt x="176" y="222"/>
                  </a:moveTo>
                  <a:lnTo>
                    <a:pt x="146" y="178"/>
                  </a:lnTo>
                  <a:lnTo>
                    <a:pt x="206" y="178"/>
                  </a:lnTo>
                  <a:lnTo>
                    <a:pt x="176" y="222"/>
                  </a:lnTo>
                  <a:close/>
                  <a:moveTo>
                    <a:pt x="352" y="318"/>
                  </a:moveTo>
                  <a:lnTo>
                    <a:pt x="352" y="278"/>
                  </a:lnTo>
                  <a:lnTo>
                    <a:pt x="352" y="278"/>
                  </a:lnTo>
                  <a:lnTo>
                    <a:pt x="352" y="264"/>
                  </a:lnTo>
                  <a:lnTo>
                    <a:pt x="348" y="250"/>
                  </a:lnTo>
                  <a:lnTo>
                    <a:pt x="342" y="236"/>
                  </a:lnTo>
                  <a:lnTo>
                    <a:pt x="336" y="224"/>
                  </a:lnTo>
                  <a:lnTo>
                    <a:pt x="328" y="212"/>
                  </a:lnTo>
                  <a:lnTo>
                    <a:pt x="316" y="202"/>
                  </a:lnTo>
                  <a:lnTo>
                    <a:pt x="304" y="192"/>
                  </a:lnTo>
                  <a:lnTo>
                    <a:pt x="292" y="186"/>
                  </a:lnTo>
                  <a:lnTo>
                    <a:pt x="292" y="186"/>
                  </a:lnTo>
                  <a:lnTo>
                    <a:pt x="290" y="190"/>
                  </a:lnTo>
                  <a:lnTo>
                    <a:pt x="222" y="292"/>
                  </a:lnTo>
                  <a:lnTo>
                    <a:pt x="222" y="292"/>
                  </a:lnTo>
                  <a:lnTo>
                    <a:pt x="226" y="300"/>
                  </a:lnTo>
                  <a:lnTo>
                    <a:pt x="228" y="306"/>
                  </a:lnTo>
                  <a:lnTo>
                    <a:pt x="230" y="314"/>
                  </a:lnTo>
                  <a:lnTo>
                    <a:pt x="232" y="324"/>
                  </a:lnTo>
                  <a:lnTo>
                    <a:pt x="232" y="324"/>
                  </a:lnTo>
                  <a:lnTo>
                    <a:pt x="230" y="334"/>
                  </a:lnTo>
                  <a:lnTo>
                    <a:pt x="226" y="344"/>
                  </a:lnTo>
                  <a:lnTo>
                    <a:pt x="222" y="354"/>
                  </a:lnTo>
                  <a:lnTo>
                    <a:pt x="214" y="362"/>
                  </a:lnTo>
                  <a:lnTo>
                    <a:pt x="206" y="370"/>
                  </a:lnTo>
                  <a:lnTo>
                    <a:pt x="198" y="374"/>
                  </a:lnTo>
                  <a:lnTo>
                    <a:pt x="188" y="378"/>
                  </a:lnTo>
                  <a:lnTo>
                    <a:pt x="176" y="378"/>
                  </a:lnTo>
                  <a:lnTo>
                    <a:pt x="176" y="378"/>
                  </a:lnTo>
                  <a:lnTo>
                    <a:pt x="164" y="378"/>
                  </a:lnTo>
                  <a:lnTo>
                    <a:pt x="154" y="374"/>
                  </a:lnTo>
                  <a:lnTo>
                    <a:pt x="146" y="370"/>
                  </a:lnTo>
                  <a:lnTo>
                    <a:pt x="138" y="362"/>
                  </a:lnTo>
                  <a:lnTo>
                    <a:pt x="130" y="354"/>
                  </a:lnTo>
                  <a:lnTo>
                    <a:pt x="126" y="344"/>
                  </a:lnTo>
                  <a:lnTo>
                    <a:pt x="122" y="334"/>
                  </a:lnTo>
                  <a:lnTo>
                    <a:pt x="120" y="324"/>
                  </a:lnTo>
                  <a:lnTo>
                    <a:pt x="120" y="324"/>
                  </a:lnTo>
                  <a:lnTo>
                    <a:pt x="122" y="314"/>
                  </a:lnTo>
                  <a:lnTo>
                    <a:pt x="124" y="306"/>
                  </a:lnTo>
                  <a:lnTo>
                    <a:pt x="126" y="300"/>
                  </a:lnTo>
                  <a:lnTo>
                    <a:pt x="130" y="292"/>
                  </a:lnTo>
                  <a:lnTo>
                    <a:pt x="62" y="190"/>
                  </a:lnTo>
                  <a:lnTo>
                    <a:pt x="62" y="190"/>
                  </a:lnTo>
                  <a:lnTo>
                    <a:pt x="60" y="186"/>
                  </a:lnTo>
                  <a:lnTo>
                    <a:pt x="60" y="186"/>
                  </a:lnTo>
                  <a:lnTo>
                    <a:pt x="48" y="192"/>
                  </a:lnTo>
                  <a:lnTo>
                    <a:pt x="36" y="200"/>
                  </a:lnTo>
                  <a:lnTo>
                    <a:pt x="26" y="210"/>
                  </a:lnTo>
                  <a:lnTo>
                    <a:pt x="16" y="220"/>
                  </a:lnTo>
                  <a:lnTo>
                    <a:pt x="10" y="234"/>
                  </a:lnTo>
                  <a:lnTo>
                    <a:pt x="4" y="246"/>
                  </a:lnTo>
                  <a:lnTo>
                    <a:pt x="0" y="262"/>
                  </a:lnTo>
                  <a:lnTo>
                    <a:pt x="0" y="276"/>
                  </a:lnTo>
                  <a:lnTo>
                    <a:pt x="0" y="318"/>
                  </a:lnTo>
                  <a:lnTo>
                    <a:pt x="0" y="318"/>
                  </a:lnTo>
                  <a:lnTo>
                    <a:pt x="14" y="336"/>
                  </a:lnTo>
                  <a:lnTo>
                    <a:pt x="28" y="354"/>
                  </a:lnTo>
                  <a:lnTo>
                    <a:pt x="46" y="370"/>
                  </a:lnTo>
                  <a:lnTo>
                    <a:pt x="66" y="384"/>
                  </a:lnTo>
                  <a:lnTo>
                    <a:pt x="66" y="296"/>
                  </a:lnTo>
                  <a:lnTo>
                    <a:pt x="92" y="296"/>
                  </a:lnTo>
                  <a:lnTo>
                    <a:pt x="92" y="398"/>
                  </a:lnTo>
                  <a:lnTo>
                    <a:pt x="92" y="398"/>
                  </a:lnTo>
                  <a:lnTo>
                    <a:pt x="112" y="406"/>
                  </a:lnTo>
                  <a:lnTo>
                    <a:pt x="132" y="410"/>
                  </a:lnTo>
                  <a:lnTo>
                    <a:pt x="154" y="414"/>
                  </a:lnTo>
                  <a:lnTo>
                    <a:pt x="176" y="416"/>
                  </a:lnTo>
                  <a:lnTo>
                    <a:pt x="176" y="416"/>
                  </a:lnTo>
                  <a:lnTo>
                    <a:pt x="198" y="414"/>
                  </a:lnTo>
                  <a:lnTo>
                    <a:pt x="220" y="410"/>
                  </a:lnTo>
                  <a:lnTo>
                    <a:pt x="240" y="406"/>
                  </a:lnTo>
                  <a:lnTo>
                    <a:pt x="260" y="398"/>
                  </a:lnTo>
                  <a:lnTo>
                    <a:pt x="260" y="296"/>
                  </a:lnTo>
                  <a:lnTo>
                    <a:pt x="288" y="296"/>
                  </a:lnTo>
                  <a:lnTo>
                    <a:pt x="288" y="384"/>
                  </a:lnTo>
                  <a:lnTo>
                    <a:pt x="288" y="384"/>
                  </a:lnTo>
                  <a:lnTo>
                    <a:pt x="306" y="370"/>
                  </a:lnTo>
                  <a:lnTo>
                    <a:pt x="324" y="354"/>
                  </a:lnTo>
                  <a:lnTo>
                    <a:pt x="338" y="336"/>
                  </a:lnTo>
                  <a:lnTo>
                    <a:pt x="352" y="318"/>
                  </a:lnTo>
                  <a:lnTo>
                    <a:pt x="352" y="318"/>
                  </a:lnTo>
                  <a:close/>
                  <a:moveTo>
                    <a:pt x="110" y="178"/>
                  </a:moveTo>
                  <a:lnTo>
                    <a:pt x="158" y="250"/>
                  </a:lnTo>
                  <a:lnTo>
                    <a:pt x="164" y="240"/>
                  </a:lnTo>
                  <a:lnTo>
                    <a:pt x="122" y="178"/>
                  </a:lnTo>
                  <a:lnTo>
                    <a:pt x="110" y="178"/>
                  </a:lnTo>
                  <a:close/>
                  <a:moveTo>
                    <a:pt x="80" y="180"/>
                  </a:moveTo>
                  <a:lnTo>
                    <a:pt x="142" y="274"/>
                  </a:lnTo>
                  <a:lnTo>
                    <a:pt x="148" y="264"/>
                  </a:lnTo>
                  <a:lnTo>
                    <a:pt x="92" y="180"/>
                  </a:lnTo>
                  <a:lnTo>
                    <a:pt x="92" y="180"/>
                  </a:lnTo>
                  <a:lnTo>
                    <a:pt x="80" y="180"/>
                  </a:lnTo>
                  <a:lnTo>
                    <a:pt x="80" y="180"/>
                  </a:lnTo>
                  <a:close/>
                  <a:moveTo>
                    <a:pt x="102" y="76"/>
                  </a:moveTo>
                  <a:lnTo>
                    <a:pt x="102" y="76"/>
                  </a:lnTo>
                  <a:lnTo>
                    <a:pt x="104" y="90"/>
                  </a:lnTo>
                  <a:lnTo>
                    <a:pt x="108" y="104"/>
                  </a:lnTo>
                  <a:lnTo>
                    <a:pt x="114" y="118"/>
                  </a:lnTo>
                  <a:lnTo>
                    <a:pt x="124" y="128"/>
                  </a:lnTo>
                  <a:lnTo>
                    <a:pt x="134" y="138"/>
                  </a:lnTo>
                  <a:lnTo>
                    <a:pt x="148" y="144"/>
                  </a:lnTo>
                  <a:lnTo>
                    <a:pt x="162" y="148"/>
                  </a:lnTo>
                  <a:lnTo>
                    <a:pt x="176" y="150"/>
                  </a:lnTo>
                  <a:lnTo>
                    <a:pt x="176" y="150"/>
                  </a:lnTo>
                  <a:lnTo>
                    <a:pt x="192" y="148"/>
                  </a:lnTo>
                  <a:lnTo>
                    <a:pt x="206" y="144"/>
                  </a:lnTo>
                  <a:lnTo>
                    <a:pt x="218" y="138"/>
                  </a:lnTo>
                  <a:lnTo>
                    <a:pt x="230" y="128"/>
                  </a:lnTo>
                  <a:lnTo>
                    <a:pt x="238" y="118"/>
                  </a:lnTo>
                  <a:lnTo>
                    <a:pt x="246" y="104"/>
                  </a:lnTo>
                  <a:lnTo>
                    <a:pt x="250" y="90"/>
                  </a:lnTo>
                  <a:lnTo>
                    <a:pt x="252" y="76"/>
                  </a:lnTo>
                  <a:lnTo>
                    <a:pt x="252" y="76"/>
                  </a:lnTo>
                  <a:lnTo>
                    <a:pt x="250" y="60"/>
                  </a:lnTo>
                  <a:lnTo>
                    <a:pt x="246" y="46"/>
                  </a:lnTo>
                  <a:lnTo>
                    <a:pt x="238" y="34"/>
                  </a:lnTo>
                  <a:lnTo>
                    <a:pt x="230" y="22"/>
                  </a:lnTo>
                  <a:lnTo>
                    <a:pt x="218" y="14"/>
                  </a:lnTo>
                  <a:lnTo>
                    <a:pt x="206" y="6"/>
                  </a:lnTo>
                  <a:lnTo>
                    <a:pt x="192" y="2"/>
                  </a:lnTo>
                  <a:lnTo>
                    <a:pt x="176" y="0"/>
                  </a:lnTo>
                  <a:lnTo>
                    <a:pt x="176" y="0"/>
                  </a:lnTo>
                  <a:lnTo>
                    <a:pt x="176" y="0"/>
                  </a:lnTo>
                  <a:lnTo>
                    <a:pt x="176" y="0"/>
                  </a:lnTo>
                  <a:lnTo>
                    <a:pt x="162" y="2"/>
                  </a:lnTo>
                  <a:lnTo>
                    <a:pt x="148" y="6"/>
                  </a:lnTo>
                  <a:lnTo>
                    <a:pt x="134" y="14"/>
                  </a:lnTo>
                  <a:lnTo>
                    <a:pt x="124" y="22"/>
                  </a:lnTo>
                  <a:lnTo>
                    <a:pt x="114" y="34"/>
                  </a:lnTo>
                  <a:lnTo>
                    <a:pt x="108" y="46"/>
                  </a:lnTo>
                  <a:lnTo>
                    <a:pt x="104" y="60"/>
                  </a:lnTo>
                  <a:lnTo>
                    <a:pt x="102" y="76"/>
                  </a:lnTo>
                  <a:lnTo>
                    <a:pt x="102" y="76"/>
                  </a:lnTo>
                  <a:close/>
                  <a:moveTo>
                    <a:pt x="140" y="324"/>
                  </a:moveTo>
                  <a:lnTo>
                    <a:pt x="140" y="324"/>
                  </a:lnTo>
                  <a:lnTo>
                    <a:pt x="142" y="316"/>
                  </a:lnTo>
                  <a:lnTo>
                    <a:pt x="144" y="310"/>
                  </a:lnTo>
                  <a:lnTo>
                    <a:pt x="146" y="304"/>
                  </a:lnTo>
                  <a:lnTo>
                    <a:pt x="152" y="298"/>
                  </a:lnTo>
                  <a:lnTo>
                    <a:pt x="156" y="294"/>
                  </a:lnTo>
                  <a:lnTo>
                    <a:pt x="162" y="292"/>
                  </a:lnTo>
                  <a:lnTo>
                    <a:pt x="168" y="290"/>
                  </a:lnTo>
                  <a:lnTo>
                    <a:pt x="176" y="288"/>
                  </a:lnTo>
                  <a:lnTo>
                    <a:pt x="176" y="288"/>
                  </a:lnTo>
                  <a:lnTo>
                    <a:pt x="184" y="290"/>
                  </a:lnTo>
                  <a:lnTo>
                    <a:pt x="190" y="292"/>
                  </a:lnTo>
                  <a:lnTo>
                    <a:pt x="196" y="294"/>
                  </a:lnTo>
                  <a:lnTo>
                    <a:pt x="200" y="298"/>
                  </a:lnTo>
                  <a:lnTo>
                    <a:pt x="206" y="304"/>
                  </a:lnTo>
                  <a:lnTo>
                    <a:pt x="208" y="310"/>
                  </a:lnTo>
                  <a:lnTo>
                    <a:pt x="210" y="316"/>
                  </a:lnTo>
                  <a:lnTo>
                    <a:pt x="212" y="324"/>
                  </a:lnTo>
                  <a:lnTo>
                    <a:pt x="212" y="324"/>
                  </a:lnTo>
                  <a:lnTo>
                    <a:pt x="210" y="330"/>
                  </a:lnTo>
                  <a:lnTo>
                    <a:pt x="208" y="338"/>
                  </a:lnTo>
                  <a:lnTo>
                    <a:pt x="206" y="344"/>
                  </a:lnTo>
                  <a:lnTo>
                    <a:pt x="200" y="348"/>
                  </a:lnTo>
                  <a:lnTo>
                    <a:pt x="196" y="352"/>
                  </a:lnTo>
                  <a:lnTo>
                    <a:pt x="190" y="356"/>
                  </a:lnTo>
                  <a:lnTo>
                    <a:pt x="184" y="358"/>
                  </a:lnTo>
                  <a:lnTo>
                    <a:pt x="176" y="358"/>
                  </a:lnTo>
                  <a:lnTo>
                    <a:pt x="176" y="358"/>
                  </a:lnTo>
                  <a:lnTo>
                    <a:pt x="168" y="358"/>
                  </a:lnTo>
                  <a:lnTo>
                    <a:pt x="162" y="356"/>
                  </a:lnTo>
                  <a:lnTo>
                    <a:pt x="156" y="352"/>
                  </a:lnTo>
                  <a:lnTo>
                    <a:pt x="152" y="348"/>
                  </a:lnTo>
                  <a:lnTo>
                    <a:pt x="146" y="344"/>
                  </a:lnTo>
                  <a:lnTo>
                    <a:pt x="144" y="338"/>
                  </a:lnTo>
                  <a:lnTo>
                    <a:pt x="142" y="330"/>
                  </a:lnTo>
                  <a:lnTo>
                    <a:pt x="140" y="324"/>
                  </a:lnTo>
                  <a:lnTo>
                    <a:pt x="140" y="324"/>
                  </a:lnTo>
                  <a:close/>
                  <a:moveTo>
                    <a:pt x="166" y="336"/>
                  </a:moveTo>
                  <a:lnTo>
                    <a:pt x="166" y="336"/>
                  </a:lnTo>
                  <a:lnTo>
                    <a:pt x="166" y="340"/>
                  </a:lnTo>
                  <a:lnTo>
                    <a:pt x="168" y="344"/>
                  </a:lnTo>
                  <a:lnTo>
                    <a:pt x="172" y="346"/>
                  </a:lnTo>
                  <a:lnTo>
                    <a:pt x="176" y="346"/>
                  </a:lnTo>
                  <a:lnTo>
                    <a:pt x="176" y="346"/>
                  </a:lnTo>
                  <a:lnTo>
                    <a:pt x="180" y="346"/>
                  </a:lnTo>
                  <a:lnTo>
                    <a:pt x="184" y="344"/>
                  </a:lnTo>
                  <a:lnTo>
                    <a:pt x="186" y="340"/>
                  </a:lnTo>
                  <a:lnTo>
                    <a:pt x="186" y="336"/>
                  </a:lnTo>
                  <a:lnTo>
                    <a:pt x="186" y="310"/>
                  </a:lnTo>
                  <a:lnTo>
                    <a:pt x="186" y="310"/>
                  </a:lnTo>
                  <a:lnTo>
                    <a:pt x="186" y="306"/>
                  </a:lnTo>
                  <a:lnTo>
                    <a:pt x="184" y="304"/>
                  </a:lnTo>
                  <a:lnTo>
                    <a:pt x="180" y="302"/>
                  </a:lnTo>
                  <a:lnTo>
                    <a:pt x="176" y="300"/>
                  </a:lnTo>
                  <a:lnTo>
                    <a:pt x="176" y="300"/>
                  </a:lnTo>
                  <a:lnTo>
                    <a:pt x="172" y="302"/>
                  </a:lnTo>
                  <a:lnTo>
                    <a:pt x="168" y="304"/>
                  </a:lnTo>
                  <a:lnTo>
                    <a:pt x="166" y="306"/>
                  </a:lnTo>
                  <a:lnTo>
                    <a:pt x="166" y="310"/>
                  </a:lnTo>
                  <a:lnTo>
                    <a:pt x="166" y="336"/>
                  </a:lnTo>
                  <a:close/>
                  <a:moveTo>
                    <a:pt x="254" y="178"/>
                  </a:moveTo>
                  <a:lnTo>
                    <a:pt x="230" y="178"/>
                  </a:lnTo>
                  <a:lnTo>
                    <a:pt x="182" y="250"/>
                  </a:lnTo>
                  <a:lnTo>
                    <a:pt x="176" y="258"/>
                  </a:lnTo>
                  <a:lnTo>
                    <a:pt x="176" y="258"/>
                  </a:lnTo>
                  <a:lnTo>
                    <a:pt x="170" y="268"/>
                  </a:lnTo>
                  <a:lnTo>
                    <a:pt x="170" y="268"/>
                  </a:lnTo>
                  <a:lnTo>
                    <a:pt x="176" y="268"/>
                  </a:lnTo>
                  <a:lnTo>
                    <a:pt x="176" y="268"/>
                  </a:lnTo>
                  <a:lnTo>
                    <a:pt x="184" y="268"/>
                  </a:lnTo>
                  <a:lnTo>
                    <a:pt x="192" y="270"/>
                  </a:lnTo>
                  <a:lnTo>
                    <a:pt x="206" y="278"/>
                  </a:lnTo>
                  <a:lnTo>
                    <a:pt x="272" y="180"/>
                  </a:lnTo>
                  <a:lnTo>
                    <a:pt x="272" y="180"/>
                  </a:lnTo>
                  <a:lnTo>
                    <a:pt x="254" y="178"/>
                  </a:lnTo>
                  <a:lnTo>
                    <a:pt x="254" y="17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54" name="Group 53">
            <a:extLst>
              <a:ext uri="{FF2B5EF4-FFF2-40B4-BE49-F238E27FC236}">
                <a16:creationId xmlns:a16="http://schemas.microsoft.com/office/drawing/2014/main" id="{A5B611DA-4926-4231-9DFF-D660E2C04FEF}"/>
              </a:ext>
            </a:extLst>
          </p:cNvPr>
          <p:cNvGrpSpPr/>
          <p:nvPr/>
        </p:nvGrpSpPr>
        <p:grpSpPr>
          <a:xfrm>
            <a:off x="2766586" y="2882974"/>
            <a:ext cx="612000" cy="612000"/>
            <a:chOff x="1467520" y="3474401"/>
            <a:chExt cx="612000" cy="612000"/>
          </a:xfrm>
        </p:grpSpPr>
        <p:sp>
          <p:nvSpPr>
            <p:cNvPr id="55" name="Oval 54">
              <a:extLst>
                <a:ext uri="{FF2B5EF4-FFF2-40B4-BE49-F238E27FC236}">
                  <a16:creationId xmlns:a16="http://schemas.microsoft.com/office/drawing/2014/main" id="{D137965F-32D5-4E19-8A6D-37ED66A4E1A4}"/>
                </a:ext>
              </a:extLst>
            </p:cNvPr>
            <p:cNvSpPr/>
            <p:nvPr/>
          </p:nvSpPr>
          <p:spPr bwMode="ltGray">
            <a:xfrm>
              <a:off x="1467520"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56" name="Freeform 4918">
              <a:extLst>
                <a:ext uri="{FF2B5EF4-FFF2-40B4-BE49-F238E27FC236}">
                  <a16:creationId xmlns:a16="http://schemas.microsoft.com/office/drawing/2014/main" id="{C8199E33-AF4B-4ED4-8FFD-74AAD2738565}"/>
                </a:ext>
              </a:extLst>
            </p:cNvPr>
            <p:cNvSpPr>
              <a:spLocks noEditPoints="1"/>
            </p:cNvSpPr>
            <p:nvPr/>
          </p:nvSpPr>
          <p:spPr bwMode="auto">
            <a:xfrm>
              <a:off x="1626565" y="3541355"/>
              <a:ext cx="293911" cy="491458"/>
            </a:xfrm>
            <a:custGeom>
              <a:avLst/>
              <a:gdLst>
                <a:gd name="T0" fmla="*/ 226 w 244"/>
                <a:gd name="T1" fmla="*/ 162 h 408"/>
                <a:gd name="T2" fmla="*/ 226 w 244"/>
                <a:gd name="T3" fmla="*/ 102 h 408"/>
                <a:gd name="T4" fmla="*/ 220 w 244"/>
                <a:gd name="T5" fmla="*/ 96 h 408"/>
                <a:gd name="T6" fmla="*/ 198 w 244"/>
                <a:gd name="T7" fmla="*/ 104 h 408"/>
                <a:gd name="T8" fmla="*/ 172 w 244"/>
                <a:gd name="T9" fmla="*/ 80 h 408"/>
                <a:gd name="T10" fmla="*/ 84 w 244"/>
                <a:gd name="T11" fmla="*/ 78 h 408"/>
                <a:gd name="T12" fmla="*/ 52 w 244"/>
                <a:gd name="T13" fmla="*/ 92 h 408"/>
                <a:gd name="T14" fmla="*/ 28 w 244"/>
                <a:gd name="T15" fmla="*/ 98 h 408"/>
                <a:gd name="T16" fmla="*/ 20 w 244"/>
                <a:gd name="T17" fmla="*/ 98 h 408"/>
                <a:gd name="T18" fmla="*/ 16 w 244"/>
                <a:gd name="T19" fmla="*/ 162 h 408"/>
                <a:gd name="T20" fmla="*/ 16 w 244"/>
                <a:gd name="T21" fmla="*/ 162 h 408"/>
                <a:gd name="T22" fmla="*/ 2 w 244"/>
                <a:gd name="T23" fmla="*/ 172 h 408"/>
                <a:gd name="T24" fmla="*/ 2 w 244"/>
                <a:gd name="T25" fmla="*/ 186 h 408"/>
                <a:gd name="T26" fmla="*/ 16 w 244"/>
                <a:gd name="T27" fmla="*/ 196 h 408"/>
                <a:gd name="T28" fmla="*/ 16 w 244"/>
                <a:gd name="T29" fmla="*/ 228 h 408"/>
                <a:gd name="T30" fmla="*/ 22 w 244"/>
                <a:gd name="T31" fmla="*/ 236 h 408"/>
                <a:gd name="T32" fmla="*/ 74 w 244"/>
                <a:gd name="T33" fmla="*/ 388 h 408"/>
                <a:gd name="T34" fmla="*/ 86 w 244"/>
                <a:gd name="T35" fmla="*/ 406 h 408"/>
                <a:gd name="T36" fmla="*/ 102 w 244"/>
                <a:gd name="T37" fmla="*/ 406 h 408"/>
                <a:gd name="T38" fmla="*/ 114 w 244"/>
                <a:gd name="T39" fmla="*/ 388 h 408"/>
                <a:gd name="T40" fmla="*/ 118 w 244"/>
                <a:gd name="T41" fmla="*/ 272 h 408"/>
                <a:gd name="T42" fmla="*/ 124 w 244"/>
                <a:gd name="T43" fmla="*/ 272 h 408"/>
                <a:gd name="T44" fmla="*/ 130 w 244"/>
                <a:gd name="T45" fmla="*/ 388 h 408"/>
                <a:gd name="T46" fmla="*/ 136 w 244"/>
                <a:gd name="T47" fmla="*/ 402 h 408"/>
                <a:gd name="T48" fmla="*/ 150 w 244"/>
                <a:gd name="T49" fmla="*/ 408 h 408"/>
                <a:gd name="T50" fmla="*/ 168 w 244"/>
                <a:gd name="T51" fmla="*/ 396 h 408"/>
                <a:gd name="T52" fmla="*/ 222 w 244"/>
                <a:gd name="T53" fmla="*/ 236 h 408"/>
                <a:gd name="T54" fmla="*/ 226 w 244"/>
                <a:gd name="T55" fmla="*/ 228 h 408"/>
                <a:gd name="T56" fmla="*/ 226 w 244"/>
                <a:gd name="T57" fmla="*/ 196 h 408"/>
                <a:gd name="T58" fmla="*/ 238 w 244"/>
                <a:gd name="T59" fmla="*/ 192 h 408"/>
                <a:gd name="T60" fmla="*/ 244 w 244"/>
                <a:gd name="T61" fmla="*/ 180 h 408"/>
                <a:gd name="T62" fmla="*/ 234 w 244"/>
                <a:gd name="T63" fmla="*/ 164 h 408"/>
                <a:gd name="T64" fmla="*/ 34 w 244"/>
                <a:gd name="T65" fmla="*/ 118 h 408"/>
                <a:gd name="T66" fmla="*/ 34 w 244"/>
                <a:gd name="T67" fmla="*/ 222 h 408"/>
                <a:gd name="T68" fmla="*/ 130 w 244"/>
                <a:gd name="T69" fmla="*/ 252 h 408"/>
                <a:gd name="T70" fmla="*/ 210 w 244"/>
                <a:gd name="T71" fmla="*/ 222 h 408"/>
                <a:gd name="T72" fmla="*/ 88 w 244"/>
                <a:gd name="T73" fmla="*/ 28 h 408"/>
                <a:gd name="T74" fmla="*/ 98 w 244"/>
                <a:gd name="T75" fmla="*/ 10 h 408"/>
                <a:gd name="T76" fmla="*/ 114 w 244"/>
                <a:gd name="T77" fmla="*/ 2 h 408"/>
                <a:gd name="T78" fmla="*/ 128 w 244"/>
                <a:gd name="T79" fmla="*/ 2 h 408"/>
                <a:gd name="T80" fmla="*/ 146 w 244"/>
                <a:gd name="T81" fmla="*/ 10 h 408"/>
                <a:gd name="T82" fmla="*/ 156 w 244"/>
                <a:gd name="T83" fmla="*/ 28 h 408"/>
                <a:gd name="T84" fmla="*/ 156 w 244"/>
                <a:gd name="T85" fmla="*/ 42 h 408"/>
                <a:gd name="T86" fmla="*/ 146 w 244"/>
                <a:gd name="T87" fmla="*/ 60 h 408"/>
                <a:gd name="T88" fmla="*/ 128 w 244"/>
                <a:gd name="T89" fmla="*/ 70 h 408"/>
                <a:gd name="T90" fmla="*/ 114 w 244"/>
                <a:gd name="T91" fmla="*/ 70 h 408"/>
                <a:gd name="T92" fmla="*/ 98 w 244"/>
                <a:gd name="T93" fmla="*/ 60 h 408"/>
                <a:gd name="T94" fmla="*/ 88 w 244"/>
                <a:gd name="T95" fmla="*/ 4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408">
                  <a:moveTo>
                    <a:pt x="226" y="162"/>
                  </a:moveTo>
                  <a:lnTo>
                    <a:pt x="226" y="162"/>
                  </a:lnTo>
                  <a:lnTo>
                    <a:pt x="226" y="162"/>
                  </a:lnTo>
                  <a:lnTo>
                    <a:pt x="226" y="106"/>
                  </a:lnTo>
                  <a:lnTo>
                    <a:pt x="226" y="106"/>
                  </a:lnTo>
                  <a:lnTo>
                    <a:pt x="226" y="102"/>
                  </a:lnTo>
                  <a:lnTo>
                    <a:pt x="222" y="98"/>
                  </a:lnTo>
                  <a:lnTo>
                    <a:pt x="222" y="98"/>
                  </a:lnTo>
                  <a:lnTo>
                    <a:pt x="220" y="96"/>
                  </a:lnTo>
                  <a:lnTo>
                    <a:pt x="214" y="98"/>
                  </a:lnTo>
                  <a:lnTo>
                    <a:pt x="198" y="104"/>
                  </a:lnTo>
                  <a:lnTo>
                    <a:pt x="198" y="104"/>
                  </a:lnTo>
                  <a:lnTo>
                    <a:pt x="192" y="94"/>
                  </a:lnTo>
                  <a:lnTo>
                    <a:pt x="182" y="86"/>
                  </a:lnTo>
                  <a:lnTo>
                    <a:pt x="172" y="80"/>
                  </a:lnTo>
                  <a:lnTo>
                    <a:pt x="158" y="78"/>
                  </a:lnTo>
                  <a:lnTo>
                    <a:pt x="84" y="78"/>
                  </a:lnTo>
                  <a:lnTo>
                    <a:pt x="84" y="78"/>
                  </a:lnTo>
                  <a:lnTo>
                    <a:pt x="72" y="80"/>
                  </a:lnTo>
                  <a:lnTo>
                    <a:pt x="60" y="84"/>
                  </a:lnTo>
                  <a:lnTo>
                    <a:pt x="52" y="92"/>
                  </a:lnTo>
                  <a:lnTo>
                    <a:pt x="44" y="104"/>
                  </a:lnTo>
                  <a:lnTo>
                    <a:pt x="28" y="98"/>
                  </a:lnTo>
                  <a:lnTo>
                    <a:pt x="28" y="98"/>
                  </a:lnTo>
                  <a:lnTo>
                    <a:pt x="24" y="96"/>
                  </a:lnTo>
                  <a:lnTo>
                    <a:pt x="20" y="98"/>
                  </a:lnTo>
                  <a:lnTo>
                    <a:pt x="20" y="98"/>
                  </a:lnTo>
                  <a:lnTo>
                    <a:pt x="18" y="102"/>
                  </a:lnTo>
                  <a:lnTo>
                    <a:pt x="16" y="106"/>
                  </a:lnTo>
                  <a:lnTo>
                    <a:pt x="16" y="162"/>
                  </a:lnTo>
                  <a:lnTo>
                    <a:pt x="16" y="162"/>
                  </a:lnTo>
                  <a:lnTo>
                    <a:pt x="16" y="162"/>
                  </a:lnTo>
                  <a:lnTo>
                    <a:pt x="16" y="162"/>
                  </a:lnTo>
                  <a:lnTo>
                    <a:pt x="10" y="164"/>
                  </a:lnTo>
                  <a:lnTo>
                    <a:pt x="4" y="168"/>
                  </a:lnTo>
                  <a:lnTo>
                    <a:pt x="2" y="172"/>
                  </a:lnTo>
                  <a:lnTo>
                    <a:pt x="0" y="180"/>
                  </a:lnTo>
                  <a:lnTo>
                    <a:pt x="0" y="180"/>
                  </a:lnTo>
                  <a:lnTo>
                    <a:pt x="2" y="186"/>
                  </a:lnTo>
                  <a:lnTo>
                    <a:pt x="4" y="192"/>
                  </a:lnTo>
                  <a:lnTo>
                    <a:pt x="10" y="194"/>
                  </a:lnTo>
                  <a:lnTo>
                    <a:pt x="16" y="196"/>
                  </a:lnTo>
                  <a:lnTo>
                    <a:pt x="16" y="196"/>
                  </a:lnTo>
                  <a:lnTo>
                    <a:pt x="16" y="196"/>
                  </a:lnTo>
                  <a:lnTo>
                    <a:pt x="16" y="228"/>
                  </a:lnTo>
                  <a:lnTo>
                    <a:pt x="16" y="228"/>
                  </a:lnTo>
                  <a:lnTo>
                    <a:pt x="18" y="234"/>
                  </a:lnTo>
                  <a:lnTo>
                    <a:pt x="22" y="236"/>
                  </a:lnTo>
                  <a:lnTo>
                    <a:pt x="74" y="256"/>
                  </a:lnTo>
                  <a:lnTo>
                    <a:pt x="74" y="388"/>
                  </a:lnTo>
                  <a:lnTo>
                    <a:pt x="74" y="388"/>
                  </a:lnTo>
                  <a:lnTo>
                    <a:pt x="76" y="396"/>
                  </a:lnTo>
                  <a:lnTo>
                    <a:pt x="80" y="402"/>
                  </a:lnTo>
                  <a:lnTo>
                    <a:pt x="86" y="406"/>
                  </a:lnTo>
                  <a:lnTo>
                    <a:pt x="94" y="408"/>
                  </a:lnTo>
                  <a:lnTo>
                    <a:pt x="94" y="408"/>
                  </a:lnTo>
                  <a:lnTo>
                    <a:pt x="102" y="406"/>
                  </a:lnTo>
                  <a:lnTo>
                    <a:pt x="108" y="402"/>
                  </a:lnTo>
                  <a:lnTo>
                    <a:pt x="112" y="396"/>
                  </a:lnTo>
                  <a:lnTo>
                    <a:pt x="114" y="388"/>
                  </a:lnTo>
                  <a:lnTo>
                    <a:pt x="114" y="270"/>
                  </a:lnTo>
                  <a:lnTo>
                    <a:pt x="118" y="272"/>
                  </a:lnTo>
                  <a:lnTo>
                    <a:pt x="118" y="272"/>
                  </a:lnTo>
                  <a:lnTo>
                    <a:pt x="122" y="274"/>
                  </a:lnTo>
                  <a:lnTo>
                    <a:pt x="122" y="274"/>
                  </a:lnTo>
                  <a:lnTo>
                    <a:pt x="124" y="272"/>
                  </a:lnTo>
                  <a:lnTo>
                    <a:pt x="124" y="272"/>
                  </a:lnTo>
                  <a:lnTo>
                    <a:pt x="130" y="270"/>
                  </a:lnTo>
                  <a:lnTo>
                    <a:pt x="130" y="388"/>
                  </a:lnTo>
                  <a:lnTo>
                    <a:pt x="130" y="388"/>
                  </a:lnTo>
                  <a:lnTo>
                    <a:pt x="132" y="396"/>
                  </a:lnTo>
                  <a:lnTo>
                    <a:pt x="136" y="402"/>
                  </a:lnTo>
                  <a:lnTo>
                    <a:pt x="142" y="406"/>
                  </a:lnTo>
                  <a:lnTo>
                    <a:pt x="150" y="408"/>
                  </a:lnTo>
                  <a:lnTo>
                    <a:pt x="150" y="408"/>
                  </a:lnTo>
                  <a:lnTo>
                    <a:pt x="158" y="406"/>
                  </a:lnTo>
                  <a:lnTo>
                    <a:pt x="164" y="402"/>
                  </a:lnTo>
                  <a:lnTo>
                    <a:pt x="168" y="396"/>
                  </a:lnTo>
                  <a:lnTo>
                    <a:pt x="170" y="388"/>
                  </a:lnTo>
                  <a:lnTo>
                    <a:pt x="170" y="256"/>
                  </a:lnTo>
                  <a:lnTo>
                    <a:pt x="222" y="236"/>
                  </a:lnTo>
                  <a:lnTo>
                    <a:pt x="222" y="236"/>
                  </a:lnTo>
                  <a:lnTo>
                    <a:pt x="226" y="234"/>
                  </a:lnTo>
                  <a:lnTo>
                    <a:pt x="226" y="228"/>
                  </a:lnTo>
                  <a:lnTo>
                    <a:pt x="226" y="196"/>
                  </a:lnTo>
                  <a:lnTo>
                    <a:pt x="226" y="196"/>
                  </a:lnTo>
                  <a:lnTo>
                    <a:pt x="226" y="196"/>
                  </a:lnTo>
                  <a:lnTo>
                    <a:pt x="226" y="196"/>
                  </a:lnTo>
                  <a:lnTo>
                    <a:pt x="234" y="194"/>
                  </a:lnTo>
                  <a:lnTo>
                    <a:pt x="238" y="192"/>
                  </a:lnTo>
                  <a:lnTo>
                    <a:pt x="242" y="186"/>
                  </a:lnTo>
                  <a:lnTo>
                    <a:pt x="244" y="180"/>
                  </a:lnTo>
                  <a:lnTo>
                    <a:pt x="244" y="180"/>
                  </a:lnTo>
                  <a:lnTo>
                    <a:pt x="242" y="172"/>
                  </a:lnTo>
                  <a:lnTo>
                    <a:pt x="238" y="168"/>
                  </a:lnTo>
                  <a:lnTo>
                    <a:pt x="234" y="164"/>
                  </a:lnTo>
                  <a:lnTo>
                    <a:pt x="226" y="162"/>
                  </a:lnTo>
                  <a:lnTo>
                    <a:pt x="226" y="162"/>
                  </a:lnTo>
                  <a:close/>
                  <a:moveTo>
                    <a:pt x="34" y="118"/>
                  </a:moveTo>
                  <a:lnTo>
                    <a:pt x="114" y="148"/>
                  </a:lnTo>
                  <a:lnTo>
                    <a:pt x="114" y="252"/>
                  </a:lnTo>
                  <a:lnTo>
                    <a:pt x="34" y="222"/>
                  </a:lnTo>
                  <a:lnTo>
                    <a:pt x="34" y="118"/>
                  </a:lnTo>
                  <a:close/>
                  <a:moveTo>
                    <a:pt x="210" y="222"/>
                  </a:moveTo>
                  <a:lnTo>
                    <a:pt x="130" y="252"/>
                  </a:lnTo>
                  <a:lnTo>
                    <a:pt x="130" y="148"/>
                  </a:lnTo>
                  <a:lnTo>
                    <a:pt x="210" y="118"/>
                  </a:lnTo>
                  <a:lnTo>
                    <a:pt x="210" y="222"/>
                  </a:lnTo>
                  <a:close/>
                  <a:moveTo>
                    <a:pt x="88" y="36"/>
                  </a:moveTo>
                  <a:lnTo>
                    <a:pt x="88" y="36"/>
                  </a:lnTo>
                  <a:lnTo>
                    <a:pt x="88" y="28"/>
                  </a:lnTo>
                  <a:lnTo>
                    <a:pt x="90" y="22"/>
                  </a:lnTo>
                  <a:lnTo>
                    <a:pt x="94" y="16"/>
                  </a:lnTo>
                  <a:lnTo>
                    <a:pt x="98" y="10"/>
                  </a:lnTo>
                  <a:lnTo>
                    <a:pt x="102" y="6"/>
                  </a:lnTo>
                  <a:lnTo>
                    <a:pt x="108" y="4"/>
                  </a:lnTo>
                  <a:lnTo>
                    <a:pt x="114" y="2"/>
                  </a:lnTo>
                  <a:lnTo>
                    <a:pt x="122" y="0"/>
                  </a:lnTo>
                  <a:lnTo>
                    <a:pt x="122" y="0"/>
                  </a:lnTo>
                  <a:lnTo>
                    <a:pt x="128" y="2"/>
                  </a:lnTo>
                  <a:lnTo>
                    <a:pt x="136" y="4"/>
                  </a:lnTo>
                  <a:lnTo>
                    <a:pt x="142" y="6"/>
                  </a:lnTo>
                  <a:lnTo>
                    <a:pt x="146" y="10"/>
                  </a:lnTo>
                  <a:lnTo>
                    <a:pt x="150" y="16"/>
                  </a:lnTo>
                  <a:lnTo>
                    <a:pt x="154" y="22"/>
                  </a:lnTo>
                  <a:lnTo>
                    <a:pt x="156" y="28"/>
                  </a:lnTo>
                  <a:lnTo>
                    <a:pt x="156" y="36"/>
                  </a:lnTo>
                  <a:lnTo>
                    <a:pt x="156" y="36"/>
                  </a:lnTo>
                  <a:lnTo>
                    <a:pt x="156" y="42"/>
                  </a:lnTo>
                  <a:lnTo>
                    <a:pt x="154" y="48"/>
                  </a:lnTo>
                  <a:lnTo>
                    <a:pt x="150" y="54"/>
                  </a:lnTo>
                  <a:lnTo>
                    <a:pt x="146" y="60"/>
                  </a:lnTo>
                  <a:lnTo>
                    <a:pt x="142" y="64"/>
                  </a:lnTo>
                  <a:lnTo>
                    <a:pt x="136" y="68"/>
                  </a:lnTo>
                  <a:lnTo>
                    <a:pt x="128" y="70"/>
                  </a:lnTo>
                  <a:lnTo>
                    <a:pt x="122" y="70"/>
                  </a:lnTo>
                  <a:lnTo>
                    <a:pt x="122" y="70"/>
                  </a:lnTo>
                  <a:lnTo>
                    <a:pt x="114" y="70"/>
                  </a:lnTo>
                  <a:lnTo>
                    <a:pt x="108" y="68"/>
                  </a:lnTo>
                  <a:lnTo>
                    <a:pt x="102" y="64"/>
                  </a:lnTo>
                  <a:lnTo>
                    <a:pt x="98" y="60"/>
                  </a:lnTo>
                  <a:lnTo>
                    <a:pt x="94" y="54"/>
                  </a:lnTo>
                  <a:lnTo>
                    <a:pt x="90" y="48"/>
                  </a:lnTo>
                  <a:lnTo>
                    <a:pt x="88" y="42"/>
                  </a:lnTo>
                  <a:lnTo>
                    <a:pt x="88" y="36"/>
                  </a:lnTo>
                  <a:lnTo>
                    <a:pt x="88" y="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57" name="Group 56">
            <a:extLst>
              <a:ext uri="{FF2B5EF4-FFF2-40B4-BE49-F238E27FC236}">
                <a16:creationId xmlns:a16="http://schemas.microsoft.com/office/drawing/2014/main" id="{89031124-A9C6-4267-8C58-2CEF60735B33}"/>
              </a:ext>
            </a:extLst>
          </p:cNvPr>
          <p:cNvGrpSpPr/>
          <p:nvPr/>
        </p:nvGrpSpPr>
        <p:grpSpPr>
          <a:xfrm>
            <a:off x="3647535" y="2882974"/>
            <a:ext cx="612000" cy="612000"/>
            <a:chOff x="2342233" y="3474401"/>
            <a:chExt cx="612000" cy="612000"/>
          </a:xfrm>
        </p:grpSpPr>
        <p:sp>
          <p:nvSpPr>
            <p:cNvPr id="58" name="Oval 57">
              <a:extLst>
                <a:ext uri="{FF2B5EF4-FFF2-40B4-BE49-F238E27FC236}">
                  <a16:creationId xmlns:a16="http://schemas.microsoft.com/office/drawing/2014/main" id="{1D592CA5-A230-46F9-A39E-B0F16865BE79}"/>
                </a:ext>
              </a:extLst>
            </p:cNvPr>
            <p:cNvSpPr/>
            <p:nvPr/>
          </p:nvSpPr>
          <p:spPr bwMode="ltGray">
            <a:xfrm>
              <a:off x="2342233"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59" name="Freeform 4919">
              <a:extLst>
                <a:ext uri="{FF2B5EF4-FFF2-40B4-BE49-F238E27FC236}">
                  <a16:creationId xmlns:a16="http://schemas.microsoft.com/office/drawing/2014/main" id="{9CBA1F76-9BF7-49DF-BA49-79B0E5D42328}"/>
                </a:ext>
              </a:extLst>
            </p:cNvPr>
            <p:cNvSpPr>
              <a:spLocks noEditPoints="1"/>
            </p:cNvSpPr>
            <p:nvPr/>
          </p:nvSpPr>
          <p:spPr bwMode="auto">
            <a:xfrm>
              <a:off x="2498868" y="3566383"/>
              <a:ext cx="298730" cy="469776"/>
            </a:xfrm>
            <a:custGeom>
              <a:avLst/>
              <a:gdLst>
                <a:gd name="T0" fmla="*/ 150 w 248"/>
                <a:gd name="T1" fmla="*/ 30 h 390"/>
                <a:gd name="T2" fmla="*/ 160 w 248"/>
                <a:gd name="T3" fmla="*/ 12 h 390"/>
                <a:gd name="T4" fmla="*/ 178 w 248"/>
                <a:gd name="T5" fmla="*/ 2 h 390"/>
                <a:gd name="T6" fmla="*/ 192 w 248"/>
                <a:gd name="T7" fmla="*/ 2 h 390"/>
                <a:gd name="T8" fmla="*/ 212 w 248"/>
                <a:gd name="T9" fmla="*/ 12 h 390"/>
                <a:gd name="T10" fmla="*/ 222 w 248"/>
                <a:gd name="T11" fmla="*/ 30 h 390"/>
                <a:gd name="T12" fmla="*/ 222 w 248"/>
                <a:gd name="T13" fmla="*/ 44 h 390"/>
                <a:gd name="T14" fmla="*/ 212 w 248"/>
                <a:gd name="T15" fmla="*/ 64 h 390"/>
                <a:gd name="T16" fmla="*/ 192 w 248"/>
                <a:gd name="T17" fmla="*/ 74 h 390"/>
                <a:gd name="T18" fmla="*/ 178 w 248"/>
                <a:gd name="T19" fmla="*/ 74 h 390"/>
                <a:gd name="T20" fmla="*/ 160 w 248"/>
                <a:gd name="T21" fmla="*/ 64 h 390"/>
                <a:gd name="T22" fmla="*/ 150 w 248"/>
                <a:gd name="T23" fmla="*/ 44 h 390"/>
                <a:gd name="T24" fmla="*/ 248 w 248"/>
                <a:gd name="T25" fmla="*/ 120 h 390"/>
                <a:gd name="T26" fmla="*/ 242 w 248"/>
                <a:gd name="T27" fmla="*/ 100 h 390"/>
                <a:gd name="T28" fmla="*/ 232 w 248"/>
                <a:gd name="T29" fmla="*/ 90 h 390"/>
                <a:gd name="T30" fmla="*/ 210 w 248"/>
                <a:gd name="T31" fmla="*/ 84 h 390"/>
                <a:gd name="T32" fmla="*/ 194 w 248"/>
                <a:gd name="T33" fmla="*/ 88 h 390"/>
                <a:gd name="T34" fmla="*/ 182 w 248"/>
                <a:gd name="T35" fmla="*/ 98 h 390"/>
                <a:gd name="T36" fmla="*/ 182 w 248"/>
                <a:gd name="T37" fmla="*/ 98 h 390"/>
                <a:gd name="T38" fmla="*/ 84 w 248"/>
                <a:gd name="T39" fmla="*/ 156 h 390"/>
                <a:gd name="T40" fmla="*/ 74 w 248"/>
                <a:gd name="T41" fmla="*/ 160 h 390"/>
                <a:gd name="T42" fmla="*/ 70 w 248"/>
                <a:gd name="T43" fmla="*/ 170 h 390"/>
                <a:gd name="T44" fmla="*/ 80 w 248"/>
                <a:gd name="T45" fmla="*/ 184 h 390"/>
                <a:gd name="T46" fmla="*/ 146 w 248"/>
                <a:gd name="T47" fmla="*/ 186 h 390"/>
                <a:gd name="T48" fmla="*/ 172 w 248"/>
                <a:gd name="T49" fmla="*/ 160 h 390"/>
                <a:gd name="T50" fmla="*/ 138 w 248"/>
                <a:gd name="T51" fmla="*/ 222 h 390"/>
                <a:gd name="T52" fmla="*/ 146 w 248"/>
                <a:gd name="T53" fmla="*/ 212 h 390"/>
                <a:gd name="T54" fmla="*/ 142 w 248"/>
                <a:gd name="T55" fmla="*/ 204 h 390"/>
                <a:gd name="T56" fmla="*/ 50 w 248"/>
                <a:gd name="T57" fmla="*/ 202 h 390"/>
                <a:gd name="T58" fmla="*/ 42 w 248"/>
                <a:gd name="T59" fmla="*/ 204 h 390"/>
                <a:gd name="T60" fmla="*/ 38 w 248"/>
                <a:gd name="T61" fmla="*/ 212 h 390"/>
                <a:gd name="T62" fmla="*/ 46 w 248"/>
                <a:gd name="T63" fmla="*/ 222 h 390"/>
                <a:gd name="T64" fmla="*/ 104 w 248"/>
                <a:gd name="T65" fmla="*/ 224 h 390"/>
                <a:gd name="T66" fmla="*/ 98 w 248"/>
                <a:gd name="T67" fmla="*/ 226 h 390"/>
                <a:gd name="T68" fmla="*/ 94 w 248"/>
                <a:gd name="T69" fmla="*/ 228 h 390"/>
                <a:gd name="T70" fmla="*/ 0 w 248"/>
                <a:gd name="T71" fmla="*/ 324 h 390"/>
                <a:gd name="T72" fmla="*/ 6 w 248"/>
                <a:gd name="T73" fmla="*/ 344 h 390"/>
                <a:gd name="T74" fmla="*/ 20 w 248"/>
                <a:gd name="T75" fmla="*/ 350 h 390"/>
                <a:gd name="T76" fmla="*/ 88 w 248"/>
                <a:gd name="T77" fmla="*/ 290 h 390"/>
                <a:gd name="T78" fmla="*/ 90 w 248"/>
                <a:gd name="T79" fmla="*/ 378 h 390"/>
                <a:gd name="T80" fmla="*/ 108 w 248"/>
                <a:gd name="T81" fmla="*/ 390 h 390"/>
                <a:gd name="T82" fmla="*/ 116 w 248"/>
                <a:gd name="T83" fmla="*/ 388 h 390"/>
                <a:gd name="T84" fmla="*/ 128 w 248"/>
                <a:gd name="T85" fmla="*/ 370 h 390"/>
                <a:gd name="T86" fmla="*/ 216 w 248"/>
                <a:gd name="T87" fmla="*/ 284 h 390"/>
                <a:gd name="T88" fmla="*/ 236 w 248"/>
                <a:gd name="T89" fmla="*/ 282 h 390"/>
                <a:gd name="T90" fmla="*/ 248 w 248"/>
                <a:gd name="T91" fmla="*/ 264 h 390"/>
                <a:gd name="T92" fmla="*/ 248 w 248"/>
                <a:gd name="T93" fmla="*/ 120 h 390"/>
                <a:gd name="T94" fmla="*/ 28 w 248"/>
                <a:gd name="T95" fmla="*/ 202 h 390"/>
                <a:gd name="T96" fmla="*/ 36 w 248"/>
                <a:gd name="T97" fmla="*/ 208 h 390"/>
                <a:gd name="T98" fmla="*/ 42 w 248"/>
                <a:gd name="T99" fmla="*/ 206 h 390"/>
                <a:gd name="T100" fmla="*/ 44 w 248"/>
                <a:gd name="T101" fmla="*/ 196 h 390"/>
                <a:gd name="T102" fmla="*/ 16 w 248"/>
                <a:gd name="T103" fmla="*/ 118 h 390"/>
                <a:gd name="T104" fmla="*/ 8 w 248"/>
                <a:gd name="T105" fmla="*/ 116 h 390"/>
                <a:gd name="T106" fmla="*/ 2 w 248"/>
                <a:gd name="T107" fmla="*/ 120 h 390"/>
                <a:gd name="T108" fmla="*/ 28 w 248"/>
                <a:gd name="T109" fmla="*/ 202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8" h="390">
                  <a:moveTo>
                    <a:pt x="148" y="38"/>
                  </a:moveTo>
                  <a:lnTo>
                    <a:pt x="148" y="38"/>
                  </a:lnTo>
                  <a:lnTo>
                    <a:pt x="150" y="30"/>
                  </a:lnTo>
                  <a:lnTo>
                    <a:pt x="152" y="22"/>
                  </a:lnTo>
                  <a:lnTo>
                    <a:pt x="154" y="16"/>
                  </a:lnTo>
                  <a:lnTo>
                    <a:pt x="160" y="12"/>
                  </a:lnTo>
                  <a:lnTo>
                    <a:pt x="164" y="6"/>
                  </a:lnTo>
                  <a:lnTo>
                    <a:pt x="172" y="4"/>
                  </a:lnTo>
                  <a:lnTo>
                    <a:pt x="178" y="2"/>
                  </a:lnTo>
                  <a:lnTo>
                    <a:pt x="186" y="0"/>
                  </a:lnTo>
                  <a:lnTo>
                    <a:pt x="186" y="0"/>
                  </a:lnTo>
                  <a:lnTo>
                    <a:pt x="192" y="2"/>
                  </a:lnTo>
                  <a:lnTo>
                    <a:pt x="200" y="4"/>
                  </a:lnTo>
                  <a:lnTo>
                    <a:pt x="206" y="6"/>
                  </a:lnTo>
                  <a:lnTo>
                    <a:pt x="212" y="12"/>
                  </a:lnTo>
                  <a:lnTo>
                    <a:pt x="216" y="16"/>
                  </a:lnTo>
                  <a:lnTo>
                    <a:pt x="220" y="22"/>
                  </a:lnTo>
                  <a:lnTo>
                    <a:pt x="222" y="30"/>
                  </a:lnTo>
                  <a:lnTo>
                    <a:pt x="222" y="38"/>
                  </a:lnTo>
                  <a:lnTo>
                    <a:pt x="222" y="38"/>
                  </a:lnTo>
                  <a:lnTo>
                    <a:pt x="222" y="44"/>
                  </a:lnTo>
                  <a:lnTo>
                    <a:pt x="220" y="52"/>
                  </a:lnTo>
                  <a:lnTo>
                    <a:pt x="216" y="58"/>
                  </a:lnTo>
                  <a:lnTo>
                    <a:pt x="212" y="64"/>
                  </a:lnTo>
                  <a:lnTo>
                    <a:pt x="206" y="68"/>
                  </a:lnTo>
                  <a:lnTo>
                    <a:pt x="200" y="72"/>
                  </a:lnTo>
                  <a:lnTo>
                    <a:pt x="192" y="74"/>
                  </a:lnTo>
                  <a:lnTo>
                    <a:pt x="186" y="74"/>
                  </a:lnTo>
                  <a:lnTo>
                    <a:pt x="186" y="74"/>
                  </a:lnTo>
                  <a:lnTo>
                    <a:pt x="178" y="74"/>
                  </a:lnTo>
                  <a:lnTo>
                    <a:pt x="172" y="72"/>
                  </a:lnTo>
                  <a:lnTo>
                    <a:pt x="164" y="68"/>
                  </a:lnTo>
                  <a:lnTo>
                    <a:pt x="160" y="64"/>
                  </a:lnTo>
                  <a:lnTo>
                    <a:pt x="154" y="58"/>
                  </a:lnTo>
                  <a:lnTo>
                    <a:pt x="152" y="52"/>
                  </a:lnTo>
                  <a:lnTo>
                    <a:pt x="150" y="44"/>
                  </a:lnTo>
                  <a:lnTo>
                    <a:pt x="148" y="38"/>
                  </a:lnTo>
                  <a:lnTo>
                    <a:pt x="148" y="38"/>
                  </a:lnTo>
                  <a:close/>
                  <a:moveTo>
                    <a:pt x="248" y="120"/>
                  </a:moveTo>
                  <a:lnTo>
                    <a:pt x="248" y="120"/>
                  </a:lnTo>
                  <a:lnTo>
                    <a:pt x="246" y="106"/>
                  </a:lnTo>
                  <a:lnTo>
                    <a:pt x="242" y="100"/>
                  </a:lnTo>
                  <a:lnTo>
                    <a:pt x="238" y="96"/>
                  </a:lnTo>
                  <a:lnTo>
                    <a:pt x="238" y="96"/>
                  </a:lnTo>
                  <a:lnTo>
                    <a:pt x="232" y="90"/>
                  </a:lnTo>
                  <a:lnTo>
                    <a:pt x="226" y="88"/>
                  </a:lnTo>
                  <a:lnTo>
                    <a:pt x="218" y="84"/>
                  </a:lnTo>
                  <a:lnTo>
                    <a:pt x="210" y="84"/>
                  </a:lnTo>
                  <a:lnTo>
                    <a:pt x="210" y="84"/>
                  </a:lnTo>
                  <a:lnTo>
                    <a:pt x="202" y="86"/>
                  </a:lnTo>
                  <a:lnTo>
                    <a:pt x="194" y="88"/>
                  </a:lnTo>
                  <a:lnTo>
                    <a:pt x="188" y="92"/>
                  </a:lnTo>
                  <a:lnTo>
                    <a:pt x="182" y="98"/>
                  </a:lnTo>
                  <a:lnTo>
                    <a:pt x="182" y="98"/>
                  </a:lnTo>
                  <a:lnTo>
                    <a:pt x="182" y="98"/>
                  </a:lnTo>
                  <a:lnTo>
                    <a:pt x="182" y="98"/>
                  </a:lnTo>
                  <a:lnTo>
                    <a:pt x="182" y="98"/>
                  </a:lnTo>
                  <a:lnTo>
                    <a:pt x="178" y="102"/>
                  </a:lnTo>
                  <a:lnTo>
                    <a:pt x="138" y="156"/>
                  </a:lnTo>
                  <a:lnTo>
                    <a:pt x="84" y="156"/>
                  </a:lnTo>
                  <a:lnTo>
                    <a:pt x="84" y="156"/>
                  </a:lnTo>
                  <a:lnTo>
                    <a:pt x="80" y="156"/>
                  </a:lnTo>
                  <a:lnTo>
                    <a:pt x="74" y="160"/>
                  </a:lnTo>
                  <a:lnTo>
                    <a:pt x="70" y="164"/>
                  </a:lnTo>
                  <a:lnTo>
                    <a:pt x="70" y="170"/>
                  </a:lnTo>
                  <a:lnTo>
                    <a:pt x="70" y="170"/>
                  </a:lnTo>
                  <a:lnTo>
                    <a:pt x="70" y="176"/>
                  </a:lnTo>
                  <a:lnTo>
                    <a:pt x="74" y="182"/>
                  </a:lnTo>
                  <a:lnTo>
                    <a:pt x="80" y="184"/>
                  </a:lnTo>
                  <a:lnTo>
                    <a:pt x="84" y="186"/>
                  </a:lnTo>
                  <a:lnTo>
                    <a:pt x="146" y="186"/>
                  </a:lnTo>
                  <a:lnTo>
                    <a:pt x="146" y="186"/>
                  </a:lnTo>
                  <a:lnTo>
                    <a:pt x="152" y="184"/>
                  </a:lnTo>
                  <a:lnTo>
                    <a:pt x="158" y="180"/>
                  </a:lnTo>
                  <a:lnTo>
                    <a:pt x="172" y="160"/>
                  </a:lnTo>
                  <a:lnTo>
                    <a:pt x="172" y="222"/>
                  </a:lnTo>
                  <a:lnTo>
                    <a:pt x="138" y="222"/>
                  </a:lnTo>
                  <a:lnTo>
                    <a:pt x="138" y="222"/>
                  </a:lnTo>
                  <a:lnTo>
                    <a:pt x="142" y="218"/>
                  </a:lnTo>
                  <a:lnTo>
                    <a:pt x="144" y="216"/>
                  </a:lnTo>
                  <a:lnTo>
                    <a:pt x="146" y="212"/>
                  </a:lnTo>
                  <a:lnTo>
                    <a:pt x="146" y="212"/>
                  </a:lnTo>
                  <a:lnTo>
                    <a:pt x="144" y="208"/>
                  </a:lnTo>
                  <a:lnTo>
                    <a:pt x="142" y="204"/>
                  </a:lnTo>
                  <a:lnTo>
                    <a:pt x="138" y="202"/>
                  </a:lnTo>
                  <a:lnTo>
                    <a:pt x="134" y="202"/>
                  </a:lnTo>
                  <a:lnTo>
                    <a:pt x="50" y="202"/>
                  </a:lnTo>
                  <a:lnTo>
                    <a:pt x="50" y="202"/>
                  </a:lnTo>
                  <a:lnTo>
                    <a:pt x="46" y="202"/>
                  </a:lnTo>
                  <a:lnTo>
                    <a:pt x="42" y="204"/>
                  </a:lnTo>
                  <a:lnTo>
                    <a:pt x="40" y="208"/>
                  </a:lnTo>
                  <a:lnTo>
                    <a:pt x="38" y="212"/>
                  </a:lnTo>
                  <a:lnTo>
                    <a:pt x="38" y="212"/>
                  </a:lnTo>
                  <a:lnTo>
                    <a:pt x="40" y="216"/>
                  </a:lnTo>
                  <a:lnTo>
                    <a:pt x="42" y="220"/>
                  </a:lnTo>
                  <a:lnTo>
                    <a:pt x="46" y="222"/>
                  </a:lnTo>
                  <a:lnTo>
                    <a:pt x="50" y="224"/>
                  </a:lnTo>
                  <a:lnTo>
                    <a:pt x="104" y="224"/>
                  </a:lnTo>
                  <a:lnTo>
                    <a:pt x="104" y="224"/>
                  </a:lnTo>
                  <a:lnTo>
                    <a:pt x="100" y="224"/>
                  </a:lnTo>
                  <a:lnTo>
                    <a:pt x="100" y="224"/>
                  </a:lnTo>
                  <a:lnTo>
                    <a:pt x="98" y="226"/>
                  </a:lnTo>
                  <a:lnTo>
                    <a:pt x="98" y="226"/>
                  </a:lnTo>
                  <a:lnTo>
                    <a:pt x="94" y="228"/>
                  </a:lnTo>
                  <a:lnTo>
                    <a:pt x="94" y="228"/>
                  </a:lnTo>
                  <a:lnTo>
                    <a:pt x="6" y="318"/>
                  </a:lnTo>
                  <a:lnTo>
                    <a:pt x="6" y="318"/>
                  </a:lnTo>
                  <a:lnTo>
                    <a:pt x="0" y="324"/>
                  </a:lnTo>
                  <a:lnTo>
                    <a:pt x="0" y="332"/>
                  </a:lnTo>
                  <a:lnTo>
                    <a:pt x="0" y="338"/>
                  </a:lnTo>
                  <a:lnTo>
                    <a:pt x="6" y="344"/>
                  </a:lnTo>
                  <a:lnTo>
                    <a:pt x="6" y="344"/>
                  </a:lnTo>
                  <a:lnTo>
                    <a:pt x="12" y="350"/>
                  </a:lnTo>
                  <a:lnTo>
                    <a:pt x="20" y="350"/>
                  </a:lnTo>
                  <a:lnTo>
                    <a:pt x="26" y="350"/>
                  </a:lnTo>
                  <a:lnTo>
                    <a:pt x="32" y="344"/>
                  </a:lnTo>
                  <a:lnTo>
                    <a:pt x="88" y="290"/>
                  </a:lnTo>
                  <a:lnTo>
                    <a:pt x="88" y="370"/>
                  </a:lnTo>
                  <a:lnTo>
                    <a:pt x="88" y="370"/>
                  </a:lnTo>
                  <a:lnTo>
                    <a:pt x="90" y="378"/>
                  </a:lnTo>
                  <a:lnTo>
                    <a:pt x="94" y="384"/>
                  </a:lnTo>
                  <a:lnTo>
                    <a:pt x="100" y="388"/>
                  </a:lnTo>
                  <a:lnTo>
                    <a:pt x="108" y="390"/>
                  </a:lnTo>
                  <a:lnTo>
                    <a:pt x="108" y="390"/>
                  </a:lnTo>
                  <a:lnTo>
                    <a:pt x="108" y="390"/>
                  </a:lnTo>
                  <a:lnTo>
                    <a:pt x="116" y="388"/>
                  </a:lnTo>
                  <a:lnTo>
                    <a:pt x="122" y="384"/>
                  </a:lnTo>
                  <a:lnTo>
                    <a:pt x="126" y="378"/>
                  </a:lnTo>
                  <a:lnTo>
                    <a:pt x="128" y="370"/>
                  </a:lnTo>
                  <a:lnTo>
                    <a:pt x="128" y="284"/>
                  </a:lnTo>
                  <a:lnTo>
                    <a:pt x="192" y="284"/>
                  </a:lnTo>
                  <a:lnTo>
                    <a:pt x="216" y="284"/>
                  </a:lnTo>
                  <a:lnTo>
                    <a:pt x="230" y="284"/>
                  </a:lnTo>
                  <a:lnTo>
                    <a:pt x="230" y="284"/>
                  </a:lnTo>
                  <a:lnTo>
                    <a:pt x="236" y="282"/>
                  </a:lnTo>
                  <a:lnTo>
                    <a:pt x="244" y="278"/>
                  </a:lnTo>
                  <a:lnTo>
                    <a:pt x="248" y="272"/>
                  </a:lnTo>
                  <a:lnTo>
                    <a:pt x="248" y="264"/>
                  </a:lnTo>
                  <a:lnTo>
                    <a:pt x="248" y="122"/>
                  </a:lnTo>
                  <a:lnTo>
                    <a:pt x="248" y="122"/>
                  </a:lnTo>
                  <a:lnTo>
                    <a:pt x="248" y="120"/>
                  </a:lnTo>
                  <a:lnTo>
                    <a:pt x="248" y="120"/>
                  </a:lnTo>
                  <a:close/>
                  <a:moveTo>
                    <a:pt x="28" y="202"/>
                  </a:moveTo>
                  <a:lnTo>
                    <a:pt x="28" y="202"/>
                  </a:lnTo>
                  <a:lnTo>
                    <a:pt x="30" y="206"/>
                  </a:lnTo>
                  <a:lnTo>
                    <a:pt x="36" y="208"/>
                  </a:lnTo>
                  <a:lnTo>
                    <a:pt x="36" y="208"/>
                  </a:lnTo>
                  <a:lnTo>
                    <a:pt x="38" y="208"/>
                  </a:lnTo>
                  <a:lnTo>
                    <a:pt x="38" y="208"/>
                  </a:lnTo>
                  <a:lnTo>
                    <a:pt x="42" y="206"/>
                  </a:lnTo>
                  <a:lnTo>
                    <a:pt x="44" y="204"/>
                  </a:lnTo>
                  <a:lnTo>
                    <a:pt x="44" y="200"/>
                  </a:lnTo>
                  <a:lnTo>
                    <a:pt x="44" y="196"/>
                  </a:lnTo>
                  <a:lnTo>
                    <a:pt x="18" y="122"/>
                  </a:lnTo>
                  <a:lnTo>
                    <a:pt x="18" y="122"/>
                  </a:lnTo>
                  <a:lnTo>
                    <a:pt x="16" y="118"/>
                  </a:lnTo>
                  <a:lnTo>
                    <a:pt x="14" y="116"/>
                  </a:lnTo>
                  <a:lnTo>
                    <a:pt x="10" y="116"/>
                  </a:lnTo>
                  <a:lnTo>
                    <a:pt x="8" y="116"/>
                  </a:lnTo>
                  <a:lnTo>
                    <a:pt x="8" y="116"/>
                  </a:lnTo>
                  <a:lnTo>
                    <a:pt x="4" y="118"/>
                  </a:lnTo>
                  <a:lnTo>
                    <a:pt x="2" y="120"/>
                  </a:lnTo>
                  <a:lnTo>
                    <a:pt x="2" y="124"/>
                  </a:lnTo>
                  <a:lnTo>
                    <a:pt x="2" y="126"/>
                  </a:lnTo>
                  <a:lnTo>
                    <a:pt x="28" y="20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60" name="Group 59">
            <a:extLst>
              <a:ext uri="{FF2B5EF4-FFF2-40B4-BE49-F238E27FC236}">
                <a16:creationId xmlns:a16="http://schemas.microsoft.com/office/drawing/2014/main" id="{9ECE5879-F917-4312-B54F-A6F2A1E1FF92}"/>
              </a:ext>
            </a:extLst>
          </p:cNvPr>
          <p:cNvGrpSpPr/>
          <p:nvPr/>
        </p:nvGrpSpPr>
        <p:grpSpPr>
          <a:xfrm>
            <a:off x="1885637" y="4205869"/>
            <a:ext cx="612000" cy="612000"/>
            <a:chOff x="592807" y="4690710"/>
            <a:chExt cx="612000" cy="612000"/>
          </a:xfrm>
        </p:grpSpPr>
        <p:sp>
          <p:nvSpPr>
            <p:cNvPr id="61" name="Oval 60">
              <a:extLst>
                <a:ext uri="{FF2B5EF4-FFF2-40B4-BE49-F238E27FC236}">
                  <a16:creationId xmlns:a16="http://schemas.microsoft.com/office/drawing/2014/main" id="{89DBDA16-6837-4C18-891E-365795B7ECC2}"/>
                </a:ext>
              </a:extLst>
            </p:cNvPr>
            <p:cNvSpPr/>
            <p:nvPr/>
          </p:nvSpPr>
          <p:spPr bwMode="ltGray">
            <a:xfrm>
              <a:off x="592807"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62" name="Freeform 4923">
              <a:extLst>
                <a:ext uri="{FF2B5EF4-FFF2-40B4-BE49-F238E27FC236}">
                  <a16:creationId xmlns:a16="http://schemas.microsoft.com/office/drawing/2014/main" id="{2195FBFD-B735-4C87-BFF0-D592305ADC36}"/>
                </a:ext>
              </a:extLst>
            </p:cNvPr>
            <p:cNvSpPr>
              <a:spLocks noEditPoints="1"/>
            </p:cNvSpPr>
            <p:nvPr/>
          </p:nvSpPr>
          <p:spPr bwMode="auto">
            <a:xfrm>
              <a:off x="681987" y="4800382"/>
              <a:ext cx="433640" cy="397503"/>
            </a:xfrm>
            <a:custGeom>
              <a:avLst/>
              <a:gdLst>
                <a:gd name="T0" fmla="*/ 310 w 360"/>
                <a:gd name="T1" fmla="*/ 80 h 330"/>
                <a:gd name="T2" fmla="*/ 310 w 360"/>
                <a:gd name="T3" fmla="*/ 36 h 330"/>
                <a:gd name="T4" fmla="*/ 310 w 360"/>
                <a:gd name="T5" fmla="*/ 34 h 330"/>
                <a:gd name="T6" fmla="*/ 310 w 360"/>
                <a:gd name="T7" fmla="*/ 32 h 330"/>
                <a:gd name="T8" fmla="*/ 310 w 360"/>
                <a:gd name="T9" fmla="*/ 32 h 330"/>
                <a:gd name="T10" fmla="*/ 310 w 360"/>
                <a:gd name="T11" fmla="*/ 32 h 330"/>
                <a:gd name="T12" fmla="*/ 308 w 360"/>
                <a:gd name="T13" fmla="*/ 30 h 330"/>
                <a:gd name="T14" fmla="*/ 308 w 360"/>
                <a:gd name="T15" fmla="*/ 30 h 330"/>
                <a:gd name="T16" fmla="*/ 308 w 360"/>
                <a:gd name="T17" fmla="*/ 28 h 330"/>
                <a:gd name="T18" fmla="*/ 306 w 360"/>
                <a:gd name="T19" fmla="*/ 28 h 330"/>
                <a:gd name="T20" fmla="*/ 274 w 360"/>
                <a:gd name="T21" fmla="*/ 12 h 330"/>
                <a:gd name="T22" fmla="*/ 272 w 360"/>
                <a:gd name="T23" fmla="*/ 12 h 330"/>
                <a:gd name="T24" fmla="*/ 254 w 360"/>
                <a:gd name="T25" fmla="*/ 20 h 330"/>
                <a:gd name="T26" fmla="*/ 238 w 360"/>
                <a:gd name="T27" fmla="*/ 2 h 330"/>
                <a:gd name="T28" fmla="*/ 226 w 360"/>
                <a:gd name="T29" fmla="*/ 0 h 330"/>
                <a:gd name="T30" fmla="*/ 110 w 360"/>
                <a:gd name="T31" fmla="*/ 58 h 330"/>
                <a:gd name="T32" fmla="*/ 110 w 360"/>
                <a:gd name="T33" fmla="*/ 60 h 330"/>
                <a:gd name="T34" fmla="*/ 108 w 360"/>
                <a:gd name="T35" fmla="*/ 60 h 330"/>
                <a:gd name="T36" fmla="*/ 108 w 360"/>
                <a:gd name="T37" fmla="*/ 60 h 330"/>
                <a:gd name="T38" fmla="*/ 2 w 360"/>
                <a:gd name="T39" fmla="*/ 158 h 330"/>
                <a:gd name="T40" fmla="*/ 0 w 360"/>
                <a:gd name="T41" fmla="*/ 170 h 330"/>
                <a:gd name="T42" fmla="*/ 4 w 360"/>
                <a:gd name="T43" fmla="*/ 174 h 330"/>
                <a:gd name="T44" fmla="*/ 10 w 360"/>
                <a:gd name="T45" fmla="*/ 176 h 330"/>
                <a:gd name="T46" fmla="*/ 40 w 360"/>
                <a:gd name="T47" fmla="*/ 172 h 330"/>
                <a:gd name="T48" fmla="*/ 40 w 360"/>
                <a:gd name="T49" fmla="*/ 304 h 330"/>
                <a:gd name="T50" fmla="*/ 44 w 360"/>
                <a:gd name="T51" fmla="*/ 312 h 330"/>
                <a:gd name="T52" fmla="*/ 50 w 360"/>
                <a:gd name="T53" fmla="*/ 314 h 330"/>
                <a:gd name="T54" fmla="*/ 220 w 360"/>
                <a:gd name="T55" fmla="*/ 330 h 330"/>
                <a:gd name="T56" fmla="*/ 220 w 360"/>
                <a:gd name="T57" fmla="*/ 330 h 330"/>
                <a:gd name="T58" fmla="*/ 224 w 360"/>
                <a:gd name="T59" fmla="*/ 330 h 330"/>
                <a:gd name="T60" fmla="*/ 224 w 360"/>
                <a:gd name="T61" fmla="*/ 330 h 330"/>
                <a:gd name="T62" fmla="*/ 322 w 360"/>
                <a:gd name="T63" fmla="*/ 282 h 330"/>
                <a:gd name="T64" fmla="*/ 326 w 360"/>
                <a:gd name="T65" fmla="*/ 278 h 330"/>
                <a:gd name="T66" fmla="*/ 326 w 360"/>
                <a:gd name="T67" fmla="*/ 160 h 330"/>
                <a:gd name="T68" fmla="*/ 356 w 360"/>
                <a:gd name="T69" fmla="*/ 146 h 330"/>
                <a:gd name="T70" fmla="*/ 360 w 360"/>
                <a:gd name="T71" fmla="*/ 138 h 330"/>
                <a:gd name="T72" fmla="*/ 360 w 360"/>
                <a:gd name="T73" fmla="*/ 134 h 330"/>
                <a:gd name="T74" fmla="*/ 358 w 360"/>
                <a:gd name="T75" fmla="*/ 130 h 330"/>
                <a:gd name="T76" fmla="*/ 150 w 360"/>
                <a:gd name="T77" fmla="*/ 304 h 330"/>
                <a:gd name="T78" fmla="*/ 150 w 360"/>
                <a:gd name="T79" fmla="*/ 208 h 330"/>
                <a:gd name="T80" fmla="*/ 144 w 360"/>
                <a:gd name="T81" fmla="*/ 192 h 330"/>
                <a:gd name="T82" fmla="*/ 128 w 360"/>
                <a:gd name="T83" fmla="*/ 184 h 330"/>
                <a:gd name="T84" fmla="*/ 120 w 360"/>
                <a:gd name="T85" fmla="*/ 184 h 330"/>
                <a:gd name="T86" fmla="*/ 108 w 360"/>
                <a:gd name="T87" fmla="*/ 196 h 330"/>
                <a:gd name="T88" fmla="*/ 106 w 360"/>
                <a:gd name="T89" fmla="*/ 300 h 330"/>
                <a:gd name="T90" fmla="*/ 60 w 360"/>
                <a:gd name="T91" fmla="*/ 138 h 330"/>
                <a:gd name="T92" fmla="*/ 210 w 360"/>
                <a:gd name="T93" fmla="*/ 182 h 330"/>
                <a:gd name="T94" fmla="*/ 272 w 360"/>
                <a:gd name="T95" fmla="*/ 28 h 330"/>
                <a:gd name="T96" fmla="*/ 264 w 360"/>
                <a:gd name="T97" fmla="*/ 46 h 330"/>
                <a:gd name="T98" fmla="*/ 272 w 360"/>
                <a:gd name="T99" fmla="*/ 28 h 330"/>
                <a:gd name="T100" fmla="*/ 294 w 360"/>
                <a:gd name="T101" fmla="*/ 124 h 330"/>
                <a:gd name="T102" fmla="*/ 272 w 360"/>
                <a:gd name="T103" fmla="*/ 60 h 330"/>
                <a:gd name="T104" fmla="*/ 240 w 360"/>
                <a:gd name="T105" fmla="*/ 52 h 330"/>
                <a:gd name="T106" fmla="*/ 256 w 360"/>
                <a:gd name="T107" fmla="*/ 136 h 330"/>
                <a:gd name="T108" fmla="*/ 240 w 360"/>
                <a:gd name="T109" fmla="*/ 52 h 330"/>
                <a:gd name="T110" fmla="*/ 230 w 360"/>
                <a:gd name="T111" fmla="*/ 304 h 330"/>
                <a:gd name="T112" fmla="*/ 230 w 360"/>
                <a:gd name="T113" fmla="*/ 204 h 330"/>
                <a:gd name="T114" fmla="*/ 236 w 360"/>
                <a:gd name="T115" fmla="*/ 206 h 330"/>
                <a:gd name="T116" fmla="*/ 306 w 360"/>
                <a:gd name="T117" fmla="*/ 17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60" h="330">
                  <a:moveTo>
                    <a:pt x="358" y="130"/>
                  </a:moveTo>
                  <a:lnTo>
                    <a:pt x="310" y="80"/>
                  </a:lnTo>
                  <a:lnTo>
                    <a:pt x="310" y="36"/>
                  </a:lnTo>
                  <a:lnTo>
                    <a:pt x="310" y="36"/>
                  </a:lnTo>
                  <a:lnTo>
                    <a:pt x="310" y="34"/>
                  </a:lnTo>
                  <a:lnTo>
                    <a:pt x="310" y="34"/>
                  </a:lnTo>
                  <a:lnTo>
                    <a:pt x="310" y="32"/>
                  </a:lnTo>
                  <a:lnTo>
                    <a:pt x="310" y="32"/>
                  </a:lnTo>
                  <a:lnTo>
                    <a:pt x="310" y="32"/>
                  </a:lnTo>
                  <a:lnTo>
                    <a:pt x="310" y="32"/>
                  </a:lnTo>
                  <a:lnTo>
                    <a:pt x="310" y="32"/>
                  </a:lnTo>
                  <a:lnTo>
                    <a:pt x="310" y="32"/>
                  </a:lnTo>
                  <a:lnTo>
                    <a:pt x="308" y="30"/>
                  </a:lnTo>
                  <a:lnTo>
                    <a:pt x="308" y="30"/>
                  </a:lnTo>
                  <a:lnTo>
                    <a:pt x="308" y="30"/>
                  </a:lnTo>
                  <a:lnTo>
                    <a:pt x="308" y="30"/>
                  </a:lnTo>
                  <a:lnTo>
                    <a:pt x="308" y="28"/>
                  </a:lnTo>
                  <a:lnTo>
                    <a:pt x="308" y="28"/>
                  </a:lnTo>
                  <a:lnTo>
                    <a:pt x="306" y="28"/>
                  </a:lnTo>
                  <a:lnTo>
                    <a:pt x="306" y="28"/>
                  </a:lnTo>
                  <a:lnTo>
                    <a:pt x="306" y="28"/>
                  </a:lnTo>
                  <a:lnTo>
                    <a:pt x="274" y="12"/>
                  </a:lnTo>
                  <a:lnTo>
                    <a:pt x="274" y="12"/>
                  </a:lnTo>
                  <a:lnTo>
                    <a:pt x="272" y="12"/>
                  </a:lnTo>
                  <a:lnTo>
                    <a:pt x="268" y="12"/>
                  </a:lnTo>
                  <a:lnTo>
                    <a:pt x="254" y="20"/>
                  </a:lnTo>
                  <a:lnTo>
                    <a:pt x="238" y="2"/>
                  </a:lnTo>
                  <a:lnTo>
                    <a:pt x="238" y="2"/>
                  </a:lnTo>
                  <a:lnTo>
                    <a:pt x="232" y="0"/>
                  </a:lnTo>
                  <a:lnTo>
                    <a:pt x="226" y="0"/>
                  </a:lnTo>
                  <a:lnTo>
                    <a:pt x="114" y="58"/>
                  </a:lnTo>
                  <a:lnTo>
                    <a:pt x="110" y="58"/>
                  </a:lnTo>
                  <a:lnTo>
                    <a:pt x="110" y="58"/>
                  </a:lnTo>
                  <a:lnTo>
                    <a:pt x="110" y="60"/>
                  </a:lnTo>
                  <a:lnTo>
                    <a:pt x="110" y="60"/>
                  </a:lnTo>
                  <a:lnTo>
                    <a:pt x="108" y="60"/>
                  </a:lnTo>
                  <a:lnTo>
                    <a:pt x="108" y="60"/>
                  </a:lnTo>
                  <a:lnTo>
                    <a:pt x="108" y="60"/>
                  </a:lnTo>
                  <a:lnTo>
                    <a:pt x="2" y="158"/>
                  </a:lnTo>
                  <a:lnTo>
                    <a:pt x="2" y="158"/>
                  </a:lnTo>
                  <a:lnTo>
                    <a:pt x="0" y="164"/>
                  </a:lnTo>
                  <a:lnTo>
                    <a:pt x="0" y="170"/>
                  </a:lnTo>
                  <a:lnTo>
                    <a:pt x="0" y="170"/>
                  </a:lnTo>
                  <a:lnTo>
                    <a:pt x="4" y="174"/>
                  </a:lnTo>
                  <a:lnTo>
                    <a:pt x="10" y="176"/>
                  </a:lnTo>
                  <a:lnTo>
                    <a:pt x="10" y="176"/>
                  </a:lnTo>
                  <a:lnTo>
                    <a:pt x="10" y="176"/>
                  </a:lnTo>
                  <a:lnTo>
                    <a:pt x="40" y="172"/>
                  </a:lnTo>
                  <a:lnTo>
                    <a:pt x="40" y="304"/>
                  </a:lnTo>
                  <a:lnTo>
                    <a:pt x="40" y="304"/>
                  </a:lnTo>
                  <a:lnTo>
                    <a:pt x="42" y="308"/>
                  </a:lnTo>
                  <a:lnTo>
                    <a:pt x="44" y="312"/>
                  </a:lnTo>
                  <a:lnTo>
                    <a:pt x="46" y="314"/>
                  </a:lnTo>
                  <a:lnTo>
                    <a:pt x="50" y="314"/>
                  </a:lnTo>
                  <a:lnTo>
                    <a:pt x="220" y="330"/>
                  </a:lnTo>
                  <a:lnTo>
                    <a:pt x="220" y="330"/>
                  </a:lnTo>
                  <a:lnTo>
                    <a:pt x="220" y="330"/>
                  </a:lnTo>
                  <a:lnTo>
                    <a:pt x="220" y="330"/>
                  </a:lnTo>
                  <a:lnTo>
                    <a:pt x="224" y="330"/>
                  </a:lnTo>
                  <a:lnTo>
                    <a:pt x="224" y="330"/>
                  </a:lnTo>
                  <a:lnTo>
                    <a:pt x="224" y="330"/>
                  </a:lnTo>
                  <a:lnTo>
                    <a:pt x="224" y="330"/>
                  </a:lnTo>
                  <a:lnTo>
                    <a:pt x="224" y="330"/>
                  </a:lnTo>
                  <a:lnTo>
                    <a:pt x="322" y="282"/>
                  </a:lnTo>
                  <a:lnTo>
                    <a:pt x="322" y="282"/>
                  </a:lnTo>
                  <a:lnTo>
                    <a:pt x="326" y="278"/>
                  </a:lnTo>
                  <a:lnTo>
                    <a:pt x="326" y="272"/>
                  </a:lnTo>
                  <a:lnTo>
                    <a:pt x="326" y="160"/>
                  </a:lnTo>
                  <a:lnTo>
                    <a:pt x="356" y="146"/>
                  </a:lnTo>
                  <a:lnTo>
                    <a:pt x="356" y="146"/>
                  </a:lnTo>
                  <a:lnTo>
                    <a:pt x="358" y="142"/>
                  </a:lnTo>
                  <a:lnTo>
                    <a:pt x="360" y="138"/>
                  </a:lnTo>
                  <a:lnTo>
                    <a:pt x="360" y="138"/>
                  </a:lnTo>
                  <a:lnTo>
                    <a:pt x="360" y="134"/>
                  </a:lnTo>
                  <a:lnTo>
                    <a:pt x="358" y="130"/>
                  </a:lnTo>
                  <a:lnTo>
                    <a:pt x="358" y="130"/>
                  </a:lnTo>
                  <a:close/>
                  <a:moveTo>
                    <a:pt x="210" y="310"/>
                  </a:moveTo>
                  <a:lnTo>
                    <a:pt x="150" y="304"/>
                  </a:lnTo>
                  <a:lnTo>
                    <a:pt x="150" y="208"/>
                  </a:lnTo>
                  <a:lnTo>
                    <a:pt x="150" y="208"/>
                  </a:lnTo>
                  <a:lnTo>
                    <a:pt x="148" y="200"/>
                  </a:lnTo>
                  <a:lnTo>
                    <a:pt x="144" y="192"/>
                  </a:lnTo>
                  <a:lnTo>
                    <a:pt x="136" y="186"/>
                  </a:lnTo>
                  <a:lnTo>
                    <a:pt x="128" y="184"/>
                  </a:lnTo>
                  <a:lnTo>
                    <a:pt x="128" y="184"/>
                  </a:lnTo>
                  <a:lnTo>
                    <a:pt x="120" y="184"/>
                  </a:lnTo>
                  <a:lnTo>
                    <a:pt x="112" y="188"/>
                  </a:lnTo>
                  <a:lnTo>
                    <a:pt x="108" y="196"/>
                  </a:lnTo>
                  <a:lnTo>
                    <a:pt x="106" y="204"/>
                  </a:lnTo>
                  <a:lnTo>
                    <a:pt x="106" y="300"/>
                  </a:lnTo>
                  <a:lnTo>
                    <a:pt x="60" y="296"/>
                  </a:lnTo>
                  <a:lnTo>
                    <a:pt x="60" y="138"/>
                  </a:lnTo>
                  <a:lnTo>
                    <a:pt x="118" y="86"/>
                  </a:lnTo>
                  <a:lnTo>
                    <a:pt x="210" y="182"/>
                  </a:lnTo>
                  <a:lnTo>
                    <a:pt x="210" y="310"/>
                  </a:lnTo>
                  <a:close/>
                  <a:moveTo>
                    <a:pt x="272" y="28"/>
                  </a:moveTo>
                  <a:lnTo>
                    <a:pt x="286" y="36"/>
                  </a:lnTo>
                  <a:lnTo>
                    <a:pt x="264" y="46"/>
                  </a:lnTo>
                  <a:lnTo>
                    <a:pt x="250" y="40"/>
                  </a:lnTo>
                  <a:lnTo>
                    <a:pt x="272" y="28"/>
                  </a:lnTo>
                  <a:close/>
                  <a:moveTo>
                    <a:pt x="294" y="48"/>
                  </a:moveTo>
                  <a:lnTo>
                    <a:pt x="294" y="124"/>
                  </a:lnTo>
                  <a:lnTo>
                    <a:pt x="272" y="136"/>
                  </a:lnTo>
                  <a:lnTo>
                    <a:pt x="272" y="60"/>
                  </a:lnTo>
                  <a:lnTo>
                    <a:pt x="294" y="48"/>
                  </a:lnTo>
                  <a:close/>
                  <a:moveTo>
                    <a:pt x="240" y="52"/>
                  </a:moveTo>
                  <a:lnTo>
                    <a:pt x="256" y="60"/>
                  </a:lnTo>
                  <a:lnTo>
                    <a:pt x="256" y="136"/>
                  </a:lnTo>
                  <a:lnTo>
                    <a:pt x="240" y="128"/>
                  </a:lnTo>
                  <a:lnTo>
                    <a:pt x="240" y="52"/>
                  </a:lnTo>
                  <a:close/>
                  <a:moveTo>
                    <a:pt x="306" y="266"/>
                  </a:moveTo>
                  <a:lnTo>
                    <a:pt x="230" y="304"/>
                  </a:lnTo>
                  <a:lnTo>
                    <a:pt x="230" y="204"/>
                  </a:lnTo>
                  <a:lnTo>
                    <a:pt x="230" y="204"/>
                  </a:lnTo>
                  <a:lnTo>
                    <a:pt x="236" y="206"/>
                  </a:lnTo>
                  <a:lnTo>
                    <a:pt x="236" y="206"/>
                  </a:lnTo>
                  <a:lnTo>
                    <a:pt x="240" y="204"/>
                  </a:lnTo>
                  <a:lnTo>
                    <a:pt x="306" y="170"/>
                  </a:lnTo>
                  <a:lnTo>
                    <a:pt x="306" y="26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63" name="Group 62">
            <a:extLst>
              <a:ext uri="{FF2B5EF4-FFF2-40B4-BE49-F238E27FC236}">
                <a16:creationId xmlns:a16="http://schemas.microsoft.com/office/drawing/2014/main" id="{052F4837-7D20-4E4A-8838-936CEEECDD37}"/>
              </a:ext>
            </a:extLst>
          </p:cNvPr>
          <p:cNvGrpSpPr/>
          <p:nvPr/>
        </p:nvGrpSpPr>
        <p:grpSpPr>
          <a:xfrm>
            <a:off x="1885637" y="5136080"/>
            <a:ext cx="612000" cy="612000"/>
            <a:chOff x="592807" y="5907019"/>
            <a:chExt cx="612000" cy="612000"/>
          </a:xfrm>
        </p:grpSpPr>
        <p:sp>
          <p:nvSpPr>
            <p:cNvPr id="64" name="Oval 63">
              <a:extLst>
                <a:ext uri="{FF2B5EF4-FFF2-40B4-BE49-F238E27FC236}">
                  <a16:creationId xmlns:a16="http://schemas.microsoft.com/office/drawing/2014/main" id="{0211097F-FEBD-49F0-867B-043E944B9736}"/>
                </a:ext>
              </a:extLst>
            </p:cNvPr>
            <p:cNvSpPr/>
            <p:nvPr/>
          </p:nvSpPr>
          <p:spPr bwMode="ltGray">
            <a:xfrm>
              <a:off x="592807"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65" name="Freeform 4926">
              <a:extLst>
                <a:ext uri="{FF2B5EF4-FFF2-40B4-BE49-F238E27FC236}">
                  <a16:creationId xmlns:a16="http://schemas.microsoft.com/office/drawing/2014/main" id="{EFB14C7A-F5F6-47B6-8F0F-D66717B8E238}"/>
                </a:ext>
              </a:extLst>
            </p:cNvPr>
            <p:cNvSpPr>
              <a:spLocks noEditPoints="1"/>
            </p:cNvSpPr>
            <p:nvPr/>
          </p:nvSpPr>
          <p:spPr bwMode="auto">
            <a:xfrm>
              <a:off x="672351" y="6086312"/>
              <a:ext cx="452913" cy="310775"/>
            </a:xfrm>
            <a:custGeom>
              <a:avLst/>
              <a:gdLst>
                <a:gd name="T0" fmla="*/ 306 w 376"/>
                <a:gd name="T1" fmla="*/ 112 h 258"/>
                <a:gd name="T2" fmla="*/ 306 w 376"/>
                <a:gd name="T3" fmla="*/ 178 h 258"/>
                <a:gd name="T4" fmla="*/ 282 w 376"/>
                <a:gd name="T5" fmla="*/ 200 h 258"/>
                <a:gd name="T6" fmla="*/ 254 w 376"/>
                <a:gd name="T7" fmla="*/ 216 h 258"/>
                <a:gd name="T8" fmla="*/ 222 w 376"/>
                <a:gd name="T9" fmla="*/ 226 h 258"/>
                <a:gd name="T10" fmla="*/ 190 w 376"/>
                <a:gd name="T11" fmla="*/ 230 h 258"/>
                <a:gd name="T12" fmla="*/ 172 w 376"/>
                <a:gd name="T13" fmla="*/ 230 h 258"/>
                <a:gd name="T14" fmla="*/ 138 w 376"/>
                <a:gd name="T15" fmla="*/ 222 h 258"/>
                <a:gd name="T16" fmla="*/ 108 w 376"/>
                <a:gd name="T17" fmla="*/ 208 h 258"/>
                <a:gd name="T18" fmla="*/ 82 w 376"/>
                <a:gd name="T19" fmla="*/ 188 h 258"/>
                <a:gd name="T20" fmla="*/ 70 w 376"/>
                <a:gd name="T21" fmla="*/ 112 h 258"/>
                <a:gd name="T22" fmla="*/ 176 w 376"/>
                <a:gd name="T23" fmla="*/ 148 h 258"/>
                <a:gd name="T24" fmla="*/ 188 w 376"/>
                <a:gd name="T25" fmla="*/ 150 h 258"/>
                <a:gd name="T26" fmla="*/ 200 w 376"/>
                <a:gd name="T27" fmla="*/ 148 h 258"/>
                <a:gd name="T28" fmla="*/ 190 w 376"/>
                <a:gd name="T29" fmla="*/ 0 h 258"/>
                <a:gd name="T30" fmla="*/ 186 w 376"/>
                <a:gd name="T31" fmla="*/ 0 h 258"/>
                <a:gd name="T32" fmla="*/ 8 w 376"/>
                <a:gd name="T33" fmla="*/ 44 h 258"/>
                <a:gd name="T34" fmla="*/ 0 w 376"/>
                <a:gd name="T35" fmla="*/ 54 h 258"/>
                <a:gd name="T36" fmla="*/ 2 w 376"/>
                <a:gd name="T37" fmla="*/ 60 h 258"/>
                <a:gd name="T38" fmla="*/ 184 w 376"/>
                <a:gd name="T39" fmla="*/ 124 h 258"/>
                <a:gd name="T40" fmla="*/ 188 w 376"/>
                <a:gd name="T41" fmla="*/ 124 h 258"/>
                <a:gd name="T42" fmla="*/ 192 w 376"/>
                <a:gd name="T43" fmla="*/ 124 h 258"/>
                <a:gd name="T44" fmla="*/ 370 w 376"/>
                <a:gd name="T45" fmla="*/ 64 h 258"/>
                <a:gd name="T46" fmla="*/ 376 w 376"/>
                <a:gd name="T47" fmla="*/ 54 h 258"/>
                <a:gd name="T48" fmla="*/ 374 w 376"/>
                <a:gd name="T49" fmla="*/ 48 h 258"/>
                <a:gd name="T50" fmla="*/ 368 w 376"/>
                <a:gd name="T51" fmla="*/ 44 h 258"/>
                <a:gd name="T52" fmla="*/ 348 w 376"/>
                <a:gd name="T53" fmla="*/ 98 h 258"/>
                <a:gd name="T54" fmla="*/ 328 w 376"/>
                <a:gd name="T55" fmla="*/ 172 h 258"/>
                <a:gd name="T56" fmla="*/ 332 w 376"/>
                <a:gd name="T57" fmla="*/ 170 h 258"/>
                <a:gd name="T58" fmla="*/ 338 w 376"/>
                <a:gd name="T59" fmla="*/ 170 h 258"/>
                <a:gd name="T60" fmla="*/ 348 w 376"/>
                <a:gd name="T61" fmla="*/ 172 h 258"/>
                <a:gd name="T62" fmla="*/ 338 w 376"/>
                <a:gd name="T63" fmla="*/ 200 h 258"/>
                <a:gd name="T64" fmla="*/ 332 w 376"/>
                <a:gd name="T65" fmla="*/ 198 h 258"/>
                <a:gd name="T66" fmla="*/ 318 w 376"/>
                <a:gd name="T67" fmla="*/ 258 h 258"/>
                <a:gd name="T68" fmla="*/ 348 w 376"/>
                <a:gd name="T69" fmla="*/ 194 h 258"/>
                <a:gd name="T70" fmla="*/ 344 w 376"/>
                <a:gd name="T71" fmla="*/ 198 h 258"/>
                <a:gd name="T72" fmla="*/ 338 w 376"/>
                <a:gd name="T73" fmla="*/ 20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6" h="258">
                  <a:moveTo>
                    <a:pt x="200" y="148"/>
                  </a:moveTo>
                  <a:lnTo>
                    <a:pt x="306" y="112"/>
                  </a:lnTo>
                  <a:lnTo>
                    <a:pt x="306" y="178"/>
                  </a:lnTo>
                  <a:lnTo>
                    <a:pt x="306" y="178"/>
                  </a:lnTo>
                  <a:lnTo>
                    <a:pt x="294" y="188"/>
                  </a:lnTo>
                  <a:lnTo>
                    <a:pt x="282" y="200"/>
                  </a:lnTo>
                  <a:lnTo>
                    <a:pt x="268" y="208"/>
                  </a:lnTo>
                  <a:lnTo>
                    <a:pt x="254" y="216"/>
                  </a:lnTo>
                  <a:lnTo>
                    <a:pt x="238" y="222"/>
                  </a:lnTo>
                  <a:lnTo>
                    <a:pt x="222" y="226"/>
                  </a:lnTo>
                  <a:lnTo>
                    <a:pt x="206" y="230"/>
                  </a:lnTo>
                  <a:lnTo>
                    <a:pt x="190" y="230"/>
                  </a:lnTo>
                  <a:lnTo>
                    <a:pt x="190" y="230"/>
                  </a:lnTo>
                  <a:lnTo>
                    <a:pt x="172" y="230"/>
                  </a:lnTo>
                  <a:lnTo>
                    <a:pt x="154" y="226"/>
                  </a:lnTo>
                  <a:lnTo>
                    <a:pt x="138" y="222"/>
                  </a:lnTo>
                  <a:lnTo>
                    <a:pt x="122" y="216"/>
                  </a:lnTo>
                  <a:lnTo>
                    <a:pt x="108" y="208"/>
                  </a:lnTo>
                  <a:lnTo>
                    <a:pt x="94" y="198"/>
                  </a:lnTo>
                  <a:lnTo>
                    <a:pt x="82" y="188"/>
                  </a:lnTo>
                  <a:lnTo>
                    <a:pt x="70" y="176"/>
                  </a:lnTo>
                  <a:lnTo>
                    <a:pt x="70" y="112"/>
                  </a:lnTo>
                  <a:lnTo>
                    <a:pt x="176" y="148"/>
                  </a:lnTo>
                  <a:lnTo>
                    <a:pt x="176" y="148"/>
                  </a:lnTo>
                  <a:lnTo>
                    <a:pt x="188" y="150"/>
                  </a:lnTo>
                  <a:lnTo>
                    <a:pt x="188" y="150"/>
                  </a:lnTo>
                  <a:lnTo>
                    <a:pt x="200" y="148"/>
                  </a:lnTo>
                  <a:lnTo>
                    <a:pt x="200" y="148"/>
                  </a:lnTo>
                  <a:close/>
                  <a:moveTo>
                    <a:pt x="368" y="44"/>
                  </a:moveTo>
                  <a:lnTo>
                    <a:pt x="190" y="0"/>
                  </a:lnTo>
                  <a:lnTo>
                    <a:pt x="190" y="0"/>
                  </a:lnTo>
                  <a:lnTo>
                    <a:pt x="186" y="0"/>
                  </a:lnTo>
                  <a:lnTo>
                    <a:pt x="8" y="44"/>
                  </a:lnTo>
                  <a:lnTo>
                    <a:pt x="8" y="44"/>
                  </a:lnTo>
                  <a:lnTo>
                    <a:pt x="2" y="48"/>
                  </a:lnTo>
                  <a:lnTo>
                    <a:pt x="0" y="54"/>
                  </a:lnTo>
                  <a:lnTo>
                    <a:pt x="0" y="54"/>
                  </a:lnTo>
                  <a:lnTo>
                    <a:pt x="2" y="60"/>
                  </a:lnTo>
                  <a:lnTo>
                    <a:pt x="6" y="64"/>
                  </a:lnTo>
                  <a:lnTo>
                    <a:pt x="184" y="124"/>
                  </a:lnTo>
                  <a:lnTo>
                    <a:pt x="184" y="124"/>
                  </a:lnTo>
                  <a:lnTo>
                    <a:pt x="188" y="124"/>
                  </a:lnTo>
                  <a:lnTo>
                    <a:pt x="188" y="124"/>
                  </a:lnTo>
                  <a:lnTo>
                    <a:pt x="192" y="124"/>
                  </a:lnTo>
                  <a:lnTo>
                    <a:pt x="370" y="64"/>
                  </a:lnTo>
                  <a:lnTo>
                    <a:pt x="370" y="64"/>
                  </a:lnTo>
                  <a:lnTo>
                    <a:pt x="374" y="60"/>
                  </a:lnTo>
                  <a:lnTo>
                    <a:pt x="376" y="54"/>
                  </a:lnTo>
                  <a:lnTo>
                    <a:pt x="376" y="54"/>
                  </a:lnTo>
                  <a:lnTo>
                    <a:pt x="374" y="48"/>
                  </a:lnTo>
                  <a:lnTo>
                    <a:pt x="368" y="44"/>
                  </a:lnTo>
                  <a:lnTo>
                    <a:pt x="368" y="44"/>
                  </a:lnTo>
                  <a:close/>
                  <a:moveTo>
                    <a:pt x="348" y="172"/>
                  </a:moveTo>
                  <a:lnTo>
                    <a:pt x="348" y="98"/>
                  </a:lnTo>
                  <a:lnTo>
                    <a:pt x="328" y="106"/>
                  </a:lnTo>
                  <a:lnTo>
                    <a:pt x="328" y="172"/>
                  </a:lnTo>
                  <a:lnTo>
                    <a:pt x="328" y="172"/>
                  </a:lnTo>
                  <a:lnTo>
                    <a:pt x="332" y="170"/>
                  </a:lnTo>
                  <a:lnTo>
                    <a:pt x="338" y="170"/>
                  </a:lnTo>
                  <a:lnTo>
                    <a:pt x="338" y="170"/>
                  </a:lnTo>
                  <a:lnTo>
                    <a:pt x="344" y="170"/>
                  </a:lnTo>
                  <a:lnTo>
                    <a:pt x="348" y="172"/>
                  </a:lnTo>
                  <a:lnTo>
                    <a:pt x="348" y="172"/>
                  </a:lnTo>
                  <a:close/>
                  <a:moveTo>
                    <a:pt x="338" y="200"/>
                  </a:moveTo>
                  <a:lnTo>
                    <a:pt x="338" y="200"/>
                  </a:lnTo>
                  <a:lnTo>
                    <a:pt x="332" y="198"/>
                  </a:lnTo>
                  <a:lnTo>
                    <a:pt x="326" y="194"/>
                  </a:lnTo>
                  <a:lnTo>
                    <a:pt x="318" y="258"/>
                  </a:lnTo>
                  <a:lnTo>
                    <a:pt x="356" y="258"/>
                  </a:lnTo>
                  <a:lnTo>
                    <a:pt x="348" y="194"/>
                  </a:lnTo>
                  <a:lnTo>
                    <a:pt x="348" y="194"/>
                  </a:lnTo>
                  <a:lnTo>
                    <a:pt x="344" y="198"/>
                  </a:lnTo>
                  <a:lnTo>
                    <a:pt x="338" y="200"/>
                  </a:lnTo>
                  <a:lnTo>
                    <a:pt x="338" y="2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66" name="Group 65">
            <a:extLst>
              <a:ext uri="{FF2B5EF4-FFF2-40B4-BE49-F238E27FC236}">
                <a16:creationId xmlns:a16="http://schemas.microsoft.com/office/drawing/2014/main" id="{2481AFBD-1131-4E31-B253-FFBBEA3998CF}"/>
              </a:ext>
            </a:extLst>
          </p:cNvPr>
          <p:cNvGrpSpPr/>
          <p:nvPr/>
        </p:nvGrpSpPr>
        <p:grpSpPr>
          <a:xfrm>
            <a:off x="8052280" y="4200579"/>
            <a:ext cx="612000" cy="612000"/>
            <a:chOff x="7573215" y="4690710"/>
            <a:chExt cx="612000" cy="612000"/>
          </a:xfrm>
        </p:grpSpPr>
        <p:sp>
          <p:nvSpPr>
            <p:cNvPr id="67" name="Oval 66">
              <a:extLst>
                <a:ext uri="{FF2B5EF4-FFF2-40B4-BE49-F238E27FC236}">
                  <a16:creationId xmlns:a16="http://schemas.microsoft.com/office/drawing/2014/main" id="{CFEDDA66-3A67-40F8-98D6-A642DD903319}"/>
                </a:ext>
              </a:extLst>
            </p:cNvPr>
            <p:cNvSpPr/>
            <p:nvPr/>
          </p:nvSpPr>
          <p:spPr bwMode="ltGray">
            <a:xfrm>
              <a:off x="7573215"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68" name="Freeform 4928">
              <a:extLst>
                <a:ext uri="{FF2B5EF4-FFF2-40B4-BE49-F238E27FC236}">
                  <a16:creationId xmlns:a16="http://schemas.microsoft.com/office/drawing/2014/main" id="{2796F4DD-F392-493A-B761-1AB3B393579C}"/>
                </a:ext>
              </a:extLst>
            </p:cNvPr>
            <p:cNvSpPr>
              <a:spLocks noEditPoints="1"/>
            </p:cNvSpPr>
            <p:nvPr/>
          </p:nvSpPr>
          <p:spPr bwMode="auto">
            <a:xfrm>
              <a:off x="7645532" y="4840801"/>
              <a:ext cx="467367" cy="318002"/>
            </a:xfrm>
            <a:custGeom>
              <a:avLst/>
              <a:gdLst>
                <a:gd name="T0" fmla="*/ 378 w 388"/>
                <a:gd name="T1" fmla="*/ 190 h 264"/>
                <a:gd name="T2" fmla="*/ 382 w 388"/>
                <a:gd name="T3" fmla="*/ 190 h 264"/>
                <a:gd name="T4" fmla="*/ 388 w 388"/>
                <a:gd name="T5" fmla="*/ 180 h 264"/>
                <a:gd name="T6" fmla="*/ 384 w 388"/>
                <a:gd name="T7" fmla="*/ 174 h 264"/>
                <a:gd name="T8" fmla="*/ 358 w 388"/>
                <a:gd name="T9" fmla="*/ 140 h 264"/>
                <a:gd name="T10" fmla="*/ 328 w 388"/>
                <a:gd name="T11" fmla="*/ 118 h 264"/>
                <a:gd name="T12" fmla="*/ 328 w 388"/>
                <a:gd name="T13" fmla="*/ 82 h 264"/>
                <a:gd name="T14" fmla="*/ 358 w 388"/>
                <a:gd name="T15" fmla="*/ 26 h 264"/>
                <a:gd name="T16" fmla="*/ 328 w 388"/>
                <a:gd name="T17" fmla="*/ 10 h 264"/>
                <a:gd name="T18" fmla="*/ 322 w 388"/>
                <a:gd name="T19" fmla="*/ 0 h 264"/>
                <a:gd name="T20" fmla="*/ 314 w 388"/>
                <a:gd name="T21" fmla="*/ 0 h 264"/>
                <a:gd name="T22" fmla="*/ 308 w 388"/>
                <a:gd name="T23" fmla="*/ 10 h 264"/>
                <a:gd name="T24" fmla="*/ 80 w 388"/>
                <a:gd name="T25" fmla="*/ 10 h 264"/>
                <a:gd name="T26" fmla="*/ 76 w 388"/>
                <a:gd name="T27" fmla="*/ 4 h 264"/>
                <a:gd name="T28" fmla="*/ 70 w 388"/>
                <a:gd name="T29" fmla="*/ 0 h 264"/>
                <a:gd name="T30" fmla="*/ 60 w 388"/>
                <a:gd name="T31" fmla="*/ 6 h 264"/>
                <a:gd name="T32" fmla="*/ 30 w 388"/>
                <a:gd name="T33" fmla="*/ 26 h 264"/>
                <a:gd name="T34" fmla="*/ 60 w 388"/>
                <a:gd name="T35" fmla="*/ 82 h 264"/>
                <a:gd name="T36" fmla="*/ 60 w 388"/>
                <a:gd name="T37" fmla="*/ 118 h 264"/>
                <a:gd name="T38" fmla="*/ 42 w 388"/>
                <a:gd name="T39" fmla="*/ 140 h 264"/>
                <a:gd name="T40" fmla="*/ 2 w 388"/>
                <a:gd name="T41" fmla="*/ 174 h 264"/>
                <a:gd name="T42" fmla="*/ 0 w 388"/>
                <a:gd name="T43" fmla="*/ 184 h 264"/>
                <a:gd name="T44" fmla="*/ 10 w 388"/>
                <a:gd name="T45" fmla="*/ 190 h 264"/>
                <a:gd name="T46" fmla="*/ 80 w 388"/>
                <a:gd name="T47" fmla="*/ 118 h 264"/>
                <a:gd name="T48" fmla="*/ 80 w 388"/>
                <a:gd name="T49" fmla="*/ 140 h 264"/>
                <a:gd name="T50" fmla="*/ 80 w 388"/>
                <a:gd name="T51" fmla="*/ 82 h 264"/>
                <a:gd name="T52" fmla="*/ 388 w 388"/>
                <a:gd name="T53" fmla="*/ 212 h 264"/>
                <a:gd name="T54" fmla="*/ 384 w 388"/>
                <a:gd name="T55" fmla="*/ 220 h 264"/>
                <a:gd name="T56" fmla="*/ 350 w 388"/>
                <a:gd name="T57" fmla="*/ 222 h 264"/>
                <a:gd name="T58" fmla="*/ 348 w 388"/>
                <a:gd name="T59" fmla="*/ 258 h 264"/>
                <a:gd name="T60" fmla="*/ 340 w 388"/>
                <a:gd name="T61" fmla="*/ 264 h 264"/>
                <a:gd name="T62" fmla="*/ 314 w 388"/>
                <a:gd name="T63" fmla="*/ 264 h 264"/>
                <a:gd name="T64" fmla="*/ 308 w 388"/>
                <a:gd name="T65" fmla="*/ 254 h 264"/>
                <a:gd name="T66" fmla="*/ 80 w 388"/>
                <a:gd name="T67" fmla="*/ 254 h 264"/>
                <a:gd name="T68" fmla="*/ 76 w 388"/>
                <a:gd name="T69" fmla="*/ 262 h 264"/>
                <a:gd name="T70" fmla="*/ 48 w 388"/>
                <a:gd name="T71" fmla="*/ 264 h 264"/>
                <a:gd name="T72" fmla="*/ 42 w 388"/>
                <a:gd name="T73" fmla="*/ 262 h 264"/>
                <a:gd name="T74" fmla="*/ 38 w 388"/>
                <a:gd name="T75" fmla="*/ 222 h 264"/>
                <a:gd name="T76" fmla="*/ 6 w 388"/>
                <a:gd name="T77" fmla="*/ 222 h 264"/>
                <a:gd name="T78" fmla="*/ 0 w 388"/>
                <a:gd name="T79" fmla="*/ 212 h 264"/>
                <a:gd name="T80" fmla="*/ 2 w 388"/>
                <a:gd name="T81" fmla="*/ 204 h 264"/>
                <a:gd name="T82" fmla="*/ 48 w 388"/>
                <a:gd name="T83" fmla="*/ 202 h 264"/>
                <a:gd name="T84" fmla="*/ 340 w 388"/>
                <a:gd name="T85" fmla="*/ 202 h 264"/>
                <a:gd name="T86" fmla="*/ 382 w 388"/>
                <a:gd name="T87" fmla="*/ 202 h 264"/>
                <a:gd name="T88" fmla="*/ 388 w 388"/>
                <a:gd name="T89" fmla="*/ 21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8" h="264">
                  <a:moveTo>
                    <a:pt x="10" y="190"/>
                  </a:moveTo>
                  <a:lnTo>
                    <a:pt x="378" y="190"/>
                  </a:lnTo>
                  <a:lnTo>
                    <a:pt x="378" y="190"/>
                  </a:lnTo>
                  <a:lnTo>
                    <a:pt x="378" y="190"/>
                  </a:lnTo>
                  <a:lnTo>
                    <a:pt x="378" y="190"/>
                  </a:lnTo>
                  <a:lnTo>
                    <a:pt x="382" y="190"/>
                  </a:lnTo>
                  <a:lnTo>
                    <a:pt x="386" y="188"/>
                  </a:lnTo>
                  <a:lnTo>
                    <a:pt x="388" y="184"/>
                  </a:lnTo>
                  <a:lnTo>
                    <a:pt x="388" y="180"/>
                  </a:lnTo>
                  <a:lnTo>
                    <a:pt x="388" y="180"/>
                  </a:lnTo>
                  <a:lnTo>
                    <a:pt x="388" y="176"/>
                  </a:lnTo>
                  <a:lnTo>
                    <a:pt x="384" y="174"/>
                  </a:lnTo>
                  <a:lnTo>
                    <a:pt x="360" y="144"/>
                  </a:lnTo>
                  <a:lnTo>
                    <a:pt x="360" y="144"/>
                  </a:lnTo>
                  <a:lnTo>
                    <a:pt x="358" y="140"/>
                  </a:lnTo>
                  <a:lnTo>
                    <a:pt x="354" y="140"/>
                  </a:lnTo>
                  <a:lnTo>
                    <a:pt x="328" y="140"/>
                  </a:lnTo>
                  <a:lnTo>
                    <a:pt x="328" y="118"/>
                  </a:lnTo>
                  <a:lnTo>
                    <a:pt x="358" y="118"/>
                  </a:lnTo>
                  <a:lnTo>
                    <a:pt x="358" y="82"/>
                  </a:lnTo>
                  <a:lnTo>
                    <a:pt x="328" y="82"/>
                  </a:lnTo>
                  <a:lnTo>
                    <a:pt x="328" y="62"/>
                  </a:lnTo>
                  <a:lnTo>
                    <a:pt x="358" y="62"/>
                  </a:lnTo>
                  <a:lnTo>
                    <a:pt x="358" y="26"/>
                  </a:lnTo>
                  <a:lnTo>
                    <a:pt x="328" y="26"/>
                  </a:lnTo>
                  <a:lnTo>
                    <a:pt x="328" y="10"/>
                  </a:lnTo>
                  <a:lnTo>
                    <a:pt x="328" y="10"/>
                  </a:lnTo>
                  <a:lnTo>
                    <a:pt x="328" y="6"/>
                  </a:lnTo>
                  <a:lnTo>
                    <a:pt x="326" y="4"/>
                  </a:lnTo>
                  <a:lnTo>
                    <a:pt x="322" y="0"/>
                  </a:lnTo>
                  <a:lnTo>
                    <a:pt x="318" y="0"/>
                  </a:lnTo>
                  <a:lnTo>
                    <a:pt x="318" y="0"/>
                  </a:lnTo>
                  <a:lnTo>
                    <a:pt x="314" y="0"/>
                  </a:lnTo>
                  <a:lnTo>
                    <a:pt x="310" y="4"/>
                  </a:lnTo>
                  <a:lnTo>
                    <a:pt x="308" y="6"/>
                  </a:lnTo>
                  <a:lnTo>
                    <a:pt x="308" y="10"/>
                  </a:lnTo>
                  <a:lnTo>
                    <a:pt x="308" y="26"/>
                  </a:lnTo>
                  <a:lnTo>
                    <a:pt x="80" y="26"/>
                  </a:lnTo>
                  <a:lnTo>
                    <a:pt x="80" y="10"/>
                  </a:lnTo>
                  <a:lnTo>
                    <a:pt x="80" y="10"/>
                  </a:lnTo>
                  <a:lnTo>
                    <a:pt x="80" y="6"/>
                  </a:lnTo>
                  <a:lnTo>
                    <a:pt x="76" y="4"/>
                  </a:lnTo>
                  <a:lnTo>
                    <a:pt x="74" y="0"/>
                  </a:lnTo>
                  <a:lnTo>
                    <a:pt x="70" y="0"/>
                  </a:lnTo>
                  <a:lnTo>
                    <a:pt x="70" y="0"/>
                  </a:lnTo>
                  <a:lnTo>
                    <a:pt x="66" y="0"/>
                  </a:lnTo>
                  <a:lnTo>
                    <a:pt x="62" y="4"/>
                  </a:lnTo>
                  <a:lnTo>
                    <a:pt x="60" y="6"/>
                  </a:lnTo>
                  <a:lnTo>
                    <a:pt x="60" y="10"/>
                  </a:lnTo>
                  <a:lnTo>
                    <a:pt x="60" y="26"/>
                  </a:lnTo>
                  <a:lnTo>
                    <a:pt x="30" y="26"/>
                  </a:lnTo>
                  <a:lnTo>
                    <a:pt x="30" y="62"/>
                  </a:lnTo>
                  <a:lnTo>
                    <a:pt x="60" y="62"/>
                  </a:lnTo>
                  <a:lnTo>
                    <a:pt x="60" y="82"/>
                  </a:lnTo>
                  <a:lnTo>
                    <a:pt x="30" y="82"/>
                  </a:lnTo>
                  <a:lnTo>
                    <a:pt x="30" y="118"/>
                  </a:lnTo>
                  <a:lnTo>
                    <a:pt x="60" y="118"/>
                  </a:lnTo>
                  <a:lnTo>
                    <a:pt x="60" y="140"/>
                  </a:lnTo>
                  <a:lnTo>
                    <a:pt x="42" y="140"/>
                  </a:lnTo>
                  <a:lnTo>
                    <a:pt x="42" y="140"/>
                  </a:lnTo>
                  <a:lnTo>
                    <a:pt x="38" y="140"/>
                  </a:lnTo>
                  <a:lnTo>
                    <a:pt x="34" y="142"/>
                  </a:lnTo>
                  <a:lnTo>
                    <a:pt x="2" y="174"/>
                  </a:lnTo>
                  <a:lnTo>
                    <a:pt x="2" y="174"/>
                  </a:lnTo>
                  <a:lnTo>
                    <a:pt x="0" y="178"/>
                  </a:lnTo>
                  <a:lnTo>
                    <a:pt x="0" y="184"/>
                  </a:lnTo>
                  <a:lnTo>
                    <a:pt x="0" y="184"/>
                  </a:lnTo>
                  <a:lnTo>
                    <a:pt x="4" y="188"/>
                  </a:lnTo>
                  <a:lnTo>
                    <a:pt x="10" y="190"/>
                  </a:lnTo>
                  <a:lnTo>
                    <a:pt x="10" y="190"/>
                  </a:lnTo>
                  <a:close/>
                  <a:moveTo>
                    <a:pt x="80" y="140"/>
                  </a:moveTo>
                  <a:lnTo>
                    <a:pt x="80" y="118"/>
                  </a:lnTo>
                  <a:lnTo>
                    <a:pt x="308" y="118"/>
                  </a:lnTo>
                  <a:lnTo>
                    <a:pt x="308" y="140"/>
                  </a:lnTo>
                  <a:lnTo>
                    <a:pt x="80" y="140"/>
                  </a:lnTo>
                  <a:close/>
                  <a:moveTo>
                    <a:pt x="308" y="62"/>
                  </a:moveTo>
                  <a:lnTo>
                    <a:pt x="308" y="82"/>
                  </a:lnTo>
                  <a:lnTo>
                    <a:pt x="80" y="82"/>
                  </a:lnTo>
                  <a:lnTo>
                    <a:pt x="80" y="62"/>
                  </a:lnTo>
                  <a:lnTo>
                    <a:pt x="308" y="62"/>
                  </a:lnTo>
                  <a:close/>
                  <a:moveTo>
                    <a:pt x="388" y="212"/>
                  </a:moveTo>
                  <a:lnTo>
                    <a:pt x="388" y="212"/>
                  </a:lnTo>
                  <a:lnTo>
                    <a:pt x="388" y="216"/>
                  </a:lnTo>
                  <a:lnTo>
                    <a:pt x="384" y="220"/>
                  </a:lnTo>
                  <a:lnTo>
                    <a:pt x="382" y="222"/>
                  </a:lnTo>
                  <a:lnTo>
                    <a:pt x="378" y="222"/>
                  </a:lnTo>
                  <a:lnTo>
                    <a:pt x="350" y="222"/>
                  </a:lnTo>
                  <a:lnTo>
                    <a:pt x="350" y="254"/>
                  </a:lnTo>
                  <a:lnTo>
                    <a:pt x="350" y="254"/>
                  </a:lnTo>
                  <a:lnTo>
                    <a:pt x="348" y="258"/>
                  </a:lnTo>
                  <a:lnTo>
                    <a:pt x="346" y="262"/>
                  </a:lnTo>
                  <a:lnTo>
                    <a:pt x="344" y="264"/>
                  </a:lnTo>
                  <a:lnTo>
                    <a:pt x="340" y="264"/>
                  </a:lnTo>
                  <a:lnTo>
                    <a:pt x="318" y="264"/>
                  </a:lnTo>
                  <a:lnTo>
                    <a:pt x="318" y="264"/>
                  </a:lnTo>
                  <a:lnTo>
                    <a:pt x="314" y="264"/>
                  </a:lnTo>
                  <a:lnTo>
                    <a:pt x="310" y="262"/>
                  </a:lnTo>
                  <a:lnTo>
                    <a:pt x="308" y="258"/>
                  </a:lnTo>
                  <a:lnTo>
                    <a:pt x="308" y="254"/>
                  </a:lnTo>
                  <a:lnTo>
                    <a:pt x="308" y="222"/>
                  </a:lnTo>
                  <a:lnTo>
                    <a:pt x="80" y="222"/>
                  </a:lnTo>
                  <a:lnTo>
                    <a:pt x="80" y="254"/>
                  </a:lnTo>
                  <a:lnTo>
                    <a:pt x="80" y="254"/>
                  </a:lnTo>
                  <a:lnTo>
                    <a:pt x="80" y="258"/>
                  </a:lnTo>
                  <a:lnTo>
                    <a:pt x="76" y="262"/>
                  </a:lnTo>
                  <a:lnTo>
                    <a:pt x="74" y="264"/>
                  </a:lnTo>
                  <a:lnTo>
                    <a:pt x="70" y="264"/>
                  </a:lnTo>
                  <a:lnTo>
                    <a:pt x="48" y="264"/>
                  </a:lnTo>
                  <a:lnTo>
                    <a:pt x="48" y="264"/>
                  </a:lnTo>
                  <a:lnTo>
                    <a:pt x="44" y="264"/>
                  </a:lnTo>
                  <a:lnTo>
                    <a:pt x="42" y="262"/>
                  </a:lnTo>
                  <a:lnTo>
                    <a:pt x="38" y="258"/>
                  </a:lnTo>
                  <a:lnTo>
                    <a:pt x="38" y="254"/>
                  </a:lnTo>
                  <a:lnTo>
                    <a:pt x="38" y="222"/>
                  </a:lnTo>
                  <a:lnTo>
                    <a:pt x="10" y="222"/>
                  </a:lnTo>
                  <a:lnTo>
                    <a:pt x="10" y="222"/>
                  </a:lnTo>
                  <a:lnTo>
                    <a:pt x="6" y="222"/>
                  </a:lnTo>
                  <a:lnTo>
                    <a:pt x="2" y="220"/>
                  </a:lnTo>
                  <a:lnTo>
                    <a:pt x="0" y="216"/>
                  </a:lnTo>
                  <a:lnTo>
                    <a:pt x="0" y="212"/>
                  </a:lnTo>
                  <a:lnTo>
                    <a:pt x="0" y="212"/>
                  </a:lnTo>
                  <a:lnTo>
                    <a:pt x="0" y="208"/>
                  </a:lnTo>
                  <a:lnTo>
                    <a:pt x="2" y="204"/>
                  </a:lnTo>
                  <a:lnTo>
                    <a:pt x="6" y="202"/>
                  </a:lnTo>
                  <a:lnTo>
                    <a:pt x="10" y="202"/>
                  </a:lnTo>
                  <a:lnTo>
                    <a:pt x="48" y="202"/>
                  </a:lnTo>
                  <a:lnTo>
                    <a:pt x="70" y="202"/>
                  </a:lnTo>
                  <a:lnTo>
                    <a:pt x="318" y="202"/>
                  </a:lnTo>
                  <a:lnTo>
                    <a:pt x="340" y="202"/>
                  </a:lnTo>
                  <a:lnTo>
                    <a:pt x="378" y="202"/>
                  </a:lnTo>
                  <a:lnTo>
                    <a:pt x="378" y="202"/>
                  </a:lnTo>
                  <a:lnTo>
                    <a:pt x="382" y="202"/>
                  </a:lnTo>
                  <a:lnTo>
                    <a:pt x="384" y="204"/>
                  </a:lnTo>
                  <a:lnTo>
                    <a:pt x="388" y="208"/>
                  </a:lnTo>
                  <a:lnTo>
                    <a:pt x="388" y="212"/>
                  </a:lnTo>
                  <a:lnTo>
                    <a:pt x="388" y="21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69" name="Group 68">
            <a:extLst>
              <a:ext uri="{FF2B5EF4-FFF2-40B4-BE49-F238E27FC236}">
                <a16:creationId xmlns:a16="http://schemas.microsoft.com/office/drawing/2014/main" id="{A95821DD-7C50-4804-84CC-4EDE1331B91F}"/>
              </a:ext>
            </a:extLst>
          </p:cNvPr>
          <p:cNvGrpSpPr/>
          <p:nvPr/>
        </p:nvGrpSpPr>
        <p:grpSpPr>
          <a:xfrm>
            <a:off x="7171331" y="4200579"/>
            <a:ext cx="612000" cy="612000"/>
            <a:chOff x="6715798" y="4690710"/>
            <a:chExt cx="612000" cy="612000"/>
          </a:xfrm>
        </p:grpSpPr>
        <p:sp>
          <p:nvSpPr>
            <p:cNvPr id="70" name="Oval 69">
              <a:extLst>
                <a:ext uri="{FF2B5EF4-FFF2-40B4-BE49-F238E27FC236}">
                  <a16:creationId xmlns:a16="http://schemas.microsoft.com/office/drawing/2014/main" id="{EA3D7556-0DBC-4BF5-A278-50A22BEB6A82}"/>
                </a:ext>
              </a:extLst>
            </p:cNvPr>
            <p:cNvSpPr/>
            <p:nvPr/>
          </p:nvSpPr>
          <p:spPr bwMode="ltGray">
            <a:xfrm>
              <a:off x="6715798"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71" name="Freeform 4932">
              <a:extLst>
                <a:ext uri="{FF2B5EF4-FFF2-40B4-BE49-F238E27FC236}">
                  <a16:creationId xmlns:a16="http://schemas.microsoft.com/office/drawing/2014/main" id="{CD214D0F-4909-4ABB-9512-6FDD13DE67BA}"/>
                </a:ext>
              </a:extLst>
            </p:cNvPr>
            <p:cNvSpPr>
              <a:spLocks noEditPoints="1"/>
            </p:cNvSpPr>
            <p:nvPr/>
          </p:nvSpPr>
          <p:spPr bwMode="auto">
            <a:xfrm>
              <a:off x="6824920" y="4804665"/>
              <a:ext cx="426413" cy="378230"/>
            </a:xfrm>
            <a:custGeom>
              <a:avLst/>
              <a:gdLst>
                <a:gd name="T0" fmla="*/ 300 w 354"/>
                <a:gd name="T1" fmla="*/ 48 h 314"/>
                <a:gd name="T2" fmla="*/ 286 w 354"/>
                <a:gd name="T3" fmla="*/ 14 h 314"/>
                <a:gd name="T4" fmla="*/ 286 w 354"/>
                <a:gd name="T5" fmla="*/ 4 h 314"/>
                <a:gd name="T6" fmla="*/ 276 w 354"/>
                <a:gd name="T7" fmla="*/ 0 h 314"/>
                <a:gd name="T8" fmla="*/ 258 w 354"/>
                <a:gd name="T9" fmla="*/ 10 h 314"/>
                <a:gd name="T10" fmla="*/ 232 w 354"/>
                <a:gd name="T11" fmla="*/ 54 h 314"/>
                <a:gd name="T12" fmla="*/ 172 w 354"/>
                <a:gd name="T13" fmla="*/ 16 h 314"/>
                <a:gd name="T14" fmla="*/ 90 w 354"/>
                <a:gd name="T15" fmla="*/ 42 h 314"/>
                <a:gd name="T16" fmla="*/ 88 w 354"/>
                <a:gd name="T17" fmla="*/ 34 h 314"/>
                <a:gd name="T18" fmla="*/ 48 w 354"/>
                <a:gd name="T19" fmla="*/ 32 h 314"/>
                <a:gd name="T20" fmla="*/ 40 w 354"/>
                <a:gd name="T21" fmla="*/ 34 h 314"/>
                <a:gd name="T22" fmla="*/ 38 w 354"/>
                <a:gd name="T23" fmla="*/ 104 h 314"/>
                <a:gd name="T24" fmla="*/ 0 w 354"/>
                <a:gd name="T25" fmla="*/ 132 h 314"/>
                <a:gd name="T26" fmla="*/ 4 w 354"/>
                <a:gd name="T27" fmla="*/ 144 h 314"/>
                <a:gd name="T28" fmla="*/ 38 w 354"/>
                <a:gd name="T29" fmla="*/ 298 h 314"/>
                <a:gd name="T30" fmla="*/ 42 w 354"/>
                <a:gd name="T31" fmla="*/ 310 h 314"/>
                <a:gd name="T32" fmla="*/ 290 w 354"/>
                <a:gd name="T33" fmla="*/ 314 h 314"/>
                <a:gd name="T34" fmla="*/ 302 w 354"/>
                <a:gd name="T35" fmla="*/ 310 h 314"/>
                <a:gd name="T36" fmla="*/ 306 w 354"/>
                <a:gd name="T37" fmla="*/ 242 h 314"/>
                <a:gd name="T38" fmla="*/ 330 w 354"/>
                <a:gd name="T39" fmla="*/ 222 h 314"/>
                <a:gd name="T40" fmla="*/ 348 w 354"/>
                <a:gd name="T41" fmla="*/ 192 h 314"/>
                <a:gd name="T42" fmla="*/ 354 w 354"/>
                <a:gd name="T43" fmla="*/ 166 h 314"/>
                <a:gd name="T44" fmla="*/ 348 w 354"/>
                <a:gd name="T45" fmla="*/ 124 h 314"/>
                <a:gd name="T46" fmla="*/ 306 w 354"/>
                <a:gd name="T47" fmla="*/ 56 h 314"/>
                <a:gd name="T48" fmla="*/ 248 w 354"/>
                <a:gd name="T49" fmla="*/ 270 h 314"/>
                <a:gd name="T50" fmla="*/ 194 w 354"/>
                <a:gd name="T51" fmla="*/ 224 h 314"/>
                <a:gd name="T52" fmla="*/ 166 w 354"/>
                <a:gd name="T53" fmla="*/ 196 h 314"/>
                <a:gd name="T54" fmla="*/ 158 w 354"/>
                <a:gd name="T55" fmla="*/ 168 h 314"/>
                <a:gd name="T56" fmla="*/ 160 w 354"/>
                <a:gd name="T57" fmla="*/ 148 h 314"/>
                <a:gd name="T58" fmla="*/ 180 w 354"/>
                <a:gd name="T59" fmla="*/ 100 h 314"/>
                <a:gd name="T60" fmla="*/ 206 w 354"/>
                <a:gd name="T61" fmla="*/ 76 h 314"/>
                <a:gd name="T62" fmla="*/ 200 w 354"/>
                <a:gd name="T63" fmla="*/ 94 h 314"/>
                <a:gd name="T64" fmla="*/ 204 w 354"/>
                <a:gd name="T65" fmla="*/ 116 h 314"/>
                <a:gd name="T66" fmla="*/ 214 w 354"/>
                <a:gd name="T67" fmla="*/ 126 h 314"/>
                <a:gd name="T68" fmla="*/ 234 w 354"/>
                <a:gd name="T69" fmla="*/ 124 h 314"/>
                <a:gd name="T70" fmla="*/ 244 w 354"/>
                <a:gd name="T71" fmla="*/ 102 h 314"/>
                <a:gd name="T72" fmla="*/ 242 w 354"/>
                <a:gd name="T73" fmla="*/ 80 h 314"/>
                <a:gd name="T74" fmla="*/ 248 w 354"/>
                <a:gd name="T75" fmla="*/ 46 h 314"/>
                <a:gd name="T76" fmla="*/ 268 w 354"/>
                <a:gd name="T77" fmla="*/ 18 h 314"/>
                <a:gd name="T78" fmla="*/ 272 w 354"/>
                <a:gd name="T79" fmla="*/ 46 h 314"/>
                <a:gd name="T80" fmla="*/ 284 w 354"/>
                <a:gd name="T81" fmla="*/ 66 h 314"/>
                <a:gd name="T82" fmla="*/ 316 w 354"/>
                <a:gd name="T83" fmla="*/ 128 h 314"/>
                <a:gd name="T84" fmla="*/ 324 w 354"/>
                <a:gd name="T85" fmla="*/ 172 h 314"/>
                <a:gd name="T86" fmla="*/ 316 w 354"/>
                <a:gd name="T87" fmla="*/ 208 h 314"/>
                <a:gd name="T88" fmla="*/ 274 w 354"/>
                <a:gd name="T89" fmla="*/ 248 h 314"/>
                <a:gd name="T90" fmla="*/ 248 w 354"/>
                <a:gd name="T91" fmla="*/ 270 h 314"/>
                <a:gd name="T92" fmla="*/ 210 w 354"/>
                <a:gd name="T93" fmla="*/ 162 h 314"/>
                <a:gd name="T94" fmla="*/ 230 w 354"/>
                <a:gd name="T95" fmla="*/ 186 h 314"/>
                <a:gd name="T96" fmla="*/ 248 w 354"/>
                <a:gd name="T97" fmla="*/ 184 h 314"/>
                <a:gd name="T98" fmla="*/ 270 w 354"/>
                <a:gd name="T99" fmla="*/ 158 h 314"/>
                <a:gd name="T100" fmla="*/ 272 w 354"/>
                <a:gd name="T101" fmla="*/ 120 h 314"/>
                <a:gd name="T102" fmla="*/ 286 w 354"/>
                <a:gd name="T103" fmla="*/ 148 h 314"/>
                <a:gd name="T104" fmla="*/ 288 w 354"/>
                <a:gd name="T105" fmla="*/ 182 h 314"/>
                <a:gd name="T106" fmla="*/ 278 w 354"/>
                <a:gd name="T107" fmla="*/ 208 h 314"/>
                <a:gd name="T108" fmla="*/ 242 w 354"/>
                <a:gd name="T109" fmla="*/ 236 h 314"/>
                <a:gd name="T110" fmla="*/ 228 w 354"/>
                <a:gd name="T111" fmla="*/ 226 h 314"/>
                <a:gd name="T112" fmla="*/ 208 w 354"/>
                <a:gd name="T113" fmla="*/ 188 h 314"/>
                <a:gd name="T114" fmla="*/ 208 w 354"/>
                <a:gd name="T115" fmla="*/ 15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314">
                  <a:moveTo>
                    <a:pt x="306" y="56"/>
                  </a:moveTo>
                  <a:lnTo>
                    <a:pt x="306" y="56"/>
                  </a:lnTo>
                  <a:lnTo>
                    <a:pt x="300" y="48"/>
                  </a:lnTo>
                  <a:lnTo>
                    <a:pt x="294" y="40"/>
                  </a:lnTo>
                  <a:lnTo>
                    <a:pt x="288" y="24"/>
                  </a:lnTo>
                  <a:lnTo>
                    <a:pt x="286" y="14"/>
                  </a:lnTo>
                  <a:lnTo>
                    <a:pt x="286" y="10"/>
                  </a:lnTo>
                  <a:lnTo>
                    <a:pt x="286" y="10"/>
                  </a:lnTo>
                  <a:lnTo>
                    <a:pt x="286" y="4"/>
                  </a:lnTo>
                  <a:lnTo>
                    <a:pt x="282" y="0"/>
                  </a:lnTo>
                  <a:lnTo>
                    <a:pt x="282" y="0"/>
                  </a:lnTo>
                  <a:lnTo>
                    <a:pt x="276" y="0"/>
                  </a:lnTo>
                  <a:lnTo>
                    <a:pt x="272" y="0"/>
                  </a:lnTo>
                  <a:lnTo>
                    <a:pt x="272" y="0"/>
                  </a:lnTo>
                  <a:lnTo>
                    <a:pt x="258" y="10"/>
                  </a:lnTo>
                  <a:lnTo>
                    <a:pt x="246" y="24"/>
                  </a:lnTo>
                  <a:lnTo>
                    <a:pt x="238" y="38"/>
                  </a:lnTo>
                  <a:lnTo>
                    <a:pt x="232" y="54"/>
                  </a:lnTo>
                  <a:lnTo>
                    <a:pt x="178" y="18"/>
                  </a:lnTo>
                  <a:lnTo>
                    <a:pt x="178" y="18"/>
                  </a:lnTo>
                  <a:lnTo>
                    <a:pt x="172" y="16"/>
                  </a:lnTo>
                  <a:lnTo>
                    <a:pt x="166" y="18"/>
                  </a:lnTo>
                  <a:lnTo>
                    <a:pt x="90" y="68"/>
                  </a:lnTo>
                  <a:lnTo>
                    <a:pt x="90" y="42"/>
                  </a:lnTo>
                  <a:lnTo>
                    <a:pt x="90" y="42"/>
                  </a:lnTo>
                  <a:lnTo>
                    <a:pt x="90" y="38"/>
                  </a:lnTo>
                  <a:lnTo>
                    <a:pt x="88" y="34"/>
                  </a:lnTo>
                  <a:lnTo>
                    <a:pt x="84" y="32"/>
                  </a:lnTo>
                  <a:lnTo>
                    <a:pt x="80" y="32"/>
                  </a:lnTo>
                  <a:lnTo>
                    <a:pt x="48" y="32"/>
                  </a:lnTo>
                  <a:lnTo>
                    <a:pt x="48" y="32"/>
                  </a:lnTo>
                  <a:lnTo>
                    <a:pt x="44" y="32"/>
                  </a:lnTo>
                  <a:lnTo>
                    <a:pt x="40" y="34"/>
                  </a:lnTo>
                  <a:lnTo>
                    <a:pt x="38" y="38"/>
                  </a:lnTo>
                  <a:lnTo>
                    <a:pt x="38" y="42"/>
                  </a:lnTo>
                  <a:lnTo>
                    <a:pt x="38" y="104"/>
                  </a:lnTo>
                  <a:lnTo>
                    <a:pt x="4" y="128"/>
                  </a:lnTo>
                  <a:lnTo>
                    <a:pt x="4" y="128"/>
                  </a:lnTo>
                  <a:lnTo>
                    <a:pt x="0" y="132"/>
                  </a:lnTo>
                  <a:lnTo>
                    <a:pt x="0" y="138"/>
                  </a:lnTo>
                  <a:lnTo>
                    <a:pt x="0" y="138"/>
                  </a:lnTo>
                  <a:lnTo>
                    <a:pt x="4" y="144"/>
                  </a:lnTo>
                  <a:lnTo>
                    <a:pt x="8" y="146"/>
                  </a:lnTo>
                  <a:lnTo>
                    <a:pt x="38" y="146"/>
                  </a:lnTo>
                  <a:lnTo>
                    <a:pt x="38" y="298"/>
                  </a:lnTo>
                  <a:lnTo>
                    <a:pt x="38" y="298"/>
                  </a:lnTo>
                  <a:lnTo>
                    <a:pt x="38" y="304"/>
                  </a:lnTo>
                  <a:lnTo>
                    <a:pt x="42" y="310"/>
                  </a:lnTo>
                  <a:lnTo>
                    <a:pt x="48" y="314"/>
                  </a:lnTo>
                  <a:lnTo>
                    <a:pt x="54" y="314"/>
                  </a:lnTo>
                  <a:lnTo>
                    <a:pt x="290" y="314"/>
                  </a:lnTo>
                  <a:lnTo>
                    <a:pt x="290" y="314"/>
                  </a:lnTo>
                  <a:lnTo>
                    <a:pt x="296" y="314"/>
                  </a:lnTo>
                  <a:lnTo>
                    <a:pt x="302" y="310"/>
                  </a:lnTo>
                  <a:lnTo>
                    <a:pt x="306" y="304"/>
                  </a:lnTo>
                  <a:lnTo>
                    <a:pt x="306" y="298"/>
                  </a:lnTo>
                  <a:lnTo>
                    <a:pt x="306" y="242"/>
                  </a:lnTo>
                  <a:lnTo>
                    <a:pt x="306" y="242"/>
                  </a:lnTo>
                  <a:lnTo>
                    <a:pt x="324" y="228"/>
                  </a:lnTo>
                  <a:lnTo>
                    <a:pt x="330" y="222"/>
                  </a:lnTo>
                  <a:lnTo>
                    <a:pt x="338" y="212"/>
                  </a:lnTo>
                  <a:lnTo>
                    <a:pt x="344" y="204"/>
                  </a:lnTo>
                  <a:lnTo>
                    <a:pt x="348" y="192"/>
                  </a:lnTo>
                  <a:lnTo>
                    <a:pt x="352" y="180"/>
                  </a:lnTo>
                  <a:lnTo>
                    <a:pt x="354" y="166"/>
                  </a:lnTo>
                  <a:lnTo>
                    <a:pt x="354" y="166"/>
                  </a:lnTo>
                  <a:lnTo>
                    <a:pt x="354" y="152"/>
                  </a:lnTo>
                  <a:lnTo>
                    <a:pt x="352" y="138"/>
                  </a:lnTo>
                  <a:lnTo>
                    <a:pt x="348" y="124"/>
                  </a:lnTo>
                  <a:lnTo>
                    <a:pt x="342" y="110"/>
                  </a:lnTo>
                  <a:lnTo>
                    <a:pt x="324" y="82"/>
                  </a:lnTo>
                  <a:lnTo>
                    <a:pt x="306" y="56"/>
                  </a:lnTo>
                  <a:lnTo>
                    <a:pt x="306" y="56"/>
                  </a:lnTo>
                  <a:close/>
                  <a:moveTo>
                    <a:pt x="248" y="270"/>
                  </a:moveTo>
                  <a:lnTo>
                    <a:pt x="248" y="270"/>
                  </a:lnTo>
                  <a:lnTo>
                    <a:pt x="236" y="256"/>
                  </a:lnTo>
                  <a:lnTo>
                    <a:pt x="222" y="244"/>
                  </a:lnTo>
                  <a:lnTo>
                    <a:pt x="194" y="224"/>
                  </a:lnTo>
                  <a:lnTo>
                    <a:pt x="180" y="214"/>
                  </a:lnTo>
                  <a:lnTo>
                    <a:pt x="170" y="202"/>
                  </a:lnTo>
                  <a:lnTo>
                    <a:pt x="166" y="196"/>
                  </a:lnTo>
                  <a:lnTo>
                    <a:pt x="162" y="188"/>
                  </a:lnTo>
                  <a:lnTo>
                    <a:pt x="160" y="178"/>
                  </a:lnTo>
                  <a:lnTo>
                    <a:pt x="158" y="168"/>
                  </a:lnTo>
                  <a:lnTo>
                    <a:pt x="158" y="168"/>
                  </a:lnTo>
                  <a:lnTo>
                    <a:pt x="158" y="158"/>
                  </a:lnTo>
                  <a:lnTo>
                    <a:pt x="160" y="148"/>
                  </a:lnTo>
                  <a:lnTo>
                    <a:pt x="164" y="130"/>
                  </a:lnTo>
                  <a:lnTo>
                    <a:pt x="172" y="114"/>
                  </a:lnTo>
                  <a:lnTo>
                    <a:pt x="180" y="100"/>
                  </a:lnTo>
                  <a:lnTo>
                    <a:pt x="190" y="90"/>
                  </a:lnTo>
                  <a:lnTo>
                    <a:pt x="198" y="82"/>
                  </a:lnTo>
                  <a:lnTo>
                    <a:pt x="206" y="76"/>
                  </a:lnTo>
                  <a:lnTo>
                    <a:pt x="206" y="76"/>
                  </a:lnTo>
                  <a:lnTo>
                    <a:pt x="204" y="80"/>
                  </a:lnTo>
                  <a:lnTo>
                    <a:pt x="200" y="94"/>
                  </a:lnTo>
                  <a:lnTo>
                    <a:pt x="200" y="102"/>
                  </a:lnTo>
                  <a:lnTo>
                    <a:pt x="200" y="108"/>
                  </a:lnTo>
                  <a:lnTo>
                    <a:pt x="204" y="116"/>
                  </a:lnTo>
                  <a:lnTo>
                    <a:pt x="208" y="122"/>
                  </a:lnTo>
                  <a:lnTo>
                    <a:pt x="208" y="122"/>
                  </a:lnTo>
                  <a:lnTo>
                    <a:pt x="214" y="126"/>
                  </a:lnTo>
                  <a:lnTo>
                    <a:pt x="222" y="128"/>
                  </a:lnTo>
                  <a:lnTo>
                    <a:pt x="228" y="126"/>
                  </a:lnTo>
                  <a:lnTo>
                    <a:pt x="234" y="124"/>
                  </a:lnTo>
                  <a:lnTo>
                    <a:pt x="240" y="118"/>
                  </a:lnTo>
                  <a:lnTo>
                    <a:pt x="244" y="110"/>
                  </a:lnTo>
                  <a:lnTo>
                    <a:pt x="244" y="102"/>
                  </a:lnTo>
                  <a:lnTo>
                    <a:pt x="244" y="92"/>
                  </a:lnTo>
                  <a:lnTo>
                    <a:pt x="244" y="92"/>
                  </a:lnTo>
                  <a:lnTo>
                    <a:pt x="242" y="80"/>
                  </a:lnTo>
                  <a:lnTo>
                    <a:pt x="242" y="68"/>
                  </a:lnTo>
                  <a:lnTo>
                    <a:pt x="244" y="56"/>
                  </a:lnTo>
                  <a:lnTo>
                    <a:pt x="248" y="46"/>
                  </a:lnTo>
                  <a:lnTo>
                    <a:pt x="258" y="30"/>
                  </a:lnTo>
                  <a:lnTo>
                    <a:pt x="268" y="18"/>
                  </a:lnTo>
                  <a:lnTo>
                    <a:pt x="268" y="18"/>
                  </a:lnTo>
                  <a:lnTo>
                    <a:pt x="268" y="20"/>
                  </a:lnTo>
                  <a:lnTo>
                    <a:pt x="268" y="30"/>
                  </a:lnTo>
                  <a:lnTo>
                    <a:pt x="272" y="46"/>
                  </a:lnTo>
                  <a:lnTo>
                    <a:pt x="276" y="56"/>
                  </a:lnTo>
                  <a:lnTo>
                    <a:pt x="284" y="66"/>
                  </a:lnTo>
                  <a:lnTo>
                    <a:pt x="284" y="66"/>
                  </a:lnTo>
                  <a:lnTo>
                    <a:pt x="298" y="90"/>
                  </a:lnTo>
                  <a:lnTo>
                    <a:pt x="312" y="114"/>
                  </a:lnTo>
                  <a:lnTo>
                    <a:pt x="316" y="128"/>
                  </a:lnTo>
                  <a:lnTo>
                    <a:pt x="320" y="142"/>
                  </a:lnTo>
                  <a:lnTo>
                    <a:pt x="322" y="156"/>
                  </a:lnTo>
                  <a:lnTo>
                    <a:pt x="324" y="172"/>
                  </a:lnTo>
                  <a:lnTo>
                    <a:pt x="324" y="172"/>
                  </a:lnTo>
                  <a:lnTo>
                    <a:pt x="322" y="192"/>
                  </a:lnTo>
                  <a:lnTo>
                    <a:pt x="316" y="208"/>
                  </a:lnTo>
                  <a:lnTo>
                    <a:pt x="308" y="220"/>
                  </a:lnTo>
                  <a:lnTo>
                    <a:pt x="298" y="230"/>
                  </a:lnTo>
                  <a:lnTo>
                    <a:pt x="274" y="248"/>
                  </a:lnTo>
                  <a:lnTo>
                    <a:pt x="260" y="258"/>
                  </a:lnTo>
                  <a:lnTo>
                    <a:pt x="248" y="270"/>
                  </a:lnTo>
                  <a:lnTo>
                    <a:pt x="248" y="270"/>
                  </a:lnTo>
                  <a:close/>
                  <a:moveTo>
                    <a:pt x="208" y="156"/>
                  </a:moveTo>
                  <a:lnTo>
                    <a:pt x="208" y="156"/>
                  </a:lnTo>
                  <a:lnTo>
                    <a:pt x="210" y="162"/>
                  </a:lnTo>
                  <a:lnTo>
                    <a:pt x="218" y="176"/>
                  </a:lnTo>
                  <a:lnTo>
                    <a:pt x="222" y="182"/>
                  </a:lnTo>
                  <a:lnTo>
                    <a:pt x="230" y="186"/>
                  </a:lnTo>
                  <a:lnTo>
                    <a:pt x="238" y="186"/>
                  </a:lnTo>
                  <a:lnTo>
                    <a:pt x="248" y="184"/>
                  </a:lnTo>
                  <a:lnTo>
                    <a:pt x="248" y="184"/>
                  </a:lnTo>
                  <a:lnTo>
                    <a:pt x="258" y="178"/>
                  </a:lnTo>
                  <a:lnTo>
                    <a:pt x="266" y="168"/>
                  </a:lnTo>
                  <a:lnTo>
                    <a:pt x="270" y="158"/>
                  </a:lnTo>
                  <a:lnTo>
                    <a:pt x="272" y="146"/>
                  </a:lnTo>
                  <a:lnTo>
                    <a:pt x="272" y="128"/>
                  </a:lnTo>
                  <a:lnTo>
                    <a:pt x="272" y="120"/>
                  </a:lnTo>
                  <a:lnTo>
                    <a:pt x="272" y="120"/>
                  </a:lnTo>
                  <a:lnTo>
                    <a:pt x="280" y="134"/>
                  </a:lnTo>
                  <a:lnTo>
                    <a:pt x="286" y="148"/>
                  </a:lnTo>
                  <a:lnTo>
                    <a:pt x="290" y="160"/>
                  </a:lnTo>
                  <a:lnTo>
                    <a:pt x="290" y="172"/>
                  </a:lnTo>
                  <a:lnTo>
                    <a:pt x="288" y="182"/>
                  </a:lnTo>
                  <a:lnTo>
                    <a:pt x="286" y="192"/>
                  </a:lnTo>
                  <a:lnTo>
                    <a:pt x="282" y="200"/>
                  </a:lnTo>
                  <a:lnTo>
                    <a:pt x="278" y="208"/>
                  </a:lnTo>
                  <a:lnTo>
                    <a:pt x="266" y="220"/>
                  </a:lnTo>
                  <a:lnTo>
                    <a:pt x="254" y="230"/>
                  </a:lnTo>
                  <a:lnTo>
                    <a:pt x="242" y="236"/>
                  </a:lnTo>
                  <a:lnTo>
                    <a:pt x="242" y="236"/>
                  </a:lnTo>
                  <a:lnTo>
                    <a:pt x="234" y="232"/>
                  </a:lnTo>
                  <a:lnTo>
                    <a:pt x="228" y="226"/>
                  </a:lnTo>
                  <a:lnTo>
                    <a:pt x="218" y="214"/>
                  </a:lnTo>
                  <a:lnTo>
                    <a:pt x="210" y="202"/>
                  </a:lnTo>
                  <a:lnTo>
                    <a:pt x="208" y="188"/>
                  </a:lnTo>
                  <a:lnTo>
                    <a:pt x="206" y="176"/>
                  </a:lnTo>
                  <a:lnTo>
                    <a:pt x="206" y="166"/>
                  </a:lnTo>
                  <a:lnTo>
                    <a:pt x="208" y="156"/>
                  </a:lnTo>
                  <a:lnTo>
                    <a:pt x="208" y="15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72" name="Group 71">
            <a:extLst>
              <a:ext uri="{FF2B5EF4-FFF2-40B4-BE49-F238E27FC236}">
                <a16:creationId xmlns:a16="http://schemas.microsoft.com/office/drawing/2014/main" id="{74722390-BCA5-4ECE-AC44-5E838F21BA3A}"/>
              </a:ext>
            </a:extLst>
          </p:cNvPr>
          <p:cNvGrpSpPr/>
          <p:nvPr/>
        </p:nvGrpSpPr>
        <p:grpSpPr>
          <a:xfrm>
            <a:off x="4528484" y="1520049"/>
            <a:ext cx="612000" cy="612000"/>
            <a:chOff x="4091659" y="2258092"/>
            <a:chExt cx="612000" cy="612000"/>
          </a:xfrm>
        </p:grpSpPr>
        <p:sp>
          <p:nvSpPr>
            <p:cNvPr id="73" name="Oval 72">
              <a:extLst>
                <a:ext uri="{FF2B5EF4-FFF2-40B4-BE49-F238E27FC236}">
                  <a16:creationId xmlns:a16="http://schemas.microsoft.com/office/drawing/2014/main" id="{C32D3DA0-D95B-4351-83DA-801107B16933}"/>
                </a:ext>
              </a:extLst>
            </p:cNvPr>
            <p:cNvSpPr/>
            <p:nvPr/>
          </p:nvSpPr>
          <p:spPr bwMode="ltGray">
            <a:xfrm>
              <a:off x="4091659"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74" name="Freeform 4933">
              <a:extLst>
                <a:ext uri="{FF2B5EF4-FFF2-40B4-BE49-F238E27FC236}">
                  <a16:creationId xmlns:a16="http://schemas.microsoft.com/office/drawing/2014/main" id="{BE7DA690-37BC-4B2C-8FD9-70965F865AF2}"/>
                </a:ext>
              </a:extLst>
            </p:cNvPr>
            <p:cNvSpPr>
              <a:spLocks noEditPoints="1"/>
            </p:cNvSpPr>
            <p:nvPr/>
          </p:nvSpPr>
          <p:spPr bwMode="auto">
            <a:xfrm>
              <a:off x="4269976" y="2332919"/>
              <a:ext cx="255366" cy="486640"/>
            </a:xfrm>
            <a:custGeom>
              <a:avLst/>
              <a:gdLst>
                <a:gd name="T0" fmla="*/ 212 w 212"/>
                <a:gd name="T1" fmla="*/ 236 h 404"/>
                <a:gd name="T2" fmla="*/ 212 w 212"/>
                <a:gd name="T3" fmla="*/ 234 h 404"/>
                <a:gd name="T4" fmla="*/ 210 w 212"/>
                <a:gd name="T5" fmla="*/ 232 h 404"/>
                <a:gd name="T6" fmla="*/ 210 w 212"/>
                <a:gd name="T7" fmla="*/ 230 h 404"/>
                <a:gd name="T8" fmla="*/ 208 w 212"/>
                <a:gd name="T9" fmla="*/ 230 h 404"/>
                <a:gd name="T10" fmla="*/ 208 w 212"/>
                <a:gd name="T11" fmla="*/ 230 h 404"/>
                <a:gd name="T12" fmla="*/ 126 w 212"/>
                <a:gd name="T13" fmla="*/ 206 h 404"/>
                <a:gd name="T14" fmla="*/ 174 w 212"/>
                <a:gd name="T15" fmla="*/ 236 h 404"/>
                <a:gd name="T16" fmla="*/ 114 w 212"/>
                <a:gd name="T17" fmla="*/ 254 h 404"/>
                <a:gd name="T18" fmla="*/ 98 w 212"/>
                <a:gd name="T19" fmla="*/ 254 h 404"/>
                <a:gd name="T20" fmla="*/ 38 w 212"/>
                <a:gd name="T21" fmla="*/ 236 h 404"/>
                <a:gd name="T22" fmla="*/ 86 w 212"/>
                <a:gd name="T23" fmla="*/ 206 h 404"/>
                <a:gd name="T24" fmla="*/ 6 w 212"/>
                <a:gd name="T25" fmla="*/ 228 h 404"/>
                <a:gd name="T26" fmla="*/ 4 w 212"/>
                <a:gd name="T27" fmla="*/ 230 h 404"/>
                <a:gd name="T28" fmla="*/ 4 w 212"/>
                <a:gd name="T29" fmla="*/ 230 h 404"/>
                <a:gd name="T30" fmla="*/ 2 w 212"/>
                <a:gd name="T31" fmla="*/ 230 h 404"/>
                <a:gd name="T32" fmla="*/ 2 w 212"/>
                <a:gd name="T33" fmla="*/ 232 h 404"/>
                <a:gd name="T34" fmla="*/ 0 w 212"/>
                <a:gd name="T35" fmla="*/ 234 h 404"/>
                <a:gd name="T36" fmla="*/ 0 w 212"/>
                <a:gd name="T37" fmla="*/ 236 h 404"/>
                <a:gd name="T38" fmla="*/ 0 w 212"/>
                <a:gd name="T39" fmla="*/ 236 h 404"/>
                <a:gd name="T40" fmla="*/ 0 w 212"/>
                <a:gd name="T41" fmla="*/ 368 h 404"/>
                <a:gd name="T42" fmla="*/ 0 w 212"/>
                <a:gd name="T43" fmla="*/ 368 h 404"/>
                <a:gd name="T44" fmla="*/ 0 w 212"/>
                <a:gd name="T45" fmla="*/ 370 h 404"/>
                <a:gd name="T46" fmla="*/ 2 w 212"/>
                <a:gd name="T47" fmla="*/ 372 h 404"/>
                <a:gd name="T48" fmla="*/ 2 w 212"/>
                <a:gd name="T49" fmla="*/ 374 h 404"/>
                <a:gd name="T50" fmla="*/ 4 w 212"/>
                <a:gd name="T51" fmla="*/ 374 h 404"/>
                <a:gd name="T52" fmla="*/ 4 w 212"/>
                <a:gd name="T53" fmla="*/ 374 h 404"/>
                <a:gd name="T54" fmla="*/ 4 w 212"/>
                <a:gd name="T55" fmla="*/ 374 h 404"/>
                <a:gd name="T56" fmla="*/ 6 w 212"/>
                <a:gd name="T57" fmla="*/ 376 h 404"/>
                <a:gd name="T58" fmla="*/ 6 w 212"/>
                <a:gd name="T59" fmla="*/ 376 h 404"/>
                <a:gd name="T60" fmla="*/ 104 w 212"/>
                <a:gd name="T61" fmla="*/ 404 h 404"/>
                <a:gd name="T62" fmla="*/ 106 w 212"/>
                <a:gd name="T63" fmla="*/ 404 h 404"/>
                <a:gd name="T64" fmla="*/ 206 w 212"/>
                <a:gd name="T65" fmla="*/ 376 h 404"/>
                <a:gd name="T66" fmla="*/ 206 w 212"/>
                <a:gd name="T67" fmla="*/ 376 h 404"/>
                <a:gd name="T68" fmla="*/ 208 w 212"/>
                <a:gd name="T69" fmla="*/ 374 h 404"/>
                <a:gd name="T70" fmla="*/ 208 w 212"/>
                <a:gd name="T71" fmla="*/ 374 h 404"/>
                <a:gd name="T72" fmla="*/ 208 w 212"/>
                <a:gd name="T73" fmla="*/ 374 h 404"/>
                <a:gd name="T74" fmla="*/ 210 w 212"/>
                <a:gd name="T75" fmla="*/ 374 h 404"/>
                <a:gd name="T76" fmla="*/ 210 w 212"/>
                <a:gd name="T77" fmla="*/ 372 h 404"/>
                <a:gd name="T78" fmla="*/ 212 w 212"/>
                <a:gd name="T79" fmla="*/ 370 h 404"/>
                <a:gd name="T80" fmla="*/ 212 w 212"/>
                <a:gd name="T81" fmla="*/ 368 h 404"/>
                <a:gd name="T82" fmla="*/ 212 w 212"/>
                <a:gd name="T83" fmla="*/ 368 h 404"/>
                <a:gd name="T84" fmla="*/ 212 w 212"/>
                <a:gd name="T85" fmla="*/ 236 h 404"/>
                <a:gd name="T86" fmla="*/ 212 w 212"/>
                <a:gd name="T87" fmla="*/ 236 h 404"/>
                <a:gd name="T88" fmla="*/ 212 w 212"/>
                <a:gd name="T89" fmla="*/ 236 h 404"/>
                <a:gd name="T90" fmla="*/ 16 w 212"/>
                <a:gd name="T91" fmla="*/ 362 h 404"/>
                <a:gd name="T92" fmla="*/ 98 w 212"/>
                <a:gd name="T93" fmla="*/ 270 h 404"/>
                <a:gd name="T94" fmla="*/ 114 w 212"/>
                <a:gd name="T95" fmla="*/ 170 h 404"/>
                <a:gd name="T96" fmla="*/ 114 w 212"/>
                <a:gd name="T97" fmla="*/ 234 h 404"/>
                <a:gd name="T98" fmla="*/ 112 w 212"/>
                <a:gd name="T99" fmla="*/ 240 h 404"/>
                <a:gd name="T100" fmla="*/ 106 w 212"/>
                <a:gd name="T101" fmla="*/ 242 h 404"/>
                <a:gd name="T102" fmla="*/ 102 w 212"/>
                <a:gd name="T103" fmla="*/ 242 h 404"/>
                <a:gd name="T104" fmla="*/ 98 w 212"/>
                <a:gd name="T105" fmla="*/ 238 h 404"/>
                <a:gd name="T106" fmla="*/ 98 w 212"/>
                <a:gd name="T107" fmla="*/ 170 h 404"/>
                <a:gd name="T108" fmla="*/ 84 w 212"/>
                <a:gd name="T109" fmla="*/ 102 h 404"/>
                <a:gd name="T110" fmla="*/ 94 w 212"/>
                <a:gd name="T111" fmla="*/ 44 h 404"/>
                <a:gd name="T112" fmla="*/ 106 w 212"/>
                <a:gd name="T113" fmla="*/ 0 h 404"/>
                <a:gd name="T114" fmla="*/ 118 w 212"/>
                <a:gd name="T115" fmla="*/ 44 h 404"/>
                <a:gd name="T116" fmla="*/ 128 w 212"/>
                <a:gd name="T117" fmla="*/ 102 h 404"/>
                <a:gd name="T118" fmla="*/ 114 w 212"/>
                <a:gd name="T119" fmla="*/ 170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2" h="404">
                  <a:moveTo>
                    <a:pt x="212" y="236"/>
                  </a:moveTo>
                  <a:lnTo>
                    <a:pt x="212" y="236"/>
                  </a:lnTo>
                  <a:lnTo>
                    <a:pt x="212" y="234"/>
                  </a:lnTo>
                  <a:lnTo>
                    <a:pt x="212" y="234"/>
                  </a:lnTo>
                  <a:lnTo>
                    <a:pt x="210" y="232"/>
                  </a:lnTo>
                  <a:lnTo>
                    <a:pt x="210" y="232"/>
                  </a:lnTo>
                  <a:lnTo>
                    <a:pt x="210" y="230"/>
                  </a:lnTo>
                  <a:lnTo>
                    <a:pt x="210" y="230"/>
                  </a:lnTo>
                  <a:lnTo>
                    <a:pt x="208" y="230"/>
                  </a:lnTo>
                  <a:lnTo>
                    <a:pt x="208" y="230"/>
                  </a:lnTo>
                  <a:lnTo>
                    <a:pt x="208" y="230"/>
                  </a:lnTo>
                  <a:lnTo>
                    <a:pt x="208" y="230"/>
                  </a:lnTo>
                  <a:lnTo>
                    <a:pt x="206" y="228"/>
                  </a:lnTo>
                  <a:lnTo>
                    <a:pt x="126" y="206"/>
                  </a:lnTo>
                  <a:lnTo>
                    <a:pt x="126" y="222"/>
                  </a:lnTo>
                  <a:lnTo>
                    <a:pt x="174" y="236"/>
                  </a:lnTo>
                  <a:lnTo>
                    <a:pt x="114" y="254"/>
                  </a:lnTo>
                  <a:lnTo>
                    <a:pt x="114" y="254"/>
                  </a:lnTo>
                  <a:lnTo>
                    <a:pt x="106" y="256"/>
                  </a:lnTo>
                  <a:lnTo>
                    <a:pt x="98" y="254"/>
                  </a:lnTo>
                  <a:lnTo>
                    <a:pt x="98" y="254"/>
                  </a:lnTo>
                  <a:lnTo>
                    <a:pt x="38" y="236"/>
                  </a:lnTo>
                  <a:lnTo>
                    <a:pt x="86" y="222"/>
                  </a:lnTo>
                  <a:lnTo>
                    <a:pt x="86" y="206"/>
                  </a:lnTo>
                  <a:lnTo>
                    <a:pt x="6" y="228"/>
                  </a:lnTo>
                  <a:lnTo>
                    <a:pt x="6" y="228"/>
                  </a:lnTo>
                  <a:lnTo>
                    <a:pt x="4" y="230"/>
                  </a:lnTo>
                  <a:lnTo>
                    <a:pt x="4" y="230"/>
                  </a:lnTo>
                  <a:lnTo>
                    <a:pt x="4" y="230"/>
                  </a:lnTo>
                  <a:lnTo>
                    <a:pt x="4" y="230"/>
                  </a:lnTo>
                  <a:lnTo>
                    <a:pt x="2" y="230"/>
                  </a:lnTo>
                  <a:lnTo>
                    <a:pt x="2" y="230"/>
                  </a:lnTo>
                  <a:lnTo>
                    <a:pt x="2" y="232"/>
                  </a:lnTo>
                  <a:lnTo>
                    <a:pt x="2" y="232"/>
                  </a:lnTo>
                  <a:lnTo>
                    <a:pt x="0" y="234"/>
                  </a:lnTo>
                  <a:lnTo>
                    <a:pt x="0" y="234"/>
                  </a:lnTo>
                  <a:lnTo>
                    <a:pt x="0" y="236"/>
                  </a:lnTo>
                  <a:lnTo>
                    <a:pt x="0" y="236"/>
                  </a:lnTo>
                  <a:lnTo>
                    <a:pt x="0" y="236"/>
                  </a:lnTo>
                  <a:lnTo>
                    <a:pt x="0" y="236"/>
                  </a:lnTo>
                  <a:lnTo>
                    <a:pt x="0" y="368"/>
                  </a:lnTo>
                  <a:lnTo>
                    <a:pt x="0" y="368"/>
                  </a:lnTo>
                  <a:lnTo>
                    <a:pt x="0" y="368"/>
                  </a:lnTo>
                  <a:lnTo>
                    <a:pt x="0" y="368"/>
                  </a:lnTo>
                  <a:lnTo>
                    <a:pt x="0" y="368"/>
                  </a:lnTo>
                  <a:lnTo>
                    <a:pt x="0" y="370"/>
                  </a:lnTo>
                  <a:lnTo>
                    <a:pt x="0" y="370"/>
                  </a:lnTo>
                  <a:lnTo>
                    <a:pt x="2" y="372"/>
                  </a:lnTo>
                  <a:lnTo>
                    <a:pt x="2" y="372"/>
                  </a:lnTo>
                  <a:lnTo>
                    <a:pt x="2" y="374"/>
                  </a:lnTo>
                  <a:lnTo>
                    <a:pt x="2" y="374"/>
                  </a:lnTo>
                  <a:lnTo>
                    <a:pt x="4" y="374"/>
                  </a:lnTo>
                  <a:lnTo>
                    <a:pt x="4" y="374"/>
                  </a:lnTo>
                  <a:lnTo>
                    <a:pt x="4" y="374"/>
                  </a:lnTo>
                  <a:lnTo>
                    <a:pt x="4" y="374"/>
                  </a:lnTo>
                  <a:lnTo>
                    <a:pt x="4" y="374"/>
                  </a:lnTo>
                  <a:lnTo>
                    <a:pt x="4" y="374"/>
                  </a:lnTo>
                  <a:lnTo>
                    <a:pt x="6" y="376"/>
                  </a:lnTo>
                  <a:lnTo>
                    <a:pt x="6" y="376"/>
                  </a:lnTo>
                  <a:lnTo>
                    <a:pt x="6" y="376"/>
                  </a:lnTo>
                  <a:lnTo>
                    <a:pt x="104" y="404"/>
                  </a:lnTo>
                  <a:lnTo>
                    <a:pt x="104" y="404"/>
                  </a:lnTo>
                  <a:lnTo>
                    <a:pt x="106" y="404"/>
                  </a:lnTo>
                  <a:lnTo>
                    <a:pt x="106" y="404"/>
                  </a:lnTo>
                  <a:lnTo>
                    <a:pt x="108" y="404"/>
                  </a:lnTo>
                  <a:lnTo>
                    <a:pt x="206" y="376"/>
                  </a:lnTo>
                  <a:lnTo>
                    <a:pt x="206" y="376"/>
                  </a:lnTo>
                  <a:lnTo>
                    <a:pt x="206" y="376"/>
                  </a:lnTo>
                  <a:lnTo>
                    <a:pt x="206" y="376"/>
                  </a:lnTo>
                  <a:lnTo>
                    <a:pt x="208" y="374"/>
                  </a:lnTo>
                  <a:lnTo>
                    <a:pt x="208" y="374"/>
                  </a:lnTo>
                  <a:lnTo>
                    <a:pt x="208" y="374"/>
                  </a:lnTo>
                  <a:lnTo>
                    <a:pt x="208" y="374"/>
                  </a:lnTo>
                  <a:lnTo>
                    <a:pt x="208" y="374"/>
                  </a:lnTo>
                  <a:lnTo>
                    <a:pt x="208" y="374"/>
                  </a:lnTo>
                  <a:lnTo>
                    <a:pt x="210" y="374"/>
                  </a:lnTo>
                  <a:lnTo>
                    <a:pt x="210" y="374"/>
                  </a:lnTo>
                  <a:lnTo>
                    <a:pt x="210" y="372"/>
                  </a:lnTo>
                  <a:lnTo>
                    <a:pt x="210" y="372"/>
                  </a:lnTo>
                  <a:lnTo>
                    <a:pt x="212" y="370"/>
                  </a:lnTo>
                  <a:lnTo>
                    <a:pt x="212" y="370"/>
                  </a:lnTo>
                  <a:lnTo>
                    <a:pt x="212" y="368"/>
                  </a:lnTo>
                  <a:lnTo>
                    <a:pt x="212" y="368"/>
                  </a:lnTo>
                  <a:lnTo>
                    <a:pt x="212" y="368"/>
                  </a:lnTo>
                  <a:lnTo>
                    <a:pt x="212" y="368"/>
                  </a:lnTo>
                  <a:lnTo>
                    <a:pt x="212" y="236"/>
                  </a:lnTo>
                  <a:lnTo>
                    <a:pt x="212" y="236"/>
                  </a:lnTo>
                  <a:lnTo>
                    <a:pt x="212" y="236"/>
                  </a:lnTo>
                  <a:lnTo>
                    <a:pt x="212" y="236"/>
                  </a:lnTo>
                  <a:lnTo>
                    <a:pt x="212" y="236"/>
                  </a:lnTo>
                  <a:close/>
                  <a:moveTo>
                    <a:pt x="98" y="386"/>
                  </a:moveTo>
                  <a:lnTo>
                    <a:pt x="16" y="362"/>
                  </a:lnTo>
                  <a:lnTo>
                    <a:pt x="16" y="248"/>
                  </a:lnTo>
                  <a:lnTo>
                    <a:pt x="98" y="270"/>
                  </a:lnTo>
                  <a:lnTo>
                    <a:pt x="98" y="386"/>
                  </a:lnTo>
                  <a:close/>
                  <a:moveTo>
                    <a:pt x="114" y="170"/>
                  </a:moveTo>
                  <a:lnTo>
                    <a:pt x="114" y="234"/>
                  </a:lnTo>
                  <a:lnTo>
                    <a:pt x="114" y="234"/>
                  </a:lnTo>
                  <a:lnTo>
                    <a:pt x="114" y="238"/>
                  </a:lnTo>
                  <a:lnTo>
                    <a:pt x="112" y="240"/>
                  </a:lnTo>
                  <a:lnTo>
                    <a:pt x="110" y="242"/>
                  </a:lnTo>
                  <a:lnTo>
                    <a:pt x="106" y="242"/>
                  </a:lnTo>
                  <a:lnTo>
                    <a:pt x="106" y="242"/>
                  </a:lnTo>
                  <a:lnTo>
                    <a:pt x="102" y="242"/>
                  </a:lnTo>
                  <a:lnTo>
                    <a:pt x="100" y="240"/>
                  </a:lnTo>
                  <a:lnTo>
                    <a:pt x="98" y="238"/>
                  </a:lnTo>
                  <a:lnTo>
                    <a:pt x="98" y="234"/>
                  </a:lnTo>
                  <a:lnTo>
                    <a:pt x="98" y="170"/>
                  </a:lnTo>
                  <a:lnTo>
                    <a:pt x="16" y="170"/>
                  </a:lnTo>
                  <a:lnTo>
                    <a:pt x="84" y="102"/>
                  </a:lnTo>
                  <a:lnTo>
                    <a:pt x="38" y="102"/>
                  </a:lnTo>
                  <a:lnTo>
                    <a:pt x="94" y="44"/>
                  </a:lnTo>
                  <a:lnTo>
                    <a:pt x="60" y="44"/>
                  </a:lnTo>
                  <a:lnTo>
                    <a:pt x="106" y="0"/>
                  </a:lnTo>
                  <a:lnTo>
                    <a:pt x="152" y="44"/>
                  </a:lnTo>
                  <a:lnTo>
                    <a:pt x="118" y="44"/>
                  </a:lnTo>
                  <a:lnTo>
                    <a:pt x="174" y="102"/>
                  </a:lnTo>
                  <a:lnTo>
                    <a:pt x="128" y="102"/>
                  </a:lnTo>
                  <a:lnTo>
                    <a:pt x="196" y="170"/>
                  </a:lnTo>
                  <a:lnTo>
                    <a:pt x="114" y="17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75" name="Group 74">
            <a:extLst>
              <a:ext uri="{FF2B5EF4-FFF2-40B4-BE49-F238E27FC236}">
                <a16:creationId xmlns:a16="http://schemas.microsoft.com/office/drawing/2014/main" id="{197AFD72-F7AB-4BB0-B198-50C08E7B936A}"/>
              </a:ext>
            </a:extLst>
          </p:cNvPr>
          <p:cNvGrpSpPr/>
          <p:nvPr/>
        </p:nvGrpSpPr>
        <p:grpSpPr>
          <a:xfrm>
            <a:off x="3647535" y="1492761"/>
            <a:ext cx="612000" cy="612000"/>
            <a:chOff x="2342233" y="2258092"/>
            <a:chExt cx="612000" cy="612000"/>
          </a:xfrm>
        </p:grpSpPr>
        <p:sp>
          <p:nvSpPr>
            <p:cNvPr id="76" name="Oval 75">
              <a:extLst>
                <a:ext uri="{FF2B5EF4-FFF2-40B4-BE49-F238E27FC236}">
                  <a16:creationId xmlns:a16="http://schemas.microsoft.com/office/drawing/2014/main" id="{C90E01FC-6C92-446F-82C8-CC2B15240923}"/>
                </a:ext>
              </a:extLst>
            </p:cNvPr>
            <p:cNvSpPr/>
            <p:nvPr/>
          </p:nvSpPr>
          <p:spPr bwMode="ltGray">
            <a:xfrm>
              <a:off x="2342233"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77" name="Freeform 4935">
              <a:extLst>
                <a:ext uri="{FF2B5EF4-FFF2-40B4-BE49-F238E27FC236}">
                  <a16:creationId xmlns:a16="http://schemas.microsoft.com/office/drawing/2014/main" id="{458DDD96-A273-4CE4-95B9-6CB598C8047F}"/>
                </a:ext>
              </a:extLst>
            </p:cNvPr>
            <p:cNvSpPr>
              <a:spLocks noEditPoints="1"/>
            </p:cNvSpPr>
            <p:nvPr/>
          </p:nvSpPr>
          <p:spPr bwMode="auto">
            <a:xfrm>
              <a:off x="2432618" y="2354601"/>
              <a:ext cx="431230" cy="438458"/>
            </a:xfrm>
            <a:custGeom>
              <a:avLst/>
              <a:gdLst>
                <a:gd name="T0" fmla="*/ 358 w 358"/>
                <a:gd name="T1" fmla="*/ 236 h 364"/>
                <a:gd name="T2" fmla="*/ 282 w 358"/>
                <a:gd name="T3" fmla="*/ 236 h 364"/>
                <a:gd name="T4" fmla="*/ 282 w 358"/>
                <a:gd name="T5" fmla="*/ 294 h 364"/>
                <a:gd name="T6" fmla="*/ 282 w 358"/>
                <a:gd name="T7" fmla="*/ 294 h 364"/>
                <a:gd name="T8" fmla="*/ 280 w 358"/>
                <a:gd name="T9" fmla="*/ 298 h 364"/>
                <a:gd name="T10" fmla="*/ 278 w 358"/>
                <a:gd name="T11" fmla="*/ 302 h 364"/>
                <a:gd name="T12" fmla="*/ 276 w 358"/>
                <a:gd name="T13" fmla="*/ 304 h 364"/>
                <a:gd name="T14" fmla="*/ 272 w 358"/>
                <a:gd name="T15" fmla="*/ 304 h 364"/>
                <a:gd name="T16" fmla="*/ 272 w 358"/>
                <a:gd name="T17" fmla="*/ 304 h 364"/>
                <a:gd name="T18" fmla="*/ 268 w 358"/>
                <a:gd name="T19" fmla="*/ 304 h 364"/>
                <a:gd name="T20" fmla="*/ 264 w 358"/>
                <a:gd name="T21" fmla="*/ 302 h 364"/>
                <a:gd name="T22" fmla="*/ 262 w 358"/>
                <a:gd name="T23" fmla="*/ 298 h 364"/>
                <a:gd name="T24" fmla="*/ 262 w 358"/>
                <a:gd name="T25" fmla="*/ 294 h 364"/>
                <a:gd name="T26" fmla="*/ 262 w 358"/>
                <a:gd name="T27" fmla="*/ 236 h 364"/>
                <a:gd name="T28" fmla="*/ 226 w 358"/>
                <a:gd name="T29" fmla="*/ 236 h 364"/>
                <a:gd name="T30" fmla="*/ 206 w 358"/>
                <a:gd name="T31" fmla="*/ 210 h 364"/>
                <a:gd name="T32" fmla="*/ 248 w 358"/>
                <a:gd name="T33" fmla="*/ 154 h 364"/>
                <a:gd name="T34" fmla="*/ 214 w 358"/>
                <a:gd name="T35" fmla="*/ 154 h 364"/>
                <a:gd name="T36" fmla="*/ 256 w 358"/>
                <a:gd name="T37" fmla="*/ 100 h 364"/>
                <a:gd name="T38" fmla="*/ 236 w 358"/>
                <a:gd name="T39" fmla="*/ 100 h 364"/>
                <a:gd name="T40" fmla="*/ 272 w 358"/>
                <a:gd name="T41" fmla="*/ 52 h 364"/>
                <a:gd name="T42" fmla="*/ 308 w 358"/>
                <a:gd name="T43" fmla="*/ 100 h 364"/>
                <a:gd name="T44" fmla="*/ 286 w 358"/>
                <a:gd name="T45" fmla="*/ 100 h 364"/>
                <a:gd name="T46" fmla="*/ 328 w 358"/>
                <a:gd name="T47" fmla="*/ 154 h 364"/>
                <a:gd name="T48" fmla="*/ 294 w 358"/>
                <a:gd name="T49" fmla="*/ 154 h 364"/>
                <a:gd name="T50" fmla="*/ 358 w 358"/>
                <a:gd name="T51" fmla="*/ 236 h 364"/>
                <a:gd name="T52" fmla="*/ 238 w 358"/>
                <a:gd name="T53" fmla="*/ 278 h 364"/>
                <a:gd name="T54" fmla="*/ 166 w 358"/>
                <a:gd name="T55" fmla="*/ 184 h 364"/>
                <a:gd name="T56" fmla="*/ 204 w 358"/>
                <a:gd name="T57" fmla="*/ 184 h 364"/>
                <a:gd name="T58" fmla="*/ 142 w 358"/>
                <a:gd name="T59" fmla="*/ 102 h 364"/>
                <a:gd name="T60" fmla="*/ 176 w 358"/>
                <a:gd name="T61" fmla="*/ 102 h 364"/>
                <a:gd name="T62" fmla="*/ 134 w 358"/>
                <a:gd name="T63" fmla="*/ 48 h 364"/>
                <a:gd name="T64" fmla="*/ 154 w 358"/>
                <a:gd name="T65" fmla="*/ 48 h 364"/>
                <a:gd name="T66" fmla="*/ 118 w 358"/>
                <a:gd name="T67" fmla="*/ 0 h 364"/>
                <a:gd name="T68" fmla="*/ 84 w 358"/>
                <a:gd name="T69" fmla="*/ 48 h 364"/>
                <a:gd name="T70" fmla="*/ 104 w 358"/>
                <a:gd name="T71" fmla="*/ 48 h 364"/>
                <a:gd name="T72" fmla="*/ 62 w 358"/>
                <a:gd name="T73" fmla="*/ 102 h 364"/>
                <a:gd name="T74" fmla="*/ 96 w 358"/>
                <a:gd name="T75" fmla="*/ 102 h 364"/>
                <a:gd name="T76" fmla="*/ 34 w 358"/>
                <a:gd name="T77" fmla="*/ 184 h 364"/>
                <a:gd name="T78" fmla="*/ 72 w 358"/>
                <a:gd name="T79" fmla="*/ 184 h 364"/>
                <a:gd name="T80" fmla="*/ 0 w 358"/>
                <a:gd name="T81" fmla="*/ 278 h 364"/>
                <a:gd name="T82" fmla="*/ 102 w 358"/>
                <a:gd name="T83" fmla="*/ 278 h 364"/>
                <a:gd name="T84" fmla="*/ 102 w 358"/>
                <a:gd name="T85" fmla="*/ 348 h 364"/>
                <a:gd name="T86" fmla="*/ 102 w 358"/>
                <a:gd name="T87" fmla="*/ 348 h 364"/>
                <a:gd name="T88" fmla="*/ 104 w 358"/>
                <a:gd name="T89" fmla="*/ 354 h 364"/>
                <a:gd name="T90" fmla="*/ 108 w 358"/>
                <a:gd name="T91" fmla="*/ 360 h 364"/>
                <a:gd name="T92" fmla="*/ 112 w 358"/>
                <a:gd name="T93" fmla="*/ 364 h 364"/>
                <a:gd name="T94" fmla="*/ 118 w 358"/>
                <a:gd name="T95" fmla="*/ 364 h 364"/>
                <a:gd name="T96" fmla="*/ 118 w 358"/>
                <a:gd name="T97" fmla="*/ 364 h 364"/>
                <a:gd name="T98" fmla="*/ 124 w 358"/>
                <a:gd name="T99" fmla="*/ 364 h 364"/>
                <a:gd name="T100" fmla="*/ 130 w 358"/>
                <a:gd name="T101" fmla="*/ 360 h 364"/>
                <a:gd name="T102" fmla="*/ 134 w 358"/>
                <a:gd name="T103" fmla="*/ 354 h 364"/>
                <a:gd name="T104" fmla="*/ 134 w 358"/>
                <a:gd name="T105" fmla="*/ 348 h 364"/>
                <a:gd name="T106" fmla="*/ 134 w 358"/>
                <a:gd name="T107" fmla="*/ 278 h 364"/>
                <a:gd name="T108" fmla="*/ 238 w 358"/>
                <a:gd name="T109" fmla="*/ 278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8" h="364">
                  <a:moveTo>
                    <a:pt x="358" y="236"/>
                  </a:moveTo>
                  <a:lnTo>
                    <a:pt x="282" y="236"/>
                  </a:lnTo>
                  <a:lnTo>
                    <a:pt x="282" y="294"/>
                  </a:lnTo>
                  <a:lnTo>
                    <a:pt x="282" y="294"/>
                  </a:lnTo>
                  <a:lnTo>
                    <a:pt x="280" y="298"/>
                  </a:lnTo>
                  <a:lnTo>
                    <a:pt x="278" y="302"/>
                  </a:lnTo>
                  <a:lnTo>
                    <a:pt x="276" y="304"/>
                  </a:lnTo>
                  <a:lnTo>
                    <a:pt x="272" y="304"/>
                  </a:lnTo>
                  <a:lnTo>
                    <a:pt x="272" y="304"/>
                  </a:lnTo>
                  <a:lnTo>
                    <a:pt x="268" y="304"/>
                  </a:lnTo>
                  <a:lnTo>
                    <a:pt x="264" y="302"/>
                  </a:lnTo>
                  <a:lnTo>
                    <a:pt x="262" y="298"/>
                  </a:lnTo>
                  <a:lnTo>
                    <a:pt x="262" y="294"/>
                  </a:lnTo>
                  <a:lnTo>
                    <a:pt x="262" y="236"/>
                  </a:lnTo>
                  <a:lnTo>
                    <a:pt x="226" y="236"/>
                  </a:lnTo>
                  <a:lnTo>
                    <a:pt x="206" y="210"/>
                  </a:lnTo>
                  <a:lnTo>
                    <a:pt x="248" y="154"/>
                  </a:lnTo>
                  <a:lnTo>
                    <a:pt x="214" y="154"/>
                  </a:lnTo>
                  <a:lnTo>
                    <a:pt x="256" y="100"/>
                  </a:lnTo>
                  <a:lnTo>
                    <a:pt x="236" y="100"/>
                  </a:lnTo>
                  <a:lnTo>
                    <a:pt x="272" y="52"/>
                  </a:lnTo>
                  <a:lnTo>
                    <a:pt x="308" y="100"/>
                  </a:lnTo>
                  <a:lnTo>
                    <a:pt x="286" y="100"/>
                  </a:lnTo>
                  <a:lnTo>
                    <a:pt x="328" y="154"/>
                  </a:lnTo>
                  <a:lnTo>
                    <a:pt x="294" y="154"/>
                  </a:lnTo>
                  <a:lnTo>
                    <a:pt x="358" y="236"/>
                  </a:lnTo>
                  <a:close/>
                  <a:moveTo>
                    <a:pt x="238" y="278"/>
                  </a:moveTo>
                  <a:lnTo>
                    <a:pt x="166" y="184"/>
                  </a:lnTo>
                  <a:lnTo>
                    <a:pt x="204" y="184"/>
                  </a:lnTo>
                  <a:lnTo>
                    <a:pt x="142" y="102"/>
                  </a:lnTo>
                  <a:lnTo>
                    <a:pt x="176" y="102"/>
                  </a:lnTo>
                  <a:lnTo>
                    <a:pt x="134" y="48"/>
                  </a:lnTo>
                  <a:lnTo>
                    <a:pt x="154" y="48"/>
                  </a:lnTo>
                  <a:lnTo>
                    <a:pt x="118" y="0"/>
                  </a:lnTo>
                  <a:lnTo>
                    <a:pt x="84" y="48"/>
                  </a:lnTo>
                  <a:lnTo>
                    <a:pt x="104" y="48"/>
                  </a:lnTo>
                  <a:lnTo>
                    <a:pt x="62" y="102"/>
                  </a:lnTo>
                  <a:lnTo>
                    <a:pt x="96" y="102"/>
                  </a:lnTo>
                  <a:lnTo>
                    <a:pt x="34" y="184"/>
                  </a:lnTo>
                  <a:lnTo>
                    <a:pt x="72" y="184"/>
                  </a:lnTo>
                  <a:lnTo>
                    <a:pt x="0" y="278"/>
                  </a:lnTo>
                  <a:lnTo>
                    <a:pt x="102" y="278"/>
                  </a:lnTo>
                  <a:lnTo>
                    <a:pt x="102" y="348"/>
                  </a:lnTo>
                  <a:lnTo>
                    <a:pt x="102" y="348"/>
                  </a:lnTo>
                  <a:lnTo>
                    <a:pt x="104" y="354"/>
                  </a:lnTo>
                  <a:lnTo>
                    <a:pt x="108" y="360"/>
                  </a:lnTo>
                  <a:lnTo>
                    <a:pt x="112" y="364"/>
                  </a:lnTo>
                  <a:lnTo>
                    <a:pt x="118" y="364"/>
                  </a:lnTo>
                  <a:lnTo>
                    <a:pt x="118" y="364"/>
                  </a:lnTo>
                  <a:lnTo>
                    <a:pt x="124" y="364"/>
                  </a:lnTo>
                  <a:lnTo>
                    <a:pt x="130" y="360"/>
                  </a:lnTo>
                  <a:lnTo>
                    <a:pt x="134" y="354"/>
                  </a:lnTo>
                  <a:lnTo>
                    <a:pt x="134" y="348"/>
                  </a:lnTo>
                  <a:lnTo>
                    <a:pt x="134" y="278"/>
                  </a:lnTo>
                  <a:lnTo>
                    <a:pt x="238" y="27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78" name="Group 77">
            <a:extLst>
              <a:ext uri="{FF2B5EF4-FFF2-40B4-BE49-F238E27FC236}">
                <a16:creationId xmlns:a16="http://schemas.microsoft.com/office/drawing/2014/main" id="{386F32C4-BBC3-42A6-8888-5B804F7E8712}"/>
              </a:ext>
            </a:extLst>
          </p:cNvPr>
          <p:cNvGrpSpPr/>
          <p:nvPr/>
        </p:nvGrpSpPr>
        <p:grpSpPr>
          <a:xfrm>
            <a:off x="2766586" y="5136080"/>
            <a:ext cx="612000" cy="612000"/>
            <a:chOff x="1467520" y="5907019"/>
            <a:chExt cx="612000" cy="612000"/>
          </a:xfrm>
        </p:grpSpPr>
        <p:sp>
          <p:nvSpPr>
            <p:cNvPr id="79" name="Oval 78">
              <a:extLst>
                <a:ext uri="{FF2B5EF4-FFF2-40B4-BE49-F238E27FC236}">
                  <a16:creationId xmlns:a16="http://schemas.microsoft.com/office/drawing/2014/main" id="{C84B85FF-A369-4083-8897-F8EF169853AA}"/>
                </a:ext>
              </a:extLst>
            </p:cNvPr>
            <p:cNvSpPr/>
            <p:nvPr/>
          </p:nvSpPr>
          <p:spPr bwMode="ltGray">
            <a:xfrm>
              <a:off x="1467520"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80" name="Freeform 4936">
              <a:extLst>
                <a:ext uri="{FF2B5EF4-FFF2-40B4-BE49-F238E27FC236}">
                  <a16:creationId xmlns:a16="http://schemas.microsoft.com/office/drawing/2014/main" id="{AC1F0D42-DAED-4344-BBC2-A13505EF7E85}"/>
                </a:ext>
              </a:extLst>
            </p:cNvPr>
            <p:cNvSpPr>
              <a:spLocks noEditPoints="1"/>
            </p:cNvSpPr>
            <p:nvPr/>
          </p:nvSpPr>
          <p:spPr bwMode="auto">
            <a:xfrm>
              <a:off x="1543183" y="5985129"/>
              <a:ext cx="477003" cy="450504"/>
            </a:xfrm>
            <a:custGeom>
              <a:avLst/>
              <a:gdLst>
                <a:gd name="T0" fmla="*/ 198 w 396"/>
                <a:gd name="T1" fmla="*/ 218 h 374"/>
                <a:gd name="T2" fmla="*/ 178 w 396"/>
                <a:gd name="T3" fmla="*/ 198 h 374"/>
                <a:gd name="T4" fmla="*/ 206 w 396"/>
                <a:gd name="T5" fmla="*/ 180 h 374"/>
                <a:gd name="T6" fmla="*/ 396 w 396"/>
                <a:gd name="T7" fmla="*/ 198 h 374"/>
                <a:gd name="T8" fmla="*/ 332 w 396"/>
                <a:gd name="T9" fmla="*/ 344 h 374"/>
                <a:gd name="T10" fmla="*/ 230 w 396"/>
                <a:gd name="T11" fmla="*/ 334 h 374"/>
                <a:gd name="T12" fmla="*/ 150 w 396"/>
                <a:gd name="T13" fmla="*/ 328 h 374"/>
                <a:gd name="T14" fmla="*/ 46 w 396"/>
                <a:gd name="T15" fmla="*/ 324 h 374"/>
                <a:gd name="T16" fmla="*/ 0 w 396"/>
                <a:gd name="T17" fmla="*/ 198 h 374"/>
                <a:gd name="T18" fmla="*/ 34 w 396"/>
                <a:gd name="T19" fmla="*/ 88 h 374"/>
                <a:gd name="T20" fmla="*/ 122 w 396"/>
                <a:gd name="T21" fmla="*/ 16 h 374"/>
                <a:gd name="T22" fmla="*/ 218 w 396"/>
                <a:gd name="T23" fmla="*/ 2 h 374"/>
                <a:gd name="T24" fmla="*/ 324 w 396"/>
                <a:gd name="T25" fmla="*/ 46 h 374"/>
                <a:gd name="T26" fmla="*/ 386 w 396"/>
                <a:gd name="T27" fmla="*/ 140 h 374"/>
                <a:gd name="T28" fmla="*/ 310 w 396"/>
                <a:gd name="T29" fmla="*/ 134 h 374"/>
                <a:gd name="T30" fmla="*/ 352 w 396"/>
                <a:gd name="T31" fmla="*/ 120 h 374"/>
                <a:gd name="T32" fmla="*/ 354 w 396"/>
                <a:gd name="T33" fmla="*/ 104 h 374"/>
                <a:gd name="T34" fmla="*/ 310 w 396"/>
                <a:gd name="T35" fmla="*/ 122 h 374"/>
                <a:gd name="T36" fmla="*/ 262 w 396"/>
                <a:gd name="T37" fmla="*/ 86 h 374"/>
                <a:gd name="T38" fmla="*/ 292 w 396"/>
                <a:gd name="T39" fmla="*/ 54 h 374"/>
                <a:gd name="T40" fmla="*/ 286 w 396"/>
                <a:gd name="T41" fmla="*/ 38 h 374"/>
                <a:gd name="T42" fmla="*/ 258 w 396"/>
                <a:gd name="T43" fmla="*/ 76 h 374"/>
                <a:gd name="T44" fmla="*/ 188 w 396"/>
                <a:gd name="T45" fmla="*/ 60 h 374"/>
                <a:gd name="T46" fmla="*/ 202 w 396"/>
                <a:gd name="T47" fmla="*/ 68 h 374"/>
                <a:gd name="T48" fmla="*/ 208 w 396"/>
                <a:gd name="T49" fmla="*/ 22 h 374"/>
                <a:gd name="T50" fmla="*/ 190 w 396"/>
                <a:gd name="T51" fmla="*/ 18 h 374"/>
                <a:gd name="T52" fmla="*/ 58 w 396"/>
                <a:gd name="T53" fmla="*/ 208 h 374"/>
                <a:gd name="T54" fmla="*/ 68 w 396"/>
                <a:gd name="T55" fmla="*/ 194 h 374"/>
                <a:gd name="T56" fmla="*/ 22 w 396"/>
                <a:gd name="T57" fmla="*/ 188 h 374"/>
                <a:gd name="T58" fmla="*/ 18 w 396"/>
                <a:gd name="T59" fmla="*/ 206 h 374"/>
                <a:gd name="T60" fmla="*/ 84 w 396"/>
                <a:gd name="T61" fmla="*/ 260 h 374"/>
                <a:gd name="T62" fmla="*/ 40 w 396"/>
                <a:gd name="T63" fmla="*/ 278 h 374"/>
                <a:gd name="T64" fmla="*/ 48 w 396"/>
                <a:gd name="T65" fmla="*/ 294 h 374"/>
                <a:gd name="T66" fmla="*/ 88 w 396"/>
                <a:gd name="T67" fmla="*/ 270 h 374"/>
                <a:gd name="T68" fmla="*/ 54 w 396"/>
                <a:gd name="T69" fmla="*/ 104 h 374"/>
                <a:gd name="T70" fmla="*/ 38 w 396"/>
                <a:gd name="T71" fmla="*/ 110 h 374"/>
                <a:gd name="T72" fmla="*/ 78 w 396"/>
                <a:gd name="T73" fmla="*/ 138 h 374"/>
                <a:gd name="T74" fmla="*/ 88 w 396"/>
                <a:gd name="T75" fmla="*/ 126 h 374"/>
                <a:gd name="T76" fmla="*/ 120 w 396"/>
                <a:gd name="T77" fmla="*/ 44 h 374"/>
                <a:gd name="T78" fmla="*/ 104 w 396"/>
                <a:gd name="T79" fmla="*/ 42 h 374"/>
                <a:gd name="T80" fmla="*/ 124 w 396"/>
                <a:gd name="T81" fmla="*/ 86 h 374"/>
                <a:gd name="T82" fmla="*/ 138 w 396"/>
                <a:gd name="T83" fmla="*/ 80 h 374"/>
                <a:gd name="T84" fmla="*/ 224 w 396"/>
                <a:gd name="T85" fmla="*/ 174 h 374"/>
                <a:gd name="T86" fmla="*/ 188 w 396"/>
                <a:gd name="T87" fmla="*/ 164 h 374"/>
                <a:gd name="T88" fmla="*/ 164 w 396"/>
                <a:gd name="T89" fmla="*/ 186 h 374"/>
                <a:gd name="T90" fmla="*/ 176 w 396"/>
                <a:gd name="T91" fmla="*/ 226 h 374"/>
                <a:gd name="T92" fmla="*/ 216 w 396"/>
                <a:gd name="T93" fmla="*/ 228 h 374"/>
                <a:gd name="T94" fmla="*/ 324 w 396"/>
                <a:gd name="T95" fmla="*/ 258 h 374"/>
                <a:gd name="T96" fmla="*/ 310 w 396"/>
                <a:gd name="T97" fmla="*/ 262 h 374"/>
                <a:gd name="T98" fmla="*/ 342 w 396"/>
                <a:gd name="T99" fmla="*/ 292 h 374"/>
                <a:gd name="T100" fmla="*/ 358 w 396"/>
                <a:gd name="T101" fmla="*/ 286 h 374"/>
                <a:gd name="T102" fmla="*/ 380 w 396"/>
                <a:gd name="T103" fmla="*/ 198 h 374"/>
                <a:gd name="T104" fmla="*/ 338 w 396"/>
                <a:gd name="T105" fmla="*/ 188 h 374"/>
                <a:gd name="T106" fmla="*/ 328 w 396"/>
                <a:gd name="T107" fmla="*/ 202 h 374"/>
                <a:gd name="T108" fmla="*/ 374 w 396"/>
                <a:gd name="T109" fmla="*/ 20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 h="374">
                  <a:moveTo>
                    <a:pt x="218" y="198"/>
                  </a:moveTo>
                  <a:lnTo>
                    <a:pt x="218" y="198"/>
                  </a:lnTo>
                  <a:lnTo>
                    <a:pt x="216" y="206"/>
                  </a:lnTo>
                  <a:lnTo>
                    <a:pt x="212" y="212"/>
                  </a:lnTo>
                  <a:lnTo>
                    <a:pt x="206" y="216"/>
                  </a:lnTo>
                  <a:lnTo>
                    <a:pt x="198" y="218"/>
                  </a:lnTo>
                  <a:lnTo>
                    <a:pt x="198" y="218"/>
                  </a:lnTo>
                  <a:lnTo>
                    <a:pt x="190" y="216"/>
                  </a:lnTo>
                  <a:lnTo>
                    <a:pt x="184" y="212"/>
                  </a:lnTo>
                  <a:lnTo>
                    <a:pt x="180" y="206"/>
                  </a:lnTo>
                  <a:lnTo>
                    <a:pt x="178" y="198"/>
                  </a:lnTo>
                  <a:lnTo>
                    <a:pt x="178" y="198"/>
                  </a:lnTo>
                  <a:lnTo>
                    <a:pt x="180" y="190"/>
                  </a:lnTo>
                  <a:lnTo>
                    <a:pt x="184" y="184"/>
                  </a:lnTo>
                  <a:lnTo>
                    <a:pt x="190" y="180"/>
                  </a:lnTo>
                  <a:lnTo>
                    <a:pt x="198" y="178"/>
                  </a:lnTo>
                  <a:lnTo>
                    <a:pt x="198" y="178"/>
                  </a:lnTo>
                  <a:lnTo>
                    <a:pt x="206" y="180"/>
                  </a:lnTo>
                  <a:lnTo>
                    <a:pt x="212" y="184"/>
                  </a:lnTo>
                  <a:lnTo>
                    <a:pt x="216" y="190"/>
                  </a:lnTo>
                  <a:lnTo>
                    <a:pt x="218" y="198"/>
                  </a:lnTo>
                  <a:lnTo>
                    <a:pt x="218" y="198"/>
                  </a:lnTo>
                  <a:close/>
                  <a:moveTo>
                    <a:pt x="396" y="198"/>
                  </a:moveTo>
                  <a:lnTo>
                    <a:pt x="396" y="198"/>
                  </a:lnTo>
                  <a:lnTo>
                    <a:pt x="394" y="226"/>
                  </a:lnTo>
                  <a:lnTo>
                    <a:pt x="388" y="254"/>
                  </a:lnTo>
                  <a:lnTo>
                    <a:pt x="378" y="278"/>
                  </a:lnTo>
                  <a:lnTo>
                    <a:pt x="366" y="302"/>
                  </a:lnTo>
                  <a:lnTo>
                    <a:pt x="350" y="324"/>
                  </a:lnTo>
                  <a:lnTo>
                    <a:pt x="332" y="344"/>
                  </a:lnTo>
                  <a:lnTo>
                    <a:pt x="310" y="360"/>
                  </a:lnTo>
                  <a:lnTo>
                    <a:pt x="288" y="374"/>
                  </a:lnTo>
                  <a:lnTo>
                    <a:pt x="262" y="322"/>
                  </a:lnTo>
                  <a:lnTo>
                    <a:pt x="262" y="322"/>
                  </a:lnTo>
                  <a:lnTo>
                    <a:pt x="246" y="328"/>
                  </a:lnTo>
                  <a:lnTo>
                    <a:pt x="230" y="334"/>
                  </a:lnTo>
                  <a:lnTo>
                    <a:pt x="214" y="336"/>
                  </a:lnTo>
                  <a:lnTo>
                    <a:pt x="198" y="338"/>
                  </a:lnTo>
                  <a:lnTo>
                    <a:pt x="198" y="338"/>
                  </a:lnTo>
                  <a:lnTo>
                    <a:pt x="182" y="336"/>
                  </a:lnTo>
                  <a:lnTo>
                    <a:pt x="166" y="334"/>
                  </a:lnTo>
                  <a:lnTo>
                    <a:pt x="150" y="328"/>
                  </a:lnTo>
                  <a:lnTo>
                    <a:pt x="134" y="322"/>
                  </a:lnTo>
                  <a:lnTo>
                    <a:pt x="108" y="374"/>
                  </a:lnTo>
                  <a:lnTo>
                    <a:pt x="108" y="374"/>
                  </a:lnTo>
                  <a:lnTo>
                    <a:pt x="86" y="360"/>
                  </a:lnTo>
                  <a:lnTo>
                    <a:pt x="64" y="344"/>
                  </a:lnTo>
                  <a:lnTo>
                    <a:pt x="46" y="324"/>
                  </a:lnTo>
                  <a:lnTo>
                    <a:pt x="30" y="302"/>
                  </a:lnTo>
                  <a:lnTo>
                    <a:pt x="18" y="278"/>
                  </a:lnTo>
                  <a:lnTo>
                    <a:pt x="8" y="254"/>
                  </a:lnTo>
                  <a:lnTo>
                    <a:pt x="2" y="226"/>
                  </a:lnTo>
                  <a:lnTo>
                    <a:pt x="0" y="198"/>
                  </a:lnTo>
                  <a:lnTo>
                    <a:pt x="0" y="198"/>
                  </a:lnTo>
                  <a:lnTo>
                    <a:pt x="2" y="178"/>
                  </a:lnTo>
                  <a:lnTo>
                    <a:pt x="4" y="158"/>
                  </a:lnTo>
                  <a:lnTo>
                    <a:pt x="10" y="140"/>
                  </a:lnTo>
                  <a:lnTo>
                    <a:pt x="16" y="122"/>
                  </a:lnTo>
                  <a:lnTo>
                    <a:pt x="24" y="104"/>
                  </a:lnTo>
                  <a:lnTo>
                    <a:pt x="34" y="88"/>
                  </a:lnTo>
                  <a:lnTo>
                    <a:pt x="46" y="72"/>
                  </a:lnTo>
                  <a:lnTo>
                    <a:pt x="58" y="58"/>
                  </a:lnTo>
                  <a:lnTo>
                    <a:pt x="72" y="46"/>
                  </a:lnTo>
                  <a:lnTo>
                    <a:pt x="88" y="34"/>
                  </a:lnTo>
                  <a:lnTo>
                    <a:pt x="104" y="24"/>
                  </a:lnTo>
                  <a:lnTo>
                    <a:pt x="122" y="16"/>
                  </a:lnTo>
                  <a:lnTo>
                    <a:pt x="140" y="10"/>
                  </a:lnTo>
                  <a:lnTo>
                    <a:pt x="158" y="4"/>
                  </a:lnTo>
                  <a:lnTo>
                    <a:pt x="178" y="2"/>
                  </a:lnTo>
                  <a:lnTo>
                    <a:pt x="198" y="0"/>
                  </a:lnTo>
                  <a:lnTo>
                    <a:pt x="198" y="0"/>
                  </a:lnTo>
                  <a:lnTo>
                    <a:pt x="218" y="2"/>
                  </a:lnTo>
                  <a:lnTo>
                    <a:pt x="238" y="4"/>
                  </a:lnTo>
                  <a:lnTo>
                    <a:pt x="256" y="10"/>
                  </a:lnTo>
                  <a:lnTo>
                    <a:pt x="274" y="16"/>
                  </a:lnTo>
                  <a:lnTo>
                    <a:pt x="292" y="24"/>
                  </a:lnTo>
                  <a:lnTo>
                    <a:pt x="308" y="34"/>
                  </a:lnTo>
                  <a:lnTo>
                    <a:pt x="324" y="46"/>
                  </a:lnTo>
                  <a:lnTo>
                    <a:pt x="338" y="58"/>
                  </a:lnTo>
                  <a:lnTo>
                    <a:pt x="350" y="72"/>
                  </a:lnTo>
                  <a:lnTo>
                    <a:pt x="362" y="88"/>
                  </a:lnTo>
                  <a:lnTo>
                    <a:pt x="372" y="104"/>
                  </a:lnTo>
                  <a:lnTo>
                    <a:pt x="380" y="122"/>
                  </a:lnTo>
                  <a:lnTo>
                    <a:pt x="386" y="140"/>
                  </a:lnTo>
                  <a:lnTo>
                    <a:pt x="392" y="158"/>
                  </a:lnTo>
                  <a:lnTo>
                    <a:pt x="394" y="178"/>
                  </a:lnTo>
                  <a:lnTo>
                    <a:pt x="396" y="198"/>
                  </a:lnTo>
                  <a:lnTo>
                    <a:pt x="396" y="198"/>
                  </a:lnTo>
                  <a:close/>
                  <a:moveTo>
                    <a:pt x="310" y="134"/>
                  </a:moveTo>
                  <a:lnTo>
                    <a:pt x="310" y="134"/>
                  </a:lnTo>
                  <a:lnTo>
                    <a:pt x="314" y="138"/>
                  </a:lnTo>
                  <a:lnTo>
                    <a:pt x="318" y="138"/>
                  </a:lnTo>
                  <a:lnTo>
                    <a:pt x="318" y="138"/>
                  </a:lnTo>
                  <a:lnTo>
                    <a:pt x="324" y="138"/>
                  </a:lnTo>
                  <a:lnTo>
                    <a:pt x="352" y="120"/>
                  </a:lnTo>
                  <a:lnTo>
                    <a:pt x="352" y="120"/>
                  </a:lnTo>
                  <a:lnTo>
                    <a:pt x="356" y="118"/>
                  </a:lnTo>
                  <a:lnTo>
                    <a:pt x="356" y="114"/>
                  </a:lnTo>
                  <a:lnTo>
                    <a:pt x="358" y="110"/>
                  </a:lnTo>
                  <a:lnTo>
                    <a:pt x="356" y="106"/>
                  </a:lnTo>
                  <a:lnTo>
                    <a:pt x="356" y="106"/>
                  </a:lnTo>
                  <a:lnTo>
                    <a:pt x="354" y="104"/>
                  </a:lnTo>
                  <a:lnTo>
                    <a:pt x="350" y="102"/>
                  </a:lnTo>
                  <a:lnTo>
                    <a:pt x="346" y="102"/>
                  </a:lnTo>
                  <a:lnTo>
                    <a:pt x="342" y="104"/>
                  </a:lnTo>
                  <a:lnTo>
                    <a:pt x="314" y="120"/>
                  </a:lnTo>
                  <a:lnTo>
                    <a:pt x="314" y="120"/>
                  </a:lnTo>
                  <a:lnTo>
                    <a:pt x="310" y="122"/>
                  </a:lnTo>
                  <a:lnTo>
                    <a:pt x="308" y="126"/>
                  </a:lnTo>
                  <a:lnTo>
                    <a:pt x="308" y="130"/>
                  </a:lnTo>
                  <a:lnTo>
                    <a:pt x="310" y="134"/>
                  </a:lnTo>
                  <a:lnTo>
                    <a:pt x="310" y="134"/>
                  </a:lnTo>
                  <a:close/>
                  <a:moveTo>
                    <a:pt x="262" y="86"/>
                  </a:moveTo>
                  <a:lnTo>
                    <a:pt x="262" y="86"/>
                  </a:lnTo>
                  <a:lnTo>
                    <a:pt x="268" y="88"/>
                  </a:lnTo>
                  <a:lnTo>
                    <a:pt x="268" y="88"/>
                  </a:lnTo>
                  <a:lnTo>
                    <a:pt x="272" y="86"/>
                  </a:lnTo>
                  <a:lnTo>
                    <a:pt x="276" y="82"/>
                  </a:lnTo>
                  <a:lnTo>
                    <a:pt x="292" y="54"/>
                  </a:lnTo>
                  <a:lnTo>
                    <a:pt x="292" y="54"/>
                  </a:lnTo>
                  <a:lnTo>
                    <a:pt x="294" y="50"/>
                  </a:lnTo>
                  <a:lnTo>
                    <a:pt x="294" y="46"/>
                  </a:lnTo>
                  <a:lnTo>
                    <a:pt x="292" y="42"/>
                  </a:lnTo>
                  <a:lnTo>
                    <a:pt x="290" y="40"/>
                  </a:lnTo>
                  <a:lnTo>
                    <a:pt x="290" y="40"/>
                  </a:lnTo>
                  <a:lnTo>
                    <a:pt x="286" y="38"/>
                  </a:lnTo>
                  <a:lnTo>
                    <a:pt x="282" y="40"/>
                  </a:lnTo>
                  <a:lnTo>
                    <a:pt x="278" y="40"/>
                  </a:lnTo>
                  <a:lnTo>
                    <a:pt x="276" y="44"/>
                  </a:lnTo>
                  <a:lnTo>
                    <a:pt x="258" y="72"/>
                  </a:lnTo>
                  <a:lnTo>
                    <a:pt x="258" y="72"/>
                  </a:lnTo>
                  <a:lnTo>
                    <a:pt x="258" y="76"/>
                  </a:lnTo>
                  <a:lnTo>
                    <a:pt x="258" y="80"/>
                  </a:lnTo>
                  <a:lnTo>
                    <a:pt x="260" y="84"/>
                  </a:lnTo>
                  <a:lnTo>
                    <a:pt x="262" y="86"/>
                  </a:lnTo>
                  <a:lnTo>
                    <a:pt x="262" y="86"/>
                  </a:lnTo>
                  <a:close/>
                  <a:moveTo>
                    <a:pt x="188" y="60"/>
                  </a:moveTo>
                  <a:lnTo>
                    <a:pt x="188" y="60"/>
                  </a:lnTo>
                  <a:lnTo>
                    <a:pt x="188" y="62"/>
                  </a:lnTo>
                  <a:lnTo>
                    <a:pt x="190" y="66"/>
                  </a:lnTo>
                  <a:lnTo>
                    <a:pt x="194" y="68"/>
                  </a:lnTo>
                  <a:lnTo>
                    <a:pt x="198" y="70"/>
                  </a:lnTo>
                  <a:lnTo>
                    <a:pt x="198" y="70"/>
                  </a:lnTo>
                  <a:lnTo>
                    <a:pt x="202" y="68"/>
                  </a:lnTo>
                  <a:lnTo>
                    <a:pt x="206" y="66"/>
                  </a:lnTo>
                  <a:lnTo>
                    <a:pt x="208" y="62"/>
                  </a:lnTo>
                  <a:lnTo>
                    <a:pt x="208" y="60"/>
                  </a:lnTo>
                  <a:lnTo>
                    <a:pt x="208" y="26"/>
                  </a:lnTo>
                  <a:lnTo>
                    <a:pt x="208" y="26"/>
                  </a:lnTo>
                  <a:lnTo>
                    <a:pt x="208" y="22"/>
                  </a:lnTo>
                  <a:lnTo>
                    <a:pt x="206" y="18"/>
                  </a:lnTo>
                  <a:lnTo>
                    <a:pt x="202" y="16"/>
                  </a:lnTo>
                  <a:lnTo>
                    <a:pt x="198" y="16"/>
                  </a:lnTo>
                  <a:lnTo>
                    <a:pt x="198" y="16"/>
                  </a:lnTo>
                  <a:lnTo>
                    <a:pt x="194" y="16"/>
                  </a:lnTo>
                  <a:lnTo>
                    <a:pt x="190" y="18"/>
                  </a:lnTo>
                  <a:lnTo>
                    <a:pt x="188" y="22"/>
                  </a:lnTo>
                  <a:lnTo>
                    <a:pt x="188" y="26"/>
                  </a:lnTo>
                  <a:lnTo>
                    <a:pt x="188" y="60"/>
                  </a:lnTo>
                  <a:close/>
                  <a:moveTo>
                    <a:pt x="26" y="208"/>
                  </a:moveTo>
                  <a:lnTo>
                    <a:pt x="58" y="208"/>
                  </a:lnTo>
                  <a:lnTo>
                    <a:pt x="58" y="208"/>
                  </a:lnTo>
                  <a:lnTo>
                    <a:pt x="62" y="208"/>
                  </a:lnTo>
                  <a:lnTo>
                    <a:pt x="66" y="206"/>
                  </a:lnTo>
                  <a:lnTo>
                    <a:pt x="68" y="202"/>
                  </a:lnTo>
                  <a:lnTo>
                    <a:pt x="68" y="198"/>
                  </a:lnTo>
                  <a:lnTo>
                    <a:pt x="68" y="198"/>
                  </a:lnTo>
                  <a:lnTo>
                    <a:pt x="68" y="194"/>
                  </a:lnTo>
                  <a:lnTo>
                    <a:pt x="66" y="190"/>
                  </a:lnTo>
                  <a:lnTo>
                    <a:pt x="62" y="188"/>
                  </a:lnTo>
                  <a:lnTo>
                    <a:pt x="58" y="188"/>
                  </a:lnTo>
                  <a:lnTo>
                    <a:pt x="26" y="188"/>
                  </a:lnTo>
                  <a:lnTo>
                    <a:pt x="26" y="188"/>
                  </a:lnTo>
                  <a:lnTo>
                    <a:pt x="22" y="188"/>
                  </a:lnTo>
                  <a:lnTo>
                    <a:pt x="18" y="190"/>
                  </a:lnTo>
                  <a:lnTo>
                    <a:pt x="16" y="194"/>
                  </a:lnTo>
                  <a:lnTo>
                    <a:pt x="16" y="198"/>
                  </a:lnTo>
                  <a:lnTo>
                    <a:pt x="16" y="198"/>
                  </a:lnTo>
                  <a:lnTo>
                    <a:pt x="16" y="202"/>
                  </a:lnTo>
                  <a:lnTo>
                    <a:pt x="18" y="206"/>
                  </a:lnTo>
                  <a:lnTo>
                    <a:pt x="22" y="208"/>
                  </a:lnTo>
                  <a:lnTo>
                    <a:pt x="26" y="208"/>
                  </a:lnTo>
                  <a:lnTo>
                    <a:pt x="26" y="208"/>
                  </a:lnTo>
                  <a:close/>
                  <a:moveTo>
                    <a:pt x="86" y="262"/>
                  </a:moveTo>
                  <a:lnTo>
                    <a:pt x="86" y="262"/>
                  </a:lnTo>
                  <a:lnTo>
                    <a:pt x="84" y="260"/>
                  </a:lnTo>
                  <a:lnTo>
                    <a:pt x="80" y="258"/>
                  </a:lnTo>
                  <a:lnTo>
                    <a:pt x="76" y="258"/>
                  </a:lnTo>
                  <a:lnTo>
                    <a:pt x="72" y="258"/>
                  </a:lnTo>
                  <a:lnTo>
                    <a:pt x="44" y="276"/>
                  </a:lnTo>
                  <a:lnTo>
                    <a:pt x="44" y="276"/>
                  </a:lnTo>
                  <a:lnTo>
                    <a:pt x="40" y="278"/>
                  </a:lnTo>
                  <a:lnTo>
                    <a:pt x="40" y="282"/>
                  </a:lnTo>
                  <a:lnTo>
                    <a:pt x="38" y="286"/>
                  </a:lnTo>
                  <a:lnTo>
                    <a:pt x="40" y="290"/>
                  </a:lnTo>
                  <a:lnTo>
                    <a:pt x="40" y="290"/>
                  </a:lnTo>
                  <a:lnTo>
                    <a:pt x="44" y="292"/>
                  </a:lnTo>
                  <a:lnTo>
                    <a:pt x="48" y="294"/>
                  </a:lnTo>
                  <a:lnTo>
                    <a:pt x="48" y="294"/>
                  </a:lnTo>
                  <a:lnTo>
                    <a:pt x="54" y="292"/>
                  </a:lnTo>
                  <a:lnTo>
                    <a:pt x="82" y="276"/>
                  </a:lnTo>
                  <a:lnTo>
                    <a:pt x="82" y="276"/>
                  </a:lnTo>
                  <a:lnTo>
                    <a:pt x="86" y="274"/>
                  </a:lnTo>
                  <a:lnTo>
                    <a:pt x="88" y="270"/>
                  </a:lnTo>
                  <a:lnTo>
                    <a:pt x="88" y="266"/>
                  </a:lnTo>
                  <a:lnTo>
                    <a:pt x="86" y="262"/>
                  </a:lnTo>
                  <a:lnTo>
                    <a:pt x="86" y="262"/>
                  </a:lnTo>
                  <a:close/>
                  <a:moveTo>
                    <a:pt x="82" y="120"/>
                  </a:moveTo>
                  <a:lnTo>
                    <a:pt x="54" y="104"/>
                  </a:lnTo>
                  <a:lnTo>
                    <a:pt x="54" y="104"/>
                  </a:lnTo>
                  <a:lnTo>
                    <a:pt x="50" y="102"/>
                  </a:lnTo>
                  <a:lnTo>
                    <a:pt x="46" y="102"/>
                  </a:lnTo>
                  <a:lnTo>
                    <a:pt x="42" y="104"/>
                  </a:lnTo>
                  <a:lnTo>
                    <a:pt x="40" y="106"/>
                  </a:lnTo>
                  <a:lnTo>
                    <a:pt x="40" y="106"/>
                  </a:lnTo>
                  <a:lnTo>
                    <a:pt x="38" y="110"/>
                  </a:lnTo>
                  <a:lnTo>
                    <a:pt x="40" y="114"/>
                  </a:lnTo>
                  <a:lnTo>
                    <a:pt x="40" y="118"/>
                  </a:lnTo>
                  <a:lnTo>
                    <a:pt x="44" y="120"/>
                  </a:lnTo>
                  <a:lnTo>
                    <a:pt x="72" y="138"/>
                  </a:lnTo>
                  <a:lnTo>
                    <a:pt x="72" y="138"/>
                  </a:lnTo>
                  <a:lnTo>
                    <a:pt x="78" y="138"/>
                  </a:lnTo>
                  <a:lnTo>
                    <a:pt x="78" y="138"/>
                  </a:lnTo>
                  <a:lnTo>
                    <a:pt x="82" y="138"/>
                  </a:lnTo>
                  <a:lnTo>
                    <a:pt x="86" y="134"/>
                  </a:lnTo>
                  <a:lnTo>
                    <a:pt x="86" y="134"/>
                  </a:lnTo>
                  <a:lnTo>
                    <a:pt x="88" y="130"/>
                  </a:lnTo>
                  <a:lnTo>
                    <a:pt x="88" y="126"/>
                  </a:lnTo>
                  <a:lnTo>
                    <a:pt x="86" y="122"/>
                  </a:lnTo>
                  <a:lnTo>
                    <a:pt x="82" y="120"/>
                  </a:lnTo>
                  <a:lnTo>
                    <a:pt x="82" y="120"/>
                  </a:lnTo>
                  <a:close/>
                  <a:moveTo>
                    <a:pt x="138" y="72"/>
                  </a:moveTo>
                  <a:lnTo>
                    <a:pt x="120" y="44"/>
                  </a:lnTo>
                  <a:lnTo>
                    <a:pt x="120" y="44"/>
                  </a:lnTo>
                  <a:lnTo>
                    <a:pt x="118" y="40"/>
                  </a:lnTo>
                  <a:lnTo>
                    <a:pt x="114" y="40"/>
                  </a:lnTo>
                  <a:lnTo>
                    <a:pt x="110" y="38"/>
                  </a:lnTo>
                  <a:lnTo>
                    <a:pt x="106" y="40"/>
                  </a:lnTo>
                  <a:lnTo>
                    <a:pt x="106" y="40"/>
                  </a:lnTo>
                  <a:lnTo>
                    <a:pt x="104" y="42"/>
                  </a:lnTo>
                  <a:lnTo>
                    <a:pt x="102" y="46"/>
                  </a:lnTo>
                  <a:lnTo>
                    <a:pt x="102" y="50"/>
                  </a:lnTo>
                  <a:lnTo>
                    <a:pt x="104" y="54"/>
                  </a:lnTo>
                  <a:lnTo>
                    <a:pt x="120" y="82"/>
                  </a:lnTo>
                  <a:lnTo>
                    <a:pt x="120" y="82"/>
                  </a:lnTo>
                  <a:lnTo>
                    <a:pt x="124" y="86"/>
                  </a:lnTo>
                  <a:lnTo>
                    <a:pt x="128" y="88"/>
                  </a:lnTo>
                  <a:lnTo>
                    <a:pt x="128" y="88"/>
                  </a:lnTo>
                  <a:lnTo>
                    <a:pt x="134" y="86"/>
                  </a:lnTo>
                  <a:lnTo>
                    <a:pt x="134" y="86"/>
                  </a:lnTo>
                  <a:lnTo>
                    <a:pt x="136" y="84"/>
                  </a:lnTo>
                  <a:lnTo>
                    <a:pt x="138" y="80"/>
                  </a:lnTo>
                  <a:lnTo>
                    <a:pt x="138" y="76"/>
                  </a:lnTo>
                  <a:lnTo>
                    <a:pt x="138" y="72"/>
                  </a:lnTo>
                  <a:lnTo>
                    <a:pt x="138" y="72"/>
                  </a:lnTo>
                  <a:close/>
                  <a:moveTo>
                    <a:pt x="372" y="152"/>
                  </a:moveTo>
                  <a:lnTo>
                    <a:pt x="224" y="174"/>
                  </a:lnTo>
                  <a:lnTo>
                    <a:pt x="224" y="174"/>
                  </a:lnTo>
                  <a:lnTo>
                    <a:pt x="218" y="168"/>
                  </a:lnTo>
                  <a:lnTo>
                    <a:pt x="212" y="166"/>
                  </a:lnTo>
                  <a:lnTo>
                    <a:pt x="206" y="164"/>
                  </a:lnTo>
                  <a:lnTo>
                    <a:pt x="198" y="162"/>
                  </a:lnTo>
                  <a:lnTo>
                    <a:pt x="198" y="162"/>
                  </a:lnTo>
                  <a:lnTo>
                    <a:pt x="188" y="164"/>
                  </a:lnTo>
                  <a:lnTo>
                    <a:pt x="188" y="164"/>
                  </a:lnTo>
                  <a:lnTo>
                    <a:pt x="182" y="166"/>
                  </a:lnTo>
                  <a:lnTo>
                    <a:pt x="176" y="170"/>
                  </a:lnTo>
                  <a:lnTo>
                    <a:pt x="172" y="174"/>
                  </a:lnTo>
                  <a:lnTo>
                    <a:pt x="168" y="180"/>
                  </a:lnTo>
                  <a:lnTo>
                    <a:pt x="164" y="186"/>
                  </a:lnTo>
                  <a:lnTo>
                    <a:pt x="162" y="194"/>
                  </a:lnTo>
                  <a:lnTo>
                    <a:pt x="162" y="200"/>
                  </a:lnTo>
                  <a:lnTo>
                    <a:pt x="164" y="208"/>
                  </a:lnTo>
                  <a:lnTo>
                    <a:pt x="164" y="208"/>
                  </a:lnTo>
                  <a:lnTo>
                    <a:pt x="168" y="218"/>
                  </a:lnTo>
                  <a:lnTo>
                    <a:pt x="176" y="226"/>
                  </a:lnTo>
                  <a:lnTo>
                    <a:pt x="186" y="232"/>
                  </a:lnTo>
                  <a:lnTo>
                    <a:pt x="198" y="234"/>
                  </a:lnTo>
                  <a:lnTo>
                    <a:pt x="198" y="234"/>
                  </a:lnTo>
                  <a:lnTo>
                    <a:pt x="208" y="232"/>
                  </a:lnTo>
                  <a:lnTo>
                    <a:pt x="208" y="232"/>
                  </a:lnTo>
                  <a:lnTo>
                    <a:pt x="216" y="228"/>
                  </a:lnTo>
                  <a:lnTo>
                    <a:pt x="224" y="222"/>
                  </a:lnTo>
                  <a:lnTo>
                    <a:pt x="228" y="216"/>
                  </a:lnTo>
                  <a:lnTo>
                    <a:pt x="232" y="208"/>
                  </a:lnTo>
                  <a:lnTo>
                    <a:pt x="372" y="152"/>
                  </a:lnTo>
                  <a:close/>
                  <a:moveTo>
                    <a:pt x="352" y="276"/>
                  </a:moveTo>
                  <a:lnTo>
                    <a:pt x="324" y="258"/>
                  </a:lnTo>
                  <a:lnTo>
                    <a:pt x="324" y="258"/>
                  </a:lnTo>
                  <a:lnTo>
                    <a:pt x="320" y="258"/>
                  </a:lnTo>
                  <a:lnTo>
                    <a:pt x="316" y="258"/>
                  </a:lnTo>
                  <a:lnTo>
                    <a:pt x="312" y="260"/>
                  </a:lnTo>
                  <a:lnTo>
                    <a:pt x="310" y="262"/>
                  </a:lnTo>
                  <a:lnTo>
                    <a:pt x="310" y="262"/>
                  </a:lnTo>
                  <a:lnTo>
                    <a:pt x="308" y="266"/>
                  </a:lnTo>
                  <a:lnTo>
                    <a:pt x="308" y="270"/>
                  </a:lnTo>
                  <a:lnTo>
                    <a:pt x="310" y="274"/>
                  </a:lnTo>
                  <a:lnTo>
                    <a:pt x="314" y="276"/>
                  </a:lnTo>
                  <a:lnTo>
                    <a:pt x="342" y="292"/>
                  </a:lnTo>
                  <a:lnTo>
                    <a:pt x="342" y="292"/>
                  </a:lnTo>
                  <a:lnTo>
                    <a:pt x="348" y="294"/>
                  </a:lnTo>
                  <a:lnTo>
                    <a:pt x="348" y="294"/>
                  </a:lnTo>
                  <a:lnTo>
                    <a:pt x="352" y="292"/>
                  </a:lnTo>
                  <a:lnTo>
                    <a:pt x="356" y="290"/>
                  </a:lnTo>
                  <a:lnTo>
                    <a:pt x="356" y="290"/>
                  </a:lnTo>
                  <a:lnTo>
                    <a:pt x="358" y="286"/>
                  </a:lnTo>
                  <a:lnTo>
                    <a:pt x="356" y="282"/>
                  </a:lnTo>
                  <a:lnTo>
                    <a:pt x="356" y="278"/>
                  </a:lnTo>
                  <a:lnTo>
                    <a:pt x="352" y="276"/>
                  </a:lnTo>
                  <a:lnTo>
                    <a:pt x="352" y="276"/>
                  </a:lnTo>
                  <a:close/>
                  <a:moveTo>
                    <a:pt x="380" y="198"/>
                  </a:moveTo>
                  <a:lnTo>
                    <a:pt x="380" y="198"/>
                  </a:lnTo>
                  <a:lnTo>
                    <a:pt x="380" y="194"/>
                  </a:lnTo>
                  <a:lnTo>
                    <a:pt x="378" y="190"/>
                  </a:lnTo>
                  <a:lnTo>
                    <a:pt x="374" y="188"/>
                  </a:lnTo>
                  <a:lnTo>
                    <a:pt x="370" y="188"/>
                  </a:lnTo>
                  <a:lnTo>
                    <a:pt x="338" y="188"/>
                  </a:lnTo>
                  <a:lnTo>
                    <a:pt x="338" y="188"/>
                  </a:lnTo>
                  <a:lnTo>
                    <a:pt x="334" y="188"/>
                  </a:lnTo>
                  <a:lnTo>
                    <a:pt x="330" y="190"/>
                  </a:lnTo>
                  <a:lnTo>
                    <a:pt x="328" y="194"/>
                  </a:lnTo>
                  <a:lnTo>
                    <a:pt x="328" y="198"/>
                  </a:lnTo>
                  <a:lnTo>
                    <a:pt x="328" y="198"/>
                  </a:lnTo>
                  <a:lnTo>
                    <a:pt x="328" y="202"/>
                  </a:lnTo>
                  <a:lnTo>
                    <a:pt x="330" y="206"/>
                  </a:lnTo>
                  <a:lnTo>
                    <a:pt x="334" y="208"/>
                  </a:lnTo>
                  <a:lnTo>
                    <a:pt x="338" y="208"/>
                  </a:lnTo>
                  <a:lnTo>
                    <a:pt x="370" y="208"/>
                  </a:lnTo>
                  <a:lnTo>
                    <a:pt x="370" y="208"/>
                  </a:lnTo>
                  <a:lnTo>
                    <a:pt x="374" y="208"/>
                  </a:lnTo>
                  <a:lnTo>
                    <a:pt x="378" y="206"/>
                  </a:lnTo>
                  <a:lnTo>
                    <a:pt x="380" y="202"/>
                  </a:lnTo>
                  <a:lnTo>
                    <a:pt x="380" y="198"/>
                  </a:lnTo>
                  <a:lnTo>
                    <a:pt x="380" y="19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81" name="Group 80">
            <a:extLst>
              <a:ext uri="{FF2B5EF4-FFF2-40B4-BE49-F238E27FC236}">
                <a16:creationId xmlns:a16="http://schemas.microsoft.com/office/drawing/2014/main" id="{90DEA05C-E8DD-4C68-9CBA-EC35492414A9}"/>
              </a:ext>
            </a:extLst>
          </p:cNvPr>
          <p:cNvGrpSpPr/>
          <p:nvPr/>
        </p:nvGrpSpPr>
        <p:grpSpPr>
          <a:xfrm>
            <a:off x="3647535" y="5136080"/>
            <a:ext cx="612000" cy="612000"/>
            <a:chOff x="2342233" y="5907019"/>
            <a:chExt cx="612000" cy="612000"/>
          </a:xfrm>
        </p:grpSpPr>
        <p:sp>
          <p:nvSpPr>
            <p:cNvPr id="82" name="Oval 81">
              <a:extLst>
                <a:ext uri="{FF2B5EF4-FFF2-40B4-BE49-F238E27FC236}">
                  <a16:creationId xmlns:a16="http://schemas.microsoft.com/office/drawing/2014/main" id="{46028DBF-A8AF-4F27-9A6F-0DB959986C94}"/>
                </a:ext>
              </a:extLst>
            </p:cNvPr>
            <p:cNvSpPr/>
            <p:nvPr/>
          </p:nvSpPr>
          <p:spPr bwMode="ltGray">
            <a:xfrm>
              <a:off x="2342233"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83" name="Freeform 4938">
              <a:extLst>
                <a:ext uri="{FF2B5EF4-FFF2-40B4-BE49-F238E27FC236}">
                  <a16:creationId xmlns:a16="http://schemas.microsoft.com/office/drawing/2014/main" id="{A4AE90B2-1338-4E2E-BB08-4FC1858BCDE4}"/>
                </a:ext>
              </a:extLst>
            </p:cNvPr>
            <p:cNvSpPr>
              <a:spLocks noEditPoints="1"/>
            </p:cNvSpPr>
            <p:nvPr/>
          </p:nvSpPr>
          <p:spPr bwMode="auto">
            <a:xfrm>
              <a:off x="2468487" y="5965856"/>
              <a:ext cx="375821" cy="508322"/>
            </a:xfrm>
            <a:custGeom>
              <a:avLst/>
              <a:gdLst>
                <a:gd name="T0" fmla="*/ 296 w 312"/>
                <a:gd name="T1" fmla="*/ 146 h 422"/>
                <a:gd name="T2" fmla="*/ 276 w 312"/>
                <a:gd name="T3" fmla="*/ 126 h 422"/>
                <a:gd name="T4" fmla="*/ 236 w 312"/>
                <a:gd name="T5" fmla="*/ 132 h 422"/>
                <a:gd name="T6" fmla="*/ 198 w 312"/>
                <a:gd name="T7" fmla="*/ 102 h 422"/>
                <a:gd name="T8" fmla="*/ 214 w 312"/>
                <a:gd name="T9" fmla="*/ 48 h 422"/>
                <a:gd name="T10" fmla="*/ 180 w 312"/>
                <a:gd name="T11" fmla="*/ 4 h 422"/>
                <a:gd name="T12" fmla="*/ 132 w 312"/>
                <a:gd name="T13" fmla="*/ 4 h 422"/>
                <a:gd name="T14" fmla="*/ 98 w 312"/>
                <a:gd name="T15" fmla="*/ 48 h 422"/>
                <a:gd name="T16" fmla="*/ 114 w 312"/>
                <a:gd name="T17" fmla="*/ 102 h 422"/>
                <a:gd name="T18" fmla="*/ 76 w 312"/>
                <a:gd name="T19" fmla="*/ 130 h 422"/>
                <a:gd name="T20" fmla="*/ 4 w 312"/>
                <a:gd name="T21" fmla="*/ 224 h 422"/>
                <a:gd name="T22" fmla="*/ 0 w 312"/>
                <a:gd name="T23" fmla="*/ 282 h 422"/>
                <a:gd name="T24" fmla="*/ 26 w 312"/>
                <a:gd name="T25" fmla="*/ 354 h 422"/>
                <a:gd name="T26" fmla="*/ 82 w 312"/>
                <a:gd name="T27" fmla="*/ 404 h 422"/>
                <a:gd name="T28" fmla="*/ 156 w 312"/>
                <a:gd name="T29" fmla="*/ 422 h 422"/>
                <a:gd name="T30" fmla="*/ 216 w 312"/>
                <a:gd name="T31" fmla="*/ 410 h 422"/>
                <a:gd name="T32" fmla="*/ 276 w 312"/>
                <a:gd name="T33" fmla="*/ 366 h 422"/>
                <a:gd name="T34" fmla="*/ 310 w 312"/>
                <a:gd name="T35" fmla="*/ 298 h 422"/>
                <a:gd name="T36" fmla="*/ 304 w 312"/>
                <a:gd name="T37" fmla="*/ 214 h 422"/>
                <a:gd name="T38" fmla="*/ 112 w 312"/>
                <a:gd name="T39" fmla="*/ 60 h 422"/>
                <a:gd name="T40" fmla="*/ 132 w 312"/>
                <a:gd name="T41" fmla="*/ 22 h 422"/>
                <a:gd name="T42" fmla="*/ 164 w 312"/>
                <a:gd name="T43" fmla="*/ 16 h 422"/>
                <a:gd name="T44" fmla="*/ 196 w 312"/>
                <a:gd name="T45" fmla="*/ 42 h 422"/>
                <a:gd name="T46" fmla="*/ 198 w 312"/>
                <a:gd name="T47" fmla="*/ 74 h 422"/>
                <a:gd name="T48" fmla="*/ 166 w 312"/>
                <a:gd name="T49" fmla="*/ 102 h 422"/>
                <a:gd name="T50" fmla="*/ 138 w 312"/>
                <a:gd name="T51" fmla="*/ 82 h 422"/>
                <a:gd name="T52" fmla="*/ 132 w 312"/>
                <a:gd name="T53" fmla="*/ 96 h 422"/>
                <a:gd name="T54" fmla="*/ 112 w 312"/>
                <a:gd name="T55" fmla="*/ 60 h 422"/>
                <a:gd name="T56" fmla="*/ 164 w 312"/>
                <a:gd name="T57" fmla="*/ 372 h 422"/>
                <a:gd name="T58" fmla="*/ 152 w 312"/>
                <a:gd name="T59" fmla="*/ 368 h 422"/>
                <a:gd name="T60" fmla="*/ 148 w 312"/>
                <a:gd name="T61" fmla="*/ 390 h 422"/>
                <a:gd name="T62" fmla="*/ 54 w 312"/>
                <a:gd name="T63" fmla="*/ 338 h 422"/>
                <a:gd name="T64" fmla="*/ 54 w 312"/>
                <a:gd name="T65" fmla="*/ 274 h 422"/>
                <a:gd name="T66" fmla="*/ 62 w 312"/>
                <a:gd name="T67" fmla="*/ 266 h 422"/>
                <a:gd name="T68" fmla="*/ 32 w 312"/>
                <a:gd name="T69" fmla="*/ 258 h 422"/>
                <a:gd name="T70" fmla="*/ 70 w 312"/>
                <a:gd name="T71" fmla="*/ 176 h 422"/>
                <a:gd name="T72" fmla="*/ 156 w 312"/>
                <a:gd name="T73" fmla="*/ 142 h 422"/>
                <a:gd name="T74" fmla="*/ 224 w 312"/>
                <a:gd name="T75" fmla="*/ 162 h 422"/>
                <a:gd name="T76" fmla="*/ 280 w 312"/>
                <a:gd name="T77" fmla="*/ 258 h 422"/>
                <a:gd name="T78" fmla="*/ 250 w 312"/>
                <a:gd name="T79" fmla="*/ 262 h 422"/>
                <a:gd name="T80" fmla="*/ 254 w 312"/>
                <a:gd name="T81" fmla="*/ 274 h 422"/>
                <a:gd name="T82" fmla="*/ 270 w 312"/>
                <a:gd name="T83" fmla="*/ 318 h 422"/>
                <a:gd name="T84" fmla="*/ 186 w 312"/>
                <a:gd name="T85" fmla="*/ 386 h 422"/>
                <a:gd name="T86" fmla="*/ 184 w 312"/>
                <a:gd name="T87" fmla="*/ 276 h 422"/>
                <a:gd name="T88" fmla="*/ 172 w 312"/>
                <a:gd name="T89" fmla="*/ 240 h 422"/>
                <a:gd name="T90" fmla="*/ 148 w 312"/>
                <a:gd name="T91" fmla="*/ 238 h 422"/>
                <a:gd name="T92" fmla="*/ 130 w 312"/>
                <a:gd name="T93" fmla="*/ 232 h 422"/>
                <a:gd name="T94" fmla="*/ 122 w 312"/>
                <a:gd name="T95" fmla="*/ 240 h 422"/>
                <a:gd name="T96" fmla="*/ 128 w 312"/>
                <a:gd name="T97" fmla="*/ 256 h 422"/>
                <a:gd name="T98" fmla="*/ 140 w 312"/>
                <a:gd name="T99" fmla="*/ 292 h 422"/>
                <a:gd name="T100" fmla="*/ 164 w 312"/>
                <a:gd name="T101" fmla="*/ 296 h 422"/>
                <a:gd name="T102" fmla="*/ 228 w 312"/>
                <a:gd name="T103" fmla="*/ 346 h 422"/>
                <a:gd name="T104" fmla="*/ 234 w 312"/>
                <a:gd name="T105" fmla="*/ 340 h 422"/>
                <a:gd name="T106" fmla="*/ 168 w 312"/>
                <a:gd name="T107" fmla="*/ 274 h 422"/>
                <a:gd name="T108" fmla="*/ 148 w 312"/>
                <a:gd name="T109" fmla="*/ 278 h 422"/>
                <a:gd name="T110" fmla="*/ 144 w 312"/>
                <a:gd name="T111" fmla="*/ 260 h 422"/>
                <a:gd name="T112" fmla="*/ 164 w 312"/>
                <a:gd name="T113" fmla="*/ 254 h 422"/>
                <a:gd name="T114" fmla="*/ 170 w 312"/>
                <a:gd name="T115" fmla="*/ 268 h 422"/>
                <a:gd name="T116" fmla="*/ 142 w 312"/>
                <a:gd name="T117" fmla="*/ 192 h 422"/>
                <a:gd name="T118" fmla="*/ 170 w 312"/>
                <a:gd name="T119" fmla="*/ 202 h 422"/>
                <a:gd name="T120" fmla="*/ 156 w 312"/>
                <a:gd name="T121" fmla="*/ 210 h 422"/>
                <a:gd name="T122" fmla="*/ 142 w 312"/>
                <a:gd name="T123" fmla="*/ 196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12" h="422">
                  <a:moveTo>
                    <a:pt x="280" y="170"/>
                  </a:moveTo>
                  <a:lnTo>
                    <a:pt x="292" y="160"/>
                  </a:lnTo>
                  <a:lnTo>
                    <a:pt x="292" y="160"/>
                  </a:lnTo>
                  <a:lnTo>
                    <a:pt x="296" y="152"/>
                  </a:lnTo>
                  <a:lnTo>
                    <a:pt x="296" y="146"/>
                  </a:lnTo>
                  <a:lnTo>
                    <a:pt x="296" y="138"/>
                  </a:lnTo>
                  <a:lnTo>
                    <a:pt x="292" y="132"/>
                  </a:lnTo>
                  <a:lnTo>
                    <a:pt x="292" y="132"/>
                  </a:lnTo>
                  <a:lnTo>
                    <a:pt x="284" y="126"/>
                  </a:lnTo>
                  <a:lnTo>
                    <a:pt x="276" y="126"/>
                  </a:lnTo>
                  <a:lnTo>
                    <a:pt x="270" y="126"/>
                  </a:lnTo>
                  <a:lnTo>
                    <a:pt x="262" y="132"/>
                  </a:lnTo>
                  <a:lnTo>
                    <a:pt x="252" y="142"/>
                  </a:lnTo>
                  <a:lnTo>
                    <a:pt x="252" y="142"/>
                  </a:lnTo>
                  <a:lnTo>
                    <a:pt x="236" y="132"/>
                  </a:lnTo>
                  <a:lnTo>
                    <a:pt x="220" y="124"/>
                  </a:lnTo>
                  <a:lnTo>
                    <a:pt x="202" y="116"/>
                  </a:lnTo>
                  <a:lnTo>
                    <a:pt x="184" y="112"/>
                  </a:lnTo>
                  <a:lnTo>
                    <a:pt x="184" y="112"/>
                  </a:lnTo>
                  <a:lnTo>
                    <a:pt x="198" y="102"/>
                  </a:lnTo>
                  <a:lnTo>
                    <a:pt x="208" y="90"/>
                  </a:lnTo>
                  <a:lnTo>
                    <a:pt x="214" y="76"/>
                  </a:lnTo>
                  <a:lnTo>
                    <a:pt x="216" y="60"/>
                  </a:lnTo>
                  <a:lnTo>
                    <a:pt x="216" y="60"/>
                  </a:lnTo>
                  <a:lnTo>
                    <a:pt x="214" y="48"/>
                  </a:lnTo>
                  <a:lnTo>
                    <a:pt x="212" y="36"/>
                  </a:lnTo>
                  <a:lnTo>
                    <a:pt x="206" y="26"/>
                  </a:lnTo>
                  <a:lnTo>
                    <a:pt x="198" y="16"/>
                  </a:lnTo>
                  <a:lnTo>
                    <a:pt x="190" y="10"/>
                  </a:lnTo>
                  <a:lnTo>
                    <a:pt x="180" y="4"/>
                  </a:lnTo>
                  <a:lnTo>
                    <a:pt x="168" y="0"/>
                  </a:lnTo>
                  <a:lnTo>
                    <a:pt x="156" y="0"/>
                  </a:lnTo>
                  <a:lnTo>
                    <a:pt x="156" y="0"/>
                  </a:lnTo>
                  <a:lnTo>
                    <a:pt x="144" y="0"/>
                  </a:lnTo>
                  <a:lnTo>
                    <a:pt x="132" y="4"/>
                  </a:lnTo>
                  <a:lnTo>
                    <a:pt x="122" y="10"/>
                  </a:lnTo>
                  <a:lnTo>
                    <a:pt x="114" y="16"/>
                  </a:lnTo>
                  <a:lnTo>
                    <a:pt x="106" y="26"/>
                  </a:lnTo>
                  <a:lnTo>
                    <a:pt x="100" y="36"/>
                  </a:lnTo>
                  <a:lnTo>
                    <a:pt x="98" y="48"/>
                  </a:lnTo>
                  <a:lnTo>
                    <a:pt x="96" y="60"/>
                  </a:lnTo>
                  <a:lnTo>
                    <a:pt x="96" y="60"/>
                  </a:lnTo>
                  <a:lnTo>
                    <a:pt x="98" y="76"/>
                  </a:lnTo>
                  <a:lnTo>
                    <a:pt x="104" y="90"/>
                  </a:lnTo>
                  <a:lnTo>
                    <a:pt x="114" y="102"/>
                  </a:lnTo>
                  <a:lnTo>
                    <a:pt x="128" y="112"/>
                  </a:lnTo>
                  <a:lnTo>
                    <a:pt x="128" y="112"/>
                  </a:lnTo>
                  <a:lnTo>
                    <a:pt x="114" y="116"/>
                  </a:lnTo>
                  <a:lnTo>
                    <a:pt x="102" y="120"/>
                  </a:lnTo>
                  <a:lnTo>
                    <a:pt x="76" y="130"/>
                  </a:lnTo>
                  <a:lnTo>
                    <a:pt x="56" y="146"/>
                  </a:lnTo>
                  <a:lnTo>
                    <a:pt x="36" y="166"/>
                  </a:lnTo>
                  <a:lnTo>
                    <a:pt x="20" y="188"/>
                  </a:lnTo>
                  <a:lnTo>
                    <a:pt x="10" y="212"/>
                  </a:lnTo>
                  <a:lnTo>
                    <a:pt x="4" y="224"/>
                  </a:lnTo>
                  <a:lnTo>
                    <a:pt x="2" y="238"/>
                  </a:lnTo>
                  <a:lnTo>
                    <a:pt x="0" y="252"/>
                  </a:lnTo>
                  <a:lnTo>
                    <a:pt x="0" y="266"/>
                  </a:lnTo>
                  <a:lnTo>
                    <a:pt x="0" y="266"/>
                  </a:lnTo>
                  <a:lnTo>
                    <a:pt x="0" y="282"/>
                  </a:lnTo>
                  <a:lnTo>
                    <a:pt x="2" y="298"/>
                  </a:lnTo>
                  <a:lnTo>
                    <a:pt x="6" y="312"/>
                  </a:lnTo>
                  <a:lnTo>
                    <a:pt x="12" y="328"/>
                  </a:lnTo>
                  <a:lnTo>
                    <a:pt x="18" y="340"/>
                  </a:lnTo>
                  <a:lnTo>
                    <a:pt x="26" y="354"/>
                  </a:lnTo>
                  <a:lnTo>
                    <a:pt x="36" y="366"/>
                  </a:lnTo>
                  <a:lnTo>
                    <a:pt x="46" y="376"/>
                  </a:lnTo>
                  <a:lnTo>
                    <a:pt x="56" y="388"/>
                  </a:lnTo>
                  <a:lnTo>
                    <a:pt x="68" y="396"/>
                  </a:lnTo>
                  <a:lnTo>
                    <a:pt x="82" y="404"/>
                  </a:lnTo>
                  <a:lnTo>
                    <a:pt x="96" y="410"/>
                  </a:lnTo>
                  <a:lnTo>
                    <a:pt x="110" y="416"/>
                  </a:lnTo>
                  <a:lnTo>
                    <a:pt x="124" y="420"/>
                  </a:lnTo>
                  <a:lnTo>
                    <a:pt x="140" y="422"/>
                  </a:lnTo>
                  <a:lnTo>
                    <a:pt x="156" y="422"/>
                  </a:lnTo>
                  <a:lnTo>
                    <a:pt x="156" y="422"/>
                  </a:lnTo>
                  <a:lnTo>
                    <a:pt x="172" y="422"/>
                  </a:lnTo>
                  <a:lnTo>
                    <a:pt x="188" y="420"/>
                  </a:lnTo>
                  <a:lnTo>
                    <a:pt x="202" y="416"/>
                  </a:lnTo>
                  <a:lnTo>
                    <a:pt x="216" y="410"/>
                  </a:lnTo>
                  <a:lnTo>
                    <a:pt x="230" y="404"/>
                  </a:lnTo>
                  <a:lnTo>
                    <a:pt x="244" y="396"/>
                  </a:lnTo>
                  <a:lnTo>
                    <a:pt x="256" y="388"/>
                  </a:lnTo>
                  <a:lnTo>
                    <a:pt x="266" y="376"/>
                  </a:lnTo>
                  <a:lnTo>
                    <a:pt x="276" y="366"/>
                  </a:lnTo>
                  <a:lnTo>
                    <a:pt x="286" y="354"/>
                  </a:lnTo>
                  <a:lnTo>
                    <a:pt x="294" y="340"/>
                  </a:lnTo>
                  <a:lnTo>
                    <a:pt x="300" y="328"/>
                  </a:lnTo>
                  <a:lnTo>
                    <a:pt x="306" y="312"/>
                  </a:lnTo>
                  <a:lnTo>
                    <a:pt x="310" y="298"/>
                  </a:lnTo>
                  <a:lnTo>
                    <a:pt x="312" y="282"/>
                  </a:lnTo>
                  <a:lnTo>
                    <a:pt x="312" y="266"/>
                  </a:lnTo>
                  <a:lnTo>
                    <a:pt x="312" y="266"/>
                  </a:lnTo>
                  <a:lnTo>
                    <a:pt x="310" y="240"/>
                  </a:lnTo>
                  <a:lnTo>
                    <a:pt x="304" y="214"/>
                  </a:lnTo>
                  <a:lnTo>
                    <a:pt x="294" y="192"/>
                  </a:lnTo>
                  <a:lnTo>
                    <a:pt x="280" y="170"/>
                  </a:lnTo>
                  <a:lnTo>
                    <a:pt x="280" y="170"/>
                  </a:lnTo>
                  <a:close/>
                  <a:moveTo>
                    <a:pt x="112" y="60"/>
                  </a:moveTo>
                  <a:lnTo>
                    <a:pt x="112" y="60"/>
                  </a:lnTo>
                  <a:lnTo>
                    <a:pt x="112" y="50"/>
                  </a:lnTo>
                  <a:lnTo>
                    <a:pt x="116" y="42"/>
                  </a:lnTo>
                  <a:lnTo>
                    <a:pt x="120" y="34"/>
                  </a:lnTo>
                  <a:lnTo>
                    <a:pt x="124" y="28"/>
                  </a:lnTo>
                  <a:lnTo>
                    <a:pt x="132" y="22"/>
                  </a:lnTo>
                  <a:lnTo>
                    <a:pt x="138" y="18"/>
                  </a:lnTo>
                  <a:lnTo>
                    <a:pt x="148" y="16"/>
                  </a:lnTo>
                  <a:lnTo>
                    <a:pt x="156" y="16"/>
                  </a:lnTo>
                  <a:lnTo>
                    <a:pt x="156" y="16"/>
                  </a:lnTo>
                  <a:lnTo>
                    <a:pt x="164" y="16"/>
                  </a:lnTo>
                  <a:lnTo>
                    <a:pt x="174" y="18"/>
                  </a:lnTo>
                  <a:lnTo>
                    <a:pt x="180" y="22"/>
                  </a:lnTo>
                  <a:lnTo>
                    <a:pt x="188" y="28"/>
                  </a:lnTo>
                  <a:lnTo>
                    <a:pt x="192" y="34"/>
                  </a:lnTo>
                  <a:lnTo>
                    <a:pt x="196" y="42"/>
                  </a:lnTo>
                  <a:lnTo>
                    <a:pt x="200" y="50"/>
                  </a:lnTo>
                  <a:lnTo>
                    <a:pt x="200" y="60"/>
                  </a:lnTo>
                  <a:lnTo>
                    <a:pt x="200" y="60"/>
                  </a:lnTo>
                  <a:lnTo>
                    <a:pt x="200" y="66"/>
                  </a:lnTo>
                  <a:lnTo>
                    <a:pt x="198" y="74"/>
                  </a:lnTo>
                  <a:lnTo>
                    <a:pt x="194" y="80"/>
                  </a:lnTo>
                  <a:lnTo>
                    <a:pt x="190" y="86"/>
                  </a:lnTo>
                  <a:lnTo>
                    <a:pt x="180" y="96"/>
                  </a:lnTo>
                  <a:lnTo>
                    <a:pt x="174" y="100"/>
                  </a:lnTo>
                  <a:lnTo>
                    <a:pt x="166" y="102"/>
                  </a:lnTo>
                  <a:lnTo>
                    <a:pt x="166" y="82"/>
                  </a:lnTo>
                  <a:lnTo>
                    <a:pt x="174" y="82"/>
                  </a:lnTo>
                  <a:lnTo>
                    <a:pt x="174" y="44"/>
                  </a:lnTo>
                  <a:lnTo>
                    <a:pt x="138" y="44"/>
                  </a:lnTo>
                  <a:lnTo>
                    <a:pt x="138" y="82"/>
                  </a:lnTo>
                  <a:lnTo>
                    <a:pt x="146" y="82"/>
                  </a:lnTo>
                  <a:lnTo>
                    <a:pt x="146" y="102"/>
                  </a:lnTo>
                  <a:lnTo>
                    <a:pt x="146" y="102"/>
                  </a:lnTo>
                  <a:lnTo>
                    <a:pt x="138" y="100"/>
                  </a:lnTo>
                  <a:lnTo>
                    <a:pt x="132" y="96"/>
                  </a:lnTo>
                  <a:lnTo>
                    <a:pt x="122" y="86"/>
                  </a:lnTo>
                  <a:lnTo>
                    <a:pt x="118" y="80"/>
                  </a:lnTo>
                  <a:lnTo>
                    <a:pt x="114" y="74"/>
                  </a:lnTo>
                  <a:lnTo>
                    <a:pt x="112" y="66"/>
                  </a:lnTo>
                  <a:lnTo>
                    <a:pt x="112" y="60"/>
                  </a:lnTo>
                  <a:lnTo>
                    <a:pt x="112" y="60"/>
                  </a:lnTo>
                  <a:close/>
                  <a:moveTo>
                    <a:pt x="164" y="390"/>
                  </a:moveTo>
                  <a:lnTo>
                    <a:pt x="164" y="374"/>
                  </a:lnTo>
                  <a:lnTo>
                    <a:pt x="164" y="374"/>
                  </a:lnTo>
                  <a:lnTo>
                    <a:pt x="164" y="372"/>
                  </a:lnTo>
                  <a:lnTo>
                    <a:pt x="162" y="370"/>
                  </a:lnTo>
                  <a:lnTo>
                    <a:pt x="160" y="368"/>
                  </a:lnTo>
                  <a:lnTo>
                    <a:pt x="156" y="366"/>
                  </a:lnTo>
                  <a:lnTo>
                    <a:pt x="156" y="366"/>
                  </a:lnTo>
                  <a:lnTo>
                    <a:pt x="152" y="368"/>
                  </a:lnTo>
                  <a:lnTo>
                    <a:pt x="150" y="370"/>
                  </a:lnTo>
                  <a:lnTo>
                    <a:pt x="148" y="372"/>
                  </a:lnTo>
                  <a:lnTo>
                    <a:pt x="148" y="374"/>
                  </a:lnTo>
                  <a:lnTo>
                    <a:pt x="148" y="390"/>
                  </a:lnTo>
                  <a:lnTo>
                    <a:pt x="148" y="390"/>
                  </a:lnTo>
                  <a:lnTo>
                    <a:pt x="126" y="386"/>
                  </a:lnTo>
                  <a:lnTo>
                    <a:pt x="104" y="380"/>
                  </a:lnTo>
                  <a:lnTo>
                    <a:pt x="84" y="368"/>
                  </a:lnTo>
                  <a:lnTo>
                    <a:pt x="68" y="354"/>
                  </a:lnTo>
                  <a:lnTo>
                    <a:pt x="54" y="338"/>
                  </a:lnTo>
                  <a:lnTo>
                    <a:pt x="42" y="318"/>
                  </a:lnTo>
                  <a:lnTo>
                    <a:pt x="36" y="296"/>
                  </a:lnTo>
                  <a:lnTo>
                    <a:pt x="32" y="274"/>
                  </a:lnTo>
                  <a:lnTo>
                    <a:pt x="54" y="274"/>
                  </a:lnTo>
                  <a:lnTo>
                    <a:pt x="54" y="274"/>
                  </a:lnTo>
                  <a:lnTo>
                    <a:pt x="58" y="274"/>
                  </a:lnTo>
                  <a:lnTo>
                    <a:pt x="60" y="272"/>
                  </a:lnTo>
                  <a:lnTo>
                    <a:pt x="62" y="270"/>
                  </a:lnTo>
                  <a:lnTo>
                    <a:pt x="62" y="266"/>
                  </a:lnTo>
                  <a:lnTo>
                    <a:pt x="62" y="266"/>
                  </a:lnTo>
                  <a:lnTo>
                    <a:pt x="62" y="262"/>
                  </a:lnTo>
                  <a:lnTo>
                    <a:pt x="60" y="260"/>
                  </a:lnTo>
                  <a:lnTo>
                    <a:pt x="58" y="258"/>
                  </a:lnTo>
                  <a:lnTo>
                    <a:pt x="54" y="258"/>
                  </a:lnTo>
                  <a:lnTo>
                    <a:pt x="32" y="258"/>
                  </a:lnTo>
                  <a:lnTo>
                    <a:pt x="32" y="258"/>
                  </a:lnTo>
                  <a:lnTo>
                    <a:pt x="36" y="234"/>
                  </a:lnTo>
                  <a:lnTo>
                    <a:pt x="44" y="212"/>
                  </a:lnTo>
                  <a:lnTo>
                    <a:pt x="56" y="192"/>
                  </a:lnTo>
                  <a:lnTo>
                    <a:pt x="70" y="176"/>
                  </a:lnTo>
                  <a:lnTo>
                    <a:pt x="88" y="162"/>
                  </a:lnTo>
                  <a:lnTo>
                    <a:pt x="110" y="150"/>
                  </a:lnTo>
                  <a:lnTo>
                    <a:pt x="132" y="144"/>
                  </a:lnTo>
                  <a:lnTo>
                    <a:pt x="144" y="142"/>
                  </a:lnTo>
                  <a:lnTo>
                    <a:pt x="156" y="142"/>
                  </a:lnTo>
                  <a:lnTo>
                    <a:pt x="156" y="142"/>
                  </a:lnTo>
                  <a:lnTo>
                    <a:pt x="168" y="142"/>
                  </a:lnTo>
                  <a:lnTo>
                    <a:pt x="180" y="144"/>
                  </a:lnTo>
                  <a:lnTo>
                    <a:pt x="202" y="150"/>
                  </a:lnTo>
                  <a:lnTo>
                    <a:pt x="224" y="162"/>
                  </a:lnTo>
                  <a:lnTo>
                    <a:pt x="242" y="176"/>
                  </a:lnTo>
                  <a:lnTo>
                    <a:pt x="256" y="192"/>
                  </a:lnTo>
                  <a:lnTo>
                    <a:pt x="268" y="212"/>
                  </a:lnTo>
                  <a:lnTo>
                    <a:pt x="276" y="234"/>
                  </a:lnTo>
                  <a:lnTo>
                    <a:pt x="280" y="258"/>
                  </a:lnTo>
                  <a:lnTo>
                    <a:pt x="258" y="258"/>
                  </a:lnTo>
                  <a:lnTo>
                    <a:pt x="258" y="258"/>
                  </a:lnTo>
                  <a:lnTo>
                    <a:pt x="254" y="258"/>
                  </a:lnTo>
                  <a:lnTo>
                    <a:pt x="252" y="260"/>
                  </a:lnTo>
                  <a:lnTo>
                    <a:pt x="250" y="262"/>
                  </a:lnTo>
                  <a:lnTo>
                    <a:pt x="250" y="266"/>
                  </a:lnTo>
                  <a:lnTo>
                    <a:pt x="250" y="266"/>
                  </a:lnTo>
                  <a:lnTo>
                    <a:pt x="250" y="270"/>
                  </a:lnTo>
                  <a:lnTo>
                    <a:pt x="252" y="272"/>
                  </a:lnTo>
                  <a:lnTo>
                    <a:pt x="254" y="274"/>
                  </a:lnTo>
                  <a:lnTo>
                    <a:pt x="258" y="274"/>
                  </a:lnTo>
                  <a:lnTo>
                    <a:pt x="280" y="274"/>
                  </a:lnTo>
                  <a:lnTo>
                    <a:pt x="280" y="274"/>
                  </a:lnTo>
                  <a:lnTo>
                    <a:pt x="276" y="296"/>
                  </a:lnTo>
                  <a:lnTo>
                    <a:pt x="270" y="318"/>
                  </a:lnTo>
                  <a:lnTo>
                    <a:pt x="258" y="338"/>
                  </a:lnTo>
                  <a:lnTo>
                    <a:pt x="244" y="354"/>
                  </a:lnTo>
                  <a:lnTo>
                    <a:pt x="228" y="368"/>
                  </a:lnTo>
                  <a:lnTo>
                    <a:pt x="208" y="380"/>
                  </a:lnTo>
                  <a:lnTo>
                    <a:pt x="186" y="386"/>
                  </a:lnTo>
                  <a:lnTo>
                    <a:pt x="164" y="390"/>
                  </a:lnTo>
                  <a:lnTo>
                    <a:pt x="164" y="390"/>
                  </a:lnTo>
                  <a:close/>
                  <a:moveTo>
                    <a:pt x="182" y="280"/>
                  </a:moveTo>
                  <a:lnTo>
                    <a:pt x="182" y="280"/>
                  </a:lnTo>
                  <a:lnTo>
                    <a:pt x="184" y="276"/>
                  </a:lnTo>
                  <a:lnTo>
                    <a:pt x="186" y="270"/>
                  </a:lnTo>
                  <a:lnTo>
                    <a:pt x="184" y="258"/>
                  </a:lnTo>
                  <a:lnTo>
                    <a:pt x="180" y="248"/>
                  </a:lnTo>
                  <a:lnTo>
                    <a:pt x="176" y="244"/>
                  </a:lnTo>
                  <a:lnTo>
                    <a:pt x="172" y="240"/>
                  </a:lnTo>
                  <a:lnTo>
                    <a:pt x="172" y="240"/>
                  </a:lnTo>
                  <a:lnTo>
                    <a:pt x="164" y="238"/>
                  </a:lnTo>
                  <a:lnTo>
                    <a:pt x="156" y="236"/>
                  </a:lnTo>
                  <a:lnTo>
                    <a:pt x="156" y="236"/>
                  </a:lnTo>
                  <a:lnTo>
                    <a:pt x="148" y="238"/>
                  </a:lnTo>
                  <a:lnTo>
                    <a:pt x="142" y="240"/>
                  </a:lnTo>
                  <a:lnTo>
                    <a:pt x="136" y="234"/>
                  </a:lnTo>
                  <a:lnTo>
                    <a:pt x="136" y="234"/>
                  </a:lnTo>
                  <a:lnTo>
                    <a:pt x="134" y="232"/>
                  </a:lnTo>
                  <a:lnTo>
                    <a:pt x="130" y="232"/>
                  </a:lnTo>
                  <a:lnTo>
                    <a:pt x="128" y="232"/>
                  </a:lnTo>
                  <a:lnTo>
                    <a:pt x="124" y="234"/>
                  </a:lnTo>
                  <a:lnTo>
                    <a:pt x="124" y="234"/>
                  </a:lnTo>
                  <a:lnTo>
                    <a:pt x="122" y="238"/>
                  </a:lnTo>
                  <a:lnTo>
                    <a:pt x="122" y="240"/>
                  </a:lnTo>
                  <a:lnTo>
                    <a:pt x="122" y="244"/>
                  </a:lnTo>
                  <a:lnTo>
                    <a:pt x="124" y="246"/>
                  </a:lnTo>
                  <a:lnTo>
                    <a:pt x="130" y="252"/>
                  </a:lnTo>
                  <a:lnTo>
                    <a:pt x="130" y="252"/>
                  </a:lnTo>
                  <a:lnTo>
                    <a:pt x="128" y="256"/>
                  </a:lnTo>
                  <a:lnTo>
                    <a:pt x="126" y="262"/>
                  </a:lnTo>
                  <a:lnTo>
                    <a:pt x="128" y="274"/>
                  </a:lnTo>
                  <a:lnTo>
                    <a:pt x="132" y="284"/>
                  </a:lnTo>
                  <a:lnTo>
                    <a:pt x="136" y="288"/>
                  </a:lnTo>
                  <a:lnTo>
                    <a:pt x="140" y="292"/>
                  </a:lnTo>
                  <a:lnTo>
                    <a:pt x="140" y="292"/>
                  </a:lnTo>
                  <a:lnTo>
                    <a:pt x="148" y="296"/>
                  </a:lnTo>
                  <a:lnTo>
                    <a:pt x="156" y="296"/>
                  </a:lnTo>
                  <a:lnTo>
                    <a:pt x="156" y="296"/>
                  </a:lnTo>
                  <a:lnTo>
                    <a:pt x="164" y="296"/>
                  </a:lnTo>
                  <a:lnTo>
                    <a:pt x="170" y="292"/>
                  </a:lnTo>
                  <a:lnTo>
                    <a:pt x="222" y="342"/>
                  </a:lnTo>
                  <a:lnTo>
                    <a:pt x="222" y="342"/>
                  </a:lnTo>
                  <a:lnTo>
                    <a:pt x="224" y="344"/>
                  </a:lnTo>
                  <a:lnTo>
                    <a:pt x="228" y="346"/>
                  </a:lnTo>
                  <a:lnTo>
                    <a:pt x="228" y="346"/>
                  </a:lnTo>
                  <a:lnTo>
                    <a:pt x="230" y="344"/>
                  </a:lnTo>
                  <a:lnTo>
                    <a:pt x="232" y="342"/>
                  </a:lnTo>
                  <a:lnTo>
                    <a:pt x="232" y="342"/>
                  </a:lnTo>
                  <a:lnTo>
                    <a:pt x="234" y="340"/>
                  </a:lnTo>
                  <a:lnTo>
                    <a:pt x="236" y="338"/>
                  </a:lnTo>
                  <a:lnTo>
                    <a:pt x="234" y="334"/>
                  </a:lnTo>
                  <a:lnTo>
                    <a:pt x="232" y="332"/>
                  </a:lnTo>
                  <a:lnTo>
                    <a:pt x="182" y="280"/>
                  </a:lnTo>
                  <a:close/>
                  <a:moveTo>
                    <a:pt x="168" y="274"/>
                  </a:moveTo>
                  <a:lnTo>
                    <a:pt x="168" y="274"/>
                  </a:lnTo>
                  <a:lnTo>
                    <a:pt x="164" y="278"/>
                  </a:lnTo>
                  <a:lnTo>
                    <a:pt x="156" y="280"/>
                  </a:lnTo>
                  <a:lnTo>
                    <a:pt x="156" y="280"/>
                  </a:lnTo>
                  <a:lnTo>
                    <a:pt x="148" y="278"/>
                  </a:lnTo>
                  <a:lnTo>
                    <a:pt x="148" y="278"/>
                  </a:lnTo>
                  <a:lnTo>
                    <a:pt x="144" y="274"/>
                  </a:lnTo>
                  <a:lnTo>
                    <a:pt x="142" y="270"/>
                  </a:lnTo>
                  <a:lnTo>
                    <a:pt x="142" y="264"/>
                  </a:lnTo>
                  <a:lnTo>
                    <a:pt x="144" y="260"/>
                  </a:lnTo>
                  <a:lnTo>
                    <a:pt x="144" y="260"/>
                  </a:lnTo>
                  <a:lnTo>
                    <a:pt x="150" y="254"/>
                  </a:lnTo>
                  <a:lnTo>
                    <a:pt x="156" y="252"/>
                  </a:lnTo>
                  <a:lnTo>
                    <a:pt x="156" y="252"/>
                  </a:lnTo>
                  <a:lnTo>
                    <a:pt x="164" y="254"/>
                  </a:lnTo>
                  <a:lnTo>
                    <a:pt x="164" y="254"/>
                  </a:lnTo>
                  <a:lnTo>
                    <a:pt x="168" y="258"/>
                  </a:lnTo>
                  <a:lnTo>
                    <a:pt x="170" y="262"/>
                  </a:lnTo>
                  <a:lnTo>
                    <a:pt x="170" y="262"/>
                  </a:lnTo>
                  <a:lnTo>
                    <a:pt x="170" y="268"/>
                  </a:lnTo>
                  <a:lnTo>
                    <a:pt x="168" y="274"/>
                  </a:lnTo>
                  <a:lnTo>
                    <a:pt x="168" y="274"/>
                  </a:lnTo>
                  <a:close/>
                  <a:moveTo>
                    <a:pt x="142" y="196"/>
                  </a:moveTo>
                  <a:lnTo>
                    <a:pt x="142" y="196"/>
                  </a:lnTo>
                  <a:lnTo>
                    <a:pt x="142" y="192"/>
                  </a:lnTo>
                  <a:lnTo>
                    <a:pt x="144" y="188"/>
                  </a:lnTo>
                  <a:lnTo>
                    <a:pt x="146" y="184"/>
                  </a:lnTo>
                  <a:lnTo>
                    <a:pt x="150" y="182"/>
                  </a:lnTo>
                  <a:lnTo>
                    <a:pt x="194" y="158"/>
                  </a:lnTo>
                  <a:lnTo>
                    <a:pt x="170" y="202"/>
                  </a:lnTo>
                  <a:lnTo>
                    <a:pt x="170" y="202"/>
                  </a:lnTo>
                  <a:lnTo>
                    <a:pt x="168" y="204"/>
                  </a:lnTo>
                  <a:lnTo>
                    <a:pt x="164" y="208"/>
                  </a:lnTo>
                  <a:lnTo>
                    <a:pt x="160" y="210"/>
                  </a:lnTo>
                  <a:lnTo>
                    <a:pt x="156" y="210"/>
                  </a:lnTo>
                  <a:lnTo>
                    <a:pt x="156" y="210"/>
                  </a:lnTo>
                  <a:lnTo>
                    <a:pt x="150" y="208"/>
                  </a:lnTo>
                  <a:lnTo>
                    <a:pt x="146" y="206"/>
                  </a:lnTo>
                  <a:lnTo>
                    <a:pt x="142" y="202"/>
                  </a:lnTo>
                  <a:lnTo>
                    <a:pt x="142" y="196"/>
                  </a:lnTo>
                  <a:lnTo>
                    <a:pt x="142" y="19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84" name="Group 83">
            <a:extLst>
              <a:ext uri="{FF2B5EF4-FFF2-40B4-BE49-F238E27FC236}">
                <a16:creationId xmlns:a16="http://schemas.microsoft.com/office/drawing/2014/main" id="{69EB4641-091F-4E9B-A5E0-F126F4172024}"/>
              </a:ext>
            </a:extLst>
          </p:cNvPr>
          <p:cNvGrpSpPr/>
          <p:nvPr/>
        </p:nvGrpSpPr>
        <p:grpSpPr>
          <a:xfrm>
            <a:off x="2766586" y="1492761"/>
            <a:ext cx="612000" cy="612000"/>
            <a:chOff x="1467520" y="2258092"/>
            <a:chExt cx="612000" cy="612000"/>
          </a:xfrm>
        </p:grpSpPr>
        <p:sp>
          <p:nvSpPr>
            <p:cNvPr id="85" name="Oval 84">
              <a:extLst>
                <a:ext uri="{FF2B5EF4-FFF2-40B4-BE49-F238E27FC236}">
                  <a16:creationId xmlns:a16="http://schemas.microsoft.com/office/drawing/2014/main" id="{AAA404F3-7A6B-4CA4-AE14-DA2278886B69}"/>
                </a:ext>
              </a:extLst>
            </p:cNvPr>
            <p:cNvSpPr/>
            <p:nvPr/>
          </p:nvSpPr>
          <p:spPr bwMode="ltGray">
            <a:xfrm>
              <a:off x="1467520"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86" name="Freeform 4949">
              <a:extLst>
                <a:ext uri="{FF2B5EF4-FFF2-40B4-BE49-F238E27FC236}">
                  <a16:creationId xmlns:a16="http://schemas.microsoft.com/office/drawing/2014/main" id="{E934BBF8-16D4-4EDD-952D-6CDD15C173CC}"/>
                </a:ext>
              </a:extLst>
            </p:cNvPr>
            <p:cNvSpPr>
              <a:spLocks noEditPoints="1"/>
            </p:cNvSpPr>
            <p:nvPr/>
          </p:nvSpPr>
          <p:spPr bwMode="auto">
            <a:xfrm>
              <a:off x="1574769" y="2337737"/>
              <a:ext cx="397503" cy="421594"/>
            </a:xfrm>
            <a:custGeom>
              <a:avLst/>
              <a:gdLst>
                <a:gd name="T0" fmla="*/ 128 w 330"/>
                <a:gd name="T1" fmla="*/ 144 h 350"/>
                <a:gd name="T2" fmla="*/ 116 w 330"/>
                <a:gd name="T3" fmla="*/ 138 h 350"/>
                <a:gd name="T4" fmla="*/ 126 w 330"/>
                <a:gd name="T5" fmla="*/ 90 h 350"/>
                <a:gd name="T6" fmla="*/ 188 w 330"/>
                <a:gd name="T7" fmla="*/ 52 h 350"/>
                <a:gd name="T8" fmla="*/ 210 w 330"/>
                <a:gd name="T9" fmla="*/ 14 h 350"/>
                <a:gd name="T10" fmla="*/ 250 w 330"/>
                <a:gd name="T11" fmla="*/ 0 h 350"/>
                <a:gd name="T12" fmla="*/ 260 w 330"/>
                <a:gd name="T13" fmla="*/ 10 h 350"/>
                <a:gd name="T14" fmla="*/ 250 w 330"/>
                <a:gd name="T15" fmla="*/ 20 h 350"/>
                <a:gd name="T16" fmla="*/ 214 w 330"/>
                <a:gd name="T17" fmla="*/ 38 h 350"/>
                <a:gd name="T18" fmla="*/ 206 w 330"/>
                <a:gd name="T19" fmla="*/ 66 h 350"/>
                <a:gd name="T20" fmla="*/ 198 w 330"/>
                <a:gd name="T21" fmla="*/ 72 h 350"/>
                <a:gd name="T22" fmla="*/ 172 w 330"/>
                <a:gd name="T23" fmla="*/ 76 h 350"/>
                <a:gd name="T24" fmla="*/ 136 w 330"/>
                <a:gd name="T25" fmla="*/ 122 h 350"/>
                <a:gd name="T26" fmla="*/ 124 w 330"/>
                <a:gd name="T27" fmla="*/ 6 h 350"/>
                <a:gd name="T28" fmla="*/ 100 w 330"/>
                <a:gd name="T29" fmla="*/ 0 h 350"/>
                <a:gd name="T30" fmla="*/ 46 w 330"/>
                <a:gd name="T31" fmla="*/ 44 h 350"/>
                <a:gd name="T32" fmla="*/ 44 w 330"/>
                <a:gd name="T33" fmla="*/ 80 h 350"/>
                <a:gd name="T34" fmla="*/ 58 w 330"/>
                <a:gd name="T35" fmla="*/ 80 h 350"/>
                <a:gd name="T36" fmla="*/ 64 w 330"/>
                <a:gd name="T37" fmla="*/ 52 h 350"/>
                <a:gd name="T38" fmla="*/ 104 w 330"/>
                <a:gd name="T39" fmla="*/ 20 h 350"/>
                <a:gd name="T40" fmla="*/ 124 w 330"/>
                <a:gd name="T41" fmla="*/ 14 h 350"/>
                <a:gd name="T42" fmla="*/ 246 w 330"/>
                <a:gd name="T43" fmla="*/ 34 h 350"/>
                <a:gd name="T44" fmla="*/ 238 w 330"/>
                <a:gd name="T45" fmla="*/ 54 h 350"/>
                <a:gd name="T46" fmla="*/ 208 w 330"/>
                <a:gd name="T47" fmla="*/ 92 h 350"/>
                <a:gd name="T48" fmla="*/ 180 w 330"/>
                <a:gd name="T49" fmla="*/ 98 h 350"/>
                <a:gd name="T50" fmla="*/ 172 w 330"/>
                <a:gd name="T51" fmla="*/ 118 h 350"/>
                <a:gd name="T52" fmla="*/ 150 w 330"/>
                <a:gd name="T53" fmla="*/ 128 h 350"/>
                <a:gd name="T54" fmla="*/ 150 w 330"/>
                <a:gd name="T55" fmla="*/ 142 h 350"/>
                <a:gd name="T56" fmla="*/ 182 w 330"/>
                <a:gd name="T57" fmla="*/ 136 h 350"/>
                <a:gd name="T58" fmla="*/ 222 w 330"/>
                <a:gd name="T59" fmla="*/ 106 h 350"/>
                <a:gd name="T60" fmla="*/ 258 w 330"/>
                <a:gd name="T61" fmla="*/ 56 h 350"/>
                <a:gd name="T62" fmla="*/ 254 w 330"/>
                <a:gd name="T63" fmla="*/ 34 h 350"/>
                <a:gd name="T64" fmla="*/ 158 w 330"/>
                <a:gd name="T65" fmla="*/ 6 h 350"/>
                <a:gd name="T66" fmla="*/ 144 w 330"/>
                <a:gd name="T67" fmla="*/ 0 h 350"/>
                <a:gd name="T68" fmla="*/ 138 w 330"/>
                <a:gd name="T69" fmla="*/ 16 h 350"/>
                <a:gd name="T70" fmla="*/ 124 w 330"/>
                <a:gd name="T71" fmla="*/ 36 h 350"/>
                <a:gd name="T72" fmla="*/ 106 w 330"/>
                <a:gd name="T73" fmla="*/ 42 h 350"/>
                <a:gd name="T74" fmla="*/ 96 w 330"/>
                <a:gd name="T75" fmla="*/ 52 h 350"/>
                <a:gd name="T76" fmla="*/ 106 w 330"/>
                <a:gd name="T77" fmla="*/ 62 h 350"/>
                <a:gd name="T78" fmla="*/ 136 w 330"/>
                <a:gd name="T79" fmla="*/ 52 h 350"/>
                <a:gd name="T80" fmla="*/ 158 w 330"/>
                <a:gd name="T81" fmla="*/ 20 h 350"/>
                <a:gd name="T82" fmla="*/ 242 w 330"/>
                <a:gd name="T83" fmla="*/ 258 h 350"/>
                <a:gd name="T84" fmla="*/ 128 w 330"/>
                <a:gd name="T85" fmla="*/ 252 h 350"/>
                <a:gd name="T86" fmla="*/ 138 w 330"/>
                <a:gd name="T87" fmla="*/ 164 h 350"/>
                <a:gd name="T88" fmla="*/ 114 w 330"/>
                <a:gd name="T89" fmla="*/ 162 h 350"/>
                <a:gd name="T90" fmla="*/ 82 w 330"/>
                <a:gd name="T91" fmla="*/ 258 h 350"/>
                <a:gd name="T92" fmla="*/ 60 w 330"/>
                <a:gd name="T93" fmla="*/ 102 h 350"/>
                <a:gd name="T94" fmla="*/ 38 w 330"/>
                <a:gd name="T95" fmla="*/ 104 h 350"/>
                <a:gd name="T96" fmla="*/ 10 w 330"/>
                <a:gd name="T97" fmla="*/ 258 h 350"/>
                <a:gd name="T98" fmla="*/ 0 w 330"/>
                <a:gd name="T99" fmla="*/ 340 h 350"/>
                <a:gd name="T100" fmla="*/ 10 w 330"/>
                <a:gd name="T101" fmla="*/ 350 h 350"/>
                <a:gd name="T102" fmla="*/ 330 w 330"/>
                <a:gd name="T103" fmla="*/ 344 h 350"/>
                <a:gd name="T104" fmla="*/ 330 w 330"/>
                <a:gd name="T105" fmla="*/ 268 h 350"/>
                <a:gd name="T106" fmla="*/ 76 w 330"/>
                <a:gd name="T107" fmla="*/ 314 h 350"/>
                <a:gd name="T108" fmla="*/ 154 w 330"/>
                <a:gd name="T109" fmla="*/ 314 h 350"/>
                <a:gd name="T110" fmla="*/ 232 w 330"/>
                <a:gd name="T111" fmla="*/ 314 h 350"/>
                <a:gd name="T112" fmla="*/ 308 w 330"/>
                <a:gd name="T113"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350">
                  <a:moveTo>
                    <a:pt x="134" y="134"/>
                  </a:moveTo>
                  <a:lnTo>
                    <a:pt x="134" y="134"/>
                  </a:lnTo>
                  <a:lnTo>
                    <a:pt x="134" y="138"/>
                  </a:lnTo>
                  <a:lnTo>
                    <a:pt x="132" y="142"/>
                  </a:lnTo>
                  <a:lnTo>
                    <a:pt x="128" y="144"/>
                  </a:lnTo>
                  <a:lnTo>
                    <a:pt x="124" y="144"/>
                  </a:lnTo>
                  <a:lnTo>
                    <a:pt x="124" y="144"/>
                  </a:lnTo>
                  <a:lnTo>
                    <a:pt x="120" y="144"/>
                  </a:lnTo>
                  <a:lnTo>
                    <a:pt x="118" y="142"/>
                  </a:lnTo>
                  <a:lnTo>
                    <a:pt x="116" y="138"/>
                  </a:lnTo>
                  <a:lnTo>
                    <a:pt x="114" y="134"/>
                  </a:lnTo>
                  <a:lnTo>
                    <a:pt x="114" y="134"/>
                  </a:lnTo>
                  <a:lnTo>
                    <a:pt x="116" y="118"/>
                  </a:lnTo>
                  <a:lnTo>
                    <a:pt x="120" y="104"/>
                  </a:lnTo>
                  <a:lnTo>
                    <a:pt x="126" y="90"/>
                  </a:lnTo>
                  <a:lnTo>
                    <a:pt x="136" y="78"/>
                  </a:lnTo>
                  <a:lnTo>
                    <a:pt x="146" y="68"/>
                  </a:lnTo>
                  <a:lnTo>
                    <a:pt x="160" y="60"/>
                  </a:lnTo>
                  <a:lnTo>
                    <a:pt x="174" y="56"/>
                  </a:lnTo>
                  <a:lnTo>
                    <a:pt x="188" y="52"/>
                  </a:lnTo>
                  <a:lnTo>
                    <a:pt x="188" y="52"/>
                  </a:lnTo>
                  <a:lnTo>
                    <a:pt x="192" y="42"/>
                  </a:lnTo>
                  <a:lnTo>
                    <a:pt x="196" y="32"/>
                  </a:lnTo>
                  <a:lnTo>
                    <a:pt x="202" y="22"/>
                  </a:lnTo>
                  <a:lnTo>
                    <a:pt x="210" y="14"/>
                  </a:lnTo>
                  <a:lnTo>
                    <a:pt x="218" y="8"/>
                  </a:lnTo>
                  <a:lnTo>
                    <a:pt x="228" y="4"/>
                  </a:lnTo>
                  <a:lnTo>
                    <a:pt x="238" y="0"/>
                  </a:lnTo>
                  <a:lnTo>
                    <a:pt x="250" y="0"/>
                  </a:lnTo>
                  <a:lnTo>
                    <a:pt x="250" y="0"/>
                  </a:lnTo>
                  <a:lnTo>
                    <a:pt x="254" y="0"/>
                  </a:lnTo>
                  <a:lnTo>
                    <a:pt x="258" y="2"/>
                  </a:lnTo>
                  <a:lnTo>
                    <a:pt x="260" y="6"/>
                  </a:lnTo>
                  <a:lnTo>
                    <a:pt x="260" y="10"/>
                  </a:lnTo>
                  <a:lnTo>
                    <a:pt x="260" y="10"/>
                  </a:lnTo>
                  <a:lnTo>
                    <a:pt x="260" y="14"/>
                  </a:lnTo>
                  <a:lnTo>
                    <a:pt x="258" y="16"/>
                  </a:lnTo>
                  <a:lnTo>
                    <a:pt x="254" y="18"/>
                  </a:lnTo>
                  <a:lnTo>
                    <a:pt x="250" y="20"/>
                  </a:lnTo>
                  <a:lnTo>
                    <a:pt x="250" y="20"/>
                  </a:lnTo>
                  <a:lnTo>
                    <a:pt x="242" y="20"/>
                  </a:lnTo>
                  <a:lnTo>
                    <a:pt x="234" y="22"/>
                  </a:lnTo>
                  <a:lnTo>
                    <a:pt x="226" y="26"/>
                  </a:lnTo>
                  <a:lnTo>
                    <a:pt x="220" y="32"/>
                  </a:lnTo>
                  <a:lnTo>
                    <a:pt x="214" y="38"/>
                  </a:lnTo>
                  <a:lnTo>
                    <a:pt x="212" y="46"/>
                  </a:lnTo>
                  <a:lnTo>
                    <a:pt x="208" y="52"/>
                  </a:lnTo>
                  <a:lnTo>
                    <a:pt x="208" y="62"/>
                  </a:lnTo>
                  <a:lnTo>
                    <a:pt x="208" y="62"/>
                  </a:lnTo>
                  <a:lnTo>
                    <a:pt x="206" y="66"/>
                  </a:lnTo>
                  <a:lnTo>
                    <a:pt x="204" y="68"/>
                  </a:lnTo>
                  <a:lnTo>
                    <a:pt x="202" y="70"/>
                  </a:lnTo>
                  <a:lnTo>
                    <a:pt x="198" y="72"/>
                  </a:lnTo>
                  <a:lnTo>
                    <a:pt x="198" y="72"/>
                  </a:lnTo>
                  <a:lnTo>
                    <a:pt x="198" y="72"/>
                  </a:lnTo>
                  <a:lnTo>
                    <a:pt x="198" y="72"/>
                  </a:lnTo>
                  <a:lnTo>
                    <a:pt x="198" y="72"/>
                  </a:lnTo>
                  <a:lnTo>
                    <a:pt x="198" y="72"/>
                  </a:lnTo>
                  <a:lnTo>
                    <a:pt x="184" y="72"/>
                  </a:lnTo>
                  <a:lnTo>
                    <a:pt x="172" y="76"/>
                  </a:lnTo>
                  <a:lnTo>
                    <a:pt x="162" y="82"/>
                  </a:lnTo>
                  <a:lnTo>
                    <a:pt x="152" y="90"/>
                  </a:lnTo>
                  <a:lnTo>
                    <a:pt x="146" y="100"/>
                  </a:lnTo>
                  <a:lnTo>
                    <a:pt x="140" y="110"/>
                  </a:lnTo>
                  <a:lnTo>
                    <a:pt x="136" y="122"/>
                  </a:lnTo>
                  <a:lnTo>
                    <a:pt x="134" y="134"/>
                  </a:lnTo>
                  <a:lnTo>
                    <a:pt x="134" y="134"/>
                  </a:lnTo>
                  <a:close/>
                  <a:moveTo>
                    <a:pt x="124" y="10"/>
                  </a:moveTo>
                  <a:lnTo>
                    <a:pt x="124" y="10"/>
                  </a:lnTo>
                  <a:lnTo>
                    <a:pt x="124" y="6"/>
                  </a:lnTo>
                  <a:lnTo>
                    <a:pt x="122" y="2"/>
                  </a:lnTo>
                  <a:lnTo>
                    <a:pt x="118" y="0"/>
                  </a:lnTo>
                  <a:lnTo>
                    <a:pt x="114" y="0"/>
                  </a:lnTo>
                  <a:lnTo>
                    <a:pt x="114" y="0"/>
                  </a:lnTo>
                  <a:lnTo>
                    <a:pt x="100" y="0"/>
                  </a:lnTo>
                  <a:lnTo>
                    <a:pt x="86" y="6"/>
                  </a:lnTo>
                  <a:lnTo>
                    <a:pt x="72" y="12"/>
                  </a:lnTo>
                  <a:lnTo>
                    <a:pt x="62" y="20"/>
                  </a:lnTo>
                  <a:lnTo>
                    <a:pt x="52" y="32"/>
                  </a:lnTo>
                  <a:lnTo>
                    <a:pt x="46" y="44"/>
                  </a:lnTo>
                  <a:lnTo>
                    <a:pt x="42" y="58"/>
                  </a:lnTo>
                  <a:lnTo>
                    <a:pt x="40" y="74"/>
                  </a:lnTo>
                  <a:lnTo>
                    <a:pt x="40" y="74"/>
                  </a:lnTo>
                  <a:lnTo>
                    <a:pt x="40" y="78"/>
                  </a:lnTo>
                  <a:lnTo>
                    <a:pt x="44" y="80"/>
                  </a:lnTo>
                  <a:lnTo>
                    <a:pt x="46" y="82"/>
                  </a:lnTo>
                  <a:lnTo>
                    <a:pt x="50" y="84"/>
                  </a:lnTo>
                  <a:lnTo>
                    <a:pt x="50" y="84"/>
                  </a:lnTo>
                  <a:lnTo>
                    <a:pt x="54" y="82"/>
                  </a:lnTo>
                  <a:lnTo>
                    <a:pt x="58" y="80"/>
                  </a:lnTo>
                  <a:lnTo>
                    <a:pt x="60" y="78"/>
                  </a:lnTo>
                  <a:lnTo>
                    <a:pt x="60" y="74"/>
                  </a:lnTo>
                  <a:lnTo>
                    <a:pt x="60" y="74"/>
                  </a:lnTo>
                  <a:lnTo>
                    <a:pt x="62" y="62"/>
                  </a:lnTo>
                  <a:lnTo>
                    <a:pt x="64" y="52"/>
                  </a:lnTo>
                  <a:lnTo>
                    <a:pt x="70" y="44"/>
                  </a:lnTo>
                  <a:lnTo>
                    <a:pt x="76" y="36"/>
                  </a:lnTo>
                  <a:lnTo>
                    <a:pt x="84" y="28"/>
                  </a:lnTo>
                  <a:lnTo>
                    <a:pt x="94" y="24"/>
                  </a:lnTo>
                  <a:lnTo>
                    <a:pt x="104" y="20"/>
                  </a:lnTo>
                  <a:lnTo>
                    <a:pt x="114" y="20"/>
                  </a:lnTo>
                  <a:lnTo>
                    <a:pt x="114" y="20"/>
                  </a:lnTo>
                  <a:lnTo>
                    <a:pt x="118" y="18"/>
                  </a:lnTo>
                  <a:lnTo>
                    <a:pt x="122" y="16"/>
                  </a:lnTo>
                  <a:lnTo>
                    <a:pt x="124" y="14"/>
                  </a:lnTo>
                  <a:lnTo>
                    <a:pt x="124" y="10"/>
                  </a:lnTo>
                  <a:lnTo>
                    <a:pt x="124" y="10"/>
                  </a:lnTo>
                  <a:close/>
                  <a:moveTo>
                    <a:pt x="250" y="32"/>
                  </a:moveTo>
                  <a:lnTo>
                    <a:pt x="250" y="32"/>
                  </a:lnTo>
                  <a:lnTo>
                    <a:pt x="246" y="34"/>
                  </a:lnTo>
                  <a:lnTo>
                    <a:pt x="242" y="36"/>
                  </a:lnTo>
                  <a:lnTo>
                    <a:pt x="240" y="38"/>
                  </a:lnTo>
                  <a:lnTo>
                    <a:pt x="240" y="42"/>
                  </a:lnTo>
                  <a:lnTo>
                    <a:pt x="240" y="42"/>
                  </a:lnTo>
                  <a:lnTo>
                    <a:pt x="238" y="54"/>
                  </a:lnTo>
                  <a:lnTo>
                    <a:pt x="236" y="62"/>
                  </a:lnTo>
                  <a:lnTo>
                    <a:pt x="230" y="72"/>
                  </a:lnTo>
                  <a:lnTo>
                    <a:pt x="224" y="80"/>
                  </a:lnTo>
                  <a:lnTo>
                    <a:pt x="216" y="86"/>
                  </a:lnTo>
                  <a:lnTo>
                    <a:pt x="208" y="92"/>
                  </a:lnTo>
                  <a:lnTo>
                    <a:pt x="198" y="94"/>
                  </a:lnTo>
                  <a:lnTo>
                    <a:pt x="188" y="96"/>
                  </a:lnTo>
                  <a:lnTo>
                    <a:pt x="188" y="96"/>
                  </a:lnTo>
                  <a:lnTo>
                    <a:pt x="184" y="96"/>
                  </a:lnTo>
                  <a:lnTo>
                    <a:pt x="180" y="98"/>
                  </a:lnTo>
                  <a:lnTo>
                    <a:pt x="178" y="102"/>
                  </a:lnTo>
                  <a:lnTo>
                    <a:pt x="178" y="106"/>
                  </a:lnTo>
                  <a:lnTo>
                    <a:pt x="178" y="106"/>
                  </a:lnTo>
                  <a:lnTo>
                    <a:pt x="176" y="112"/>
                  </a:lnTo>
                  <a:lnTo>
                    <a:pt x="172" y="118"/>
                  </a:lnTo>
                  <a:lnTo>
                    <a:pt x="166" y="124"/>
                  </a:lnTo>
                  <a:lnTo>
                    <a:pt x="158" y="124"/>
                  </a:lnTo>
                  <a:lnTo>
                    <a:pt x="158" y="124"/>
                  </a:lnTo>
                  <a:lnTo>
                    <a:pt x="154" y="126"/>
                  </a:lnTo>
                  <a:lnTo>
                    <a:pt x="150" y="128"/>
                  </a:lnTo>
                  <a:lnTo>
                    <a:pt x="148" y="130"/>
                  </a:lnTo>
                  <a:lnTo>
                    <a:pt x="148" y="134"/>
                  </a:lnTo>
                  <a:lnTo>
                    <a:pt x="148" y="134"/>
                  </a:lnTo>
                  <a:lnTo>
                    <a:pt x="148" y="138"/>
                  </a:lnTo>
                  <a:lnTo>
                    <a:pt x="150" y="142"/>
                  </a:lnTo>
                  <a:lnTo>
                    <a:pt x="154" y="144"/>
                  </a:lnTo>
                  <a:lnTo>
                    <a:pt x="158" y="144"/>
                  </a:lnTo>
                  <a:lnTo>
                    <a:pt x="158" y="144"/>
                  </a:lnTo>
                  <a:lnTo>
                    <a:pt x="170" y="142"/>
                  </a:lnTo>
                  <a:lnTo>
                    <a:pt x="182" y="136"/>
                  </a:lnTo>
                  <a:lnTo>
                    <a:pt x="190" y="126"/>
                  </a:lnTo>
                  <a:lnTo>
                    <a:pt x="196" y="114"/>
                  </a:lnTo>
                  <a:lnTo>
                    <a:pt x="196" y="114"/>
                  </a:lnTo>
                  <a:lnTo>
                    <a:pt x="208" y="112"/>
                  </a:lnTo>
                  <a:lnTo>
                    <a:pt x="222" y="106"/>
                  </a:lnTo>
                  <a:lnTo>
                    <a:pt x="232" y="100"/>
                  </a:lnTo>
                  <a:lnTo>
                    <a:pt x="242" y="90"/>
                  </a:lnTo>
                  <a:lnTo>
                    <a:pt x="250" y="80"/>
                  </a:lnTo>
                  <a:lnTo>
                    <a:pt x="256" y="68"/>
                  </a:lnTo>
                  <a:lnTo>
                    <a:pt x="258" y="56"/>
                  </a:lnTo>
                  <a:lnTo>
                    <a:pt x="260" y="42"/>
                  </a:lnTo>
                  <a:lnTo>
                    <a:pt x="260" y="42"/>
                  </a:lnTo>
                  <a:lnTo>
                    <a:pt x="260" y="38"/>
                  </a:lnTo>
                  <a:lnTo>
                    <a:pt x="258" y="36"/>
                  </a:lnTo>
                  <a:lnTo>
                    <a:pt x="254" y="34"/>
                  </a:lnTo>
                  <a:lnTo>
                    <a:pt x="250" y="32"/>
                  </a:lnTo>
                  <a:lnTo>
                    <a:pt x="250" y="32"/>
                  </a:lnTo>
                  <a:close/>
                  <a:moveTo>
                    <a:pt x="158" y="10"/>
                  </a:moveTo>
                  <a:lnTo>
                    <a:pt x="158" y="10"/>
                  </a:lnTo>
                  <a:lnTo>
                    <a:pt x="158" y="6"/>
                  </a:lnTo>
                  <a:lnTo>
                    <a:pt x="156" y="2"/>
                  </a:lnTo>
                  <a:lnTo>
                    <a:pt x="152" y="0"/>
                  </a:lnTo>
                  <a:lnTo>
                    <a:pt x="148" y="0"/>
                  </a:lnTo>
                  <a:lnTo>
                    <a:pt x="148" y="0"/>
                  </a:lnTo>
                  <a:lnTo>
                    <a:pt x="144" y="0"/>
                  </a:lnTo>
                  <a:lnTo>
                    <a:pt x="142" y="2"/>
                  </a:lnTo>
                  <a:lnTo>
                    <a:pt x="138" y="6"/>
                  </a:lnTo>
                  <a:lnTo>
                    <a:pt x="138" y="10"/>
                  </a:lnTo>
                  <a:lnTo>
                    <a:pt x="138" y="10"/>
                  </a:lnTo>
                  <a:lnTo>
                    <a:pt x="138" y="16"/>
                  </a:lnTo>
                  <a:lnTo>
                    <a:pt x="136" y="22"/>
                  </a:lnTo>
                  <a:lnTo>
                    <a:pt x="132" y="26"/>
                  </a:lnTo>
                  <a:lnTo>
                    <a:pt x="128" y="32"/>
                  </a:lnTo>
                  <a:lnTo>
                    <a:pt x="128" y="32"/>
                  </a:lnTo>
                  <a:lnTo>
                    <a:pt x="124" y="36"/>
                  </a:lnTo>
                  <a:lnTo>
                    <a:pt x="118" y="38"/>
                  </a:lnTo>
                  <a:lnTo>
                    <a:pt x="112" y="40"/>
                  </a:lnTo>
                  <a:lnTo>
                    <a:pt x="106" y="42"/>
                  </a:lnTo>
                  <a:lnTo>
                    <a:pt x="106" y="42"/>
                  </a:lnTo>
                  <a:lnTo>
                    <a:pt x="106" y="42"/>
                  </a:lnTo>
                  <a:lnTo>
                    <a:pt x="102" y="42"/>
                  </a:lnTo>
                  <a:lnTo>
                    <a:pt x="100" y="44"/>
                  </a:lnTo>
                  <a:lnTo>
                    <a:pt x="98" y="48"/>
                  </a:lnTo>
                  <a:lnTo>
                    <a:pt x="96" y="52"/>
                  </a:lnTo>
                  <a:lnTo>
                    <a:pt x="96" y="52"/>
                  </a:lnTo>
                  <a:lnTo>
                    <a:pt x="98" y="56"/>
                  </a:lnTo>
                  <a:lnTo>
                    <a:pt x="100" y="58"/>
                  </a:lnTo>
                  <a:lnTo>
                    <a:pt x="102" y="60"/>
                  </a:lnTo>
                  <a:lnTo>
                    <a:pt x="106" y="62"/>
                  </a:lnTo>
                  <a:lnTo>
                    <a:pt x="106" y="62"/>
                  </a:lnTo>
                  <a:lnTo>
                    <a:pt x="106" y="62"/>
                  </a:lnTo>
                  <a:lnTo>
                    <a:pt x="106" y="62"/>
                  </a:lnTo>
                  <a:lnTo>
                    <a:pt x="116" y="60"/>
                  </a:lnTo>
                  <a:lnTo>
                    <a:pt x="126" y="58"/>
                  </a:lnTo>
                  <a:lnTo>
                    <a:pt x="136" y="52"/>
                  </a:lnTo>
                  <a:lnTo>
                    <a:pt x="142" y="46"/>
                  </a:lnTo>
                  <a:lnTo>
                    <a:pt x="142" y="46"/>
                  </a:lnTo>
                  <a:lnTo>
                    <a:pt x="150" y="38"/>
                  </a:lnTo>
                  <a:lnTo>
                    <a:pt x="154" y="30"/>
                  </a:lnTo>
                  <a:lnTo>
                    <a:pt x="158" y="20"/>
                  </a:lnTo>
                  <a:lnTo>
                    <a:pt x="158" y="10"/>
                  </a:lnTo>
                  <a:lnTo>
                    <a:pt x="158" y="10"/>
                  </a:lnTo>
                  <a:close/>
                  <a:moveTo>
                    <a:pt x="330" y="268"/>
                  </a:moveTo>
                  <a:lnTo>
                    <a:pt x="330" y="190"/>
                  </a:lnTo>
                  <a:lnTo>
                    <a:pt x="242" y="258"/>
                  </a:lnTo>
                  <a:lnTo>
                    <a:pt x="242" y="190"/>
                  </a:lnTo>
                  <a:lnTo>
                    <a:pt x="154" y="258"/>
                  </a:lnTo>
                  <a:lnTo>
                    <a:pt x="148" y="258"/>
                  </a:lnTo>
                  <a:lnTo>
                    <a:pt x="122" y="258"/>
                  </a:lnTo>
                  <a:lnTo>
                    <a:pt x="128" y="252"/>
                  </a:lnTo>
                  <a:lnTo>
                    <a:pt x="146" y="240"/>
                  </a:lnTo>
                  <a:lnTo>
                    <a:pt x="140" y="172"/>
                  </a:lnTo>
                  <a:lnTo>
                    <a:pt x="140" y="172"/>
                  </a:lnTo>
                  <a:lnTo>
                    <a:pt x="140" y="168"/>
                  </a:lnTo>
                  <a:lnTo>
                    <a:pt x="138" y="164"/>
                  </a:lnTo>
                  <a:lnTo>
                    <a:pt x="134" y="162"/>
                  </a:lnTo>
                  <a:lnTo>
                    <a:pt x="130" y="162"/>
                  </a:lnTo>
                  <a:lnTo>
                    <a:pt x="118" y="162"/>
                  </a:lnTo>
                  <a:lnTo>
                    <a:pt x="118" y="162"/>
                  </a:lnTo>
                  <a:lnTo>
                    <a:pt x="114" y="162"/>
                  </a:lnTo>
                  <a:lnTo>
                    <a:pt x="112" y="164"/>
                  </a:lnTo>
                  <a:lnTo>
                    <a:pt x="110" y="168"/>
                  </a:lnTo>
                  <a:lnTo>
                    <a:pt x="108" y="172"/>
                  </a:lnTo>
                  <a:lnTo>
                    <a:pt x="100" y="258"/>
                  </a:lnTo>
                  <a:lnTo>
                    <a:pt x="82" y="258"/>
                  </a:lnTo>
                  <a:lnTo>
                    <a:pt x="66" y="110"/>
                  </a:lnTo>
                  <a:lnTo>
                    <a:pt x="66" y="110"/>
                  </a:lnTo>
                  <a:lnTo>
                    <a:pt x="66" y="106"/>
                  </a:lnTo>
                  <a:lnTo>
                    <a:pt x="64" y="104"/>
                  </a:lnTo>
                  <a:lnTo>
                    <a:pt x="60" y="102"/>
                  </a:lnTo>
                  <a:lnTo>
                    <a:pt x="56" y="100"/>
                  </a:lnTo>
                  <a:lnTo>
                    <a:pt x="44" y="100"/>
                  </a:lnTo>
                  <a:lnTo>
                    <a:pt x="44" y="100"/>
                  </a:lnTo>
                  <a:lnTo>
                    <a:pt x="40" y="102"/>
                  </a:lnTo>
                  <a:lnTo>
                    <a:pt x="38" y="104"/>
                  </a:lnTo>
                  <a:lnTo>
                    <a:pt x="36" y="106"/>
                  </a:lnTo>
                  <a:lnTo>
                    <a:pt x="34" y="110"/>
                  </a:lnTo>
                  <a:lnTo>
                    <a:pt x="18" y="258"/>
                  </a:lnTo>
                  <a:lnTo>
                    <a:pt x="10" y="258"/>
                  </a:lnTo>
                  <a:lnTo>
                    <a:pt x="10" y="258"/>
                  </a:lnTo>
                  <a:lnTo>
                    <a:pt x="6" y="260"/>
                  </a:lnTo>
                  <a:lnTo>
                    <a:pt x="2" y="262"/>
                  </a:lnTo>
                  <a:lnTo>
                    <a:pt x="0" y="264"/>
                  </a:lnTo>
                  <a:lnTo>
                    <a:pt x="0" y="268"/>
                  </a:lnTo>
                  <a:lnTo>
                    <a:pt x="0" y="340"/>
                  </a:lnTo>
                  <a:lnTo>
                    <a:pt x="0" y="340"/>
                  </a:lnTo>
                  <a:lnTo>
                    <a:pt x="0" y="344"/>
                  </a:lnTo>
                  <a:lnTo>
                    <a:pt x="2" y="348"/>
                  </a:lnTo>
                  <a:lnTo>
                    <a:pt x="6" y="350"/>
                  </a:lnTo>
                  <a:lnTo>
                    <a:pt x="10" y="350"/>
                  </a:lnTo>
                  <a:lnTo>
                    <a:pt x="320" y="350"/>
                  </a:lnTo>
                  <a:lnTo>
                    <a:pt x="320" y="350"/>
                  </a:lnTo>
                  <a:lnTo>
                    <a:pt x="324" y="350"/>
                  </a:lnTo>
                  <a:lnTo>
                    <a:pt x="328" y="348"/>
                  </a:lnTo>
                  <a:lnTo>
                    <a:pt x="330" y="344"/>
                  </a:lnTo>
                  <a:lnTo>
                    <a:pt x="330" y="340"/>
                  </a:lnTo>
                  <a:lnTo>
                    <a:pt x="330" y="268"/>
                  </a:lnTo>
                  <a:lnTo>
                    <a:pt x="330" y="268"/>
                  </a:lnTo>
                  <a:lnTo>
                    <a:pt x="330" y="268"/>
                  </a:lnTo>
                  <a:lnTo>
                    <a:pt x="330" y="268"/>
                  </a:lnTo>
                  <a:close/>
                  <a:moveTo>
                    <a:pt x="76" y="314"/>
                  </a:moveTo>
                  <a:lnTo>
                    <a:pt x="22" y="314"/>
                  </a:lnTo>
                  <a:lnTo>
                    <a:pt x="22" y="288"/>
                  </a:lnTo>
                  <a:lnTo>
                    <a:pt x="76" y="288"/>
                  </a:lnTo>
                  <a:lnTo>
                    <a:pt x="76" y="314"/>
                  </a:lnTo>
                  <a:close/>
                  <a:moveTo>
                    <a:pt x="154" y="314"/>
                  </a:moveTo>
                  <a:lnTo>
                    <a:pt x="100" y="314"/>
                  </a:lnTo>
                  <a:lnTo>
                    <a:pt x="100" y="288"/>
                  </a:lnTo>
                  <a:lnTo>
                    <a:pt x="154" y="288"/>
                  </a:lnTo>
                  <a:lnTo>
                    <a:pt x="154" y="314"/>
                  </a:lnTo>
                  <a:close/>
                  <a:moveTo>
                    <a:pt x="232" y="314"/>
                  </a:moveTo>
                  <a:lnTo>
                    <a:pt x="176" y="314"/>
                  </a:lnTo>
                  <a:lnTo>
                    <a:pt x="176" y="288"/>
                  </a:lnTo>
                  <a:lnTo>
                    <a:pt x="232" y="288"/>
                  </a:lnTo>
                  <a:lnTo>
                    <a:pt x="232" y="314"/>
                  </a:lnTo>
                  <a:close/>
                  <a:moveTo>
                    <a:pt x="308" y="314"/>
                  </a:moveTo>
                  <a:lnTo>
                    <a:pt x="254" y="314"/>
                  </a:lnTo>
                  <a:lnTo>
                    <a:pt x="254" y="288"/>
                  </a:lnTo>
                  <a:lnTo>
                    <a:pt x="308" y="288"/>
                  </a:lnTo>
                  <a:lnTo>
                    <a:pt x="308" y="31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87" name="Group 86">
            <a:extLst>
              <a:ext uri="{FF2B5EF4-FFF2-40B4-BE49-F238E27FC236}">
                <a16:creationId xmlns:a16="http://schemas.microsoft.com/office/drawing/2014/main" id="{17BA5F1C-8800-4C8E-AEE6-566ED91076D6}"/>
              </a:ext>
            </a:extLst>
          </p:cNvPr>
          <p:cNvGrpSpPr/>
          <p:nvPr/>
        </p:nvGrpSpPr>
        <p:grpSpPr>
          <a:xfrm>
            <a:off x="9814174" y="1520049"/>
            <a:ext cx="612000" cy="612000"/>
            <a:chOff x="9322641" y="2258092"/>
            <a:chExt cx="612000" cy="612000"/>
          </a:xfrm>
        </p:grpSpPr>
        <p:sp>
          <p:nvSpPr>
            <p:cNvPr id="88" name="Oval 87">
              <a:extLst>
                <a:ext uri="{FF2B5EF4-FFF2-40B4-BE49-F238E27FC236}">
                  <a16:creationId xmlns:a16="http://schemas.microsoft.com/office/drawing/2014/main" id="{89A10353-B4E2-4B81-93FB-93C146ECC138}"/>
                </a:ext>
              </a:extLst>
            </p:cNvPr>
            <p:cNvSpPr/>
            <p:nvPr/>
          </p:nvSpPr>
          <p:spPr bwMode="ltGray">
            <a:xfrm>
              <a:off x="9322641"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89" name="Freeform 4959">
              <a:extLst>
                <a:ext uri="{FF2B5EF4-FFF2-40B4-BE49-F238E27FC236}">
                  <a16:creationId xmlns:a16="http://schemas.microsoft.com/office/drawing/2014/main" id="{CEE89507-3F5A-4E6D-ABAD-44C6F99BDB95}"/>
                </a:ext>
              </a:extLst>
            </p:cNvPr>
            <p:cNvSpPr>
              <a:spLocks noEditPoints="1"/>
            </p:cNvSpPr>
            <p:nvPr/>
          </p:nvSpPr>
          <p:spPr bwMode="auto">
            <a:xfrm>
              <a:off x="9411821" y="2426874"/>
              <a:ext cx="433640" cy="337276"/>
            </a:xfrm>
            <a:custGeom>
              <a:avLst/>
              <a:gdLst>
                <a:gd name="T0" fmla="*/ 348 w 360"/>
                <a:gd name="T1" fmla="*/ 0 h 280"/>
                <a:gd name="T2" fmla="*/ 8 w 360"/>
                <a:gd name="T3" fmla="*/ 0 h 280"/>
                <a:gd name="T4" fmla="*/ 0 w 360"/>
                <a:gd name="T5" fmla="*/ 8 h 280"/>
                <a:gd name="T6" fmla="*/ 8 w 360"/>
                <a:gd name="T7" fmla="*/ 242 h 280"/>
                <a:gd name="T8" fmla="*/ 180 w 360"/>
                <a:gd name="T9" fmla="*/ 280 h 280"/>
                <a:gd name="T10" fmla="*/ 358 w 360"/>
                <a:gd name="T11" fmla="*/ 238 h 280"/>
                <a:gd name="T12" fmla="*/ 360 w 360"/>
                <a:gd name="T13" fmla="*/ 4 h 280"/>
                <a:gd name="T14" fmla="*/ 20 w 360"/>
                <a:gd name="T15" fmla="*/ 224 h 280"/>
                <a:gd name="T16" fmla="*/ 200 w 360"/>
                <a:gd name="T17" fmla="*/ 54 h 280"/>
                <a:gd name="T18" fmla="*/ 334 w 360"/>
                <a:gd name="T19" fmla="*/ 26 h 280"/>
                <a:gd name="T20" fmla="*/ 338 w 360"/>
                <a:gd name="T21" fmla="*/ 36 h 280"/>
                <a:gd name="T22" fmla="*/ 204 w 360"/>
                <a:gd name="T23" fmla="*/ 72 h 280"/>
                <a:gd name="T24" fmla="*/ 196 w 360"/>
                <a:gd name="T25" fmla="*/ 72 h 280"/>
                <a:gd name="T26" fmla="*/ 194 w 360"/>
                <a:gd name="T27" fmla="*/ 58 h 280"/>
                <a:gd name="T28" fmla="*/ 200 w 360"/>
                <a:gd name="T29" fmla="*/ 90 h 280"/>
                <a:gd name="T30" fmla="*/ 270 w 360"/>
                <a:gd name="T31" fmla="*/ 76 h 280"/>
                <a:gd name="T32" fmla="*/ 274 w 360"/>
                <a:gd name="T33" fmla="*/ 86 h 280"/>
                <a:gd name="T34" fmla="*/ 204 w 360"/>
                <a:gd name="T35" fmla="*/ 108 h 280"/>
                <a:gd name="T36" fmla="*/ 196 w 360"/>
                <a:gd name="T37" fmla="*/ 106 h 280"/>
                <a:gd name="T38" fmla="*/ 194 w 360"/>
                <a:gd name="T39" fmla="*/ 94 h 280"/>
                <a:gd name="T40" fmla="*/ 340 w 360"/>
                <a:gd name="T41" fmla="*/ 168 h 280"/>
                <a:gd name="T42" fmla="*/ 336 w 360"/>
                <a:gd name="T43" fmla="*/ 174 h 280"/>
                <a:gd name="T44" fmla="*/ 326 w 360"/>
                <a:gd name="T45" fmla="*/ 172 h 280"/>
                <a:gd name="T46" fmla="*/ 284 w 360"/>
                <a:gd name="T47" fmla="*/ 192 h 280"/>
                <a:gd name="T48" fmla="*/ 210 w 360"/>
                <a:gd name="T49" fmla="*/ 242 h 280"/>
                <a:gd name="T50" fmla="*/ 196 w 360"/>
                <a:gd name="T51" fmla="*/ 246 h 280"/>
                <a:gd name="T52" fmla="*/ 192 w 360"/>
                <a:gd name="T53" fmla="*/ 236 h 280"/>
                <a:gd name="T54" fmla="*/ 234 w 360"/>
                <a:gd name="T55" fmla="*/ 156 h 280"/>
                <a:gd name="T56" fmla="*/ 280 w 360"/>
                <a:gd name="T57" fmla="*/ 170 h 280"/>
                <a:gd name="T58" fmla="*/ 290 w 360"/>
                <a:gd name="T59" fmla="*/ 134 h 280"/>
                <a:gd name="T60" fmla="*/ 298 w 360"/>
                <a:gd name="T61" fmla="*/ 124 h 280"/>
                <a:gd name="T62" fmla="*/ 336 w 360"/>
                <a:gd name="T63" fmla="*/ 124 h 280"/>
                <a:gd name="T64" fmla="*/ 340 w 360"/>
                <a:gd name="T65" fmla="*/ 168 h 280"/>
                <a:gd name="T66" fmla="*/ 46 w 360"/>
                <a:gd name="T67" fmla="*/ 68 h 280"/>
                <a:gd name="T68" fmla="*/ 38 w 360"/>
                <a:gd name="T69" fmla="*/ 60 h 280"/>
                <a:gd name="T70" fmla="*/ 42 w 360"/>
                <a:gd name="T71" fmla="*/ 50 h 280"/>
                <a:gd name="T72" fmla="*/ 140 w 360"/>
                <a:gd name="T73" fmla="*/ 68 h 280"/>
                <a:gd name="T74" fmla="*/ 148 w 360"/>
                <a:gd name="T75" fmla="*/ 80 h 280"/>
                <a:gd name="T76" fmla="*/ 138 w 360"/>
                <a:gd name="T77" fmla="*/ 88 h 280"/>
                <a:gd name="T78" fmla="*/ 70 w 360"/>
                <a:gd name="T79" fmla="*/ 126 h 280"/>
                <a:gd name="T80" fmla="*/ 44 w 360"/>
                <a:gd name="T81" fmla="*/ 142 h 280"/>
                <a:gd name="T82" fmla="*/ 38 w 360"/>
                <a:gd name="T83" fmla="*/ 168 h 280"/>
                <a:gd name="T84" fmla="*/ 50 w 360"/>
                <a:gd name="T85" fmla="*/ 202 h 280"/>
                <a:gd name="T86" fmla="*/ 78 w 360"/>
                <a:gd name="T87" fmla="*/ 218 h 280"/>
                <a:gd name="T88" fmla="*/ 98 w 360"/>
                <a:gd name="T89" fmla="*/ 212 h 280"/>
                <a:gd name="T90" fmla="*/ 116 w 360"/>
                <a:gd name="T91" fmla="*/ 186 h 280"/>
                <a:gd name="T92" fmla="*/ 128 w 360"/>
                <a:gd name="T93" fmla="*/ 166 h 280"/>
                <a:gd name="T94" fmla="*/ 116 w 360"/>
                <a:gd name="T95" fmla="*/ 132 h 280"/>
                <a:gd name="T96" fmla="*/ 88 w 360"/>
                <a:gd name="T97" fmla="*/ 11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80">
                  <a:moveTo>
                    <a:pt x="356" y="2"/>
                  </a:moveTo>
                  <a:lnTo>
                    <a:pt x="356" y="2"/>
                  </a:lnTo>
                  <a:lnTo>
                    <a:pt x="352" y="0"/>
                  </a:lnTo>
                  <a:lnTo>
                    <a:pt x="348" y="0"/>
                  </a:lnTo>
                  <a:lnTo>
                    <a:pt x="180" y="38"/>
                  </a:lnTo>
                  <a:lnTo>
                    <a:pt x="12" y="0"/>
                  </a:lnTo>
                  <a:lnTo>
                    <a:pt x="12" y="0"/>
                  </a:lnTo>
                  <a:lnTo>
                    <a:pt x="8" y="0"/>
                  </a:lnTo>
                  <a:lnTo>
                    <a:pt x="4" y="2"/>
                  </a:lnTo>
                  <a:lnTo>
                    <a:pt x="4" y="2"/>
                  </a:lnTo>
                  <a:lnTo>
                    <a:pt x="0" y="4"/>
                  </a:lnTo>
                  <a:lnTo>
                    <a:pt x="0" y="8"/>
                  </a:lnTo>
                  <a:lnTo>
                    <a:pt x="0" y="232"/>
                  </a:lnTo>
                  <a:lnTo>
                    <a:pt x="0" y="232"/>
                  </a:lnTo>
                  <a:lnTo>
                    <a:pt x="2" y="238"/>
                  </a:lnTo>
                  <a:lnTo>
                    <a:pt x="8" y="242"/>
                  </a:lnTo>
                  <a:lnTo>
                    <a:pt x="178" y="280"/>
                  </a:lnTo>
                  <a:lnTo>
                    <a:pt x="178" y="280"/>
                  </a:lnTo>
                  <a:lnTo>
                    <a:pt x="180" y="280"/>
                  </a:lnTo>
                  <a:lnTo>
                    <a:pt x="180" y="280"/>
                  </a:lnTo>
                  <a:lnTo>
                    <a:pt x="182" y="280"/>
                  </a:lnTo>
                  <a:lnTo>
                    <a:pt x="352" y="242"/>
                  </a:lnTo>
                  <a:lnTo>
                    <a:pt x="352" y="242"/>
                  </a:lnTo>
                  <a:lnTo>
                    <a:pt x="358" y="238"/>
                  </a:lnTo>
                  <a:lnTo>
                    <a:pt x="360" y="232"/>
                  </a:lnTo>
                  <a:lnTo>
                    <a:pt x="360" y="8"/>
                  </a:lnTo>
                  <a:lnTo>
                    <a:pt x="360" y="8"/>
                  </a:lnTo>
                  <a:lnTo>
                    <a:pt x="360" y="4"/>
                  </a:lnTo>
                  <a:lnTo>
                    <a:pt x="356" y="2"/>
                  </a:lnTo>
                  <a:lnTo>
                    <a:pt x="356" y="2"/>
                  </a:lnTo>
                  <a:close/>
                  <a:moveTo>
                    <a:pt x="170" y="258"/>
                  </a:moveTo>
                  <a:lnTo>
                    <a:pt x="20" y="224"/>
                  </a:lnTo>
                  <a:lnTo>
                    <a:pt x="20" y="22"/>
                  </a:lnTo>
                  <a:lnTo>
                    <a:pt x="170" y="56"/>
                  </a:lnTo>
                  <a:lnTo>
                    <a:pt x="170" y="258"/>
                  </a:lnTo>
                  <a:close/>
                  <a:moveTo>
                    <a:pt x="200" y="54"/>
                  </a:moveTo>
                  <a:lnTo>
                    <a:pt x="326" y="24"/>
                  </a:lnTo>
                  <a:lnTo>
                    <a:pt x="326" y="24"/>
                  </a:lnTo>
                  <a:lnTo>
                    <a:pt x="330" y="24"/>
                  </a:lnTo>
                  <a:lnTo>
                    <a:pt x="334" y="26"/>
                  </a:lnTo>
                  <a:lnTo>
                    <a:pt x="336" y="28"/>
                  </a:lnTo>
                  <a:lnTo>
                    <a:pt x="338" y="32"/>
                  </a:lnTo>
                  <a:lnTo>
                    <a:pt x="338" y="32"/>
                  </a:lnTo>
                  <a:lnTo>
                    <a:pt x="338" y="36"/>
                  </a:lnTo>
                  <a:lnTo>
                    <a:pt x="336" y="40"/>
                  </a:lnTo>
                  <a:lnTo>
                    <a:pt x="334" y="42"/>
                  </a:lnTo>
                  <a:lnTo>
                    <a:pt x="330" y="44"/>
                  </a:lnTo>
                  <a:lnTo>
                    <a:pt x="204" y="72"/>
                  </a:lnTo>
                  <a:lnTo>
                    <a:pt x="204" y="72"/>
                  </a:lnTo>
                  <a:lnTo>
                    <a:pt x="202" y="74"/>
                  </a:lnTo>
                  <a:lnTo>
                    <a:pt x="202" y="74"/>
                  </a:lnTo>
                  <a:lnTo>
                    <a:pt x="196" y="72"/>
                  </a:lnTo>
                  <a:lnTo>
                    <a:pt x="192" y="66"/>
                  </a:lnTo>
                  <a:lnTo>
                    <a:pt x="192" y="66"/>
                  </a:lnTo>
                  <a:lnTo>
                    <a:pt x="192" y="62"/>
                  </a:lnTo>
                  <a:lnTo>
                    <a:pt x="194" y="58"/>
                  </a:lnTo>
                  <a:lnTo>
                    <a:pt x="196" y="56"/>
                  </a:lnTo>
                  <a:lnTo>
                    <a:pt x="200" y="54"/>
                  </a:lnTo>
                  <a:lnTo>
                    <a:pt x="200" y="54"/>
                  </a:lnTo>
                  <a:close/>
                  <a:moveTo>
                    <a:pt x="200" y="90"/>
                  </a:moveTo>
                  <a:lnTo>
                    <a:pt x="262" y="74"/>
                  </a:lnTo>
                  <a:lnTo>
                    <a:pt x="262" y="74"/>
                  </a:lnTo>
                  <a:lnTo>
                    <a:pt x="266" y="74"/>
                  </a:lnTo>
                  <a:lnTo>
                    <a:pt x="270" y="76"/>
                  </a:lnTo>
                  <a:lnTo>
                    <a:pt x="274" y="78"/>
                  </a:lnTo>
                  <a:lnTo>
                    <a:pt x="274" y="82"/>
                  </a:lnTo>
                  <a:lnTo>
                    <a:pt x="274" y="82"/>
                  </a:lnTo>
                  <a:lnTo>
                    <a:pt x="274" y="86"/>
                  </a:lnTo>
                  <a:lnTo>
                    <a:pt x="274" y="90"/>
                  </a:lnTo>
                  <a:lnTo>
                    <a:pt x="270" y="92"/>
                  </a:lnTo>
                  <a:lnTo>
                    <a:pt x="268" y="94"/>
                  </a:lnTo>
                  <a:lnTo>
                    <a:pt x="204" y="108"/>
                  </a:lnTo>
                  <a:lnTo>
                    <a:pt x="204" y="108"/>
                  </a:lnTo>
                  <a:lnTo>
                    <a:pt x="202" y="108"/>
                  </a:lnTo>
                  <a:lnTo>
                    <a:pt x="202" y="108"/>
                  </a:lnTo>
                  <a:lnTo>
                    <a:pt x="196" y="106"/>
                  </a:lnTo>
                  <a:lnTo>
                    <a:pt x="192" y="102"/>
                  </a:lnTo>
                  <a:lnTo>
                    <a:pt x="192" y="102"/>
                  </a:lnTo>
                  <a:lnTo>
                    <a:pt x="192" y="98"/>
                  </a:lnTo>
                  <a:lnTo>
                    <a:pt x="194" y="94"/>
                  </a:lnTo>
                  <a:lnTo>
                    <a:pt x="196" y="90"/>
                  </a:lnTo>
                  <a:lnTo>
                    <a:pt x="200" y="90"/>
                  </a:lnTo>
                  <a:lnTo>
                    <a:pt x="200" y="90"/>
                  </a:lnTo>
                  <a:close/>
                  <a:moveTo>
                    <a:pt x="340" y="168"/>
                  </a:moveTo>
                  <a:lnTo>
                    <a:pt x="340" y="168"/>
                  </a:lnTo>
                  <a:lnTo>
                    <a:pt x="340" y="172"/>
                  </a:lnTo>
                  <a:lnTo>
                    <a:pt x="336" y="174"/>
                  </a:lnTo>
                  <a:lnTo>
                    <a:pt x="336" y="174"/>
                  </a:lnTo>
                  <a:lnTo>
                    <a:pt x="332" y="176"/>
                  </a:lnTo>
                  <a:lnTo>
                    <a:pt x="332" y="176"/>
                  </a:lnTo>
                  <a:lnTo>
                    <a:pt x="330" y="174"/>
                  </a:lnTo>
                  <a:lnTo>
                    <a:pt x="326" y="172"/>
                  </a:lnTo>
                  <a:lnTo>
                    <a:pt x="316" y="162"/>
                  </a:lnTo>
                  <a:lnTo>
                    <a:pt x="288" y="190"/>
                  </a:lnTo>
                  <a:lnTo>
                    <a:pt x="288" y="190"/>
                  </a:lnTo>
                  <a:lnTo>
                    <a:pt x="284" y="192"/>
                  </a:lnTo>
                  <a:lnTo>
                    <a:pt x="278" y="192"/>
                  </a:lnTo>
                  <a:lnTo>
                    <a:pt x="246" y="178"/>
                  </a:lnTo>
                  <a:lnTo>
                    <a:pt x="210" y="242"/>
                  </a:lnTo>
                  <a:lnTo>
                    <a:pt x="210" y="242"/>
                  </a:lnTo>
                  <a:lnTo>
                    <a:pt x="206" y="246"/>
                  </a:lnTo>
                  <a:lnTo>
                    <a:pt x="200" y="248"/>
                  </a:lnTo>
                  <a:lnTo>
                    <a:pt x="200" y="248"/>
                  </a:lnTo>
                  <a:lnTo>
                    <a:pt x="196" y="246"/>
                  </a:lnTo>
                  <a:lnTo>
                    <a:pt x="196" y="246"/>
                  </a:lnTo>
                  <a:lnTo>
                    <a:pt x="194" y="244"/>
                  </a:lnTo>
                  <a:lnTo>
                    <a:pt x="192" y="240"/>
                  </a:lnTo>
                  <a:lnTo>
                    <a:pt x="192" y="236"/>
                  </a:lnTo>
                  <a:lnTo>
                    <a:pt x="192" y="234"/>
                  </a:lnTo>
                  <a:lnTo>
                    <a:pt x="232" y="160"/>
                  </a:lnTo>
                  <a:lnTo>
                    <a:pt x="232" y="160"/>
                  </a:lnTo>
                  <a:lnTo>
                    <a:pt x="234" y="156"/>
                  </a:lnTo>
                  <a:lnTo>
                    <a:pt x="238" y="154"/>
                  </a:lnTo>
                  <a:lnTo>
                    <a:pt x="242" y="154"/>
                  </a:lnTo>
                  <a:lnTo>
                    <a:pt x="246" y="154"/>
                  </a:lnTo>
                  <a:lnTo>
                    <a:pt x="280" y="170"/>
                  </a:lnTo>
                  <a:lnTo>
                    <a:pt x="302" y="148"/>
                  </a:lnTo>
                  <a:lnTo>
                    <a:pt x="292" y="138"/>
                  </a:lnTo>
                  <a:lnTo>
                    <a:pt x="292" y="138"/>
                  </a:lnTo>
                  <a:lnTo>
                    <a:pt x="290" y="134"/>
                  </a:lnTo>
                  <a:lnTo>
                    <a:pt x="290" y="128"/>
                  </a:lnTo>
                  <a:lnTo>
                    <a:pt x="290" y="128"/>
                  </a:lnTo>
                  <a:lnTo>
                    <a:pt x="292" y="126"/>
                  </a:lnTo>
                  <a:lnTo>
                    <a:pt x="298" y="124"/>
                  </a:lnTo>
                  <a:lnTo>
                    <a:pt x="298" y="124"/>
                  </a:lnTo>
                  <a:lnTo>
                    <a:pt x="332" y="124"/>
                  </a:lnTo>
                  <a:lnTo>
                    <a:pt x="332" y="124"/>
                  </a:lnTo>
                  <a:lnTo>
                    <a:pt x="336" y="124"/>
                  </a:lnTo>
                  <a:lnTo>
                    <a:pt x="338" y="126"/>
                  </a:lnTo>
                  <a:lnTo>
                    <a:pt x="340" y="128"/>
                  </a:lnTo>
                  <a:lnTo>
                    <a:pt x="340" y="132"/>
                  </a:lnTo>
                  <a:lnTo>
                    <a:pt x="340" y="168"/>
                  </a:lnTo>
                  <a:close/>
                  <a:moveTo>
                    <a:pt x="138" y="88"/>
                  </a:moveTo>
                  <a:lnTo>
                    <a:pt x="138" y="88"/>
                  </a:lnTo>
                  <a:lnTo>
                    <a:pt x="136" y="88"/>
                  </a:lnTo>
                  <a:lnTo>
                    <a:pt x="46" y="68"/>
                  </a:lnTo>
                  <a:lnTo>
                    <a:pt x="46" y="68"/>
                  </a:lnTo>
                  <a:lnTo>
                    <a:pt x="42" y="66"/>
                  </a:lnTo>
                  <a:lnTo>
                    <a:pt x="40" y="62"/>
                  </a:lnTo>
                  <a:lnTo>
                    <a:pt x="38" y="60"/>
                  </a:lnTo>
                  <a:lnTo>
                    <a:pt x="38" y="56"/>
                  </a:lnTo>
                  <a:lnTo>
                    <a:pt x="38" y="56"/>
                  </a:lnTo>
                  <a:lnTo>
                    <a:pt x="40" y="52"/>
                  </a:lnTo>
                  <a:lnTo>
                    <a:pt x="42" y="50"/>
                  </a:lnTo>
                  <a:lnTo>
                    <a:pt x="46" y="48"/>
                  </a:lnTo>
                  <a:lnTo>
                    <a:pt x="50" y="48"/>
                  </a:lnTo>
                  <a:lnTo>
                    <a:pt x="140" y="68"/>
                  </a:lnTo>
                  <a:lnTo>
                    <a:pt x="140" y="68"/>
                  </a:lnTo>
                  <a:lnTo>
                    <a:pt x="144" y="70"/>
                  </a:lnTo>
                  <a:lnTo>
                    <a:pt x="146" y="72"/>
                  </a:lnTo>
                  <a:lnTo>
                    <a:pt x="148" y="76"/>
                  </a:lnTo>
                  <a:lnTo>
                    <a:pt x="148" y="80"/>
                  </a:lnTo>
                  <a:lnTo>
                    <a:pt x="148" y="80"/>
                  </a:lnTo>
                  <a:lnTo>
                    <a:pt x="144" y="86"/>
                  </a:lnTo>
                  <a:lnTo>
                    <a:pt x="138" y="88"/>
                  </a:lnTo>
                  <a:lnTo>
                    <a:pt x="138" y="88"/>
                  </a:lnTo>
                  <a:close/>
                  <a:moveTo>
                    <a:pt x="78" y="172"/>
                  </a:moveTo>
                  <a:lnTo>
                    <a:pt x="78" y="126"/>
                  </a:lnTo>
                  <a:lnTo>
                    <a:pt x="78" y="126"/>
                  </a:lnTo>
                  <a:lnTo>
                    <a:pt x="70" y="126"/>
                  </a:lnTo>
                  <a:lnTo>
                    <a:pt x="62" y="128"/>
                  </a:lnTo>
                  <a:lnTo>
                    <a:pt x="56" y="132"/>
                  </a:lnTo>
                  <a:lnTo>
                    <a:pt x="50" y="136"/>
                  </a:lnTo>
                  <a:lnTo>
                    <a:pt x="44" y="142"/>
                  </a:lnTo>
                  <a:lnTo>
                    <a:pt x="42" y="150"/>
                  </a:lnTo>
                  <a:lnTo>
                    <a:pt x="40" y="158"/>
                  </a:lnTo>
                  <a:lnTo>
                    <a:pt x="38" y="168"/>
                  </a:lnTo>
                  <a:lnTo>
                    <a:pt x="38" y="168"/>
                  </a:lnTo>
                  <a:lnTo>
                    <a:pt x="40" y="176"/>
                  </a:lnTo>
                  <a:lnTo>
                    <a:pt x="42" y="186"/>
                  </a:lnTo>
                  <a:lnTo>
                    <a:pt x="44" y="194"/>
                  </a:lnTo>
                  <a:lnTo>
                    <a:pt x="50" y="202"/>
                  </a:lnTo>
                  <a:lnTo>
                    <a:pt x="56" y="208"/>
                  </a:lnTo>
                  <a:lnTo>
                    <a:pt x="62" y="212"/>
                  </a:lnTo>
                  <a:lnTo>
                    <a:pt x="70" y="216"/>
                  </a:lnTo>
                  <a:lnTo>
                    <a:pt x="78" y="218"/>
                  </a:lnTo>
                  <a:lnTo>
                    <a:pt x="78" y="218"/>
                  </a:lnTo>
                  <a:lnTo>
                    <a:pt x="84" y="218"/>
                  </a:lnTo>
                  <a:lnTo>
                    <a:pt x="92" y="216"/>
                  </a:lnTo>
                  <a:lnTo>
                    <a:pt x="98" y="212"/>
                  </a:lnTo>
                  <a:lnTo>
                    <a:pt x="104" y="208"/>
                  </a:lnTo>
                  <a:lnTo>
                    <a:pt x="110" y="202"/>
                  </a:lnTo>
                  <a:lnTo>
                    <a:pt x="114" y="194"/>
                  </a:lnTo>
                  <a:lnTo>
                    <a:pt x="116" y="186"/>
                  </a:lnTo>
                  <a:lnTo>
                    <a:pt x="116" y="176"/>
                  </a:lnTo>
                  <a:lnTo>
                    <a:pt x="78" y="172"/>
                  </a:lnTo>
                  <a:close/>
                  <a:moveTo>
                    <a:pt x="128" y="166"/>
                  </a:moveTo>
                  <a:lnTo>
                    <a:pt x="128" y="166"/>
                  </a:lnTo>
                  <a:lnTo>
                    <a:pt x="126" y="156"/>
                  </a:lnTo>
                  <a:lnTo>
                    <a:pt x="124" y="146"/>
                  </a:lnTo>
                  <a:lnTo>
                    <a:pt x="122" y="138"/>
                  </a:lnTo>
                  <a:lnTo>
                    <a:pt x="116" y="132"/>
                  </a:lnTo>
                  <a:lnTo>
                    <a:pt x="110" y="126"/>
                  </a:lnTo>
                  <a:lnTo>
                    <a:pt x="104" y="120"/>
                  </a:lnTo>
                  <a:lnTo>
                    <a:pt x="96" y="116"/>
                  </a:lnTo>
                  <a:lnTo>
                    <a:pt x="88" y="114"/>
                  </a:lnTo>
                  <a:lnTo>
                    <a:pt x="88" y="160"/>
                  </a:lnTo>
                  <a:lnTo>
                    <a:pt x="128" y="16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90" name="Group 89">
            <a:extLst>
              <a:ext uri="{FF2B5EF4-FFF2-40B4-BE49-F238E27FC236}">
                <a16:creationId xmlns:a16="http://schemas.microsoft.com/office/drawing/2014/main" id="{D94C0E62-C3EF-48F2-9E35-EF7B662715D1}"/>
              </a:ext>
            </a:extLst>
          </p:cNvPr>
          <p:cNvGrpSpPr/>
          <p:nvPr/>
        </p:nvGrpSpPr>
        <p:grpSpPr>
          <a:xfrm>
            <a:off x="8933229" y="1520049"/>
            <a:ext cx="612000" cy="612000"/>
            <a:chOff x="8447928" y="2258092"/>
            <a:chExt cx="612000" cy="612000"/>
          </a:xfrm>
        </p:grpSpPr>
        <p:sp>
          <p:nvSpPr>
            <p:cNvPr id="91" name="Oval 90">
              <a:extLst>
                <a:ext uri="{FF2B5EF4-FFF2-40B4-BE49-F238E27FC236}">
                  <a16:creationId xmlns:a16="http://schemas.microsoft.com/office/drawing/2014/main" id="{97E4E465-6ECF-409C-81F7-6C44E93F0778}"/>
                </a:ext>
              </a:extLst>
            </p:cNvPr>
            <p:cNvSpPr/>
            <p:nvPr/>
          </p:nvSpPr>
          <p:spPr bwMode="ltGray">
            <a:xfrm>
              <a:off x="8447928"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92" name="Freeform 4960">
              <a:extLst>
                <a:ext uri="{FF2B5EF4-FFF2-40B4-BE49-F238E27FC236}">
                  <a16:creationId xmlns:a16="http://schemas.microsoft.com/office/drawing/2014/main" id="{8A25D856-DF5C-446D-AA80-73038E2C5C0B}"/>
                </a:ext>
              </a:extLst>
            </p:cNvPr>
            <p:cNvSpPr>
              <a:spLocks noEditPoints="1"/>
            </p:cNvSpPr>
            <p:nvPr/>
          </p:nvSpPr>
          <p:spPr bwMode="auto">
            <a:xfrm>
              <a:off x="8559459" y="2479874"/>
              <a:ext cx="421594" cy="221638"/>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93" name="Group 92">
            <a:extLst>
              <a:ext uri="{FF2B5EF4-FFF2-40B4-BE49-F238E27FC236}">
                <a16:creationId xmlns:a16="http://schemas.microsoft.com/office/drawing/2014/main" id="{1A85CB76-2FE1-4416-91B7-E6D512EB18B1}"/>
              </a:ext>
            </a:extLst>
          </p:cNvPr>
          <p:cNvGrpSpPr/>
          <p:nvPr/>
        </p:nvGrpSpPr>
        <p:grpSpPr>
          <a:xfrm>
            <a:off x="8052280" y="2882974"/>
            <a:ext cx="612000" cy="612000"/>
            <a:chOff x="7573215" y="3474401"/>
            <a:chExt cx="612000" cy="612000"/>
          </a:xfrm>
        </p:grpSpPr>
        <p:sp>
          <p:nvSpPr>
            <p:cNvPr id="94" name="Oval 93">
              <a:extLst>
                <a:ext uri="{FF2B5EF4-FFF2-40B4-BE49-F238E27FC236}">
                  <a16:creationId xmlns:a16="http://schemas.microsoft.com/office/drawing/2014/main" id="{994789F7-5597-4B16-8EB3-6ADB39B8E469}"/>
                </a:ext>
              </a:extLst>
            </p:cNvPr>
            <p:cNvSpPr/>
            <p:nvPr/>
          </p:nvSpPr>
          <p:spPr bwMode="ltGray">
            <a:xfrm>
              <a:off x="7573215"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95" name="Freeform 4969">
              <a:extLst>
                <a:ext uri="{FF2B5EF4-FFF2-40B4-BE49-F238E27FC236}">
                  <a16:creationId xmlns:a16="http://schemas.microsoft.com/office/drawing/2014/main" id="{A6CB8967-DEE4-4220-A94B-853BE851583F}"/>
                </a:ext>
              </a:extLst>
            </p:cNvPr>
            <p:cNvSpPr>
              <a:spLocks noEditPoints="1"/>
            </p:cNvSpPr>
            <p:nvPr/>
          </p:nvSpPr>
          <p:spPr bwMode="auto">
            <a:xfrm>
              <a:off x="7676983" y="3553401"/>
              <a:ext cx="469776" cy="424003"/>
            </a:xfrm>
            <a:custGeom>
              <a:avLst/>
              <a:gdLst>
                <a:gd name="T0" fmla="*/ 374 w 390"/>
                <a:gd name="T1" fmla="*/ 118 h 352"/>
                <a:gd name="T2" fmla="*/ 388 w 390"/>
                <a:gd name="T3" fmla="*/ 174 h 352"/>
                <a:gd name="T4" fmla="*/ 388 w 390"/>
                <a:gd name="T5" fmla="*/ 218 h 352"/>
                <a:gd name="T6" fmla="*/ 370 w 390"/>
                <a:gd name="T7" fmla="*/ 282 h 352"/>
                <a:gd name="T8" fmla="*/ 332 w 390"/>
                <a:gd name="T9" fmla="*/ 336 h 352"/>
                <a:gd name="T10" fmla="*/ 270 w 390"/>
                <a:gd name="T11" fmla="*/ 352 h 352"/>
                <a:gd name="T12" fmla="*/ 292 w 390"/>
                <a:gd name="T13" fmla="*/ 314 h 352"/>
                <a:gd name="T14" fmla="*/ 304 w 390"/>
                <a:gd name="T15" fmla="*/ 268 h 352"/>
                <a:gd name="T16" fmla="*/ 306 w 390"/>
                <a:gd name="T17" fmla="*/ 236 h 352"/>
                <a:gd name="T18" fmla="*/ 300 w 390"/>
                <a:gd name="T19" fmla="*/ 186 h 352"/>
                <a:gd name="T20" fmla="*/ 284 w 390"/>
                <a:gd name="T21" fmla="*/ 144 h 352"/>
                <a:gd name="T22" fmla="*/ 270 w 390"/>
                <a:gd name="T23" fmla="*/ 118 h 352"/>
                <a:gd name="T24" fmla="*/ 266 w 390"/>
                <a:gd name="T25" fmla="*/ 310 h 352"/>
                <a:gd name="T26" fmla="*/ 282 w 390"/>
                <a:gd name="T27" fmla="*/ 254 h 352"/>
                <a:gd name="T28" fmla="*/ 282 w 390"/>
                <a:gd name="T29" fmla="*/ 214 h 352"/>
                <a:gd name="T30" fmla="*/ 264 w 390"/>
                <a:gd name="T31" fmla="*/ 156 h 352"/>
                <a:gd name="T32" fmla="*/ 216 w 390"/>
                <a:gd name="T33" fmla="*/ 146 h 352"/>
                <a:gd name="T34" fmla="*/ 174 w 390"/>
                <a:gd name="T35" fmla="*/ 104 h 352"/>
                <a:gd name="T36" fmla="*/ 150 w 390"/>
                <a:gd name="T37" fmla="*/ 48 h 352"/>
                <a:gd name="T38" fmla="*/ 146 w 390"/>
                <a:gd name="T39" fmla="*/ 22 h 352"/>
                <a:gd name="T40" fmla="*/ 128 w 390"/>
                <a:gd name="T41" fmla="*/ 2 h 352"/>
                <a:gd name="T42" fmla="*/ 116 w 390"/>
                <a:gd name="T43" fmla="*/ 0 h 352"/>
                <a:gd name="T44" fmla="*/ 96 w 390"/>
                <a:gd name="T45" fmla="*/ 10 h 352"/>
                <a:gd name="T46" fmla="*/ 88 w 390"/>
                <a:gd name="T47" fmla="*/ 32 h 352"/>
                <a:gd name="T48" fmla="*/ 96 w 390"/>
                <a:gd name="T49" fmla="*/ 80 h 352"/>
                <a:gd name="T50" fmla="*/ 114 w 390"/>
                <a:gd name="T51" fmla="*/ 124 h 352"/>
                <a:gd name="T52" fmla="*/ 114 w 390"/>
                <a:gd name="T53" fmla="*/ 130 h 352"/>
                <a:gd name="T54" fmla="*/ 102 w 390"/>
                <a:gd name="T55" fmla="*/ 144 h 352"/>
                <a:gd name="T56" fmla="*/ 16 w 390"/>
                <a:gd name="T57" fmla="*/ 146 h 352"/>
                <a:gd name="T58" fmla="*/ 0 w 390"/>
                <a:gd name="T59" fmla="*/ 170 h 352"/>
                <a:gd name="T60" fmla="*/ 8 w 390"/>
                <a:gd name="T61" fmla="*/ 190 h 352"/>
                <a:gd name="T62" fmla="*/ 24 w 390"/>
                <a:gd name="T63" fmla="*/ 198 h 352"/>
                <a:gd name="T64" fmla="*/ 2 w 390"/>
                <a:gd name="T65" fmla="*/ 214 h 352"/>
                <a:gd name="T66" fmla="*/ 2 w 390"/>
                <a:gd name="T67" fmla="*/ 236 h 352"/>
                <a:gd name="T68" fmla="*/ 26 w 390"/>
                <a:gd name="T69" fmla="*/ 252 h 352"/>
                <a:gd name="T70" fmla="*/ 20 w 390"/>
                <a:gd name="T71" fmla="*/ 256 h 352"/>
                <a:gd name="T72" fmla="*/ 6 w 390"/>
                <a:gd name="T73" fmla="*/ 280 h 352"/>
                <a:gd name="T74" fmla="*/ 14 w 390"/>
                <a:gd name="T75" fmla="*/ 298 h 352"/>
                <a:gd name="T76" fmla="*/ 44 w 390"/>
                <a:gd name="T77" fmla="*/ 306 h 352"/>
                <a:gd name="T78" fmla="*/ 34 w 390"/>
                <a:gd name="T79" fmla="*/ 320 h 352"/>
                <a:gd name="T80" fmla="*/ 36 w 390"/>
                <a:gd name="T81" fmla="*/ 334 h 352"/>
                <a:gd name="T82" fmla="*/ 58 w 390"/>
                <a:gd name="T83" fmla="*/ 350 h 352"/>
                <a:gd name="T84" fmla="*/ 144 w 390"/>
                <a:gd name="T85" fmla="*/ 350 h 352"/>
                <a:gd name="T86" fmla="*/ 148 w 390"/>
                <a:gd name="T87" fmla="*/ 350 h 352"/>
                <a:gd name="T88" fmla="*/ 182 w 390"/>
                <a:gd name="T89" fmla="*/ 344 h 352"/>
                <a:gd name="T90" fmla="*/ 212 w 390"/>
                <a:gd name="T91" fmla="*/ 326 h 352"/>
                <a:gd name="T92" fmla="*/ 228 w 390"/>
                <a:gd name="T93" fmla="*/ 310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0" h="352">
                  <a:moveTo>
                    <a:pt x="270" y="118"/>
                  </a:moveTo>
                  <a:lnTo>
                    <a:pt x="374" y="118"/>
                  </a:lnTo>
                  <a:lnTo>
                    <a:pt x="374" y="118"/>
                  </a:lnTo>
                  <a:lnTo>
                    <a:pt x="380" y="136"/>
                  </a:lnTo>
                  <a:lnTo>
                    <a:pt x="386" y="156"/>
                  </a:lnTo>
                  <a:lnTo>
                    <a:pt x="388" y="174"/>
                  </a:lnTo>
                  <a:lnTo>
                    <a:pt x="390" y="194"/>
                  </a:lnTo>
                  <a:lnTo>
                    <a:pt x="390" y="194"/>
                  </a:lnTo>
                  <a:lnTo>
                    <a:pt x="388" y="218"/>
                  </a:lnTo>
                  <a:lnTo>
                    <a:pt x="384" y="240"/>
                  </a:lnTo>
                  <a:lnTo>
                    <a:pt x="378" y="262"/>
                  </a:lnTo>
                  <a:lnTo>
                    <a:pt x="370" y="282"/>
                  </a:lnTo>
                  <a:lnTo>
                    <a:pt x="358" y="302"/>
                  </a:lnTo>
                  <a:lnTo>
                    <a:pt x="346" y="320"/>
                  </a:lnTo>
                  <a:lnTo>
                    <a:pt x="332" y="336"/>
                  </a:lnTo>
                  <a:lnTo>
                    <a:pt x="316" y="352"/>
                  </a:lnTo>
                  <a:lnTo>
                    <a:pt x="270" y="352"/>
                  </a:lnTo>
                  <a:lnTo>
                    <a:pt x="270" y="352"/>
                  </a:lnTo>
                  <a:lnTo>
                    <a:pt x="278" y="340"/>
                  </a:lnTo>
                  <a:lnTo>
                    <a:pt x="284" y="326"/>
                  </a:lnTo>
                  <a:lnTo>
                    <a:pt x="292" y="314"/>
                  </a:lnTo>
                  <a:lnTo>
                    <a:pt x="296" y="298"/>
                  </a:lnTo>
                  <a:lnTo>
                    <a:pt x="300" y="284"/>
                  </a:lnTo>
                  <a:lnTo>
                    <a:pt x="304" y="268"/>
                  </a:lnTo>
                  <a:lnTo>
                    <a:pt x="306" y="252"/>
                  </a:lnTo>
                  <a:lnTo>
                    <a:pt x="306" y="236"/>
                  </a:lnTo>
                  <a:lnTo>
                    <a:pt x="306" y="236"/>
                  </a:lnTo>
                  <a:lnTo>
                    <a:pt x="306" y="218"/>
                  </a:lnTo>
                  <a:lnTo>
                    <a:pt x="304" y="202"/>
                  </a:lnTo>
                  <a:lnTo>
                    <a:pt x="300" y="186"/>
                  </a:lnTo>
                  <a:lnTo>
                    <a:pt x="296" y="172"/>
                  </a:lnTo>
                  <a:lnTo>
                    <a:pt x="292" y="158"/>
                  </a:lnTo>
                  <a:lnTo>
                    <a:pt x="284" y="144"/>
                  </a:lnTo>
                  <a:lnTo>
                    <a:pt x="278" y="130"/>
                  </a:lnTo>
                  <a:lnTo>
                    <a:pt x="270" y="118"/>
                  </a:lnTo>
                  <a:lnTo>
                    <a:pt x="270" y="118"/>
                  </a:lnTo>
                  <a:close/>
                  <a:moveTo>
                    <a:pt x="228" y="310"/>
                  </a:moveTo>
                  <a:lnTo>
                    <a:pt x="266" y="310"/>
                  </a:lnTo>
                  <a:lnTo>
                    <a:pt x="266" y="310"/>
                  </a:lnTo>
                  <a:lnTo>
                    <a:pt x="274" y="292"/>
                  </a:lnTo>
                  <a:lnTo>
                    <a:pt x="278" y="274"/>
                  </a:lnTo>
                  <a:lnTo>
                    <a:pt x="282" y="254"/>
                  </a:lnTo>
                  <a:lnTo>
                    <a:pt x="282" y="236"/>
                  </a:lnTo>
                  <a:lnTo>
                    <a:pt x="282" y="236"/>
                  </a:lnTo>
                  <a:lnTo>
                    <a:pt x="282" y="214"/>
                  </a:lnTo>
                  <a:lnTo>
                    <a:pt x="278" y="194"/>
                  </a:lnTo>
                  <a:lnTo>
                    <a:pt x="272" y="174"/>
                  </a:lnTo>
                  <a:lnTo>
                    <a:pt x="264" y="156"/>
                  </a:lnTo>
                  <a:lnTo>
                    <a:pt x="236" y="156"/>
                  </a:lnTo>
                  <a:lnTo>
                    <a:pt x="236" y="156"/>
                  </a:lnTo>
                  <a:lnTo>
                    <a:pt x="216" y="146"/>
                  </a:lnTo>
                  <a:lnTo>
                    <a:pt x="200" y="134"/>
                  </a:lnTo>
                  <a:lnTo>
                    <a:pt x="186" y="120"/>
                  </a:lnTo>
                  <a:lnTo>
                    <a:pt x="174" y="104"/>
                  </a:lnTo>
                  <a:lnTo>
                    <a:pt x="164" y="88"/>
                  </a:lnTo>
                  <a:lnTo>
                    <a:pt x="156" y="68"/>
                  </a:lnTo>
                  <a:lnTo>
                    <a:pt x="150" y="48"/>
                  </a:lnTo>
                  <a:lnTo>
                    <a:pt x="148" y="28"/>
                  </a:lnTo>
                  <a:lnTo>
                    <a:pt x="148" y="28"/>
                  </a:lnTo>
                  <a:lnTo>
                    <a:pt x="146" y="22"/>
                  </a:lnTo>
                  <a:lnTo>
                    <a:pt x="144" y="16"/>
                  </a:lnTo>
                  <a:lnTo>
                    <a:pt x="138" y="8"/>
                  </a:lnTo>
                  <a:lnTo>
                    <a:pt x="128" y="2"/>
                  </a:lnTo>
                  <a:lnTo>
                    <a:pt x="122" y="0"/>
                  </a:lnTo>
                  <a:lnTo>
                    <a:pt x="116" y="0"/>
                  </a:lnTo>
                  <a:lnTo>
                    <a:pt x="116" y="0"/>
                  </a:lnTo>
                  <a:lnTo>
                    <a:pt x="110" y="0"/>
                  </a:lnTo>
                  <a:lnTo>
                    <a:pt x="104" y="2"/>
                  </a:lnTo>
                  <a:lnTo>
                    <a:pt x="96" y="10"/>
                  </a:lnTo>
                  <a:lnTo>
                    <a:pt x="90" y="20"/>
                  </a:lnTo>
                  <a:lnTo>
                    <a:pt x="88" y="24"/>
                  </a:lnTo>
                  <a:lnTo>
                    <a:pt x="88" y="32"/>
                  </a:lnTo>
                  <a:lnTo>
                    <a:pt x="88" y="32"/>
                  </a:lnTo>
                  <a:lnTo>
                    <a:pt x="90" y="56"/>
                  </a:lnTo>
                  <a:lnTo>
                    <a:pt x="96" y="80"/>
                  </a:lnTo>
                  <a:lnTo>
                    <a:pt x="104" y="102"/>
                  </a:lnTo>
                  <a:lnTo>
                    <a:pt x="114" y="124"/>
                  </a:lnTo>
                  <a:lnTo>
                    <a:pt x="114" y="124"/>
                  </a:lnTo>
                  <a:lnTo>
                    <a:pt x="114" y="124"/>
                  </a:lnTo>
                  <a:lnTo>
                    <a:pt x="114" y="124"/>
                  </a:lnTo>
                  <a:lnTo>
                    <a:pt x="114" y="130"/>
                  </a:lnTo>
                  <a:lnTo>
                    <a:pt x="112" y="136"/>
                  </a:lnTo>
                  <a:lnTo>
                    <a:pt x="108" y="140"/>
                  </a:lnTo>
                  <a:lnTo>
                    <a:pt x="102" y="144"/>
                  </a:lnTo>
                  <a:lnTo>
                    <a:pt x="28" y="144"/>
                  </a:lnTo>
                  <a:lnTo>
                    <a:pt x="28" y="144"/>
                  </a:lnTo>
                  <a:lnTo>
                    <a:pt x="16" y="146"/>
                  </a:lnTo>
                  <a:lnTo>
                    <a:pt x="8" y="152"/>
                  </a:lnTo>
                  <a:lnTo>
                    <a:pt x="2" y="160"/>
                  </a:lnTo>
                  <a:lnTo>
                    <a:pt x="0" y="170"/>
                  </a:lnTo>
                  <a:lnTo>
                    <a:pt x="0" y="170"/>
                  </a:lnTo>
                  <a:lnTo>
                    <a:pt x="2" y="180"/>
                  </a:lnTo>
                  <a:lnTo>
                    <a:pt x="8" y="190"/>
                  </a:lnTo>
                  <a:lnTo>
                    <a:pt x="16" y="194"/>
                  </a:lnTo>
                  <a:lnTo>
                    <a:pt x="24" y="198"/>
                  </a:lnTo>
                  <a:lnTo>
                    <a:pt x="24" y="198"/>
                  </a:lnTo>
                  <a:lnTo>
                    <a:pt x="14" y="200"/>
                  </a:lnTo>
                  <a:lnTo>
                    <a:pt x="6" y="206"/>
                  </a:lnTo>
                  <a:lnTo>
                    <a:pt x="2" y="214"/>
                  </a:lnTo>
                  <a:lnTo>
                    <a:pt x="0" y="224"/>
                  </a:lnTo>
                  <a:lnTo>
                    <a:pt x="0" y="224"/>
                  </a:lnTo>
                  <a:lnTo>
                    <a:pt x="2" y="236"/>
                  </a:lnTo>
                  <a:lnTo>
                    <a:pt x="8" y="244"/>
                  </a:lnTo>
                  <a:lnTo>
                    <a:pt x="16" y="250"/>
                  </a:lnTo>
                  <a:lnTo>
                    <a:pt x="26" y="252"/>
                  </a:lnTo>
                  <a:lnTo>
                    <a:pt x="28" y="252"/>
                  </a:lnTo>
                  <a:lnTo>
                    <a:pt x="28" y="252"/>
                  </a:lnTo>
                  <a:lnTo>
                    <a:pt x="20" y="256"/>
                  </a:lnTo>
                  <a:lnTo>
                    <a:pt x="12" y="262"/>
                  </a:lnTo>
                  <a:lnTo>
                    <a:pt x="8" y="270"/>
                  </a:lnTo>
                  <a:lnTo>
                    <a:pt x="6" y="280"/>
                  </a:lnTo>
                  <a:lnTo>
                    <a:pt x="6" y="280"/>
                  </a:lnTo>
                  <a:lnTo>
                    <a:pt x="8" y="290"/>
                  </a:lnTo>
                  <a:lnTo>
                    <a:pt x="14" y="298"/>
                  </a:lnTo>
                  <a:lnTo>
                    <a:pt x="22" y="304"/>
                  </a:lnTo>
                  <a:lnTo>
                    <a:pt x="32" y="306"/>
                  </a:lnTo>
                  <a:lnTo>
                    <a:pt x="44" y="306"/>
                  </a:lnTo>
                  <a:lnTo>
                    <a:pt x="44" y="306"/>
                  </a:lnTo>
                  <a:lnTo>
                    <a:pt x="36" y="314"/>
                  </a:lnTo>
                  <a:lnTo>
                    <a:pt x="34" y="320"/>
                  </a:lnTo>
                  <a:lnTo>
                    <a:pt x="34" y="326"/>
                  </a:lnTo>
                  <a:lnTo>
                    <a:pt x="34" y="326"/>
                  </a:lnTo>
                  <a:lnTo>
                    <a:pt x="36" y="334"/>
                  </a:lnTo>
                  <a:lnTo>
                    <a:pt x="42" y="342"/>
                  </a:lnTo>
                  <a:lnTo>
                    <a:pt x="48" y="348"/>
                  </a:lnTo>
                  <a:lnTo>
                    <a:pt x="58" y="350"/>
                  </a:lnTo>
                  <a:lnTo>
                    <a:pt x="142" y="350"/>
                  </a:lnTo>
                  <a:lnTo>
                    <a:pt x="142" y="350"/>
                  </a:lnTo>
                  <a:lnTo>
                    <a:pt x="144" y="350"/>
                  </a:lnTo>
                  <a:lnTo>
                    <a:pt x="144" y="350"/>
                  </a:lnTo>
                  <a:lnTo>
                    <a:pt x="148" y="350"/>
                  </a:lnTo>
                  <a:lnTo>
                    <a:pt x="148" y="350"/>
                  </a:lnTo>
                  <a:lnTo>
                    <a:pt x="160" y="348"/>
                  </a:lnTo>
                  <a:lnTo>
                    <a:pt x="172" y="346"/>
                  </a:lnTo>
                  <a:lnTo>
                    <a:pt x="182" y="344"/>
                  </a:lnTo>
                  <a:lnTo>
                    <a:pt x="194" y="338"/>
                  </a:lnTo>
                  <a:lnTo>
                    <a:pt x="204" y="332"/>
                  </a:lnTo>
                  <a:lnTo>
                    <a:pt x="212" y="326"/>
                  </a:lnTo>
                  <a:lnTo>
                    <a:pt x="220" y="318"/>
                  </a:lnTo>
                  <a:lnTo>
                    <a:pt x="228" y="310"/>
                  </a:lnTo>
                  <a:lnTo>
                    <a:pt x="228" y="31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96" name="Group 95">
            <a:extLst>
              <a:ext uri="{FF2B5EF4-FFF2-40B4-BE49-F238E27FC236}">
                <a16:creationId xmlns:a16="http://schemas.microsoft.com/office/drawing/2014/main" id="{B02D2CDA-BF7C-4B4E-9627-D0D04BE1A558}"/>
              </a:ext>
            </a:extLst>
          </p:cNvPr>
          <p:cNvGrpSpPr/>
          <p:nvPr/>
        </p:nvGrpSpPr>
        <p:grpSpPr>
          <a:xfrm>
            <a:off x="6290382" y="2882974"/>
            <a:ext cx="612000" cy="612000"/>
            <a:chOff x="5841085" y="3474401"/>
            <a:chExt cx="612000" cy="612000"/>
          </a:xfrm>
        </p:grpSpPr>
        <p:sp>
          <p:nvSpPr>
            <p:cNvPr id="97" name="Oval 96">
              <a:extLst>
                <a:ext uri="{FF2B5EF4-FFF2-40B4-BE49-F238E27FC236}">
                  <a16:creationId xmlns:a16="http://schemas.microsoft.com/office/drawing/2014/main" id="{78D453C4-B83F-47DB-9BDE-A8D9C2FC208E}"/>
                </a:ext>
              </a:extLst>
            </p:cNvPr>
            <p:cNvSpPr/>
            <p:nvPr/>
          </p:nvSpPr>
          <p:spPr bwMode="ltGray">
            <a:xfrm>
              <a:off x="5841085"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98" name="Freeform 4970">
              <a:extLst>
                <a:ext uri="{FF2B5EF4-FFF2-40B4-BE49-F238E27FC236}">
                  <a16:creationId xmlns:a16="http://schemas.microsoft.com/office/drawing/2014/main" id="{4F761D3F-A7C6-40EA-9D2A-54D524990250}"/>
                </a:ext>
              </a:extLst>
            </p:cNvPr>
            <p:cNvSpPr>
              <a:spLocks noEditPoints="1"/>
            </p:cNvSpPr>
            <p:nvPr/>
          </p:nvSpPr>
          <p:spPr bwMode="auto">
            <a:xfrm>
              <a:off x="5898947" y="3573610"/>
              <a:ext cx="496277" cy="472186"/>
            </a:xfrm>
            <a:custGeom>
              <a:avLst/>
              <a:gdLst>
                <a:gd name="T0" fmla="*/ 318 w 412"/>
                <a:gd name="T1" fmla="*/ 358 h 392"/>
                <a:gd name="T2" fmla="*/ 268 w 412"/>
                <a:gd name="T3" fmla="*/ 382 h 392"/>
                <a:gd name="T4" fmla="*/ 234 w 412"/>
                <a:gd name="T5" fmla="*/ 390 h 392"/>
                <a:gd name="T6" fmla="*/ 208 w 412"/>
                <a:gd name="T7" fmla="*/ 392 h 392"/>
                <a:gd name="T8" fmla="*/ 146 w 412"/>
                <a:gd name="T9" fmla="*/ 382 h 392"/>
                <a:gd name="T10" fmla="*/ 92 w 412"/>
                <a:gd name="T11" fmla="*/ 356 h 392"/>
                <a:gd name="T12" fmla="*/ 48 w 412"/>
                <a:gd name="T13" fmla="*/ 316 h 392"/>
                <a:gd name="T14" fmla="*/ 18 w 412"/>
                <a:gd name="T15" fmla="*/ 264 h 392"/>
                <a:gd name="T16" fmla="*/ 2 w 412"/>
                <a:gd name="T17" fmla="*/ 206 h 392"/>
                <a:gd name="T18" fmla="*/ 2 w 412"/>
                <a:gd name="T19" fmla="*/ 172 h 392"/>
                <a:gd name="T20" fmla="*/ 30 w 412"/>
                <a:gd name="T21" fmla="*/ 166 h 392"/>
                <a:gd name="T22" fmla="*/ 182 w 412"/>
                <a:gd name="T23" fmla="*/ 166 h 392"/>
                <a:gd name="T24" fmla="*/ 224 w 412"/>
                <a:gd name="T25" fmla="*/ 180 h 392"/>
                <a:gd name="T26" fmla="*/ 234 w 412"/>
                <a:gd name="T27" fmla="*/ 204 h 392"/>
                <a:gd name="T28" fmla="*/ 256 w 412"/>
                <a:gd name="T29" fmla="*/ 212 h 392"/>
                <a:gd name="T30" fmla="*/ 282 w 412"/>
                <a:gd name="T31" fmla="*/ 240 h 392"/>
                <a:gd name="T32" fmla="*/ 292 w 412"/>
                <a:gd name="T33" fmla="*/ 262 h 392"/>
                <a:gd name="T34" fmla="*/ 314 w 412"/>
                <a:gd name="T35" fmla="*/ 272 h 392"/>
                <a:gd name="T36" fmla="*/ 138 w 412"/>
                <a:gd name="T37" fmla="*/ 140 h 392"/>
                <a:gd name="T38" fmla="*/ 164 w 412"/>
                <a:gd name="T39" fmla="*/ 134 h 392"/>
                <a:gd name="T40" fmla="*/ 196 w 412"/>
                <a:gd name="T41" fmla="*/ 108 h 392"/>
                <a:gd name="T42" fmla="*/ 208 w 412"/>
                <a:gd name="T43" fmla="*/ 70 h 392"/>
                <a:gd name="T44" fmla="*/ 202 w 412"/>
                <a:gd name="T45" fmla="*/ 42 h 392"/>
                <a:gd name="T46" fmla="*/ 176 w 412"/>
                <a:gd name="T47" fmla="*/ 12 h 392"/>
                <a:gd name="T48" fmla="*/ 138 w 412"/>
                <a:gd name="T49" fmla="*/ 0 h 392"/>
                <a:gd name="T50" fmla="*/ 110 w 412"/>
                <a:gd name="T51" fmla="*/ 4 h 392"/>
                <a:gd name="T52" fmla="*/ 80 w 412"/>
                <a:gd name="T53" fmla="*/ 30 h 392"/>
                <a:gd name="T54" fmla="*/ 68 w 412"/>
                <a:gd name="T55" fmla="*/ 70 h 392"/>
                <a:gd name="T56" fmla="*/ 74 w 412"/>
                <a:gd name="T57" fmla="*/ 96 h 392"/>
                <a:gd name="T58" fmla="*/ 98 w 412"/>
                <a:gd name="T59" fmla="*/ 128 h 392"/>
                <a:gd name="T60" fmla="*/ 138 w 412"/>
                <a:gd name="T61" fmla="*/ 140 h 392"/>
                <a:gd name="T62" fmla="*/ 412 w 412"/>
                <a:gd name="T63" fmla="*/ 152 h 392"/>
                <a:gd name="T64" fmla="*/ 408 w 412"/>
                <a:gd name="T65" fmla="*/ 146 h 392"/>
                <a:gd name="T66" fmla="*/ 354 w 412"/>
                <a:gd name="T67" fmla="*/ 142 h 392"/>
                <a:gd name="T68" fmla="*/ 352 w 412"/>
                <a:gd name="T69" fmla="*/ 90 h 392"/>
                <a:gd name="T70" fmla="*/ 344 w 412"/>
                <a:gd name="T71" fmla="*/ 84 h 392"/>
                <a:gd name="T72" fmla="*/ 312 w 412"/>
                <a:gd name="T73" fmla="*/ 84 h 392"/>
                <a:gd name="T74" fmla="*/ 304 w 412"/>
                <a:gd name="T75" fmla="*/ 94 h 392"/>
                <a:gd name="T76" fmla="*/ 256 w 412"/>
                <a:gd name="T77" fmla="*/ 142 h 392"/>
                <a:gd name="T78" fmla="*/ 248 w 412"/>
                <a:gd name="T79" fmla="*/ 148 h 392"/>
                <a:gd name="T80" fmla="*/ 246 w 412"/>
                <a:gd name="T81" fmla="*/ 180 h 392"/>
                <a:gd name="T82" fmla="*/ 252 w 412"/>
                <a:gd name="T83" fmla="*/ 190 h 392"/>
                <a:gd name="T84" fmla="*/ 304 w 412"/>
                <a:gd name="T85" fmla="*/ 240 h 392"/>
                <a:gd name="T86" fmla="*/ 308 w 412"/>
                <a:gd name="T87" fmla="*/ 246 h 392"/>
                <a:gd name="T88" fmla="*/ 344 w 412"/>
                <a:gd name="T89" fmla="*/ 250 h 392"/>
                <a:gd name="T90" fmla="*/ 350 w 412"/>
                <a:gd name="T91" fmla="*/ 246 h 392"/>
                <a:gd name="T92" fmla="*/ 354 w 412"/>
                <a:gd name="T93" fmla="*/ 190 h 392"/>
                <a:gd name="T94" fmla="*/ 406 w 412"/>
                <a:gd name="T95" fmla="*/ 190 h 392"/>
                <a:gd name="T96" fmla="*/ 412 w 412"/>
                <a:gd name="T97" fmla="*/ 180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12" h="392">
                  <a:moveTo>
                    <a:pt x="334" y="348"/>
                  </a:moveTo>
                  <a:lnTo>
                    <a:pt x="334" y="348"/>
                  </a:lnTo>
                  <a:lnTo>
                    <a:pt x="318" y="358"/>
                  </a:lnTo>
                  <a:lnTo>
                    <a:pt x="302" y="368"/>
                  </a:lnTo>
                  <a:lnTo>
                    <a:pt x="286" y="376"/>
                  </a:lnTo>
                  <a:lnTo>
                    <a:pt x="268" y="382"/>
                  </a:lnTo>
                  <a:lnTo>
                    <a:pt x="250" y="280"/>
                  </a:lnTo>
                  <a:lnTo>
                    <a:pt x="232" y="280"/>
                  </a:lnTo>
                  <a:lnTo>
                    <a:pt x="234" y="390"/>
                  </a:lnTo>
                  <a:lnTo>
                    <a:pt x="234" y="390"/>
                  </a:lnTo>
                  <a:lnTo>
                    <a:pt x="208" y="392"/>
                  </a:lnTo>
                  <a:lnTo>
                    <a:pt x="208" y="392"/>
                  </a:lnTo>
                  <a:lnTo>
                    <a:pt x="186" y="390"/>
                  </a:lnTo>
                  <a:lnTo>
                    <a:pt x="166" y="386"/>
                  </a:lnTo>
                  <a:lnTo>
                    <a:pt x="146" y="382"/>
                  </a:lnTo>
                  <a:lnTo>
                    <a:pt x="128" y="374"/>
                  </a:lnTo>
                  <a:lnTo>
                    <a:pt x="110" y="366"/>
                  </a:lnTo>
                  <a:lnTo>
                    <a:pt x="92" y="356"/>
                  </a:lnTo>
                  <a:lnTo>
                    <a:pt x="76" y="344"/>
                  </a:lnTo>
                  <a:lnTo>
                    <a:pt x="62" y="330"/>
                  </a:lnTo>
                  <a:lnTo>
                    <a:pt x="48" y="316"/>
                  </a:lnTo>
                  <a:lnTo>
                    <a:pt x="36" y="300"/>
                  </a:lnTo>
                  <a:lnTo>
                    <a:pt x="26" y="282"/>
                  </a:lnTo>
                  <a:lnTo>
                    <a:pt x="18" y="264"/>
                  </a:lnTo>
                  <a:lnTo>
                    <a:pt x="10" y="246"/>
                  </a:lnTo>
                  <a:lnTo>
                    <a:pt x="6" y="226"/>
                  </a:lnTo>
                  <a:lnTo>
                    <a:pt x="2" y="206"/>
                  </a:lnTo>
                  <a:lnTo>
                    <a:pt x="0" y="184"/>
                  </a:lnTo>
                  <a:lnTo>
                    <a:pt x="0" y="184"/>
                  </a:lnTo>
                  <a:lnTo>
                    <a:pt x="2" y="172"/>
                  </a:lnTo>
                  <a:lnTo>
                    <a:pt x="2" y="172"/>
                  </a:lnTo>
                  <a:lnTo>
                    <a:pt x="16" y="168"/>
                  </a:lnTo>
                  <a:lnTo>
                    <a:pt x="30" y="166"/>
                  </a:lnTo>
                  <a:lnTo>
                    <a:pt x="94" y="166"/>
                  </a:lnTo>
                  <a:lnTo>
                    <a:pt x="138" y="244"/>
                  </a:lnTo>
                  <a:lnTo>
                    <a:pt x="182" y="166"/>
                  </a:lnTo>
                  <a:lnTo>
                    <a:pt x="224" y="166"/>
                  </a:lnTo>
                  <a:lnTo>
                    <a:pt x="224" y="180"/>
                  </a:lnTo>
                  <a:lnTo>
                    <a:pt x="224" y="180"/>
                  </a:lnTo>
                  <a:lnTo>
                    <a:pt x="226" y="186"/>
                  </a:lnTo>
                  <a:lnTo>
                    <a:pt x="228" y="192"/>
                  </a:lnTo>
                  <a:lnTo>
                    <a:pt x="234" y="204"/>
                  </a:lnTo>
                  <a:lnTo>
                    <a:pt x="244" y="210"/>
                  </a:lnTo>
                  <a:lnTo>
                    <a:pt x="250" y="212"/>
                  </a:lnTo>
                  <a:lnTo>
                    <a:pt x="256" y="212"/>
                  </a:lnTo>
                  <a:lnTo>
                    <a:pt x="282" y="212"/>
                  </a:lnTo>
                  <a:lnTo>
                    <a:pt x="282" y="240"/>
                  </a:lnTo>
                  <a:lnTo>
                    <a:pt x="282" y="240"/>
                  </a:lnTo>
                  <a:lnTo>
                    <a:pt x="284" y="246"/>
                  </a:lnTo>
                  <a:lnTo>
                    <a:pt x="286" y="252"/>
                  </a:lnTo>
                  <a:lnTo>
                    <a:pt x="292" y="262"/>
                  </a:lnTo>
                  <a:lnTo>
                    <a:pt x="302" y="268"/>
                  </a:lnTo>
                  <a:lnTo>
                    <a:pt x="308" y="270"/>
                  </a:lnTo>
                  <a:lnTo>
                    <a:pt x="314" y="272"/>
                  </a:lnTo>
                  <a:lnTo>
                    <a:pt x="322" y="272"/>
                  </a:lnTo>
                  <a:lnTo>
                    <a:pt x="334" y="348"/>
                  </a:lnTo>
                  <a:close/>
                  <a:moveTo>
                    <a:pt x="138" y="140"/>
                  </a:moveTo>
                  <a:lnTo>
                    <a:pt x="138" y="140"/>
                  </a:lnTo>
                  <a:lnTo>
                    <a:pt x="152" y="138"/>
                  </a:lnTo>
                  <a:lnTo>
                    <a:pt x="164" y="134"/>
                  </a:lnTo>
                  <a:lnTo>
                    <a:pt x="176" y="128"/>
                  </a:lnTo>
                  <a:lnTo>
                    <a:pt x="188" y="118"/>
                  </a:lnTo>
                  <a:lnTo>
                    <a:pt x="196" y="108"/>
                  </a:lnTo>
                  <a:lnTo>
                    <a:pt x="202" y="96"/>
                  </a:lnTo>
                  <a:lnTo>
                    <a:pt x="206" y="84"/>
                  </a:lnTo>
                  <a:lnTo>
                    <a:pt x="208" y="70"/>
                  </a:lnTo>
                  <a:lnTo>
                    <a:pt x="208" y="70"/>
                  </a:lnTo>
                  <a:lnTo>
                    <a:pt x="206" y="54"/>
                  </a:lnTo>
                  <a:lnTo>
                    <a:pt x="202" y="42"/>
                  </a:lnTo>
                  <a:lnTo>
                    <a:pt x="196" y="30"/>
                  </a:lnTo>
                  <a:lnTo>
                    <a:pt x="188" y="20"/>
                  </a:lnTo>
                  <a:lnTo>
                    <a:pt x="176" y="12"/>
                  </a:lnTo>
                  <a:lnTo>
                    <a:pt x="164" y="4"/>
                  </a:lnTo>
                  <a:lnTo>
                    <a:pt x="152" y="0"/>
                  </a:lnTo>
                  <a:lnTo>
                    <a:pt x="138" y="0"/>
                  </a:lnTo>
                  <a:lnTo>
                    <a:pt x="138" y="0"/>
                  </a:lnTo>
                  <a:lnTo>
                    <a:pt x="124" y="0"/>
                  </a:lnTo>
                  <a:lnTo>
                    <a:pt x="110" y="4"/>
                  </a:lnTo>
                  <a:lnTo>
                    <a:pt x="98" y="12"/>
                  </a:lnTo>
                  <a:lnTo>
                    <a:pt x="88" y="20"/>
                  </a:lnTo>
                  <a:lnTo>
                    <a:pt x="80" y="30"/>
                  </a:lnTo>
                  <a:lnTo>
                    <a:pt x="74" y="42"/>
                  </a:lnTo>
                  <a:lnTo>
                    <a:pt x="70" y="54"/>
                  </a:lnTo>
                  <a:lnTo>
                    <a:pt x="68" y="70"/>
                  </a:lnTo>
                  <a:lnTo>
                    <a:pt x="68" y="70"/>
                  </a:lnTo>
                  <a:lnTo>
                    <a:pt x="70" y="84"/>
                  </a:lnTo>
                  <a:lnTo>
                    <a:pt x="74" y="96"/>
                  </a:lnTo>
                  <a:lnTo>
                    <a:pt x="80" y="108"/>
                  </a:lnTo>
                  <a:lnTo>
                    <a:pt x="88" y="118"/>
                  </a:lnTo>
                  <a:lnTo>
                    <a:pt x="98" y="128"/>
                  </a:lnTo>
                  <a:lnTo>
                    <a:pt x="110" y="134"/>
                  </a:lnTo>
                  <a:lnTo>
                    <a:pt x="124" y="138"/>
                  </a:lnTo>
                  <a:lnTo>
                    <a:pt x="138" y="140"/>
                  </a:lnTo>
                  <a:lnTo>
                    <a:pt x="138" y="140"/>
                  </a:lnTo>
                  <a:close/>
                  <a:moveTo>
                    <a:pt x="412" y="180"/>
                  </a:moveTo>
                  <a:lnTo>
                    <a:pt x="412" y="152"/>
                  </a:lnTo>
                  <a:lnTo>
                    <a:pt x="412" y="152"/>
                  </a:lnTo>
                  <a:lnTo>
                    <a:pt x="410" y="148"/>
                  </a:lnTo>
                  <a:lnTo>
                    <a:pt x="408" y="146"/>
                  </a:lnTo>
                  <a:lnTo>
                    <a:pt x="406" y="144"/>
                  </a:lnTo>
                  <a:lnTo>
                    <a:pt x="402" y="142"/>
                  </a:lnTo>
                  <a:lnTo>
                    <a:pt x="354" y="142"/>
                  </a:lnTo>
                  <a:lnTo>
                    <a:pt x="354" y="94"/>
                  </a:lnTo>
                  <a:lnTo>
                    <a:pt x="354" y="94"/>
                  </a:lnTo>
                  <a:lnTo>
                    <a:pt x="352" y="90"/>
                  </a:lnTo>
                  <a:lnTo>
                    <a:pt x="350" y="86"/>
                  </a:lnTo>
                  <a:lnTo>
                    <a:pt x="346" y="84"/>
                  </a:lnTo>
                  <a:lnTo>
                    <a:pt x="344" y="84"/>
                  </a:lnTo>
                  <a:lnTo>
                    <a:pt x="314" y="84"/>
                  </a:lnTo>
                  <a:lnTo>
                    <a:pt x="314" y="84"/>
                  </a:lnTo>
                  <a:lnTo>
                    <a:pt x="312" y="84"/>
                  </a:lnTo>
                  <a:lnTo>
                    <a:pt x="308" y="86"/>
                  </a:lnTo>
                  <a:lnTo>
                    <a:pt x="306" y="90"/>
                  </a:lnTo>
                  <a:lnTo>
                    <a:pt x="304" y="94"/>
                  </a:lnTo>
                  <a:lnTo>
                    <a:pt x="304" y="142"/>
                  </a:lnTo>
                  <a:lnTo>
                    <a:pt x="256" y="142"/>
                  </a:lnTo>
                  <a:lnTo>
                    <a:pt x="256" y="142"/>
                  </a:lnTo>
                  <a:lnTo>
                    <a:pt x="252" y="144"/>
                  </a:lnTo>
                  <a:lnTo>
                    <a:pt x="250" y="146"/>
                  </a:lnTo>
                  <a:lnTo>
                    <a:pt x="248" y="148"/>
                  </a:lnTo>
                  <a:lnTo>
                    <a:pt x="246" y="152"/>
                  </a:lnTo>
                  <a:lnTo>
                    <a:pt x="246" y="180"/>
                  </a:lnTo>
                  <a:lnTo>
                    <a:pt x="246" y="180"/>
                  </a:lnTo>
                  <a:lnTo>
                    <a:pt x="248" y="184"/>
                  </a:lnTo>
                  <a:lnTo>
                    <a:pt x="250" y="188"/>
                  </a:lnTo>
                  <a:lnTo>
                    <a:pt x="252" y="190"/>
                  </a:lnTo>
                  <a:lnTo>
                    <a:pt x="256" y="190"/>
                  </a:lnTo>
                  <a:lnTo>
                    <a:pt x="304" y="190"/>
                  </a:lnTo>
                  <a:lnTo>
                    <a:pt x="304" y="240"/>
                  </a:lnTo>
                  <a:lnTo>
                    <a:pt x="304" y="240"/>
                  </a:lnTo>
                  <a:lnTo>
                    <a:pt x="306" y="242"/>
                  </a:lnTo>
                  <a:lnTo>
                    <a:pt x="308" y="246"/>
                  </a:lnTo>
                  <a:lnTo>
                    <a:pt x="312" y="248"/>
                  </a:lnTo>
                  <a:lnTo>
                    <a:pt x="314" y="250"/>
                  </a:lnTo>
                  <a:lnTo>
                    <a:pt x="344" y="250"/>
                  </a:lnTo>
                  <a:lnTo>
                    <a:pt x="344" y="250"/>
                  </a:lnTo>
                  <a:lnTo>
                    <a:pt x="346" y="248"/>
                  </a:lnTo>
                  <a:lnTo>
                    <a:pt x="350" y="246"/>
                  </a:lnTo>
                  <a:lnTo>
                    <a:pt x="352" y="242"/>
                  </a:lnTo>
                  <a:lnTo>
                    <a:pt x="354" y="240"/>
                  </a:lnTo>
                  <a:lnTo>
                    <a:pt x="354" y="190"/>
                  </a:lnTo>
                  <a:lnTo>
                    <a:pt x="402" y="190"/>
                  </a:lnTo>
                  <a:lnTo>
                    <a:pt x="402" y="190"/>
                  </a:lnTo>
                  <a:lnTo>
                    <a:pt x="406" y="190"/>
                  </a:lnTo>
                  <a:lnTo>
                    <a:pt x="408" y="188"/>
                  </a:lnTo>
                  <a:lnTo>
                    <a:pt x="410" y="184"/>
                  </a:lnTo>
                  <a:lnTo>
                    <a:pt x="412" y="180"/>
                  </a:lnTo>
                  <a:lnTo>
                    <a:pt x="412" y="18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99" name="Group 98">
            <a:extLst>
              <a:ext uri="{FF2B5EF4-FFF2-40B4-BE49-F238E27FC236}">
                <a16:creationId xmlns:a16="http://schemas.microsoft.com/office/drawing/2014/main" id="{EAA12334-09CA-42E3-B8D9-15712393206D}"/>
              </a:ext>
            </a:extLst>
          </p:cNvPr>
          <p:cNvGrpSpPr/>
          <p:nvPr/>
        </p:nvGrpSpPr>
        <p:grpSpPr>
          <a:xfrm>
            <a:off x="7171331" y="2882974"/>
            <a:ext cx="612000" cy="612000"/>
            <a:chOff x="6715798" y="3474401"/>
            <a:chExt cx="612000" cy="612000"/>
          </a:xfrm>
        </p:grpSpPr>
        <p:sp>
          <p:nvSpPr>
            <p:cNvPr id="100" name="Oval 99">
              <a:extLst>
                <a:ext uri="{FF2B5EF4-FFF2-40B4-BE49-F238E27FC236}">
                  <a16:creationId xmlns:a16="http://schemas.microsoft.com/office/drawing/2014/main" id="{3A79265B-B6B5-46C2-AC56-80421D895473}"/>
                </a:ext>
              </a:extLst>
            </p:cNvPr>
            <p:cNvSpPr/>
            <p:nvPr/>
          </p:nvSpPr>
          <p:spPr bwMode="ltGray">
            <a:xfrm>
              <a:off x="6715798"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01" name="Freeform 4971">
              <a:extLst>
                <a:ext uri="{FF2B5EF4-FFF2-40B4-BE49-F238E27FC236}">
                  <a16:creationId xmlns:a16="http://schemas.microsoft.com/office/drawing/2014/main" id="{EA7E8907-27F6-4F70-8FDF-A53CC78AD262}"/>
                </a:ext>
              </a:extLst>
            </p:cNvPr>
            <p:cNvSpPr>
              <a:spLocks noEditPoints="1"/>
            </p:cNvSpPr>
            <p:nvPr/>
          </p:nvSpPr>
          <p:spPr bwMode="auto">
            <a:xfrm>
              <a:off x="6823180" y="3560628"/>
              <a:ext cx="462549" cy="433640"/>
            </a:xfrm>
            <a:custGeom>
              <a:avLst/>
              <a:gdLst>
                <a:gd name="T0" fmla="*/ 378 w 384"/>
                <a:gd name="T1" fmla="*/ 138 h 360"/>
                <a:gd name="T2" fmla="*/ 384 w 384"/>
                <a:gd name="T3" fmla="*/ 188 h 360"/>
                <a:gd name="T4" fmla="*/ 360 w 384"/>
                <a:gd name="T5" fmla="*/ 286 h 360"/>
                <a:gd name="T6" fmla="*/ 294 w 384"/>
                <a:gd name="T7" fmla="*/ 360 h 360"/>
                <a:gd name="T8" fmla="*/ 298 w 384"/>
                <a:gd name="T9" fmla="*/ 126 h 360"/>
                <a:gd name="T10" fmla="*/ 274 w 384"/>
                <a:gd name="T11" fmla="*/ 318 h 360"/>
                <a:gd name="T12" fmla="*/ 238 w 384"/>
                <a:gd name="T13" fmla="*/ 142 h 360"/>
                <a:gd name="T14" fmla="*/ 184 w 384"/>
                <a:gd name="T15" fmla="*/ 86 h 360"/>
                <a:gd name="T16" fmla="*/ 170 w 384"/>
                <a:gd name="T17" fmla="*/ 28 h 360"/>
                <a:gd name="T18" fmla="*/ 150 w 384"/>
                <a:gd name="T19" fmla="*/ 2 h 360"/>
                <a:gd name="T20" fmla="*/ 132 w 384"/>
                <a:gd name="T21" fmla="*/ 0 h 360"/>
                <a:gd name="T22" fmla="*/ 110 w 384"/>
                <a:gd name="T23" fmla="*/ 24 h 360"/>
                <a:gd name="T24" fmla="*/ 118 w 384"/>
                <a:gd name="T25" fmla="*/ 76 h 360"/>
                <a:gd name="T26" fmla="*/ 120 w 384"/>
                <a:gd name="T27" fmla="*/ 122 h 360"/>
                <a:gd name="T28" fmla="*/ 36 w 384"/>
                <a:gd name="T29" fmla="*/ 130 h 360"/>
                <a:gd name="T30" fmla="*/ 20 w 384"/>
                <a:gd name="T31" fmla="*/ 156 h 360"/>
                <a:gd name="T32" fmla="*/ 46 w 384"/>
                <a:gd name="T33" fmla="*/ 182 h 360"/>
                <a:gd name="T34" fmla="*/ 8 w 384"/>
                <a:gd name="T35" fmla="*/ 190 h 360"/>
                <a:gd name="T36" fmla="*/ 2 w 384"/>
                <a:gd name="T37" fmla="*/ 220 h 360"/>
                <a:gd name="T38" fmla="*/ 32 w 384"/>
                <a:gd name="T39" fmla="*/ 236 h 360"/>
                <a:gd name="T40" fmla="*/ 8 w 384"/>
                <a:gd name="T41" fmla="*/ 252 h 360"/>
                <a:gd name="T42" fmla="*/ 14 w 384"/>
                <a:gd name="T43" fmla="*/ 282 h 360"/>
                <a:gd name="T44" fmla="*/ 50 w 384"/>
                <a:gd name="T45" fmla="*/ 290 h 360"/>
                <a:gd name="T46" fmla="*/ 36 w 384"/>
                <a:gd name="T47" fmla="*/ 296 h 360"/>
                <a:gd name="T48" fmla="*/ 32 w 384"/>
                <a:gd name="T49" fmla="*/ 320 h 360"/>
                <a:gd name="T50" fmla="*/ 76 w 384"/>
                <a:gd name="T51" fmla="*/ 334 h 360"/>
                <a:gd name="T52" fmla="*/ 106 w 384"/>
                <a:gd name="T53" fmla="*/ 334 h 360"/>
                <a:gd name="T54" fmla="*/ 124 w 384"/>
                <a:gd name="T55" fmla="*/ 322 h 360"/>
                <a:gd name="T56" fmla="*/ 122 w 384"/>
                <a:gd name="T57" fmla="*/ 310 h 360"/>
                <a:gd name="T58" fmla="*/ 130 w 384"/>
                <a:gd name="T59" fmla="*/ 300 h 360"/>
                <a:gd name="T60" fmla="*/ 150 w 384"/>
                <a:gd name="T61" fmla="*/ 286 h 360"/>
                <a:gd name="T62" fmla="*/ 154 w 384"/>
                <a:gd name="T63" fmla="*/ 268 h 360"/>
                <a:gd name="T64" fmla="*/ 144 w 384"/>
                <a:gd name="T65" fmla="*/ 248 h 360"/>
                <a:gd name="T66" fmla="*/ 152 w 384"/>
                <a:gd name="T67" fmla="*/ 232 h 360"/>
                <a:gd name="T68" fmla="*/ 164 w 384"/>
                <a:gd name="T69" fmla="*/ 216 h 360"/>
                <a:gd name="T70" fmla="*/ 154 w 384"/>
                <a:gd name="T71" fmla="*/ 196 h 360"/>
                <a:gd name="T72" fmla="*/ 152 w 384"/>
                <a:gd name="T73" fmla="*/ 194 h 360"/>
                <a:gd name="T74" fmla="*/ 148 w 384"/>
                <a:gd name="T75" fmla="*/ 184 h 360"/>
                <a:gd name="T76" fmla="*/ 156 w 384"/>
                <a:gd name="T77" fmla="*/ 170 h 360"/>
                <a:gd name="T78" fmla="*/ 154 w 384"/>
                <a:gd name="T79" fmla="*/ 154 h 360"/>
                <a:gd name="T80" fmla="*/ 162 w 384"/>
                <a:gd name="T81" fmla="*/ 144 h 360"/>
                <a:gd name="T82" fmla="*/ 174 w 384"/>
                <a:gd name="T83" fmla="*/ 152 h 360"/>
                <a:gd name="T84" fmla="*/ 172 w 384"/>
                <a:gd name="T85" fmla="*/ 180 h 360"/>
                <a:gd name="T86" fmla="*/ 186 w 384"/>
                <a:gd name="T87" fmla="*/ 204 h 360"/>
                <a:gd name="T88" fmla="*/ 176 w 384"/>
                <a:gd name="T89" fmla="*/ 244 h 360"/>
                <a:gd name="T90" fmla="*/ 172 w 384"/>
                <a:gd name="T91" fmla="*/ 258 h 360"/>
                <a:gd name="T92" fmla="*/ 172 w 384"/>
                <a:gd name="T93" fmla="*/ 282 h 360"/>
                <a:gd name="T94" fmla="*/ 174 w 384"/>
                <a:gd name="T95" fmla="*/ 300 h 360"/>
                <a:gd name="T96" fmla="*/ 158 w 384"/>
                <a:gd name="T97" fmla="*/ 310 h 360"/>
                <a:gd name="T98" fmla="*/ 138 w 384"/>
                <a:gd name="T99" fmla="*/ 328 h 360"/>
                <a:gd name="T100" fmla="*/ 132 w 384"/>
                <a:gd name="T101" fmla="*/ 338 h 360"/>
                <a:gd name="T102" fmla="*/ 136 w 384"/>
                <a:gd name="T103" fmla="*/ 354 h 360"/>
                <a:gd name="T104" fmla="*/ 182 w 384"/>
                <a:gd name="T105" fmla="*/ 352 h 360"/>
                <a:gd name="T106" fmla="*/ 242 w 384"/>
                <a:gd name="T107" fmla="*/ 318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4" h="360">
                  <a:moveTo>
                    <a:pt x="310" y="120"/>
                  </a:moveTo>
                  <a:lnTo>
                    <a:pt x="374" y="120"/>
                  </a:lnTo>
                  <a:lnTo>
                    <a:pt x="374" y="120"/>
                  </a:lnTo>
                  <a:lnTo>
                    <a:pt x="378" y="138"/>
                  </a:lnTo>
                  <a:lnTo>
                    <a:pt x="382" y="154"/>
                  </a:lnTo>
                  <a:lnTo>
                    <a:pt x="384" y="170"/>
                  </a:lnTo>
                  <a:lnTo>
                    <a:pt x="384" y="188"/>
                  </a:lnTo>
                  <a:lnTo>
                    <a:pt x="384" y="188"/>
                  </a:lnTo>
                  <a:lnTo>
                    <a:pt x="384" y="214"/>
                  </a:lnTo>
                  <a:lnTo>
                    <a:pt x="378" y="240"/>
                  </a:lnTo>
                  <a:lnTo>
                    <a:pt x="370" y="264"/>
                  </a:lnTo>
                  <a:lnTo>
                    <a:pt x="360" y="286"/>
                  </a:lnTo>
                  <a:lnTo>
                    <a:pt x="346" y="308"/>
                  </a:lnTo>
                  <a:lnTo>
                    <a:pt x="332" y="328"/>
                  </a:lnTo>
                  <a:lnTo>
                    <a:pt x="314" y="344"/>
                  </a:lnTo>
                  <a:lnTo>
                    <a:pt x="294" y="360"/>
                  </a:lnTo>
                  <a:lnTo>
                    <a:pt x="294" y="136"/>
                  </a:lnTo>
                  <a:lnTo>
                    <a:pt x="294" y="136"/>
                  </a:lnTo>
                  <a:lnTo>
                    <a:pt x="294" y="130"/>
                  </a:lnTo>
                  <a:lnTo>
                    <a:pt x="298" y="126"/>
                  </a:lnTo>
                  <a:lnTo>
                    <a:pt x="304" y="122"/>
                  </a:lnTo>
                  <a:lnTo>
                    <a:pt x="310" y="120"/>
                  </a:lnTo>
                  <a:lnTo>
                    <a:pt x="310" y="120"/>
                  </a:lnTo>
                  <a:close/>
                  <a:moveTo>
                    <a:pt x="274" y="318"/>
                  </a:moveTo>
                  <a:lnTo>
                    <a:pt x="274" y="152"/>
                  </a:lnTo>
                  <a:lnTo>
                    <a:pt x="256" y="152"/>
                  </a:lnTo>
                  <a:lnTo>
                    <a:pt x="256" y="152"/>
                  </a:lnTo>
                  <a:lnTo>
                    <a:pt x="238" y="142"/>
                  </a:lnTo>
                  <a:lnTo>
                    <a:pt x="222" y="132"/>
                  </a:lnTo>
                  <a:lnTo>
                    <a:pt x="208" y="118"/>
                  </a:lnTo>
                  <a:lnTo>
                    <a:pt x="194" y="102"/>
                  </a:lnTo>
                  <a:lnTo>
                    <a:pt x="184" y="86"/>
                  </a:lnTo>
                  <a:lnTo>
                    <a:pt x="178" y="68"/>
                  </a:lnTo>
                  <a:lnTo>
                    <a:pt x="172" y="48"/>
                  </a:lnTo>
                  <a:lnTo>
                    <a:pt x="170" y="28"/>
                  </a:lnTo>
                  <a:lnTo>
                    <a:pt x="170" y="28"/>
                  </a:lnTo>
                  <a:lnTo>
                    <a:pt x="168" y="22"/>
                  </a:lnTo>
                  <a:lnTo>
                    <a:pt x="166" y="16"/>
                  </a:lnTo>
                  <a:lnTo>
                    <a:pt x="160" y="8"/>
                  </a:lnTo>
                  <a:lnTo>
                    <a:pt x="150" y="2"/>
                  </a:lnTo>
                  <a:lnTo>
                    <a:pt x="144" y="0"/>
                  </a:lnTo>
                  <a:lnTo>
                    <a:pt x="138" y="0"/>
                  </a:lnTo>
                  <a:lnTo>
                    <a:pt x="138" y="0"/>
                  </a:lnTo>
                  <a:lnTo>
                    <a:pt x="132" y="0"/>
                  </a:lnTo>
                  <a:lnTo>
                    <a:pt x="126" y="2"/>
                  </a:lnTo>
                  <a:lnTo>
                    <a:pt x="118" y="10"/>
                  </a:lnTo>
                  <a:lnTo>
                    <a:pt x="112" y="20"/>
                  </a:lnTo>
                  <a:lnTo>
                    <a:pt x="110" y="24"/>
                  </a:lnTo>
                  <a:lnTo>
                    <a:pt x="110" y="30"/>
                  </a:lnTo>
                  <a:lnTo>
                    <a:pt x="110" y="30"/>
                  </a:lnTo>
                  <a:lnTo>
                    <a:pt x="112" y="54"/>
                  </a:lnTo>
                  <a:lnTo>
                    <a:pt x="118" y="76"/>
                  </a:lnTo>
                  <a:lnTo>
                    <a:pt x="124" y="98"/>
                  </a:lnTo>
                  <a:lnTo>
                    <a:pt x="134" y="118"/>
                  </a:lnTo>
                  <a:lnTo>
                    <a:pt x="134" y="118"/>
                  </a:lnTo>
                  <a:lnTo>
                    <a:pt x="120" y="122"/>
                  </a:lnTo>
                  <a:lnTo>
                    <a:pt x="106" y="128"/>
                  </a:lnTo>
                  <a:lnTo>
                    <a:pt x="46" y="128"/>
                  </a:lnTo>
                  <a:lnTo>
                    <a:pt x="46" y="128"/>
                  </a:lnTo>
                  <a:lnTo>
                    <a:pt x="36" y="130"/>
                  </a:lnTo>
                  <a:lnTo>
                    <a:pt x="28" y="136"/>
                  </a:lnTo>
                  <a:lnTo>
                    <a:pt x="22" y="144"/>
                  </a:lnTo>
                  <a:lnTo>
                    <a:pt x="20" y="156"/>
                  </a:lnTo>
                  <a:lnTo>
                    <a:pt x="20" y="156"/>
                  </a:lnTo>
                  <a:lnTo>
                    <a:pt x="22" y="166"/>
                  </a:lnTo>
                  <a:lnTo>
                    <a:pt x="28" y="174"/>
                  </a:lnTo>
                  <a:lnTo>
                    <a:pt x="36" y="180"/>
                  </a:lnTo>
                  <a:lnTo>
                    <a:pt x="46" y="182"/>
                  </a:lnTo>
                  <a:lnTo>
                    <a:pt x="26" y="182"/>
                  </a:lnTo>
                  <a:lnTo>
                    <a:pt x="26" y="182"/>
                  </a:lnTo>
                  <a:lnTo>
                    <a:pt x="16" y="184"/>
                  </a:lnTo>
                  <a:lnTo>
                    <a:pt x="8" y="190"/>
                  </a:lnTo>
                  <a:lnTo>
                    <a:pt x="2" y="198"/>
                  </a:lnTo>
                  <a:lnTo>
                    <a:pt x="0" y="208"/>
                  </a:lnTo>
                  <a:lnTo>
                    <a:pt x="0" y="208"/>
                  </a:lnTo>
                  <a:lnTo>
                    <a:pt x="2" y="220"/>
                  </a:lnTo>
                  <a:lnTo>
                    <a:pt x="8" y="228"/>
                  </a:lnTo>
                  <a:lnTo>
                    <a:pt x="16" y="234"/>
                  </a:lnTo>
                  <a:lnTo>
                    <a:pt x="26" y="236"/>
                  </a:lnTo>
                  <a:lnTo>
                    <a:pt x="32" y="236"/>
                  </a:lnTo>
                  <a:lnTo>
                    <a:pt x="32" y="236"/>
                  </a:lnTo>
                  <a:lnTo>
                    <a:pt x="22" y="238"/>
                  </a:lnTo>
                  <a:lnTo>
                    <a:pt x="14" y="244"/>
                  </a:lnTo>
                  <a:lnTo>
                    <a:pt x="8" y="252"/>
                  </a:lnTo>
                  <a:lnTo>
                    <a:pt x="8" y="262"/>
                  </a:lnTo>
                  <a:lnTo>
                    <a:pt x="8" y="262"/>
                  </a:lnTo>
                  <a:lnTo>
                    <a:pt x="10" y="272"/>
                  </a:lnTo>
                  <a:lnTo>
                    <a:pt x="14" y="282"/>
                  </a:lnTo>
                  <a:lnTo>
                    <a:pt x="24" y="288"/>
                  </a:lnTo>
                  <a:lnTo>
                    <a:pt x="34" y="290"/>
                  </a:lnTo>
                  <a:lnTo>
                    <a:pt x="50" y="290"/>
                  </a:lnTo>
                  <a:lnTo>
                    <a:pt x="50" y="290"/>
                  </a:lnTo>
                  <a:lnTo>
                    <a:pt x="50" y="290"/>
                  </a:lnTo>
                  <a:lnTo>
                    <a:pt x="50" y="290"/>
                  </a:lnTo>
                  <a:lnTo>
                    <a:pt x="42" y="292"/>
                  </a:lnTo>
                  <a:lnTo>
                    <a:pt x="36" y="296"/>
                  </a:lnTo>
                  <a:lnTo>
                    <a:pt x="32" y="304"/>
                  </a:lnTo>
                  <a:lnTo>
                    <a:pt x="32" y="312"/>
                  </a:lnTo>
                  <a:lnTo>
                    <a:pt x="32" y="312"/>
                  </a:lnTo>
                  <a:lnTo>
                    <a:pt x="32" y="320"/>
                  </a:lnTo>
                  <a:lnTo>
                    <a:pt x="38" y="328"/>
                  </a:lnTo>
                  <a:lnTo>
                    <a:pt x="44" y="332"/>
                  </a:lnTo>
                  <a:lnTo>
                    <a:pt x="54" y="334"/>
                  </a:lnTo>
                  <a:lnTo>
                    <a:pt x="76" y="334"/>
                  </a:lnTo>
                  <a:lnTo>
                    <a:pt x="76" y="334"/>
                  </a:lnTo>
                  <a:lnTo>
                    <a:pt x="76" y="334"/>
                  </a:lnTo>
                  <a:lnTo>
                    <a:pt x="106" y="334"/>
                  </a:lnTo>
                  <a:lnTo>
                    <a:pt x="106" y="334"/>
                  </a:lnTo>
                  <a:lnTo>
                    <a:pt x="114" y="332"/>
                  </a:lnTo>
                  <a:lnTo>
                    <a:pt x="120" y="328"/>
                  </a:lnTo>
                  <a:lnTo>
                    <a:pt x="120" y="328"/>
                  </a:lnTo>
                  <a:lnTo>
                    <a:pt x="124" y="322"/>
                  </a:lnTo>
                  <a:lnTo>
                    <a:pt x="124" y="314"/>
                  </a:lnTo>
                  <a:lnTo>
                    <a:pt x="124" y="314"/>
                  </a:lnTo>
                  <a:lnTo>
                    <a:pt x="122" y="310"/>
                  </a:lnTo>
                  <a:lnTo>
                    <a:pt x="122" y="310"/>
                  </a:lnTo>
                  <a:lnTo>
                    <a:pt x="122" y="306"/>
                  </a:lnTo>
                  <a:lnTo>
                    <a:pt x="124" y="304"/>
                  </a:lnTo>
                  <a:lnTo>
                    <a:pt x="126" y="300"/>
                  </a:lnTo>
                  <a:lnTo>
                    <a:pt x="130" y="300"/>
                  </a:lnTo>
                  <a:lnTo>
                    <a:pt x="130" y="300"/>
                  </a:lnTo>
                  <a:lnTo>
                    <a:pt x="138" y="296"/>
                  </a:lnTo>
                  <a:lnTo>
                    <a:pt x="144" y="292"/>
                  </a:lnTo>
                  <a:lnTo>
                    <a:pt x="150" y="286"/>
                  </a:lnTo>
                  <a:lnTo>
                    <a:pt x="152" y="280"/>
                  </a:lnTo>
                  <a:lnTo>
                    <a:pt x="152" y="280"/>
                  </a:lnTo>
                  <a:lnTo>
                    <a:pt x="154" y="274"/>
                  </a:lnTo>
                  <a:lnTo>
                    <a:pt x="154" y="268"/>
                  </a:lnTo>
                  <a:lnTo>
                    <a:pt x="152" y="260"/>
                  </a:lnTo>
                  <a:lnTo>
                    <a:pt x="146" y="252"/>
                  </a:lnTo>
                  <a:lnTo>
                    <a:pt x="146" y="252"/>
                  </a:lnTo>
                  <a:lnTo>
                    <a:pt x="144" y="248"/>
                  </a:lnTo>
                  <a:lnTo>
                    <a:pt x="144" y="244"/>
                  </a:lnTo>
                  <a:lnTo>
                    <a:pt x="144" y="244"/>
                  </a:lnTo>
                  <a:lnTo>
                    <a:pt x="146" y="236"/>
                  </a:lnTo>
                  <a:lnTo>
                    <a:pt x="152" y="232"/>
                  </a:lnTo>
                  <a:lnTo>
                    <a:pt x="152" y="232"/>
                  </a:lnTo>
                  <a:lnTo>
                    <a:pt x="158" y="228"/>
                  </a:lnTo>
                  <a:lnTo>
                    <a:pt x="162" y="222"/>
                  </a:lnTo>
                  <a:lnTo>
                    <a:pt x="164" y="216"/>
                  </a:lnTo>
                  <a:lnTo>
                    <a:pt x="164" y="210"/>
                  </a:lnTo>
                  <a:lnTo>
                    <a:pt x="164" y="210"/>
                  </a:lnTo>
                  <a:lnTo>
                    <a:pt x="160" y="202"/>
                  </a:lnTo>
                  <a:lnTo>
                    <a:pt x="154" y="196"/>
                  </a:lnTo>
                  <a:lnTo>
                    <a:pt x="154" y="196"/>
                  </a:lnTo>
                  <a:lnTo>
                    <a:pt x="152" y="194"/>
                  </a:lnTo>
                  <a:lnTo>
                    <a:pt x="152" y="194"/>
                  </a:lnTo>
                  <a:lnTo>
                    <a:pt x="152" y="194"/>
                  </a:lnTo>
                  <a:lnTo>
                    <a:pt x="152" y="194"/>
                  </a:lnTo>
                  <a:lnTo>
                    <a:pt x="150" y="190"/>
                  </a:lnTo>
                  <a:lnTo>
                    <a:pt x="148" y="188"/>
                  </a:lnTo>
                  <a:lnTo>
                    <a:pt x="148" y="184"/>
                  </a:lnTo>
                  <a:lnTo>
                    <a:pt x="150" y="180"/>
                  </a:lnTo>
                  <a:lnTo>
                    <a:pt x="150" y="180"/>
                  </a:lnTo>
                  <a:lnTo>
                    <a:pt x="154" y="174"/>
                  </a:lnTo>
                  <a:lnTo>
                    <a:pt x="156" y="170"/>
                  </a:lnTo>
                  <a:lnTo>
                    <a:pt x="156" y="164"/>
                  </a:lnTo>
                  <a:lnTo>
                    <a:pt x="156" y="158"/>
                  </a:lnTo>
                  <a:lnTo>
                    <a:pt x="156" y="158"/>
                  </a:lnTo>
                  <a:lnTo>
                    <a:pt x="154" y="154"/>
                  </a:lnTo>
                  <a:lnTo>
                    <a:pt x="156" y="150"/>
                  </a:lnTo>
                  <a:lnTo>
                    <a:pt x="158" y="146"/>
                  </a:lnTo>
                  <a:lnTo>
                    <a:pt x="162" y="144"/>
                  </a:lnTo>
                  <a:lnTo>
                    <a:pt x="162" y="144"/>
                  </a:lnTo>
                  <a:lnTo>
                    <a:pt x="166" y="144"/>
                  </a:lnTo>
                  <a:lnTo>
                    <a:pt x="170" y="146"/>
                  </a:lnTo>
                  <a:lnTo>
                    <a:pt x="172" y="148"/>
                  </a:lnTo>
                  <a:lnTo>
                    <a:pt x="174" y="152"/>
                  </a:lnTo>
                  <a:lnTo>
                    <a:pt x="174" y="152"/>
                  </a:lnTo>
                  <a:lnTo>
                    <a:pt x="176" y="158"/>
                  </a:lnTo>
                  <a:lnTo>
                    <a:pt x="176" y="166"/>
                  </a:lnTo>
                  <a:lnTo>
                    <a:pt x="172" y="180"/>
                  </a:lnTo>
                  <a:lnTo>
                    <a:pt x="172" y="180"/>
                  </a:lnTo>
                  <a:lnTo>
                    <a:pt x="182" y="190"/>
                  </a:lnTo>
                  <a:lnTo>
                    <a:pt x="186" y="204"/>
                  </a:lnTo>
                  <a:lnTo>
                    <a:pt x="186" y="204"/>
                  </a:lnTo>
                  <a:lnTo>
                    <a:pt x="188" y="214"/>
                  </a:lnTo>
                  <a:lnTo>
                    <a:pt x="186" y="226"/>
                  </a:lnTo>
                  <a:lnTo>
                    <a:pt x="182" y="236"/>
                  </a:lnTo>
                  <a:lnTo>
                    <a:pt x="176" y="244"/>
                  </a:lnTo>
                  <a:lnTo>
                    <a:pt x="176" y="244"/>
                  </a:lnTo>
                  <a:lnTo>
                    <a:pt x="174" y="246"/>
                  </a:lnTo>
                  <a:lnTo>
                    <a:pt x="172" y="250"/>
                  </a:lnTo>
                  <a:lnTo>
                    <a:pt x="172" y="258"/>
                  </a:lnTo>
                  <a:lnTo>
                    <a:pt x="172" y="258"/>
                  </a:lnTo>
                  <a:lnTo>
                    <a:pt x="174" y="272"/>
                  </a:lnTo>
                  <a:lnTo>
                    <a:pt x="174" y="272"/>
                  </a:lnTo>
                  <a:lnTo>
                    <a:pt x="172" y="282"/>
                  </a:lnTo>
                  <a:lnTo>
                    <a:pt x="172" y="282"/>
                  </a:lnTo>
                  <a:lnTo>
                    <a:pt x="174" y="292"/>
                  </a:lnTo>
                  <a:lnTo>
                    <a:pt x="174" y="300"/>
                  </a:lnTo>
                  <a:lnTo>
                    <a:pt x="174" y="300"/>
                  </a:lnTo>
                  <a:lnTo>
                    <a:pt x="170" y="306"/>
                  </a:lnTo>
                  <a:lnTo>
                    <a:pt x="166" y="308"/>
                  </a:lnTo>
                  <a:lnTo>
                    <a:pt x="166" y="308"/>
                  </a:lnTo>
                  <a:lnTo>
                    <a:pt x="158" y="310"/>
                  </a:lnTo>
                  <a:lnTo>
                    <a:pt x="150" y="314"/>
                  </a:lnTo>
                  <a:lnTo>
                    <a:pt x="144" y="320"/>
                  </a:lnTo>
                  <a:lnTo>
                    <a:pt x="138" y="328"/>
                  </a:lnTo>
                  <a:lnTo>
                    <a:pt x="138" y="328"/>
                  </a:lnTo>
                  <a:lnTo>
                    <a:pt x="138" y="328"/>
                  </a:lnTo>
                  <a:lnTo>
                    <a:pt x="138" y="328"/>
                  </a:lnTo>
                  <a:lnTo>
                    <a:pt x="132" y="338"/>
                  </a:lnTo>
                  <a:lnTo>
                    <a:pt x="132" y="338"/>
                  </a:lnTo>
                  <a:lnTo>
                    <a:pt x="126" y="344"/>
                  </a:lnTo>
                  <a:lnTo>
                    <a:pt x="118" y="348"/>
                  </a:lnTo>
                  <a:lnTo>
                    <a:pt x="118" y="348"/>
                  </a:lnTo>
                  <a:lnTo>
                    <a:pt x="136" y="354"/>
                  </a:lnTo>
                  <a:lnTo>
                    <a:pt x="156" y="354"/>
                  </a:lnTo>
                  <a:lnTo>
                    <a:pt x="156" y="354"/>
                  </a:lnTo>
                  <a:lnTo>
                    <a:pt x="170" y="354"/>
                  </a:lnTo>
                  <a:lnTo>
                    <a:pt x="182" y="352"/>
                  </a:lnTo>
                  <a:lnTo>
                    <a:pt x="192" y="348"/>
                  </a:lnTo>
                  <a:lnTo>
                    <a:pt x="204" y="344"/>
                  </a:lnTo>
                  <a:lnTo>
                    <a:pt x="224" y="334"/>
                  </a:lnTo>
                  <a:lnTo>
                    <a:pt x="242" y="318"/>
                  </a:lnTo>
                  <a:lnTo>
                    <a:pt x="274" y="31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02" name="Group 101">
            <a:extLst>
              <a:ext uri="{FF2B5EF4-FFF2-40B4-BE49-F238E27FC236}">
                <a16:creationId xmlns:a16="http://schemas.microsoft.com/office/drawing/2014/main" id="{3CDAEB0D-75AD-4996-94D3-7A0F200BB86A}"/>
              </a:ext>
            </a:extLst>
          </p:cNvPr>
          <p:cNvGrpSpPr/>
          <p:nvPr/>
        </p:nvGrpSpPr>
        <p:grpSpPr>
          <a:xfrm>
            <a:off x="5409433" y="1520049"/>
            <a:ext cx="612000" cy="612000"/>
            <a:chOff x="4974643" y="2258092"/>
            <a:chExt cx="612000" cy="612000"/>
          </a:xfrm>
        </p:grpSpPr>
        <p:sp>
          <p:nvSpPr>
            <p:cNvPr id="103" name="Oval 102">
              <a:extLst>
                <a:ext uri="{FF2B5EF4-FFF2-40B4-BE49-F238E27FC236}">
                  <a16:creationId xmlns:a16="http://schemas.microsoft.com/office/drawing/2014/main" id="{D0AECF9D-5A65-4947-A7AF-EF39F08196E9}"/>
                </a:ext>
              </a:extLst>
            </p:cNvPr>
            <p:cNvSpPr/>
            <p:nvPr/>
          </p:nvSpPr>
          <p:spPr bwMode="ltGray">
            <a:xfrm>
              <a:off x="4974643"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04" name="Freeform 4972">
              <a:extLst>
                <a:ext uri="{FF2B5EF4-FFF2-40B4-BE49-F238E27FC236}">
                  <a16:creationId xmlns:a16="http://schemas.microsoft.com/office/drawing/2014/main" id="{5194D45F-6B93-46E4-AE70-9927533C30A9}"/>
                </a:ext>
              </a:extLst>
            </p:cNvPr>
            <p:cNvSpPr>
              <a:spLocks noEditPoints="1"/>
            </p:cNvSpPr>
            <p:nvPr/>
          </p:nvSpPr>
          <p:spPr bwMode="auto">
            <a:xfrm>
              <a:off x="5044550" y="2383510"/>
              <a:ext cx="472186" cy="399912"/>
            </a:xfrm>
            <a:custGeom>
              <a:avLst/>
              <a:gdLst>
                <a:gd name="T0" fmla="*/ 314 w 392"/>
                <a:gd name="T1" fmla="*/ 116 h 332"/>
                <a:gd name="T2" fmla="*/ 342 w 392"/>
                <a:gd name="T3" fmla="*/ 64 h 332"/>
                <a:gd name="T4" fmla="*/ 342 w 392"/>
                <a:gd name="T5" fmla="*/ 58 h 332"/>
                <a:gd name="T6" fmla="*/ 340 w 392"/>
                <a:gd name="T7" fmla="*/ 56 h 332"/>
                <a:gd name="T8" fmla="*/ 224 w 392"/>
                <a:gd name="T9" fmla="*/ 0 h 332"/>
                <a:gd name="T10" fmla="*/ 220 w 392"/>
                <a:gd name="T11" fmla="*/ 0 h 332"/>
                <a:gd name="T12" fmla="*/ 188 w 392"/>
                <a:gd name="T13" fmla="*/ 52 h 332"/>
                <a:gd name="T14" fmla="*/ 160 w 392"/>
                <a:gd name="T15" fmla="*/ 4 h 332"/>
                <a:gd name="T16" fmla="*/ 150 w 392"/>
                <a:gd name="T17" fmla="*/ 0 h 332"/>
                <a:gd name="T18" fmla="*/ 38 w 392"/>
                <a:gd name="T19" fmla="*/ 54 h 332"/>
                <a:gd name="T20" fmla="*/ 32 w 392"/>
                <a:gd name="T21" fmla="*/ 58 h 332"/>
                <a:gd name="T22" fmla="*/ 32 w 392"/>
                <a:gd name="T23" fmla="*/ 62 h 332"/>
                <a:gd name="T24" fmla="*/ 62 w 392"/>
                <a:gd name="T25" fmla="*/ 116 h 332"/>
                <a:gd name="T26" fmla="*/ 6 w 392"/>
                <a:gd name="T27" fmla="*/ 122 h 332"/>
                <a:gd name="T28" fmla="*/ 0 w 392"/>
                <a:gd name="T29" fmla="*/ 128 h 332"/>
                <a:gd name="T30" fmla="*/ 0 w 392"/>
                <a:gd name="T31" fmla="*/ 134 h 332"/>
                <a:gd name="T32" fmla="*/ 66 w 392"/>
                <a:gd name="T33" fmla="*/ 166 h 332"/>
                <a:gd name="T34" fmla="*/ 66 w 392"/>
                <a:gd name="T35" fmla="*/ 270 h 332"/>
                <a:gd name="T36" fmla="*/ 72 w 392"/>
                <a:gd name="T37" fmla="*/ 276 h 332"/>
                <a:gd name="T38" fmla="*/ 184 w 392"/>
                <a:gd name="T39" fmla="*/ 330 h 332"/>
                <a:gd name="T40" fmla="*/ 184 w 392"/>
                <a:gd name="T41" fmla="*/ 330 h 332"/>
                <a:gd name="T42" fmla="*/ 188 w 392"/>
                <a:gd name="T43" fmla="*/ 332 h 332"/>
                <a:gd name="T44" fmla="*/ 190 w 392"/>
                <a:gd name="T45" fmla="*/ 330 h 332"/>
                <a:gd name="T46" fmla="*/ 304 w 392"/>
                <a:gd name="T47" fmla="*/ 276 h 332"/>
                <a:gd name="T48" fmla="*/ 308 w 392"/>
                <a:gd name="T49" fmla="*/ 274 h 332"/>
                <a:gd name="T50" fmla="*/ 308 w 392"/>
                <a:gd name="T51" fmla="*/ 178 h 332"/>
                <a:gd name="T52" fmla="*/ 388 w 392"/>
                <a:gd name="T53" fmla="*/ 140 h 332"/>
                <a:gd name="T54" fmla="*/ 392 w 392"/>
                <a:gd name="T55" fmla="*/ 132 h 332"/>
                <a:gd name="T56" fmla="*/ 390 w 392"/>
                <a:gd name="T57" fmla="*/ 128 h 332"/>
                <a:gd name="T58" fmla="*/ 386 w 392"/>
                <a:gd name="T59" fmla="*/ 126 h 332"/>
                <a:gd name="T60" fmla="*/ 324 w 392"/>
                <a:gd name="T61" fmla="*/ 64 h 332"/>
                <a:gd name="T62" fmla="*/ 198 w 392"/>
                <a:gd name="T63" fmla="*/ 66 h 332"/>
                <a:gd name="T64" fmla="*/ 180 w 392"/>
                <a:gd name="T65" fmla="*/ 310 h 332"/>
                <a:gd name="T66" fmla="*/ 82 w 392"/>
                <a:gd name="T67" fmla="*/ 174 h 332"/>
                <a:gd name="T68" fmla="*/ 118 w 392"/>
                <a:gd name="T69" fmla="*/ 190 h 332"/>
                <a:gd name="T70" fmla="*/ 120 w 392"/>
                <a:gd name="T71" fmla="*/ 190 h 332"/>
                <a:gd name="T72" fmla="*/ 180 w 392"/>
                <a:gd name="T73" fmla="*/ 184 h 332"/>
                <a:gd name="T74" fmla="*/ 188 w 392"/>
                <a:gd name="T75" fmla="*/ 166 h 332"/>
                <a:gd name="T76" fmla="*/ 188 w 392"/>
                <a:gd name="T77" fmla="*/ 78 h 332"/>
                <a:gd name="T78" fmla="*/ 188 w 392"/>
                <a:gd name="T79" fmla="*/ 166 h 332"/>
                <a:gd name="T80" fmla="*/ 262 w 392"/>
                <a:gd name="T81" fmla="*/ 236 h 332"/>
                <a:gd name="T82" fmla="*/ 262 w 392"/>
                <a:gd name="T83" fmla="*/ 278 h 332"/>
                <a:gd name="T84" fmla="*/ 260 w 392"/>
                <a:gd name="T85" fmla="*/ 284 h 332"/>
                <a:gd name="T86" fmla="*/ 254 w 392"/>
                <a:gd name="T87" fmla="*/ 286 h 332"/>
                <a:gd name="T88" fmla="*/ 250 w 392"/>
                <a:gd name="T89" fmla="*/ 286 h 332"/>
                <a:gd name="T90" fmla="*/ 246 w 392"/>
                <a:gd name="T91" fmla="*/ 282 h 332"/>
                <a:gd name="T92" fmla="*/ 246 w 392"/>
                <a:gd name="T93" fmla="*/ 240 h 332"/>
                <a:gd name="T94" fmla="*/ 238 w 392"/>
                <a:gd name="T95" fmla="*/ 244 h 332"/>
                <a:gd name="T96" fmla="*/ 236 w 392"/>
                <a:gd name="T97" fmla="*/ 244 h 332"/>
                <a:gd name="T98" fmla="*/ 228 w 392"/>
                <a:gd name="T99" fmla="*/ 240 h 332"/>
                <a:gd name="T100" fmla="*/ 228 w 392"/>
                <a:gd name="T101" fmla="*/ 236 h 332"/>
                <a:gd name="T102" fmla="*/ 248 w 392"/>
                <a:gd name="T103" fmla="*/ 210 h 332"/>
                <a:gd name="T104" fmla="*/ 252 w 392"/>
                <a:gd name="T105" fmla="*/ 206 h 332"/>
                <a:gd name="T106" fmla="*/ 274 w 392"/>
                <a:gd name="T107" fmla="*/ 216 h 332"/>
                <a:gd name="T108" fmla="*/ 278 w 392"/>
                <a:gd name="T109" fmla="*/ 220 h 332"/>
                <a:gd name="T110" fmla="*/ 278 w 392"/>
                <a:gd name="T111" fmla="*/ 224 h 332"/>
                <a:gd name="T112" fmla="*/ 272 w 392"/>
                <a:gd name="T113" fmla="*/ 232 h 332"/>
                <a:gd name="T114" fmla="*/ 308 w 392"/>
                <a:gd name="T115" fmla="*/ 160 h 332"/>
                <a:gd name="T116" fmla="*/ 270 w 392"/>
                <a:gd name="T117" fmla="*/ 178 h 332"/>
                <a:gd name="T118" fmla="*/ 302 w 392"/>
                <a:gd name="T119" fmla="*/ 130 h 332"/>
                <a:gd name="T120" fmla="*/ 308 w 392"/>
                <a:gd name="T121" fmla="*/ 132 h 332"/>
                <a:gd name="T122" fmla="*/ 308 w 392"/>
                <a:gd name="T123" fmla="*/ 160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2" h="332">
                  <a:moveTo>
                    <a:pt x="386" y="126"/>
                  </a:moveTo>
                  <a:lnTo>
                    <a:pt x="314" y="116"/>
                  </a:lnTo>
                  <a:lnTo>
                    <a:pt x="342" y="64"/>
                  </a:lnTo>
                  <a:lnTo>
                    <a:pt x="342" y="64"/>
                  </a:lnTo>
                  <a:lnTo>
                    <a:pt x="342" y="62"/>
                  </a:lnTo>
                  <a:lnTo>
                    <a:pt x="342" y="58"/>
                  </a:lnTo>
                  <a:lnTo>
                    <a:pt x="342" y="58"/>
                  </a:lnTo>
                  <a:lnTo>
                    <a:pt x="340" y="56"/>
                  </a:lnTo>
                  <a:lnTo>
                    <a:pt x="338" y="54"/>
                  </a:lnTo>
                  <a:lnTo>
                    <a:pt x="224" y="0"/>
                  </a:lnTo>
                  <a:lnTo>
                    <a:pt x="224" y="0"/>
                  </a:lnTo>
                  <a:lnTo>
                    <a:pt x="220" y="0"/>
                  </a:lnTo>
                  <a:lnTo>
                    <a:pt x="214" y="4"/>
                  </a:lnTo>
                  <a:lnTo>
                    <a:pt x="188" y="52"/>
                  </a:lnTo>
                  <a:lnTo>
                    <a:pt x="160" y="4"/>
                  </a:lnTo>
                  <a:lnTo>
                    <a:pt x="160" y="4"/>
                  </a:lnTo>
                  <a:lnTo>
                    <a:pt x="156" y="0"/>
                  </a:lnTo>
                  <a:lnTo>
                    <a:pt x="150" y="0"/>
                  </a:lnTo>
                  <a:lnTo>
                    <a:pt x="38" y="54"/>
                  </a:lnTo>
                  <a:lnTo>
                    <a:pt x="38" y="54"/>
                  </a:lnTo>
                  <a:lnTo>
                    <a:pt x="34" y="56"/>
                  </a:lnTo>
                  <a:lnTo>
                    <a:pt x="32" y="58"/>
                  </a:lnTo>
                  <a:lnTo>
                    <a:pt x="32" y="58"/>
                  </a:lnTo>
                  <a:lnTo>
                    <a:pt x="32" y="62"/>
                  </a:lnTo>
                  <a:lnTo>
                    <a:pt x="34" y="64"/>
                  </a:lnTo>
                  <a:lnTo>
                    <a:pt x="62" y="116"/>
                  </a:lnTo>
                  <a:lnTo>
                    <a:pt x="6" y="122"/>
                  </a:lnTo>
                  <a:lnTo>
                    <a:pt x="6" y="122"/>
                  </a:lnTo>
                  <a:lnTo>
                    <a:pt x="2" y="124"/>
                  </a:lnTo>
                  <a:lnTo>
                    <a:pt x="0" y="128"/>
                  </a:lnTo>
                  <a:lnTo>
                    <a:pt x="0" y="128"/>
                  </a:lnTo>
                  <a:lnTo>
                    <a:pt x="0" y="134"/>
                  </a:lnTo>
                  <a:lnTo>
                    <a:pt x="4" y="136"/>
                  </a:lnTo>
                  <a:lnTo>
                    <a:pt x="66" y="166"/>
                  </a:lnTo>
                  <a:lnTo>
                    <a:pt x="66" y="270"/>
                  </a:lnTo>
                  <a:lnTo>
                    <a:pt x="66" y="270"/>
                  </a:lnTo>
                  <a:lnTo>
                    <a:pt x="68" y="274"/>
                  </a:lnTo>
                  <a:lnTo>
                    <a:pt x="72" y="276"/>
                  </a:lnTo>
                  <a:lnTo>
                    <a:pt x="184" y="330"/>
                  </a:lnTo>
                  <a:lnTo>
                    <a:pt x="184" y="330"/>
                  </a:lnTo>
                  <a:lnTo>
                    <a:pt x="184" y="330"/>
                  </a:lnTo>
                  <a:lnTo>
                    <a:pt x="184" y="330"/>
                  </a:lnTo>
                  <a:lnTo>
                    <a:pt x="188" y="332"/>
                  </a:lnTo>
                  <a:lnTo>
                    <a:pt x="188" y="332"/>
                  </a:lnTo>
                  <a:lnTo>
                    <a:pt x="190" y="330"/>
                  </a:lnTo>
                  <a:lnTo>
                    <a:pt x="190" y="330"/>
                  </a:lnTo>
                  <a:lnTo>
                    <a:pt x="190" y="330"/>
                  </a:lnTo>
                  <a:lnTo>
                    <a:pt x="304" y="276"/>
                  </a:lnTo>
                  <a:lnTo>
                    <a:pt x="304" y="276"/>
                  </a:lnTo>
                  <a:lnTo>
                    <a:pt x="308" y="274"/>
                  </a:lnTo>
                  <a:lnTo>
                    <a:pt x="308" y="270"/>
                  </a:lnTo>
                  <a:lnTo>
                    <a:pt x="308" y="178"/>
                  </a:lnTo>
                  <a:lnTo>
                    <a:pt x="388" y="140"/>
                  </a:lnTo>
                  <a:lnTo>
                    <a:pt x="388" y="140"/>
                  </a:lnTo>
                  <a:lnTo>
                    <a:pt x="392" y="138"/>
                  </a:lnTo>
                  <a:lnTo>
                    <a:pt x="392" y="132"/>
                  </a:lnTo>
                  <a:lnTo>
                    <a:pt x="392" y="132"/>
                  </a:lnTo>
                  <a:lnTo>
                    <a:pt x="390" y="128"/>
                  </a:lnTo>
                  <a:lnTo>
                    <a:pt x="386" y="126"/>
                  </a:lnTo>
                  <a:lnTo>
                    <a:pt x="386" y="126"/>
                  </a:lnTo>
                  <a:close/>
                  <a:moveTo>
                    <a:pt x="224" y="18"/>
                  </a:moveTo>
                  <a:lnTo>
                    <a:pt x="324" y="64"/>
                  </a:lnTo>
                  <a:lnTo>
                    <a:pt x="298" y="112"/>
                  </a:lnTo>
                  <a:lnTo>
                    <a:pt x="198" y="66"/>
                  </a:lnTo>
                  <a:lnTo>
                    <a:pt x="224" y="18"/>
                  </a:lnTo>
                  <a:close/>
                  <a:moveTo>
                    <a:pt x="180" y="310"/>
                  </a:moveTo>
                  <a:lnTo>
                    <a:pt x="82" y="264"/>
                  </a:lnTo>
                  <a:lnTo>
                    <a:pt x="82" y="174"/>
                  </a:lnTo>
                  <a:lnTo>
                    <a:pt x="118" y="190"/>
                  </a:lnTo>
                  <a:lnTo>
                    <a:pt x="118" y="190"/>
                  </a:lnTo>
                  <a:lnTo>
                    <a:pt x="120" y="190"/>
                  </a:lnTo>
                  <a:lnTo>
                    <a:pt x="120" y="190"/>
                  </a:lnTo>
                  <a:lnTo>
                    <a:pt x="122" y="190"/>
                  </a:lnTo>
                  <a:lnTo>
                    <a:pt x="180" y="184"/>
                  </a:lnTo>
                  <a:lnTo>
                    <a:pt x="180" y="310"/>
                  </a:lnTo>
                  <a:close/>
                  <a:moveTo>
                    <a:pt x="188" y="166"/>
                  </a:moveTo>
                  <a:lnTo>
                    <a:pt x="94" y="122"/>
                  </a:lnTo>
                  <a:lnTo>
                    <a:pt x="188" y="78"/>
                  </a:lnTo>
                  <a:lnTo>
                    <a:pt x="282" y="122"/>
                  </a:lnTo>
                  <a:lnTo>
                    <a:pt x="188" y="166"/>
                  </a:lnTo>
                  <a:close/>
                  <a:moveTo>
                    <a:pt x="272" y="232"/>
                  </a:moveTo>
                  <a:lnTo>
                    <a:pt x="262" y="236"/>
                  </a:lnTo>
                  <a:lnTo>
                    <a:pt x="262" y="278"/>
                  </a:lnTo>
                  <a:lnTo>
                    <a:pt x="262" y="278"/>
                  </a:lnTo>
                  <a:lnTo>
                    <a:pt x="260" y="282"/>
                  </a:lnTo>
                  <a:lnTo>
                    <a:pt x="260" y="284"/>
                  </a:lnTo>
                  <a:lnTo>
                    <a:pt x="256" y="286"/>
                  </a:lnTo>
                  <a:lnTo>
                    <a:pt x="254" y="286"/>
                  </a:lnTo>
                  <a:lnTo>
                    <a:pt x="254" y="286"/>
                  </a:lnTo>
                  <a:lnTo>
                    <a:pt x="250" y="286"/>
                  </a:lnTo>
                  <a:lnTo>
                    <a:pt x="248" y="284"/>
                  </a:lnTo>
                  <a:lnTo>
                    <a:pt x="246" y="282"/>
                  </a:lnTo>
                  <a:lnTo>
                    <a:pt x="246" y="278"/>
                  </a:lnTo>
                  <a:lnTo>
                    <a:pt x="246" y="240"/>
                  </a:lnTo>
                  <a:lnTo>
                    <a:pt x="238" y="244"/>
                  </a:lnTo>
                  <a:lnTo>
                    <a:pt x="238" y="244"/>
                  </a:lnTo>
                  <a:lnTo>
                    <a:pt x="236" y="244"/>
                  </a:lnTo>
                  <a:lnTo>
                    <a:pt x="236" y="244"/>
                  </a:lnTo>
                  <a:lnTo>
                    <a:pt x="232" y="242"/>
                  </a:lnTo>
                  <a:lnTo>
                    <a:pt x="228" y="240"/>
                  </a:lnTo>
                  <a:lnTo>
                    <a:pt x="228" y="240"/>
                  </a:lnTo>
                  <a:lnTo>
                    <a:pt x="228" y="236"/>
                  </a:lnTo>
                  <a:lnTo>
                    <a:pt x="230" y="230"/>
                  </a:lnTo>
                  <a:lnTo>
                    <a:pt x="248" y="210"/>
                  </a:lnTo>
                  <a:lnTo>
                    <a:pt x="248" y="210"/>
                  </a:lnTo>
                  <a:lnTo>
                    <a:pt x="252" y="206"/>
                  </a:lnTo>
                  <a:lnTo>
                    <a:pt x="258" y="208"/>
                  </a:lnTo>
                  <a:lnTo>
                    <a:pt x="274" y="216"/>
                  </a:lnTo>
                  <a:lnTo>
                    <a:pt x="274" y="216"/>
                  </a:lnTo>
                  <a:lnTo>
                    <a:pt x="278" y="220"/>
                  </a:lnTo>
                  <a:lnTo>
                    <a:pt x="278" y="224"/>
                  </a:lnTo>
                  <a:lnTo>
                    <a:pt x="278" y="224"/>
                  </a:lnTo>
                  <a:lnTo>
                    <a:pt x="276" y="228"/>
                  </a:lnTo>
                  <a:lnTo>
                    <a:pt x="272" y="232"/>
                  </a:lnTo>
                  <a:lnTo>
                    <a:pt x="272" y="232"/>
                  </a:lnTo>
                  <a:close/>
                  <a:moveTo>
                    <a:pt x="308" y="160"/>
                  </a:moveTo>
                  <a:lnTo>
                    <a:pt x="308" y="160"/>
                  </a:lnTo>
                  <a:lnTo>
                    <a:pt x="270" y="178"/>
                  </a:lnTo>
                  <a:lnTo>
                    <a:pt x="216" y="172"/>
                  </a:lnTo>
                  <a:lnTo>
                    <a:pt x="302" y="130"/>
                  </a:lnTo>
                  <a:lnTo>
                    <a:pt x="308" y="132"/>
                  </a:lnTo>
                  <a:lnTo>
                    <a:pt x="308" y="132"/>
                  </a:lnTo>
                  <a:lnTo>
                    <a:pt x="356" y="138"/>
                  </a:lnTo>
                  <a:lnTo>
                    <a:pt x="308" y="16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05" name="Group 104">
            <a:extLst>
              <a:ext uri="{FF2B5EF4-FFF2-40B4-BE49-F238E27FC236}">
                <a16:creationId xmlns:a16="http://schemas.microsoft.com/office/drawing/2014/main" id="{920C6466-F329-48DB-B7E5-390ED51D8E73}"/>
              </a:ext>
            </a:extLst>
          </p:cNvPr>
          <p:cNvGrpSpPr/>
          <p:nvPr/>
        </p:nvGrpSpPr>
        <p:grpSpPr>
          <a:xfrm>
            <a:off x="7171331" y="1520049"/>
            <a:ext cx="612000" cy="612000"/>
            <a:chOff x="6715798" y="2258092"/>
            <a:chExt cx="612000" cy="612000"/>
          </a:xfrm>
        </p:grpSpPr>
        <p:sp>
          <p:nvSpPr>
            <p:cNvPr id="106" name="Oval 105">
              <a:extLst>
                <a:ext uri="{FF2B5EF4-FFF2-40B4-BE49-F238E27FC236}">
                  <a16:creationId xmlns:a16="http://schemas.microsoft.com/office/drawing/2014/main" id="{3211875F-DF07-4EC6-8F31-4DF050DB6498}"/>
                </a:ext>
              </a:extLst>
            </p:cNvPr>
            <p:cNvSpPr/>
            <p:nvPr/>
          </p:nvSpPr>
          <p:spPr bwMode="ltGray">
            <a:xfrm>
              <a:off x="6715798"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07" name="Freeform 4973">
              <a:extLst>
                <a:ext uri="{FF2B5EF4-FFF2-40B4-BE49-F238E27FC236}">
                  <a16:creationId xmlns:a16="http://schemas.microsoft.com/office/drawing/2014/main" id="{3D770526-77B3-4F12-B967-34AAA3539653}"/>
                </a:ext>
              </a:extLst>
            </p:cNvPr>
            <p:cNvSpPr>
              <a:spLocks noEditPoints="1"/>
            </p:cNvSpPr>
            <p:nvPr/>
          </p:nvSpPr>
          <p:spPr bwMode="auto">
            <a:xfrm>
              <a:off x="6838706" y="2369055"/>
              <a:ext cx="366185" cy="426413"/>
            </a:xfrm>
            <a:custGeom>
              <a:avLst/>
              <a:gdLst>
                <a:gd name="T0" fmla="*/ 156 w 304"/>
                <a:gd name="T1" fmla="*/ 0 h 354"/>
                <a:gd name="T2" fmla="*/ 154 w 304"/>
                <a:gd name="T3" fmla="*/ 0 h 354"/>
                <a:gd name="T4" fmla="*/ 154 w 304"/>
                <a:gd name="T5" fmla="*/ 0 h 354"/>
                <a:gd name="T6" fmla="*/ 154 w 304"/>
                <a:gd name="T7" fmla="*/ 0 h 354"/>
                <a:gd name="T8" fmla="*/ 152 w 304"/>
                <a:gd name="T9" fmla="*/ 0 h 354"/>
                <a:gd name="T10" fmla="*/ 150 w 304"/>
                <a:gd name="T11" fmla="*/ 0 h 354"/>
                <a:gd name="T12" fmla="*/ 150 w 304"/>
                <a:gd name="T13" fmla="*/ 0 h 354"/>
                <a:gd name="T14" fmla="*/ 150 w 304"/>
                <a:gd name="T15" fmla="*/ 0 h 354"/>
                <a:gd name="T16" fmla="*/ 148 w 304"/>
                <a:gd name="T17" fmla="*/ 0 h 354"/>
                <a:gd name="T18" fmla="*/ 6 w 304"/>
                <a:gd name="T19" fmla="*/ 68 h 354"/>
                <a:gd name="T20" fmla="*/ 0 w 304"/>
                <a:gd name="T21" fmla="*/ 76 h 354"/>
                <a:gd name="T22" fmla="*/ 0 w 304"/>
                <a:gd name="T23" fmla="*/ 264 h 354"/>
                <a:gd name="T24" fmla="*/ 0 w 304"/>
                <a:gd name="T25" fmla="*/ 264 h 354"/>
                <a:gd name="T26" fmla="*/ 6 w 304"/>
                <a:gd name="T27" fmla="*/ 272 h 354"/>
                <a:gd name="T28" fmla="*/ 24 w 304"/>
                <a:gd name="T29" fmla="*/ 290 h 354"/>
                <a:gd name="T30" fmla="*/ 24 w 304"/>
                <a:gd name="T31" fmla="*/ 294 h 354"/>
                <a:gd name="T32" fmla="*/ 148 w 304"/>
                <a:gd name="T33" fmla="*/ 354 h 354"/>
                <a:gd name="T34" fmla="*/ 148 w 304"/>
                <a:gd name="T35" fmla="*/ 354 h 354"/>
                <a:gd name="T36" fmla="*/ 152 w 304"/>
                <a:gd name="T37" fmla="*/ 354 h 354"/>
                <a:gd name="T38" fmla="*/ 156 w 304"/>
                <a:gd name="T39" fmla="*/ 354 h 354"/>
                <a:gd name="T40" fmla="*/ 156 w 304"/>
                <a:gd name="T41" fmla="*/ 354 h 354"/>
                <a:gd name="T42" fmla="*/ 276 w 304"/>
                <a:gd name="T43" fmla="*/ 296 h 354"/>
                <a:gd name="T44" fmla="*/ 280 w 304"/>
                <a:gd name="T45" fmla="*/ 290 h 354"/>
                <a:gd name="T46" fmla="*/ 298 w 304"/>
                <a:gd name="T47" fmla="*/ 272 h 354"/>
                <a:gd name="T48" fmla="*/ 302 w 304"/>
                <a:gd name="T49" fmla="*/ 268 h 354"/>
                <a:gd name="T50" fmla="*/ 304 w 304"/>
                <a:gd name="T51" fmla="*/ 264 h 354"/>
                <a:gd name="T52" fmla="*/ 304 w 304"/>
                <a:gd name="T53" fmla="*/ 76 h 354"/>
                <a:gd name="T54" fmla="*/ 302 w 304"/>
                <a:gd name="T55" fmla="*/ 72 h 354"/>
                <a:gd name="T56" fmla="*/ 298 w 304"/>
                <a:gd name="T57" fmla="*/ 68 h 354"/>
                <a:gd name="T58" fmla="*/ 144 w 304"/>
                <a:gd name="T59" fmla="*/ 208 h 354"/>
                <a:gd name="T60" fmla="*/ 144 w 304"/>
                <a:gd name="T61" fmla="*/ 252 h 354"/>
                <a:gd name="T62" fmla="*/ 16 w 304"/>
                <a:gd name="T63" fmla="*/ 258 h 354"/>
                <a:gd name="T64" fmla="*/ 144 w 304"/>
                <a:gd name="T65" fmla="*/ 150 h 354"/>
                <a:gd name="T66" fmla="*/ 160 w 304"/>
                <a:gd name="T67" fmla="*/ 20 h 354"/>
                <a:gd name="T68" fmla="*/ 160 w 304"/>
                <a:gd name="T69" fmla="*/ 132 h 354"/>
                <a:gd name="T70" fmla="*/ 284 w 304"/>
                <a:gd name="T71" fmla="*/ 130 h 354"/>
                <a:gd name="T72" fmla="*/ 160 w 304"/>
                <a:gd name="T73" fmla="*/ 318 h 354"/>
                <a:gd name="T74" fmla="*/ 260 w 304"/>
                <a:gd name="T75" fmla="*/ 108 h 354"/>
                <a:gd name="T76" fmla="*/ 284 w 304"/>
                <a:gd name="T77" fmla="*/ 130 h 354"/>
                <a:gd name="T78" fmla="*/ 106 w 304"/>
                <a:gd name="T79" fmla="*/ 284 h 354"/>
                <a:gd name="T80" fmla="*/ 32 w 304"/>
                <a:gd name="T81" fmla="*/ 114 h 354"/>
                <a:gd name="T82" fmla="*/ 128 w 304"/>
                <a:gd name="T83" fmla="*/ 25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04" h="354">
                  <a:moveTo>
                    <a:pt x="298" y="68"/>
                  </a:moveTo>
                  <a:lnTo>
                    <a:pt x="156" y="0"/>
                  </a:lnTo>
                  <a:lnTo>
                    <a:pt x="156" y="0"/>
                  </a:lnTo>
                  <a:lnTo>
                    <a:pt x="154" y="0"/>
                  </a:lnTo>
                  <a:lnTo>
                    <a:pt x="154" y="0"/>
                  </a:lnTo>
                  <a:lnTo>
                    <a:pt x="154" y="0"/>
                  </a:lnTo>
                  <a:lnTo>
                    <a:pt x="154" y="0"/>
                  </a:lnTo>
                  <a:lnTo>
                    <a:pt x="154" y="0"/>
                  </a:lnTo>
                  <a:lnTo>
                    <a:pt x="154" y="0"/>
                  </a:lnTo>
                  <a:lnTo>
                    <a:pt x="152" y="0"/>
                  </a:lnTo>
                  <a:lnTo>
                    <a:pt x="152" y="0"/>
                  </a:lnTo>
                  <a:lnTo>
                    <a:pt x="150" y="0"/>
                  </a:lnTo>
                  <a:lnTo>
                    <a:pt x="150" y="0"/>
                  </a:lnTo>
                  <a:lnTo>
                    <a:pt x="150" y="0"/>
                  </a:lnTo>
                  <a:lnTo>
                    <a:pt x="150" y="0"/>
                  </a:lnTo>
                  <a:lnTo>
                    <a:pt x="150" y="0"/>
                  </a:lnTo>
                  <a:lnTo>
                    <a:pt x="150" y="0"/>
                  </a:lnTo>
                  <a:lnTo>
                    <a:pt x="148" y="0"/>
                  </a:lnTo>
                  <a:lnTo>
                    <a:pt x="6" y="68"/>
                  </a:lnTo>
                  <a:lnTo>
                    <a:pt x="6" y="68"/>
                  </a:lnTo>
                  <a:lnTo>
                    <a:pt x="2" y="72"/>
                  </a:lnTo>
                  <a:lnTo>
                    <a:pt x="0" y="76"/>
                  </a:lnTo>
                  <a:lnTo>
                    <a:pt x="0" y="76"/>
                  </a:lnTo>
                  <a:lnTo>
                    <a:pt x="0" y="264"/>
                  </a:lnTo>
                  <a:lnTo>
                    <a:pt x="0" y="264"/>
                  </a:lnTo>
                  <a:lnTo>
                    <a:pt x="0" y="264"/>
                  </a:lnTo>
                  <a:lnTo>
                    <a:pt x="2" y="268"/>
                  </a:lnTo>
                  <a:lnTo>
                    <a:pt x="6" y="272"/>
                  </a:lnTo>
                  <a:lnTo>
                    <a:pt x="24" y="280"/>
                  </a:lnTo>
                  <a:lnTo>
                    <a:pt x="24" y="290"/>
                  </a:lnTo>
                  <a:lnTo>
                    <a:pt x="24" y="290"/>
                  </a:lnTo>
                  <a:lnTo>
                    <a:pt x="24" y="294"/>
                  </a:lnTo>
                  <a:lnTo>
                    <a:pt x="28" y="296"/>
                  </a:lnTo>
                  <a:lnTo>
                    <a:pt x="148" y="354"/>
                  </a:lnTo>
                  <a:lnTo>
                    <a:pt x="148" y="354"/>
                  </a:lnTo>
                  <a:lnTo>
                    <a:pt x="148" y="354"/>
                  </a:lnTo>
                  <a:lnTo>
                    <a:pt x="148" y="354"/>
                  </a:lnTo>
                  <a:lnTo>
                    <a:pt x="152" y="354"/>
                  </a:lnTo>
                  <a:lnTo>
                    <a:pt x="152" y="354"/>
                  </a:lnTo>
                  <a:lnTo>
                    <a:pt x="156" y="354"/>
                  </a:lnTo>
                  <a:lnTo>
                    <a:pt x="156" y="354"/>
                  </a:lnTo>
                  <a:lnTo>
                    <a:pt x="156" y="354"/>
                  </a:lnTo>
                  <a:lnTo>
                    <a:pt x="276" y="296"/>
                  </a:lnTo>
                  <a:lnTo>
                    <a:pt x="276" y="296"/>
                  </a:lnTo>
                  <a:lnTo>
                    <a:pt x="280" y="294"/>
                  </a:lnTo>
                  <a:lnTo>
                    <a:pt x="280" y="290"/>
                  </a:lnTo>
                  <a:lnTo>
                    <a:pt x="280" y="280"/>
                  </a:lnTo>
                  <a:lnTo>
                    <a:pt x="298" y="272"/>
                  </a:lnTo>
                  <a:lnTo>
                    <a:pt x="298" y="272"/>
                  </a:lnTo>
                  <a:lnTo>
                    <a:pt x="302" y="268"/>
                  </a:lnTo>
                  <a:lnTo>
                    <a:pt x="304" y="264"/>
                  </a:lnTo>
                  <a:lnTo>
                    <a:pt x="304" y="264"/>
                  </a:lnTo>
                  <a:lnTo>
                    <a:pt x="304" y="76"/>
                  </a:lnTo>
                  <a:lnTo>
                    <a:pt x="304" y="76"/>
                  </a:lnTo>
                  <a:lnTo>
                    <a:pt x="304" y="76"/>
                  </a:lnTo>
                  <a:lnTo>
                    <a:pt x="302" y="72"/>
                  </a:lnTo>
                  <a:lnTo>
                    <a:pt x="298" y="68"/>
                  </a:lnTo>
                  <a:lnTo>
                    <a:pt x="298" y="68"/>
                  </a:lnTo>
                  <a:close/>
                  <a:moveTo>
                    <a:pt x="144" y="176"/>
                  </a:moveTo>
                  <a:lnTo>
                    <a:pt x="144" y="208"/>
                  </a:lnTo>
                  <a:lnTo>
                    <a:pt x="144" y="226"/>
                  </a:lnTo>
                  <a:lnTo>
                    <a:pt x="144" y="252"/>
                  </a:lnTo>
                  <a:lnTo>
                    <a:pt x="144" y="320"/>
                  </a:lnTo>
                  <a:lnTo>
                    <a:pt x="16" y="258"/>
                  </a:lnTo>
                  <a:lnTo>
                    <a:pt x="16" y="90"/>
                  </a:lnTo>
                  <a:lnTo>
                    <a:pt x="144" y="150"/>
                  </a:lnTo>
                  <a:lnTo>
                    <a:pt x="144" y="176"/>
                  </a:lnTo>
                  <a:close/>
                  <a:moveTo>
                    <a:pt x="160" y="20"/>
                  </a:moveTo>
                  <a:lnTo>
                    <a:pt x="278" y="76"/>
                  </a:lnTo>
                  <a:lnTo>
                    <a:pt x="160" y="132"/>
                  </a:lnTo>
                  <a:lnTo>
                    <a:pt x="160" y="20"/>
                  </a:lnTo>
                  <a:close/>
                  <a:moveTo>
                    <a:pt x="284" y="130"/>
                  </a:moveTo>
                  <a:lnTo>
                    <a:pt x="184" y="308"/>
                  </a:lnTo>
                  <a:lnTo>
                    <a:pt x="160" y="318"/>
                  </a:lnTo>
                  <a:lnTo>
                    <a:pt x="160" y="284"/>
                  </a:lnTo>
                  <a:lnTo>
                    <a:pt x="260" y="108"/>
                  </a:lnTo>
                  <a:lnTo>
                    <a:pt x="284" y="96"/>
                  </a:lnTo>
                  <a:lnTo>
                    <a:pt x="284" y="130"/>
                  </a:lnTo>
                  <a:close/>
                  <a:moveTo>
                    <a:pt x="128" y="294"/>
                  </a:moveTo>
                  <a:lnTo>
                    <a:pt x="106" y="284"/>
                  </a:lnTo>
                  <a:lnTo>
                    <a:pt x="32" y="150"/>
                  </a:lnTo>
                  <a:lnTo>
                    <a:pt x="32" y="114"/>
                  </a:lnTo>
                  <a:lnTo>
                    <a:pt x="54" y="124"/>
                  </a:lnTo>
                  <a:lnTo>
                    <a:pt x="128" y="256"/>
                  </a:lnTo>
                  <a:lnTo>
                    <a:pt x="128" y="29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08" name="Group 107">
            <a:extLst>
              <a:ext uri="{FF2B5EF4-FFF2-40B4-BE49-F238E27FC236}">
                <a16:creationId xmlns:a16="http://schemas.microsoft.com/office/drawing/2014/main" id="{7B88AA5C-FD9E-46A6-98C1-6F8CAB279811}"/>
              </a:ext>
            </a:extLst>
          </p:cNvPr>
          <p:cNvGrpSpPr/>
          <p:nvPr/>
        </p:nvGrpSpPr>
        <p:grpSpPr>
          <a:xfrm>
            <a:off x="8052280" y="1520049"/>
            <a:ext cx="612000" cy="612000"/>
            <a:chOff x="7573215" y="2258092"/>
            <a:chExt cx="612000" cy="612000"/>
          </a:xfrm>
        </p:grpSpPr>
        <p:sp>
          <p:nvSpPr>
            <p:cNvPr id="109" name="Oval 108">
              <a:extLst>
                <a:ext uri="{FF2B5EF4-FFF2-40B4-BE49-F238E27FC236}">
                  <a16:creationId xmlns:a16="http://schemas.microsoft.com/office/drawing/2014/main" id="{BD8D5955-8007-4B14-B192-B8F69007BE6F}"/>
                </a:ext>
              </a:extLst>
            </p:cNvPr>
            <p:cNvSpPr/>
            <p:nvPr/>
          </p:nvSpPr>
          <p:spPr bwMode="ltGray">
            <a:xfrm>
              <a:off x="7573215"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10" name="Freeform 4974">
              <a:extLst>
                <a:ext uri="{FF2B5EF4-FFF2-40B4-BE49-F238E27FC236}">
                  <a16:creationId xmlns:a16="http://schemas.microsoft.com/office/drawing/2014/main" id="{474B4821-B429-483F-9F4A-103ACCF24657}"/>
                </a:ext>
              </a:extLst>
            </p:cNvPr>
            <p:cNvSpPr>
              <a:spLocks noEditPoints="1"/>
            </p:cNvSpPr>
            <p:nvPr/>
          </p:nvSpPr>
          <p:spPr bwMode="auto">
            <a:xfrm>
              <a:off x="7635895" y="2438919"/>
              <a:ext cx="486641" cy="284275"/>
            </a:xfrm>
            <a:custGeom>
              <a:avLst/>
              <a:gdLst>
                <a:gd name="T0" fmla="*/ 160 w 404"/>
                <a:gd name="T1" fmla="*/ 0 h 236"/>
                <a:gd name="T2" fmla="*/ 226 w 404"/>
                <a:gd name="T3" fmla="*/ 66 h 236"/>
                <a:gd name="T4" fmla="*/ 124 w 404"/>
                <a:gd name="T5" fmla="*/ 86 h 236"/>
                <a:gd name="T6" fmla="*/ 58 w 404"/>
                <a:gd name="T7" fmla="*/ 20 h 236"/>
                <a:gd name="T8" fmla="*/ 58 w 404"/>
                <a:gd name="T9" fmla="*/ 20 h 236"/>
                <a:gd name="T10" fmla="*/ 282 w 404"/>
                <a:gd name="T11" fmla="*/ 0 h 236"/>
                <a:gd name="T12" fmla="*/ 74 w 404"/>
                <a:gd name="T13" fmla="*/ 196 h 236"/>
                <a:gd name="T14" fmla="*/ 44 w 404"/>
                <a:gd name="T15" fmla="*/ 190 h 236"/>
                <a:gd name="T16" fmla="*/ 38 w 404"/>
                <a:gd name="T17" fmla="*/ 162 h 236"/>
                <a:gd name="T18" fmla="*/ 50 w 404"/>
                <a:gd name="T19" fmla="*/ 170 h 236"/>
                <a:gd name="T20" fmla="*/ 58 w 404"/>
                <a:gd name="T21" fmla="*/ 166 h 236"/>
                <a:gd name="T22" fmla="*/ 58 w 404"/>
                <a:gd name="T23" fmla="*/ 152 h 236"/>
                <a:gd name="T24" fmla="*/ 68 w 404"/>
                <a:gd name="T25" fmla="*/ 146 h 236"/>
                <a:gd name="T26" fmla="*/ 88 w 404"/>
                <a:gd name="T27" fmla="*/ 162 h 236"/>
                <a:gd name="T28" fmla="*/ 82 w 404"/>
                <a:gd name="T29" fmla="*/ 190 h 236"/>
                <a:gd name="T30" fmla="*/ 230 w 404"/>
                <a:gd name="T31" fmla="*/ 172 h 236"/>
                <a:gd name="T32" fmla="*/ 202 w 404"/>
                <a:gd name="T33" fmla="*/ 198 h 236"/>
                <a:gd name="T34" fmla="*/ 178 w 404"/>
                <a:gd name="T35" fmla="*/ 182 h 236"/>
                <a:gd name="T36" fmla="*/ 182 w 404"/>
                <a:gd name="T37" fmla="*/ 152 h 236"/>
                <a:gd name="T38" fmla="*/ 212 w 404"/>
                <a:gd name="T39" fmla="*/ 146 h 236"/>
                <a:gd name="T40" fmla="*/ 204 w 404"/>
                <a:gd name="T41" fmla="*/ 160 h 236"/>
                <a:gd name="T42" fmla="*/ 210 w 404"/>
                <a:gd name="T43" fmla="*/ 168 h 236"/>
                <a:gd name="T44" fmla="*/ 222 w 404"/>
                <a:gd name="T45" fmla="*/ 166 h 236"/>
                <a:gd name="T46" fmla="*/ 340 w 404"/>
                <a:gd name="T47" fmla="*/ 198 h 236"/>
                <a:gd name="T48" fmla="*/ 316 w 404"/>
                <a:gd name="T49" fmla="*/ 182 h 236"/>
                <a:gd name="T50" fmla="*/ 322 w 404"/>
                <a:gd name="T51" fmla="*/ 152 h 236"/>
                <a:gd name="T52" fmla="*/ 352 w 404"/>
                <a:gd name="T53" fmla="*/ 146 h 236"/>
                <a:gd name="T54" fmla="*/ 368 w 404"/>
                <a:gd name="T55" fmla="*/ 172 h 236"/>
                <a:gd name="T56" fmla="*/ 358 w 404"/>
                <a:gd name="T57" fmla="*/ 176 h 236"/>
                <a:gd name="T58" fmla="*/ 346 w 404"/>
                <a:gd name="T59" fmla="*/ 178 h 236"/>
                <a:gd name="T60" fmla="*/ 346 w 404"/>
                <a:gd name="T61" fmla="*/ 192 h 236"/>
                <a:gd name="T62" fmla="*/ 282 w 404"/>
                <a:gd name="T63" fmla="*/ 236 h 236"/>
                <a:gd name="T64" fmla="*/ 272 w 404"/>
                <a:gd name="T65" fmla="*/ 226 h 236"/>
                <a:gd name="T66" fmla="*/ 278 w 404"/>
                <a:gd name="T67" fmla="*/ 216 h 236"/>
                <a:gd name="T68" fmla="*/ 350 w 404"/>
                <a:gd name="T69" fmla="*/ 214 h 236"/>
                <a:gd name="T70" fmla="*/ 378 w 404"/>
                <a:gd name="T71" fmla="*/ 196 h 236"/>
                <a:gd name="T72" fmla="*/ 384 w 404"/>
                <a:gd name="T73" fmla="*/ 172 h 236"/>
                <a:gd name="T74" fmla="*/ 372 w 404"/>
                <a:gd name="T75" fmla="*/ 140 h 236"/>
                <a:gd name="T76" fmla="*/ 340 w 404"/>
                <a:gd name="T77" fmla="*/ 128 h 236"/>
                <a:gd name="T78" fmla="*/ 150 w 404"/>
                <a:gd name="T79" fmla="*/ 124 h 236"/>
                <a:gd name="T80" fmla="*/ 148 w 404"/>
                <a:gd name="T81" fmla="*/ 114 h 236"/>
                <a:gd name="T82" fmla="*/ 340 w 404"/>
                <a:gd name="T83" fmla="*/ 108 h 236"/>
                <a:gd name="T84" fmla="*/ 376 w 404"/>
                <a:gd name="T85" fmla="*/ 118 h 236"/>
                <a:gd name="T86" fmla="*/ 404 w 404"/>
                <a:gd name="T87" fmla="*/ 158 h 236"/>
                <a:gd name="T88" fmla="*/ 400 w 404"/>
                <a:gd name="T89" fmla="*/ 196 h 236"/>
                <a:gd name="T90" fmla="*/ 366 w 404"/>
                <a:gd name="T91" fmla="*/ 230 h 236"/>
                <a:gd name="T92" fmla="*/ 246 w 404"/>
                <a:gd name="T93" fmla="*/ 236 h 236"/>
                <a:gd name="T94" fmla="*/ 38 w 404"/>
                <a:gd name="T95" fmla="*/ 230 h 236"/>
                <a:gd name="T96" fmla="*/ 4 w 404"/>
                <a:gd name="T97" fmla="*/ 196 h 236"/>
                <a:gd name="T98" fmla="*/ 0 w 404"/>
                <a:gd name="T99" fmla="*/ 158 h 236"/>
                <a:gd name="T100" fmla="*/ 28 w 404"/>
                <a:gd name="T101" fmla="*/ 118 h 236"/>
                <a:gd name="T102" fmla="*/ 122 w 404"/>
                <a:gd name="T103" fmla="*/ 108 h 236"/>
                <a:gd name="T104" fmla="*/ 130 w 404"/>
                <a:gd name="T105" fmla="*/ 114 h 236"/>
                <a:gd name="T106" fmla="*/ 128 w 404"/>
                <a:gd name="T107" fmla="*/ 124 h 236"/>
                <a:gd name="T108" fmla="*/ 64 w 404"/>
                <a:gd name="T109" fmla="*/ 128 h 236"/>
                <a:gd name="T110" fmla="*/ 32 w 404"/>
                <a:gd name="T111" fmla="*/ 140 h 236"/>
                <a:gd name="T112" fmla="*/ 20 w 404"/>
                <a:gd name="T113" fmla="*/ 172 h 236"/>
                <a:gd name="T114" fmla="*/ 26 w 404"/>
                <a:gd name="T115" fmla="*/ 196 h 236"/>
                <a:gd name="T116" fmla="*/ 54 w 404"/>
                <a:gd name="T117" fmla="*/ 214 h 236"/>
                <a:gd name="T118" fmla="*/ 250 w 404"/>
                <a:gd name="T119" fmla="*/ 216 h 236"/>
                <a:gd name="T120" fmla="*/ 256 w 404"/>
                <a:gd name="T121" fmla="*/ 226 h 236"/>
                <a:gd name="T122" fmla="*/ 246 w 404"/>
                <a:gd name="T123" fmla="*/ 236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04" h="236">
                  <a:moveTo>
                    <a:pt x="160" y="86"/>
                  </a:moveTo>
                  <a:lnTo>
                    <a:pt x="246" y="86"/>
                  </a:lnTo>
                  <a:lnTo>
                    <a:pt x="246" y="0"/>
                  </a:lnTo>
                  <a:lnTo>
                    <a:pt x="160" y="0"/>
                  </a:lnTo>
                  <a:lnTo>
                    <a:pt x="160" y="86"/>
                  </a:lnTo>
                  <a:close/>
                  <a:moveTo>
                    <a:pt x="180" y="20"/>
                  </a:moveTo>
                  <a:lnTo>
                    <a:pt x="226" y="20"/>
                  </a:lnTo>
                  <a:lnTo>
                    <a:pt x="226" y="66"/>
                  </a:lnTo>
                  <a:lnTo>
                    <a:pt x="180" y="66"/>
                  </a:lnTo>
                  <a:lnTo>
                    <a:pt x="180" y="20"/>
                  </a:lnTo>
                  <a:close/>
                  <a:moveTo>
                    <a:pt x="38" y="86"/>
                  </a:moveTo>
                  <a:lnTo>
                    <a:pt x="124" y="86"/>
                  </a:lnTo>
                  <a:lnTo>
                    <a:pt x="124" y="0"/>
                  </a:lnTo>
                  <a:lnTo>
                    <a:pt x="38" y="0"/>
                  </a:lnTo>
                  <a:lnTo>
                    <a:pt x="38" y="86"/>
                  </a:lnTo>
                  <a:close/>
                  <a:moveTo>
                    <a:pt x="58" y="20"/>
                  </a:moveTo>
                  <a:lnTo>
                    <a:pt x="104" y="20"/>
                  </a:lnTo>
                  <a:lnTo>
                    <a:pt x="104" y="66"/>
                  </a:lnTo>
                  <a:lnTo>
                    <a:pt x="58" y="66"/>
                  </a:lnTo>
                  <a:lnTo>
                    <a:pt x="58" y="20"/>
                  </a:lnTo>
                  <a:close/>
                  <a:moveTo>
                    <a:pt x="368" y="0"/>
                  </a:moveTo>
                  <a:lnTo>
                    <a:pt x="368" y="86"/>
                  </a:lnTo>
                  <a:lnTo>
                    <a:pt x="282" y="86"/>
                  </a:lnTo>
                  <a:lnTo>
                    <a:pt x="282" y="0"/>
                  </a:lnTo>
                  <a:lnTo>
                    <a:pt x="368" y="0"/>
                  </a:lnTo>
                  <a:close/>
                  <a:moveTo>
                    <a:pt x="82" y="190"/>
                  </a:moveTo>
                  <a:lnTo>
                    <a:pt x="82" y="190"/>
                  </a:lnTo>
                  <a:lnTo>
                    <a:pt x="74" y="196"/>
                  </a:lnTo>
                  <a:lnTo>
                    <a:pt x="64" y="198"/>
                  </a:lnTo>
                  <a:lnTo>
                    <a:pt x="54" y="196"/>
                  </a:lnTo>
                  <a:lnTo>
                    <a:pt x="44" y="190"/>
                  </a:lnTo>
                  <a:lnTo>
                    <a:pt x="44" y="190"/>
                  </a:lnTo>
                  <a:lnTo>
                    <a:pt x="40" y="184"/>
                  </a:lnTo>
                  <a:lnTo>
                    <a:pt x="36" y="176"/>
                  </a:lnTo>
                  <a:lnTo>
                    <a:pt x="36" y="168"/>
                  </a:lnTo>
                  <a:lnTo>
                    <a:pt x="38" y="162"/>
                  </a:lnTo>
                  <a:lnTo>
                    <a:pt x="44" y="166"/>
                  </a:lnTo>
                  <a:lnTo>
                    <a:pt x="44" y="166"/>
                  </a:lnTo>
                  <a:lnTo>
                    <a:pt x="46" y="168"/>
                  </a:lnTo>
                  <a:lnTo>
                    <a:pt x="50" y="170"/>
                  </a:lnTo>
                  <a:lnTo>
                    <a:pt x="50" y="170"/>
                  </a:lnTo>
                  <a:lnTo>
                    <a:pt x="54" y="168"/>
                  </a:lnTo>
                  <a:lnTo>
                    <a:pt x="58" y="166"/>
                  </a:lnTo>
                  <a:lnTo>
                    <a:pt x="58" y="166"/>
                  </a:lnTo>
                  <a:lnTo>
                    <a:pt x="60" y="162"/>
                  </a:lnTo>
                  <a:lnTo>
                    <a:pt x="60" y="160"/>
                  </a:lnTo>
                  <a:lnTo>
                    <a:pt x="60" y="156"/>
                  </a:lnTo>
                  <a:lnTo>
                    <a:pt x="58" y="152"/>
                  </a:lnTo>
                  <a:lnTo>
                    <a:pt x="52" y="148"/>
                  </a:lnTo>
                  <a:lnTo>
                    <a:pt x="52" y="148"/>
                  </a:lnTo>
                  <a:lnTo>
                    <a:pt x="60" y="144"/>
                  </a:lnTo>
                  <a:lnTo>
                    <a:pt x="68" y="146"/>
                  </a:lnTo>
                  <a:lnTo>
                    <a:pt x="76" y="148"/>
                  </a:lnTo>
                  <a:lnTo>
                    <a:pt x="82" y="152"/>
                  </a:lnTo>
                  <a:lnTo>
                    <a:pt x="82" y="152"/>
                  </a:lnTo>
                  <a:lnTo>
                    <a:pt x="88" y="162"/>
                  </a:lnTo>
                  <a:lnTo>
                    <a:pt x="90" y="172"/>
                  </a:lnTo>
                  <a:lnTo>
                    <a:pt x="88" y="182"/>
                  </a:lnTo>
                  <a:lnTo>
                    <a:pt x="82" y="190"/>
                  </a:lnTo>
                  <a:lnTo>
                    <a:pt x="82" y="190"/>
                  </a:lnTo>
                  <a:close/>
                  <a:moveTo>
                    <a:pt x="226" y="162"/>
                  </a:moveTo>
                  <a:lnTo>
                    <a:pt x="226" y="162"/>
                  </a:lnTo>
                  <a:lnTo>
                    <a:pt x="230" y="172"/>
                  </a:lnTo>
                  <a:lnTo>
                    <a:pt x="230" y="172"/>
                  </a:lnTo>
                  <a:lnTo>
                    <a:pt x="226" y="182"/>
                  </a:lnTo>
                  <a:lnTo>
                    <a:pt x="222" y="190"/>
                  </a:lnTo>
                  <a:lnTo>
                    <a:pt x="212" y="196"/>
                  </a:lnTo>
                  <a:lnTo>
                    <a:pt x="202" y="198"/>
                  </a:lnTo>
                  <a:lnTo>
                    <a:pt x="202" y="198"/>
                  </a:lnTo>
                  <a:lnTo>
                    <a:pt x="192" y="196"/>
                  </a:lnTo>
                  <a:lnTo>
                    <a:pt x="182" y="190"/>
                  </a:lnTo>
                  <a:lnTo>
                    <a:pt x="178" y="182"/>
                  </a:lnTo>
                  <a:lnTo>
                    <a:pt x="176" y="172"/>
                  </a:lnTo>
                  <a:lnTo>
                    <a:pt x="176" y="172"/>
                  </a:lnTo>
                  <a:lnTo>
                    <a:pt x="178" y="162"/>
                  </a:lnTo>
                  <a:lnTo>
                    <a:pt x="182" y="152"/>
                  </a:lnTo>
                  <a:lnTo>
                    <a:pt x="192" y="146"/>
                  </a:lnTo>
                  <a:lnTo>
                    <a:pt x="202" y="144"/>
                  </a:lnTo>
                  <a:lnTo>
                    <a:pt x="202" y="144"/>
                  </a:lnTo>
                  <a:lnTo>
                    <a:pt x="212" y="146"/>
                  </a:lnTo>
                  <a:lnTo>
                    <a:pt x="208" y="152"/>
                  </a:lnTo>
                  <a:lnTo>
                    <a:pt x="208" y="152"/>
                  </a:lnTo>
                  <a:lnTo>
                    <a:pt x="206" y="156"/>
                  </a:lnTo>
                  <a:lnTo>
                    <a:pt x="204" y="160"/>
                  </a:lnTo>
                  <a:lnTo>
                    <a:pt x="206" y="162"/>
                  </a:lnTo>
                  <a:lnTo>
                    <a:pt x="208" y="166"/>
                  </a:lnTo>
                  <a:lnTo>
                    <a:pt x="208" y="166"/>
                  </a:lnTo>
                  <a:lnTo>
                    <a:pt x="210" y="168"/>
                  </a:lnTo>
                  <a:lnTo>
                    <a:pt x="214" y="170"/>
                  </a:lnTo>
                  <a:lnTo>
                    <a:pt x="214" y="170"/>
                  </a:lnTo>
                  <a:lnTo>
                    <a:pt x="218" y="168"/>
                  </a:lnTo>
                  <a:lnTo>
                    <a:pt x="222" y="166"/>
                  </a:lnTo>
                  <a:lnTo>
                    <a:pt x="226" y="162"/>
                  </a:lnTo>
                  <a:close/>
                  <a:moveTo>
                    <a:pt x="352" y="196"/>
                  </a:moveTo>
                  <a:lnTo>
                    <a:pt x="352" y="196"/>
                  </a:lnTo>
                  <a:lnTo>
                    <a:pt x="340" y="198"/>
                  </a:lnTo>
                  <a:lnTo>
                    <a:pt x="340" y="198"/>
                  </a:lnTo>
                  <a:lnTo>
                    <a:pt x="330" y="196"/>
                  </a:lnTo>
                  <a:lnTo>
                    <a:pt x="322" y="190"/>
                  </a:lnTo>
                  <a:lnTo>
                    <a:pt x="316" y="182"/>
                  </a:lnTo>
                  <a:lnTo>
                    <a:pt x="314" y="172"/>
                  </a:lnTo>
                  <a:lnTo>
                    <a:pt x="314" y="172"/>
                  </a:lnTo>
                  <a:lnTo>
                    <a:pt x="316" y="162"/>
                  </a:lnTo>
                  <a:lnTo>
                    <a:pt x="322" y="152"/>
                  </a:lnTo>
                  <a:lnTo>
                    <a:pt x="330" y="146"/>
                  </a:lnTo>
                  <a:lnTo>
                    <a:pt x="340" y="144"/>
                  </a:lnTo>
                  <a:lnTo>
                    <a:pt x="340" y="144"/>
                  </a:lnTo>
                  <a:lnTo>
                    <a:pt x="352" y="146"/>
                  </a:lnTo>
                  <a:lnTo>
                    <a:pt x="360" y="152"/>
                  </a:lnTo>
                  <a:lnTo>
                    <a:pt x="366" y="162"/>
                  </a:lnTo>
                  <a:lnTo>
                    <a:pt x="368" y="172"/>
                  </a:lnTo>
                  <a:lnTo>
                    <a:pt x="368" y="172"/>
                  </a:lnTo>
                  <a:lnTo>
                    <a:pt x="366" y="182"/>
                  </a:lnTo>
                  <a:lnTo>
                    <a:pt x="360" y="178"/>
                  </a:lnTo>
                  <a:lnTo>
                    <a:pt x="360" y="178"/>
                  </a:lnTo>
                  <a:lnTo>
                    <a:pt x="358" y="176"/>
                  </a:lnTo>
                  <a:lnTo>
                    <a:pt x="354" y="174"/>
                  </a:lnTo>
                  <a:lnTo>
                    <a:pt x="350" y="176"/>
                  </a:lnTo>
                  <a:lnTo>
                    <a:pt x="346" y="178"/>
                  </a:lnTo>
                  <a:lnTo>
                    <a:pt x="346" y="178"/>
                  </a:lnTo>
                  <a:lnTo>
                    <a:pt x="344" y="180"/>
                  </a:lnTo>
                  <a:lnTo>
                    <a:pt x="344" y="184"/>
                  </a:lnTo>
                  <a:lnTo>
                    <a:pt x="344" y="188"/>
                  </a:lnTo>
                  <a:lnTo>
                    <a:pt x="346" y="192"/>
                  </a:lnTo>
                  <a:lnTo>
                    <a:pt x="352" y="196"/>
                  </a:lnTo>
                  <a:close/>
                  <a:moveTo>
                    <a:pt x="340" y="236"/>
                  </a:moveTo>
                  <a:lnTo>
                    <a:pt x="282" y="236"/>
                  </a:lnTo>
                  <a:lnTo>
                    <a:pt x="282" y="236"/>
                  </a:lnTo>
                  <a:lnTo>
                    <a:pt x="278" y="236"/>
                  </a:lnTo>
                  <a:lnTo>
                    <a:pt x="276" y="232"/>
                  </a:lnTo>
                  <a:lnTo>
                    <a:pt x="274" y="230"/>
                  </a:lnTo>
                  <a:lnTo>
                    <a:pt x="272" y="226"/>
                  </a:lnTo>
                  <a:lnTo>
                    <a:pt x="272" y="226"/>
                  </a:lnTo>
                  <a:lnTo>
                    <a:pt x="274" y="222"/>
                  </a:lnTo>
                  <a:lnTo>
                    <a:pt x="276" y="218"/>
                  </a:lnTo>
                  <a:lnTo>
                    <a:pt x="278" y="216"/>
                  </a:lnTo>
                  <a:lnTo>
                    <a:pt x="282" y="216"/>
                  </a:lnTo>
                  <a:lnTo>
                    <a:pt x="340" y="216"/>
                  </a:lnTo>
                  <a:lnTo>
                    <a:pt x="340" y="216"/>
                  </a:lnTo>
                  <a:lnTo>
                    <a:pt x="350" y="214"/>
                  </a:lnTo>
                  <a:lnTo>
                    <a:pt x="358" y="212"/>
                  </a:lnTo>
                  <a:lnTo>
                    <a:pt x="366" y="208"/>
                  </a:lnTo>
                  <a:lnTo>
                    <a:pt x="372" y="202"/>
                  </a:lnTo>
                  <a:lnTo>
                    <a:pt x="378" y="196"/>
                  </a:lnTo>
                  <a:lnTo>
                    <a:pt x="382" y="188"/>
                  </a:lnTo>
                  <a:lnTo>
                    <a:pt x="384" y="180"/>
                  </a:lnTo>
                  <a:lnTo>
                    <a:pt x="384" y="172"/>
                  </a:lnTo>
                  <a:lnTo>
                    <a:pt x="384" y="172"/>
                  </a:lnTo>
                  <a:lnTo>
                    <a:pt x="384" y="162"/>
                  </a:lnTo>
                  <a:lnTo>
                    <a:pt x="382" y="154"/>
                  </a:lnTo>
                  <a:lnTo>
                    <a:pt x="378" y="148"/>
                  </a:lnTo>
                  <a:lnTo>
                    <a:pt x="372" y="140"/>
                  </a:lnTo>
                  <a:lnTo>
                    <a:pt x="366" y="136"/>
                  </a:lnTo>
                  <a:lnTo>
                    <a:pt x="358" y="132"/>
                  </a:lnTo>
                  <a:lnTo>
                    <a:pt x="350" y="128"/>
                  </a:lnTo>
                  <a:lnTo>
                    <a:pt x="340" y="128"/>
                  </a:lnTo>
                  <a:lnTo>
                    <a:pt x="158" y="128"/>
                  </a:lnTo>
                  <a:lnTo>
                    <a:pt x="158" y="128"/>
                  </a:lnTo>
                  <a:lnTo>
                    <a:pt x="154" y="128"/>
                  </a:lnTo>
                  <a:lnTo>
                    <a:pt x="150" y="124"/>
                  </a:lnTo>
                  <a:lnTo>
                    <a:pt x="148" y="122"/>
                  </a:lnTo>
                  <a:lnTo>
                    <a:pt x="148" y="118"/>
                  </a:lnTo>
                  <a:lnTo>
                    <a:pt x="148" y="118"/>
                  </a:lnTo>
                  <a:lnTo>
                    <a:pt x="148" y="114"/>
                  </a:lnTo>
                  <a:lnTo>
                    <a:pt x="150" y="110"/>
                  </a:lnTo>
                  <a:lnTo>
                    <a:pt x="154" y="108"/>
                  </a:lnTo>
                  <a:lnTo>
                    <a:pt x="158" y="108"/>
                  </a:lnTo>
                  <a:lnTo>
                    <a:pt x="340" y="108"/>
                  </a:lnTo>
                  <a:lnTo>
                    <a:pt x="340" y="108"/>
                  </a:lnTo>
                  <a:lnTo>
                    <a:pt x="354" y="110"/>
                  </a:lnTo>
                  <a:lnTo>
                    <a:pt x="366" y="112"/>
                  </a:lnTo>
                  <a:lnTo>
                    <a:pt x="376" y="118"/>
                  </a:lnTo>
                  <a:lnTo>
                    <a:pt x="386" y="126"/>
                  </a:lnTo>
                  <a:lnTo>
                    <a:pt x="394" y="136"/>
                  </a:lnTo>
                  <a:lnTo>
                    <a:pt x="400" y="146"/>
                  </a:lnTo>
                  <a:lnTo>
                    <a:pt x="404" y="158"/>
                  </a:lnTo>
                  <a:lnTo>
                    <a:pt x="404" y="172"/>
                  </a:lnTo>
                  <a:lnTo>
                    <a:pt x="404" y="172"/>
                  </a:lnTo>
                  <a:lnTo>
                    <a:pt x="404" y="184"/>
                  </a:lnTo>
                  <a:lnTo>
                    <a:pt x="400" y="196"/>
                  </a:lnTo>
                  <a:lnTo>
                    <a:pt x="394" y="208"/>
                  </a:lnTo>
                  <a:lnTo>
                    <a:pt x="386" y="218"/>
                  </a:lnTo>
                  <a:lnTo>
                    <a:pt x="376" y="224"/>
                  </a:lnTo>
                  <a:lnTo>
                    <a:pt x="366" y="230"/>
                  </a:lnTo>
                  <a:lnTo>
                    <a:pt x="354" y="234"/>
                  </a:lnTo>
                  <a:lnTo>
                    <a:pt x="340" y="236"/>
                  </a:lnTo>
                  <a:lnTo>
                    <a:pt x="340" y="236"/>
                  </a:lnTo>
                  <a:close/>
                  <a:moveTo>
                    <a:pt x="246" y="236"/>
                  </a:moveTo>
                  <a:lnTo>
                    <a:pt x="64" y="236"/>
                  </a:lnTo>
                  <a:lnTo>
                    <a:pt x="64" y="236"/>
                  </a:lnTo>
                  <a:lnTo>
                    <a:pt x="50" y="234"/>
                  </a:lnTo>
                  <a:lnTo>
                    <a:pt x="38" y="230"/>
                  </a:lnTo>
                  <a:lnTo>
                    <a:pt x="28" y="224"/>
                  </a:lnTo>
                  <a:lnTo>
                    <a:pt x="18" y="218"/>
                  </a:lnTo>
                  <a:lnTo>
                    <a:pt x="10" y="208"/>
                  </a:lnTo>
                  <a:lnTo>
                    <a:pt x="4" y="196"/>
                  </a:lnTo>
                  <a:lnTo>
                    <a:pt x="0" y="184"/>
                  </a:lnTo>
                  <a:lnTo>
                    <a:pt x="0" y="172"/>
                  </a:lnTo>
                  <a:lnTo>
                    <a:pt x="0" y="172"/>
                  </a:lnTo>
                  <a:lnTo>
                    <a:pt x="0" y="158"/>
                  </a:lnTo>
                  <a:lnTo>
                    <a:pt x="4" y="146"/>
                  </a:lnTo>
                  <a:lnTo>
                    <a:pt x="10" y="136"/>
                  </a:lnTo>
                  <a:lnTo>
                    <a:pt x="18" y="126"/>
                  </a:lnTo>
                  <a:lnTo>
                    <a:pt x="28" y="118"/>
                  </a:lnTo>
                  <a:lnTo>
                    <a:pt x="38" y="112"/>
                  </a:lnTo>
                  <a:lnTo>
                    <a:pt x="50" y="110"/>
                  </a:lnTo>
                  <a:lnTo>
                    <a:pt x="64" y="108"/>
                  </a:lnTo>
                  <a:lnTo>
                    <a:pt x="122" y="108"/>
                  </a:lnTo>
                  <a:lnTo>
                    <a:pt x="122" y="108"/>
                  </a:lnTo>
                  <a:lnTo>
                    <a:pt x="126" y="108"/>
                  </a:lnTo>
                  <a:lnTo>
                    <a:pt x="128" y="110"/>
                  </a:lnTo>
                  <a:lnTo>
                    <a:pt x="130" y="114"/>
                  </a:lnTo>
                  <a:lnTo>
                    <a:pt x="132" y="118"/>
                  </a:lnTo>
                  <a:lnTo>
                    <a:pt x="132" y="118"/>
                  </a:lnTo>
                  <a:lnTo>
                    <a:pt x="130" y="122"/>
                  </a:lnTo>
                  <a:lnTo>
                    <a:pt x="128" y="124"/>
                  </a:lnTo>
                  <a:lnTo>
                    <a:pt x="126" y="128"/>
                  </a:lnTo>
                  <a:lnTo>
                    <a:pt x="122" y="128"/>
                  </a:lnTo>
                  <a:lnTo>
                    <a:pt x="64" y="128"/>
                  </a:lnTo>
                  <a:lnTo>
                    <a:pt x="64" y="128"/>
                  </a:lnTo>
                  <a:lnTo>
                    <a:pt x="54" y="128"/>
                  </a:lnTo>
                  <a:lnTo>
                    <a:pt x="46" y="132"/>
                  </a:lnTo>
                  <a:lnTo>
                    <a:pt x="38" y="136"/>
                  </a:lnTo>
                  <a:lnTo>
                    <a:pt x="32" y="140"/>
                  </a:lnTo>
                  <a:lnTo>
                    <a:pt x="26" y="148"/>
                  </a:lnTo>
                  <a:lnTo>
                    <a:pt x="22" y="154"/>
                  </a:lnTo>
                  <a:lnTo>
                    <a:pt x="20" y="162"/>
                  </a:lnTo>
                  <a:lnTo>
                    <a:pt x="20" y="172"/>
                  </a:lnTo>
                  <a:lnTo>
                    <a:pt x="20" y="172"/>
                  </a:lnTo>
                  <a:lnTo>
                    <a:pt x="20" y="180"/>
                  </a:lnTo>
                  <a:lnTo>
                    <a:pt x="22" y="188"/>
                  </a:lnTo>
                  <a:lnTo>
                    <a:pt x="26" y="196"/>
                  </a:lnTo>
                  <a:lnTo>
                    <a:pt x="32" y="202"/>
                  </a:lnTo>
                  <a:lnTo>
                    <a:pt x="38" y="208"/>
                  </a:lnTo>
                  <a:lnTo>
                    <a:pt x="46" y="212"/>
                  </a:lnTo>
                  <a:lnTo>
                    <a:pt x="54" y="214"/>
                  </a:lnTo>
                  <a:lnTo>
                    <a:pt x="64" y="216"/>
                  </a:lnTo>
                  <a:lnTo>
                    <a:pt x="246" y="216"/>
                  </a:lnTo>
                  <a:lnTo>
                    <a:pt x="246" y="216"/>
                  </a:lnTo>
                  <a:lnTo>
                    <a:pt x="250" y="216"/>
                  </a:lnTo>
                  <a:lnTo>
                    <a:pt x="254" y="218"/>
                  </a:lnTo>
                  <a:lnTo>
                    <a:pt x="256" y="222"/>
                  </a:lnTo>
                  <a:lnTo>
                    <a:pt x="256" y="226"/>
                  </a:lnTo>
                  <a:lnTo>
                    <a:pt x="256" y="226"/>
                  </a:lnTo>
                  <a:lnTo>
                    <a:pt x="256" y="230"/>
                  </a:lnTo>
                  <a:lnTo>
                    <a:pt x="254" y="232"/>
                  </a:lnTo>
                  <a:lnTo>
                    <a:pt x="250" y="236"/>
                  </a:lnTo>
                  <a:lnTo>
                    <a:pt x="246" y="236"/>
                  </a:lnTo>
                  <a:lnTo>
                    <a:pt x="246" y="2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11" name="Group 110">
            <a:extLst>
              <a:ext uri="{FF2B5EF4-FFF2-40B4-BE49-F238E27FC236}">
                <a16:creationId xmlns:a16="http://schemas.microsoft.com/office/drawing/2014/main" id="{3DC21995-6350-4D4E-BEDD-530FB33CAF74}"/>
              </a:ext>
            </a:extLst>
          </p:cNvPr>
          <p:cNvGrpSpPr/>
          <p:nvPr/>
        </p:nvGrpSpPr>
        <p:grpSpPr>
          <a:xfrm>
            <a:off x="6290382" y="4200579"/>
            <a:ext cx="612000" cy="612000"/>
            <a:chOff x="5841085" y="4690710"/>
            <a:chExt cx="612000" cy="612000"/>
          </a:xfrm>
        </p:grpSpPr>
        <p:sp>
          <p:nvSpPr>
            <p:cNvPr id="112" name="Oval 111">
              <a:extLst>
                <a:ext uri="{FF2B5EF4-FFF2-40B4-BE49-F238E27FC236}">
                  <a16:creationId xmlns:a16="http://schemas.microsoft.com/office/drawing/2014/main" id="{04B3103C-6839-42A3-B5B7-52F7841BE752}"/>
                </a:ext>
              </a:extLst>
            </p:cNvPr>
            <p:cNvSpPr/>
            <p:nvPr/>
          </p:nvSpPr>
          <p:spPr bwMode="ltGray">
            <a:xfrm>
              <a:off x="5841085"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13" name="Freeform 4975">
              <a:extLst>
                <a:ext uri="{FF2B5EF4-FFF2-40B4-BE49-F238E27FC236}">
                  <a16:creationId xmlns:a16="http://schemas.microsoft.com/office/drawing/2014/main" id="{9DEEC488-7147-4627-A8B2-1158605827F4}"/>
                </a:ext>
              </a:extLst>
            </p:cNvPr>
            <p:cNvSpPr>
              <a:spLocks/>
            </p:cNvSpPr>
            <p:nvPr/>
          </p:nvSpPr>
          <p:spPr bwMode="auto">
            <a:xfrm>
              <a:off x="5942311" y="4802256"/>
              <a:ext cx="409548" cy="414367"/>
            </a:xfrm>
            <a:custGeom>
              <a:avLst/>
              <a:gdLst>
                <a:gd name="T0" fmla="*/ 304 w 340"/>
                <a:gd name="T1" fmla="*/ 264 h 344"/>
                <a:gd name="T2" fmla="*/ 298 w 340"/>
                <a:gd name="T3" fmla="*/ 280 h 344"/>
                <a:gd name="T4" fmla="*/ 278 w 340"/>
                <a:gd name="T5" fmla="*/ 312 h 344"/>
                <a:gd name="T6" fmla="*/ 262 w 340"/>
                <a:gd name="T7" fmla="*/ 324 h 344"/>
                <a:gd name="T8" fmla="*/ 234 w 340"/>
                <a:gd name="T9" fmla="*/ 340 h 344"/>
                <a:gd name="T10" fmla="*/ 204 w 340"/>
                <a:gd name="T11" fmla="*/ 344 h 344"/>
                <a:gd name="T12" fmla="*/ 174 w 340"/>
                <a:gd name="T13" fmla="*/ 340 h 344"/>
                <a:gd name="T14" fmla="*/ 148 w 340"/>
                <a:gd name="T15" fmla="*/ 328 h 344"/>
                <a:gd name="T16" fmla="*/ 144 w 340"/>
                <a:gd name="T17" fmla="*/ 326 h 344"/>
                <a:gd name="T18" fmla="*/ 140 w 340"/>
                <a:gd name="T19" fmla="*/ 324 h 344"/>
                <a:gd name="T20" fmla="*/ 8 w 340"/>
                <a:gd name="T21" fmla="*/ 220 h 344"/>
                <a:gd name="T22" fmla="*/ 4 w 340"/>
                <a:gd name="T23" fmla="*/ 214 h 344"/>
                <a:gd name="T24" fmla="*/ 2 w 340"/>
                <a:gd name="T25" fmla="*/ 198 h 344"/>
                <a:gd name="T26" fmla="*/ 6 w 340"/>
                <a:gd name="T27" fmla="*/ 192 h 344"/>
                <a:gd name="T28" fmla="*/ 18 w 340"/>
                <a:gd name="T29" fmla="*/ 184 h 344"/>
                <a:gd name="T30" fmla="*/ 34 w 340"/>
                <a:gd name="T31" fmla="*/ 188 h 344"/>
                <a:gd name="T32" fmla="*/ 100 w 340"/>
                <a:gd name="T33" fmla="*/ 240 h 344"/>
                <a:gd name="T34" fmla="*/ 14 w 340"/>
                <a:gd name="T35" fmla="*/ 128 h 344"/>
                <a:gd name="T36" fmla="*/ 10 w 340"/>
                <a:gd name="T37" fmla="*/ 120 h 344"/>
                <a:gd name="T38" fmla="*/ 10 w 340"/>
                <a:gd name="T39" fmla="*/ 104 h 344"/>
                <a:gd name="T40" fmla="*/ 16 w 340"/>
                <a:gd name="T41" fmla="*/ 96 h 344"/>
                <a:gd name="T42" fmla="*/ 32 w 340"/>
                <a:gd name="T43" fmla="*/ 90 h 344"/>
                <a:gd name="T44" fmla="*/ 46 w 340"/>
                <a:gd name="T45" fmla="*/ 98 h 344"/>
                <a:gd name="T46" fmla="*/ 122 w 340"/>
                <a:gd name="T47" fmla="*/ 176 h 344"/>
                <a:gd name="T48" fmla="*/ 62 w 340"/>
                <a:gd name="T49" fmla="*/ 54 h 344"/>
                <a:gd name="T50" fmla="*/ 58 w 340"/>
                <a:gd name="T51" fmla="*/ 46 h 344"/>
                <a:gd name="T52" fmla="*/ 62 w 340"/>
                <a:gd name="T53" fmla="*/ 30 h 344"/>
                <a:gd name="T54" fmla="*/ 68 w 340"/>
                <a:gd name="T55" fmla="*/ 24 h 344"/>
                <a:gd name="T56" fmla="*/ 86 w 340"/>
                <a:gd name="T57" fmla="*/ 22 h 344"/>
                <a:gd name="T58" fmla="*/ 98 w 340"/>
                <a:gd name="T59" fmla="*/ 32 h 344"/>
                <a:gd name="T60" fmla="*/ 170 w 340"/>
                <a:gd name="T61" fmla="*/ 142 h 344"/>
                <a:gd name="T62" fmla="*/ 142 w 340"/>
                <a:gd name="T63" fmla="*/ 30 h 344"/>
                <a:gd name="T64" fmla="*/ 140 w 340"/>
                <a:gd name="T65" fmla="*/ 22 h 344"/>
                <a:gd name="T66" fmla="*/ 148 w 340"/>
                <a:gd name="T67" fmla="*/ 6 h 344"/>
                <a:gd name="T68" fmla="*/ 154 w 340"/>
                <a:gd name="T69" fmla="*/ 2 h 344"/>
                <a:gd name="T70" fmla="*/ 172 w 340"/>
                <a:gd name="T71" fmla="*/ 2 h 344"/>
                <a:gd name="T72" fmla="*/ 182 w 340"/>
                <a:gd name="T73" fmla="*/ 14 h 344"/>
                <a:gd name="T74" fmla="*/ 234 w 340"/>
                <a:gd name="T75" fmla="*/ 142 h 344"/>
                <a:gd name="T76" fmla="*/ 270 w 340"/>
                <a:gd name="T77" fmla="*/ 164 h 344"/>
                <a:gd name="T78" fmla="*/ 286 w 340"/>
                <a:gd name="T79" fmla="*/ 100 h 344"/>
                <a:gd name="T80" fmla="*/ 298 w 340"/>
                <a:gd name="T81" fmla="*/ 82 h 344"/>
                <a:gd name="T82" fmla="*/ 320 w 340"/>
                <a:gd name="T83" fmla="*/ 80 h 344"/>
                <a:gd name="T84" fmla="*/ 330 w 340"/>
                <a:gd name="T85" fmla="*/ 84 h 344"/>
                <a:gd name="T86" fmla="*/ 340 w 340"/>
                <a:gd name="T87" fmla="*/ 102 h 344"/>
                <a:gd name="T88" fmla="*/ 340 w 340"/>
                <a:gd name="T89" fmla="*/ 11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0" h="344">
                  <a:moveTo>
                    <a:pt x="340" y="114"/>
                  </a:moveTo>
                  <a:lnTo>
                    <a:pt x="304" y="264"/>
                  </a:lnTo>
                  <a:lnTo>
                    <a:pt x="304" y="264"/>
                  </a:lnTo>
                  <a:lnTo>
                    <a:pt x="298" y="280"/>
                  </a:lnTo>
                  <a:lnTo>
                    <a:pt x="288" y="298"/>
                  </a:lnTo>
                  <a:lnTo>
                    <a:pt x="278" y="312"/>
                  </a:lnTo>
                  <a:lnTo>
                    <a:pt x="262" y="324"/>
                  </a:lnTo>
                  <a:lnTo>
                    <a:pt x="262" y="324"/>
                  </a:lnTo>
                  <a:lnTo>
                    <a:pt x="250" y="334"/>
                  </a:lnTo>
                  <a:lnTo>
                    <a:pt x="234" y="340"/>
                  </a:lnTo>
                  <a:lnTo>
                    <a:pt x="220" y="342"/>
                  </a:lnTo>
                  <a:lnTo>
                    <a:pt x="204" y="344"/>
                  </a:lnTo>
                  <a:lnTo>
                    <a:pt x="190" y="344"/>
                  </a:lnTo>
                  <a:lnTo>
                    <a:pt x="174" y="340"/>
                  </a:lnTo>
                  <a:lnTo>
                    <a:pt x="160" y="336"/>
                  </a:lnTo>
                  <a:lnTo>
                    <a:pt x="148" y="328"/>
                  </a:lnTo>
                  <a:lnTo>
                    <a:pt x="148" y="328"/>
                  </a:lnTo>
                  <a:lnTo>
                    <a:pt x="144" y="326"/>
                  </a:lnTo>
                  <a:lnTo>
                    <a:pt x="140" y="324"/>
                  </a:lnTo>
                  <a:lnTo>
                    <a:pt x="140" y="324"/>
                  </a:lnTo>
                  <a:lnTo>
                    <a:pt x="138" y="322"/>
                  </a:lnTo>
                  <a:lnTo>
                    <a:pt x="8" y="220"/>
                  </a:lnTo>
                  <a:lnTo>
                    <a:pt x="8" y="220"/>
                  </a:lnTo>
                  <a:lnTo>
                    <a:pt x="4" y="214"/>
                  </a:lnTo>
                  <a:lnTo>
                    <a:pt x="0" y="206"/>
                  </a:lnTo>
                  <a:lnTo>
                    <a:pt x="2" y="198"/>
                  </a:lnTo>
                  <a:lnTo>
                    <a:pt x="6" y="192"/>
                  </a:lnTo>
                  <a:lnTo>
                    <a:pt x="6" y="192"/>
                  </a:lnTo>
                  <a:lnTo>
                    <a:pt x="12" y="186"/>
                  </a:lnTo>
                  <a:lnTo>
                    <a:pt x="18" y="184"/>
                  </a:lnTo>
                  <a:lnTo>
                    <a:pt x="26" y="184"/>
                  </a:lnTo>
                  <a:lnTo>
                    <a:pt x="34" y="188"/>
                  </a:lnTo>
                  <a:lnTo>
                    <a:pt x="100" y="240"/>
                  </a:lnTo>
                  <a:lnTo>
                    <a:pt x="100" y="240"/>
                  </a:lnTo>
                  <a:lnTo>
                    <a:pt x="102" y="220"/>
                  </a:lnTo>
                  <a:lnTo>
                    <a:pt x="14" y="128"/>
                  </a:lnTo>
                  <a:lnTo>
                    <a:pt x="14" y="128"/>
                  </a:lnTo>
                  <a:lnTo>
                    <a:pt x="10" y="120"/>
                  </a:lnTo>
                  <a:lnTo>
                    <a:pt x="8" y="112"/>
                  </a:lnTo>
                  <a:lnTo>
                    <a:pt x="10" y="104"/>
                  </a:lnTo>
                  <a:lnTo>
                    <a:pt x="16" y="96"/>
                  </a:lnTo>
                  <a:lnTo>
                    <a:pt x="16" y="96"/>
                  </a:lnTo>
                  <a:lnTo>
                    <a:pt x="24" y="92"/>
                  </a:lnTo>
                  <a:lnTo>
                    <a:pt x="32" y="90"/>
                  </a:lnTo>
                  <a:lnTo>
                    <a:pt x="40" y="92"/>
                  </a:lnTo>
                  <a:lnTo>
                    <a:pt x="46" y="98"/>
                  </a:lnTo>
                  <a:lnTo>
                    <a:pt x="122" y="176"/>
                  </a:lnTo>
                  <a:lnTo>
                    <a:pt x="122" y="176"/>
                  </a:lnTo>
                  <a:lnTo>
                    <a:pt x="132" y="164"/>
                  </a:lnTo>
                  <a:lnTo>
                    <a:pt x="62" y="54"/>
                  </a:lnTo>
                  <a:lnTo>
                    <a:pt x="62" y="54"/>
                  </a:lnTo>
                  <a:lnTo>
                    <a:pt x="58" y="46"/>
                  </a:lnTo>
                  <a:lnTo>
                    <a:pt x="58" y="38"/>
                  </a:lnTo>
                  <a:lnTo>
                    <a:pt x="62" y="30"/>
                  </a:lnTo>
                  <a:lnTo>
                    <a:pt x="68" y="24"/>
                  </a:lnTo>
                  <a:lnTo>
                    <a:pt x="68" y="24"/>
                  </a:lnTo>
                  <a:lnTo>
                    <a:pt x="76" y="22"/>
                  </a:lnTo>
                  <a:lnTo>
                    <a:pt x="86" y="22"/>
                  </a:lnTo>
                  <a:lnTo>
                    <a:pt x="92" y="24"/>
                  </a:lnTo>
                  <a:lnTo>
                    <a:pt x="98" y="32"/>
                  </a:lnTo>
                  <a:lnTo>
                    <a:pt x="170" y="142"/>
                  </a:lnTo>
                  <a:lnTo>
                    <a:pt x="170" y="142"/>
                  </a:lnTo>
                  <a:lnTo>
                    <a:pt x="186" y="140"/>
                  </a:lnTo>
                  <a:lnTo>
                    <a:pt x="142" y="30"/>
                  </a:lnTo>
                  <a:lnTo>
                    <a:pt x="142" y="30"/>
                  </a:lnTo>
                  <a:lnTo>
                    <a:pt x="140" y="22"/>
                  </a:lnTo>
                  <a:lnTo>
                    <a:pt x="142" y="14"/>
                  </a:lnTo>
                  <a:lnTo>
                    <a:pt x="148" y="6"/>
                  </a:lnTo>
                  <a:lnTo>
                    <a:pt x="154" y="2"/>
                  </a:lnTo>
                  <a:lnTo>
                    <a:pt x="154" y="2"/>
                  </a:lnTo>
                  <a:lnTo>
                    <a:pt x="162" y="0"/>
                  </a:lnTo>
                  <a:lnTo>
                    <a:pt x="172" y="2"/>
                  </a:lnTo>
                  <a:lnTo>
                    <a:pt x="178" y="6"/>
                  </a:lnTo>
                  <a:lnTo>
                    <a:pt x="182" y="14"/>
                  </a:lnTo>
                  <a:lnTo>
                    <a:pt x="234" y="142"/>
                  </a:lnTo>
                  <a:lnTo>
                    <a:pt x="234" y="142"/>
                  </a:lnTo>
                  <a:lnTo>
                    <a:pt x="254" y="152"/>
                  </a:lnTo>
                  <a:lnTo>
                    <a:pt x="270" y="164"/>
                  </a:lnTo>
                  <a:lnTo>
                    <a:pt x="286" y="100"/>
                  </a:lnTo>
                  <a:lnTo>
                    <a:pt x="286" y="100"/>
                  </a:lnTo>
                  <a:lnTo>
                    <a:pt x="290" y="90"/>
                  </a:lnTo>
                  <a:lnTo>
                    <a:pt x="298" y="82"/>
                  </a:lnTo>
                  <a:lnTo>
                    <a:pt x="308" y="80"/>
                  </a:lnTo>
                  <a:lnTo>
                    <a:pt x="320" y="80"/>
                  </a:lnTo>
                  <a:lnTo>
                    <a:pt x="320" y="80"/>
                  </a:lnTo>
                  <a:lnTo>
                    <a:pt x="330" y="84"/>
                  </a:lnTo>
                  <a:lnTo>
                    <a:pt x="336" y="92"/>
                  </a:lnTo>
                  <a:lnTo>
                    <a:pt x="340" y="102"/>
                  </a:lnTo>
                  <a:lnTo>
                    <a:pt x="340" y="114"/>
                  </a:lnTo>
                  <a:lnTo>
                    <a:pt x="340" y="11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14" name="Group 113">
            <a:extLst>
              <a:ext uri="{FF2B5EF4-FFF2-40B4-BE49-F238E27FC236}">
                <a16:creationId xmlns:a16="http://schemas.microsoft.com/office/drawing/2014/main" id="{00DB1796-54CE-4EE4-AC74-8CB440E25565}"/>
              </a:ext>
            </a:extLst>
          </p:cNvPr>
          <p:cNvGrpSpPr/>
          <p:nvPr/>
        </p:nvGrpSpPr>
        <p:grpSpPr>
          <a:xfrm>
            <a:off x="2766586" y="4200579"/>
            <a:ext cx="612000" cy="612000"/>
            <a:chOff x="2342233" y="4690710"/>
            <a:chExt cx="612000" cy="612000"/>
          </a:xfrm>
        </p:grpSpPr>
        <p:sp>
          <p:nvSpPr>
            <p:cNvPr id="115" name="Oval 114">
              <a:extLst>
                <a:ext uri="{FF2B5EF4-FFF2-40B4-BE49-F238E27FC236}">
                  <a16:creationId xmlns:a16="http://schemas.microsoft.com/office/drawing/2014/main" id="{A05A4D8F-7EF4-44F6-8662-1D6445D4482A}"/>
                </a:ext>
              </a:extLst>
            </p:cNvPr>
            <p:cNvSpPr/>
            <p:nvPr/>
          </p:nvSpPr>
          <p:spPr bwMode="ltGray">
            <a:xfrm>
              <a:off x="2342233"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16" name="Freeform 4977">
              <a:extLst>
                <a:ext uri="{FF2B5EF4-FFF2-40B4-BE49-F238E27FC236}">
                  <a16:creationId xmlns:a16="http://schemas.microsoft.com/office/drawing/2014/main" id="{0BFD99D8-F89D-4E2D-9BBB-23C6C62666D5}"/>
                </a:ext>
              </a:extLst>
            </p:cNvPr>
            <p:cNvSpPr>
              <a:spLocks noEditPoints="1"/>
            </p:cNvSpPr>
            <p:nvPr/>
          </p:nvSpPr>
          <p:spPr bwMode="auto">
            <a:xfrm>
              <a:off x="2412140" y="4773347"/>
              <a:ext cx="472186" cy="472186"/>
            </a:xfrm>
            <a:custGeom>
              <a:avLst/>
              <a:gdLst>
                <a:gd name="T0" fmla="*/ 354 w 392"/>
                <a:gd name="T1" fmla="*/ 130 h 392"/>
                <a:gd name="T2" fmla="*/ 342 w 392"/>
                <a:gd name="T3" fmla="*/ 72 h 392"/>
                <a:gd name="T4" fmla="*/ 276 w 392"/>
                <a:gd name="T5" fmla="*/ 36 h 392"/>
                <a:gd name="T6" fmla="*/ 228 w 392"/>
                <a:gd name="T7" fmla="*/ 52 h 392"/>
                <a:gd name="T8" fmla="*/ 154 w 392"/>
                <a:gd name="T9" fmla="*/ 46 h 392"/>
                <a:gd name="T10" fmla="*/ 100 w 392"/>
                <a:gd name="T11" fmla="*/ 38 h 392"/>
                <a:gd name="T12" fmla="*/ 42 w 392"/>
                <a:gd name="T13" fmla="*/ 84 h 392"/>
                <a:gd name="T14" fmla="*/ 42 w 392"/>
                <a:gd name="T15" fmla="*/ 148 h 392"/>
                <a:gd name="T16" fmla="*/ 68 w 392"/>
                <a:gd name="T17" fmla="*/ 124 h 392"/>
                <a:gd name="T18" fmla="*/ 76 w 392"/>
                <a:gd name="T19" fmla="*/ 90 h 392"/>
                <a:gd name="T20" fmla="*/ 116 w 392"/>
                <a:gd name="T21" fmla="*/ 68 h 392"/>
                <a:gd name="T22" fmla="*/ 150 w 392"/>
                <a:gd name="T23" fmla="*/ 82 h 392"/>
                <a:gd name="T24" fmla="*/ 164 w 392"/>
                <a:gd name="T25" fmla="*/ 148 h 392"/>
                <a:gd name="T26" fmla="*/ 228 w 392"/>
                <a:gd name="T27" fmla="*/ 148 h 392"/>
                <a:gd name="T28" fmla="*/ 236 w 392"/>
                <a:gd name="T29" fmla="*/ 90 h 392"/>
                <a:gd name="T30" fmla="*/ 276 w 392"/>
                <a:gd name="T31" fmla="*/ 68 h 392"/>
                <a:gd name="T32" fmla="*/ 310 w 392"/>
                <a:gd name="T33" fmla="*/ 82 h 392"/>
                <a:gd name="T34" fmla="*/ 324 w 392"/>
                <a:gd name="T35" fmla="*/ 116 h 392"/>
                <a:gd name="T36" fmla="*/ 302 w 392"/>
                <a:gd name="T37" fmla="*/ 156 h 392"/>
                <a:gd name="T38" fmla="*/ 228 w 392"/>
                <a:gd name="T39" fmla="*/ 164 h 392"/>
                <a:gd name="T40" fmla="*/ 114 w 392"/>
                <a:gd name="T41" fmla="*/ 164 h 392"/>
                <a:gd name="T42" fmla="*/ 52 w 392"/>
                <a:gd name="T43" fmla="*/ 228 h 392"/>
                <a:gd name="T44" fmla="*/ 36 w 392"/>
                <a:gd name="T45" fmla="*/ 276 h 392"/>
                <a:gd name="T46" fmla="*/ 60 w 392"/>
                <a:gd name="T47" fmla="*/ 332 h 392"/>
                <a:gd name="T48" fmla="*/ 116 w 392"/>
                <a:gd name="T49" fmla="*/ 356 h 392"/>
                <a:gd name="T50" fmla="*/ 164 w 392"/>
                <a:gd name="T51" fmla="*/ 392 h 392"/>
                <a:gd name="T52" fmla="*/ 250 w 392"/>
                <a:gd name="T53" fmla="*/ 352 h 392"/>
                <a:gd name="T54" fmla="*/ 308 w 392"/>
                <a:gd name="T55" fmla="*/ 350 h 392"/>
                <a:gd name="T56" fmla="*/ 354 w 392"/>
                <a:gd name="T57" fmla="*/ 292 h 392"/>
                <a:gd name="T58" fmla="*/ 312 w 392"/>
                <a:gd name="T59" fmla="*/ 244 h 392"/>
                <a:gd name="T60" fmla="*/ 324 w 392"/>
                <a:gd name="T61" fmla="*/ 276 h 392"/>
                <a:gd name="T62" fmla="*/ 310 w 392"/>
                <a:gd name="T63" fmla="*/ 310 h 392"/>
                <a:gd name="T64" fmla="*/ 276 w 392"/>
                <a:gd name="T65" fmla="*/ 324 h 392"/>
                <a:gd name="T66" fmla="*/ 236 w 392"/>
                <a:gd name="T67" fmla="*/ 302 h 392"/>
                <a:gd name="T68" fmla="*/ 204 w 392"/>
                <a:gd name="T69" fmla="*/ 244 h 392"/>
                <a:gd name="T70" fmla="*/ 164 w 392"/>
                <a:gd name="T71" fmla="*/ 276 h 392"/>
                <a:gd name="T72" fmla="*/ 150 w 392"/>
                <a:gd name="T73" fmla="*/ 310 h 392"/>
                <a:gd name="T74" fmla="*/ 116 w 392"/>
                <a:gd name="T75" fmla="*/ 324 h 392"/>
                <a:gd name="T76" fmla="*/ 76 w 392"/>
                <a:gd name="T77" fmla="*/ 302 h 392"/>
                <a:gd name="T78" fmla="*/ 68 w 392"/>
                <a:gd name="T79" fmla="*/ 266 h 392"/>
                <a:gd name="T80" fmla="*/ 98 w 392"/>
                <a:gd name="T81" fmla="*/ 232 h 392"/>
                <a:gd name="T82" fmla="*/ 228 w 392"/>
                <a:gd name="T83" fmla="*/ 228 h 392"/>
                <a:gd name="T84" fmla="*/ 340 w 392"/>
                <a:gd name="T85" fmla="*/ 228 h 392"/>
                <a:gd name="T86" fmla="*/ 204 w 392"/>
                <a:gd name="T87" fmla="*/ 102 h 392"/>
                <a:gd name="T88" fmla="*/ 204 w 392"/>
                <a:gd name="T89" fmla="*/ 50 h 392"/>
                <a:gd name="T90" fmla="*/ 50 w 392"/>
                <a:gd name="T91" fmla="*/ 204 h 392"/>
                <a:gd name="T92" fmla="*/ 188 w 392"/>
                <a:gd name="T93" fmla="*/ 290 h 392"/>
                <a:gd name="T94" fmla="*/ 188 w 392"/>
                <a:gd name="T95" fmla="*/ 342 h 392"/>
                <a:gd name="T96" fmla="*/ 104 w 392"/>
                <a:gd name="T97" fmla="*/ 204 h 392"/>
                <a:gd name="T98" fmla="*/ 156 w 392"/>
                <a:gd name="T99" fmla="*/ 204 h 392"/>
                <a:gd name="T100" fmla="*/ 210 w 392"/>
                <a:gd name="T101" fmla="*/ 204 h 392"/>
                <a:gd name="T102" fmla="*/ 262 w 392"/>
                <a:gd name="T103" fmla="*/ 204 h 392"/>
                <a:gd name="T104" fmla="*/ 316 w 392"/>
                <a:gd name="T105" fmla="*/ 204 h 392"/>
                <a:gd name="T106" fmla="*/ 368 w 392"/>
                <a:gd name="T107" fmla="*/ 20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2" h="392">
                  <a:moveTo>
                    <a:pt x="340" y="164"/>
                  </a:moveTo>
                  <a:lnTo>
                    <a:pt x="340" y="164"/>
                  </a:lnTo>
                  <a:lnTo>
                    <a:pt x="346" y="154"/>
                  </a:lnTo>
                  <a:lnTo>
                    <a:pt x="352" y="142"/>
                  </a:lnTo>
                  <a:lnTo>
                    <a:pt x="354" y="130"/>
                  </a:lnTo>
                  <a:lnTo>
                    <a:pt x="356" y="116"/>
                  </a:lnTo>
                  <a:lnTo>
                    <a:pt x="356" y="116"/>
                  </a:lnTo>
                  <a:lnTo>
                    <a:pt x="354" y="100"/>
                  </a:lnTo>
                  <a:lnTo>
                    <a:pt x="350" y="84"/>
                  </a:lnTo>
                  <a:lnTo>
                    <a:pt x="342" y="72"/>
                  </a:lnTo>
                  <a:lnTo>
                    <a:pt x="332" y="60"/>
                  </a:lnTo>
                  <a:lnTo>
                    <a:pt x="320" y="50"/>
                  </a:lnTo>
                  <a:lnTo>
                    <a:pt x="308" y="42"/>
                  </a:lnTo>
                  <a:lnTo>
                    <a:pt x="292" y="38"/>
                  </a:lnTo>
                  <a:lnTo>
                    <a:pt x="276" y="36"/>
                  </a:lnTo>
                  <a:lnTo>
                    <a:pt x="276" y="36"/>
                  </a:lnTo>
                  <a:lnTo>
                    <a:pt x="262" y="38"/>
                  </a:lnTo>
                  <a:lnTo>
                    <a:pt x="250" y="40"/>
                  </a:lnTo>
                  <a:lnTo>
                    <a:pt x="238" y="46"/>
                  </a:lnTo>
                  <a:lnTo>
                    <a:pt x="228" y="52"/>
                  </a:lnTo>
                  <a:lnTo>
                    <a:pt x="228" y="0"/>
                  </a:lnTo>
                  <a:lnTo>
                    <a:pt x="164" y="0"/>
                  </a:lnTo>
                  <a:lnTo>
                    <a:pt x="164" y="52"/>
                  </a:lnTo>
                  <a:lnTo>
                    <a:pt x="164" y="52"/>
                  </a:lnTo>
                  <a:lnTo>
                    <a:pt x="154" y="46"/>
                  </a:lnTo>
                  <a:lnTo>
                    <a:pt x="142" y="40"/>
                  </a:lnTo>
                  <a:lnTo>
                    <a:pt x="130" y="38"/>
                  </a:lnTo>
                  <a:lnTo>
                    <a:pt x="116" y="36"/>
                  </a:lnTo>
                  <a:lnTo>
                    <a:pt x="116" y="36"/>
                  </a:lnTo>
                  <a:lnTo>
                    <a:pt x="100" y="38"/>
                  </a:lnTo>
                  <a:lnTo>
                    <a:pt x="84" y="42"/>
                  </a:lnTo>
                  <a:lnTo>
                    <a:pt x="72" y="50"/>
                  </a:lnTo>
                  <a:lnTo>
                    <a:pt x="60" y="60"/>
                  </a:lnTo>
                  <a:lnTo>
                    <a:pt x="50" y="72"/>
                  </a:lnTo>
                  <a:lnTo>
                    <a:pt x="42" y="84"/>
                  </a:lnTo>
                  <a:lnTo>
                    <a:pt x="38" y="100"/>
                  </a:lnTo>
                  <a:lnTo>
                    <a:pt x="36" y="116"/>
                  </a:lnTo>
                  <a:lnTo>
                    <a:pt x="36" y="116"/>
                  </a:lnTo>
                  <a:lnTo>
                    <a:pt x="38" y="132"/>
                  </a:lnTo>
                  <a:lnTo>
                    <a:pt x="42" y="148"/>
                  </a:lnTo>
                  <a:lnTo>
                    <a:pt x="80" y="148"/>
                  </a:lnTo>
                  <a:lnTo>
                    <a:pt x="80" y="148"/>
                  </a:lnTo>
                  <a:lnTo>
                    <a:pt x="74" y="140"/>
                  </a:lnTo>
                  <a:lnTo>
                    <a:pt x="72" y="132"/>
                  </a:lnTo>
                  <a:lnTo>
                    <a:pt x="68" y="124"/>
                  </a:lnTo>
                  <a:lnTo>
                    <a:pt x="68" y="116"/>
                  </a:lnTo>
                  <a:lnTo>
                    <a:pt x="68" y="116"/>
                  </a:lnTo>
                  <a:lnTo>
                    <a:pt x="68" y="106"/>
                  </a:lnTo>
                  <a:lnTo>
                    <a:pt x="72" y="98"/>
                  </a:lnTo>
                  <a:lnTo>
                    <a:pt x="76" y="90"/>
                  </a:lnTo>
                  <a:lnTo>
                    <a:pt x="82" y="82"/>
                  </a:lnTo>
                  <a:lnTo>
                    <a:pt x="90" y="76"/>
                  </a:lnTo>
                  <a:lnTo>
                    <a:pt x="98" y="72"/>
                  </a:lnTo>
                  <a:lnTo>
                    <a:pt x="106" y="68"/>
                  </a:lnTo>
                  <a:lnTo>
                    <a:pt x="116" y="68"/>
                  </a:lnTo>
                  <a:lnTo>
                    <a:pt x="116" y="68"/>
                  </a:lnTo>
                  <a:lnTo>
                    <a:pt x="126" y="68"/>
                  </a:lnTo>
                  <a:lnTo>
                    <a:pt x="134" y="72"/>
                  </a:lnTo>
                  <a:lnTo>
                    <a:pt x="142" y="76"/>
                  </a:lnTo>
                  <a:lnTo>
                    <a:pt x="150" y="82"/>
                  </a:lnTo>
                  <a:lnTo>
                    <a:pt x="156" y="90"/>
                  </a:lnTo>
                  <a:lnTo>
                    <a:pt x="160" y="98"/>
                  </a:lnTo>
                  <a:lnTo>
                    <a:pt x="164" y="106"/>
                  </a:lnTo>
                  <a:lnTo>
                    <a:pt x="164" y="116"/>
                  </a:lnTo>
                  <a:lnTo>
                    <a:pt x="164" y="148"/>
                  </a:lnTo>
                  <a:lnTo>
                    <a:pt x="188" y="148"/>
                  </a:lnTo>
                  <a:lnTo>
                    <a:pt x="188" y="128"/>
                  </a:lnTo>
                  <a:lnTo>
                    <a:pt x="204" y="128"/>
                  </a:lnTo>
                  <a:lnTo>
                    <a:pt x="204" y="148"/>
                  </a:lnTo>
                  <a:lnTo>
                    <a:pt x="228" y="148"/>
                  </a:lnTo>
                  <a:lnTo>
                    <a:pt x="228" y="116"/>
                  </a:lnTo>
                  <a:lnTo>
                    <a:pt x="228" y="116"/>
                  </a:lnTo>
                  <a:lnTo>
                    <a:pt x="228" y="106"/>
                  </a:lnTo>
                  <a:lnTo>
                    <a:pt x="232" y="98"/>
                  </a:lnTo>
                  <a:lnTo>
                    <a:pt x="236" y="90"/>
                  </a:lnTo>
                  <a:lnTo>
                    <a:pt x="242" y="82"/>
                  </a:lnTo>
                  <a:lnTo>
                    <a:pt x="250" y="76"/>
                  </a:lnTo>
                  <a:lnTo>
                    <a:pt x="258" y="72"/>
                  </a:lnTo>
                  <a:lnTo>
                    <a:pt x="266" y="68"/>
                  </a:lnTo>
                  <a:lnTo>
                    <a:pt x="276" y="68"/>
                  </a:lnTo>
                  <a:lnTo>
                    <a:pt x="276" y="68"/>
                  </a:lnTo>
                  <a:lnTo>
                    <a:pt x="286" y="68"/>
                  </a:lnTo>
                  <a:lnTo>
                    <a:pt x="294" y="72"/>
                  </a:lnTo>
                  <a:lnTo>
                    <a:pt x="302" y="76"/>
                  </a:lnTo>
                  <a:lnTo>
                    <a:pt x="310" y="82"/>
                  </a:lnTo>
                  <a:lnTo>
                    <a:pt x="316" y="90"/>
                  </a:lnTo>
                  <a:lnTo>
                    <a:pt x="320" y="98"/>
                  </a:lnTo>
                  <a:lnTo>
                    <a:pt x="324" y="106"/>
                  </a:lnTo>
                  <a:lnTo>
                    <a:pt x="324" y="116"/>
                  </a:lnTo>
                  <a:lnTo>
                    <a:pt x="324" y="116"/>
                  </a:lnTo>
                  <a:lnTo>
                    <a:pt x="324" y="126"/>
                  </a:lnTo>
                  <a:lnTo>
                    <a:pt x="320" y="134"/>
                  </a:lnTo>
                  <a:lnTo>
                    <a:pt x="316" y="142"/>
                  </a:lnTo>
                  <a:lnTo>
                    <a:pt x="310" y="150"/>
                  </a:lnTo>
                  <a:lnTo>
                    <a:pt x="302" y="156"/>
                  </a:lnTo>
                  <a:lnTo>
                    <a:pt x="294" y="160"/>
                  </a:lnTo>
                  <a:lnTo>
                    <a:pt x="286" y="164"/>
                  </a:lnTo>
                  <a:lnTo>
                    <a:pt x="276" y="164"/>
                  </a:lnTo>
                  <a:lnTo>
                    <a:pt x="228" y="164"/>
                  </a:lnTo>
                  <a:lnTo>
                    <a:pt x="228" y="164"/>
                  </a:lnTo>
                  <a:lnTo>
                    <a:pt x="164" y="164"/>
                  </a:lnTo>
                  <a:lnTo>
                    <a:pt x="164" y="164"/>
                  </a:lnTo>
                  <a:lnTo>
                    <a:pt x="116" y="164"/>
                  </a:lnTo>
                  <a:lnTo>
                    <a:pt x="116" y="164"/>
                  </a:lnTo>
                  <a:lnTo>
                    <a:pt x="114" y="164"/>
                  </a:lnTo>
                  <a:lnTo>
                    <a:pt x="52" y="164"/>
                  </a:lnTo>
                  <a:lnTo>
                    <a:pt x="16" y="164"/>
                  </a:lnTo>
                  <a:lnTo>
                    <a:pt x="0" y="164"/>
                  </a:lnTo>
                  <a:lnTo>
                    <a:pt x="0" y="228"/>
                  </a:lnTo>
                  <a:lnTo>
                    <a:pt x="52" y="228"/>
                  </a:lnTo>
                  <a:lnTo>
                    <a:pt x="52" y="228"/>
                  </a:lnTo>
                  <a:lnTo>
                    <a:pt x="46" y="238"/>
                  </a:lnTo>
                  <a:lnTo>
                    <a:pt x="40" y="250"/>
                  </a:lnTo>
                  <a:lnTo>
                    <a:pt x="38" y="262"/>
                  </a:lnTo>
                  <a:lnTo>
                    <a:pt x="36" y="276"/>
                  </a:lnTo>
                  <a:lnTo>
                    <a:pt x="36" y="276"/>
                  </a:lnTo>
                  <a:lnTo>
                    <a:pt x="38" y="292"/>
                  </a:lnTo>
                  <a:lnTo>
                    <a:pt x="42" y="308"/>
                  </a:lnTo>
                  <a:lnTo>
                    <a:pt x="50" y="320"/>
                  </a:lnTo>
                  <a:lnTo>
                    <a:pt x="60" y="332"/>
                  </a:lnTo>
                  <a:lnTo>
                    <a:pt x="72" y="342"/>
                  </a:lnTo>
                  <a:lnTo>
                    <a:pt x="84" y="350"/>
                  </a:lnTo>
                  <a:lnTo>
                    <a:pt x="100" y="354"/>
                  </a:lnTo>
                  <a:lnTo>
                    <a:pt x="116" y="356"/>
                  </a:lnTo>
                  <a:lnTo>
                    <a:pt x="116" y="356"/>
                  </a:lnTo>
                  <a:lnTo>
                    <a:pt x="130" y="354"/>
                  </a:lnTo>
                  <a:lnTo>
                    <a:pt x="142" y="352"/>
                  </a:lnTo>
                  <a:lnTo>
                    <a:pt x="154" y="346"/>
                  </a:lnTo>
                  <a:lnTo>
                    <a:pt x="164" y="340"/>
                  </a:lnTo>
                  <a:lnTo>
                    <a:pt x="164" y="392"/>
                  </a:lnTo>
                  <a:lnTo>
                    <a:pt x="228" y="392"/>
                  </a:lnTo>
                  <a:lnTo>
                    <a:pt x="228" y="340"/>
                  </a:lnTo>
                  <a:lnTo>
                    <a:pt x="228" y="340"/>
                  </a:lnTo>
                  <a:lnTo>
                    <a:pt x="238" y="346"/>
                  </a:lnTo>
                  <a:lnTo>
                    <a:pt x="250" y="352"/>
                  </a:lnTo>
                  <a:lnTo>
                    <a:pt x="262" y="354"/>
                  </a:lnTo>
                  <a:lnTo>
                    <a:pt x="276" y="356"/>
                  </a:lnTo>
                  <a:lnTo>
                    <a:pt x="276" y="356"/>
                  </a:lnTo>
                  <a:lnTo>
                    <a:pt x="292" y="354"/>
                  </a:lnTo>
                  <a:lnTo>
                    <a:pt x="308" y="350"/>
                  </a:lnTo>
                  <a:lnTo>
                    <a:pt x="320" y="342"/>
                  </a:lnTo>
                  <a:lnTo>
                    <a:pt x="332" y="332"/>
                  </a:lnTo>
                  <a:lnTo>
                    <a:pt x="342" y="320"/>
                  </a:lnTo>
                  <a:lnTo>
                    <a:pt x="350" y="308"/>
                  </a:lnTo>
                  <a:lnTo>
                    <a:pt x="354" y="292"/>
                  </a:lnTo>
                  <a:lnTo>
                    <a:pt x="356" y="276"/>
                  </a:lnTo>
                  <a:lnTo>
                    <a:pt x="356" y="276"/>
                  </a:lnTo>
                  <a:lnTo>
                    <a:pt x="354" y="260"/>
                  </a:lnTo>
                  <a:lnTo>
                    <a:pt x="350" y="244"/>
                  </a:lnTo>
                  <a:lnTo>
                    <a:pt x="312" y="244"/>
                  </a:lnTo>
                  <a:lnTo>
                    <a:pt x="312" y="244"/>
                  </a:lnTo>
                  <a:lnTo>
                    <a:pt x="318" y="252"/>
                  </a:lnTo>
                  <a:lnTo>
                    <a:pt x="320" y="260"/>
                  </a:lnTo>
                  <a:lnTo>
                    <a:pt x="324" y="268"/>
                  </a:lnTo>
                  <a:lnTo>
                    <a:pt x="324" y="276"/>
                  </a:lnTo>
                  <a:lnTo>
                    <a:pt x="324" y="276"/>
                  </a:lnTo>
                  <a:lnTo>
                    <a:pt x="324" y="286"/>
                  </a:lnTo>
                  <a:lnTo>
                    <a:pt x="320" y="294"/>
                  </a:lnTo>
                  <a:lnTo>
                    <a:pt x="316" y="302"/>
                  </a:lnTo>
                  <a:lnTo>
                    <a:pt x="310" y="310"/>
                  </a:lnTo>
                  <a:lnTo>
                    <a:pt x="302" y="316"/>
                  </a:lnTo>
                  <a:lnTo>
                    <a:pt x="294" y="320"/>
                  </a:lnTo>
                  <a:lnTo>
                    <a:pt x="286" y="324"/>
                  </a:lnTo>
                  <a:lnTo>
                    <a:pt x="276" y="324"/>
                  </a:lnTo>
                  <a:lnTo>
                    <a:pt x="276" y="324"/>
                  </a:lnTo>
                  <a:lnTo>
                    <a:pt x="266" y="324"/>
                  </a:lnTo>
                  <a:lnTo>
                    <a:pt x="258" y="320"/>
                  </a:lnTo>
                  <a:lnTo>
                    <a:pt x="250" y="316"/>
                  </a:lnTo>
                  <a:lnTo>
                    <a:pt x="242" y="310"/>
                  </a:lnTo>
                  <a:lnTo>
                    <a:pt x="236" y="302"/>
                  </a:lnTo>
                  <a:lnTo>
                    <a:pt x="232" y="294"/>
                  </a:lnTo>
                  <a:lnTo>
                    <a:pt x="228" y="286"/>
                  </a:lnTo>
                  <a:lnTo>
                    <a:pt x="228" y="276"/>
                  </a:lnTo>
                  <a:lnTo>
                    <a:pt x="228" y="244"/>
                  </a:lnTo>
                  <a:lnTo>
                    <a:pt x="204" y="244"/>
                  </a:lnTo>
                  <a:lnTo>
                    <a:pt x="204" y="264"/>
                  </a:lnTo>
                  <a:lnTo>
                    <a:pt x="188" y="264"/>
                  </a:lnTo>
                  <a:lnTo>
                    <a:pt x="188" y="244"/>
                  </a:lnTo>
                  <a:lnTo>
                    <a:pt x="164" y="244"/>
                  </a:lnTo>
                  <a:lnTo>
                    <a:pt x="164" y="276"/>
                  </a:lnTo>
                  <a:lnTo>
                    <a:pt x="164" y="276"/>
                  </a:lnTo>
                  <a:lnTo>
                    <a:pt x="164" y="286"/>
                  </a:lnTo>
                  <a:lnTo>
                    <a:pt x="160" y="294"/>
                  </a:lnTo>
                  <a:lnTo>
                    <a:pt x="156" y="302"/>
                  </a:lnTo>
                  <a:lnTo>
                    <a:pt x="150" y="310"/>
                  </a:lnTo>
                  <a:lnTo>
                    <a:pt x="142" y="316"/>
                  </a:lnTo>
                  <a:lnTo>
                    <a:pt x="134" y="320"/>
                  </a:lnTo>
                  <a:lnTo>
                    <a:pt x="126" y="324"/>
                  </a:lnTo>
                  <a:lnTo>
                    <a:pt x="116" y="324"/>
                  </a:lnTo>
                  <a:lnTo>
                    <a:pt x="116" y="324"/>
                  </a:lnTo>
                  <a:lnTo>
                    <a:pt x="106" y="324"/>
                  </a:lnTo>
                  <a:lnTo>
                    <a:pt x="98" y="320"/>
                  </a:lnTo>
                  <a:lnTo>
                    <a:pt x="90" y="316"/>
                  </a:lnTo>
                  <a:lnTo>
                    <a:pt x="82" y="310"/>
                  </a:lnTo>
                  <a:lnTo>
                    <a:pt x="76" y="302"/>
                  </a:lnTo>
                  <a:lnTo>
                    <a:pt x="72" y="294"/>
                  </a:lnTo>
                  <a:lnTo>
                    <a:pt x="68" y="286"/>
                  </a:lnTo>
                  <a:lnTo>
                    <a:pt x="68" y="276"/>
                  </a:lnTo>
                  <a:lnTo>
                    <a:pt x="68" y="276"/>
                  </a:lnTo>
                  <a:lnTo>
                    <a:pt x="68" y="266"/>
                  </a:lnTo>
                  <a:lnTo>
                    <a:pt x="72" y="258"/>
                  </a:lnTo>
                  <a:lnTo>
                    <a:pt x="76" y="250"/>
                  </a:lnTo>
                  <a:lnTo>
                    <a:pt x="82" y="242"/>
                  </a:lnTo>
                  <a:lnTo>
                    <a:pt x="90" y="236"/>
                  </a:lnTo>
                  <a:lnTo>
                    <a:pt x="98" y="232"/>
                  </a:lnTo>
                  <a:lnTo>
                    <a:pt x="106" y="228"/>
                  </a:lnTo>
                  <a:lnTo>
                    <a:pt x="116" y="228"/>
                  </a:lnTo>
                  <a:lnTo>
                    <a:pt x="164" y="228"/>
                  </a:lnTo>
                  <a:lnTo>
                    <a:pt x="164" y="228"/>
                  </a:lnTo>
                  <a:lnTo>
                    <a:pt x="228" y="228"/>
                  </a:lnTo>
                  <a:lnTo>
                    <a:pt x="228" y="228"/>
                  </a:lnTo>
                  <a:lnTo>
                    <a:pt x="276" y="228"/>
                  </a:lnTo>
                  <a:lnTo>
                    <a:pt x="276" y="228"/>
                  </a:lnTo>
                  <a:lnTo>
                    <a:pt x="278" y="228"/>
                  </a:lnTo>
                  <a:lnTo>
                    <a:pt x="340" y="228"/>
                  </a:lnTo>
                  <a:lnTo>
                    <a:pt x="340" y="228"/>
                  </a:lnTo>
                  <a:lnTo>
                    <a:pt x="392" y="228"/>
                  </a:lnTo>
                  <a:lnTo>
                    <a:pt x="392" y="164"/>
                  </a:lnTo>
                  <a:lnTo>
                    <a:pt x="340" y="164"/>
                  </a:lnTo>
                  <a:close/>
                  <a:moveTo>
                    <a:pt x="204" y="102"/>
                  </a:moveTo>
                  <a:lnTo>
                    <a:pt x="188" y="102"/>
                  </a:lnTo>
                  <a:lnTo>
                    <a:pt x="188" y="76"/>
                  </a:lnTo>
                  <a:lnTo>
                    <a:pt x="204" y="76"/>
                  </a:lnTo>
                  <a:lnTo>
                    <a:pt x="204" y="102"/>
                  </a:lnTo>
                  <a:close/>
                  <a:moveTo>
                    <a:pt x="204" y="50"/>
                  </a:moveTo>
                  <a:lnTo>
                    <a:pt x="188" y="50"/>
                  </a:lnTo>
                  <a:lnTo>
                    <a:pt x="188" y="24"/>
                  </a:lnTo>
                  <a:lnTo>
                    <a:pt x="204" y="24"/>
                  </a:lnTo>
                  <a:lnTo>
                    <a:pt x="204" y="50"/>
                  </a:lnTo>
                  <a:close/>
                  <a:moveTo>
                    <a:pt x="50" y="204"/>
                  </a:moveTo>
                  <a:lnTo>
                    <a:pt x="24" y="204"/>
                  </a:lnTo>
                  <a:lnTo>
                    <a:pt x="24" y="188"/>
                  </a:lnTo>
                  <a:lnTo>
                    <a:pt x="50" y="188"/>
                  </a:lnTo>
                  <a:lnTo>
                    <a:pt x="50" y="204"/>
                  </a:lnTo>
                  <a:close/>
                  <a:moveTo>
                    <a:pt x="188" y="290"/>
                  </a:moveTo>
                  <a:lnTo>
                    <a:pt x="204" y="290"/>
                  </a:lnTo>
                  <a:lnTo>
                    <a:pt x="204" y="316"/>
                  </a:lnTo>
                  <a:lnTo>
                    <a:pt x="188" y="316"/>
                  </a:lnTo>
                  <a:lnTo>
                    <a:pt x="188" y="290"/>
                  </a:lnTo>
                  <a:close/>
                  <a:moveTo>
                    <a:pt x="188" y="342"/>
                  </a:moveTo>
                  <a:lnTo>
                    <a:pt x="204" y="342"/>
                  </a:lnTo>
                  <a:lnTo>
                    <a:pt x="204" y="368"/>
                  </a:lnTo>
                  <a:lnTo>
                    <a:pt x="188" y="368"/>
                  </a:lnTo>
                  <a:lnTo>
                    <a:pt x="188" y="342"/>
                  </a:lnTo>
                  <a:close/>
                  <a:moveTo>
                    <a:pt x="104" y="204"/>
                  </a:moveTo>
                  <a:lnTo>
                    <a:pt x="76" y="204"/>
                  </a:lnTo>
                  <a:lnTo>
                    <a:pt x="76" y="188"/>
                  </a:lnTo>
                  <a:lnTo>
                    <a:pt x="104" y="188"/>
                  </a:lnTo>
                  <a:lnTo>
                    <a:pt x="104" y="204"/>
                  </a:lnTo>
                  <a:close/>
                  <a:moveTo>
                    <a:pt x="156" y="204"/>
                  </a:moveTo>
                  <a:lnTo>
                    <a:pt x="130" y="204"/>
                  </a:lnTo>
                  <a:lnTo>
                    <a:pt x="130" y="188"/>
                  </a:lnTo>
                  <a:lnTo>
                    <a:pt x="156" y="188"/>
                  </a:lnTo>
                  <a:lnTo>
                    <a:pt x="156" y="204"/>
                  </a:lnTo>
                  <a:close/>
                  <a:moveTo>
                    <a:pt x="210" y="204"/>
                  </a:moveTo>
                  <a:lnTo>
                    <a:pt x="182" y="204"/>
                  </a:lnTo>
                  <a:lnTo>
                    <a:pt x="182" y="188"/>
                  </a:lnTo>
                  <a:lnTo>
                    <a:pt x="210" y="188"/>
                  </a:lnTo>
                  <a:lnTo>
                    <a:pt x="210" y="204"/>
                  </a:lnTo>
                  <a:close/>
                  <a:moveTo>
                    <a:pt x="262" y="204"/>
                  </a:moveTo>
                  <a:lnTo>
                    <a:pt x="236" y="204"/>
                  </a:lnTo>
                  <a:lnTo>
                    <a:pt x="236" y="188"/>
                  </a:lnTo>
                  <a:lnTo>
                    <a:pt x="262" y="188"/>
                  </a:lnTo>
                  <a:lnTo>
                    <a:pt x="262" y="204"/>
                  </a:lnTo>
                  <a:close/>
                  <a:moveTo>
                    <a:pt x="316" y="204"/>
                  </a:moveTo>
                  <a:lnTo>
                    <a:pt x="288" y="204"/>
                  </a:lnTo>
                  <a:lnTo>
                    <a:pt x="288" y="188"/>
                  </a:lnTo>
                  <a:lnTo>
                    <a:pt x="316" y="188"/>
                  </a:lnTo>
                  <a:lnTo>
                    <a:pt x="316" y="204"/>
                  </a:lnTo>
                  <a:close/>
                  <a:moveTo>
                    <a:pt x="368" y="204"/>
                  </a:moveTo>
                  <a:lnTo>
                    <a:pt x="342" y="204"/>
                  </a:lnTo>
                  <a:lnTo>
                    <a:pt x="342" y="188"/>
                  </a:lnTo>
                  <a:lnTo>
                    <a:pt x="368" y="188"/>
                  </a:lnTo>
                  <a:lnTo>
                    <a:pt x="368" y="20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17" name="Group 116">
            <a:extLst>
              <a:ext uri="{FF2B5EF4-FFF2-40B4-BE49-F238E27FC236}">
                <a16:creationId xmlns:a16="http://schemas.microsoft.com/office/drawing/2014/main" id="{5F72DF0A-23B7-4648-AFE1-E4CE3ED5C0FB}"/>
              </a:ext>
            </a:extLst>
          </p:cNvPr>
          <p:cNvGrpSpPr/>
          <p:nvPr/>
        </p:nvGrpSpPr>
        <p:grpSpPr>
          <a:xfrm>
            <a:off x="4528484" y="5136080"/>
            <a:ext cx="612000" cy="612000"/>
            <a:chOff x="4091659" y="5907019"/>
            <a:chExt cx="612000" cy="612000"/>
          </a:xfrm>
        </p:grpSpPr>
        <p:sp>
          <p:nvSpPr>
            <p:cNvPr id="118" name="Oval 117">
              <a:extLst>
                <a:ext uri="{FF2B5EF4-FFF2-40B4-BE49-F238E27FC236}">
                  <a16:creationId xmlns:a16="http://schemas.microsoft.com/office/drawing/2014/main" id="{66BFB0BE-A542-4233-BA08-BCBA1FC9E6F4}"/>
                </a:ext>
              </a:extLst>
            </p:cNvPr>
            <p:cNvSpPr/>
            <p:nvPr/>
          </p:nvSpPr>
          <p:spPr bwMode="ltGray">
            <a:xfrm>
              <a:off x="4091659"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19" name="Freeform 4978">
              <a:extLst>
                <a:ext uri="{FF2B5EF4-FFF2-40B4-BE49-F238E27FC236}">
                  <a16:creationId xmlns:a16="http://schemas.microsoft.com/office/drawing/2014/main" id="{3AA499DA-5962-4E13-A778-4917AAA16DA3}"/>
                </a:ext>
              </a:extLst>
            </p:cNvPr>
            <p:cNvSpPr>
              <a:spLocks noEditPoints="1"/>
            </p:cNvSpPr>
            <p:nvPr/>
          </p:nvSpPr>
          <p:spPr bwMode="auto">
            <a:xfrm>
              <a:off x="4203726" y="6054992"/>
              <a:ext cx="387866" cy="325230"/>
            </a:xfrm>
            <a:custGeom>
              <a:avLst/>
              <a:gdLst>
                <a:gd name="T0" fmla="*/ 280 w 322"/>
                <a:gd name="T1" fmla="*/ 110 h 270"/>
                <a:gd name="T2" fmla="*/ 74 w 322"/>
                <a:gd name="T3" fmla="*/ 110 h 270"/>
                <a:gd name="T4" fmla="*/ 64 w 322"/>
                <a:gd name="T5" fmla="*/ 112 h 270"/>
                <a:gd name="T6" fmla="*/ 48 w 322"/>
                <a:gd name="T7" fmla="*/ 128 h 270"/>
                <a:gd name="T8" fmla="*/ 46 w 322"/>
                <a:gd name="T9" fmla="*/ 140 h 270"/>
                <a:gd name="T10" fmla="*/ 8 w 322"/>
                <a:gd name="T11" fmla="*/ 132 h 270"/>
                <a:gd name="T12" fmla="*/ 4 w 322"/>
                <a:gd name="T13" fmla="*/ 130 h 270"/>
                <a:gd name="T14" fmla="*/ 0 w 322"/>
                <a:gd name="T15" fmla="*/ 124 h 270"/>
                <a:gd name="T16" fmla="*/ 12 w 322"/>
                <a:gd name="T17" fmla="*/ 88 h 270"/>
                <a:gd name="T18" fmla="*/ 14 w 322"/>
                <a:gd name="T19" fmla="*/ 90 h 270"/>
                <a:gd name="T20" fmla="*/ 26 w 322"/>
                <a:gd name="T21" fmla="*/ 92 h 270"/>
                <a:gd name="T22" fmla="*/ 44 w 322"/>
                <a:gd name="T23" fmla="*/ 84 h 270"/>
                <a:gd name="T24" fmla="*/ 50 w 322"/>
                <a:gd name="T25" fmla="*/ 74 h 270"/>
                <a:gd name="T26" fmla="*/ 50 w 322"/>
                <a:gd name="T27" fmla="*/ 52 h 270"/>
                <a:gd name="T28" fmla="*/ 34 w 322"/>
                <a:gd name="T29" fmla="*/ 38 h 270"/>
                <a:gd name="T30" fmla="*/ 32 w 322"/>
                <a:gd name="T31" fmla="*/ 38 h 270"/>
                <a:gd name="T32" fmla="*/ 42 w 322"/>
                <a:gd name="T33" fmla="*/ 8 h 270"/>
                <a:gd name="T34" fmla="*/ 48 w 322"/>
                <a:gd name="T35" fmla="*/ 2 h 270"/>
                <a:gd name="T36" fmla="*/ 52 w 322"/>
                <a:gd name="T37" fmla="*/ 0 h 270"/>
                <a:gd name="T38" fmla="*/ 278 w 322"/>
                <a:gd name="T39" fmla="*/ 84 h 270"/>
                <a:gd name="T40" fmla="*/ 282 w 322"/>
                <a:gd name="T41" fmla="*/ 86 h 270"/>
                <a:gd name="T42" fmla="*/ 286 w 322"/>
                <a:gd name="T43" fmla="*/ 94 h 270"/>
                <a:gd name="T44" fmla="*/ 284 w 322"/>
                <a:gd name="T45" fmla="*/ 98 h 270"/>
                <a:gd name="T46" fmla="*/ 320 w 322"/>
                <a:gd name="T47" fmla="*/ 228 h 270"/>
                <a:gd name="T48" fmla="*/ 300 w 322"/>
                <a:gd name="T49" fmla="*/ 218 h 270"/>
                <a:gd name="T50" fmla="*/ 292 w 322"/>
                <a:gd name="T51" fmla="*/ 200 h 270"/>
                <a:gd name="T52" fmla="*/ 294 w 322"/>
                <a:gd name="T53" fmla="*/ 188 h 270"/>
                <a:gd name="T54" fmla="*/ 308 w 322"/>
                <a:gd name="T55" fmla="*/ 174 h 270"/>
                <a:gd name="T56" fmla="*/ 320 w 322"/>
                <a:gd name="T57" fmla="*/ 172 h 270"/>
                <a:gd name="T58" fmla="*/ 322 w 322"/>
                <a:gd name="T59" fmla="*/ 140 h 270"/>
                <a:gd name="T60" fmla="*/ 322 w 322"/>
                <a:gd name="T61" fmla="*/ 136 h 270"/>
                <a:gd name="T62" fmla="*/ 316 w 322"/>
                <a:gd name="T63" fmla="*/ 130 h 270"/>
                <a:gd name="T64" fmla="*/ 74 w 322"/>
                <a:gd name="T65" fmla="*/ 130 h 270"/>
                <a:gd name="T66" fmla="*/ 70 w 322"/>
                <a:gd name="T67" fmla="*/ 130 h 270"/>
                <a:gd name="T68" fmla="*/ 66 w 322"/>
                <a:gd name="T69" fmla="*/ 136 h 270"/>
                <a:gd name="T70" fmla="*/ 64 w 322"/>
                <a:gd name="T71" fmla="*/ 172 h 270"/>
                <a:gd name="T72" fmla="*/ 68 w 322"/>
                <a:gd name="T73" fmla="*/ 172 h 270"/>
                <a:gd name="T74" fmla="*/ 78 w 322"/>
                <a:gd name="T75" fmla="*/ 174 h 270"/>
                <a:gd name="T76" fmla="*/ 92 w 322"/>
                <a:gd name="T77" fmla="*/ 188 h 270"/>
                <a:gd name="T78" fmla="*/ 94 w 322"/>
                <a:gd name="T79" fmla="*/ 200 h 270"/>
                <a:gd name="T80" fmla="*/ 86 w 322"/>
                <a:gd name="T81" fmla="*/ 218 h 270"/>
                <a:gd name="T82" fmla="*/ 68 w 322"/>
                <a:gd name="T83" fmla="*/ 228 h 270"/>
                <a:gd name="T84" fmla="*/ 64 w 322"/>
                <a:gd name="T85" fmla="*/ 226 h 270"/>
                <a:gd name="T86" fmla="*/ 64 w 322"/>
                <a:gd name="T87" fmla="*/ 258 h 270"/>
                <a:gd name="T88" fmla="*/ 68 w 322"/>
                <a:gd name="T89" fmla="*/ 266 h 270"/>
                <a:gd name="T90" fmla="*/ 74 w 322"/>
                <a:gd name="T91" fmla="*/ 270 h 270"/>
                <a:gd name="T92" fmla="*/ 312 w 322"/>
                <a:gd name="T93" fmla="*/ 270 h 270"/>
                <a:gd name="T94" fmla="*/ 320 w 322"/>
                <a:gd name="T95" fmla="*/ 266 h 270"/>
                <a:gd name="T96" fmla="*/ 322 w 322"/>
                <a:gd name="T97" fmla="*/ 258 h 270"/>
                <a:gd name="T98" fmla="*/ 322 w 322"/>
                <a:gd name="T99" fmla="*/ 226 h 270"/>
                <a:gd name="T100" fmla="*/ 320 w 322"/>
                <a:gd name="T101" fmla="*/ 228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2" h="270">
                  <a:moveTo>
                    <a:pt x="284" y="98"/>
                  </a:moveTo>
                  <a:lnTo>
                    <a:pt x="280" y="110"/>
                  </a:lnTo>
                  <a:lnTo>
                    <a:pt x="74" y="110"/>
                  </a:lnTo>
                  <a:lnTo>
                    <a:pt x="74" y="110"/>
                  </a:lnTo>
                  <a:lnTo>
                    <a:pt x="68" y="110"/>
                  </a:lnTo>
                  <a:lnTo>
                    <a:pt x="64" y="112"/>
                  </a:lnTo>
                  <a:lnTo>
                    <a:pt x="54" y="118"/>
                  </a:lnTo>
                  <a:lnTo>
                    <a:pt x="48" y="128"/>
                  </a:lnTo>
                  <a:lnTo>
                    <a:pt x="46" y="134"/>
                  </a:lnTo>
                  <a:lnTo>
                    <a:pt x="46" y="140"/>
                  </a:lnTo>
                  <a:lnTo>
                    <a:pt x="46" y="146"/>
                  </a:lnTo>
                  <a:lnTo>
                    <a:pt x="8" y="132"/>
                  </a:lnTo>
                  <a:lnTo>
                    <a:pt x="8" y="132"/>
                  </a:lnTo>
                  <a:lnTo>
                    <a:pt x="4" y="130"/>
                  </a:lnTo>
                  <a:lnTo>
                    <a:pt x="2" y="128"/>
                  </a:lnTo>
                  <a:lnTo>
                    <a:pt x="0" y="124"/>
                  </a:lnTo>
                  <a:lnTo>
                    <a:pt x="0" y="120"/>
                  </a:lnTo>
                  <a:lnTo>
                    <a:pt x="12" y="88"/>
                  </a:lnTo>
                  <a:lnTo>
                    <a:pt x="12" y="88"/>
                  </a:lnTo>
                  <a:lnTo>
                    <a:pt x="14" y="90"/>
                  </a:lnTo>
                  <a:lnTo>
                    <a:pt x="14" y="90"/>
                  </a:lnTo>
                  <a:lnTo>
                    <a:pt x="26" y="92"/>
                  </a:lnTo>
                  <a:lnTo>
                    <a:pt x="36" y="90"/>
                  </a:lnTo>
                  <a:lnTo>
                    <a:pt x="44" y="84"/>
                  </a:lnTo>
                  <a:lnTo>
                    <a:pt x="50" y="74"/>
                  </a:lnTo>
                  <a:lnTo>
                    <a:pt x="50" y="74"/>
                  </a:lnTo>
                  <a:lnTo>
                    <a:pt x="52" y="64"/>
                  </a:lnTo>
                  <a:lnTo>
                    <a:pt x="50" y="52"/>
                  </a:lnTo>
                  <a:lnTo>
                    <a:pt x="44" y="44"/>
                  </a:lnTo>
                  <a:lnTo>
                    <a:pt x="34" y="38"/>
                  </a:lnTo>
                  <a:lnTo>
                    <a:pt x="34" y="38"/>
                  </a:lnTo>
                  <a:lnTo>
                    <a:pt x="32" y="38"/>
                  </a:lnTo>
                  <a:lnTo>
                    <a:pt x="42" y="8"/>
                  </a:lnTo>
                  <a:lnTo>
                    <a:pt x="42" y="8"/>
                  </a:lnTo>
                  <a:lnTo>
                    <a:pt x="44" y="4"/>
                  </a:lnTo>
                  <a:lnTo>
                    <a:pt x="48" y="2"/>
                  </a:lnTo>
                  <a:lnTo>
                    <a:pt x="48" y="2"/>
                  </a:lnTo>
                  <a:lnTo>
                    <a:pt x="52" y="0"/>
                  </a:lnTo>
                  <a:lnTo>
                    <a:pt x="56" y="2"/>
                  </a:lnTo>
                  <a:lnTo>
                    <a:pt x="278" y="84"/>
                  </a:lnTo>
                  <a:lnTo>
                    <a:pt x="278" y="84"/>
                  </a:lnTo>
                  <a:lnTo>
                    <a:pt x="282" y="86"/>
                  </a:lnTo>
                  <a:lnTo>
                    <a:pt x="284" y="90"/>
                  </a:lnTo>
                  <a:lnTo>
                    <a:pt x="286" y="94"/>
                  </a:lnTo>
                  <a:lnTo>
                    <a:pt x="284" y="98"/>
                  </a:lnTo>
                  <a:lnTo>
                    <a:pt x="284" y="98"/>
                  </a:lnTo>
                  <a:close/>
                  <a:moveTo>
                    <a:pt x="320" y="228"/>
                  </a:moveTo>
                  <a:lnTo>
                    <a:pt x="320" y="228"/>
                  </a:lnTo>
                  <a:lnTo>
                    <a:pt x="308" y="224"/>
                  </a:lnTo>
                  <a:lnTo>
                    <a:pt x="300" y="218"/>
                  </a:lnTo>
                  <a:lnTo>
                    <a:pt x="294" y="210"/>
                  </a:lnTo>
                  <a:lnTo>
                    <a:pt x="292" y="200"/>
                  </a:lnTo>
                  <a:lnTo>
                    <a:pt x="292" y="200"/>
                  </a:lnTo>
                  <a:lnTo>
                    <a:pt x="294" y="188"/>
                  </a:lnTo>
                  <a:lnTo>
                    <a:pt x="300" y="180"/>
                  </a:lnTo>
                  <a:lnTo>
                    <a:pt x="308" y="174"/>
                  </a:lnTo>
                  <a:lnTo>
                    <a:pt x="320" y="172"/>
                  </a:lnTo>
                  <a:lnTo>
                    <a:pt x="320" y="172"/>
                  </a:lnTo>
                  <a:lnTo>
                    <a:pt x="322" y="172"/>
                  </a:lnTo>
                  <a:lnTo>
                    <a:pt x="322" y="140"/>
                  </a:lnTo>
                  <a:lnTo>
                    <a:pt x="322" y="140"/>
                  </a:lnTo>
                  <a:lnTo>
                    <a:pt x="322" y="136"/>
                  </a:lnTo>
                  <a:lnTo>
                    <a:pt x="320" y="132"/>
                  </a:lnTo>
                  <a:lnTo>
                    <a:pt x="316" y="130"/>
                  </a:lnTo>
                  <a:lnTo>
                    <a:pt x="312" y="130"/>
                  </a:lnTo>
                  <a:lnTo>
                    <a:pt x="74" y="130"/>
                  </a:lnTo>
                  <a:lnTo>
                    <a:pt x="74" y="130"/>
                  </a:lnTo>
                  <a:lnTo>
                    <a:pt x="70" y="130"/>
                  </a:lnTo>
                  <a:lnTo>
                    <a:pt x="68" y="132"/>
                  </a:lnTo>
                  <a:lnTo>
                    <a:pt x="66" y="136"/>
                  </a:lnTo>
                  <a:lnTo>
                    <a:pt x="64" y="140"/>
                  </a:lnTo>
                  <a:lnTo>
                    <a:pt x="64" y="172"/>
                  </a:lnTo>
                  <a:lnTo>
                    <a:pt x="64" y="172"/>
                  </a:lnTo>
                  <a:lnTo>
                    <a:pt x="68" y="172"/>
                  </a:lnTo>
                  <a:lnTo>
                    <a:pt x="68" y="172"/>
                  </a:lnTo>
                  <a:lnTo>
                    <a:pt x="78" y="174"/>
                  </a:lnTo>
                  <a:lnTo>
                    <a:pt x="86" y="180"/>
                  </a:lnTo>
                  <a:lnTo>
                    <a:pt x="92" y="188"/>
                  </a:lnTo>
                  <a:lnTo>
                    <a:pt x="94" y="200"/>
                  </a:lnTo>
                  <a:lnTo>
                    <a:pt x="94" y="200"/>
                  </a:lnTo>
                  <a:lnTo>
                    <a:pt x="92" y="210"/>
                  </a:lnTo>
                  <a:lnTo>
                    <a:pt x="86" y="218"/>
                  </a:lnTo>
                  <a:lnTo>
                    <a:pt x="78" y="224"/>
                  </a:lnTo>
                  <a:lnTo>
                    <a:pt x="68" y="228"/>
                  </a:lnTo>
                  <a:lnTo>
                    <a:pt x="68" y="228"/>
                  </a:lnTo>
                  <a:lnTo>
                    <a:pt x="64" y="226"/>
                  </a:lnTo>
                  <a:lnTo>
                    <a:pt x="64" y="258"/>
                  </a:lnTo>
                  <a:lnTo>
                    <a:pt x="64" y="258"/>
                  </a:lnTo>
                  <a:lnTo>
                    <a:pt x="66" y="264"/>
                  </a:lnTo>
                  <a:lnTo>
                    <a:pt x="68" y="266"/>
                  </a:lnTo>
                  <a:lnTo>
                    <a:pt x="70" y="268"/>
                  </a:lnTo>
                  <a:lnTo>
                    <a:pt x="74" y="270"/>
                  </a:lnTo>
                  <a:lnTo>
                    <a:pt x="312" y="270"/>
                  </a:lnTo>
                  <a:lnTo>
                    <a:pt x="312" y="270"/>
                  </a:lnTo>
                  <a:lnTo>
                    <a:pt x="316" y="268"/>
                  </a:lnTo>
                  <a:lnTo>
                    <a:pt x="320" y="266"/>
                  </a:lnTo>
                  <a:lnTo>
                    <a:pt x="322" y="264"/>
                  </a:lnTo>
                  <a:lnTo>
                    <a:pt x="322" y="258"/>
                  </a:lnTo>
                  <a:lnTo>
                    <a:pt x="322" y="226"/>
                  </a:lnTo>
                  <a:lnTo>
                    <a:pt x="322" y="226"/>
                  </a:lnTo>
                  <a:lnTo>
                    <a:pt x="320" y="228"/>
                  </a:lnTo>
                  <a:lnTo>
                    <a:pt x="320" y="22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20" name="Group 119">
            <a:extLst>
              <a:ext uri="{FF2B5EF4-FFF2-40B4-BE49-F238E27FC236}">
                <a16:creationId xmlns:a16="http://schemas.microsoft.com/office/drawing/2014/main" id="{78E48DA0-A627-4730-A979-7D55534E7944}"/>
              </a:ext>
            </a:extLst>
          </p:cNvPr>
          <p:cNvGrpSpPr/>
          <p:nvPr/>
        </p:nvGrpSpPr>
        <p:grpSpPr>
          <a:xfrm>
            <a:off x="5409433" y="5136080"/>
            <a:ext cx="612000" cy="612000"/>
            <a:chOff x="4974643" y="5907019"/>
            <a:chExt cx="612000" cy="612000"/>
          </a:xfrm>
        </p:grpSpPr>
        <p:sp>
          <p:nvSpPr>
            <p:cNvPr id="121" name="Oval 120">
              <a:extLst>
                <a:ext uri="{FF2B5EF4-FFF2-40B4-BE49-F238E27FC236}">
                  <a16:creationId xmlns:a16="http://schemas.microsoft.com/office/drawing/2014/main" id="{43C27077-EA3F-4990-9DF3-959761E9EEBB}"/>
                </a:ext>
              </a:extLst>
            </p:cNvPr>
            <p:cNvSpPr/>
            <p:nvPr/>
          </p:nvSpPr>
          <p:spPr bwMode="ltGray">
            <a:xfrm>
              <a:off x="4974643"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22" name="Freeform 4979">
              <a:extLst>
                <a:ext uri="{FF2B5EF4-FFF2-40B4-BE49-F238E27FC236}">
                  <a16:creationId xmlns:a16="http://schemas.microsoft.com/office/drawing/2014/main" id="{6CCE78C6-64DF-4D07-AC8D-77E28BCE9AE7}"/>
                </a:ext>
              </a:extLst>
            </p:cNvPr>
            <p:cNvSpPr>
              <a:spLocks noEditPoints="1"/>
            </p:cNvSpPr>
            <p:nvPr/>
          </p:nvSpPr>
          <p:spPr bwMode="auto">
            <a:xfrm>
              <a:off x="5057801" y="6067038"/>
              <a:ext cx="445685" cy="366185"/>
            </a:xfrm>
            <a:custGeom>
              <a:avLst/>
              <a:gdLst>
                <a:gd name="T0" fmla="*/ 10 w 370"/>
                <a:gd name="T1" fmla="*/ 28 h 304"/>
                <a:gd name="T2" fmla="*/ 2 w 370"/>
                <a:gd name="T3" fmla="*/ 4 h 304"/>
                <a:gd name="T4" fmla="*/ 12 w 370"/>
                <a:gd name="T5" fmla="*/ 2 h 304"/>
                <a:gd name="T6" fmla="*/ 18 w 370"/>
                <a:gd name="T7" fmla="*/ 10 h 304"/>
                <a:gd name="T8" fmla="*/ 366 w 370"/>
                <a:gd name="T9" fmla="*/ 170 h 304"/>
                <a:gd name="T10" fmla="*/ 336 w 370"/>
                <a:gd name="T11" fmla="*/ 186 h 304"/>
                <a:gd name="T12" fmla="*/ 300 w 370"/>
                <a:gd name="T13" fmla="*/ 234 h 304"/>
                <a:gd name="T14" fmla="*/ 292 w 370"/>
                <a:gd name="T15" fmla="*/ 282 h 304"/>
                <a:gd name="T16" fmla="*/ 252 w 370"/>
                <a:gd name="T17" fmla="*/ 304 h 304"/>
                <a:gd name="T18" fmla="*/ 240 w 370"/>
                <a:gd name="T19" fmla="*/ 302 h 304"/>
                <a:gd name="T20" fmla="*/ 134 w 370"/>
                <a:gd name="T21" fmla="*/ 256 h 304"/>
                <a:gd name="T22" fmla="*/ 114 w 370"/>
                <a:gd name="T23" fmla="*/ 304 h 304"/>
                <a:gd name="T24" fmla="*/ 72 w 370"/>
                <a:gd name="T25" fmla="*/ 292 h 304"/>
                <a:gd name="T26" fmla="*/ 78 w 370"/>
                <a:gd name="T27" fmla="*/ 246 h 304"/>
                <a:gd name="T28" fmla="*/ 30 w 370"/>
                <a:gd name="T29" fmla="*/ 206 h 304"/>
                <a:gd name="T30" fmla="*/ 12 w 370"/>
                <a:gd name="T31" fmla="*/ 144 h 304"/>
                <a:gd name="T32" fmla="*/ 32 w 370"/>
                <a:gd name="T33" fmla="*/ 82 h 304"/>
                <a:gd name="T34" fmla="*/ 28 w 370"/>
                <a:gd name="T35" fmla="*/ 78 h 304"/>
                <a:gd name="T36" fmla="*/ 24 w 370"/>
                <a:gd name="T37" fmla="*/ 72 h 304"/>
                <a:gd name="T38" fmla="*/ 18 w 370"/>
                <a:gd name="T39" fmla="*/ 28 h 304"/>
                <a:gd name="T40" fmla="*/ 48 w 370"/>
                <a:gd name="T41" fmla="*/ 0 h 304"/>
                <a:gd name="T42" fmla="*/ 64 w 370"/>
                <a:gd name="T43" fmla="*/ 4 h 304"/>
                <a:gd name="T44" fmla="*/ 74 w 370"/>
                <a:gd name="T45" fmla="*/ 28 h 304"/>
                <a:gd name="T46" fmla="*/ 50 w 370"/>
                <a:gd name="T47" fmla="*/ 48 h 304"/>
                <a:gd name="T48" fmla="*/ 40 w 370"/>
                <a:gd name="T49" fmla="*/ 40 h 304"/>
                <a:gd name="T50" fmla="*/ 48 w 370"/>
                <a:gd name="T51" fmla="*/ 32 h 304"/>
                <a:gd name="T52" fmla="*/ 58 w 370"/>
                <a:gd name="T53" fmla="*/ 22 h 304"/>
                <a:gd name="T54" fmla="*/ 50 w 370"/>
                <a:gd name="T55" fmla="*/ 16 h 304"/>
                <a:gd name="T56" fmla="*/ 32 w 370"/>
                <a:gd name="T57" fmla="*/ 34 h 304"/>
                <a:gd name="T58" fmla="*/ 40 w 370"/>
                <a:gd name="T59" fmla="*/ 68 h 304"/>
                <a:gd name="T60" fmla="*/ 68 w 370"/>
                <a:gd name="T61" fmla="*/ 48 h 304"/>
                <a:gd name="T62" fmla="*/ 126 w 370"/>
                <a:gd name="T63" fmla="*/ 32 h 304"/>
                <a:gd name="T64" fmla="*/ 242 w 370"/>
                <a:gd name="T65" fmla="*/ 32 h 304"/>
                <a:gd name="T66" fmla="*/ 252 w 370"/>
                <a:gd name="T67" fmla="*/ 14 h 304"/>
                <a:gd name="T68" fmla="*/ 294 w 370"/>
                <a:gd name="T69" fmla="*/ 0 h 304"/>
                <a:gd name="T70" fmla="*/ 320 w 370"/>
                <a:gd name="T71" fmla="*/ 76 h 304"/>
                <a:gd name="T72" fmla="*/ 360 w 370"/>
                <a:gd name="T73" fmla="*/ 116 h 304"/>
                <a:gd name="T74" fmla="*/ 212 w 370"/>
                <a:gd name="T75" fmla="*/ 226 h 304"/>
                <a:gd name="T76" fmla="*/ 204 w 370"/>
                <a:gd name="T77" fmla="*/ 218 h 304"/>
                <a:gd name="T78" fmla="*/ 86 w 370"/>
                <a:gd name="T79" fmla="*/ 206 h 304"/>
                <a:gd name="T80" fmla="*/ 54 w 370"/>
                <a:gd name="T81" fmla="*/ 146 h 304"/>
                <a:gd name="T82" fmla="*/ 46 w 370"/>
                <a:gd name="T83" fmla="*/ 138 h 304"/>
                <a:gd name="T84" fmla="*/ 38 w 370"/>
                <a:gd name="T85" fmla="*/ 146 h 304"/>
                <a:gd name="T86" fmla="*/ 64 w 370"/>
                <a:gd name="T87" fmla="*/ 208 h 304"/>
                <a:gd name="T88" fmla="*/ 204 w 370"/>
                <a:gd name="T89" fmla="*/ 234 h 304"/>
                <a:gd name="T90" fmla="*/ 212 w 370"/>
                <a:gd name="T91" fmla="*/ 226 h 304"/>
                <a:gd name="T92" fmla="*/ 216 w 370"/>
                <a:gd name="T93" fmla="*/ 58 h 304"/>
                <a:gd name="T94" fmla="*/ 144 w 370"/>
                <a:gd name="T95" fmla="*/ 56 h 304"/>
                <a:gd name="T96" fmla="*/ 138 w 370"/>
                <a:gd name="T97" fmla="*/ 70 h 304"/>
                <a:gd name="T98" fmla="*/ 210 w 370"/>
                <a:gd name="T99" fmla="*/ 76 h 304"/>
                <a:gd name="T100" fmla="*/ 220 w 370"/>
                <a:gd name="T101" fmla="*/ 66 h 304"/>
                <a:gd name="T102" fmla="*/ 296 w 370"/>
                <a:gd name="T103" fmla="*/ 94 h 304"/>
                <a:gd name="T104" fmla="*/ 280 w 370"/>
                <a:gd name="T105" fmla="*/ 102 h 304"/>
                <a:gd name="T106" fmla="*/ 286 w 370"/>
                <a:gd name="T107" fmla="*/ 118 h 304"/>
                <a:gd name="T108" fmla="*/ 304 w 370"/>
                <a:gd name="T109" fmla="*/ 112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0" h="304">
                  <a:moveTo>
                    <a:pt x="18" y="10"/>
                  </a:moveTo>
                  <a:lnTo>
                    <a:pt x="18" y="10"/>
                  </a:lnTo>
                  <a:lnTo>
                    <a:pt x="12" y="18"/>
                  </a:lnTo>
                  <a:lnTo>
                    <a:pt x="10" y="28"/>
                  </a:lnTo>
                  <a:lnTo>
                    <a:pt x="10" y="28"/>
                  </a:lnTo>
                  <a:lnTo>
                    <a:pt x="4" y="20"/>
                  </a:lnTo>
                  <a:lnTo>
                    <a:pt x="0" y="10"/>
                  </a:lnTo>
                  <a:lnTo>
                    <a:pt x="0" y="10"/>
                  </a:lnTo>
                  <a:lnTo>
                    <a:pt x="0" y="8"/>
                  </a:lnTo>
                  <a:lnTo>
                    <a:pt x="2" y="4"/>
                  </a:lnTo>
                  <a:lnTo>
                    <a:pt x="4" y="2"/>
                  </a:lnTo>
                  <a:lnTo>
                    <a:pt x="6" y="0"/>
                  </a:lnTo>
                  <a:lnTo>
                    <a:pt x="6" y="0"/>
                  </a:lnTo>
                  <a:lnTo>
                    <a:pt x="10" y="0"/>
                  </a:lnTo>
                  <a:lnTo>
                    <a:pt x="12" y="2"/>
                  </a:lnTo>
                  <a:lnTo>
                    <a:pt x="14" y="4"/>
                  </a:lnTo>
                  <a:lnTo>
                    <a:pt x="16" y="6"/>
                  </a:lnTo>
                  <a:lnTo>
                    <a:pt x="16" y="6"/>
                  </a:lnTo>
                  <a:lnTo>
                    <a:pt x="18" y="10"/>
                  </a:lnTo>
                  <a:lnTo>
                    <a:pt x="18" y="10"/>
                  </a:lnTo>
                  <a:close/>
                  <a:moveTo>
                    <a:pt x="370" y="130"/>
                  </a:moveTo>
                  <a:lnTo>
                    <a:pt x="370" y="158"/>
                  </a:lnTo>
                  <a:lnTo>
                    <a:pt x="370" y="158"/>
                  </a:lnTo>
                  <a:lnTo>
                    <a:pt x="368" y="164"/>
                  </a:lnTo>
                  <a:lnTo>
                    <a:pt x="366" y="170"/>
                  </a:lnTo>
                  <a:lnTo>
                    <a:pt x="360" y="174"/>
                  </a:lnTo>
                  <a:lnTo>
                    <a:pt x="354" y="174"/>
                  </a:lnTo>
                  <a:lnTo>
                    <a:pt x="340" y="174"/>
                  </a:lnTo>
                  <a:lnTo>
                    <a:pt x="340" y="174"/>
                  </a:lnTo>
                  <a:lnTo>
                    <a:pt x="336" y="186"/>
                  </a:lnTo>
                  <a:lnTo>
                    <a:pt x="332" y="198"/>
                  </a:lnTo>
                  <a:lnTo>
                    <a:pt x="324" y="208"/>
                  </a:lnTo>
                  <a:lnTo>
                    <a:pt x="318" y="216"/>
                  </a:lnTo>
                  <a:lnTo>
                    <a:pt x="310" y="226"/>
                  </a:lnTo>
                  <a:lnTo>
                    <a:pt x="300" y="234"/>
                  </a:lnTo>
                  <a:lnTo>
                    <a:pt x="290" y="240"/>
                  </a:lnTo>
                  <a:lnTo>
                    <a:pt x="280" y="246"/>
                  </a:lnTo>
                  <a:lnTo>
                    <a:pt x="292" y="278"/>
                  </a:lnTo>
                  <a:lnTo>
                    <a:pt x="292" y="278"/>
                  </a:lnTo>
                  <a:lnTo>
                    <a:pt x="292" y="282"/>
                  </a:lnTo>
                  <a:lnTo>
                    <a:pt x="292" y="286"/>
                  </a:lnTo>
                  <a:lnTo>
                    <a:pt x="290" y="290"/>
                  </a:lnTo>
                  <a:lnTo>
                    <a:pt x="286" y="292"/>
                  </a:lnTo>
                  <a:lnTo>
                    <a:pt x="252" y="304"/>
                  </a:lnTo>
                  <a:lnTo>
                    <a:pt x="252" y="304"/>
                  </a:lnTo>
                  <a:lnTo>
                    <a:pt x="248" y="304"/>
                  </a:lnTo>
                  <a:lnTo>
                    <a:pt x="248" y="304"/>
                  </a:lnTo>
                  <a:lnTo>
                    <a:pt x="244" y="304"/>
                  </a:lnTo>
                  <a:lnTo>
                    <a:pt x="244" y="304"/>
                  </a:lnTo>
                  <a:lnTo>
                    <a:pt x="240" y="302"/>
                  </a:lnTo>
                  <a:lnTo>
                    <a:pt x="238" y="298"/>
                  </a:lnTo>
                  <a:lnTo>
                    <a:pt x="224" y="256"/>
                  </a:lnTo>
                  <a:lnTo>
                    <a:pt x="194" y="256"/>
                  </a:lnTo>
                  <a:lnTo>
                    <a:pt x="162" y="256"/>
                  </a:lnTo>
                  <a:lnTo>
                    <a:pt x="134" y="256"/>
                  </a:lnTo>
                  <a:lnTo>
                    <a:pt x="120" y="298"/>
                  </a:lnTo>
                  <a:lnTo>
                    <a:pt x="120" y="298"/>
                  </a:lnTo>
                  <a:lnTo>
                    <a:pt x="118" y="302"/>
                  </a:lnTo>
                  <a:lnTo>
                    <a:pt x="114" y="304"/>
                  </a:lnTo>
                  <a:lnTo>
                    <a:pt x="114" y="304"/>
                  </a:lnTo>
                  <a:lnTo>
                    <a:pt x="110" y="304"/>
                  </a:lnTo>
                  <a:lnTo>
                    <a:pt x="110" y="304"/>
                  </a:lnTo>
                  <a:lnTo>
                    <a:pt x="106" y="304"/>
                  </a:lnTo>
                  <a:lnTo>
                    <a:pt x="72" y="292"/>
                  </a:lnTo>
                  <a:lnTo>
                    <a:pt x="72" y="292"/>
                  </a:lnTo>
                  <a:lnTo>
                    <a:pt x="68" y="290"/>
                  </a:lnTo>
                  <a:lnTo>
                    <a:pt x="66" y="286"/>
                  </a:lnTo>
                  <a:lnTo>
                    <a:pt x="64" y="282"/>
                  </a:lnTo>
                  <a:lnTo>
                    <a:pt x="66" y="278"/>
                  </a:lnTo>
                  <a:lnTo>
                    <a:pt x="78" y="246"/>
                  </a:lnTo>
                  <a:lnTo>
                    <a:pt x="78" y="246"/>
                  </a:lnTo>
                  <a:lnTo>
                    <a:pt x="64" y="238"/>
                  </a:lnTo>
                  <a:lnTo>
                    <a:pt x="52" y="228"/>
                  </a:lnTo>
                  <a:lnTo>
                    <a:pt x="40" y="218"/>
                  </a:lnTo>
                  <a:lnTo>
                    <a:pt x="30" y="206"/>
                  </a:lnTo>
                  <a:lnTo>
                    <a:pt x="24" y="192"/>
                  </a:lnTo>
                  <a:lnTo>
                    <a:pt x="18" y="176"/>
                  </a:lnTo>
                  <a:lnTo>
                    <a:pt x="14" y="160"/>
                  </a:lnTo>
                  <a:lnTo>
                    <a:pt x="12" y="144"/>
                  </a:lnTo>
                  <a:lnTo>
                    <a:pt x="12" y="144"/>
                  </a:lnTo>
                  <a:lnTo>
                    <a:pt x="14" y="128"/>
                  </a:lnTo>
                  <a:lnTo>
                    <a:pt x="18" y="112"/>
                  </a:lnTo>
                  <a:lnTo>
                    <a:pt x="24" y="96"/>
                  </a:lnTo>
                  <a:lnTo>
                    <a:pt x="32" y="82"/>
                  </a:lnTo>
                  <a:lnTo>
                    <a:pt x="32" y="82"/>
                  </a:lnTo>
                  <a:lnTo>
                    <a:pt x="32" y="82"/>
                  </a:lnTo>
                  <a:lnTo>
                    <a:pt x="32" y="82"/>
                  </a:lnTo>
                  <a:lnTo>
                    <a:pt x="28" y="78"/>
                  </a:lnTo>
                  <a:lnTo>
                    <a:pt x="28" y="78"/>
                  </a:lnTo>
                  <a:lnTo>
                    <a:pt x="28" y="78"/>
                  </a:lnTo>
                  <a:lnTo>
                    <a:pt x="28" y="78"/>
                  </a:lnTo>
                  <a:lnTo>
                    <a:pt x="24" y="72"/>
                  </a:lnTo>
                  <a:lnTo>
                    <a:pt x="24" y="72"/>
                  </a:lnTo>
                  <a:lnTo>
                    <a:pt x="24" y="72"/>
                  </a:lnTo>
                  <a:lnTo>
                    <a:pt x="24" y="72"/>
                  </a:lnTo>
                  <a:lnTo>
                    <a:pt x="18" y="56"/>
                  </a:lnTo>
                  <a:lnTo>
                    <a:pt x="16" y="48"/>
                  </a:lnTo>
                  <a:lnTo>
                    <a:pt x="16" y="38"/>
                  </a:lnTo>
                  <a:lnTo>
                    <a:pt x="16" y="38"/>
                  </a:lnTo>
                  <a:lnTo>
                    <a:pt x="18" y="28"/>
                  </a:lnTo>
                  <a:lnTo>
                    <a:pt x="22" y="18"/>
                  </a:lnTo>
                  <a:lnTo>
                    <a:pt x="30" y="10"/>
                  </a:lnTo>
                  <a:lnTo>
                    <a:pt x="38" y="4"/>
                  </a:lnTo>
                  <a:lnTo>
                    <a:pt x="38" y="4"/>
                  </a:lnTo>
                  <a:lnTo>
                    <a:pt x="48" y="0"/>
                  </a:lnTo>
                  <a:lnTo>
                    <a:pt x="60" y="2"/>
                  </a:lnTo>
                  <a:lnTo>
                    <a:pt x="60" y="2"/>
                  </a:lnTo>
                  <a:lnTo>
                    <a:pt x="60" y="2"/>
                  </a:lnTo>
                  <a:lnTo>
                    <a:pt x="60" y="2"/>
                  </a:lnTo>
                  <a:lnTo>
                    <a:pt x="64" y="4"/>
                  </a:lnTo>
                  <a:lnTo>
                    <a:pt x="64" y="4"/>
                  </a:lnTo>
                  <a:lnTo>
                    <a:pt x="70" y="10"/>
                  </a:lnTo>
                  <a:lnTo>
                    <a:pt x="72" y="16"/>
                  </a:lnTo>
                  <a:lnTo>
                    <a:pt x="74" y="22"/>
                  </a:lnTo>
                  <a:lnTo>
                    <a:pt x="74" y="28"/>
                  </a:lnTo>
                  <a:lnTo>
                    <a:pt x="74" y="28"/>
                  </a:lnTo>
                  <a:lnTo>
                    <a:pt x="70" y="36"/>
                  </a:lnTo>
                  <a:lnTo>
                    <a:pt x="64" y="42"/>
                  </a:lnTo>
                  <a:lnTo>
                    <a:pt x="58" y="46"/>
                  </a:lnTo>
                  <a:lnTo>
                    <a:pt x="50" y="48"/>
                  </a:lnTo>
                  <a:lnTo>
                    <a:pt x="50" y="48"/>
                  </a:lnTo>
                  <a:lnTo>
                    <a:pt x="40" y="46"/>
                  </a:lnTo>
                  <a:lnTo>
                    <a:pt x="40" y="46"/>
                  </a:lnTo>
                  <a:lnTo>
                    <a:pt x="40" y="40"/>
                  </a:lnTo>
                  <a:lnTo>
                    <a:pt x="40" y="40"/>
                  </a:lnTo>
                  <a:lnTo>
                    <a:pt x="40" y="36"/>
                  </a:lnTo>
                  <a:lnTo>
                    <a:pt x="42" y="30"/>
                  </a:lnTo>
                  <a:lnTo>
                    <a:pt x="42" y="30"/>
                  </a:lnTo>
                  <a:lnTo>
                    <a:pt x="48" y="32"/>
                  </a:lnTo>
                  <a:lnTo>
                    <a:pt x="48" y="32"/>
                  </a:lnTo>
                  <a:lnTo>
                    <a:pt x="52" y="30"/>
                  </a:lnTo>
                  <a:lnTo>
                    <a:pt x="56" y="28"/>
                  </a:lnTo>
                  <a:lnTo>
                    <a:pt x="58" y="24"/>
                  </a:lnTo>
                  <a:lnTo>
                    <a:pt x="58" y="24"/>
                  </a:lnTo>
                  <a:lnTo>
                    <a:pt x="58" y="22"/>
                  </a:lnTo>
                  <a:lnTo>
                    <a:pt x="56" y="18"/>
                  </a:lnTo>
                  <a:lnTo>
                    <a:pt x="56" y="18"/>
                  </a:lnTo>
                  <a:lnTo>
                    <a:pt x="56" y="18"/>
                  </a:lnTo>
                  <a:lnTo>
                    <a:pt x="56" y="18"/>
                  </a:lnTo>
                  <a:lnTo>
                    <a:pt x="50" y="16"/>
                  </a:lnTo>
                  <a:lnTo>
                    <a:pt x="46" y="18"/>
                  </a:lnTo>
                  <a:lnTo>
                    <a:pt x="46" y="18"/>
                  </a:lnTo>
                  <a:lnTo>
                    <a:pt x="40" y="22"/>
                  </a:lnTo>
                  <a:lnTo>
                    <a:pt x="36" y="26"/>
                  </a:lnTo>
                  <a:lnTo>
                    <a:pt x="32" y="34"/>
                  </a:lnTo>
                  <a:lnTo>
                    <a:pt x="32" y="40"/>
                  </a:lnTo>
                  <a:lnTo>
                    <a:pt x="32" y="40"/>
                  </a:lnTo>
                  <a:lnTo>
                    <a:pt x="32" y="48"/>
                  </a:lnTo>
                  <a:lnTo>
                    <a:pt x="34" y="54"/>
                  </a:lnTo>
                  <a:lnTo>
                    <a:pt x="40" y="68"/>
                  </a:lnTo>
                  <a:lnTo>
                    <a:pt x="40" y="68"/>
                  </a:lnTo>
                  <a:lnTo>
                    <a:pt x="42" y="70"/>
                  </a:lnTo>
                  <a:lnTo>
                    <a:pt x="42" y="70"/>
                  </a:lnTo>
                  <a:lnTo>
                    <a:pt x="58" y="54"/>
                  </a:lnTo>
                  <a:lnTo>
                    <a:pt x="68" y="48"/>
                  </a:lnTo>
                  <a:lnTo>
                    <a:pt x="78" y="42"/>
                  </a:lnTo>
                  <a:lnTo>
                    <a:pt x="90" y="38"/>
                  </a:lnTo>
                  <a:lnTo>
                    <a:pt x="102" y="34"/>
                  </a:lnTo>
                  <a:lnTo>
                    <a:pt x="112" y="32"/>
                  </a:lnTo>
                  <a:lnTo>
                    <a:pt x="126" y="32"/>
                  </a:lnTo>
                  <a:lnTo>
                    <a:pt x="162" y="32"/>
                  </a:lnTo>
                  <a:lnTo>
                    <a:pt x="194" y="32"/>
                  </a:lnTo>
                  <a:lnTo>
                    <a:pt x="232" y="32"/>
                  </a:lnTo>
                  <a:lnTo>
                    <a:pt x="232" y="32"/>
                  </a:lnTo>
                  <a:lnTo>
                    <a:pt x="242" y="32"/>
                  </a:lnTo>
                  <a:lnTo>
                    <a:pt x="242" y="32"/>
                  </a:lnTo>
                  <a:lnTo>
                    <a:pt x="242" y="32"/>
                  </a:lnTo>
                  <a:lnTo>
                    <a:pt x="242" y="32"/>
                  </a:lnTo>
                  <a:lnTo>
                    <a:pt x="246" y="22"/>
                  </a:lnTo>
                  <a:lnTo>
                    <a:pt x="252" y="14"/>
                  </a:lnTo>
                  <a:lnTo>
                    <a:pt x="260" y="8"/>
                  </a:lnTo>
                  <a:lnTo>
                    <a:pt x="268" y="4"/>
                  </a:lnTo>
                  <a:lnTo>
                    <a:pt x="276" y="2"/>
                  </a:lnTo>
                  <a:lnTo>
                    <a:pt x="286" y="0"/>
                  </a:lnTo>
                  <a:lnTo>
                    <a:pt x="294" y="0"/>
                  </a:lnTo>
                  <a:lnTo>
                    <a:pt x="304" y="2"/>
                  </a:lnTo>
                  <a:lnTo>
                    <a:pt x="288" y="48"/>
                  </a:lnTo>
                  <a:lnTo>
                    <a:pt x="288" y="48"/>
                  </a:lnTo>
                  <a:lnTo>
                    <a:pt x="306" y="60"/>
                  </a:lnTo>
                  <a:lnTo>
                    <a:pt x="320" y="76"/>
                  </a:lnTo>
                  <a:lnTo>
                    <a:pt x="332" y="94"/>
                  </a:lnTo>
                  <a:lnTo>
                    <a:pt x="340" y="114"/>
                  </a:lnTo>
                  <a:lnTo>
                    <a:pt x="354" y="114"/>
                  </a:lnTo>
                  <a:lnTo>
                    <a:pt x="354" y="114"/>
                  </a:lnTo>
                  <a:lnTo>
                    <a:pt x="360" y="116"/>
                  </a:lnTo>
                  <a:lnTo>
                    <a:pt x="366" y="118"/>
                  </a:lnTo>
                  <a:lnTo>
                    <a:pt x="368" y="124"/>
                  </a:lnTo>
                  <a:lnTo>
                    <a:pt x="370" y="130"/>
                  </a:lnTo>
                  <a:lnTo>
                    <a:pt x="370" y="130"/>
                  </a:lnTo>
                  <a:close/>
                  <a:moveTo>
                    <a:pt x="212" y="226"/>
                  </a:moveTo>
                  <a:lnTo>
                    <a:pt x="212" y="226"/>
                  </a:lnTo>
                  <a:lnTo>
                    <a:pt x="210" y="222"/>
                  </a:lnTo>
                  <a:lnTo>
                    <a:pt x="208" y="220"/>
                  </a:lnTo>
                  <a:lnTo>
                    <a:pt x="206" y="218"/>
                  </a:lnTo>
                  <a:lnTo>
                    <a:pt x="204" y="218"/>
                  </a:lnTo>
                  <a:lnTo>
                    <a:pt x="126" y="218"/>
                  </a:lnTo>
                  <a:lnTo>
                    <a:pt x="126" y="218"/>
                  </a:lnTo>
                  <a:lnTo>
                    <a:pt x="112" y="216"/>
                  </a:lnTo>
                  <a:lnTo>
                    <a:pt x="98" y="212"/>
                  </a:lnTo>
                  <a:lnTo>
                    <a:pt x="86" y="206"/>
                  </a:lnTo>
                  <a:lnTo>
                    <a:pt x="74" y="196"/>
                  </a:lnTo>
                  <a:lnTo>
                    <a:pt x="66" y="186"/>
                  </a:lnTo>
                  <a:lnTo>
                    <a:pt x="58" y="174"/>
                  </a:lnTo>
                  <a:lnTo>
                    <a:pt x="54" y="160"/>
                  </a:lnTo>
                  <a:lnTo>
                    <a:pt x="54" y="146"/>
                  </a:lnTo>
                  <a:lnTo>
                    <a:pt x="54" y="146"/>
                  </a:lnTo>
                  <a:lnTo>
                    <a:pt x="52" y="142"/>
                  </a:lnTo>
                  <a:lnTo>
                    <a:pt x="50" y="140"/>
                  </a:lnTo>
                  <a:lnTo>
                    <a:pt x="48" y="138"/>
                  </a:lnTo>
                  <a:lnTo>
                    <a:pt x="46" y="138"/>
                  </a:lnTo>
                  <a:lnTo>
                    <a:pt x="46" y="138"/>
                  </a:lnTo>
                  <a:lnTo>
                    <a:pt x="42" y="138"/>
                  </a:lnTo>
                  <a:lnTo>
                    <a:pt x="40" y="140"/>
                  </a:lnTo>
                  <a:lnTo>
                    <a:pt x="38" y="142"/>
                  </a:lnTo>
                  <a:lnTo>
                    <a:pt x="38" y="146"/>
                  </a:lnTo>
                  <a:lnTo>
                    <a:pt x="38" y="146"/>
                  </a:lnTo>
                  <a:lnTo>
                    <a:pt x="40" y="164"/>
                  </a:lnTo>
                  <a:lnTo>
                    <a:pt x="44" y="180"/>
                  </a:lnTo>
                  <a:lnTo>
                    <a:pt x="52" y="194"/>
                  </a:lnTo>
                  <a:lnTo>
                    <a:pt x="64" y="208"/>
                  </a:lnTo>
                  <a:lnTo>
                    <a:pt x="76" y="218"/>
                  </a:lnTo>
                  <a:lnTo>
                    <a:pt x="92" y="226"/>
                  </a:lnTo>
                  <a:lnTo>
                    <a:pt x="108" y="232"/>
                  </a:lnTo>
                  <a:lnTo>
                    <a:pt x="126" y="234"/>
                  </a:lnTo>
                  <a:lnTo>
                    <a:pt x="204" y="234"/>
                  </a:lnTo>
                  <a:lnTo>
                    <a:pt x="204" y="234"/>
                  </a:lnTo>
                  <a:lnTo>
                    <a:pt x="206" y="234"/>
                  </a:lnTo>
                  <a:lnTo>
                    <a:pt x="208" y="232"/>
                  </a:lnTo>
                  <a:lnTo>
                    <a:pt x="210" y="228"/>
                  </a:lnTo>
                  <a:lnTo>
                    <a:pt x="212" y="226"/>
                  </a:lnTo>
                  <a:lnTo>
                    <a:pt x="212" y="226"/>
                  </a:lnTo>
                  <a:close/>
                  <a:moveTo>
                    <a:pt x="220" y="66"/>
                  </a:moveTo>
                  <a:lnTo>
                    <a:pt x="220" y="66"/>
                  </a:lnTo>
                  <a:lnTo>
                    <a:pt x="220" y="62"/>
                  </a:lnTo>
                  <a:lnTo>
                    <a:pt x="216" y="58"/>
                  </a:lnTo>
                  <a:lnTo>
                    <a:pt x="214" y="56"/>
                  </a:lnTo>
                  <a:lnTo>
                    <a:pt x="210" y="56"/>
                  </a:lnTo>
                  <a:lnTo>
                    <a:pt x="148" y="56"/>
                  </a:lnTo>
                  <a:lnTo>
                    <a:pt x="148" y="56"/>
                  </a:lnTo>
                  <a:lnTo>
                    <a:pt x="144" y="56"/>
                  </a:lnTo>
                  <a:lnTo>
                    <a:pt x="140" y="58"/>
                  </a:lnTo>
                  <a:lnTo>
                    <a:pt x="138" y="62"/>
                  </a:lnTo>
                  <a:lnTo>
                    <a:pt x="138" y="66"/>
                  </a:lnTo>
                  <a:lnTo>
                    <a:pt x="138" y="66"/>
                  </a:lnTo>
                  <a:lnTo>
                    <a:pt x="138" y="70"/>
                  </a:lnTo>
                  <a:lnTo>
                    <a:pt x="140" y="74"/>
                  </a:lnTo>
                  <a:lnTo>
                    <a:pt x="144" y="76"/>
                  </a:lnTo>
                  <a:lnTo>
                    <a:pt x="148" y="76"/>
                  </a:lnTo>
                  <a:lnTo>
                    <a:pt x="210" y="76"/>
                  </a:lnTo>
                  <a:lnTo>
                    <a:pt x="210" y="76"/>
                  </a:lnTo>
                  <a:lnTo>
                    <a:pt x="214" y="76"/>
                  </a:lnTo>
                  <a:lnTo>
                    <a:pt x="216" y="74"/>
                  </a:lnTo>
                  <a:lnTo>
                    <a:pt x="220" y="70"/>
                  </a:lnTo>
                  <a:lnTo>
                    <a:pt x="220" y="66"/>
                  </a:lnTo>
                  <a:lnTo>
                    <a:pt x="220" y="66"/>
                  </a:lnTo>
                  <a:close/>
                  <a:moveTo>
                    <a:pt x="304" y="106"/>
                  </a:moveTo>
                  <a:lnTo>
                    <a:pt x="304" y="106"/>
                  </a:lnTo>
                  <a:lnTo>
                    <a:pt x="304" y="102"/>
                  </a:lnTo>
                  <a:lnTo>
                    <a:pt x="300" y="96"/>
                  </a:lnTo>
                  <a:lnTo>
                    <a:pt x="296" y="94"/>
                  </a:lnTo>
                  <a:lnTo>
                    <a:pt x="292" y="94"/>
                  </a:lnTo>
                  <a:lnTo>
                    <a:pt x="292" y="94"/>
                  </a:lnTo>
                  <a:lnTo>
                    <a:pt x="286" y="94"/>
                  </a:lnTo>
                  <a:lnTo>
                    <a:pt x="282" y="96"/>
                  </a:lnTo>
                  <a:lnTo>
                    <a:pt x="280" y="102"/>
                  </a:lnTo>
                  <a:lnTo>
                    <a:pt x="278" y="106"/>
                  </a:lnTo>
                  <a:lnTo>
                    <a:pt x="278" y="106"/>
                  </a:lnTo>
                  <a:lnTo>
                    <a:pt x="280" y="112"/>
                  </a:lnTo>
                  <a:lnTo>
                    <a:pt x="282" y="116"/>
                  </a:lnTo>
                  <a:lnTo>
                    <a:pt x="286" y="118"/>
                  </a:lnTo>
                  <a:lnTo>
                    <a:pt x="292" y="120"/>
                  </a:lnTo>
                  <a:lnTo>
                    <a:pt x="292" y="120"/>
                  </a:lnTo>
                  <a:lnTo>
                    <a:pt x="296" y="118"/>
                  </a:lnTo>
                  <a:lnTo>
                    <a:pt x="300" y="116"/>
                  </a:lnTo>
                  <a:lnTo>
                    <a:pt x="304" y="112"/>
                  </a:lnTo>
                  <a:lnTo>
                    <a:pt x="304" y="106"/>
                  </a:lnTo>
                  <a:lnTo>
                    <a:pt x="304" y="10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23" name="Group 122">
            <a:extLst>
              <a:ext uri="{FF2B5EF4-FFF2-40B4-BE49-F238E27FC236}">
                <a16:creationId xmlns:a16="http://schemas.microsoft.com/office/drawing/2014/main" id="{9095D5AA-2E0C-407F-92AF-70B4635DD3B4}"/>
              </a:ext>
            </a:extLst>
          </p:cNvPr>
          <p:cNvGrpSpPr/>
          <p:nvPr/>
        </p:nvGrpSpPr>
        <p:grpSpPr>
          <a:xfrm>
            <a:off x="6290382" y="5136080"/>
            <a:ext cx="612000" cy="612000"/>
            <a:chOff x="5841085" y="5907019"/>
            <a:chExt cx="612000" cy="612000"/>
          </a:xfrm>
        </p:grpSpPr>
        <p:sp>
          <p:nvSpPr>
            <p:cNvPr id="124" name="Oval 123">
              <a:extLst>
                <a:ext uri="{FF2B5EF4-FFF2-40B4-BE49-F238E27FC236}">
                  <a16:creationId xmlns:a16="http://schemas.microsoft.com/office/drawing/2014/main" id="{5983E196-83D5-491A-AE30-16A4FA2A727F}"/>
                </a:ext>
              </a:extLst>
            </p:cNvPr>
            <p:cNvSpPr/>
            <p:nvPr/>
          </p:nvSpPr>
          <p:spPr bwMode="ltGray">
            <a:xfrm>
              <a:off x="5841085"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25" name="Freeform 4980">
              <a:extLst>
                <a:ext uri="{FF2B5EF4-FFF2-40B4-BE49-F238E27FC236}">
                  <a16:creationId xmlns:a16="http://schemas.microsoft.com/office/drawing/2014/main" id="{1D77A8B1-5447-4D19-96C9-629050C7D739}"/>
                </a:ext>
              </a:extLst>
            </p:cNvPr>
            <p:cNvSpPr>
              <a:spLocks noEditPoints="1"/>
            </p:cNvSpPr>
            <p:nvPr/>
          </p:nvSpPr>
          <p:spPr bwMode="auto">
            <a:xfrm>
              <a:off x="5976039" y="6006811"/>
              <a:ext cx="342093" cy="397503"/>
            </a:xfrm>
            <a:custGeom>
              <a:avLst/>
              <a:gdLst>
                <a:gd name="T0" fmla="*/ 46 w 284"/>
                <a:gd name="T1" fmla="*/ 6 h 330"/>
                <a:gd name="T2" fmla="*/ 226 w 284"/>
                <a:gd name="T3" fmla="*/ 0 h 330"/>
                <a:gd name="T4" fmla="*/ 238 w 284"/>
                <a:gd name="T5" fmla="*/ 6 h 330"/>
                <a:gd name="T6" fmla="*/ 268 w 284"/>
                <a:gd name="T7" fmla="*/ 46 h 330"/>
                <a:gd name="T8" fmla="*/ 12 w 284"/>
                <a:gd name="T9" fmla="*/ 46 h 330"/>
                <a:gd name="T10" fmla="*/ 134 w 284"/>
                <a:gd name="T11" fmla="*/ 190 h 330"/>
                <a:gd name="T12" fmla="*/ 130 w 284"/>
                <a:gd name="T13" fmla="*/ 202 h 330"/>
                <a:gd name="T14" fmla="*/ 138 w 284"/>
                <a:gd name="T15" fmla="*/ 210 h 330"/>
                <a:gd name="T16" fmla="*/ 150 w 284"/>
                <a:gd name="T17" fmla="*/ 206 h 330"/>
                <a:gd name="T18" fmla="*/ 154 w 284"/>
                <a:gd name="T19" fmla="*/ 198 h 330"/>
                <a:gd name="T20" fmla="*/ 150 w 284"/>
                <a:gd name="T21" fmla="*/ 190 h 330"/>
                <a:gd name="T22" fmla="*/ 138 w 284"/>
                <a:gd name="T23" fmla="*/ 186 h 330"/>
                <a:gd name="T24" fmla="*/ 284 w 284"/>
                <a:gd name="T25" fmla="*/ 82 h 330"/>
                <a:gd name="T26" fmla="*/ 284 w 284"/>
                <a:gd name="T27" fmla="*/ 320 h 330"/>
                <a:gd name="T28" fmla="*/ 268 w 284"/>
                <a:gd name="T29" fmla="*/ 330 h 330"/>
                <a:gd name="T30" fmla="*/ 8 w 284"/>
                <a:gd name="T31" fmla="*/ 330 h 330"/>
                <a:gd name="T32" fmla="*/ 0 w 284"/>
                <a:gd name="T33" fmla="*/ 314 h 330"/>
                <a:gd name="T34" fmla="*/ 16 w 284"/>
                <a:gd name="T35" fmla="*/ 298 h 330"/>
                <a:gd name="T36" fmla="*/ 24 w 284"/>
                <a:gd name="T37" fmla="*/ 290 h 330"/>
                <a:gd name="T38" fmla="*/ 26 w 284"/>
                <a:gd name="T39" fmla="*/ 268 h 330"/>
                <a:gd name="T40" fmla="*/ 18 w 284"/>
                <a:gd name="T41" fmla="*/ 258 h 330"/>
                <a:gd name="T42" fmla="*/ 0 w 284"/>
                <a:gd name="T43" fmla="*/ 216 h 330"/>
                <a:gd name="T44" fmla="*/ 18 w 284"/>
                <a:gd name="T45" fmla="*/ 214 h 330"/>
                <a:gd name="T46" fmla="*/ 26 w 284"/>
                <a:gd name="T47" fmla="*/ 206 h 330"/>
                <a:gd name="T48" fmla="*/ 24 w 284"/>
                <a:gd name="T49" fmla="*/ 182 h 330"/>
                <a:gd name="T50" fmla="*/ 16 w 284"/>
                <a:gd name="T51" fmla="*/ 176 h 330"/>
                <a:gd name="T52" fmla="*/ 16 w 284"/>
                <a:gd name="T53" fmla="*/ 134 h 330"/>
                <a:gd name="T54" fmla="*/ 22 w 284"/>
                <a:gd name="T55" fmla="*/ 130 h 330"/>
                <a:gd name="T56" fmla="*/ 26 w 284"/>
                <a:gd name="T57" fmla="*/ 104 h 330"/>
                <a:gd name="T58" fmla="*/ 22 w 284"/>
                <a:gd name="T59" fmla="*/ 98 h 330"/>
                <a:gd name="T60" fmla="*/ 0 w 284"/>
                <a:gd name="T61" fmla="*/ 94 h 330"/>
                <a:gd name="T62" fmla="*/ 0 w 284"/>
                <a:gd name="T63" fmla="*/ 76 h 330"/>
                <a:gd name="T64" fmla="*/ 16 w 284"/>
                <a:gd name="T65" fmla="*/ 66 h 330"/>
                <a:gd name="T66" fmla="*/ 276 w 284"/>
                <a:gd name="T67" fmla="*/ 66 h 330"/>
                <a:gd name="T68" fmla="*/ 284 w 284"/>
                <a:gd name="T69" fmla="*/ 82 h 330"/>
                <a:gd name="T70" fmla="*/ 170 w 284"/>
                <a:gd name="T71" fmla="*/ 196 h 330"/>
                <a:gd name="T72" fmla="*/ 162 w 284"/>
                <a:gd name="T73" fmla="*/ 178 h 330"/>
                <a:gd name="T74" fmla="*/ 144 w 284"/>
                <a:gd name="T75" fmla="*/ 170 h 330"/>
                <a:gd name="T76" fmla="*/ 126 w 284"/>
                <a:gd name="T77" fmla="*/ 174 h 330"/>
                <a:gd name="T78" fmla="*/ 122 w 284"/>
                <a:gd name="T79" fmla="*/ 178 h 330"/>
                <a:gd name="T80" fmla="*/ 114 w 284"/>
                <a:gd name="T81" fmla="*/ 202 h 330"/>
                <a:gd name="T82" fmla="*/ 92 w 284"/>
                <a:gd name="T83" fmla="*/ 262 h 330"/>
                <a:gd name="T84" fmla="*/ 138 w 284"/>
                <a:gd name="T85" fmla="*/ 226 h 330"/>
                <a:gd name="T86" fmla="*/ 162 w 284"/>
                <a:gd name="T87" fmla="*/ 218 h 330"/>
                <a:gd name="T88" fmla="*/ 216 w 284"/>
                <a:gd name="T89" fmla="*/ 228 h 330"/>
                <a:gd name="T90" fmla="*/ 268 w 284"/>
                <a:gd name="T91" fmla="*/ 116 h 330"/>
                <a:gd name="T92" fmla="*/ 262 w 284"/>
                <a:gd name="T93" fmla="*/ 106 h 330"/>
                <a:gd name="T94" fmla="*/ 254 w 284"/>
                <a:gd name="T95" fmla="*/ 106 h 330"/>
                <a:gd name="T96" fmla="*/ 248 w 284"/>
                <a:gd name="T97" fmla="*/ 116 h 330"/>
                <a:gd name="T98" fmla="*/ 248 w 284"/>
                <a:gd name="T99" fmla="*/ 280 h 330"/>
                <a:gd name="T100" fmla="*/ 258 w 284"/>
                <a:gd name="T101" fmla="*/ 286 h 330"/>
                <a:gd name="T102" fmla="*/ 266 w 284"/>
                <a:gd name="T103" fmla="*/ 284 h 330"/>
                <a:gd name="T104" fmla="*/ 268 w 284"/>
                <a:gd name="T105" fmla="*/ 11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84" h="330">
                  <a:moveTo>
                    <a:pt x="12" y="46"/>
                  </a:moveTo>
                  <a:lnTo>
                    <a:pt x="46" y="6"/>
                  </a:lnTo>
                  <a:lnTo>
                    <a:pt x="46" y="6"/>
                  </a:lnTo>
                  <a:lnTo>
                    <a:pt x="52" y="2"/>
                  </a:lnTo>
                  <a:lnTo>
                    <a:pt x="58" y="0"/>
                  </a:lnTo>
                  <a:lnTo>
                    <a:pt x="226" y="0"/>
                  </a:lnTo>
                  <a:lnTo>
                    <a:pt x="226" y="0"/>
                  </a:lnTo>
                  <a:lnTo>
                    <a:pt x="232" y="2"/>
                  </a:lnTo>
                  <a:lnTo>
                    <a:pt x="238" y="6"/>
                  </a:lnTo>
                  <a:lnTo>
                    <a:pt x="272" y="46"/>
                  </a:lnTo>
                  <a:lnTo>
                    <a:pt x="272" y="46"/>
                  </a:lnTo>
                  <a:lnTo>
                    <a:pt x="268" y="46"/>
                  </a:lnTo>
                  <a:lnTo>
                    <a:pt x="16" y="46"/>
                  </a:lnTo>
                  <a:lnTo>
                    <a:pt x="16" y="46"/>
                  </a:lnTo>
                  <a:lnTo>
                    <a:pt x="12" y="46"/>
                  </a:lnTo>
                  <a:lnTo>
                    <a:pt x="12" y="46"/>
                  </a:lnTo>
                  <a:close/>
                  <a:moveTo>
                    <a:pt x="134" y="190"/>
                  </a:moveTo>
                  <a:lnTo>
                    <a:pt x="134" y="190"/>
                  </a:lnTo>
                  <a:lnTo>
                    <a:pt x="130" y="194"/>
                  </a:lnTo>
                  <a:lnTo>
                    <a:pt x="130" y="198"/>
                  </a:lnTo>
                  <a:lnTo>
                    <a:pt x="130" y="202"/>
                  </a:lnTo>
                  <a:lnTo>
                    <a:pt x="134" y="206"/>
                  </a:lnTo>
                  <a:lnTo>
                    <a:pt x="134" y="206"/>
                  </a:lnTo>
                  <a:lnTo>
                    <a:pt x="138" y="210"/>
                  </a:lnTo>
                  <a:lnTo>
                    <a:pt x="142" y="210"/>
                  </a:lnTo>
                  <a:lnTo>
                    <a:pt x="146" y="210"/>
                  </a:lnTo>
                  <a:lnTo>
                    <a:pt x="150" y="206"/>
                  </a:lnTo>
                  <a:lnTo>
                    <a:pt x="150" y="206"/>
                  </a:lnTo>
                  <a:lnTo>
                    <a:pt x="154" y="202"/>
                  </a:lnTo>
                  <a:lnTo>
                    <a:pt x="154" y="198"/>
                  </a:lnTo>
                  <a:lnTo>
                    <a:pt x="154" y="194"/>
                  </a:lnTo>
                  <a:lnTo>
                    <a:pt x="150" y="190"/>
                  </a:lnTo>
                  <a:lnTo>
                    <a:pt x="150" y="190"/>
                  </a:lnTo>
                  <a:lnTo>
                    <a:pt x="146" y="186"/>
                  </a:lnTo>
                  <a:lnTo>
                    <a:pt x="142" y="186"/>
                  </a:lnTo>
                  <a:lnTo>
                    <a:pt x="138" y="186"/>
                  </a:lnTo>
                  <a:lnTo>
                    <a:pt x="134" y="190"/>
                  </a:lnTo>
                  <a:lnTo>
                    <a:pt x="134" y="190"/>
                  </a:lnTo>
                  <a:close/>
                  <a:moveTo>
                    <a:pt x="284" y="82"/>
                  </a:moveTo>
                  <a:lnTo>
                    <a:pt x="284" y="314"/>
                  </a:lnTo>
                  <a:lnTo>
                    <a:pt x="284" y="314"/>
                  </a:lnTo>
                  <a:lnTo>
                    <a:pt x="284" y="320"/>
                  </a:lnTo>
                  <a:lnTo>
                    <a:pt x="280" y="326"/>
                  </a:lnTo>
                  <a:lnTo>
                    <a:pt x="276" y="330"/>
                  </a:lnTo>
                  <a:lnTo>
                    <a:pt x="268" y="330"/>
                  </a:lnTo>
                  <a:lnTo>
                    <a:pt x="16" y="330"/>
                  </a:lnTo>
                  <a:lnTo>
                    <a:pt x="16" y="330"/>
                  </a:lnTo>
                  <a:lnTo>
                    <a:pt x="8" y="330"/>
                  </a:lnTo>
                  <a:lnTo>
                    <a:pt x="4" y="326"/>
                  </a:lnTo>
                  <a:lnTo>
                    <a:pt x="0" y="320"/>
                  </a:lnTo>
                  <a:lnTo>
                    <a:pt x="0" y="314"/>
                  </a:lnTo>
                  <a:lnTo>
                    <a:pt x="0" y="298"/>
                  </a:lnTo>
                  <a:lnTo>
                    <a:pt x="16" y="298"/>
                  </a:lnTo>
                  <a:lnTo>
                    <a:pt x="16" y="298"/>
                  </a:lnTo>
                  <a:lnTo>
                    <a:pt x="18" y="296"/>
                  </a:lnTo>
                  <a:lnTo>
                    <a:pt x="22" y="294"/>
                  </a:lnTo>
                  <a:lnTo>
                    <a:pt x="24" y="290"/>
                  </a:lnTo>
                  <a:lnTo>
                    <a:pt x="26" y="288"/>
                  </a:lnTo>
                  <a:lnTo>
                    <a:pt x="26" y="268"/>
                  </a:lnTo>
                  <a:lnTo>
                    <a:pt x="26" y="268"/>
                  </a:lnTo>
                  <a:lnTo>
                    <a:pt x="24" y="264"/>
                  </a:lnTo>
                  <a:lnTo>
                    <a:pt x="22" y="262"/>
                  </a:lnTo>
                  <a:lnTo>
                    <a:pt x="18" y="258"/>
                  </a:lnTo>
                  <a:lnTo>
                    <a:pt x="16" y="258"/>
                  </a:lnTo>
                  <a:lnTo>
                    <a:pt x="0" y="258"/>
                  </a:lnTo>
                  <a:lnTo>
                    <a:pt x="0" y="216"/>
                  </a:lnTo>
                  <a:lnTo>
                    <a:pt x="16" y="216"/>
                  </a:lnTo>
                  <a:lnTo>
                    <a:pt x="16" y="216"/>
                  </a:lnTo>
                  <a:lnTo>
                    <a:pt x="18" y="214"/>
                  </a:lnTo>
                  <a:lnTo>
                    <a:pt x="22" y="212"/>
                  </a:lnTo>
                  <a:lnTo>
                    <a:pt x="24" y="210"/>
                  </a:lnTo>
                  <a:lnTo>
                    <a:pt x="26" y="206"/>
                  </a:lnTo>
                  <a:lnTo>
                    <a:pt x="26" y="186"/>
                  </a:lnTo>
                  <a:lnTo>
                    <a:pt x="26" y="186"/>
                  </a:lnTo>
                  <a:lnTo>
                    <a:pt x="24" y="182"/>
                  </a:lnTo>
                  <a:lnTo>
                    <a:pt x="22" y="180"/>
                  </a:lnTo>
                  <a:lnTo>
                    <a:pt x="18" y="178"/>
                  </a:lnTo>
                  <a:lnTo>
                    <a:pt x="16" y="176"/>
                  </a:lnTo>
                  <a:lnTo>
                    <a:pt x="0" y="176"/>
                  </a:lnTo>
                  <a:lnTo>
                    <a:pt x="0" y="134"/>
                  </a:lnTo>
                  <a:lnTo>
                    <a:pt x="16" y="134"/>
                  </a:lnTo>
                  <a:lnTo>
                    <a:pt x="16" y="134"/>
                  </a:lnTo>
                  <a:lnTo>
                    <a:pt x="18" y="134"/>
                  </a:lnTo>
                  <a:lnTo>
                    <a:pt x="22" y="130"/>
                  </a:lnTo>
                  <a:lnTo>
                    <a:pt x="24" y="128"/>
                  </a:lnTo>
                  <a:lnTo>
                    <a:pt x="26" y="124"/>
                  </a:lnTo>
                  <a:lnTo>
                    <a:pt x="26" y="104"/>
                  </a:lnTo>
                  <a:lnTo>
                    <a:pt x="26" y="104"/>
                  </a:lnTo>
                  <a:lnTo>
                    <a:pt x="24" y="100"/>
                  </a:lnTo>
                  <a:lnTo>
                    <a:pt x="22" y="98"/>
                  </a:lnTo>
                  <a:lnTo>
                    <a:pt x="18" y="96"/>
                  </a:lnTo>
                  <a:lnTo>
                    <a:pt x="16" y="94"/>
                  </a:lnTo>
                  <a:lnTo>
                    <a:pt x="0" y="94"/>
                  </a:lnTo>
                  <a:lnTo>
                    <a:pt x="0" y="82"/>
                  </a:lnTo>
                  <a:lnTo>
                    <a:pt x="0" y="82"/>
                  </a:lnTo>
                  <a:lnTo>
                    <a:pt x="0" y="76"/>
                  </a:lnTo>
                  <a:lnTo>
                    <a:pt x="4" y="70"/>
                  </a:lnTo>
                  <a:lnTo>
                    <a:pt x="8" y="66"/>
                  </a:lnTo>
                  <a:lnTo>
                    <a:pt x="16" y="66"/>
                  </a:lnTo>
                  <a:lnTo>
                    <a:pt x="268" y="66"/>
                  </a:lnTo>
                  <a:lnTo>
                    <a:pt x="268" y="66"/>
                  </a:lnTo>
                  <a:lnTo>
                    <a:pt x="276" y="66"/>
                  </a:lnTo>
                  <a:lnTo>
                    <a:pt x="280" y="70"/>
                  </a:lnTo>
                  <a:lnTo>
                    <a:pt x="284" y="76"/>
                  </a:lnTo>
                  <a:lnTo>
                    <a:pt x="284" y="82"/>
                  </a:lnTo>
                  <a:lnTo>
                    <a:pt x="284" y="82"/>
                  </a:lnTo>
                  <a:close/>
                  <a:moveTo>
                    <a:pt x="222" y="208"/>
                  </a:moveTo>
                  <a:lnTo>
                    <a:pt x="170" y="196"/>
                  </a:lnTo>
                  <a:lnTo>
                    <a:pt x="170" y="196"/>
                  </a:lnTo>
                  <a:lnTo>
                    <a:pt x="168" y="186"/>
                  </a:lnTo>
                  <a:lnTo>
                    <a:pt x="162" y="178"/>
                  </a:lnTo>
                  <a:lnTo>
                    <a:pt x="162" y="178"/>
                  </a:lnTo>
                  <a:lnTo>
                    <a:pt x="154" y="172"/>
                  </a:lnTo>
                  <a:lnTo>
                    <a:pt x="144" y="170"/>
                  </a:lnTo>
                  <a:lnTo>
                    <a:pt x="132" y="118"/>
                  </a:lnTo>
                  <a:lnTo>
                    <a:pt x="112" y="124"/>
                  </a:lnTo>
                  <a:lnTo>
                    <a:pt x="126" y="174"/>
                  </a:lnTo>
                  <a:lnTo>
                    <a:pt x="126" y="174"/>
                  </a:lnTo>
                  <a:lnTo>
                    <a:pt x="122" y="178"/>
                  </a:lnTo>
                  <a:lnTo>
                    <a:pt x="122" y="178"/>
                  </a:lnTo>
                  <a:lnTo>
                    <a:pt x="116" y="186"/>
                  </a:lnTo>
                  <a:lnTo>
                    <a:pt x="114" y="194"/>
                  </a:lnTo>
                  <a:lnTo>
                    <a:pt x="114" y="202"/>
                  </a:lnTo>
                  <a:lnTo>
                    <a:pt x="116" y="210"/>
                  </a:lnTo>
                  <a:lnTo>
                    <a:pt x="78" y="248"/>
                  </a:lnTo>
                  <a:lnTo>
                    <a:pt x="92" y="262"/>
                  </a:lnTo>
                  <a:lnTo>
                    <a:pt x="130" y="224"/>
                  </a:lnTo>
                  <a:lnTo>
                    <a:pt x="130" y="224"/>
                  </a:lnTo>
                  <a:lnTo>
                    <a:pt x="138" y="226"/>
                  </a:lnTo>
                  <a:lnTo>
                    <a:pt x="146" y="226"/>
                  </a:lnTo>
                  <a:lnTo>
                    <a:pt x="156" y="224"/>
                  </a:lnTo>
                  <a:lnTo>
                    <a:pt x="162" y="218"/>
                  </a:lnTo>
                  <a:lnTo>
                    <a:pt x="162" y="218"/>
                  </a:lnTo>
                  <a:lnTo>
                    <a:pt x="166" y="214"/>
                  </a:lnTo>
                  <a:lnTo>
                    <a:pt x="216" y="228"/>
                  </a:lnTo>
                  <a:lnTo>
                    <a:pt x="222" y="208"/>
                  </a:lnTo>
                  <a:close/>
                  <a:moveTo>
                    <a:pt x="268" y="116"/>
                  </a:moveTo>
                  <a:lnTo>
                    <a:pt x="268" y="116"/>
                  </a:lnTo>
                  <a:lnTo>
                    <a:pt x="268" y="112"/>
                  </a:lnTo>
                  <a:lnTo>
                    <a:pt x="266" y="108"/>
                  </a:lnTo>
                  <a:lnTo>
                    <a:pt x="262" y="106"/>
                  </a:lnTo>
                  <a:lnTo>
                    <a:pt x="258" y="106"/>
                  </a:lnTo>
                  <a:lnTo>
                    <a:pt x="258" y="106"/>
                  </a:lnTo>
                  <a:lnTo>
                    <a:pt x="254" y="106"/>
                  </a:lnTo>
                  <a:lnTo>
                    <a:pt x="250" y="108"/>
                  </a:lnTo>
                  <a:lnTo>
                    <a:pt x="248" y="112"/>
                  </a:lnTo>
                  <a:lnTo>
                    <a:pt x="248" y="116"/>
                  </a:lnTo>
                  <a:lnTo>
                    <a:pt x="248" y="276"/>
                  </a:lnTo>
                  <a:lnTo>
                    <a:pt x="248" y="276"/>
                  </a:lnTo>
                  <a:lnTo>
                    <a:pt x="248" y="280"/>
                  </a:lnTo>
                  <a:lnTo>
                    <a:pt x="250" y="284"/>
                  </a:lnTo>
                  <a:lnTo>
                    <a:pt x="254" y="286"/>
                  </a:lnTo>
                  <a:lnTo>
                    <a:pt x="258" y="286"/>
                  </a:lnTo>
                  <a:lnTo>
                    <a:pt x="258" y="286"/>
                  </a:lnTo>
                  <a:lnTo>
                    <a:pt x="262" y="286"/>
                  </a:lnTo>
                  <a:lnTo>
                    <a:pt x="266" y="284"/>
                  </a:lnTo>
                  <a:lnTo>
                    <a:pt x="268" y="280"/>
                  </a:lnTo>
                  <a:lnTo>
                    <a:pt x="268" y="276"/>
                  </a:lnTo>
                  <a:lnTo>
                    <a:pt x="268" y="11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26" name="Group 125">
            <a:extLst>
              <a:ext uri="{FF2B5EF4-FFF2-40B4-BE49-F238E27FC236}">
                <a16:creationId xmlns:a16="http://schemas.microsoft.com/office/drawing/2014/main" id="{2D768F60-812D-421E-9683-6791443D8281}"/>
              </a:ext>
            </a:extLst>
          </p:cNvPr>
          <p:cNvGrpSpPr/>
          <p:nvPr/>
        </p:nvGrpSpPr>
        <p:grpSpPr>
          <a:xfrm>
            <a:off x="4528484" y="4200579"/>
            <a:ext cx="612000" cy="612000"/>
            <a:chOff x="4091659" y="4690710"/>
            <a:chExt cx="612000" cy="612000"/>
          </a:xfrm>
        </p:grpSpPr>
        <p:sp>
          <p:nvSpPr>
            <p:cNvPr id="127" name="Oval 126">
              <a:extLst>
                <a:ext uri="{FF2B5EF4-FFF2-40B4-BE49-F238E27FC236}">
                  <a16:creationId xmlns:a16="http://schemas.microsoft.com/office/drawing/2014/main" id="{840CCD5B-2E5D-4EDC-8995-2948EB1C280A}"/>
                </a:ext>
              </a:extLst>
            </p:cNvPr>
            <p:cNvSpPr/>
            <p:nvPr/>
          </p:nvSpPr>
          <p:spPr bwMode="ltGray">
            <a:xfrm>
              <a:off x="4091659"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28" name="Freeform 4981">
              <a:extLst>
                <a:ext uri="{FF2B5EF4-FFF2-40B4-BE49-F238E27FC236}">
                  <a16:creationId xmlns:a16="http://schemas.microsoft.com/office/drawing/2014/main" id="{6F5BF696-F2DE-45EC-9F01-E7CDA9645D1D}"/>
                </a:ext>
              </a:extLst>
            </p:cNvPr>
            <p:cNvSpPr>
              <a:spLocks noEditPoints="1"/>
            </p:cNvSpPr>
            <p:nvPr/>
          </p:nvSpPr>
          <p:spPr bwMode="auto">
            <a:xfrm>
              <a:off x="4200112" y="4823938"/>
              <a:ext cx="395094" cy="337276"/>
            </a:xfrm>
            <a:custGeom>
              <a:avLst/>
              <a:gdLst>
                <a:gd name="T0" fmla="*/ 96 w 328"/>
                <a:gd name="T1" fmla="*/ 38 h 280"/>
                <a:gd name="T2" fmla="*/ 96 w 328"/>
                <a:gd name="T3" fmla="*/ 22 h 280"/>
                <a:gd name="T4" fmla="*/ 102 w 328"/>
                <a:gd name="T5" fmla="*/ 12 h 280"/>
                <a:gd name="T6" fmla="*/ 122 w 328"/>
                <a:gd name="T7" fmla="*/ 6 h 280"/>
                <a:gd name="T8" fmla="*/ 164 w 328"/>
                <a:gd name="T9" fmla="*/ 0 h 280"/>
                <a:gd name="T10" fmla="*/ 188 w 328"/>
                <a:gd name="T11" fmla="*/ 2 h 280"/>
                <a:gd name="T12" fmla="*/ 226 w 328"/>
                <a:gd name="T13" fmla="*/ 12 h 280"/>
                <a:gd name="T14" fmla="*/ 230 w 328"/>
                <a:gd name="T15" fmla="*/ 16 h 280"/>
                <a:gd name="T16" fmla="*/ 232 w 328"/>
                <a:gd name="T17" fmla="*/ 38 h 280"/>
                <a:gd name="T18" fmla="*/ 212 w 328"/>
                <a:gd name="T19" fmla="*/ 28 h 280"/>
                <a:gd name="T20" fmla="*/ 192 w 328"/>
                <a:gd name="T21" fmla="*/ 24 h 280"/>
                <a:gd name="T22" fmla="*/ 164 w 328"/>
                <a:gd name="T23" fmla="*/ 20 h 280"/>
                <a:gd name="T24" fmla="*/ 150 w 328"/>
                <a:gd name="T25" fmla="*/ 22 h 280"/>
                <a:gd name="T26" fmla="*/ 116 w 328"/>
                <a:gd name="T27" fmla="*/ 28 h 280"/>
                <a:gd name="T28" fmla="*/ 328 w 328"/>
                <a:gd name="T29" fmla="*/ 78 h 280"/>
                <a:gd name="T30" fmla="*/ 328 w 328"/>
                <a:gd name="T31" fmla="*/ 256 h 280"/>
                <a:gd name="T32" fmla="*/ 320 w 328"/>
                <a:gd name="T33" fmla="*/ 272 h 280"/>
                <a:gd name="T34" fmla="*/ 304 w 328"/>
                <a:gd name="T35" fmla="*/ 280 h 280"/>
                <a:gd name="T36" fmla="*/ 24 w 328"/>
                <a:gd name="T37" fmla="*/ 280 h 280"/>
                <a:gd name="T38" fmla="*/ 8 w 328"/>
                <a:gd name="T39" fmla="*/ 272 h 280"/>
                <a:gd name="T40" fmla="*/ 0 w 328"/>
                <a:gd name="T41" fmla="*/ 256 h 280"/>
                <a:gd name="T42" fmla="*/ 0 w 328"/>
                <a:gd name="T43" fmla="*/ 78 h 280"/>
                <a:gd name="T44" fmla="*/ 8 w 328"/>
                <a:gd name="T45" fmla="*/ 60 h 280"/>
                <a:gd name="T46" fmla="*/ 24 w 328"/>
                <a:gd name="T47" fmla="*/ 54 h 280"/>
                <a:gd name="T48" fmla="*/ 40 w 328"/>
                <a:gd name="T49" fmla="*/ 38 h 280"/>
                <a:gd name="T50" fmla="*/ 72 w 328"/>
                <a:gd name="T51" fmla="*/ 54 h 280"/>
                <a:gd name="T52" fmla="*/ 256 w 328"/>
                <a:gd name="T53" fmla="*/ 38 h 280"/>
                <a:gd name="T54" fmla="*/ 288 w 328"/>
                <a:gd name="T55" fmla="*/ 54 h 280"/>
                <a:gd name="T56" fmla="*/ 304 w 328"/>
                <a:gd name="T57" fmla="*/ 54 h 280"/>
                <a:gd name="T58" fmla="*/ 320 w 328"/>
                <a:gd name="T59" fmla="*/ 60 h 280"/>
                <a:gd name="T60" fmla="*/ 328 w 328"/>
                <a:gd name="T61" fmla="*/ 78 h 280"/>
                <a:gd name="T62" fmla="*/ 294 w 328"/>
                <a:gd name="T63" fmla="*/ 248 h 280"/>
                <a:gd name="T64" fmla="*/ 292 w 328"/>
                <a:gd name="T65" fmla="*/ 242 h 280"/>
                <a:gd name="T66" fmla="*/ 40 w 328"/>
                <a:gd name="T67" fmla="*/ 240 h 280"/>
                <a:gd name="T68" fmla="*/ 36 w 328"/>
                <a:gd name="T69" fmla="*/ 242 h 280"/>
                <a:gd name="T70" fmla="*/ 34 w 328"/>
                <a:gd name="T71" fmla="*/ 248 h 280"/>
                <a:gd name="T72" fmla="*/ 40 w 328"/>
                <a:gd name="T73" fmla="*/ 254 h 280"/>
                <a:gd name="T74" fmla="*/ 288 w 328"/>
                <a:gd name="T75" fmla="*/ 254 h 280"/>
                <a:gd name="T76" fmla="*/ 294 w 328"/>
                <a:gd name="T77" fmla="*/ 248 h 280"/>
                <a:gd name="T78" fmla="*/ 294 w 328"/>
                <a:gd name="T79" fmla="*/ 214 h 280"/>
                <a:gd name="T80" fmla="*/ 292 w 328"/>
                <a:gd name="T81" fmla="*/ 210 h 280"/>
                <a:gd name="T82" fmla="*/ 40 w 328"/>
                <a:gd name="T83" fmla="*/ 208 h 280"/>
                <a:gd name="T84" fmla="*/ 36 w 328"/>
                <a:gd name="T85" fmla="*/ 210 h 280"/>
                <a:gd name="T86" fmla="*/ 34 w 328"/>
                <a:gd name="T87" fmla="*/ 214 h 280"/>
                <a:gd name="T88" fmla="*/ 40 w 328"/>
                <a:gd name="T89" fmla="*/ 222 h 280"/>
                <a:gd name="T90" fmla="*/ 288 w 328"/>
                <a:gd name="T91" fmla="*/ 222 h 280"/>
                <a:gd name="T92" fmla="*/ 294 w 328"/>
                <a:gd name="T93" fmla="*/ 214 h 280"/>
                <a:gd name="T94" fmla="*/ 294 w 328"/>
                <a:gd name="T95" fmla="*/ 122 h 280"/>
                <a:gd name="T96" fmla="*/ 292 w 328"/>
                <a:gd name="T97" fmla="*/ 118 h 280"/>
                <a:gd name="T98" fmla="*/ 40 w 328"/>
                <a:gd name="T99" fmla="*/ 114 h 280"/>
                <a:gd name="T100" fmla="*/ 36 w 328"/>
                <a:gd name="T101" fmla="*/ 118 h 280"/>
                <a:gd name="T102" fmla="*/ 34 w 328"/>
                <a:gd name="T103" fmla="*/ 122 h 280"/>
                <a:gd name="T104" fmla="*/ 40 w 328"/>
                <a:gd name="T105" fmla="*/ 128 h 280"/>
                <a:gd name="T106" fmla="*/ 288 w 328"/>
                <a:gd name="T107" fmla="*/ 128 h 280"/>
                <a:gd name="T108" fmla="*/ 294 w 328"/>
                <a:gd name="T109" fmla="*/ 122 h 280"/>
                <a:gd name="T110" fmla="*/ 294 w 328"/>
                <a:gd name="T111" fmla="*/ 88 h 280"/>
                <a:gd name="T112" fmla="*/ 292 w 328"/>
                <a:gd name="T113" fmla="*/ 84 h 280"/>
                <a:gd name="T114" fmla="*/ 40 w 328"/>
                <a:gd name="T115" fmla="*/ 82 h 280"/>
                <a:gd name="T116" fmla="*/ 36 w 328"/>
                <a:gd name="T117" fmla="*/ 84 h 280"/>
                <a:gd name="T118" fmla="*/ 34 w 328"/>
                <a:gd name="T119" fmla="*/ 88 h 280"/>
                <a:gd name="T120" fmla="*/ 40 w 328"/>
                <a:gd name="T121" fmla="*/ 96 h 280"/>
                <a:gd name="T122" fmla="*/ 288 w 328"/>
                <a:gd name="T123" fmla="*/ 96 h 280"/>
                <a:gd name="T124" fmla="*/ 294 w 328"/>
                <a:gd name="T125" fmla="*/ 8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28" h="280">
                  <a:moveTo>
                    <a:pt x="116" y="38"/>
                  </a:moveTo>
                  <a:lnTo>
                    <a:pt x="96" y="38"/>
                  </a:lnTo>
                  <a:lnTo>
                    <a:pt x="96" y="22"/>
                  </a:lnTo>
                  <a:lnTo>
                    <a:pt x="96" y="22"/>
                  </a:lnTo>
                  <a:lnTo>
                    <a:pt x="98" y="16"/>
                  </a:lnTo>
                  <a:lnTo>
                    <a:pt x="102" y="12"/>
                  </a:lnTo>
                  <a:lnTo>
                    <a:pt x="102" y="12"/>
                  </a:lnTo>
                  <a:lnTo>
                    <a:pt x="122" y="6"/>
                  </a:lnTo>
                  <a:lnTo>
                    <a:pt x="140" y="2"/>
                  </a:lnTo>
                  <a:lnTo>
                    <a:pt x="164" y="0"/>
                  </a:lnTo>
                  <a:lnTo>
                    <a:pt x="164" y="0"/>
                  </a:lnTo>
                  <a:lnTo>
                    <a:pt x="188" y="2"/>
                  </a:lnTo>
                  <a:lnTo>
                    <a:pt x="206" y="6"/>
                  </a:lnTo>
                  <a:lnTo>
                    <a:pt x="226" y="12"/>
                  </a:lnTo>
                  <a:lnTo>
                    <a:pt x="226" y="12"/>
                  </a:lnTo>
                  <a:lnTo>
                    <a:pt x="230" y="16"/>
                  </a:lnTo>
                  <a:lnTo>
                    <a:pt x="232" y="22"/>
                  </a:lnTo>
                  <a:lnTo>
                    <a:pt x="232" y="38"/>
                  </a:lnTo>
                  <a:lnTo>
                    <a:pt x="212" y="38"/>
                  </a:lnTo>
                  <a:lnTo>
                    <a:pt x="212" y="28"/>
                  </a:lnTo>
                  <a:lnTo>
                    <a:pt x="212" y="28"/>
                  </a:lnTo>
                  <a:lnTo>
                    <a:pt x="192" y="24"/>
                  </a:lnTo>
                  <a:lnTo>
                    <a:pt x="178" y="22"/>
                  </a:lnTo>
                  <a:lnTo>
                    <a:pt x="164" y="20"/>
                  </a:lnTo>
                  <a:lnTo>
                    <a:pt x="164" y="20"/>
                  </a:lnTo>
                  <a:lnTo>
                    <a:pt x="150" y="22"/>
                  </a:lnTo>
                  <a:lnTo>
                    <a:pt x="136" y="24"/>
                  </a:lnTo>
                  <a:lnTo>
                    <a:pt x="116" y="28"/>
                  </a:lnTo>
                  <a:lnTo>
                    <a:pt x="116" y="38"/>
                  </a:lnTo>
                  <a:close/>
                  <a:moveTo>
                    <a:pt x="328" y="78"/>
                  </a:moveTo>
                  <a:lnTo>
                    <a:pt x="328" y="256"/>
                  </a:lnTo>
                  <a:lnTo>
                    <a:pt x="328" y="256"/>
                  </a:lnTo>
                  <a:lnTo>
                    <a:pt x="326" y="266"/>
                  </a:lnTo>
                  <a:lnTo>
                    <a:pt x="320" y="272"/>
                  </a:lnTo>
                  <a:lnTo>
                    <a:pt x="314" y="278"/>
                  </a:lnTo>
                  <a:lnTo>
                    <a:pt x="304" y="280"/>
                  </a:lnTo>
                  <a:lnTo>
                    <a:pt x="24" y="280"/>
                  </a:lnTo>
                  <a:lnTo>
                    <a:pt x="24" y="280"/>
                  </a:lnTo>
                  <a:lnTo>
                    <a:pt x="14" y="278"/>
                  </a:lnTo>
                  <a:lnTo>
                    <a:pt x="8" y="272"/>
                  </a:lnTo>
                  <a:lnTo>
                    <a:pt x="2" y="266"/>
                  </a:lnTo>
                  <a:lnTo>
                    <a:pt x="0" y="256"/>
                  </a:lnTo>
                  <a:lnTo>
                    <a:pt x="0" y="78"/>
                  </a:lnTo>
                  <a:lnTo>
                    <a:pt x="0" y="78"/>
                  </a:lnTo>
                  <a:lnTo>
                    <a:pt x="2" y="68"/>
                  </a:lnTo>
                  <a:lnTo>
                    <a:pt x="8" y="60"/>
                  </a:lnTo>
                  <a:lnTo>
                    <a:pt x="14" y="56"/>
                  </a:lnTo>
                  <a:lnTo>
                    <a:pt x="24" y="54"/>
                  </a:lnTo>
                  <a:lnTo>
                    <a:pt x="40" y="54"/>
                  </a:lnTo>
                  <a:lnTo>
                    <a:pt x="40" y="38"/>
                  </a:lnTo>
                  <a:lnTo>
                    <a:pt x="72" y="38"/>
                  </a:lnTo>
                  <a:lnTo>
                    <a:pt x="72" y="54"/>
                  </a:lnTo>
                  <a:lnTo>
                    <a:pt x="256" y="54"/>
                  </a:lnTo>
                  <a:lnTo>
                    <a:pt x="256" y="38"/>
                  </a:lnTo>
                  <a:lnTo>
                    <a:pt x="288" y="38"/>
                  </a:lnTo>
                  <a:lnTo>
                    <a:pt x="288" y="54"/>
                  </a:lnTo>
                  <a:lnTo>
                    <a:pt x="304" y="54"/>
                  </a:lnTo>
                  <a:lnTo>
                    <a:pt x="304" y="54"/>
                  </a:lnTo>
                  <a:lnTo>
                    <a:pt x="314" y="56"/>
                  </a:lnTo>
                  <a:lnTo>
                    <a:pt x="320" y="60"/>
                  </a:lnTo>
                  <a:lnTo>
                    <a:pt x="326" y="68"/>
                  </a:lnTo>
                  <a:lnTo>
                    <a:pt x="328" y="78"/>
                  </a:lnTo>
                  <a:lnTo>
                    <a:pt x="328" y="78"/>
                  </a:lnTo>
                  <a:close/>
                  <a:moveTo>
                    <a:pt x="294" y="248"/>
                  </a:moveTo>
                  <a:lnTo>
                    <a:pt x="294" y="248"/>
                  </a:lnTo>
                  <a:lnTo>
                    <a:pt x="292" y="242"/>
                  </a:lnTo>
                  <a:lnTo>
                    <a:pt x="288" y="240"/>
                  </a:lnTo>
                  <a:lnTo>
                    <a:pt x="40" y="240"/>
                  </a:lnTo>
                  <a:lnTo>
                    <a:pt x="40" y="240"/>
                  </a:lnTo>
                  <a:lnTo>
                    <a:pt x="36" y="242"/>
                  </a:lnTo>
                  <a:lnTo>
                    <a:pt x="34" y="248"/>
                  </a:lnTo>
                  <a:lnTo>
                    <a:pt x="34" y="248"/>
                  </a:lnTo>
                  <a:lnTo>
                    <a:pt x="36" y="252"/>
                  </a:lnTo>
                  <a:lnTo>
                    <a:pt x="40" y="254"/>
                  </a:lnTo>
                  <a:lnTo>
                    <a:pt x="288" y="254"/>
                  </a:lnTo>
                  <a:lnTo>
                    <a:pt x="288" y="254"/>
                  </a:lnTo>
                  <a:lnTo>
                    <a:pt x="292" y="252"/>
                  </a:lnTo>
                  <a:lnTo>
                    <a:pt x="294" y="248"/>
                  </a:lnTo>
                  <a:lnTo>
                    <a:pt x="294" y="248"/>
                  </a:lnTo>
                  <a:close/>
                  <a:moveTo>
                    <a:pt x="294" y="214"/>
                  </a:moveTo>
                  <a:lnTo>
                    <a:pt x="294" y="214"/>
                  </a:lnTo>
                  <a:lnTo>
                    <a:pt x="292" y="210"/>
                  </a:lnTo>
                  <a:lnTo>
                    <a:pt x="288" y="208"/>
                  </a:lnTo>
                  <a:lnTo>
                    <a:pt x="40" y="208"/>
                  </a:lnTo>
                  <a:lnTo>
                    <a:pt x="40" y="208"/>
                  </a:lnTo>
                  <a:lnTo>
                    <a:pt x="36" y="210"/>
                  </a:lnTo>
                  <a:lnTo>
                    <a:pt x="34" y="214"/>
                  </a:lnTo>
                  <a:lnTo>
                    <a:pt x="34" y="214"/>
                  </a:lnTo>
                  <a:lnTo>
                    <a:pt x="36" y="220"/>
                  </a:lnTo>
                  <a:lnTo>
                    <a:pt x="40" y="222"/>
                  </a:lnTo>
                  <a:lnTo>
                    <a:pt x="288" y="222"/>
                  </a:lnTo>
                  <a:lnTo>
                    <a:pt x="288" y="222"/>
                  </a:lnTo>
                  <a:lnTo>
                    <a:pt x="292" y="220"/>
                  </a:lnTo>
                  <a:lnTo>
                    <a:pt x="294" y="214"/>
                  </a:lnTo>
                  <a:lnTo>
                    <a:pt x="294" y="214"/>
                  </a:lnTo>
                  <a:close/>
                  <a:moveTo>
                    <a:pt x="294" y="122"/>
                  </a:moveTo>
                  <a:lnTo>
                    <a:pt x="294" y="122"/>
                  </a:lnTo>
                  <a:lnTo>
                    <a:pt x="292" y="118"/>
                  </a:lnTo>
                  <a:lnTo>
                    <a:pt x="288" y="114"/>
                  </a:lnTo>
                  <a:lnTo>
                    <a:pt x="40" y="114"/>
                  </a:lnTo>
                  <a:lnTo>
                    <a:pt x="40" y="114"/>
                  </a:lnTo>
                  <a:lnTo>
                    <a:pt x="36" y="118"/>
                  </a:lnTo>
                  <a:lnTo>
                    <a:pt x="34" y="122"/>
                  </a:lnTo>
                  <a:lnTo>
                    <a:pt x="34" y="122"/>
                  </a:lnTo>
                  <a:lnTo>
                    <a:pt x="36" y="126"/>
                  </a:lnTo>
                  <a:lnTo>
                    <a:pt x="40" y="128"/>
                  </a:lnTo>
                  <a:lnTo>
                    <a:pt x="288" y="128"/>
                  </a:lnTo>
                  <a:lnTo>
                    <a:pt x="288" y="128"/>
                  </a:lnTo>
                  <a:lnTo>
                    <a:pt x="292" y="126"/>
                  </a:lnTo>
                  <a:lnTo>
                    <a:pt x="294" y="122"/>
                  </a:lnTo>
                  <a:lnTo>
                    <a:pt x="294" y="122"/>
                  </a:lnTo>
                  <a:close/>
                  <a:moveTo>
                    <a:pt x="294" y="88"/>
                  </a:moveTo>
                  <a:lnTo>
                    <a:pt x="294" y="88"/>
                  </a:lnTo>
                  <a:lnTo>
                    <a:pt x="292" y="84"/>
                  </a:lnTo>
                  <a:lnTo>
                    <a:pt x="288" y="82"/>
                  </a:lnTo>
                  <a:lnTo>
                    <a:pt x="40" y="82"/>
                  </a:lnTo>
                  <a:lnTo>
                    <a:pt x="40" y="82"/>
                  </a:lnTo>
                  <a:lnTo>
                    <a:pt x="36" y="84"/>
                  </a:lnTo>
                  <a:lnTo>
                    <a:pt x="34" y="88"/>
                  </a:lnTo>
                  <a:lnTo>
                    <a:pt x="34" y="88"/>
                  </a:lnTo>
                  <a:lnTo>
                    <a:pt x="36" y="94"/>
                  </a:lnTo>
                  <a:lnTo>
                    <a:pt x="40" y="96"/>
                  </a:lnTo>
                  <a:lnTo>
                    <a:pt x="288" y="96"/>
                  </a:lnTo>
                  <a:lnTo>
                    <a:pt x="288" y="96"/>
                  </a:lnTo>
                  <a:lnTo>
                    <a:pt x="292" y="94"/>
                  </a:lnTo>
                  <a:lnTo>
                    <a:pt x="294" y="88"/>
                  </a:lnTo>
                  <a:lnTo>
                    <a:pt x="294" y="8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29" name="Group 128">
            <a:extLst>
              <a:ext uri="{FF2B5EF4-FFF2-40B4-BE49-F238E27FC236}">
                <a16:creationId xmlns:a16="http://schemas.microsoft.com/office/drawing/2014/main" id="{F1641D4D-08E7-482E-87A2-555A1A377D56}"/>
              </a:ext>
            </a:extLst>
          </p:cNvPr>
          <p:cNvGrpSpPr/>
          <p:nvPr/>
        </p:nvGrpSpPr>
        <p:grpSpPr>
          <a:xfrm>
            <a:off x="5409433" y="4200579"/>
            <a:ext cx="612000" cy="612000"/>
            <a:chOff x="4974643" y="4690710"/>
            <a:chExt cx="612000" cy="612000"/>
          </a:xfrm>
        </p:grpSpPr>
        <p:sp>
          <p:nvSpPr>
            <p:cNvPr id="130" name="Oval 129">
              <a:extLst>
                <a:ext uri="{FF2B5EF4-FFF2-40B4-BE49-F238E27FC236}">
                  <a16:creationId xmlns:a16="http://schemas.microsoft.com/office/drawing/2014/main" id="{45923E99-B4DA-4AAC-BE42-156828377A74}"/>
                </a:ext>
              </a:extLst>
            </p:cNvPr>
            <p:cNvSpPr/>
            <p:nvPr/>
          </p:nvSpPr>
          <p:spPr bwMode="ltGray">
            <a:xfrm>
              <a:off x="4974643"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31" name="Freeform 4982">
              <a:extLst>
                <a:ext uri="{FF2B5EF4-FFF2-40B4-BE49-F238E27FC236}">
                  <a16:creationId xmlns:a16="http://schemas.microsoft.com/office/drawing/2014/main" id="{92490C68-7279-4150-9245-655FA3481648}"/>
                </a:ext>
              </a:extLst>
            </p:cNvPr>
            <p:cNvSpPr>
              <a:spLocks noEditPoints="1"/>
            </p:cNvSpPr>
            <p:nvPr/>
          </p:nvSpPr>
          <p:spPr bwMode="auto">
            <a:xfrm>
              <a:off x="5148142" y="4768529"/>
              <a:ext cx="265002" cy="452913"/>
            </a:xfrm>
            <a:custGeom>
              <a:avLst/>
              <a:gdLst>
                <a:gd name="T0" fmla="*/ 8 w 220"/>
                <a:gd name="T1" fmla="*/ 286 h 376"/>
                <a:gd name="T2" fmla="*/ 26 w 220"/>
                <a:gd name="T3" fmla="*/ 268 h 376"/>
                <a:gd name="T4" fmla="*/ 26 w 220"/>
                <a:gd name="T5" fmla="*/ 268 h 376"/>
                <a:gd name="T6" fmla="*/ 50 w 220"/>
                <a:gd name="T7" fmla="*/ 254 h 376"/>
                <a:gd name="T8" fmla="*/ 54 w 220"/>
                <a:gd name="T9" fmla="*/ 230 h 376"/>
                <a:gd name="T10" fmla="*/ 70 w 220"/>
                <a:gd name="T11" fmla="*/ 204 h 376"/>
                <a:gd name="T12" fmla="*/ 80 w 220"/>
                <a:gd name="T13" fmla="*/ 144 h 376"/>
                <a:gd name="T14" fmla="*/ 84 w 220"/>
                <a:gd name="T15" fmla="*/ 136 h 376"/>
                <a:gd name="T16" fmla="*/ 110 w 220"/>
                <a:gd name="T17" fmla="*/ 134 h 376"/>
                <a:gd name="T18" fmla="*/ 132 w 220"/>
                <a:gd name="T19" fmla="*/ 134 h 376"/>
                <a:gd name="T20" fmla="*/ 138 w 220"/>
                <a:gd name="T21" fmla="*/ 144 h 376"/>
                <a:gd name="T22" fmla="*/ 144 w 220"/>
                <a:gd name="T23" fmla="*/ 188 h 376"/>
                <a:gd name="T24" fmla="*/ 160 w 220"/>
                <a:gd name="T25" fmla="*/ 224 h 376"/>
                <a:gd name="T26" fmla="*/ 170 w 220"/>
                <a:gd name="T27" fmla="*/ 254 h 376"/>
                <a:gd name="T28" fmla="*/ 182 w 220"/>
                <a:gd name="T29" fmla="*/ 264 h 376"/>
                <a:gd name="T30" fmla="*/ 192 w 220"/>
                <a:gd name="T31" fmla="*/ 268 h 376"/>
                <a:gd name="T32" fmla="*/ 206 w 220"/>
                <a:gd name="T33" fmla="*/ 278 h 376"/>
                <a:gd name="T34" fmla="*/ 212 w 220"/>
                <a:gd name="T35" fmla="*/ 296 h 376"/>
                <a:gd name="T36" fmla="*/ 196 w 220"/>
                <a:gd name="T37" fmla="*/ 320 h 376"/>
                <a:gd name="T38" fmla="*/ 184 w 220"/>
                <a:gd name="T39" fmla="*/ 322 h 376"/>
                <a:gd name="T40" fmla="*/ 34 w 220"/>
                <a:gd name="T41" fmla="*/ 322 h 376"/>
                <a:gd name="T42" fmla="*/ 24 w 220"/>
                <a:gd name="T43" fmla="*/ 320 h 376"/>
                <a:gd name="T44" fmla="*/ 6 w 220"/>
                <a:gd name="T45" fmla="*/ 296 h 376"/>
                <a:gd name="T46" fmla="*/ 44 w 220"/>
                <a:gd name="T47" fmla="*/ 110 h 376"/>
                <a:gd name="T48" fmla="*/ 50 w 220"/>
                <a:gd name="T49" fmla="*/ 100 h 376"/>
                <a:gd name="T50" fmla="*/ 80 w 220"/>
                <a:gd name="T51" fmla="*/ 100 h 376"/>
                <a:gd name="T52" fmla="*/ 58 w 220"/>
                <a:gd name="T53" fmla="*/ 68 h 376"/>
                <a:gd name="T54" fmla="*/ 56 w 220"/>
                <a:gd name="T55" fmla="*/ 44 h 376"/>
                <a:gd name="T56" fmla="*/ 72 w 220"/>
                <a:gd name="T57" fmla="*/ 16 h 376"/>
                <a:gd name="T58" fmla="*/ 100 w 220"/>
                <a:gd name="T59" fmla="*/ 2 h 376"/>
                <a:gd name="T60" fmla="*/ 120 w 220"/>
                <a:gd name="T61" fmla="*/ 2 h 376"/>
                <a:gd name="T62" fmla="*/ 148 w 220"/>
                <a:gd name="T63" fmla="*/ 16 h 376"/>
                <a:gd name="T64" fmla="*/ 164 w 220"/>
                <a:gd name="T65" fmla="*/ 44 h 376"/>
                <a:gd name="T66" fmla="*/ 162 w 220"/>
                <a:gd name="T67" fmla="*/ 68 h 376"/>
                <a:gd name="T68" fmla="*/ 140 w 220"/>
                <a:gd name="T69" fmla="*/ 100 h 376"/>
                <a:gd name="T70" fmla="*/ 170 w 220"/>
                <a:gd name="T71" fmla="*/ 100 h 376"/>
                <a:gd name="T72" fmla="*/ 176 w 220"/>
                <a:gd name="T73" fmla="*/ 110 h 376"/>
                <a:gd name="T74" fmla="*/ 172 w 220"/>
                <a:gd name="T75" fmla="*/ 116 h 376"/>
                <a:gd name="T76" fmla="*/ 54 w 220"/>
                <a:gd name="T77" fmla="*/ 120 h 376"/>
                <a:gd name="T78" fmla="*/ 48 w 220"/>
                <a:gd name="T79" fmla="*/ 116 h 376"/>
                <a:gd name="T80" fmla="*/ 44 w 220"/>
                <a:gd name="T81" fmla="*/ 110 h 376"/>
                <a:gd name="T82" fmla="*/ 96 w 220"/>
                <a:gd name="T83" fmla="*/ 48 h 376"/>
                <a:gd name="T84" fmla="*/ 104 w 220"/>
                <a:gd name="T85" fmla="*/ 34 h 376"/>
                <a:gd name="T86" fmla="*/ 100 w 220"/>
                <a:gd name="T87" fmla="*/ 24 h 376"/>
                <a:gd name="T88" fmla="*/ 90 w 220"/>
                <a:gd name="T89" fmla="*/ 20 h 376"/>
                <a:gd name="T90" fmla="*/ 76 w 220"/>
                <a:gd name="T91" fmla="*/ 28 h 376"/>
                <a:gd name="T92" fmla="*/ 76 w 220"/>
                <a:gd name="T93" fmla="*/ 40 h 376"/>
                <a:gd name="T94" fmla="*/ 90 w 220"/>
                <a:gd name="T95" fmla="*/ 48 h 376"/>
                <a:gd name="T96" fmla="*/ 16 w 220"/>
                <a:gd name="T97" fmla="*/ 338 h 376"/>
                <a:gd name="T98" fmla="*/ 6 w 220"/>
                <a:gd name="T99" fmla="*/ 342 h 376"/>
                <a:gd name="T100" fmla="*/ 0 w 220"/>
                <a:gd name="T101" fmla="*/ 360 h 376"/>
                <a:gd name="T102" fmla="*/ 6 w 220"/>
                <a:gd name="T103" fmla="*/ 372 h 376"/>
                <a:gd name="T104" fmla="*/ 204 w 220"/>
                <a:gd name="T105" fmla="*/ 376 h 376"/>
                <a:gd name="T106" fmla="*/ 214 w 220"/>
                <a:gd name="T107" fmla="*/ 372 h 376"/>
                <a:gd name="T108" fmla="*/ 220 w 220"/>
                <a:gd name="T109" fmla="*/ 354 h 376"/>
                <a:gd name="T110" fmla="*/ 214 w 220"/>
                <a:gd name="T111" fmla="*/ 342 h 376"/>
                <a:gd name="T112" fmla="*/ 204 w 220"/>
                <a:gd name="T113" fmla="*/ 338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0" h="376">
                  <a:moveTo>
                    <a:pt x="6" y="296"/>
                  </a:moveTo>
                  <a:lnTo>
                    <a:pt x="6" y="296"/>
                  </a:lnTo>
                  <a:lnTo>
                    <a:pt x="8" y="286"/>
                  </a:lnTo>
                  <a:lnTo>
                    <a:pt x="12" y="278"/>
                  </a:lnTo>
                  <a:lnTo>
                    <a:pt x="18" y="272"/>
                  </a:lnTo>
                  <a:lnTo>
                    <a:pt x="26" y="268"/>
                  </a:lnTo>
                  <a:lnTo>
                    <a:pt x="26" y="268"/>
                  </a:lnTo>
                  <a:lnTo>
                    <a:pt x="26" y="268"/>
                  </a:lnTo>
                  <a:lnTo>
                    <a:pt x="26" y="268"/>
                  </a:lnTo>
                  <a:lnTo>
                    <a:pt x="36" y="264"/>
                  </a:lnTo>
                  <a:lnTo>
                    <a:pt x="44" y="260"/>
                  </a:lnTo>
                  <a:lnTo>
                    <a:pt x="50" y="254"/>
                  </a:lnTo>
                  <a:lnTo>
                    <a:pt x="50" y="234"/>
                  </a:lnTo>
                  <a:lnTo>
                    <a:pt x="50" y="234"/>
                  </a:lnTo>
                  <a:lnTo>
                    <a:pt x="54" y="230"/>
                  </a:lnTo>
                  <a:lnTo>
                    <a:pt x="58" y="224"/>
                  </a:lnTo>
                  <a:lnTo>
                    <a:pt x="64" y="216"/>
                  </a:lnTo>
                  <a:lnTo>
                    <a:pt x="70" y="204"/>
                  </a:lnTo>
                  <a:lnTo>
                    <a:pt x="76" y="188"/>
                  </a:lnTo>
                  <a:lnTo>
                    <a:pt x="78" y="168"/>
                  </a:lnTo>
                  <a:lnTo>
                    <a:pt x="80" y="144"/>
                  </a:lnTo>
                  <a:lnTo>
                    <a:pt x="80" y="144"/>
                  </a:lnTo>
                  <a:lnTo>
                    <a:pt x="80" y="140"/>
                  </a:lnTo>
                  <a:lnTo>
                    <a:pt x="84" y="136"/>
                  </a:lnTo>
                  <a:lnTo>
                    <a:pt x="86" y="134"/>
                  </a:lnTo>
                  <a:lnTo>
                    <a:pt x="90" y="134"/>
                  </a:lnTo>
                  <a:lnTo>
                    <a:pt x="110" y="134"/>
                  </a:lnTo>
                  <a:lnTo>
                    <a:pt x="128" y="134"/>
                  </a:lnTo>
                  <a:lnTo>
                    <a:pt x="128" y="134"/>
                  </a:lnTo>
                  <a:lnTo>
                    <a:pt x="132" y="134"/>
                  </a:lnTo>
                  <a:lnTo>
                    <a:pt x="136" y="136"/>
                  </a:lnTo>
                  <a:lnTo>
                    <a:pt x="138" y="140"/>
                  </a:lnTo>
                  <a:lnTo>
                    <a:pt x="138" y="144"/>
                  </a:lnTo>
                  <a:lnTo>
                    <a:pt x="138" y="144"/>
                  </a:lnTo>
                  <a:lnTo>
                    <a:pt x="140" y="168"/>
                  </a:lnTo>
                  <a:lnTo>
                    <a:pt x="144" y="188"/>
                  </a:lnTo>
                  <a:lnTo>
                    <a:pt x="148" y="204"/>
                  </a:lnTo>
                  <a:lnTo>
                    <a:pt x="154" y="216"/>
                  </a:lnTo>
                  <a:lnTo>
                    <a:pt x="160" y="224"/>
                  </a:lnTo>
                  <a:lnTo>
                    <a:pt x="164" y="230"/>
                  </a:lnTo>
                  <a:lnTo>
                    <a:pt x="170" y="234"/>
                  </a:lnTo>
                  <a:lnTo>
                    <a:pt x="170" y="254"/>
                  </a:lnTo>
                  <a:lnTo>
                    <a:pt x="170" y="254"/>
                  </a:lnTo>
                  <a:lnTo>
                    <a:pt x="176" y="260"/>
                  </a:lnTo>
                  <a:lnTo>
                    <a:pt x="182" y="264"/>
                  </a:lnTo>
                  <a:lnTo>
                    <a:pt x="192" y="268"/>
                  </a:lnTo>
                  <a:lnTo>
                    <a:pt x="192" y="268"/>
                  </a:lnTo>
                  <a:lnTo>
                    <a:pt x="192" y="268"/>
                  </a:lnTo>
                  <a:lnTo>
                    <a:pt x="192" y="268"/>
                  </a:lnTo>
                  <a:lnTo>
                    <a:pt x="200" y="272"/>
                  </a:lnTo>
                  <a:lnTo>
                    <a:pt x="206" y="278"/>
                  </a:lnTo>
                  <a:lnTo>
                    <a:pt x="210" y="286"/>
                  </a:lnTo>
                  <a:lnTo>
                    <a:pt x="212" y="296"/>
                  </a:lnTo>
                  <a:lnTo>
                    <a:pt x="212" y="296"/>
                  </a:lnTo>
                  <a:lnTo>
                    <a:pt x="210" y="306"/>
                  </a:lnTo>
                  <a:lnTo>
                    <a:pt x="204" y="314"/>
                  </a:lnTo>
                  <a:lnTo>
                    <a:pt x="196" y="320"/>
                  </a:lnTo>
                  <a:lnTo>
                    <a:pt x="184" y="322"/>
                  </a:lnTo>
                  <a:lnTo>
                    <a:pt x="184" y="322"/>
                  </a:lnTo>
                  <a:lnTo>
                    <a:pt x="184" y="322"/>
                  </a:lnTo>
                  <a:lnTo>
                    <a:pt x="110" y="322"/>
                  </a:lnTo>
                  <a:lnTo>
                    <a:pt x="34" y="322"/>
                  </a:lnTo>
                  <a:lnTo>
                    <a:pt x="34" y="322"/>
                  </a:lnTo>
                  <a:lnTo>
                    <a:pt x="34" y="322"/>
                  </a:lnTo>
                  <a:lnTo>
                    <a:pt x="34" y="322"/>
                  </a:lnTo>
                  <a:lnTo>
                    <a:pt x="24" y="320"/>
                  </a:lnTo>
                  <a:lnTo>
                    <a:pt x="14" y="314"/>
                  </a:lnTo>
                  <a:lnTo>
                    <a:pt x="8" y="306"/>
                  </a:lnTo>
                  <a:lnTo>
                    <a:pt x="6" y="296"/>
                  </a:lnTo>
                  <a:lnTo>
                    <a:pt x="6" y="296"/>
                  </a:lnTo>
                  <a:close/>
                  <a:moveTo>
                    <a:pt x="44" y="110"/>
                  </a:moveTo>
                  <a:lnTo>
                    <a:pt x="44" y="110"/>
                  </a:lnTo>
                  <a:lnTo>
                    <a:pt x="46" y="106"/>
                  </a:lnTo>
                  <a:lnTo>
                    <a:pt x="48" y="102"/>
                  </a:lnTo>
                  <a:lnTo>
                    <a:pt x="50" y="100"/>
                  </a:lnTo>
                  <a:lnTo>
                    <a:pt x="54" y="100"/>
                  </a:lnTo>
                  <a:lnTo>
                    <a:pt x="80" y="100"/>
                  </a:lnTo>
                  <a:lnTo>
                    <a:pt x="80" y="100"/>
                  </a:lnTo>
                  <a:lnTo>
                    <a:pt x="70" y="92"/>
                  </a:lnTo>
                  <a:lnTo>
                    <a:pt x="62" y="80"/>
                  </a:lnTo>
                  <a:lnTo>
                    <a:pt x="58" y="68"/>
                  </a:lnTo>
                  <a:lnTo>
                    <a:pt x="56" y="54"/>
                  </a:lnTo>
                  <a:lnTo>
                    <a:pt x="56" y="54"/>
                  </a:lnTo>
                  <a:lnTo>
                    <a:pt x="56" y="44"/>
                  </a:lnTo>
                  <a:lnTo>
                    <a:pt x="60" y="34"/>
                  </a:lnTo>
                  <a:lnTo>
                    <a:pt x="64" y="24"/>
                  </a:lnTo>
                  <a:lnTo>
                    <a:pt x="72" y="16"/>
                  </a:lnTo>
                  <a:lnTo>
                    <a:pt x="80" y="10"/>
                  </a:lnTo>
                  <a:lnTo>
                    <a:pt x="88" y="4"/>
                  </a:lnTo>
                  <a:lnTo>
                    <a:pt x="100" y="2"/>
                  </a:lnTo>
                  <a:lnTo>
                    <a:pt x="110" y="0"/>
                  </a:lnTo>
                  <a:lnTo>
                    <a:pt x="110" y="0"/>
                  </a:lnTo>
                  <a:lnTo>
                    <a:pt x="120" y="2"/>
                  </a:lnTo>
                  <a:lnTo>
                    <a:pt x="132" y="4"/>
                  </a:lnTo>
                  <a:lnTo>
                    <a:pt x="140" y="10"/>
                  </a:lnTo>
                  <a:lnTo>
                    <a:pt x="148" y="16"/>
                  </a:lnTo>
                  <a:lnTo>
                    <a:pt x="156" y="24"/>
                  </a:lnTo>
                  <a:lnTo>
                    <a:pt x="160" y="34"/>
                  </a:lnTo>
                  <a:lnTo>
                    <a:pt x="164" y="44"/>
                  </a:lnTo>
                  <a:lnTo>
                    <a:pt x="164" y="54"/>
                  </a:lnTo>
                  <a:lnTo>
                    <a:pt x="164" y="54"/>
                  </a:lnTo>
                  <a:lnTo>
                    <a:pt x="162" y="68"/>
                  </a:lnTo>
                  <a:lnTo>
                    <a:pt x="158" y="80"/>
                  </a:lnTo>
                  <a:lnTo>
                    <a:pt x="150" y="92"/>
                  </a:lnTo>
                  <a:lnTo>
                    <a:pt x="140" y="100"/>
                  </a:lnTo>
                  <a:lnTo>
                    <a:pt x="166" y="100"/>
                  </a:lnTo>
                  <a:lnTo>
                    <a:pt x="166" y="100"/>
                  </a:lnTo>
                  <a:lnTo>
                    <a:pt x="170" y="100"/>
                  </a:lnTo>
                  <a:lnTo>
                    <a:pt x="172" y="102"/>
                  </a:lnTo>
                  <a:lnTo>
                    <a:pt x="174" y="106"/>
                  </a:lnTo>
                  <a:lnTo>
                    <a:pt x="176" y="110"/>
                  </a:lnTo>
                  <a:lnTo>
                    <a:pt x="176" y="110"/>
                  </a:lnTo>
                  <a:lnTo>
                    <a:pt x="174" y="114"/>
                  </a:lnTo>
                  <a:lnTo>
                    <a:pt x="172" y="116"/>
                  </a:lnTo>
                  <a:lnTo>
                    <a:pt x="170" y="120"/>
                  </a:lnTo>
                  <a:lnTo>
                    <a:pt x="166" y="120"/>
                  </a:lnTo>
                  <a:lnTo>
                    <a:pt x="54" y="120"/>
                  </a:lnTo>
                  <a:lnTo>
                    <a:pt x="54" y="120"/>
                  </a:lnTo>
                  <a:lnTo>
                    <a:pt x="50" y="120"/>
                  </a:lnTo>
                  <a:lnTo>
                    <a:pt x="48" y="116"/>
                  </a:lnTo>
                  <a:lnTo>
                    <a:pt x="46" y="114"/>
                  </a:lnTo>
                  <a:lnTo>
                    <a:pt x="44" y="110"/>
                  </a:lnTo>
                  <a:lnTo>
                    <a:pt x="44" y="110"/>
                  </a:lnTo>
                  <a:close/>
                  <a:moveTo>
                    <a:pt x="90" y="48"/>
                  </a:moveTo>
                  <a:lnTo>
                    <a:pt x="90" y="48"/>
                  </a:lnTo>
                  <a:lnTo>
                    <a:pt x="96" y="48"/>
                  </a:lnTo>
                  <a:lnTo>
                    <a:pt x="100" y="44"/>
                  </a:lnTo>
                  <a:lnTo>
                    <a:pt x="102" y="40"/>
                  </a:lnTo>
                  <a:lnTo>
                    <a:pt x="104" y="34"/>
                  </a:lnTo>
                  <a:lnTo>
                    <a:pt x="104" y="34"/>
                  </a:lnTo>
                  <a:lnTo>
                    <a:pt x="102" y="28"/>
                  </a:lnTo>
                  <a:lnTo>
                    <a:pt x="100" y="24"/>
                  </a:lnTo>
                  <a:lnTo>
                    <a:pt x="96" y="20"/>
                  </a:lnTo>
                  <a:lnTo>
                    <a:pt x="90" y="20"/>
                  </a:lnTo>
                  <a:lnTo>
                    <a:pt x="90" y="20"/>
                  </a:lnTo>
                  <a:lnTo>
                    <a:pt x="84" y="20"/>
                  </a:lnTo>
                  <a:lnTo>
                    <a:pt x="80" y="24"/>
                  </a:lnTo>
                  <a:lnTo>
                    <a:pt x="76" y="28"/>
                  </a:lnTo>
                  <a:lnTo>
                    <a:pt x="74" y="34"/>
                  </a:lnTo>
                  <a:lnTo>
                    <a:pt x="74" y="34"/>
                  </a:lnTo>
                  <a:lnTo>
                    <a:pt x="76" y="40"/>
                  </a:lnTo>
                  <a:lnTo>
                    <a:pt x="80" y="44"/>
                  </a:lnTo>
                  <a:lnTo>
                    <a:pt x="84" y="48"/>
                  </a:lnTo>
                  <a:lnTo>
                    <a:pt x="90" y="48"/>
                  </a:lnTo>
                  <a:lnTo>
                    <a:pt x="90" y="48"/>
                  </a:lnTo>
                  <a:close/>
                  <a:moveTo>
                    <a:pt x="204" y="338"/>
                  </a:moveTo>
                  <a:lnTo>
                    <a:pt x="16" y="338"/>
                  </a:lnTo>
                  <a:lnTo>
                    <a:pt x="16" y="338"/>
                  </a:lnTo>
                  <a:lnTo>
                    <a:pt x="10" y="340"/>
                  </a:lnTo>
                  <a:lnTo>
                    <a:pt x="6" y="342"/>
                  </a:lnTo>
                  <a:lnTo>
                    <a:pt x="2" y="348"/>
                  </a:lnTo>
                  <a:lnTo>
                    <a:pt x="0" y="354"/>
                  </a:lnTo>
                  <a:lnTo>
                    <a:pt x="0" y="360"/>
                  </a:lnTo>
                  <a:lnTo>
                    <a:pt x="0" y="360"/>
                  </a:lnTo>
                  <a:lnTo>
                    <a:pt x="2" y="368"/>
                  </a:lnTo>
                  <a:lnTo>
                    <a:pt x="6" y="372"/>
                  </a:lnTo>
                  <a:lnTo>
                    <a:pt x="10" y="376"/>
                  </a:lnTo>
                  <a:lnTo>
                    <a:pt x="16" y="376"/>
                  </a:lnTo>
                  <a:lnTo>
                    <a:pt x="204" y="376"/>
                  </a:lnTo>
                  <a:lnTo>
                    <a:pt x="204" y="376"/>
                  </a:lnTo>
                  <a:lnTo>
                    <a:pt x="210" y="376"/>
                  </a:lnTo>
                  <a:lnTo>
                    <a:pt x="214" y="372"/>
                  </a:lnTo>
                  <a:lnTo>
                    <a:pt x="218" y="368"/>
                  </a:lnTo>
                  <a:lnTo>
                    <a:pt x="220" y="360"/>
                  </a:lnTo>
                  <a:lnTo>
                    <a:pt x="220" y="354"/>
                  </a:lnTo>
                  <a:lnTo>
                    <a:pt x="220" y="354"/>
                  </a:lnTo>
                  <a:lnTo>
                    <a:pt x="218" y="348"/>
                  </a:lnTo>
                  <a:lnTo>
                    <a:pt x="214" y="342"/>
                  </a:lnTo>
                  <a:lnTo>
                    <a:pt x="210" y="340"/>
                  </a:lnTo>
                  <a:lnTo>
                    <a:pt x="204" y="338"/>
                  </a:lnTo>
                  <a:lnTo>
                    <a:pt x="204" y="33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32" name="Group 131">
            <a:extLst>
              <a:ext uri="{FF2B5EF4-FFF2-40B4-BE49-F238E27FC236}">
                <a16:creationId xmlns:a16="http://schemas.microsoft.com/office/drawing/2014/main" id="{34846A48-2D28-4BB7-B9B3-1328165F1024}"/>
              </a:ext>
            </a:extLst>
          </p:cNvPr>
          <p:cNvGrpSpPr/>
          <p:nvPr/>
        </p:nvGrpSpPr>
        <p:grpSpPr>
          <a:xfrm>
            <a:off x="1885637" y="2882974"/>
            <a:ext cx="612000" cy="612000"/>
            <a:chOff x="592807" y="3474401"/>
            <a:chExt cx="612000" cy="612000"/>
          </a:xfrm>
        </p:grpSpPr>
        <p:sp>
          <p:nvSpPr>
            <p:cNvPr id="133" name="Oval 132">
              <a:extLst>
                <a:ext uri="{FF2B5EF4-FFF2-40B4-BE49-F238E27FC236}">
                  <a16:creationId xmlns:a16="http://schemas.microsoft.com/office/drawing/2014/main" id="{B44FD323-1C36-4BFB-A104-F6E8A12560F3}"/>
                </a:ext>
              </a:extLst>
            </p:cNvPr>
            <p:cNvSpPr/>
            <p:nvPr/>
          </p:nvSpPr>
          <p:spPr bwMode="ltGray">
            <a:xfrm>
              <a:off x="592807"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34" name="Freeform 4989">
              <a:extLst>
                <a:ext uri="{FF2B5EF4-FFF2-40B4-BE49-F238E27FC236}">
                  <a16:creationId xmlns:a16="http://schemas.microsoft.com/office/drawing/2014/main" id="{E0EAF395-1204-4FCF-90E9-68831469F635}"/>
                </a:ext>
              </a:extLst>
            </p:cNvPr>
            <p:cNvSpPr>
              <a:spLocks/>
            </p:cNvSpPr>
            <p:nvPr/>
          </p:nvSpPr>
          <p:spPr bwMode="auto">
            <a:xfrm>
              <a:off x="692560" y="3590082"/>
              <a:ext cx="428822" cy="380639"/>
            </a:xfrm>
            <a:custGeom>
              <a:avLst/>
              <a:gdLst>
                <a:gd name="T0" fmla="*/ 356 w 356"/>
                <a:gd name="T1" fmla="*/ 158 h 316"/>
                <a:gd name="T2" fmla="*/ 354 w 356"/>
                <a:gd name="T3" fmla="*/ 172 h 316"/>
                <a:gd name="T4" fmla="*/ 346 w 356"/>
                <a:gd name="T5" fmla="*/ 182 h 316"/>
                <a:gd name="T6" fmla="*/ 336 w 356"/>
                <a:gd name="T7" fmla="*/ 190 h 316"/>
                <a:gd name="T8" fmla="*/ 322 w 356"/>
                <a:gd name="T9" fmla="*/ 192 h 316"/>
                <a:gd name="T10" fmla="*/ 280 w 356"/>
                <a:gd name="T11" fmla="*/ 266 h 316"/>
                <a:gd name="T12" fmla="*/ 282 w 356"/>
                <a:gd name="T13" fmla="*/ 272 h 316"/>
                <a:gd name="T14" fmla="*/ 284 w 356"/>
                <a:gd name="T15" fmla="*/ 286 h 316"/>
                <a:gd name="T16" fmla="*/ 280 w 356"/>
                <a:gd name="T17" fmla="*/ 298 h 316"/>
                <a:gd name="T18" fmla="*/ 272 w 356"/>
                <a:gd name="T19" fmla="*/ 308 h 316"/>
                <a:gd name="T20" fmla="*/ 266 w 356"/>
                <a:gd name="T21" fmla="*/ 312 h 316"/>
                <a:gd name="T22" fmla="*/ 250 w 356"/>
                <a:gd name="T23" fmla="*/ 316 h 316"/>
                <a:gd name="T24" fmla="*/ 242 w 356"/>
                <a:gd name="T25" fmla="*/ 316 h 316"/>
                <a:gd name="T26" fmla="*/ 226 w 356"/>
                <a:gd name="T27" fmla="*/ 308 h 316"/>
                <a:gd name="T28" fmla="*/ 178 w 356"/>
                <a:gd name="T29" fmla="*/ 226 h 316"/>
                <a:gd name="T30" fmla="*/ 136 w 356"/>
                <a:gd name="T31" fmla="*/ 300 h 316"/>
                <a:gd name="T32" fmla="*/ 122 w 356"/>
                <a:gd name="T33" fmla="*/ 312 h 316"/>
                <a:gd name="T34" fmla="*/ 106 w 356"/>
                <a:gd name="T35" fmla="*/ 316 h 316"/>
                <a:gd name="T36" fmla="*/ 98 w 356"/>
                <a:gd name="T37" fmla="*/ 316 h 316"/>
                <a:gd name="T38" fmla="*/ 88 w 356"/>
                <a:gd name="T39" fmla="*/ 312 h 316"/>
                <a:gd name="T40" fmla="*/ 78 w 356"/>
                <a:gd name="T41" fmla="*/ 304 h 316"/>
                <a:gd name="T42" fmla="*/ 74 w 356"/>
                <a:gd name="T43" fmla="*/ 292 h 316"/>
                <a:gd name="T44" fmla="*/ 72 w 356"/>
                <a:gd name="T45" fmla="*/ 278 h 316"/>
                <a:gd name="T46" fmla="*/ 76 w 356"/>
                <a:gd name="T47" fmla="*/ 266 h 316"/>
                <a:gd name="T48" fmla="*/ 34 w 356"/>
                <a:gd name="T49" fmla="*/ 192 h 316"/>
                <a:gd name="T50" fmla="*/ 28 w 356"/>
                <a:gd name="T51" fmla="*/ 192 h 316"/>
                <a:gd name="T52" fmla="*/ 14 w 356"/>
                <a:gd name="T53" fmla="*/ 186 h 316"/>
                <a:gd name="T54" fmla="*/ 6 w 356"/>
                <a:gd name="T55" fmla="*/ 178 h 316"/>
                <a:gd name="T56" fmla="*/ 0 w 356"/>
                <a:gd name="T57" fmla="*/ 164 h 316"/>
                <a:gd name="T58" fmla="*/ 0 w 356"/>
                <a:gd name="T59" fmla="*/ 158 h 316"/>
                <a:gd name="T60" fmla="*/ 2 w 356"/>
                <a:gd name="T61" fmla="*/ 144 h 316"/>
                <a:gd name="T62" fmla="*/ 10 w 356"/>
                <a:gd name="T63" fmla="*/ 134 h 316"/>
                <a:gd name="T64" fmla="*/ 20 w 356"/>
                <a:gd name="T65" fmla="*/ 126 h 316"/>
                <a:gd name="T66" fmla="*/ 34 w 356"/>
                <a:gd name="T67" fmla="*/ 124 h 316"/>
                <a:gd name="T68" fmla="*/ 76 w 356"/>
                <a:gd name="T69" fmla="*/ 50 h 316"/>
                <a:gd name="T70" fmla="*/ 74 w 356"/>
                <a:gd name="T71" fmla="*/ 44 h 316"/>
                <a:gd name="T72" fmla="*/ 72 w 356"/>
                <a:gd name="T73" fmla="*/ 30 h 316"/>
                <a:gd name="T74" fmla="*/ 76 w 356"/>
                <a:gd name="T75" fmla="*/ 18 h 316"/>
                <a:gd name="T76" fmla="*/ 84 w 356"/>
                <a:gd name="T77" fmla="*/ 8 h 316"/>
                <a:gd name="T78" fmla="*/ 90 w 356"/>
                <a:gd name="T79" fmla="*/ 4 h 316"/>
                <a:gd name="T80" fmla="*/ 102 w 356"/>
                <a:gd name="T81" fmla="*/ 0 h 316"/>
                <a:gd name="T82" fmla="*/ 114 w 356"/>
                <a:gd name="T83" fmla="*/ 0 h 316"/>
                <a:gd name="T84" fmla="*/ 126 w 356"/>
                <a:gd name="T85" fmla="*/ 6 h 316"/>
                <a:gd name="T86" fmla="*/ 136 w 356"/>
                <a:gd name="T87" fmla="*/ 16 h 316"/>
                <a:gd name="T88" fmla="*/ 220 w 356"/>
                <a:gd name="T89" fmla="*/ 16 h 316"/>
                <a:gd name="T90" fmla="*/ 224 w 356"/>
                <a:gd name="T91" fmla="*/ 10 h 316"/>
                <a:gd name="T92" fmla="*/ 236 w 356"/>
                <a:gd name="T93" fmla="*/ 2 h 316"/>
                <a:gd name="T94" fmla="*/ 248 w 356"/>
                <a:gd name="T95" fmla="*/ 0 h 316"/>
                <a:gd name="T96" fmla="*/ 260 w 356"/>
                <a:gd name="T97" fmla="*/ 2 h 316"/>
                <a:gd name="T98" fmla="*/ 268 w 356"/>
                <a:gd name="T99" fmla="*/ 4 h 316"/>
                <a:gd name="T100" fmla="*/ 278 w 356"/>
                <a:gd name="T101" fmla="*/ 12 h 316"/>
                <a:gd name="T102" fmla="*/ 282 w 356"/>
                <a:gd name="T103" fmla="*/ 24 h 316"/>
                <a:gd name="T104" fmla="*/ 284 w 356"/>
                <a:gd name="T105" fmla="*/ 38 h 316"/>
                <a:gd name="T106" fmla="*/ 280 w 356"/>
                <a:gd name="T107" fmla="*/ 50 h 316"/>
                <a:gd name="T108" fmla="*/ 322 w 356"/>
                <a:gd name="T109" fmla="*/ 124 h 316"/>
                <a:gd name="T110" fmla="*/ 328 w 356"/>
                <a:gd name="T111" fmla="*/ 124 h 316"/>
                <a:gd name="T112" fmla="*/ 342 w 356"/>
                <a:gd name="T113" fmla="*/ 130 h 316"/>
                <a:gd name="T114" fmla="*/ 350 w 356"/>
                <a:gd name="T115" fmla="*/ 140 h 316"/>
                <a:gd name="T116" fmla="*/ 356 w 356"/>
                <a:gd name="T117" fmla="*/ 152 h 316"/>
                <a:gd name="T118" fmla="*/ 356 w 356"/>
                <a:gd name="T119" fmla="*/ 158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6" h="316">
                  <a:moveTo>
                    <a:pt x="356" y="158"/>
                  </a:moveTo>
                  <a:lnTo>
                    <a:pt x="356" y="158"/>
                  </a:lnTo>
                  <a:lnTo>
                    <a:pt x="356" y="164"/>
                  </a:lnTo>
                  <a:lnTo>
                    <a:pt x="354" y="172"/>
                  </a:lnTo>
                  <a:lnTo>
                    <a:pt x="350" y="178"/>
                  </a:lnTo>
                  <a:lnTo>
                    <a:pt x="346" y="182"/>
                  </a:lnTo>
                  <a:lnTo>
                    <a:pt x="342" y="186"/>
                  </a:lnTo>
                  <a:lnTo>
                    <a:pt x="336" y="190"/>
                  </a:lnTo>
                  <a:lnTo>
                    <a:pt x="328" y="192"/>
                  </a:lnTo>
                  <a:lnTo>
                    <a:pt x="322" y="192"/>
                  </a:lnTo>
                  <a:lnTo>
                    <a:pt x="236" y="192"/>
                  </a:lnTo>
                  <a:lnTo>
                    <a:pt x="280" y="266"/>
                  </a:lnTo>
                  <a:lnTo>
                    <a:pt x="280" y="266"/>
                  </a:lnTo>
                  <a:lnTo>
                    <a:pt x="282" y="272"/>
                  </a:lnTo>
                  <a:lnTo>
                    <a:pt x="284" y="278"/>
                  </a:lnTo>
                  <a:lnTo>
                    <a:pt x="284" y="286"/>
                  </a:lnTo>
                  <a:lnTo>
                    <a:pt x="282" y="292"/>
                  </a:lnTo>
                  <a:lnTo>
                    <a:pt x="280" y="298"/>
                  </a:lnTo>
                  <a:lnTo>
                    <a:pt x="278" y="304"/>
                  </a:lnTo>
                  <a:lnTo>
                    <a:pt x="272" y="308"/>
                  </a:lnTo>
                  <a:lnTo>
                    <a:pt x="266" y="312"/>
                  </a:lnTo>
                  <a:lnTo>
                    <a:pt x="266" y="312"/>
                  </a:lnTo>
                  <a:lnTo>
                    <a:pt x="258" y="316"/>
                  </a:lnTo>
                  <a:lnTo>
                    <a:pt x="250" y="316"/>
                  </a:lnTo>
                  <a:lnTo>
                    <a:pt x="250" y="316"/>
                  </a:lnTo>
                  <a:lnTo>
                    <a:pt x="242" y="316"/>
                  </a:lnTo>
                  <a:lnTo>
                    <a:pt x="234" y="312"/>
                  </a:lnTo>
                  <a:lnTo>
                    <a:pt x="226" y="308"/>
                  </a:lnTo>
                  <a:lnTo>
                    <a:pt x="220" y="300"/>
                  </a:lnTo>
                  <a:lnTo>
                    <a:pt x="178" y="226"/>
                  </a:lnTo>
                  <a:lnTo>
                    <a:pt x="136" y="300"/>
                  </a:lnTo>
                  <a:lnTo>
                    <a:pt x="136" y="300"/>
                  </a:lnTo>
                  <a:lnTo>
                    <a:pt x="130" y="306"/>
                  </a:lnTo>
                  <a:lnTo>
                    <a:pt x="122" y="312"/>
                  </a:lnTo>
                  <a:lnTo>
                    <a:pt x="114" y="316"/>
                  </a:lnTo>
                  <a:lnTo>
                    <a:pt x="106" y="316"/>
                  </a:lnTo>
                  <a:lnTo>
                    <a:pt x="106" y="316"/>
                  </a:lnTo>
                  <a:lnTo>
                    <a:pt x="98" y="316"/>
                  </a:lnTo>
                  <a:lnTo>
                    <a:pt x="88" y="312"/>
                  </a:lnTo>
                  <a:lnTo>
                    <a:pt x="88" y="312"/>
                  </a:lnTo>
                  <a:lnTo>
                    <a:pt x="84" y="308"/>
                  </a:lnTo>
                  <a:lnTo>
                    <a:pt x="78" y="304"/>
                  </a:lnTo>
                  <a:lnTo>
                    <a:pt x="76" y="298"/>
                  </a:lnTo>
                  <a:lnTo>
                    <a:pt x="74" y="292"/>
                  </a:lnTo>
                  <a:lnTo>
                    <a:pt x="72" y="286"/>
                  </a:lnTo>
                  <a:lnTo>
                    <a:pt x="72" y="278"/>
                  </a:lnTo>
                  <a:lnTo>
                    <a:pt x="74" y="272"/>
                  </a:lnTo>
                  <a:lnTo>
                    <a:pt x="76" y="266"/>
                  </a:lnTo>
                  <a:lnTo>
                    <a:pt x="120" y="192"/>
                  </a:lnTo>
                  <a:lnTo>
                    <a:pt x="34" y="192"/>
                  </a:lnTo>
                  <a:lnTo>
                    <a:pt x="34" y="192"/>
                  </a:lnTo>
                  <a:lnTo>
                    <a:pt x="28" y="192"/>
                  </a:lnTo>
                  <a:lnTo>
                    <a:pt x="20" y="190"/>
                  </a:lnTo>
                  <a:lnTo>
                    <a:pt x="14" y="186"/>
                  </a:lnTo>
                  <a:lnTo>
                    <a:pt x="10" y="182"/>
                  </a:lnTo>
                  <a:lnTo>
                    <a:pt x="6" y="178"/>
                  </a:lnTo>
                  <a:lnTo>
                    <a:pt x="2" y="172"/>
                  </a:lnTo>
                  <a:lnTo>
                    <a:pt x="0" y="164"/>
                  </a:lnTo>
                  <a:lnTo>
                    <a:pt x="0" y="158"/>
                  </a:lnTo>
                  <a:lnTo>
                    <a:pt x="0" y="158"/>
                  </a:lnTo>
                  <a:lnTo>
                    <a:pt x="0" y="152"/>
                  </a:lnTo>
                  <a:lnTo>
                    <a:pt x="2" y="144"/>
                  </a:lnTo>
                  <a:lnTo>
                    <a:pt x="6" y="140"/>
                  </a:lnTo>
                  <a:lnTo>
                    <a:pt x="10" y="134"/>
                  </a:lnTo>
                  <a:lnTo>
                    <a:pt x="14" y="130"/>
                  </a:lnTo>
                  <a:lnTo>
                    <a:pt x="20" y="126"/>
                  </a:lnTo>
                  <a:lnTo>
                    <a:pt x="28" y="124"/>
                  </a:lnTo>
                  <a:lnTo>
                    <a:pt x="34" y="124"/>
                  </a:lnTo>
                  <a:lnTo>
                    <a:pt x="120" y="124"/>
                  </a:lnTo>
                  <a:lnTo>
                    <a:pt x="76" y="50"/>
                  </a:lnTo>
                  <a:lnTo>
                    <a:pt x="76" y="50"/>
                  </a:lnTo>
                  <a:lnTo>
                    <a:pt x="74" y="44"/>
                  </a:lnTo>
                  <a:lnTo>
                    <a:pt x="72" y="38"/>
                  </a:lnTo>
                  <a:lnTo>
                    <a:pt x="72" y="30"/>
                  </a:lnTo>
                  <a:lnTo>
                    <a:pt x="74" y="24"/>
                  </a:lnTo>
                  <a:lnTo>
                    <a:pt x="76" y="18"/>
                  </a:lnTo>
                  <a:lnTo>
                    <a:pt x="78" y="12"/>
                  </a:lnTo>
                  <a:lnTo>
                    <a:pt x="84" y="8"/>
                  </a:lnTo>
                  <a:lnTo>
                    <a:pt x="90" y="4"/>
                  </a:lnTo>
                  <a:lnTo>
                    <a:pt x="90" y="4"/>
                  </a:lnTo>
                  <a:lnTo>
                    <a:pt x="96" y="2"/>
                  </a:lnTo>
                  <a:lnTo>
                    <a:pt x="102" y="0"/>
                  </a:lnTo>
                  <a:lnTo>
                    <a:pt x="108" y="0"/>
                  </a:lnTo>
                  <a:lnTo>
                    <a:pt x="114" y="0"/>
                  </a:lnTo>
                  <a:lnTo>
                    <a:pt x="120" y="2"/>
                  </a:lnTo>
                  <a:lnTo>
                    <a:pt x="126" y="6"/>
                  </a:lnTo>
                  <a:lnTo>
                    <a:pt x="132" y="10"/>
                  </a:lnTo>
                  <a:lnTo>
                    <a:pt x="136" y="16"/>
                  </a:lnTo>
                  <a:lnTo>
                    <a:pt x="178" y="90"/>
                  </a:lnTo>
                  <a:lnTo>
                    <a:pt x="220" y="16"/>
                  </a:lnTo>
                  <a:lnTo>
                    <a:pt x="220" y="16"/>
                  </a:lnTo>
                  <a:lnTo>
                    <a:pt x="224" y="10"/>
                  </a:lnTo>
                  <a:lnTo>
                    <a:pt x="230" y="6"/>
                  </a:lnTo>
                  <a:lnTo>
                    <a:pt x="236" y="2"/>
                  </a:lnTo>
                  <a:lnTo>
                    <a:pt x="242" y="0"/>
                  </a:lnTo>
                  <a:lnTo>
                    <a:pt x="248" y="0"/>
                  </a:lnTo>
                  <a:lnTo>
                    <a:pt x="254" y="0"/>
                  </a:lnTo>
                  <a:lnTo>
                    <a:pt x="260" y="2"/>
                  </a:lnTo>
                  <a:lnTo>
                    <a:pt x="268" y="4"/>
                  </a:lnTo>
                  <a:lnTo>
                    <a:pt x="268" y="4"/>
                  </a:lnTo>
                  <a:lnTo>
                    <a:pt x="272" y="8"/>
                  </a:lnTo>
                  <a:lnTo>
                    <a:pt x="278" y="12"/>
                  </a:lnTo>
                  <a:lnTo>
                    <a:pt x="280" y="18"/>
                  </a:lnTo>
                  <a:lnTo>
                    <a:pt x="282" y="24"/>
                  </a:lnTo>
                  <a:lnTo>
                    <a:pt x="284" y="30"/>
                  </a:lnTo>
                  <a:lnTo>
                    <a:pt x="284" y="38"/>
                  </a:lnTo>
                  <a:lnTo>
                    <a:pt x="282" y="44"/>
                  </a:lnTo>
                  <a:lnTo>
                    <a:pt x="280" y="50"/>
                  </a:lnTo>
                  <a:lnTo>
                    <a:pt x="236" y="124"/>
                  </a:lnTo>
                  <a:lnTo>
                    <a:pt x="322" y="124"/>
                  </a:lnTo>
                  <a:lnTo>
                    <a:pt x="322" y="124"/>
                  </a:lnTo>
                  <a:lnTo>
                    <a:pt x="328" y="124"/>
                  </a:lnTo>
                  <a:lnTo>
                    <a:pt x="336" y="126"/>
                  </a:lnTo>
                  <a:lnTo>
                    <a:pt x="342" y="130"/>
                  </a:lnTo>
                  <a:lnTo>
                    <a:pt x="346" y="134"/>
                  </a:lnTo>
                  <a:lnTo>
                    <a:pt x="350" y="140"/>
                  </a:lnTo>
                  <a:lnTo>
                    <a:pt x="354" y="144"/>
                  </a:lnTo>
                  <a:lnTo>
                    <a:pt x="356" y="152"/>
                  </a:lnTo>
                  <a:lnTo>
                    <a:pt x="356" y="158"/>
                  </a:lnTo>
                  <a:lnTo>
                    <a:pt x="356" y="15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35" name="Group 134">
            <a:extLst>
              <a:ext uri="{FF2B5EF4-FFF2-40B4-BE49-F238E27FC236}">
                <a16:creationId xmlns:a16="http://schemas.microsoft.com/office/drawing/2014/main" id="{F7CC388E-118B-458B-9879-EAF6582A302E}"/>
              </a:ext>
            </a:extLst>
          </p:cNvPr>
          <p:cNvGrpSpPr/>
          <p:nvPr/>
        </p:nvGrpSpPr>
        <p:grpSpPr>
          <a:xfrm>
            <a:off x="7171331" y="5136080"/>
            <a:ext cx="612000" cy="612000"/>
            <a:chOff x="6715798" y="5907019"/>
            <a:chExt cx="612000" cy="612000"/>
          </a:xfrm>
        </p:grpSpPr>
        <p:sp>
          <p:nvSpPr>
            <p:cNvPr id="136" name="Oval 135">
              <a:extLst>
                <a:ext uri="{FF2B5EF4-FFF2-40B4-BE49-F238E27FC236}">
                  <a16:creationId xmlns:a16="http://schemas.microsoft.com/office/drawing/2014/main" id="{35D6F282-B4D4-44E4-9010-47AFF5680EC9}"/>
                </a:ext>
              </a:extLst>
            </p:cNvPr>
            <p:cNvSpPr/>
            <p:nvPr/>
          </p:nvSpPr>
          <p:spPr bwMode="ltGray">
            <a:xfrm>
              <a:off x="6715798"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37" name="Freeform 4996">
              <a:extLst>
                <a:ext uri="{FF2B5EF4-FFF2-40B4-BE49-F238E27FC236}">
                  <a16:creationId xmlns:a16="http://schemas.microsoft.com/office/drawing/2014/main" id="{3D98A01B-2878-482E-8745-D51EB30FD944}"/>
                </a:ext>
              </a:extLst>
            </p:cNvPr>
            <p:cNvSpPr>
              <a:spLocks noEditPoints="1"/>
            </p:cNvSpPr>
            <p:nvPr/>
          </p:nvSpPr>
          <p:spPr bwMode="auto">
            <a:xfrm>
              <a:off x="6842319" y="6045356"/>
              <a:ext cx="358958" cy="358958"/>
            </a:xfrm>
            <a:custGeom>
              <a:avLst/>
              <a:gdLst>
                <a:gd name="T0" fmla="*/ 64 w 298"/>
                <a:gd name="T1" fmla="*/ 142 h 298"/>
                <a:gd name="T2" fmla="*/ 62 w 298"/>
                <a:gd name="T3" fmla="*/ 126 h 298"/>
                <a:gd name="T4" fmla="*/ 70 w 298"/>
                <a:gd name="T5" fmla="*/ 86 h 298"/>
                <a:gd name="T6" fmla="*/ 82 w 298"/>
                <a:gd name="T7" fmla="*/ 68 h 298"/>
                <a:gd name="T8" fmla="*/ 96 w 298"/>
                <a:gd name="T9" fmla="*/ 72 h 298"/>
                <a:gd name="T10" fmla="*/ 96 w 298"/>
                <a:gd name="T11" fmla="*/ 112 h 298"/>
                <a:gd name="T12" fmla="*/ 86 w 298"/>
                <a:gd name="T13" fmla="*/ 136 h 298"/>
                <a:gd name="T14" fmla="*/ 72 w 298"/>
                <a:gd name="T15" fmla="*/ 148 h 298"/>
                <a:gd name="T16" fmla="*/ 216 w 298"/>
                <a:gd name="T17" fmla="*/ 150 h 298"/>
                <a:gd name="T18" fmla="*/ 204 w 298"/>
                <a:gd name="T19" fmla="*/ 166 h 298"/>
                <a:gd name="T20" fmla="*/ 196 w 298"/>
                <a:gd name="T21" fmla="*/ 208 h 298"/>
                <a:gd name="T22" fmla="*/ 198 w 298"/>
                <a:gd name="T23" fmla="*/ 224 h 298"/>
                <a:gd name="T24" fmla="*/ 212 w 298"/>
                <a:gd name="T25" fmla="*/ 228 h 298"/>
                <a:gd name="T26" fmla="*/ 224 w 298"/>
                <a:gd name="T27" fmla="*/ 214 h 298"/>
                <a:gd name="T28" fmla="*/ 230 w 298"/>
                <a:gd name="T29" fmla="*/ 192 h 298"/>
                <a:gd name="T30" fmla="*/ 232 w 298"/>
                <a:gd name="T31" fmla="*/ 168 h 298"/>
                <a:gd name="T32" fmla="*/ 222 w 298"/>
                <a:gd name="T33" fmla="*/ 148 h 298"/>
                <a:gd name="T34" fmla="*/ 298 w 298"/>
                <a:gd name="T35" fmla="*/ 266 h 298"/>
                <a:gd name="T36" fmla="*/ 278 w 298"/>
                <a:gd name="T37" fmla="*/ 294 h 298"/>
                <a:gd name="T38" fmla="*/ 32 w 298"/>
                <a:gd name="T39" fmla="*/ 298 h 298"/>
                <a:gd name="T40" fmla="*/ 2 w 298"/>
                <a:gd name="T41" fmla="*/ 278 h 298"/>
                <a:gd name="T42" fmla="*/ 0 w 298"/>
                <a:gd name="T43" fmla="*/ 32 h 298"/>
                <a:gd name="T44" fmla="*/ 18 w 298"/>
                <a:gd name="T45" fmla="*/ 2 h 298"/>
                <a:gd name="T46" fmla="*/ 266 w 298"/>
                <a:gd name="T47" fmla="*/ 0 h 298"/>
                <a:gd name="T48" fmla="*/ 294 w 298"/>
                <a:gd name="T49" fmla="*/ 18 h 298"/>
                <a:gd name="T50" fmla="*/ 42 w 298"/>
                <a:gd name="T51" fmla="*/ 150 h 298"/>
                <a:gd name="T52" fmla="*/ 62 w 298"/>
                <a:gd name="T53" fmla="*/ 160 h 298"/>
                <a:gd name="T54" fmla="*/ 94 w 298"/>
                <a:gd name="T55" fmla="*/ 156 h 298"/>
                <a:gd name="T56" fmla="*/ 114 w 298"/>
                <a:gd name="T57" fmla="*/ 142 h 298"/>
                <a:gd name="T58" fmla="*/ 130 w 298"/>
                <a:gd name="T59" fmla="*/ 108 h 298"/>
                <a:gd name="T60" fmla="*/ 128 w 298"/>
                <a:gd name="T61" fmla="*/ 78 h 298"/>
                <a:gd name="T62" fmla="*/ 114 w 298"/>
                <a:gd name="T63" fmla="*/ 60 h 298"/>
                <a:gd name="T64" fmla="*/ 90 w 298"/>
                <a:gd name="T65" fmla="*/ 54 h 298"/>
                <a:gd name="T66" fmla="*/ 56 w 298"/>
                <a:gd name="T67" fmla="*/ 64 h 298"/>
                <a:gd name="T68" fmla="*/ 36 w 298"/>
                <a:gd name="T69" fmla="*/ 94 h 298"/>
                <a:gd name="T70" fmla="*/ 32 w 298"/>
                <a:gd name="T71" fmla="*/ 120 h 298"/>
                <a:gd name="T72" fmla="*/ 42 w 298"/>
                <a:gd name="T73" fmla="*/ 150 h 298"/>
                <a:gd name="T74" fmla="*/ 234 w 298"/>
                <a:gd name="T75" fmla="*/ 72 h 298"/>
                <a:gd name="T76" fmla="*/ 232 w 298"/>
                <a:gd name="T77" fmla="*/ 56 h 298"/>
                <a:gd name="T78" fmla="*/ 200 w 298"/>
                <a:gd name="T79" fmla="*/ 56 h 298"/>
                <a:gd name="T80" fmla="*/ 58 w 298"/>
                <a:gd name="T81" fmla="*/ 230 h 298"/>
                <a:gd name="T82" fmla="*/ 68 w 298"/>
                <a:gd name="T83" fmla="*/ 242 h 298"/>
                <a:gd name="T84" fmla="*/ 98 w 298"/>
                <a:gd name="T85" fmla="*/ 238 h 298"/>
                <a:gd name="T86" fmla="*/ 264 w 298"/>
                <a:gd name="T87" fmla="*/ 166 h 298"/>
                <a:gd name="T88" fmla="*/ 254 w 298"/>
                <a:gd name="T89" fmla="*/ 146 h 298"/>
                <a:gd name="T90" fmla="*/ 226 w 298"/>
                <a:gd name="T91" fmla="*/ 134 h 298"/>
                <a:gd name="T92" fmla="*/ 202 w 298"/>
                <a:gd name="T93" fmla="*/ 140 h 298"/>
                <a:gd name="T94" fmla="*/ 176 w 298"/>
                <a:gd name="T95" fmla="*/ 164 h 298"/>
                <a:gd name="T96" fmla="*/ 166 w 298"/>
                <a:gd name="T97" fmla="*/ 202 h 298"/>
                <a:gd name="T98" fmla="*/ 172 w 298"/>
                <a:gd name="T99" fmla="*/ 226 h 298"/>
                <a:gd name="T100" fmla="*/ 188 w 298"/>
                <a:gd name="T101" fmla="*/ 240 h 298"/>
                <a:gd name="T102" fmla="*/ 218 w 298"/>
                <a:gd name="T103" fmla="*/ 240 h 298"/>
                <a:gd name="T104" fmla="*/ 248 w 298"/>
                <a:gd name="T105" fmla="*/ 224 h 298"/>
                <a:gd name="T106" fmla="*/ 260 w 298"/>
                <a:gd name="T107" fmla="*/ 202 h 2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98" h="298">
                  <a:moveTo>
                    <a:pt x="72" y="148"/>
                  </a:moveTo>
                  <a:lnTo>
                    <a:pt x="72" y="148"/>
                  </a:lnTo>
                  <a:lnTo>
                    <a:pt x="68" y="146"/>
                  </a:lnTo>
                  <a:lnTo>
                    <a:pt x="64" y="142"/>
                  </a:lnTo>
                  <a:lnTo>
                    <a:pt x="64" y="142"/>
                  </a:lnTo>
                  <a:lnTo>
                    <a:pt x="62" y="136"/>
                  </a:lnTo>
                  <a:lnTo>
                    <a:pt x="62" y="126"/>
                  </a:lnTo>
                  <a:lnTo>
                    <a:pt x="62" y="126"/>
                  </a:lnTo>
                  <a:lnTo>
                    <a:pt x="64" y="104"/>
                  </a:lnTo>
                  <a:lnTo>
                    <a:pt x="64" y="104"/>
                  </a:lnTo>
                  <a:lnTo>
                    <a:pt x="70" y="86"/>
                  </a:lnTo>
                  <a:lnTo>
                    <a:pt x="70" y="86"/>
                  </a:lnTo>
                  <a:lnTo>
                    <a:pt x="72" y="78"/>
                  </a:lnTo>
                  <a:lnTo>
                    <a:pt x="78" y="72"/>
                  </a:lnTo>
                  <a:lnTo>
                    <a:pt x="78" y="72"/>
                  </a:lnTo>
                  <a:lnTo>
                    <a:pt x="82" y="68"/>
                  </a:lnTo>
                  <a:lnTo>
                    <a:pt x="86" y="68"/>
                  </a:lnTo>
                  <a:lnTo>
                    <a:pt x="86" y="68"/>
                  </a:lnTo>
                  <a:lnTo>
                    <a:pt x="92" y="68"/>
                  </a:lnTo>
                  <a:lnTo>
                    <a:pt x="96" y="72"/>
                  </a:lnTo>
                  <a:lnTo>
                    <a:pt x="98" y="80"/>
                  </a:lnTo>
                  <a:lnTo>
                    <a:pt x="98" y="88"/>
                  </a:lnTo>
                  <a:lnTo>
                    <a:pt x="98" y="88"/>
                  </a:lnTo>
                  <a:lnTo>
                    <a:pt x="96" y="112"/>
                  </a:lnTo>
                  <a:lnTo>
                    <a:pt x="96" y="112"/>
                  </a:lnTo>
                  <a:lnTo>
                    <a:pt x="90" y="130"/>
                  </a:lnTo>
                  <a:lnTo>
                    <a:pt x="90" y="130"/>
                  </a:lnTo>
                  <a:lnTo>
                    <a:pt x="86" y="136"/>
                  </a:lnTo>
                  <a:lnTo>
                    <a:pt x="82" y="142"/>
                  </a:lnTo>
                  <a:lnTo>
                    <a:pt x="82" y="142"/>
                  </a:lnTo>
                  <a:lnTo>
                    <a:pt x="78" y="146"/>
                  </a:lnTo>
                  <a:lnTo>
                    <a:pt x="72" y="148"/>
                  </a:lnTo>
                  <a:lnTo>
                    <a:pt x="72" y="148"/>
                  </a:lnTo>
                  <a:close/>
                  <a:moveTo>
                    <a:pt x="222" y="148"/>
                  </a:moveTo>
                  <a:lnTo>
                    <a:pt x="222" y="148"/>
                  </a:lnTo>
                  <a:lnTo>
                    <a:pt x="216" y="150"/>
                  </a:lnTo>
                  <a:lnTo>
                    <a:pt x="212" y="154"/>
                  </a:lnTo>
                  <a:lnTo>
                    <a:pt x="212" y="154"/>
                  </a:lnTo>
                  <a:lnTo>
                    <a:pt x="208" y="158"/>
                  </a:lnTo>
                  <a:lnTo>
                    <a:pt x="204" y="166"/>
                  </a:lnTo>
                  <a:lnTo>
                    <a:pt x="204" y="166"/>
                  </a:lnTo>
                  <a:lnTo>
                    <a:pt x="198" y="184"/>
                  </a:lnTo>
                  <a:lnTo>
                    <a:pt x="198" y="184"/>
                  </a:lnTo>
                  <a:lnTo>
                    <a:pt x="196" y="208"/>
                  </a:lnTo>
                  <a:lnTo>
                    <a:pt x="196" y="208"/>
                  </a:lnTo>
                  <a:lnTo>
                    <a:pt x="196" y="218"/>
                  </a:lnTo>
                  <a:lnTo>
                    <a:pt x="198" y="224"/>
                  </a:lnTo>
                  <a:lnTo>
                    <a:pt x="198" y="224"/>
                  </a:lnTo>
                  <a:lnTo>
                    <a:pt x="202" y="228"/>
                  </a:lnTo>
                  <a:lnTo>
                    <a:pt x="208" y="228"/>
                  </a:lnTo>
                  <a:lnTo>
                    <a:pt x="208" y="228"/>
                  </a:lnTo>
                  <a:lnTo>
                    <a:pt x="212" y="228"/>
                  </a:lnTo>
                  <a:lnTo>
                    <a:pt x="216" y="224"/>
                  </a:lnTo>
                  <a:lnTo>
                    <a:pt x="220" y="220"/>
                  </a:lnTo>
                  <a:lnTo>
                    <a:pt x="224" y="214"/>
                  </a:lnTo>
                  <a:lnTo>
                    <a:pt x="224" y="214"/>
                  </a:lnTo>
                  <a:lnTo>
                    <a:pt x="228" y="204"/>
                  </a:lnTo>
                  <a:lnTo>
                    <a:pt x="228" y="204"/>
                  </a:lnTo>
                  <a:lnTo>
                    <a:pt x="230" y="192"/>
                  </a:lnTo>
                  <a:lnTo>
                    <a:pt x="230" y="192"/>
                  </a:lnTo>
                  <a:lnTo>
                    <a:pt x="232" y="180"/>
                  </a:lnTo>
                  <a:lnTo>
                    <a:pt x="232" y="180"/>
                  </a:lnTo>
                  <a:lnTo>
                    <a:pt x="232" y="168"/>
                  </a:lnTo>
                  <a:lnTo>
                    <a:pt x="232" y="168"/>
                  </a:lnTo>
                  <a:lnTo>
                    <a:pt x="232" y="160"/>
                  </a:lnTo>
                  <a:lnTo>
                    <a:pt x="230" y="154"/>
                  </a:lnTo>
                  <a:lnTo>
                    <a:pt x="226" y="150"/>
                  </a:lnTo>
                  <a:lnTo>
                    <a:pt x="222" y="148"/>
                  </a:lnTo>
                  <a:lnTo>
                    <a:pt x="222" y="148"/>
                  </a:lnTo>
                  <a:close/>
                  <a:moveTo>
                    <a:pt x="298" y="32"/>
                  </a:moveTo>
                  <a:lnTo>
                    <a:pt x="298" y="266"/>
                  </a:lnTo>
                  <a:lnTo>
                    <a:pt x="298" y="266"/>
                  </a:lnTo>
                  <a:lnTo>
                    <a:pt x="296" y="272"/>
                  </a:lnTo>
                  <a:lnTo>
                    <a:pt x="294" y="278"/>
                  </a:lnTo>
                  <a:lnTo>
                    <a:pt x="288" y="288"/>
                  </a:lnTo>
                  <a:lnTo>
                    <a:pt x="278" y="294"/>
                  </a:lnTo>
                  <a:lnTo>
                    <a:pt x="272" y="296"/>
                  </a:lnTo>
                  <a:lnTo>
                    <a:pt x="266" y="298"/>
                  </a:lnTo>
                  <a:lnTo>
                    <a:pt x="32" y="298"/>
                  </a:lnTo>
                  <a:lnTo>
                    <a:pt x="32" y="298"/>
                  </a:lnTo>
                  <a:lnTo>
                    <a:pt x="24" y="296"/>
                  </a:lnTo>
                  <a:lnTo>
                    <a:pt x="18" y="294"/>
                  </a:lnTo>
                  <a:lnTo>
                    <a:pt x="8" y="288"/>
                  </a:lnTo>
                  <a:lnTo>
                    <a:pt x="2" y="278"/>
                  </a:lnTo>
                  <a:lnTo>
                    <a:pt x="0" y="272"/>
                  </a:lnTo>
                  <a:lnTo>
                    <a:pt x="0" y="266"/>
                  </a:lnTo>
                  <a:lnTo>
                    <a:pt x="0" y="32"/>
                  </a:lnTo>
                  <a:lnTo>
                    <a:pt x="0" y="32"/>
                  </a:lnTo>
                  <a:lnTo>
                    <a:pt x="0" y="24"/>
                  </a:lnTo>
                  <a:lnTo>
                    <a:pt x="2" y="18"/>
                  </a:lnTo>
                  <a:lnTo>
                    <a:pt x="8" y="8"/>
                  </a:lnTo>
                  <a:lnTo>
                    <a:pt x="18" y="2"/>
                  </a:lnTo>
                  <a:lnTo>
                    <a:pt x="24" y="0"/>
                  </a:lnTo>
                  <a:lnTo>
                    <a:pt x="32" y="0"/>
                  </a:lnTo>
                  <a:lnTo>
                    <a:pt x="266" y="0"/>
                  </a:lnTo>
                  <a:lnTo>
                    <a:pt x="266" y="0"/>
                  </a:lnTo>
                  <a:lnTo>
                    <a:pt x="272" y="0"/>
                  </a:lnTo>
                  <a:lnTo>
                    <a:pt x="278" y="2"/>
                  </a:lnTo>
                  <a:lnTo>
                    <a:pt x="288" y="8"/>
                  </a:lnTo>
                  <a:lnTo>
                    <a:pt x="294" y="18"/>
                  </a:lnTo>
                  <a:lnTo>
                    <a:pt x="296" y="24"/>
                  </a:lnTo>
                  <a:lnTo>
                    <a:pt x="298" y="32"/>
                  </a:lnTo>
                  <a:lnTo>
                    <a:pt x="298" y="32"/>
                  </a:lnTo>
                  <a:close/>
                  <a:moveTo>
                    <a:pt x="42" y="150"/>
                  </a:moveTo>
                  <a:lnTo>
                    <a:pt x="42" y="150"/>
                  </a:lnTo>
                  <a:lnTo>
                    <a:pt x="48" y="156"/>
                  </a:lnTo>
                  <a:lnTo>
                    <a:pt x="54" y="158"/>
                  </a:lnTo>
                  <a:lnTo>
                    <a:pt x="62" y="160"/>
                  </a:lnTo>
                  <a:lnTo>
                    <a:pt x="72" y="162"/>
                  </a:lnTo>
                  <a:lnTo>
                    <a:pt x="72" y="162"/>
                  </a:lnTo>
                  <a:lnTo>
                    <a:pt x="84" y="160"/>
                  </a:lnTo>
                  <a:lnTo>
                    <a:pt x="94" y="156"/>
                  </a:lnTo>
                  <a:lnTo>
                    <a:pt x="94" y="156"/>
                  </a:lnTo>
                  <a:lnTo>
                    <a:pt x="104" y="150"/>
                  </a:lnTo>
                  <a:lnTo>
                    <a:pt x="114" y="142"/>
                  </a:lnTo>
                  <a:lnTo>
                    <a:pt x="114" y="142"/>
                  </a:lnTo>
                  <a:lnTo>
                    <a:pt x="120" y="132"/>
                  </a:lnTo>
                  <a:lnTo>
                    <a:pt x="126" y="122"/>
                  </a:lnTo>
                  <a:lnTo>
                    <a:pt x="126" y="122"/>
                  </a:lnTo>
                  <a:lnTo>
                    <a:pt x="130" y="108"/>
                  </a:lnTo>
                  <a:lnTo>
                    <a:pt x="130" y="96"/>
                  </a:lnTo>
                  <a:lnTo>
                    <a:pt x="130" y="96"/>
                  </a:lnTo>
                  <a:lnTo>
                    <a:pt x="130" y="86"/>
                  </a:lnTo>
                  <a:lnTo>
                    <a:pt x="128" y="78"/>
                  </a:lnTo>
                  <a:lnTo>
                    <a:pt x="124" y="70"/>
                  </a:lnTo>
                  <a:lnTo>
                    <a:pt x="120" y="64"/>
                  </a:lnTo>
                  <a:lnTo>
                    <a:pt x="120" y="64"/>
                  </a:lnTo>
                  <a:lnTo>
                    <a:pt x="114" y="60"/>
                  </a:lnTo>
                  <a:lnTo>
                    <a:pt x="108" y="56"/>
                  </a:lnTo>
                  <a:lnTo>
                    <a:pt x="100" y="54"/>
                  </a:lnTo>
                  <a:lnTo>
                    <a:pt x="90" y="54"/>
                  </a:lnTo>
                  <a:lnTo>
                    <a:pt x="90" y="54"/>
                  </a:lnTo>
                  <a:lnTo>
                    <a:pt x="78" y="56"/>
                  </a:lnTo>
                  <a:lnTo>
                    <a:pt x="66" y="58"/>
                  </a:lnTo>
                  <a:lnTo>
                    <a:pt x="66" y="58"/>
                  </a:lnTo>
                  <a:lnTo>
                    <a:pt x="56" y="64"/>
                  </a:lnTo>
                  <a:lnTo>
                    <a:pt x="48" y="72"/>
                  </a:lnTo>
                  <a:lnTo>
                    <a:pt x="48" y="72"/>
                  </a:lnTo>
                  <a:lnTo>
                    <a:pt x="40" y="82"/>
                  </a:lnTo>
                  <a:lnTo>
                    <a:pt x="36" y="94"/>
                  </a:lnTo>
                  <a:lnTo>
                    <a:pt x="36" y="94"/>
                  </a:lnTo>
                  <a:lnTo>
                    <a:pt x="32" y="106"/>
                  </a:lnTo>
                  <a:lnTo>
                    <a:pt x="32" y="120"/>
                  </a:lnTo>
                  <a:lnTo>
                    <a:pt x="32" y="120"/>
                  </a:lnTo>
                  <a:lnTo>
                    <a:pt x="32" y="130"/>
                  </a:lnTo>
                  <a:lnTo>
                    <a:pt x="34" y="138"/>
                  </a:lnTo>
                  <a:lnTo>
                    <a:pt x="36" y="144"/>
                  </a:lnTo>
                  <a:lnTo>
                    <a:pt x="42" y="150"/>
                  </a:lnTo>
                  <a:lnTo>
                    <a:pt x="42" y="150"/>
                  </a:lnTo>
                  <a:close/>
                  <a:moveTo>
                    <a:pt x="98" y="238"/>
                  </a:moveTo>
                  <a:lnTo>
                    <a:pt x="234" y="72"/>
                  </a:lnTo>
                  <a:lnTo>
                    <a:pt x="234" y="72"/>
                  </a:lnTo>
                  <a:lnTo>
                    <a:pt x="236" y="66"/>
                  </a:lnTo>
                  <a:lnTo>
                    <a:pt x="236" y="60"/>
                  </a:lnTo>
                  <a:lnTo>
                    <a:pt x="236" y="60"/>
                  </a:lnTo>
                  <a:lnTo>
                    <a:pt x="232" y="56"/>
                  </a:lnTo>
                  <a:lnTo>
                    <a:pt x="226" y="54"/>
                  </a:lnTo>
                  <a:lnTo>
                    <a:pt x="204" y="54"/>
                  </a:lnTo>
                  <a:lnTo>
                    <a:pt x="204" y="54"/>
                  </a:lnTo>
                  <a:lnTo>
                    <a:pt x="200" y="56"/>
                  </a:lnTo>
                  <a:lnTo>
                    <a:pt x="196" y="58"/>
                  </a:lnTo>
                  <a:lnTo>
                    <a:pt x="60" y="224"/>
                  </a:lnTo>
                  <a:lnTo>
                    <a:pt x="60" y="224"/>
                  </a:lnTo>
                  <a:lnTo>
                    <a:pt x="58" y="230"/>
                  </a:lnTo>
                  <a:lnTo>
                    <a:pt x="60" y="236"/>
                  </a:lnTo>
                  <a:lnTo>
                    <a:pt x="60" y="236"/>
                  </a:lnTo>
                  <a:lnTo>
                    <a:pt x="62" y="240"/>
                  </a:lnTo>
                  <a:lnTo>
                    <a:pt x="68" y="242"/>
                  </a:lnTo>
                  <a:lnTo>
                    <a:pt x="92" y="242"/>
                  </a:lnTo>
                  <a:lnTo>
                    <a:pt x="92" y="242"/>
                  </a:lnTo>
                  <a:lnTo>
                    <a:pt x="96" y="240"/>
                  </a:lnTo>
                  <a:lnTo>
                    <a:pt x="98" y="238"/>
                  </a:lnTo>
                  <a:lnTo>
                    <a:pt x="98" y="238"/>
                  </a:lnTo>
                  <a:close/>
                  <a:moveTo>
                    <a:pt x="266" y="176"/>
                  </a:moveTo>
                  <a:lnTo>
                    <a:pt x="266" y="176"/>
                  </a:lnTo>
                  <a:lnTo>
                    <a:pt x="264" y="166"/>
                  </a:lnTo>
                  <a:lnTo>
                    <a:pt x="262" y="158"/>
                  </a:lnTo>
                  <a:lnTo>
                    <a:pt x="260" y="152"/>
                  </a:lnTo>
                  <a:lnTo>
                    <a:pt x="254" y="146"/>
                  </a:lnTo>
                  <a:lnTo>
                    <a:pt x="254" y="146"/>
                  </a:lnTo>
                  <a:lnTo>
                    <a:pt x="248" y="142"/>
                  </a:lnTo>
                  <a:lnTo>
                    <a:pt x="242" y="138"/>
                  </a:lnTo>
                  <a:lnTo>
                    <a:pt x="234" y="136"/>
                  </a:lnTo>
                  <a:lnTo>
                    <a:pt x="226" y="134"/>
                  </a:lnTo>
                  <a:lnTo>
                    <a:pt x="226" y="134"/>
                  </a:lnTo>
                  <a:lnTo>
                    <a:pt x="212" y="136"/>
                  </a:lnTo>
                  <a:lnTo>
                    <a:pt x="202" y="140"/>
                  </a:lnTo>
                  <a:lnTo>
                    <a:pt x="202" y="140"/>
                  </a:lnTo>
                  <a:lnTo>
                    <a:pt x="192" y="146"/>
                  </a:lnTo>
                  <a:lnTo>
                    <a:pt x="182" y="154"/>
                  </a:lnTo>
                  <a:lnTo>
                    <a:pt x="182" y="154"/>
                  </a:lnTo>
                  <a:lnTo>
                    <a:pt x="176" y="164"/>
                  </a:lnTo>
                  <a:lnTo>
                    <a:pt x="170" y="174"/>
                  </a:lnTo>
                  <a:lnTo>
                    <a:pt x="170" y="174"/>
                  </a:lnTo>
                  <a:lnTo>
                    <a:pt x="166" y="188"/>
                  </a:lnTo>
                  <a:lnTo>
                    <a:pt x="166" y="202"/>
                  </a:lnTo>
                  <a:lnTo>
                    <a:pt x="166" y="202"/>
                  </a:lnTo>
                  <a:lnTo>
                    <a:pt x="166" y="210"/>
                  </a:lnTo>
                  <a:lnTo>
                    <a:pt x="168" y="218"/>
                  </a:lnTo>
                  <a:lnTo>
                    <a:pt x="172" y="226"/>
                  </a:lnTo>
                  <a:lnTo>
                    <a:pt x="176" y="232"/>
                  </a:lnTo>
                  <a:lnTo>
                    <a:pt x="176" y="232"/>
                  </a:lnTo>
                  <a:lnTo>
                    <a:pt x="182" y="236"/>
                  </a:lnTo>
                  <a:lnTo>
                    <a:pt x="188" y="240"/>
                  </a:lnTo>
                  <a:lnTo>
                    <a:pt x="196" y="242"/>
                  </a:lnTo>
                  <a:lnTo>
                    <a:pt x="206" y="242"/>
                  </a:lnTo>
                  <a:lnTo>
                    <a:pt x="206" y="242"/>
                  </a:lnTo>
                  <a:lnTo>
                    <a:pt x="218" y="240"/>
                  </a:lnTo>
                  <a:lnTo>
                    <a:pt x="230" y="238"/>
                  </a:lnTo>
                  <a:lnTo>
                    <a:pt x="230" y="238"/>
                  </a:lnTo>
                  <a:lnTo>
                    <a:pt x="240" y="232"/>
                  </a:lnTo>
                  <a:lnTo>
                    <a:pt x="248" y="224"/>
                  </a:lnTo>
                  <a:lnTo>
                    <a:pt x="248" y="224"/>
                  </a:lnTo>
                  <a:lnTo>
                    <a:pt x="256" y="214"/>
                  </a:lnTo>
                  <a:lnTo>
                    <a:pt x="260" y="202"/>
                  </a:lnTo>
                  <a:lnTo>
                    <a:pt x="260" y="202"/>
                  </a:lnTo>
                  <a:lnTo>
                    <a:pt x="264" y="190"/>
                  </a:lnTo>
                  <a:lnTo>
                    <a:pt x="266" y="176"/>
                  </a:lnTo>
                  <a:lnTo>
                    <a:pt x="266" y="1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38" name="Group 137">
            <a:extLst>
              <a:ext uri="{FF2B5EF4-FFF2-40B4-BE49-F238E27FC236}">
                <a16:creationId xmlns:a16="http://schemas.microsoft.com/office/drawing/2014/main" id="{22FF91A0-183B-46D9-B9D7-417AC6D07130}"/>
              </a:ext>
            </a:extLst>
          </p:cNvPr>
          <p:cNvGrpSpPr/>
          <p:nvPr/>
        </p:nvGrpSpPr>
        <p:grpSpPr>
          <a:xfrm>
            <a:off x="8052280" y="5136080"/>
            <a:ext cx="612000" cy="612000"/>
            <a:chOff x="7573215" y="5907019"/>
            <a:chExt cx="612000" cy="612000"/>
          </a:xfrm>
        </p:grpSpPr>
        <p:sp>
          <p:nvSpPr>
            <p:cNvPr id="139" name="Oval 138">
              <a:extLst>
                <a:ext uri="{FF2B5EF4-FFF2-40B4-BE49-F238E27FC236}">
                  <a16:creationId xmlns:a16="http://schemas.microsoft.com/office/drawing/2014/main" id="{A8D30EAA-DC7D-4C42-AB6D-275E284E67A0}"/>
                </a:ext>
              </a:extLst>
            </p:cNvPr>
            <p:cNvSpPr/>
            <p:nvPr/>
          </p:nvSpPr>
          <p:spPr bwMode="ltGray">
            <a:xfrm>
              <a:off x="7573215"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40" name="Freeform 4997">
              <a:extLst>
                <a:ext uri="{FF2B5EF4-FFF2-40B4-BE49-F238E27FC236}">
                  <a16:creationId xmlns:a16="http://schemas.microsoft.com/office/drawing/2014/main" id="{F336AD74-1425-49B7-B506-9CD3D09A4E3D}"/>
                </a:ext>
              </a:extLst>
            </p:cNvPr>
            <p:cNvSpPr>
              <a:spLocks noEditPoints="1"/>
            </p:cNvSpPr>
            <p:nvPr/>
          </p:nvSpPr>
          <p:spPr bwMode="auto">
            <a:xfrm>
              <a:off x="7650350" y="5997175"/>
              <a:ext cx="457731" cy="448094"/>
            </a:xfrm>
            <a:custGeom>
              <a:avLst/>
              <a:gdLst>
                <a:gd name="T0" fmla="*/ 378 w 380"/>
                <a:gd name="T1" fmla="*/ 230 h 372"/>
                <a:gd name="T2" fmla="*/ 208 w 380"/>
                <a:gd name="T3" fmla="*/ 366 h 372"/>
                <a:gd name="T4" fmla="*/ 190 w 380"/>
                <a:gd name="T5" fmla="*/ 372 h 372"/>
                <a:gd name="T6" fmla="*/ 14 w 380"/>
                <a:gd name="T7" fmla="*/ 246 h 372"/>
                <a:gd name="T8" fmla="*/ 2 w 380"/>
                <a:gd name="T9" fmla="*/ 224 h 372"/>
                <a:gd name="T10" fmla="*/ 10 w 380"/>
                <a:gd name="T11" fmla="*/ 200 h 372"/>
                <a:gd name="T12" fmla="*/ 190 w 380"/>
                <a:gd name="T13" fmla="*/ 328 h 372"/>
                <a:gd name="T14" fmla="*/ 370 w 380"/>
                <a:gd name="T15" fmla="*/ 200 h 372"/>
                <a:gd name="T16" fmla="*/ 378 w 380"/>
                <a:gd name="T17" fmla="*/ 190 h 372"/>
                <a:gd name="T18" fmla="*/ 116 w 380"/>
                <a:gd name="T19" fmla="*/ 146 h 372"/>
                <a:gd name="T20" fmla="*/ 94 w 380"/>
                <a:gd name="T21" fmla="*/ 140 h 372"/>
                <a:gd name="T22" fmla="*/ 92 w 380"/>
                <a:gd name="T23" fmla="*/ 148 h 372"/>
                <a:gd name="T24" fmla="*/ 104 w 380"/>
                <a:gd name="T25" fmla="*/ 172 h 372"/>
                <a:gd name="T26" fmla="*/ 118 w 380"/>
                <a:gd name="T27" fmla="*/ 186 h 372"/>
                <a:gd name="T28" fmla="*/ 130 w 380"/>
                <a:gd name="T29" fmla="*/ 192 h 372"/>
                <a:gd name="T30" fmla="*/ 138 w 380"/>
                <a:gd name="T31" fmla="*/ 190 h 372"/>
                <a:gd name="T32" fmla="*/ 142 w 380"/>
                <a:gd name="T33" fmla="*/ 176 h 372"/>
                <a:gd name="T34" fmla="*/ 130 w 380"/>
                <a:gd name="T35" fmla="*/ 158 h 372"/>
                <a:gd name="T36" fmla="*/ 376 w 380"/>
                <a:gd name="T37" fmla="*/ 164 h 372"/>
                <a:gd name="T38" fmla="*/ 208 w 380"/>
                <a:gd name="T39" fmla="*/ 294 h 372"/>
                <a:gd name="T40" fmla="*/ 180 w 380"/>
                <a:gd name="T41" fmla="*/ 300 h 372"/>
                <a:gd name="T42" fmla="*/ 8 w 380"/>
                <a:gd name="T43" fmla="*/ 170 h 372"/>
                <a:gd name="T44" fmla="*/ 0 w 380"/>
                <a:gd name="T45" fmla="*/ 150 h 372"/>
                <a:gd name="T46" fmla="*/ 12 w 380"/>
                <a:gd name="T47" fmla="*/ 126 h 372"/>
                <a:gd name="T48" fmla="*/ 190 w 380"/>
                <a:gd name="T49" fmla="*/ 0 h 372"/>
                <a:gd name="T50" fmla="*/ 368 w 380"/>
                <a:gd name="T51" fmla="*/ 126 h 372"/>
                <a:gd name="T52" fmla="*/ 380 w 380"/>
                <a:gd name="T53" fmla="*/ 150 h 372"/>
                <a:gd name="T54" fmla="*/ 162 w 380"/>
                <a:gd name="T55" fmla="*/ 156 h 372"/>
                <a:gd name="T56" fmla="*/ 142 w 380"/>
                <a:gd name="T57" fmla="*/ 132 h 372"/>
                <a:gd name="T58" fmla="*/ 116 w 380"/>
                <a:gd name="T59" fmla="*/ 122 h 372"/>
                <a:gd name="T60" fmla="*/ 100 w 380"/>
                <a:gd name="T61" fmla="*/ 124 h 372"/>
                <a:gd name="T62" fmla="*/ 76 w 380"/>
                <a:gd name="T63" fmla="*/ 146 h 372"/>
                <a:gd name="T64" fmla="*/ 72 w 380"/>
                <a:gd name="T65" fmla="*/ 164 h 372"/>
                <a:gd name="T66" fmla="*/ 84 w 380"/>
                <a:gd name="T67" fmla="*/ 190 h 372"/>
                <a:gd name="T68" fmla="*/ 114 w 380"/>
                <a:gd name="T69" fmla="*/ 208 h 372"/>
                <a:gd name="T70" fmla="*/ 142 w 380"/>
                <a:gd name="T71" fmla="*/ 202 h 372"/>
                <a:gd name="T72" fmla="*/ 154 w 380"/>
                <a:gd name="T73" fmla="*/ 190 h 372"/>
                <a:gd name="T74" fmla="*/ 164 w 380"/>
                <a:gd name="T75" fmla="*/ 166 h 372"/>
                <a:gd name="T76" fmla="*/ 190 w 380"/>
                <a:gd name="T77" fmla="*/ 64 h 372"/>
                <a:gd name="T78" fmla="*/ 186 w 380"/>
                <a:gd name="T79" fmla="*/ 62 h 372"/>
                <a:gd name="T80" fmla="*/ 168 w 380"/>
                <a:gd name="T81" fmla="*/ 76 h 372"/>
                <a:gd name="T82" fmla="*/ 190 w 380"/>
                <a:gd name="T83" fmla="*/ 238 h 372"/>
                <a:gd name="T84" fmla="*/ 212 w 380"/>
                <a:gd name="T85" fmla="*/ 226 h 372"/>
                <a:gd name="T86" fmla="*/ 308 w 380"/>
                <a:gd name="T87" fmla="*/ 136 h 372"/>
                <a:gd name="T88" fmla="*/ 302 w 380"/>
                <a:gd name="T89" fmla="*/ 118 h 372"/>
                <a:gd name="T90" fmla="*/ 274 w 380"/>
                <a:gd name="T91" fmla="*/ 94 h 372"/>
                <a:gd name="T92" fmla="*/ 250 w 380"/>
                <a:gd name="T93" fmla="*/ 92 h 372"/>
                <a:gd name="T94" fmla="*/ 234 w 380"/>
                <a:gd name="T95" fmla="*/ 102 h 372"/>
                <a:gd name="T96" fmla="*/ 218 w 380"/>
                <a:gd name="T97" fmla="*/ 126 h 372"/>
                <a:gd name="T98" fmla="*/ 222 w 380"/>
                <a:gd name="T99" fmla="*/ 152 h 372"/>
                <a:gd name="T100" fmla="*/ 238 w 380"/>
                <a:gd name="T101" fmla="*/ 168 h 372"/>
                <a:gd name="T102" fmla="*/ 264 w 380"/>
                <a:gd name="T103" fmla="*/ 178 h 372"/>
                <a:gd name="T104" fmla="*/ 292 w 380"/>
                <a:gd name="T105" fmla="*/ 168 h 372"/>
                <a:gd name="T106" fmla="*/ 304 w 380"/>
                <a:gd name="T107" fmla="*/ 152 h 372"/>
                <a:gd name="T108" fmla="*/ 282 w 380"/>
                <a:gd name="T109" fmla="*/ 136 h 372"/>
                <a:gd name="T110" fmla="*/ 268 w 380"/>
                <a:gd name="T111" fmla="*/ 122 h 372"/>
                <a:gd name="T112" fmla="*/ 254 w 380"/>
                <a:gd name="T113" fmla="*/ 110 h 372"/>
                <a:gd name="T114" fmla="*/ 240 w 380"/>
                <a:gd name="T115" fmla="*/ 110 h 372"/>
                <a:gd name="T116" fmla="*/ 238 w 380"/>
                <a:gd name="T117" fmla="*/ 124 h 372"/>
                <a:gd name="T118" fmla="*/ 248 w 380"/>
                <a:gd name="T119" fmla="*/ 142 h 372"/>
                <a:gd name="T120" fmla="*/ 274 w 380"/>
                <a:gd name="T121" fmla="*/ 162 h 372"/>
                <a:gd name="T122" fmla="*/ 284 w 380"/>
                <a:gd name="T123" fmla="*/ 160 h 372"/>
                <a:gd name="T124" fmla="*/ 286 w 380"/>
                <a:gd name="T125" fmla="*/ 144 h 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80" h="372">
                  <a:moveTo>
                    <a:pt x="378" y="190"/>
                  </a:moveTo>
                  <a:lnTo>
                    <a:pt x="378" y="224"/>
                  </a:lnTo>
                  <a:lnTo>
                    <a:pt x="378" y="224"/>
                  </a:lnTo>
                  <a:lnTo>
                    <a:pt x="378" y="230"/>
                  </a:lnTo>
                  <a:lnTo>
                    <a:pt x="376" y="236"/>
                  </a:lnTo>
                  <a:lnTo>
                    <a:pt x="372" y="242"/>
                  </a:lnTo>
                  <a:lnTo>
                    <a:pt x="366" y="246"/>
                  </a:lnTo>
                  <a:lnTo>
                    <a:pt x="208" y="366"/>
                  </a:lnTo>
                  <a:lnTo>
                    <a:pt x="208" y="366"/>
                  </a:lnTo>
                  <a:lnTo>
                    <a:pt x="198" y="372"/>
                  </a:lnTo>
                  <a:lnTo>
                    <a:pt x="190" y="372"/>
                  </a:lnTo>
                  <a:lnTo>
                    <a:pt x="190" y="372"/>
                  </a:lnTo>
                  <a:lnTo>
                    <a:pt x="182" y="372"/>
                  </a:lnTo>
                  <a:lnTo>
                    <a:pt x="172" y="366"/>
                  </a:lnTo>
                  <a:lnTo>
                    <a:pt x="14" y="246"/>
                  </a:lnTo>
                  <a:lnTo>
                    <a:pt x="14" y="246"/>
                  </a:lnTo>
                  <a:lnTo>
                    <a:pt x="8" y="242"/>
                  </a:lnTo>
                  <a:lnTo>
                    <a:pt x="4" y="236"/>
                  </a:lnTo>
                  <a:lnTo>
                    <a:pt x="2" y="230"/>
                  </a:lnTo>
                  <a:lnTo>
                    <a:pt x="2" y="224"/>
                  </a:lnTo>
                  <a:lnTo>
                    <a:pt x="2" y="190"/>
                  </a:lnTo>
                  <a:lnTo>
                    <a:pt x="2" y="190"/>
                  </a:lnTo>
                  <a:lnTo>
                    <a:pt x="6" y="194"/>
                  </a:lnTo>
                  <a:lnTo>
                    <a:pt x="10" y="200"/>
                  </a:lnTo>
                  <a:lnTo>
                    <a:pt x="172" y="322"/>
                  </a:lnTo>
                  <a:lnTo>
                    <a:pt x="172" y="322"/>
                  </a:lnTo>
                  <a:lnTo>
                    <a:pt x="180" y="326"/>
                  </a:lnTo>
                  <a:lnTo>
                    <a:pt x="190" y="328"/>
                  </a:lnTo>
                  <a:lnTo>
                    <a:pt x="190" y="328"/>
                  </a:lnTo>
                  <a:lnTo>
                    <a:pt x="200" y="326"/>
                  </a:lnTo>
                  <a:lnTo>
                    <a:pt x="208" y="322"/>
                  </a:lnTo>
                  <a:lnTo>
                    <a:pt x="370" y="200"/>
                  </a:lnTo>
                  <a:lnTo>
                    <a:pt x="370" y="200"/>
                  </a:lnTo>
                  <a:lnTo>
                    <a:pt x="374" y="194"/>
                  </a:lnTo>
                  <a:lnTo>
                    <a:pt x="378" y="190"/>
                  </a:lnTo>
                  <a:lnTo>
                    <a:pt x="378" y="190"/>
                  </a:lnTo>
                  <a:close/>
                  <a:moveTo>
                    <a:pt x="130" y="158"/>
                  </a:moveTo>
                  <a:lnTo>
                    <a:pt x="130" y="158"/>
                  </a:lnTo>
                  <a:lnTo>
                    <a:pt x="116" y="146"/>
                  </a:lnTo>
                  <a:lnTo>
                    <a:pt x="116" y="146"/>
                  </a:lnTo>
                  <a:lnTo>
                    <a:pt x="110" y="140"/>
                  </a:lnTo>
                  <a:lnTo>
                    <a:pt x="104" y="138"/>
                  </a:lnTo>
                  <a:lnTo>
                    <a:pt x="100" y="138"/>
                  </a:lnTo>
                  <a:lnTo>
                    <a:pt x="94" y="140"/>
                  </a:lnTo>
                  <a:lnTo>
                    <a:pt x="94" y="140"/>
                  </a:lnTo>
                  <a:lnTo>
                    <a:pt x="92" y="144"/>
                  </a:lnTo>
                  <a:lnTo>
                    <a:pt x="92" y="148"/>
                  </a:lnTo>
                  <a:lnTo>
                    <a:pt x="92" y="148"/>
                  </a:lnTo>
                  <a:lnTo>
                    <a:pt x="92" y="154"/>
                  </a:lnTo>
                  <a:lnTo>
                    <a:pt x="94" y="160"/>
                  </a:lnTo>
                  <a:lnTo>
                    <a:pt x="94" y="160"/>
                  </a:lnTo>
                  <a:lnTo>
                    <a:pt x="104" y="172"/>
                  </a:lnTo>
                  <a:lnTo>
                    <a:pt x="104" y="172"/>
                  </a:lnTo>
                  <a:lnTo>
                    <a:pt x="106" y="176"/>
                  </a:lnTo>
                  <a:lnTo>
                    <a:pt x="106" y="176"/>
                  </a:lnTo>
                  <a:lnTo>
                    <a:pt x="118" y="186"/>
                  </a:lnTo>
                  <a:lnTo>
                    <a:pt x="118" y="186"/>
                  </a:lnTo>
                  <a:lnTo>
                    <a:pt x="126" y="190"/>
                  </a:lnTo>
                  <a:lnTo>
                    <a:pt x="126" y="190"/>
                  </a:lnTo>
                  <a:lnTo>
                    <a:pt x="130" y="192"/>
                  </a:lnTo>
                  <a:lnTo>
                    <a:pt x="130" y="192"/>
                  </a:lnTo>
                  <a:lnTo>
                    <a:pt x="134" y="192"/>
                  </a:lnTo>
                  <a:lnTo>
                    <a:pt x="138" y="190"/>
                  </a:lnTo>
                  <a:lnTo>
                    <a:pt x="138" y="190"/>
                  </a:lnTo>
                  <a:lnTo>
                    <a:pt x="142" y="186"/>
                  </a:lnTo>
                  <a:lnTo>
                    <a:pt x="142" y="182"/>
                  </a:lnTo>
                  <a:lnTo>
                    <a:pt x="142" y="182"/>
                  </a:lnTo>
                  <a:lnTo>
                    <a:pt x="142" y="176"/>
                  </a:lnTo>
                  <a:lnTo>
                    <a:pt x="140" y="172"/>
                  </a:lnTo>
                  <a:lnTo>
                    <a:pt x="140" y="172"/>
                  </a:lnTo>
                  <a:lnTo>
                    <a:pt x="130" y="158"/>
                  </a:lnTo>
                  <a:lnTo>
                    <a:pt x="130" y="158"/>
                  </a:lnTo>
                  <a:close/>
                  <a:moveTo>
                    <a:pt x="380" y="150"/>
                  </a:moveTo>
                  <a:lnTo>
                    <a:pt x="380" y="150"/>
                  </a:lnTo>
                  <a:lnTo>
                    <a:pt x="378" y="158"/>
                  </a:lnTo>
                  <a:lnTo>
                    <a:pt x="376" y="164"/>
                  </a:lnTo>
                  <a:lnTo>
                    <a:pt x="372" y="170"/>
                  </a:lnTo>
                  <a:lnTo>
                    <a:pt x="368" y="174"/>
                  </a:lnTo>
                  <a:lnTo>
                    <a:pt x="208" y="294"/>
                  </a:lnTo>
                  <a:lnTo>
                    <a:pt x="208" y="294"/>
                  </a:lnTo>
                  <a:lnTo>
                    <a:pt x="200" y="300"/>
                  </a:lnTo>
                  <a:lnTo>
                    <a:pt x="190" y="300"/>
                  </a:lnTo>
                  <a:lnTo>
                    <a:pt x="190" y="300"/>
                  </a:lnTo>
                  <a:lnTo>
                    <a:pt x="180" y="300"/>
                  </a:lnTo>
                  <a:lnTo>
                    <a:pt x="172" y="294"/>
                  </a:lnTo>
                  <a:lnTo>
                    <a:pt x="12" y="174"/>
                  </a:lnTo>
                  <a:lnTo>
                    <a:pt x="12" y="174"/>
                  </a:lnTo>
                  <a:lnTo>
                    <a:pt x="8" y="170"/>
                  </a:lnTo>
                  <a:lnTo>
                    <a:pt x="4" y="164"/>
                  </a:lnTo>
                  <a:lnTo>
                    <a:pt x="2" y="158"/>
                  </a:lnTo>
                  <a:lnTo>
                    <a:pt x="0" y="150"/>
                  </a:lnTo>
                  <a:lnTo>
                    <a:pt x="0" y="150"/>
                  </a:lnTo>
                  <a:lnTo>
                    <a:pt x="2" y="144"/>
                  </a:lnTo>
                  <a:lnTo>
                    <a:pt x="4" y="136"/>
                  </a:lnTo>
                  <a:lnTo>
                    <a:pt x="8" y="130"/>
                  </a:lnTo>
                  <a:lnTo>
                    <a:pt x="12" y="126"/>
                  </a:lnTo>
                  <a:lnTo>
                    <a:pt x="172" y="6"/>
                  </a:lnTo>
                  <a:lnTo>
                    <a:pt x="172" y="6"/>
                  </a:lnTo>
                  <a:lnTo>
                    <a:pt x="180" y="2"/>
                  </a:lnTo>
                  <a:lnTo>
                    <a:pt x="190" y="0"/>
                  </a:lnTo>
                  <a:lnTo>
                    <a:pt x="200" y="2"/>
                  </a:lnTo>
                  <a:lnTo>
                    <a:pt x="208" y="6"/>
                  </a:lnTo>
                  <a:lnTo>
                    <a:pt x="368" y="126"/>
                  </a:lnTo>
                  <a:lnTo>
                    <a:pt x="368" y="126"/>
                  </a:lnTo>
                  <a:lnTo>
                    <a:pt x="372" y="130"/>
                  </a:lnTo>
                  <a:lnTo>
                    <a:pt x="376" y="136"/>
                  </a:lnTo>
                  <a:lnTo>
                    <a:pt x="378" y="144"/>
                  </a:lnTo>
                  <a:lnTo>
                    <a:pt x="380" y="150"/>
                  </a:lnTo>
                  <a:lnTo>
                    <a:pt x="380" y="150"/>
                  </a:lnTo>
                  <a:close/>
                  <a:moveTo>
                    <a:pt x="164" y="166"/>
                  </a:moveTo>
                  <a:lnTo>
                    <a:pt x="164" y="166"/>
                  </a:lnTo>
                  <a:lnTo>
                    <a:pt x="162" y="156"/>
                  </a:lnTo>
                  <a:lnTo>
                    <a:pt x="158" y="148"/>
                  </a:lnTo>
                  <a:lnTo>
                    <a:pt x="158" y="148"/>
                  </a:lnTo>
                  <a:lnTo>
                    <a:pt x="152" y="140"/>
                  </a:lnTo>
                  <a:lnTo>
                    <a:pt x="142" y="132"/>
                  </a:lnTo>
                  <a:lnTo>
                    <a:pt x="142" y="132"/>
                  </a:lnTo>
                  <a:lnTo>
                    <a:pt x="130" y="124"/>
                  </a:lnTo>
                  <a:lnTo>
                    <a:pt x="122" y="122"/>
                  </a:lnTo>
                  <a:lnTo>
                    <a:pt x="116" y="122"/>
                  </a:lnTo>
                  <a:lnTo>
                    <a:pt x="116" y="122"/>
                  </a:lnTo>
                  <a:lnTo>
                    <a:pt x="112" y="122"/>
                  </a:lnTo>
                  <a:lnTo>
                    <a:pt x="112" y="122"/>
                  </a:lnTo>
                  <a:lnTo>
                    <a:pt x="100" y="124"/>
                  </a:lnTo>
                  <a:lnTo>
                    <a:pt x="88" y="132"/>
                  </a:lnTo>
                  <a:lnTo>
                    <a:pt x="88" y="132"/>
                  </a:lnTo>
                  <a:lnTo>
                    <a:pt x="80" y="138"/>
                  </a:lnTo>
                  <a:lnTo>
                    <a:pt x="76" y="146"/>
                  </a:lnTo>
                  <a:lnTo>
                    <a:pt x="76" y="146"/>
                  </a:lnTo>
                  <a:lnTo>
                    <a:pt x="72" y="156"/>
                  </a:lnTo>
                  <a:lnTo>
                    <a:pt x="72" y="164"/>
                  </a:lnTo>
                  <a:lnTo>
                    <a:pt x="72" y="164"/>
                  </a:lnTo>
                  <a:lnTo>
                    <a:pt x="74" y="174"/>
                  </a:lnTo>
                  <a:lnTo>
                    <a:pt x="78" y="182"/>
                  </a:lnTo>
                  <a:lnTo>
                    <a:pt x="78" y="182"/>
                  </a:lnTo>
                  <a:lnTo>
                    <a:pt x="84" y="190"/>
                  </a:lnTo>
                  <a:lnTo>
                    <a:pt x="94" y="198"/>
                  </a:lnTo>
                  <a:lnTo>
                    <a:pt x="94" y="198"/>
                  </a:lnTo>
                  <a:lnTo>
                    <a:pt x="106" y="206"/>
                  </a:lnTo>
                  <a:lnTo>
                    <a:pt x="114" y="208"/>
                  </a:lnTo>
                  <a:lnTo>
                    <a:pt x="120" y="208"/>
                  </a:lnTo>
                  <a:lnTo>
                    <a:pt x="120" y="208"/>
                  </a:lnTo>
                  <a:lnTo>
                    <a:pt x="132" y="206"/>
                  </a:lnTo>
                  <a:lnTo>
                    <a:pt x="142" y="202"/>
                  </a:lnTo>
                  <a:lnTo>
                    <a:pt x="142" y="202"/>
                  </a:lnTo>
                  <a:lnTo>
                    <a:pt x="148" y="198"/>
                  </a:lnTo>
                  <a:lnTo>
                    <a:pt x="148" y="198"/>
                  </a:lnTo>
                  <a:lnTo>
                    <a:pt x="154" y="190"/>
                  </a:lnTo>
                  <a:lnTo>
                    <a:pt x="160" y="182"/>
                  </a:lnTo>
                  <a:lnTo>
                    <a:pt x="160" y="182"/>
                  </a:lnTo>
                  <a:lnTo>
                    <a:pt x="162" y="174"/>
                  </a:lnTo>
                  <a:lnTo>
                    <a:pt x="164" y="166"/>
                  </a:lnTo>
                  <a:lnTo>
                    <a:pt x="164" y="166"/>
                  </a:lnTo>
                  <a:close/>
                  <a:moveTo>
                    <a:pt x="212" y="224"/>
                  </a:moveTo>
                  <a:lnTo>
                    <a:pt x="190" y="64"/>
                  </a:lnTo>
                  <a:lnTo>
                    <a:pt x="190" y="64"/>
                  </a:lnTo>
                  <a:lnTo>
                    <a:pt x="188" y="62"/>
                  </a:lnTo>
                  <a:lnTo>
                    <a:pt x="188" y="62"/>
                  </a:lnTo>
                  <a:lnTo>
                    <a:pt x="186" y="62"/>
                  </a:lnTo>
                  <a:lnTo>
                    <a:pt x="186" y="62"/>
                  </a:lnTo>
                  <a:lnTo>
                    <a:pt x="184" y="62"/>
                  </a:lnTo>
                  <a:lnTo>
                    <a:pt x="168" y="74"/>
                  </a:lnTo>
                  <a:lnTo>
                    <a:pt x="168" y="74"/>
                  </a:lnTo>
                  <a:lnTo>
                    <a:pt x="168" y="76"/>
                  </a:lnTo>
                  <a:lnTo>
                    <a:pt x="188" y="236"/>
                  </a:lnTo>
                  <a:lnTo>
                    <a:pt x="188" y="236"/>
                  </a:lnTo>
                  <a:lnTo>
                    <a:pt x="190" y="238"/>
                  </a:lnTo>
                  <a:lnTo>
                    <a:pt x="190" y="238"/>
                  </a:lnTo>
                  <a:lnTo>
                    <a:pt x="192" y="238"/>
                  </a:lnTo>
                  <a:lnTo>
                    <a:pt x="192" y="238"/>
                  </a:lnTo>
                  <a:lnTo>
                    <a:pt x="196" y="238"/>
                  </a:lnTo>
                  <a:lnTo>
                    <a:pt x="212" y="226"/>
                  </a:lnTo>
                  <a:lnTo>
                    <a:pt x="212" y="226"/>
                  </a:lnTo>
                  <a:lnTo>
                    <a:pt x="212" y="224"/>
                  </a:lnTo>
                  <a:lnTo>
                    <a:pt x="212" y="224"/>
                  </a:lnTo>
                  <a:close/>
                  <a:moveTo>
                    <a:pt x="308" y="136"/>
                  </a:moveTo>
                  <a:lnTo>
                    <a:pt x="308" y="136"/>
                  </a:lnTo>
                  <a:lnTo>
                    <a:pt x="306" y="126"/>
                  </a:lnTo>
                  <a:lnTo>
                    <a:pt x="302" y="118"/>
                  </a:lnTo>
                  <a:lnTo>
                    <a:pt x="302" y="118"/>
                  </a:lnTo>
                  <a:lnTo>
                    <a:pt x="296" y="110"/>
                  </a:lnTo>
                  <a:lnTo>
                    <a:pt x="288" y="102"/>
                  </a:lnTo>
                  <a:lnTo>
                    <a:pt x="288" y="102"/>
                  </a:lnTo>
                  <a:lnTo>
                    <a:pt x="274" y="94"/>
                  </a:lnTo>
                  <a:lnTo>
                    <a:pt x="268" y="92"/>
                  </a:lnTo>
                  <a:lnTo>
                    <a:pt x="260" y="92"/>
                  </a:lnTo>
                  <a:lnTo>
                    <a:pt x="260" y="92"/>
                  </a:lnTo>
                  <a:lnTo>
                    <a:pt x="250" y="92"/>
                  </a:lnTo>
                  <a:lnTo>
                    <a:pt x="238" y="98"/>
                  </a:lnTo>
                  <a:lnTo>
                    <a:pt x="238" y="98"/>
                  </a:lnTo>
                  <a:lnTo>
                    <a:pt x="234" y="102"/>
                  </a:lnTo>
                  <a:lnTo>
                    <a:pt x="234" y="102"/>
                  </a:lnTo>
                  <a:lnTo>
                    <a:pt x="226" y="108"/>
                  </a:lnTo>
                  <a:lnTo>
                    <a:pt x="220" y="116"/>
                  </a:lnTo>
                  <a:lnTo>
                    <a:pt x="220" y="116"/>
                  </a:lnTo>
                  <a:lnTo>
                    <a:pt x="218" y="126"/>
                  </a:lnTo>
                  <a:lnTo>
                    <a:pt x="218" y="134"/>
                  </a:lnTo>
                  <a:lnTo>
                    <a:pt x="218" y="134"/>
                  </a:lnTo>
                  <a:lnTo>
                    <a:pt x="218" y="144"/>
                  </a:lnTo>
                  <a:lnTo>
                    <a:pt x="222" y="152"/>
                  </a:lnTo>
                  <a:lnTo>
                    <a:pt x="222" y="152"/>
                  </a:lnTo>
                  <a:lnTo>
                    <a:pt x="230" y="160"/>
                  </a:lnTo>
                  <a:lnTo>
                    <a:pt x="238" y="168"/>
                  </a:lnTo>
                  <a:lnTo>
                    <a:pt x="238" y="168"/>
                  </a:lnTo>
                  <a:lnTo>
                    <a:pt x="252" y="176"/>
                  </a:lnTo>
                  <a:lnTo>
                    <a:pt x="258" y="178"/>
                  </a:lnTo>
                  <a:lnTo>
                    <a:pt x="264" y="178"/>
                  </a:lnTo>
                  <a:lnTo>
                    <a:pt x="264" y="178"/>
                  </a:lnTo>
                  <a:lnTo>
                    <a:pt x="268" y="178"/>
                  </a:lnTo>
                  <a:lnTo>
                    <a:pt x="268" y="178"/>
                  </a:lnTo>
                  <a:lnTo>
                    <a:pt x="280" y="176"/>
                  </a:lnTo>
                  <a:lnTo>
                    <a:pt x="292" y="168"/>
                  </a:lnTo>
                  <a:lnTo>
                    <a:pt x="292" y="168"/>
                  </a:lnTo>
                  <a:lnTo>
                    <a:pt x="300" y="160"/>
                  </a:lnTo>
                  <a:lnTo>
                    <a:pt x="304" y="152"/>
                  </a:lnTo>
                  <a:lnTo>
                    <a:pt x="304" y="152"/>
                  </a:lnTo>
                  <a:lnTo>
                    <a:pt x="308" y="144"/>
                  </a:lnTo>
                  <a:lnTo>
                    <a:pt x="308" y="136"/>
                  </a:lnTo>
                  <a:lnTo>
                    <a:pt x="308" y="136"/>
                  </a:lnTo>
                  <a:close/>
                  <a:moveTo>
                    <a:pt x="282" y="136"/>
                  </a:moveTo>
                  <a:lnTo>
                    <a:pt x="282" y="136"/>
                  </a:lnTo>
                  <a:lnTo>
                    <a:pt x="276" y="128"/>
                  </a:lnTo>
                  <a:lnTo>
                    <a:pt x="276" y="128"/>
                  </a:lnTo>
                  <a:lnTo>
                    <a:pt x="268" y="122"/>
                  </a:lnTo>
                  <a:lnTo>
                    <a:pt x="268" y="122"/>
                  </a:lnTo>
                  <a:lnTo>
                    <a:pt x="262" y="116"/>
                  </a:lnTo>
                  <a:lnTo>
                    <a:pt x="262" y="116"/>
                  </a:lnTo>
                  <a:lnTo>
                    <a:pt x="254" y="110"/>
                  </a:lnTo>
                  <a:lnTo>
                    <a:pt x="248" y="108"/>
                  </a:lnTo>
                  <a:lnTo>
                    <a:pt x="244" y="108"/>
                  </a:lnTo>
                  <a:lnTo>
                    <a:pt x="240" y="110"/>
                  </a:lnTo>
                  <a:lnTo>
                    <a:pt x="240" y="110"/>
                  </a:lnTo>
                  <a:lnTo>
                    <a:pt x="238" y="114"/>
                  </a:lnTo>
                  <a:lnTo>
                    <a:pt x="236" y="118"/>
                  </a:lnTo>
                  <a:lnTo>
                    <a:pt x="236" y="118"/>
                  </a:lnTo>
                  <a:lnTo>
                    <a:pt x="238" y="124"/>
                  </a:lnTo>
                  <a:lnTo>
                    <a:pt x="240" y="130"/>
                  </a:lnTo>
                  <a:lnTo>
                    <a:pt x="240" y="130"/>
                  </a:lnTo>
                  <a:lnTo>
                    <a:pt x="248" y="142"/>
                  </a:lnTo>
                  <a:lnTo>
                    <a:pt x="248" y="142"/>
                  </a:lnTo>
                  <a:lnTo>
                    <a:pt x="262" y="156"/>
                  </a:lnTo>
                  <a:lnTo>
                    <a:pt x="262" y="156"/>
                  </a:lnTo>
                  <a:lnTo>
                    <a:pt x="270" y="160"/>
                  </a:lnTo>
                  <a:lnTo>
                    <a:pt x="274" y="162"/>
                  </a:lnTo>
                  <a:lnTo>
                    <a:pt x="274" y="162"/>
                  </a:lnTo>
                  <a:lnTo>
                    <a:pt x="280" y="162"/>
                  </a:lnTo>
                  <a:lnTo>
                    <a:pt x="284" y="160"/>
                  </a:lnTo>
                  <a:lnTo>
                    <a:pt x="284" y="160"/>
                  </a:lnTo>
                  <a:lnTo>
                    <a:pt x="286" y="158"/>
                  </a:lnTo>
                  <a:lnTo>
                    <a:pt x="288" y="154"/>
                  </a:lnTo>
                  <a:lnTo>
                    <a:pt x="288" y="150"/>
                  </a:lnTo>
                  <a:lnTo>
                    <a:pt x="286" y="144"/>
                  </a:lnTo>
                  <a:lnTo>
                    <a:pt x="286" y="144"/>
                  </a:lnTo>
                  <a:lnTo>
                    <a:pt x="282" y="136"/>
                  </a:lnTo>
                  <a:lnTo>
                    <a:pt x="282" y="13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41" name="Group 140">
            <a:extLst>
              <a:ext uri="{FF2B5EF4-FFF2-40B4-BE49-F238E27FC236}">
                <a16:creationId xmlns:a16="http://schemas.microsoft.com/office/drawing/2014/main" id="{A0D97A4A-7747-4B6F-8A59-E0C4F411E19D}"/>
              </a:ext>
            </a:extLst>
          </p:cNvPr>
          <p:cNvGrpSpPr/>
          <p:nvPr/>
        </p:nvGrpSpPr>
        <p:grpSpPr>
          <a:xfrm>
            <a:off x="8933229" y="4200579"/>
            <a:ext cx="612000" cy="612000"/>
            <a:chOff x="8447928" y="4690710"/>
            <a:chExt cx="612000" cy="612000"/>
          </a:xfrm>
        </p:grpSpPr>
        <p:sp>
          <p:nvSpPr>
            <p:cNvPr id="142" name="Oval 141">
              <a:extLst>
                <a:ext uri="{FF2B5EF4-FFF2-40B4-BE49-F238E27FC236}">
                  <a16:creationId xmlns:a16="http://schemas.microsoft.com/office/drawing/2014/main" id="{3D7296A2-085C-4CE0-874A-7565337589A1}"/>
                </a:ext>
              </a:extLst>
            </p:cNvPr>
            <p:cNvSpPr/>
            <p:nvPr/>
          </p:nvSpPr>
          <p:spPr bwMode="ltGray">
            <a:xfrm>
              <a:off x="8447928"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43" name="Freeform 4998">
              <a:extLst>
                <a:ext uri="{FF2B5EF4-FFF2-40B4-BE49-F238E27FC236}">
                  <a16:creationId xmlns:a16="http://schemas.microsoft.com/office/drawing/2014/main" id="{344F493A-5263-48F5-BC04-4F0D21DFDB9E}"/>
                </a:ext>
              </a:extLst>
            </p:cNvPr>
            <p:cNvSpPr>
              <a:spLocks noEditPoints="1"/>
            </p:cNvSpPr>
            <p:nvPr/>
          </p:nvSpPr>
          <p:spPr bwMode="auto">
            <a:xfrm>
              <a:off x="8537108" y="4770937"/>
              <a:ext cx="433640" cy="472186"/>
            </a:xfrm>
            <a:custGeom>
              <a:avLst/>
              <a:gdLst>
                <a:gd name="T0" fmla="*/ 358 w 360"/>
                <a:gd name="T1" fmla="*/ 278 h 392"/>
                <a:gd name="T2" fmla="*/ 188 w 360"/>
                <a:gd name="T3" fmla="*/ 388 h 392"/>
                <a:gd name="T4" fmla="*/ 180 w 360"/>
                <a:gd name="T5" fmla="*/ 392 h 392"/>
                <a:gd name="T6" fmla="*/ 6 w 360"/>
                <a:gd name="T7" fmla="*/ 284 h 392"/>
                <a:gd name="T8" fmla="*/ 0 w 360"/>
                <a:gd name="T9" fmla="*/ 270 h 392"/>
                <a:gd name="T10" fmla="*/ 8 w 360"/>
                <a:gd name="T11" fmla="*/ 256 h 392"/>
                <a:gd name="T12" fmla="*/ 74 w 360"/>
                <a:gd name="T13" fmla="*/ 244 h 392"/>
                <a:gd name="T14" fmla="*/ 72 w 360"/>
                <a:gd name="T15" fmla="*/ 258 h 392"/>
                <a:gd name="T16" fmla="*/ 80 w 360"/>
                <a:gd name="T17" fmla="*/ 282 h 392"/>
                <a:gd name="T18" fmla="*/ 118 w 360"/>
                <a:gd name="T19" fmla="*/ 308 h 392"/>
                <a:gd name="T20" fmla="*/ 180 w 360"/>
                <a:gd name="T21" fmla="*/ 320 h 392"/>
                <a:gd name="T22" fmla="*/ 224 w 360"/>
                <a:gd name="T23" fmla="*/ 314 h 392"/>
                <a:gd name="T24" fmla="*/ 270 w 360"/>
                <a:gd name="T25" fmla="*/ 292 h 392"/>
                <a:gd name="T26" fmla="*/ 288 w 360"/>
                <a:gd name="T27" fmla="*/ 258 h 392"/>
                <a:gd name="T28" fmla="*/ 288 w 360"/>
                <a:gd name="T29" fmla="*/ 250 h 392"/>
                <a:gd name="T30" fmla="*/ 352 w 360"/>
                <a:gd name="T31" fmla="*/ 256 h 392"/>
                <a:gd name="T32" fmla="*/ 360 w 360"/>
                <a:gd name="T33" fmla="*/ 270 h 392"/>
                <a:gd name="T34" fmla="*/ 242 w 360"/>
                <a:gd name="T35" fmla="*/ 132 h 392"/>
                <a:gd name="T36" fmla="*/ 242 w 360"/>
                <a:gd name="T37" fmla="*/ 136 h 392"/>
                <a:gd name="T38" fmla="*/ 234 w 360"/>
                <a:gd name="T39" fmla="*/ 154 h 392"/>
                <a:gd name="T40" fmla="*/ 198 w 360"/>
                <a:gd name="T41" fmla="*/ 170 h 392"/>
                <a:gd name="T42" fmla="*/ 162 w 360"/>
                <a:gd name="T43" fmla="*/ 170 h 392"/>
                <a:gd name="T44" fmla="*/ 126 w 360"/>
                <a:gd name="T45" fmla="*/ 154 h 392"/>
                <a:gd name="T46" fmla="*/ 118 w 360"/>
                <a:gd name="T47" fmla="*/ 136 h 392"/>
                <a:gd name="T48" fmla="*/ 98 w 360"/>
                <a:gd name="T49" fmla="*/ 186 h 392"/>
                <a:gd name="T50" fmla="*/ 96 w 360"/>
                <a:gd name="T51" fmla="*/ 188 h 392"/>
                <a:gd name="T52" fmla="*/ 102 w 360"/>
                <a:gd name="T53" fmla="*/ 206 h 392"/>
                <a:gd name="T54" fmla="*/ 120 w 360"/>
                <a:gd name="T55" fmla="*/ 222 h 392"/>
                <a:gd name="T56" fmla="*/ 180 w 360"/>
                <a:gd name="T57" fmla="*/ 236 h 392"/>
                <a:gd name="T58" fmla="*/ 224 w 360"/>
                <a:gd name="T59" fmla="*/ 230 h 392"/>
                <a:gd name="T60" fmla="*/ 252 w 360"/>
                <a:gd name="T61" fmla="*/ 212 h 392"/>
                <a:gd name="T62" fmla="*/ 262 w 360"/>
                <a:gd name="T63" fmla="*/ 196 h 392"/>
                <a:gd name="T64" fmla="*/ 262 w 360"/>
                <a:gd name="T65" fmla="*/ 186 h 392"/>
                <a:gd name="T66" fmla="*/ 194 w 360"/>
                <a:gd name="T67" fmla="*/ 10 h 392"/>
                <a:gd name="T68" fmla="*/ 188 w 360"/>
                <a:gd name="T69" fmla="*/ 2 h 392"/>
                <a:gd name="T70" fmla="*/ 180 w 360"/>
                <a:gd name="T71" fmla="*/ 0 h 392"/>
                <a:gd name="T72" fmla="*/ 168 w 360"/>
                <a:gd name="T73" fmla="*/ 6 h 392"/>
                <a:gd name="T74" fmla="*/ 140 w 360"/>
                <a:gd name="T75" fmla="*/ 76 h 392"/>
                <a:gd name="T76" fmla="*/ 140 w 360"/>
                <a:gd name="T77" fmla="*/ 82 h 392"/>
                <a:gd name="T78" fmla="*/ 150 w 360"/>
                <a:gd name="T79" fmla="*/ 94 h 392"/>
                <a:gd name="T80" fmla="*/ 180 w 360"/>
                <a:gd name="T81" fmla="*/ 100 h 392"/>
                <a:gd name="T82" fmla="*/ 214 w 360"/>
                <a:gd name="T83" fmla="*/ 90 h 392"/>
                <a:gd name="T84" fmla="*/ 220 w 360"/>
                <a:gd name="T85" fmla="*/ 78 h 392"/>
                <a:gd name="T86" fmla="*/ 220 w 360"/>
                <a:gd name="T87" fmla="*/ 76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60" h="392">
                  <a:moveTo>
                    <a:pt x="360" y="270"/>
                  </a:moveTo>
                  <a:lnTo>
                    <a:pt x="360" y="270"/>
                  </a:lnTo>
                  <a:lnTo>
                    <a:pt x="358" y="278"/>
                  </a:lnTo>
                  <a:lnTo>
                    <a:pt x="354" y="284"/>
                  </a:lnTo>
                  <a:lnTo>
                    <a:pt x="188" y="388"/>
                  </a:lnTo>
                  <a:lnTo>
                    <a:pt x="188" y="388"/>
                  </a:lnTo>
                  <a:lnTo>
                    <a:pt x="184" y="390"/>
                  </a:lnTo>
                  <a:lnTo>
                    <a:pt x="180" y="392"/>
                  </a:lnTo>
                  <a:lnTo>
                    <a:pt x="180" y="392"/>
                  </a:lnTo>
                  <a:lnTo>
                    <a:pt x="176" y="390"/>
                  </a:lnTo>
                  <a:lnTo>
                    <a:pt x="172" y="388"/>
                  </a:lnTo>
                  <a:lnTo>
                    <a:pt x="6" y="284"/>
                  </a:lnTo>
                  <a:lnTo>
                    <a:pt x="6" y="284"/>
                  </a:lnTo>
                  <a:lnTo>
                    <a:pt x="2" y="278"/>
                  </a:lnTo>
                  <a:lnTo>
                    <a:pt x="0" y="270"/>
                  </a:lnTo>
                  <a:lnTo>
                    <a:pt x="0" y="270"/>
                  </a:lnTo>
                  <a:lnTo>
                    <a:pt x="2" y="262"/>
                  </a:lnTo>
                  <a:lnTo>
                    <a:pt x="8" y="256"/>
                  </a:lnTo>
                  <a:lnTo>
                    <a:pt x="86" y="214"/>
                  </a:lnTo>
                  <a:lnTo>
                    <a:pt x="74" y="244"/>
                  </a:lnTo>
                  <a:lnTo>
                    <a:pt x="74" y="244"/>
                  </a:lnTo>
                  <a:lnTo>
                    <a:pt x="72" y="250"/>
                  </a:lnTo>
                  <a:lnTo>
                    <a:pt x="72" y="250"/>
                  </a:lnTo>
                  <a:lnTo>
                    <a:pt x="72" y="258"/>
                  </a:lnTo>
                  <a:lnTo>
                    <a:pt x="72" y="258"/>
                  </a:lnTo>
                  <a:lnTo>
                    <a:pt x="74" y="270"/>
                  </a:lnTo>
                  <a:lnTo>
                    <a:pt x="80" y="282"/>
                  </a:lnTo>
                  <a:lnTo>
                    <a:pt x="90" y="292"/>
                  </a:lnTo>
                  <a:lnTo>
                    <a:pt x="102" y="302"/>
                  </a:lnTo>
                  <a:lnTo>
                    <a:pt x="118" y="308"/>
                  </a:lnTo>
                  <a:lnTo>
                    <a:pt x="136" y="314"/>
                  </a:lnTo>
                  <a:lnTo>
                    <a:pt x="158" y="318"/>
                  </a:lnTo>
                  <a:lnTo>
                    <a:pt x="180" y="320"/>
                  </a:lnTo>
                  <a:lnTo>
                    <a:pt x="180" y="320"/>
                  </a:lnTo>
                  <a:lnTo>
                    <a:pt x="202" y="318"/>
                  </a:lnTo>
                  <a:lnTo>
                    <a:pt x="224" y="314"/>
                  </a:lnTo>
                  <a:lnTo>
                    <a:pt x="242" y="308"/>
                  </a:lnTo>
                  <a:lnTo>
                    <a:pt x="258" y="302"/>
                  </a:lnTo>
                  <a:lnTo>
                    <a:pt x="270" y="292"/>
                  </a:lnTo>
                  <a:lnTo>
                    <a:pt x="280" y="282"/>
                  </a:lnTo>
                  <a:lnTo>
                    <a:pt x="286" y="270"/>
                  </a:lnTo>
                  <a:lnTo>
                    <a:pt x="288" y="258"/>
                  </a:lnTo>
                  <a:lnTo>
                    <a:pt x="288" y="258"/>
                  </a:lnTo>
                  <a:lnTo>
                    <a:pt x="288" y="250"/>
                  </a:lnTo>
                  <a:lnTo>
                    <a:pt x="288" y="250"/>
                  </a:lnTo>
                  <a:lnTo>
                    <a:pt x="286" y="244"/>
                  </a:lnTo>
                  <a:lnTo>
                    <a:pt x="274" y="214"/>
                  </a:lnTo>
                  <a:lnTo>
                    <a:pt x="352" y="256"/>
                  </a:lnTo>
                  <a:lnTo>
                    <a:pt x="352" y="256"/>
                  </a:lnTo>
                  <a:lnTo>
                    <a:pt x="358" y="262"/>
                  </a:lnTo>
                  <a:lnTo>
                    <a:pt x="360" y="270"/>
                  </a:lnTo>
                  <a:lnTo>
                    <a:pt x="360" y="270"/>
                  </a:lnTo>
                  <a:close/>
                  <a:moveTo>
                    <a:pt x="262" y="186"/>
                  </a:moveTo>
                  <a:lnTo>
                    <a:pt x="242" y="132"/>
                  </a:lnTo>
                  <a:lnTo>
                    <a:pt x="242" y="132"/>
                  </a:lnTo>
                  <a:lnTo>
                    <a:pt x="242" y="136"/>
                  </a:lnTo>
                  <a:lnTo>
                    <a:pt x="242" y="136"/>
                  </a:lnTo>
                  <a:lnTo>
                    <a:pt x="240" y="144"/>
                  </a:lnTo>
                  <a:lnTo>
                    <a:pt x="234" y="154"/>
                  </a:lnTo>
                  <a:lnTo>
                    <a:pt x="234" y="154"/>
                  </a:lnTo>
                  <a:lnTo>
                    <a:pt x="224" y="160"/>
                  </a:lnTo>
                  <a:lnTo>
                    <a:pt x="212" y="166"/>
                  </a:lnTo>
                  <a:lnTo>
                    <a:pt x="198" y="170"/>
                  </a:lnTo>
                  <a:lnTo>
                    <a:pt x="180" y="170"/>
                  </a:lnTo>
                  <a:lnTo>
                    <a:pt x="180" y="170"/>
                  </a:lnTo>
                  <a:lnTo>
                    <a:pt x="162" y="170"/>
                  </a:lnTo>
                  <a:lnTo>
                    <a:pt x="148" y="166"/>
                  </a:lnTo>
                  <a:lnTo>
                    <a:pt x="136" y="160"/>
                  </a:lnTo>
                  <a:lnTo>
                    <a:pt x="126" y="154"/>
                  </a:lnTo>
                  <a:lnTo>
                    <a:pt x="126" y="154"/>
                  </a:lnTo>
                  <a:lnTo>
                    <a:pt x="120" y="144"/>
                  </a:lnTo>
                  <a:lnTo>
                    <a:pt x="118" y="136"/>
                  </a:lnTo>
                  <a:lnTo>
                    <a:pt x="118" y="136"/>
                  </a:lnTo>
                  <a:lnTo>
                    <a:pt x="118" y="132"/>
                  </a:lnTo>
                  <a:lnTo>
                    <a:pt x="98" y="186"/>
                  </a:lnTo>
                  <a:lnTo>
                    <a:pt x="98" y="186"/>
                  </a:lnTo>
                  <a:lnTo>
                    <a:pt x="96" y="188"/>
                  </a:lnTo>
                  <a:lnTo>
                    <a:pt x="96" y="188"/>
                  </a:lnTo>
                  <a:lnTo>
                    <a:pt x="98" y="196"/>
                  </a:lnTo>
                  <a:lnTo>
                    <a:pt x="100" y="202"/>
                  </a:lnTo>
                  <a:lnTo>
                    <a:pt x="102" y="206"/>
                  </a:lnTo>
                  <a:lnTo>
                    <a:pt x="108" y="212"/>
                  </a:lnTo>
                  <a:lnTo>
                    <a:pt x="108" y="212"/>
                  </a:lnTo>
                  <a:lnTo>
                    <a:pt x="120" y="222"/>
                  </a:lnTo>
                  <a:lnTo>
                    <a:pt x="136" y="230"/>
                  </a:lnTo>
                  <a:lnTo>
                    <a:pt x="158" y="234"/>
                  </a:lnTo>
                  <a:lnTo>
                    <a:pt x="180" y="236"/>
                  </a:lnTo>
                  <a:lnTo>
                    <a:pt x="180" y="236"/>
                  </a:lnTo>
                  <a:lnTo>
                    <a:pt x="202" y="234"/>
                  </a:lnTo>
                  <a:lnTo>
                    <a:pt x="224" y="230"/>
                  </a:lnTo>
                  <a:lnTo>
                    <a:pt x="240" y="222"/>
                  </a:lnTo>
                  <a:lnTo>
                    <a:pt x="252" y="212"/>
                  </a:lnTo>
                  <a:lnTo>
                    <a:pt x="252" y="212"/>
                  </a:lnTo>
                  <a:lnTo>
                    <a:pt x="258" y="206"/>
                  </a:lnTo>
                  <a:lnTo>
                    <a:pt x="260" y="202"/>
                  </a:lnTo>
                  <a:lnTo>
                    <a:pt x="262" y="196"/>
                  </a:lnTo>
                  <a:lnTo>
                    <a:pt x="264" y="188"/>
                  </a:lnTo>
                  <a:lnTo>
                    <a:pt x="264" y="188"/>
                  </a:lnTo>
                  <a:lnTo>
                    <a:pt x="262" y="186"/>
                  </a:lnTo>
                  <a:lnTo>
                    <a:pt x="262" y="186"/>
                  </a:lnTo>
                  <a:close/>
                  <a:moveTo>
                    <a:pt x="220" y="76"/>
                  </a:moveTo>
                  <a:lnTo>
                    <a:pt x="194" y="10"/>
                  </a:lnTo>
                  <a:lnTo>
                    <a:pt x="194" y="10"/>
                  </a:lnTo>
                  <a:lnTo>
                    <a:pt x="192" y="6"/>
                  </a:lnTo>
                  <a:lnTo>
                    <a:pt x="188" y="2"/>
                  </a:lnTo>
                  <a:lnTo>
                    <a:pt x="184" y="0"/>
                  </a:lnTo>
                  <a:lnTo>
                    <a:pt x="180" y="0"/>
                  </a:lnTo>
                  <a:lnTo>
                    <a:pt x="180" y="0"/>
                  </a:lnTo>
                  <a:lnTo>
                    <a:pt x="176" y="0"/>
                  </a:lnTo>
                  <a:lnTo>
                    <a:pt x="172" y="2"/>
                  </a:lnTo>
                  <a:lnTo>
                    <a:pt x="168" y="6"/>
                  </a:lnTo>
                  <a:lnTo>
                    <a:pt x="166" y="10"/>
                  </a:lnTo>
                  <a:lnTo>
                    <a:pt x="140" y="76"/>
                  </a:lnTo>
                  <a:lnTo>
                    <a:pt x="140" y="76"/>
                  </a:lnTo>
                  <a:lnTo>
                    <a:pt x="140" y="78"/>
                  </a:lnTo>
                  <a:lnTo>
                    <a:pt x="140" y="78"/>
                  </a:lnTo>
                  <a:lnTo>
                    <a:pt x="140" y="82"/>
                  </a:lnTo>
                  <a:lnTo>
                    <a:pt x="142" y="86"/>
                  </a:lnTo>
                  <a:lnTo>
                    <a:pt x="146" y="90"/>
                  </a:lnTo>
                  <a:lnTo>
                    <a:pt x="150" y="94"/>
                  </a:lnTo>
                  <a:lnTo>
                    <a:pt x="164" y="98"/>
                  </a:lnTo>
                  <a:lnTo>
                    <a:pt x="180" y="100"/>
                  </a:lnTo>
                  <a:lnTo>
                    <a:pt x="180" y="100"/>
                  </a:lnTo>
                  <a:lnTo>
                    <a:pt x="196" y="98"/>
                  </a:lnTo>
                  <a:lnTo>
                    <a:pt x="210" y="94"/>
                  </a:lnTo>
                  <a:lnTo>
                    <a:pt x="214" y="90"/>
                  </a:lnTo>
                  <a:lnTo>
                    <a:pt x="218" y="86"/>
                  </a:lnTo>
                  <a:lnTo>
                    <a:pt x="220" y="82"/>
                  </a:lnTo>
                  <a:lnTo>
                    <a:pt x="220" y="78"/>
                  </a:lnTo>
                  <a:lnTo>
                    <a:pt x="220" y="78"/>
                  </a:lnTo>
                  <a:lnTo>
                    <a:pt x="220" y="76"/>
                  </a:lnTo>
                  <a:lnTo>
                    <a:pt x="220" y="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44" name="Group 143">
            <a:extLst>
              <a:ext uri="{FF2B5EF4-FFF2-40B4-BE49-F238E27FC236}">
                <a16:creationId xmlns:a16="http://schemas.microsoft.com/office/drawing/2014/main" id="{BE397A41-B0E6-46A1-8767-7D651911302F}"/>
              </a:ext>
            </a:extLst>
          </p:cNvPr>
          <p:cNvGrpSpPr/>
          <p:nvPr/>
        </p:nvGrpSpPr>
        <p:grpSpPr>
          <a:xfrm>
            <a:off x="8933229" y="2882974"/>
            <a:ext cx="612000" cy="612000"/>
            <a:chOff x="8447928" y="3474401"/>
            <a:chExt cx="612000" cy="612000"/>
          </a:xfrm>
        </p:grpSpPr>
        <p:sp>
          <p:nvSpPr>
            <p:cNvPr id="145" name="Oval 144">
              <a:extLst>
                <a:ext uri="{FF2B5EF4-FFF2-40B4-BE49-F238E27FC236}">
                  <a16:creationId xmlns:a16="http://schemas.microsoft.com/office/drawing/2014/main" id="{5FBE31AD-B9FD-4AC1-AEAD-803BCB44BBA9}"/>
                </a:ext>
              </a:extLst>
            </p:cNvPr>
            <p:cNvSpPr/>
            <p:nvPr/>
          </p:nvSpPr>
          <p:spPr bwMode="ltGray">
            <a:xfrm>
              <a:off x="8447928"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46" name="Freeform 5000">
              <a:extLst>
                <a:ext uri="{FF2B5EF4-FFF2-40B4-BE49-F238E27FC236}">
                  <a16:creationId xmlns:a16="http://schemas.microsoft.com/office/drawing/2014/main" id="{C6AFA904-5200-409F-9407-8065BB5EEB25}"/>
                </a:ext>
              </a:extLst>
            </p:cNvPr>
            <p:cNvSpPr>
              <a:spLocks noEditPoints="1"/>
            </p:cNvSpPr>
            <p:nvPr/>
          </p:nvSpPr>
          <p:spPr bwMode="auto">
            <a:xfrm>
              <a:off x="8582882" y="3566383"/>
              <a:ext cx="342093" cy="431230"/>
            </a:xfrm>
            <a:custGeom>
              <a:avLst/>
              <a:gdLst>
                <a:gd name="T0" fmla="*/ 88 w 284"/>
                <a:gd name="T1" fmla="*/ 144 h 358"/>
                <a:gd name="T2" fmla="*/ 88 w 284"/>
                <a:gd name="T3" fmla="*/ 90 h 358"/>
                <a:gd name="T4" fmla="*/ 92 w 284"/>
                <a:gd name="T5" fmla="*/ 68 h 358"/>
                <a:gd name="T6" fmla="*/ 104 w 284"/>
                <a:gd name="T7" fmla="*/ 50 h 358"/>
                <a:gd name="T8" fmla="*/ 122 w 284"/>
                <a:gd name="T9" fmla="*/ 40 h 358"/>
                <a:gd name="T10" fmla="*/ 142 w 284"/>
                <a:gd name="T11" fmla="*/ 36 h 358"/>
                <a:gd name="T12" fmla="*/ 152 w 284"/>
                <a:gd name="T13" fmla="*/ 36 h 358"/>
                <a:gd name="T14" fmla="*/ 172 w 284"/>
                <a:gd name="T15" fmla="*/ 44 h 358"/>
                <a:gd name="T16" fmla="*/ 186 w 284"/>
                <a:gd name="T17" fmla="*/ 58 h 358"/>
                <a:gd name="T18" fmla="*/ 194 w 284"/>
                <a:gd name="T19" fmla="*/ 78 h 358"/>
                <a:gd name="T20" fmla="*/ 196 w 284"/>
                <a:gd name="T21" fmla="*/ 106 h 358"/>
                <a:gd name="T22" fmla="*/ 232 w 284"/>
                <a:gd name="T23" fmla="*/ 90 h 358"/>
                <a:gd name="T24" fmla="*/ 230 w 284"/>
                <a:gd name="T25" fmla="*/ 70 h 358"/>
                <a:gd name="T26" fmla="*/ 216 w 284"/>
                <a:gd name="T27" fmla="*/ 38 h 358"/>
                <a:gd name="T28" fmla="*/ 192 w 284"/>
                <a:gd name="T29" fmla="*/ 14 h 358"/>
                <a:gd name="T30" fmla="*/ 160 w 284"/>
                <a:gd name="T31" fmla="*/ 0 h 358"/>
                <a:gd name="T32" fmla="*/ 142 w 284"/>
                <a:gd name="T33" fmla="*/ 0 h 358"/>
                <a:gd name="T34" fmla="*/ 108 w 284"/>
                <a:gd name="T35" fmla="*/ 6 h 358"/>
                <a:gd name="T36" fmla="*/ 78 w 284"/>
                <a:gd name="T37" fmla="*/ 26 h 358"/>
                <a:gd name="T38" fmla="*/ 60 w 284"/>
                <a:gd name="T39" fmla="*/ 54 h 358"/>
                <a:gd name="T40" fmla="*/ 52 w 284"/>
                <a:gd name="T41" fmla="*/ 90 h 358"/>
                <a:gd name="T42" fmla="*/ 20 w 284"/>
                <a:gd name="T43" fmla="*/ 144 h 358"/>
                <a:gd name="T44" fmla="*/ 12 w 284"/>
                <a:gd name="T45" fmla="*/ 146 h 358"/>
                <a:gd name="T46" fmla="*/ 0 w 284"/>
                <a:gd name="T47" fmla="*/ 156 h 358"/>
                <a:gd name="T48" fmla="*/ 0 w 284"/>
                <a:gd name="T49" fmla="*/ 306 h 358"/>
                <a:gd name="T50" fmla="*/ 0 w 284"/>
                <a:gd name="T51" fmla="*/ 306 h 358"/>
                <a:gd name="T52" fmla="*/ 0 w 284"/>
                <a:gd name="T53" fmla="*/ 308 h 358"/>
                <a:gd name="T54" fmla="*/ 0 w 284"/>
                <a:gd name="T55" fmla="*/ 310 h 358"/>
                <a:gd name="T56" fmla="*/ 0 w 284"/>
                <a:gd name="T57" fmla="*/ 312 h 358"/>
                <a:gd name="T58" fmla="*/ 2 w 284"/>
                <a:gd name="T59" fmla="*/ 314 h 358"/>
                <a:gd name="T60" fmla="*/ 2 w 284"/>
                <a:gd name="T61" fmla="*/ 316 h 358"/>
                <a:gd name="T62" fmla="*/ 4 w 284"/>
                <a:gd name="T63" fmla="*/ 318 h 358"/>
                <a:gd name="T64" fmla="*/ 4 w 284"/>
                <a:gd name="T65" fmla="*/ 318 h 358"/>
                <a:gd name="T66" fmla="*/ 6 w 284"/>
                <a:gd name="T67" fmla="*/ 320 h 358"/>
                <a:gd name="T68" fmla="*/ 8 w 284"/>
                <a:gd name="T69" fmla="*/ 322 h 358"/>
                <a:gd name="T70" fmla="*/ 8 w 284"/>
                <a:gd name="T71" fmla="*/ 322 h 358"/>
                <a:gd name="T72" fmla="*/ 10 w 284"/>
                <a:gd name="T73" fmla="*/ 322 h 358"/>
                <a:gd name="T74" fmla="*/ 40 w 284"/>
                <a:gd name="T75" fmla="*/ 338 h 358"/>
                <a:gd name="T76" fmla="*/ 108 w 284"/>
                <a:gd name="T77" fmla="*/ 356 h 358"/>
                <a:gd name="T78" fmla="*/ 142 w 284"/>
                <a:gd name="T79" fmla="*/ 358 h 358"/>
                <a:gd name="T80" fmla="*/ 210 w 284"/>
                <a:gd name="T81" fmla="*/ 350 h 358"/>
                <a:gd name="T82" fmla="*/ 274 w 284"/>
                <a:gd name="T83" fmla="*/ 322 h 358"/>
                <a:gd name="T84" fmla="*/ 276 w 284"/>
                <a:gd name="T85" fmla="*/ 322 h 358"/>
                <a:gd name="T86" fmla="*/ 276 w 284"/>
                <a:gd name="T87" fmla="*/ 322 h 358"/>
                <a:gd name="T88" fmla="*/ 278 w 284"/>
                <a:gd name="T89" fmla="*/ 320 h 358"/>
                <a:gd name="T90" fmla="*/ 278 w 284"/>
                <a:gd name="T91" fmla="*/ 320 h 358"/>
                <a:gd name="T92" fmla="*/ 284 w 284"/>
                <a:gd name="T93" fmla="*/ 312 h 358"/>
                <a:gd name="T94" fmla="*/ 284 w 284"/>
                <a:gd name="T95" fmla="*/ 164 h 358"/>
                <a:gd name="T96" fmla="*/ 284 w 284"/>
                <a:gd name="T97" fmla="*/ 156 h 358"/>
                <a:gd name="T98" fmla="*/ 272 w 284"/>
                <a:gd name="T99" fmla="*/ 146 h 358"/>
                <a:gd name="T100" fmla="*/ 264 w 284"/>
                <a:gd name="T101" fmla="*/ 144 h 358"/>
                <a:gd name="T102" fmla="*/ 152 w 284"/>
                <a:gd name="T103" fmla="*/ 294 h 358"/>
                <a:gd name="T104" fmla="*/ 132 w 284"/>
                <a:gd name="T105" fmla="*/ 252 h 358"/>
                <a:gd name="T106" fmla="*/ 126 w 284"/>
                <a:gd name="T107" fmla="*/ 248 h 358"/>
                <a:gd name="T108" fmla="*/ 116 w 284"/>
                <a:gd name="T109" fmla="*/ 234 h 358"/>
                <a:gd name="T110" fmla="*/ 114 w 284"/>
                <a:gd name="T111" fmla="*/ 226 h 358"/>
                <a:gd name="T112" fmla="*/ 122 w 284"/>
                <a:gd name="T113" fmla="*/ 208 h 358"/>
                <a:gd name="T114" fmla="*/ 142 w 284"/>
                <a:gd name="T115" fmla="*/ 200 h 358"/>
                <a:gd name="T116" fmla="*/ 152 w 284"/>
                <a:gd name="T117" fmla="*/ 202 h 358"/>
                <a:gd name="T118" fmla="*/ 166 w 284"/>
                <a:gd name="T119" fmla="*/ 216 h 358"/>
                <a:gd name="T120" fmla="*/ 170 w 284"/>
                <a:gd name="T121" fmla="*/ 226 h 358"/>
                <a:gd name="T122" fmla="*/ 164 w 284"/>
                <a:gd name="T123" fmla="*/ 242 h 358"/>
                <a:gd name="T124" fmla="*/ 152 w 284"/>
                <a:gd name="T125" fmla="*/ 252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 h="358">
                  <a:moveTo>
                    <a:pt x="264" y="144"/>
                  </a:moveTo>
                  <a:lnTo>
                    <a:pt x="88" y="144"/>
                  </a:lnTo>
                  <a:lnTo>
                    <a:pt x="88" y="90"/>
                  </a:lnTo>
                  <a:lnTo>
                    <a:pt x="88" y="90"/>
                  </a:lnTo>
                  <a:lnTo>
                    <a:pt x="90" y="78"/>
                  </a:lnTo>
                  <a:lnTo>
                    <a:pt x="92" y="68"/>
                  </a:lnTo>
                  <a:lnTo>
                    <a:pt x="98" y="58"/>
                  </a:lnTo>
                  <a:lnTo>
                    <a:pt x="104" y="50"/>
                  </a:lnTo>
                  <a:lnTo>
                    <a:pt x="112" y="44"/>
                  </a:lnTo>
                  <a:lnTo>
                    <a:pt x="122" y="40"/>
                  </a:lnTo>
                  <a:lnTo>
                    <a:pt x="132" y="36"/>
                  </a:lnTo>
                  <a:lnTo>
                    <a:pt x="142" y="36"/>
                  </a:lnTo>
                  <a:lnTo>
                    <a:pt x="142" y="36"/>
                  </a:lnTo>
                  <a:lnTo>
                    <a:pt x="152" y="36"/>
                  </a:lnTo>
                  <a:lnTo>
                    <a:pt x="162" y="40"/>
                  </a:lnTo>
                  <a:lnTo>
                    <a:pt x="172" y="44"/>
                  </a:lnTo>
                  <a:lnTo>
                    <a:pt x="180" y="50"/>
                  </a:lnTo>
                  <a:lnTo>
                    <a:pt x="186" y="58"/>
                  </a:lnTo>
                  <a:lnTo>
                    <a:pt x="192" y="68"/>
                  </a:lnTo>
                  <a:lnTo>
                    <a:pt x="194" y="78"/>
                  </a:lnTo>
                  <a:lnTo>
                    <a:pt x="196" y="90"/>
                  </a:lnTo>
                  <a:lnTo>
                    <a:pt x="196" y="106"/>
                  </a:lnTo>
                  <a:lnTo>
                    <a:pt x="232" y="106"/>
                  </a:lnTo>
                  <a:lnTo>
                    <a:pt x="232" y="90"/>
                  </a:lnTo>
                  <a:lnTo>
                    <a:pt x="232" y="90"/>
                  </a:lnTo>
                  <a:lnTo>
                    <a:pt x="230" y="70"/>
                  </a:lnTo>
                  <a:lnTo>
                    <a:pt x="224" y="54"/>
                  </a:lnTo>
                  <a:lnTo>
                    <a:pt x="216" y="38"/>
                  </a:lnTo>
                  <a:lnTo>
                    <a:pt x="206" y="26"/>
                  </a:lnTo>
                  <a:lnTo>
                    <a:pt x="192" y="14"/>
                  </a:lnTo>
                  <a:lnTo>
                    <a:pt x="176" y="6"/>
                  </a:lnTo>
                  <a:lnTo>
                    <a:pt x="160" y="0"/>
                  </a:lnTo>
                  <a:lnTo>
                    <a:pt x="142" y="0"/>
                  </a:lnTo>
                  <a:lnTo>
                    <a:pt x="142" y="0"/>
                  </a:lnTo>
                  <a:lnTo>
                    <a:pt x="124" y="0"/>
                  </a:lnTo>
                  <a:lnTo>
                    <a:pt x="108" y="6"/>
                  </a:lnTo>
                  <a:lnTo>
                    <a:pt x="92" y="14"/>
                  </a:lnTo>
                  <a:lnTo>
                    <a:pt x="78" y="26"/>
                  </a:lnTo>
                  <a:lnTo>
                    <a:pt x="68" y="38"/>
                  </a:lnTo>
                  <a:lnTo>
                    <a:pt x="60" y="54"/>
                  </a:lnTo>
                  <a:lnTo>
                    <a:pt x="54" y="70"/>
                  </a:lnTo>
                  <a:lnTo>
                    <a:pt x="52" y="90"/>
                  </a:lnTo>
                  <a:lnTo>
                    <a:pt x="52" y="144"/>
                  </a:lnTo>
                  <a:lnTo>
                    <a:pt x="20" y="144"/>
                  </a:lnTo>
                  <a:lnTo>
                    <a:pt x="20" y="144"/>
                  </a:lnTo>
                  <a:lnTo>
                    <a:pt x="12" y="146"/>
                  </a:lnTo>
                  <a:lnTo>
                    <a:pt x="6" y="150"/>
                  </a:lnTo>
                  <a:lnTo>
                    <a:pt x="0" y="156"/>
                  </a:lnTo>
                  <a:lnTo>
                    <a:pt x="0" y="164"/>
                  </a:lnTo>
                  <a:lnTo>
                    <a:pt x="0" y="306"/>
                  </a:lnTo>
                  <a:lnTo>
                    <a:pt x="0" y="306"/>
                  </a:lnTo>
                  <a:lnTo>
                    <a:pt x="0" y="306"/>
                  </a:lnTo>
                  <a:lnTo>
                    <a:pt x="0" y="306"/>
                  </a:lnTo>
                  <a:lnTo>
                    <a:pt x="0" y="308"/>
                  </a:lnTo>
                  <a:lnTo>
                    <a:pt x="0" y="308"/>
                  </a:lnTo>
                  <a:lnTo>
                    <a:pt x="0" y="310"/>
                  </a:lnTo>
                  <a:lnTo>
                    <a:pt x="0" y="310"/>
                  </a:lnTo>
                  <a:lnTo>
                    <a:pt x="0" y="312"/>
                  </a:lnTo>
                  <a:lnTo>
                    <a:pt x="0" y="312"/>
                  </a:lnTo>
                  <a:lnTo>
                    <a:pt x="2" y="314"/>
                  </a:lnTo>
                  <a:lnTo>
                    <a:pt x="2" y="314"/>
                  </a:lnTo>
                  <a:lnTo>
                    <a:pt x="2" y="316"/>
                  </a:lnTo>
                  <a:lnTo>
                    <a:pt x="2" y="316"/>
                  </a:lnTo>
                  <a:lnTo>
                    <a:pt x="4" y="318"/>
                  </a:lnTo>
                  <a:lnTo>
                    <a:pt x="4" y="318"/>
                  </a:lnTo>
                  <a:lnTo>
                    <a:pt x="4" y="318"/>
                  </a:lnTo>
                  <a:lnTo>
                    <a:pt x="4" y="318"/>
                  </a:lnTo>
                  <a:lnTo>
                    <a:pt x="6" y="320"/>
                  </a:lnTo>
                  <a:lnTo>
                    <a:pt x="6" y="320"/>
                  </a:lnTo>
                  <a:lnTo>
                    <a:pt x="8" y="322"/>
                  </a:lnTo>
                  <a:lnTo>
                    <a:pt x="8" y="322"/>
                  </a:lnTo>
                  <a:lnTo>
                    <a:pt x="8" y="322"/>
                  </a:lnTo>
                  <a:lnTo>
                    <a:pt x="8" y="322"/>
                  </a:lnTo>
                  <a:lnTo>
                    <a:pt x="10" y="322"/>
                  </a:lnTo>
                  <a:lnTo>
                    <a:pt x="10" y="322"/>
                  </a:lnTo>
                  <a:lnTo>
                    <a:pt x="40" y="338"/>
                  </a:lnTo>
                  <a:lnTo>
                    <a:pt x="74" y="350"/>
                  </a:lnTo>
                  <a:lnTo>
                    <a:pt x="108" y="356"/>
                  </a:lnTo>
                  <a:lnTo>
                    <a:pt x="142" y="358"/>
                  </a:lnTo>
                  <a:lnTo>
                    <a:pt x="142" y="358"/>
                  </a:lnTo>
                  <a:lnTo>
                    <a:pt x="176" y="356"/>
                  </a:lnTo>
                  <a:lnTo>
                    <a:pt x="210" y="350"/>
                  </a:lnTo>
                  <a:lnTo>
                    <a:pt x="244" y="338"/>
                  </a:lnTo>
                  <a:lnTo>
                    <a:pt x="274" y="322"/>
                  </a:lnTo>
                  <a:lnTo>
                    <a:pt x="274" y="322"/>
                  </a:lnTo>
                  <a:lnTo>
                    <a:pt x="276" y="322"/>
                  </a:lnTo>
                  <a:lnTo>
                    <a:pt x="276" y="322"/>
                  </a:lnTo>
                  <a:lnTo>
                    <a:pt x="276" y="322"/>
                  </a:lnTo>
                  <a:lnTo>
                    <a:pt x="276" y="322"/>
                  </a:lnTo>
                  <a:lnTo>
                    <a:pt x="278" y="320"/>
                  </a:lnTo>
                  <a:lnTo>
                    <a:pt x="278" y="320"/>
                  </a:lnTo>
                  <a:lnTo>
                    <a:pt x="278" y="320"/>
                  </a:lnTo>
                  <a:lnTo>
                    <a:pt x="278" y="320"/>
                  </a:lnTo>
                  <a:lnTo>
                    <a:pt x="284" y="312"/>
                  </a:lnTo>
                  <a:lnTo>
                    <a:pt x="284" y="304"/>
                  </a:lnTo>
                  <a:lnTo>
                    <a:pt x="284" y="164"/>
                  </a:lnTo>
                  <a:lnTo>
                    <a:pt x="284" y="164"/>
                  </a:lnTo>
                  <a:lnTo>
                    <a:pt x="284" y="156"/>
                  </a:lnTo>
                  <a:lnTo>
                    <a:pt x="278" y="150"/>
                  </a:lnTo>
                  <a:lnTo>
                    <a:pt x="272" y="146"/>
                  </a:lnTo>
                  <a:lnTo>
                    <a:pt x="264" y="144"/>
                  </a:lnTo>
                  <a:lnTo>
                    <a:pt x="264" y="144"/>
                  </a:lnTo>
                  <a:close/>
                  <a:moveTo>
                    <a:pt x="152" y="252"/>
                  </a:moveTo>
                  <a:lnTo>
                    <a:pt x="152" y="294"/>
                  </a:lnTo>
                  <a:lnTo>
                    <a:pt x="132" y="294"/>
                  </a:lnTo>
                  <a:lnTo>
                    <a:pt x="132" y="252"/>
                  </a:lnTo>
                  <a:lnTo>
                    <a:pt x="132" y="252"/>
                  </a:lnTo>
                  <a:lnTo>
                    <a:pt x="126" y="248"/>
                  </a:lnTo>
                  <a:lnTo>
                    <a:pt x="120" y="242"/>
                  </a:lnTo>
                  <a:lnTo>
                    <a:pt x="116" y="234"/>
                  </a:lnTo>
                  <a:lnTo>
                    <a:pt x="114" y="226"/>
                  </a:lnTo>
                  <a:lnTo>
                    <a:pt x="114" y="226"/>
                  </a:lnTo>
                  <a:lnTo>
                    <a:pt x="118" y="216"/>
                  </a:lnTo>
                  <a:lnTo>
                    <a:pt x="122" y="208"/>
                  </a:lnTo>
                  <a:lnTo>
                    <a:pt x="132" y="202"/>
                  </a:lnTo>
                  <a:lnTo>
                    <a:pt x="142" y="200"/>
                  </a:lnTo>
                  <a:lnTo>
                    <a:pt x="142" y="200"/>
                  </a:lnTo>
                  <a:lnTo>
                    <a:pt x="152" y="202"/>
                  </a:lnTo>
                  <a:lnTo>
                    <a:pt x="162" y="208"/>
                  </a:lnTo>
                  <a:lnTo>
                    <a:pt x="166" y="216"/>
                  </a:lnTo>
                  <a:lnTo>
                    <a:pt x="170" y="226"/>
                  </a:lnTo>
                  <a:lnTo>
                    <a:pt x="170" y="226"/>
                  </a:lnTo>
                  <a:lnTo>
                    <a:pt x="168" y="234"/>
                  </a:lnTo>
                  <a:lnTo>
                    <a:pt x="164" y="242"/>
                  </a:lnTo>
                  <a:lnTo>
                    <a:pt x="158" y="248"/>
                  </a:lnTo>
                  <a:lnTo>
                    <a:pt x="152" y="252"/>
                  </a:lnTo>
                  <a:lnTo>
                    <a:pt x="152" y="25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47" name="Group 146">
            <a:extLst>
              <a:ext uri="{FF2B5EF4-FFF2-40B4-BE49-F238E27FC236}">
                <a16:creationId xmlns:a16="http://schemas.microsoft.com/office/drawing/2014/main" id="{A565B0B2-6A58-4242-881B-D8EA2A772A98}"/>
              </a:ext>
            </a:extLst>
          </p:cNvPr>
          <p:cNvGrpSpPr/>
          <p:nvPr/>
        </p:nvGrpSpPr>
        <p:grpSpPr>
          <a:xfrm>
            <a:off x="9814174" y="2882974"/>
            <a:ext cx="612000" cy="612000"/>
            <a:chOff x="9322641" y="3474401"/>
            <a:chExt cx="612000" cy="612000"/>
          </a:xfrm>
        </p:grpSpPr>
        <p:sp>
          <p:nvSpPr>
            <p:cNvPr id="148" name="Oval 147">
              <a:extLst>
                <a:ext uri="{FF2B5EF4-FFF2-40B4-BE49-F238E27FC236}">
                  <a16:creationId xmlns:a16="http://schemas.microsoft.com/office/drawing/2014/main" id="{FD524334-2454-453A-A63F-DED493B9702D}"/>
                </a:ext>
              </a:extLst>
            </p:cNvPr>
            <p:cNvSpPr/>
            <p:nvPr/>
          </p:nvSpPr>
          <p:spPr bwMode="ltGray">
            <a:xfrm>
              <a:off x="9322641" y="3474401"/>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49" name="Freeform 5001">
              <a:extLst>
                <a:ext uri="{FF2B5EF4-FFF2-40B4-BE49-F238E27FC236}">
                  <a16:creationId xmlns:a16="http://schemas.microsoft.com/office/drawing/2014/main" id="{2D0F9F7A-A40A-45BF-8951-B9D348E785AC}"/>
                </a:ext>
              </a:extLst>
            </p:cNvPr>
            <p:cNvSpPr>
              <a:spLocks noEditPoints="1"/>
            </p:cNvSpPr>
            <p:nvPr/>
          </p:nvSpPr>
          <p:spPr bwMode="auto">
            <a:xfrm>
              <a:off x="9457595" y="3566383"/>
              <a:ext cx="342093" cy="428822"/>
            </a:xfrm>
            <a:custGeom>
              <a:avLst/>
              <a:gdLst>
                <a:gd name="T0" fmla="*/ 232 w 284"/>
                <a:gd name="T1" fmla="*/ 90 h 356"/>
                <a:gd name="T2" fmla="*/ 224 w 284"/>
                <a:gd name="T3" fmla="*/ 54 h 356"/>
                <a:gd name="T4" fmla="*/ 192 w 284"/>
                <a:gd name="T5" fmla="*/ 14 h 356"/>
                <a:gd name="T6" fmla="*/ 142 w 284"/>
                <a:gd name="T7" fmla="*/ 0 h 356"/>
                <a:gd name="T8" fmla="*/ 108 w 284"/>
                <a:gd name="T9" fmla="*/ 6 h 356"/>
                <a:gd name="T10" fmla="*/ 68 w 284"/>
                <a:gd name="T11" fmla="*/ 38 h 356"/>
                <a:gd name="T12" fmla="*/ 52 w 284"/>
                <a:gd name="T13" fmla="*/ 90 h 356"/>
                <a:gd name="T14" fmla="*/ 20 w 284"/>
                <a:gd name="T15" fmla="*/ 142 h 356"/>
                <a:gd name="T16" fmla="*/ 0 w 284"/>
                <a:gd name="T17" fmla="*/ 154 h 356"/>
                <a:gd name="T18" fmla="*/ 0 w 284"/>
                <a:gd name="T19" fmla="*/ 302 h 356"/>
                <a:gd name="T20" fmla="*/ 0 w 284"/>
                <a:gd name="T21" fmla="*/ 306 h 356"/>
                <a:gd name="T22" fmla="*/ 0 w 284"/>
                <a:gd name="T23" fmla="*/ 306 h 356"/>
                <a:gd name="T24" fmla="*/ 2 w 284"/>
                <a:gd name="T25" fmla="*/ 312 h 356"/>
                <a:gd name="T26" fmla="*/ 2 w 284"/>
                <a:gd name="T27" fmla="*/ 314 h 356"/>
                <a:gd name="T28" fmla="*/ 4 w 284"/>
                <a:gd name="T29" fmla="*/ 316 h 356"/>
                <a:gd name="T30" fmla="*/ 6 w 284"/>
                <a:gd name="T31" fmla="*/ 318 h 356"/>
                <a:gd name="T32" fmla="*/ 8 w 284"/>
                <a:gd name="T33" fmla="*/ 320 h 356"/>
                <a:gd name="T34" fmla="*/ 10 w 284"/>
                <a:gd name="T35" fmla="*/ 320 h 356"/>
                <a:gd name="T36" fmla="*/ 108 w 284"/>
                <a:gd name="T37" fmla="*/ 354 h 356"/>
                <a:gd name="T38" fmla="*/ 176 w 284"/>
                <a:gd name="T39" fmla="*/ 354 h 356"/>
                <a:gd name="T40" fmla="*/ 274 w 284"/>
                <a:gd name="T41" fmla="*/ 320 h 356"/>
                <a:gd name="T42" fmla="*/ 276 w 284"/>
                <a:gd name="T43" fmla="*/ 320 h 356"/>
                <a:gd name="T44" fmla="*/ 278 w 284"/>
                <a:gd name="T45" fmla="*/ 316 h 356"/>
                <a:gd name="T46" fmla="*/ 278 w 284"/>
                <a:gd name="T47" fmla="*/ 316 h 356"/>
                <a:gd name="T48" fmla="*/ 284 w 284"/>
                <a:gd name="T49" fmla="*/ 162 h 356"/>
                <a:gd name="T50" fmla="*/ 278 w 284"/>
                <a:gd name="T51" fmla="*/ 146 h 356"/>
                <a:gd name="T52" fmla="*/ 264 w 284"/>
                <a:gd name="T53" fmla="*/ 142 h 356"/>
                <a:gd name="T54" fmla="*/ 132 w 284"/>
                <a:gd name="T55" fmla="*/ 294 h 356"/>
                <a:gd name="T56" fmla="*/ 126 w 284"/>
                <a:gd name="T57" fmla="*/ 248 h 356"/>
                <a:gd name="T58" fmla="*/ 114 w 284"/>
                <a:gd name="T59" fmla="*/ 226 h 356"/>
                <a:gd name="T60" fmla="*/ 122 w 284"/>
                <a:gd name="T61" fmla="*/ 208 h 356"/>
                <a:gd name="T62" fmla="*/ 142 w 284"/>
                <a:gd name="T63" fmla="*/ 200 h 356"/>
                <a:gd name="T64" fmla="*/ 166 w 284"/>
                <a:gd name="T65" fmla="*/ 216 h 356"/>
                <a:gd name="T66" fmla="*/ 168 w 284"/>
                <a:gd name="T67" fmla="*/ 234 h 356"/>
                <a:gd name="T68" fmla="*/ 152 w 284"/>
                <a:gd name="T69" fmla="*/ 252 h 356"/>
                <a:gd name="T70" fmla="*/ 88 w 284"/>
                <a:gd name="T71" fmla="*/ 142 h 356"/>
                <a:gd name="T72" fmla="*/ 90 w 284"/>
                <a:gd name="T73" fmla="*/ 78 h 356"/>
                <a:gd name="T74" fmla="*/ 104 w 284"/>
                <a:gd name="T75" fmla="*/ 50 h 356"/>
                <a:gd name="T76" fmla="*/ 132 w 284"/>
                <a:gd name="T77" fmla="*/ 36 h 356"/>
                <a:gd name="T78" fmla="*/ 152 w 284"/>
                <a:gd name="T79" fmla="*/ 36 h 356"/>
                <a:gd name="T80" fmla="*/ 180 w 284"/>
                <a:gd name="T81" fmla="*/ 50 h 356"/>
                <a:gd name="T82" fmla="*/ 194 w 284"/>
                <a:gd name="T83" fmla="*/ 78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84" h="356">
                  <a:moveTo>
                    <a:pt x="264" y="142"/>
                  </a:moveTo>
                  <a:lnTo>
                    <a:pt x="232" y="142"/>
                  </a:lnTo>
                  <a:lnTo>
                    <a:pt x="232" y="90"/>
                  </a:lnTo>
                  <a:lnTo>
                    <a:pt x="232" y="90"/>
                  </a:lnTo>
                  <a:lnTo>
                    <a:pt x="230" y="70"/>
                  </a:lnTo>
                  <a:lnTo>
                    <a:pt x="224" y="54"/>
                  </a:lnTo>
                  <a:lnTo>
                    <a:pt x="216" y="38"/>
                  </a:lnTo>
                  <a:lnTo>
                    <a:pt x="206" y="26"/>
                  </a:lnTo>
                  <a:lnTo>
                    <a:pt x="192" y="14"/>
                  </a:lnTo>
                  <a:lnTo>
                    <a:pt x="176" y="6"/>
                  </a:lnTo>
                  <a:lnTo>
                    <a:pt x="160" y="0"/>
                  </a:lnTo>
                  <a:lnTo>
                    <a:pt x="142" y="0"/>
                  </a:lnTo>
                  <a:lnTo>
                    <a:pt x="142" y="0"/>
                  </a:lnTo>
                  <a:lnTo>
                    <a:pt x="124" y="0"/>
                  </a:lnTo>
                  <a:lnTo>
                    <a:pt x="108" y="6"/>
                  </a:lnTo>
                  <a:lnTo>
                    <a:pt x="92" y="14"/>
                  </a:lnTo>
                  <a:lnTo>
                    <a:pt x="78" y="26"/>
                  </a:lnTo>
                  <a:lnTo>
                    <a:pt x="68" y="38"/>
                  </a:lnTo>
                  <a:lnTo>
                    <a:pt x="60" y="54"/>
                  </a:lnTo>
                  <a:lnTo>
                    <a:pt x="54" y="70"/>
                  </a:lnTo>
                  <a:lnTo>
                    <a:pt x="52" y="90"/>
                  </a:lnTo>
                  <a:lnTo>
                    <a:pt x="52" y="142"/>
                  </a:lnTo>
                  <a:lnTo>
                    <a:pt x="20" y="142"/>
                  </a:lnTo>
                  <a:lnTo>
                    <a:pt x="20" y="142"/>
                  </a:lnTo>
                  <a:lnTo>
                    <a:pt x="12" y="142"/>
                  </a:lnTo>
                  <a:lnTo>
                    <a:pt x="6" y="146"/>
                  </a:lnTo>
                  <a:lnTo>
                    <a:pt x="0" y="154"/>
                  </a:lnTo>
                  <a:lnTo>
                    <a:pt x="0" y="162"/>
                  </a:lnTo>
                  <a:lnTo>
                    <a:pt x="0" y="302"/>
                  </a:lnTo>
                  <a:lnTo>
                    <a:pt x="0" y="302"/>
                  </a:lnTo>
                  <a:lnTo>
                    <a:pt x="0" y="304"/>
                  </a:lnTo>
                  <a:lnTo>
                    <a:pt x="0" y="304"/>
                  </a:lnTo>
                  <a:lnTo>
                    <a:pt x="0" y="306"/>
                  </a:lnTo>
                  <a:lnTo>
                    <a:pt x="0" y="306"/>
                  </a:lnTo>
                  <a:lnTo>
                    <a:pt x="0" y="306"/>
                  </a:lnTo>
                  <a:lnTo>
                    <a:pt x="0" y="306"/>
                  </a:lnTo>
                  <a:lnTo>
                    <a:pt x="0" y="310"/>
                  </a:lnTo>
                  <a:lnTo>
                    <a:pt x="0" y="310"/>
                  </a:lnTo>
                  <a:lnTo>
                    <a:pt x="2" y="312"/>
                  </a:lnTo>
                  <a:lnTo>
                    <a:pt x="2" y="312"/>
                  </a:lnTo>
                  <a:lnTo>
                    <a:pt x="2" y="314"/>
                  </a:lnTo>
                  <a:lnTo>
                    <a:pt x="2" y="314"/>
                  </a:lnTo>
                  <a:lnTo>
                    <a:pt x="4" y="314"/>
                  </a:lnTo>
                  <a:lnTo>
                    <a:pt x="4" y="314"/>
                  </a:lnTo>
                  <a:lnTo>
                    <a:pt x="4" y="316"/>
                  </a:lnTo>
                  <a:lnTo>
                    <a:pt x="4" y="316"/>
                  </a:lnTo>
                  <a:lnTo>
                    <a:pt x="6" y="318"/>
                  </a:lnTo>
                  <a:lnTo>
                    <a:pt x="6" y="318"/>
                  </a:lnTo>
                  <a:lnTo>
                    <a:pt x="8" y="318"/>
                  </a:lnTo>
                  <a:lnTo>
                    <a:pt x="8" y="318"/>
                  </a:lnTo>
                  <a:lnTo>
                    <a:pt x="8" y="320"/>
                  </a:lnTo>
                  <a:lnTo>
                    <a:pt x="8" y="320"/>
                  </a:lnTo>
                  <a:lnTo>
                    <a:pt x="10" y="320"/>
                  </a:lnTo>
                  <a:lnTo>
                    <a:pt x="10" y="320"/>
                  </a:lnTo>
                  <a:lnTo>
                    <a:pt x="40" y="336"/>
                  </a:lnTo>
                  <a:lnTo>
                    <a:pt x="74" y="346"/>
                  </a:lnTo>
                  <a:lnTo>
                    <a:pt x="108" y="354"/>
                  </a:lnTo>
                  <a:lnTo>
                    <a:pt x="142" y="356"/>
                  </a:lnTo>
                  <a:lnTo>
                    <a:pt x="142" y="356"/>
                  </a:lnTo>
                  <a:lnTo>
                    <a:pt x="176" y="354"/>
                  </a:lnTo>
                  <a:lnTo>
                    <a:pt x="210" y="346"/>
                  </a:lnTo>
                  <a:lnTo>
                    <a:pt x="244" y="336"/>
                  </a:lnTo>
                  <a:lnTo>
                    <a:pt x="274" y="320"/>
                  </a:lnTo>
                  <a:lnTo>
                    <a:pt x="274" y="320"/>
                  </a:lnTo>
                  <a:lnTo>
                    <a:pt x="276" y="320"/>
                  </a:lnTo>
                  <a:lnTo>
                    <a:pt x="276" y="320"/>
                  </a:lnTo>
                  <a:lnTo>
                    <a:pt x="276" y="320"/>
                  </a:lnTo>
                  <a:lnTo>
                    <a:pt x="276" y="320"/>
                  </a:lnTo>
                  <a:lnTo>
                    <a:pt x="278" y="316"/>
                  </a:lnTo>
                  <a:lnTo>
                    <a:pt x="278" y="316"/>
                  </a:lnTo>
                  <a:lnTo>
                    <a:pt x="278" y="316"/>
                  </a:lnTo>
                  <a:lnTo>
                    <a:pt x="278" y="316"/>
                  </a:lnTo>
                  <a:lnTo>
                    <a:pt x="284" y="310"/>
                  </a:lnTo>
                  <a:lnTo>
                    <a:pt x="284" y="302"/>
                  </a:lnTo>
                  <a:lnTo>
                    <a:pt x="284" y="162"/>
                  </a:lnTo>
                  <a:lnTo>
                    <a:pt x="284" y="162"/>
                  </a:lnTo>
                  <a:lnTo>
                    <a:pt x="284" y="154"/>
                  </a:lnTo>
                  <a:lnTo>
                    <a:pt x="278" y="146"/>
                  </a:lnTo>
                  <a:lnTo>
                    <a:pt x="272" y="142"/>
                  </a:lnTo>
                  <a:lnTo>
                    <a:pt x="264" y="142"/>
                  </a:lnTo>
                  <a:lnTo>
                    <a:pt x="264" y="142"/>
                  </a:lnTo>
                  <a:close/>
                  <a:moveTo>
                    <a:pt x="152" y="252"/>
                  </a:moveTo>
                  <a:lnTo>
                    <a:pt x="152" y="294"/>
                  </a:lnTo>
                  <a:lnTo>
                    <a:pt x="132" y="294"/>
                  </a:lnTo>
                  <a:lnTo>
                    <a:pt x="132" y="252"/>
                  </a:lnTo>
                  <a:lnTo>
                    <a:pt x="132" y="252"/>
                  </a:lnTo>
                  <a:lnTo>
                    <a:pt x="126" y="248"/>
                  </a:lnTo>
                  <a:lnTo>
                    <a:pt x="120" y="242"/>
                  </a:lnTo>
                  <a:lnTo>
                    <a:pt x="116" y="234"/>
                  </a:lnTo>
                  <a:lnTo>
                    <a:pt x="114" y="226"/>
                  </a:lnTo>
                  <a:lnTo>
                    <a:pt x="114" y="226"/>
                  </a:lnTo>
                  <a:lnTo>
                    <a:pt x="118" y="216"/>
                  </a:lnTo>
                  <a:lnTo>
                    <a:pt x="122" y="208"/>
                  </a:lnTo>
                  <a:lnTo>
                    <a:pt x="132" y="202"/>
                  </a:lnTo>
                  <a:lnTo>
                    <a:pt x="142" y="200"/>
                  </a:lnTo>
                  <a:lnTo>
                    <a:pt x="142" y="200"/>
                  </a:lnTo>
                  <a:lnTo>
                    <a:pt x="152" y="202"/>
                  </a:lnTo>
                  <a:lnTo>
                    <a:pt x="162" y="208"/>
                  </a:lnTo>
                  <a:lnTo>
                    <a:pt x="166" y="216"/>
                  </a:lnTo>
                  <a:lnTo>
                    <a:pt x="170" y="226"/>
                  </a:lnTo>
                  <a:lnTo>
                    <a:pt x="170" y="226"/>
                  </a:lnTo>
                  <a:lnTo>
                    <a:pt x="168" y="234"/>
                  </a:lnTo>
                  <a:lnTo>
                    <a:pt x="164" y="242"/>
                  </a:lnTo>
                  <a:lnTo>
                    <a:pt x="158" y="248"/>
                  </a:lnTo>
                  <a:lnTo>
                    <a:pt x="152" y="252"/>
                  </a:lnTo>
                  <a:lnTo>
                    <a:pt x="152" y="252"/>
                  </a:lnTo>
                  <a:close/>
                  <a:moveTo>
                    <a:pt x="196" y="142"/>
                  </a:moveTo>
                  <a:lnTo>
                    <a:pt x="88" y="142"/>
                  </a:lnTo>
                  <a:lnTo>
                    <a:pt x="88" y="90"/>
                  </a:lnTo>
                  <a:lnTo>
                    <a:pt x="88" y="90"/>
                  </a:lnTo>
                  <a:lnTo>
                    <a:pt x="90" y="78"/>
                  </a:lnTo>
                  <a:lnTo>
                    <a:pt x="92" y="68"/>
                  </a:lnTo>
                  <a:lnTo>
                    <a:pt x="98" y="58"/>
                  </a:lnTo>
                  <a:lnTo>
                    <a:pt x="104" y="50"/>
                  </a:lnTo>
                  <a:lnTo>
                    <a:pt x="112" y="44"/>
                  </a:lnTo>
                  <a:lnTo>
                    <a:pt x="122" y="40"/>
                  </a:lnTo>
                  <a:lnTo>
                    <a:pt x="132" y="36"/>
                  </a:lnTo>
                  <a:lnTo>
                    <a:pt x="142" y="36"/>
                  </a:lnTo>
                  <a:lnTo>
                    <a:pt x="142" y="36"/>
                  </a:lnTo>
                  <a:lnTo>
                    <a:pt x="152" y="36"/>
                  </a:lnTo>
                  <a:lnTo>
                    <a:pt x="162" y="40"/>
                  </a:lnTo>
                  <a:lnTo>
                    <a:pt x="172" y="44"/>
                  </a:lnTo>
                  <a:lnTo>
                    <a:pt x="180" y="50"/>
                  </a:lnTo>
                  <a:lnTo>
                    <a:pt x="186" y="58"/>
                  </a:lnTo>
                  <a:lnTo>
                    <a:pt x="192" y="68"/>
                  </a:lnTo>
                  <a:lnTo>
                    <a:pt x="194" y="78"/>
                  </a:lnTo>
                  <a:lnTo>
                    <a:pt x="196" y="90"/>
                  </a:lnTo>
                  <a:lnTo>
                    <a:pt x="196" y="14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50" name="Group 149">
            <a:extLst>
              <a:ext uri="{FF2B5EF4-FFF2-40B4-BE49-F238E27FC236}">
                <a16:creationId xmlns:a16="http://schemas.microsoft.com/office/drawing/2014/main" id="{3CD868F5-752B-48D4-92EB-2F11456BD9B9}"/>
              </a:ext>
            </a:extLst>
          </p:cNvPr>
          <p:cNvGrpSpPr/>
          <p:nvPr/>
        </p:nvGrpSpPr>
        <p:grpSpPr>
          <a:xfrm>
            <a:off x="9814174" y="4200579"/>
            <a:ext cx="612000" cy="612000"/>
            <a:chOff x="9322641" y="4690710"/>
            <a:chExt cx="612000" cy="612000"/>
          </a:xfrm>
        </p:grpSpPr>
        <p:sp>
          <p:nvSpPr>
            <p:cNvPr id="151" name="Oval 150">
              <a:extLst>
                <a:ext uri="{FF2B5EF4-FFF2-40B4-BE49-F238E27FC236}">
                  <a16:creationId xmlns:a16="http://schemas.microsoft.com/office/drawing/2014/main" id="{AB951CB7-F19A-4799-ABB4-945A363F3F9D}"/>
                </a:ext>
              </a:extLst>
            </p:cNvPr>
            <p:cNvSpPr/>
            <p:nvPr/>
          </p:nvSpPr>
          <p:spPr bwMode="ltGray">
            <a:xfrm>
              <a:off x="9322641" y="4690710"/>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52" name="Freeform 5003">
              <a:extLst>
                <a:ext uri="{FF2B5EF4-FFF2-40B4-BE49-F238E27FC236}">
                  <a16:creationId xmlns:a16="http://schemas.microsoft.com/office/drawing/2014/main" id="{3091AEE9-F46A-4353-9A07-B5EBF2D1A81B}"/>
                </a:ext>
              </a:extLst>
            </p:cNvPr>
            <p:cNvSpPr>
              <a:spLocks noEditPoints="1"/>
            </p:cNvSpPr>
            <p:nvPr/>
          </p:nvSpPr>
          <p:spPr bwMode="auto">
            <a:xfrm>
              <a:off x="9493731" y="4780574"/>
              <a:ext cx="269821" cy="457731"/>
            </a:xfrm>
            <a:custGeom>
              <a:avLst/>
              <a:gdLst>
                <a:gd name="T0" fmla="*/ 28 w 224"/>
                <a:gd name="T1" fmla="*/ 0 h 380"/>
                <a:gd name="T2" fmla="*/ 16 w 224"/>
                <a:gd name="T3" fmla="*/ 2 h 380"/>
                <a:gd name="T4" fmla="*/ 2 w 224"/>
                <a:gd name="T5" fmla="*/ 16 h 380"/>
                <a:gd name="T6" fmla="*/ 0 w 224"/>
                <a:gd name="T7" fmla="*/ 352 h 380"/>
                <a:gd name="T8" fmla="*/ 2 w 224"/>
                <a:gd name="T9" fmla="*/ 364 h 380"/>
                <a:gd name="T10" fmla="*/ 16 w 224"/>
                <a:gd name="T11" fmla="*/ 378 h 380"/>
                <a:gd name="T12" fmla="*/ 196 w 224"/>
                <a:gd name="T13" fmla="*/ 380 h 380"/>
                <a:gd name="T14" fmla="*/ 208 w 224"/>
                <a:gd name="T15" fmla="*/ 378 h 380"/>
                <a:gd name="T16" fmla="*/ 222 w 224"/>
                <a:gd name="T17" fmla="*/ 364 h 380"/>
                <a:gd name="T18" fmla="*/ 224 w 224"/>
                <a:gd name="T19" fmla="*/ 28 h 380"/>
                <a:gd name="T20" fmla="*/ 222 w 224"/>
                <a:gd name="T21" fmla="*/ 16 h 380"/>
                <a:gd name="T22" fmla="*/ 208 w 224"/>
                <a:gd name="T23" fmla="*/ 2 h 380"/>
                <a:gd name="T24" fmla="*/ 196 w 224"/>
                <a:gd name="T25" fmla="*/ 0 h 380"/>
                <a:gd name="T26" fmla="*/ 130 w 224"/>
                <a:gd name="T27" fmla="*/ 26 h 380"/>
                <a:gd name="T28" fmla="*/ 134 w 224"/>
                <a:gd name="T29" fmla="*/ 28 h 380"/>
                <a:gd name="T30" fmla="*/ 138 w 224"/>
                <a:gd name="T31" fmla="*/ 32 h 380"/>
                <a:gd name="T32" fmla="*/ 138 w 224"/>
                <a:gd name="T33" fmla="*/ 34 h 380"/>
                <a:gd name="T34" fmla="*/ 136 w 224"/>
                <a:gd name="T35" fmla="*/ 40 h 380"/>
                <a:gd name="T36" fmla="*/ 130 w 224"/>
                <a:gd name="T37" fmla="*/ 42 h 380"/>
                <a:gd name="T38" fmla="*/ 94 w 224"/>
                <a:gd name="T39" fmla="*/ 42 h 380"/>
                <a:gd name="T40" fmla="*/ 88 w 224"/>
                <a:gd name="T41" fmla="*/ 40 h 380"/>
                <a:gd name="T42" fmla="*/ 86 w 224"/>
                <a:gd name="T43" fmla="*/ 34 h 380"/>
                <a:gd name="T44" fmla="*/ 86 w 224"/>
                <a:gd name="T45" fmla="*/ 32 h 380"/>
                <a:gd name="T46" fmla="*/ 90 w 224"/>
                <a:gd name="T47" fmla="*/ 28 h 380"/>
                <a:gd name="T48" fmla="*/ 94 w 224"/>
                <a:gd name="T49" fmla="*/ 26 h 380"/>
                <a:gd name="T50" fmla="*/ 112 w 224"/>
                <a:gd name="T51" fmla="*/ 362 h 380"/>
                <a:gd name="T52" fmla="*/ 98 w 224"/>
                <a:gd name="T53" fmla="*/ 356 h 380"/>
                <a:gd name="T54" fmla="*/ 94 w 224"/>
                <a:gd name="T55" fmla="*/ 344 h 380"/>
                <a:gd name="T56" fmla="*/ 94 w 224"/>
                <a:gd name="T57" fmla="*/ 336 h 380"/>
                <a:gd name="T58" fmla="*/ 104 w 224"/>
                <a:gd name="T59" fmla="*/ 326 h 380"/>
                <a:gd name="T60" fmla="*/ 112 w 224"/>
                <a:gd name="T61" fmla="*/ 324 h 380"/>
                <a:gd name="T62" fmla="*/ 126 w 224"/>
                <a:gd name="T63" fmla="*/ 330 h 380"/>
                <a:gd name="T64" fmla="*/ 130 w 224"/>
                <a:gd name="T65" fmla="*/ 344 h 380"/>
                <a:gd name="T66" fmla="*/ 130 w 224"/>
                <a:gd name="T67" fmla="*/ 350 h 380"/>
                <a:gd name="T68" fmla="*/ 120 w 224"/>
                <a:gd name="T69" fmla="*/ 360 h 380"/>
                <a:gd name="T70" fmla="*/ 112 w 224"/>
                <a:gd name="T71" fmla="*/ 362 h 380"/>
                <a:gd name="T72" fmla="*/ 28 w 224"/>
                <a:gd name="T73" fmla="*/ 308 h 380"/>
                <a:gd name="T74" fmla="*/ 196 w 224"/>
                <a:gd name="T75" fmla="*/ 6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4" h="380">
                  <a:moveTo>
                    <a:pt x="196" y="0"/>
                  </a:moveTo>
                  <a:lnTo>
                    <a:pt x="28" y="0"/>
                  </a:lnTo>
                  <a:lnTo>
                    <a:pt x="28" y="0"/>
                  </a:lnTo>
                  <a:lnTo>
                    <a:pt x="16" y="2"/>
                  </a:lnTo>
                  <a:lnTo>
                    <a:pt x="8" y="8"/>
                  </a:lnTo>
                  <a:lnTo>
                    <a:pt x="2" y="16"/>
                  </a:lnTo>
                  <a:lnTo>
                    <a:pt x="0" y="28"/>
                  </a:lnTo>
                  <a:lnTo>
                    <a:pt x="0" y="352"/>
                  </a:lnTo>
                  <a:lnTo>
                    <a:pt x="0" y="352"/>
                  </a:lnTo>
                  <a:lnTo>
                    <a:pt x="2" y="364"/>
                  </a:lnTo>
                  <a:lnTo>
                    <a:pt x="8" y="372"/>
                  </a:lnTo>
                  <a:lnTo>
                    <a:pt x="16" y="378"/>
                  </a:lnTo>
                  <a:lnTo>
                    <a:pt x="28" y="380"/>
                  </a:lnTo>
                  <a:lnTo>
                    <a:pt x="196" y="380"/>
                  </a:lnTo>
                  <a:lnTo>
                    <a:pt x="196" y="380"/>
                  </a:lnTo>
                  <a:lnTo>
                    <a:pt x="208" y="378"/>
                  </a:lnTo>
                  <a:lnTo>
                    <a:pt x="216" y="372"/>
                  </a:lnTo>
                  <a:lnTo>
                    <a:pt x="222" y="364"/>
                  </a:lnTo>
                  <a:lnTo>
                    <a:pt x="224" y="352"/>
                  </a:lnTo>
                  <a:lnTo>
                    <a:pt x="224" y="28"/>
                  </a:lnTo>
                  <a:lnTo>
                    <a:pt x="224" y="28"/>
                  </a:lnTo>
                  <a:lnTo>
                    <a:pt x="222" y="16"/>
                  </a:lnTo>
                  <a:lnTo>
                    <a:pt x="216" y="8"/>
                  </a:lnTo>
                  <a:lnTo>
                    <a:pt x="208" y="2"/>
                  </a:lnTo>
                  <a:lnTo>
                    <a:pt x="196" y="0"/>
                  </a:lnTo>
                  <a:lnTo>
                    <a:pt x="196" y="0"/>
                  </a:lnTo>
                  <a:close/>
                  <a:moveTo>
                    <a:pt x="94" y="26"/>
                  </a:moveTo>
                  <a:lnTo>
                    <a:pt x="130" y="26"/>
                  </a:lnTo>
                  <a:lnTo>
                    <a:pt x="130" y="26"/>
                  </a:lnTo>
                  <a:lnTo>
                    <a:pt x="134" y="28"/>
                  </a:lnTo>
                  <a:lnTo>
                    <a:pt x="136" y="28"/>
                  </a:lnTo>
                  <a:lnTo>
                    <a:pt x="138" y="32"/>
                  </a:lnTo>
                  <a:lnTo>
                    <a:pt x="138" y="34"/>
                  </a:lnTo>
                  <a:lnTo>
                    <a:pt x="138" y="34"/>
                  </a:lnTo>
                  <a:lnTo>
                    <a:pt x="138" y="38"/>
                  </a:lnTo>
                  <a:lnTo>
                    <a:pt x="136" y="40"/>
                  </a:lnTo>
                  <a:lnTo>
                    <a:pt x="134" y="42"/>
                  </a:lnTo>
                  <a:lnTo>
                    <a:pt x="130" y="42"/>
                  </a:lnTo>
                  <a:lnTo>
                    <a:pt x="94" y="42"/>
                  </a:lnTo>
                  <a:lnTo>
                    <a:pt x="94" y="42"/>
                  </a:lnTo>
                  <a:lnTo>
                    <a:pt x="90" y="42"/>
                  </a:lnTo>
                  <a:lnTo>
                    <a:pt x="88" y="40"/>
                  </a:lnTo>
                  <a:lnTo>
                    <a:pt x="86" y="38"/>
                  </a:lnTo>
                  <a:lnTo>
                    <a:pt x="86" y="34"/>
                  </a:lnTo>
                  <a:lnTo>
                    <a:pt x="86" y="34"/>
                  </a:lnTo>
                  <a:lnTo>
                    <a:pt x="86" y="32"/>
                  </a:lnTo>
                  <a:lnTo>
                    <a:pt x="88" y="28"/>
                  </a:lnTo>
                  <a:lnTo>
                    <a:pt x="90" y="28"/>
                  </a:lnTo>
                  <a:lnTo>
                    <a:pt x="94" y="26"/>
                  </a:lnTo>
                  <a:lnTo>
                    <a:pt x="94" y="26"/>
                  </a:lnTo>
                  <a:close/>
                  <a:moveTo>
                    <a:pt x="112" y="362"/>
                  </a:moveTo>
                  <a:lnTo>
                    <a:pt x="112" y="362"/>
                  </a:lnTo>
                  <a:lnTo>
                    <a:pt x="104" y="360"/>
                  </a:lnTo>
                  <a:lnTo>
                    <a:pt x="98" y="356"/>
                  </a:lnTo>
                  <a:lnTo>
                    <a:pt x="94" y="350"/>
                  </a:lnTo>
                  <a:lnTo>
                    <a:pt x="94" y="344"/>
                  </a:lnTo>
                  <a:lnTo>
                    <a:pt x="94" y="344"/>
                  </a:lnTo>
                  <a:lnTo>
                    <a:pt x="94" y="336"/>
                  </a:lnTo>
                  <a:lnTo>
                    <a:pt x="98" y="330"/>
                  </a:lnTo>
                  <a:lnTo>
                    <a:pt x="104" y="326"/>
                  </a:lnTo>
                  <a:lnTo>
                    <a:pt x="112" y="324"/>
                  </a:lnTo>
                  <a:lnTo>
                    <a:pt x="112" y="324"/>
                  </a:lnTo>
                  <a:lnTo>
                    <a:pt x="120" y="326"/>
                  </a:lnTo>
                  <a:lnTo>
                    <a:pt x="126" y="330"/>
                  </a:lnTo>
                  <a:lnTo>
                    <a:pt x="130" y="336"/>
                  </a:lnTo>
                  <a:lnTo>
                    <a:pt x="130" y="344"/>
                  </a:lnTo>
                  <a:lnTo>
                    <a:pt x="130" y="344"/>
                  </a:lnTo>
                  <a:lnTo>
                    <a:pt x="130" y="350"/>
                  </a:lnTo>
                  <a:lnTo>
                    <a:pt x="126" y="356"/>
                  </a:lnTo>
                  <a:lnTo>
                    <a:pt x="120" y="360"/>
                  </a:lnTo>
                  <a:lnTo>
                    <a:pt x="112" y="362"/>
                  </a:lnTo>
                  <a:lnTo>
                    <a:pt x="112" y="362"/>
                  </a:lnTo>
                  <a:close/>
                  <a:moveTo>
                    <a:pt x="196" y="308"/>
                  </a:moveTo>
                  <a:lnTo>
                    <a:pt x="28" y="308"/>
                  </a:lnTo>
                  <a:lnTo>
                    <a:pt x="28" y="60"/>
                  </a:lnTo>
                  <a:lnTo>
                    <a:pt x="196" y="60"/>
                  </a:lnTo>
                  <a:lnTo>
                    <a:pt x="196" y="30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53" name="Group 152">
            <a:extLst>
              <a:ext uri="{FF2B5EF4-FFF2-40B4-BE49-F238E27FC236}">
                <a16:creationId xmlns:a16="http://schemas.microsoft.com/office/drawing/2014/main" id="{9ABF1121-7E30-4101-AC77-AC5CA9FC7D3C}"/>
              </a:ext>
            </a:extLst>
          </p:cNvPr>
          <p:cNvGrpSpPr/>
          <p:nvPr/>
        </p:nvGrpSpPr>
        <p:grpSpPr>
          <a:xfrm>
            <a:off x="8933229" y="5136080"/>
            <a:ext cx="612000" cy="612000"/>
            <a:chOff x="8447928" y="5907019"/>
            <a:chExt cx="612000" cy="612000"/>
          </a:xfrm>
        </p:grpSpPr>
        <p:sp>
          <p:nvSpPr>
            <p:cNvPr id="154" name="Oval 153">
              <a:extLst>
                <a:ext uri="{FF2B5EF4-FFF2-40B4-BE49-F238E27FC236}">
                  <a16:creationId xmlns:a16="http://schemas.microsoft.com/office/drawing/2014/main" id="{F87C1505-B5AF-42C9-B7D7-CD181B9FFB3E}"/>
                </a:ext>
              </a:extLst>
            </p:cNvPr>
            <p:cNvSpPr/>
            <p:nvPr/>
          </p:nvSpPr>
          <p:spPr bwMode="ltGray">
            <a:xfrm>
              <a:off x="8447928"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55" name="Freeform 5004">
              <a:extLst>
                <a:ext uri="{FF2B5EF4-FFF2-40B4-BE49-F238E27FC236}">
                  <a16:creationId xmlns:a16="http://schemas.microsoft.com/office/drawing/2014/main" id="{8EF35515-4F6A-417D-8E3D-328EE4F5D416}"/>
                </a:ext>
              </a:extLst>
            </p:cNvPr>
            <p:cNvSpPr>
              <a:spLocks noEditPoints="1"/>
            </p:cNvSpPr>
            <p:nvPr/>
          </p:nvSpPr>
          <p:spPr bwMode="auto">
            <a:xfrm>
              <a:off x="8619018" y="5990482"/>
              <a:ext cx="269821" cy="457731"/>
            </a:xfrm>
            <a:custGeom>
              <a:avLst/>
              <a:gdLst>
                <a:gd name="T0" fmla="*/ 146 w 224"/>
                <a:gd name="T1" fmla="*/ 78 h 380"/>
                <a:gd name="T2" fmla="*/ 176 w 224"/>
                <a:gd name="T3" fmla="*/ 76 h 380"/>
                <a:gd name="T4" fmla="*/ 180 w 224"/>
                <a:gd name="T5" fmla="*/ 104 h 380"/>
                <a:gd name="T6" fmla="*/ 152 w 224"/>
                <a:gd name="T7" fmla="*/ 112 h 380"/>
                <a:gd name="T8" fmla="*/ 144 w 224"/>
                <a:gd name="T9" fmla="*/ 104 h 380"/>
                <a:gd name="T10" fmla="*/ 176 w 224"/>
                <a:gd name="T11" fmla="*/ 162 h 380"/>
                <a:gd name="T12" fmla="*/ 180 w 224"/>
                <a:gd name="T13" fmla="*/ 134 h 380"/>
                <a:gd name="T14" fmla="*/ 152 w 224"/>
                <a:gd name="T15" fmla="*/ 126 h 380"/>
                <a:gd name="T16" fmla="*/ 144 w 224"/>
                <a:gd name="T17" fmla="*/ 134 h 380"/>
                <a:gd name="T18" fmla="*/ 148 w 224"/>
                <a:gd name="T19" fmla="*/ 162 h 380"/>
                <a:gd name="T20" fmla="*/ 224 w 224"/>
                <a:gd name="T21" fmla="*/ 352 h 380"/>
                <a:gd name="T22" fmla="*/ 28 w 224"/>
                <a:gd name="T23" fmla="*/ 380 h 380"/>
                <a:gd name="T24" fmla="*/ 0 w 224"/>
                <a:gd name="T25" fmla="*/ 352 h 380"/>
                <a:gd name="T26" fmla="*/ 16 w 224"/>
                <a:gd name="T27" fmla="*/ 2 h 380"/>
                <a:gd name="T28" fmla="*/ 216 w 224"/>
                <a:gd name="T29" fmla="*/ 8 h 380"/>
                <a:gd name="T30" fmla="*/ 86 w 224"/>
                <a:gd name="T31" fmla="*/ 34 h 380"/>
                <a:gd name="T32" fmla="*/ 130 w 224"/>
                <a:gd name="T33" fmla="*/ 42 h 380"/>
                <a:gd name="T34" fmla="*/ 138 w 224"/>
                <a:gd name="T35" fmla="*/ 34 h 380"/>
                <a:gd name="T36" fmla="*/ 130 w 224"/>
                <a:gd name="T37" fmla="*/ 26 h 380"/>
                <a:gd name="T38" fmla="*/ 86 w 224"/>
                <a:gd name="T39" fmla="*/ 32 h 380"/>
                <a:gd name="T40" fmla="*/ 130 w 224"/>
                <a:gd name="T41" fmla="*/ 336 h 380"/>
                <a:gd name="T42" fmla="*/ 104 w 224"/>
                <a:gd name="T43" fmla="*/ 326 h 380"/>
                <a:gd name="T44" fmla="*/ 94 w 224"/>
                <a:gd name="T45" fmla="*/ 350 h 380"/>
                <a:gd name="T46" fmla="*/ 120 w 224"/>
                <a:gd name="T47" fmla="*/ 360 h 380"/>
                <a:gd name="T48" fmla="*/ 196 w 224"/>
                <a:gd name="T49" fmla="*/ 60 h 380"/>
                <a:gd name="T50" fmla="*/ 102 w 224"/>
                <a:gd name="T51" fmla="*/ 112 h 380"/>
                <a:gd name="T52" fmla="*/ 130 w 224"/>
                <a:gd name="T53" fmla="*/ 108 h 380"/>
                <a:gd name="T54" fmla="*/ 128 w 224"/>
                <a:gd name="T55" fmla="*/ 78 h 380"/>
                <a:gd name="T56" fmla="*/ 98 w 224"/>
                <a:gd name="T57" fmla="*/ 76 h 380"/>
                <a:gd name="T58" fmla="*/ 94 w 224"/>
                <a:gd name="T59" fmla="*/ 104 h 380"/>
                <a:gd name="T60" fmla="*/ 102 w 224"/>
                <a:gd name="T61" fmla="*/ 112 h 380"/>
                <a:gd name="T62" fmla="*/ 136 w 224"/>
                <a:gd name="T63" fmla="*/ 226 h 380"/>
                <a:gd name="T64" fmla="*/ 136 w 224"/>
                <a:gd name="T65" fmla="*/ 216 h 380"/>
                <a:gd name="T66" fmla="*/ 48 w 224"/>
                <a:gd name="T67" fmla="*/ 214 h 380"/>
                <a:gd name="T68" fmla="*/ 44 w 224"/>
                <a:gd name="T69" fmla="*/ 224 h 380"/>
                <a:gd name="T70" fmla="*/ 52 w 224"/>
                <a:gd name="T71" fmla="*/ 258 h 380"/>
                <a:gd name="T72" fmla="*/ 180 w 224"/>
                <a:gd name="T73" fmla="*/ 254 h 380"/>
                <a:gd name="T74" fmla="*/ 176 w 224"/>
                <a:gd name="T75" fmla="*/ 244 h 380"/>
                <a:gd name="T76" fmla="*/ 46 w 224"/>
                <a:gd name="T77" fmla="*/ 246 h 380"/>
                <a:gd name="T78" fmla="*/ 46 w 224"/>
                <a:gd name="T79" fmla="*/ 256 h 380"/>
                <a:gd name="T80" fmla="*/ 152 w 224"/>
                <a:gd name="T81" fmla="*/ 288 h 380"/>
                <a:gd name="T82" fmla="*/ 160 w 224"/>
                <a:gd name="T83" fmla="*/ 280 h 380"/>
                <a:gd name="T84" fmla="*/ 152 w 224"/>
                <a:gd name="T85" fmla="*/ 272 h 380"/>
                <a:gd name="T86" fmla="*/ 44 w 224"/>
                <a:gd name="T87" fmla="*/ 276 h 380"/>
                <a:gd name="T88" fmla="*/ 48 w 224"/>
                <a:gd name="T89" fmla="*/ 286 h 380"/>
                <a:gd name="T90" fmla="*/ 72 w 224"/>
                <a:gd name="T91" fmla="*/ 164 h 380"/>
                <a:gd name="T92" fmla="*/ 80 w 224"/>
                <a:gd name="T93" fmla="*/ 134 h 380"/>
                <a:gd name="T94" fmla="*/ 72 w 224"/>
                <a:gd name="T95" fmla="*/ 126 h 380"/>
                <a:gd name="T96" fmla="*/ 44 w 224"/>
                <a:gd name="T97" fmla="*/ 130 h 380"/>
                <a:gd name="T98" fmla="*/ 46 w 224"/>
                <a:gd name="T99" fmla="*/ 162 h 380"/>
                <a:gd name="T100" fmla="*/ 122 w 224"/>
                <a:gd name="T101" fmla="*/ 164 h 380"/>
                <a:gd name="T102" fmla="*/ 130 w 224"/>
                <a:gd name="T103" fmla="*/ 156 h 380"/>
                <a:gd name="T104" fmla="*/ 126 w 224"/>
                <a:gd name="T105" fmla="*/ 126 h 380"/>
                <a:gd name="T106" fmla="*/ 96 w 224"/>
                <a:gd name="T107" fmla="*/ 128 h 380"/>
                <a:gd name="T108" fmla="*/ 94 w 224"/>
                <a:gd name="T109" fmla="*/ 158 h 380"/>
                <a:gd name="T110" fmla="*/ 52 w 224"/>
                <a:gd name="T111" fmla="*/ 112 h 380"/>
                <a:gd name="T112" fmla="*/ 80 w 224"/>
                <a:gd name="T113" fmla="*/ 108 h 380"/>
                <a:gd name="T114" fmla="*/ 78 w 224"/>
                <a:gd name="T115" fmla="*/ 78 h 380"/>
                <a:gd name="T116" fmla="*/ 48 w 224"/>
                <a:gd name="T117" fmla="*/ 76 h 380"/>
                <a:gd name="T118" fmla="*/ 44 w 224"/>
                <a:gd name="T119" fmla="*/ 104 h 380"/>
                <a:gd name="T120" fmla="*/ 52 w 224"/>
                <a:gd name="T121" fmla="*/ 11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4" h="380">
                  <a:moveTo>
                    <a:pt x="144" y="104"/>
                  </a:moveTo>
                  <a:lnTo>
                    <a:pt x="144" y="82"/>
                  </a:lnTo>
                  <a:lnTo>
                    <a:pt x="144" y="82"/>
                  </a:lnTo>
                  <a:lnTo>
                    <a:pt x="144" y="80"/>
                  </a:lnTo>
                  <a:lnTo>
                    <a:pt x="146" y="78"/>
                  </a:lnTo>
                  <a:lnTo>
                    <a:pt x="148" y="76"/>
                  </a:lnTo>
                  <a:lnTo>
                    <a:pt x="152" y="74"/>
                  </a:lnTo>
                  <a:lnTo>
                    <a:pt x="172" y="74"/>
                  </a:lnTo>
                  <a:lnTo>
                    <a:pt x="172" y="74"/>
                  </a:lnTo>
                  <a:lnTo>
                    <a:pt x="176" y="76"/>
                  </a:lnTo>
                  <a:lnTo>
                    <a:pt x="178" y="78"/>
                  </a:lnTo>
                  <a:lnTo>
                    <a:pt x="180" y="80"/>
                  </a:lnTo>
                  <a:lnTo>
                    <a:pt x="180" y="82"/>
                  </a:lnTo>
                  <a:lnTo>
                    <a:pt x="180" y="104"/>
                  </a:lnTo>
                  <a:lnTo>
                    <a:pt x="180" y="104"/>
                  </a:lnTo>
                  <a:lnTo>
                    <a:pt x="180" y="108"/>
                  </a:lnTo>
                  <a:lnTo>
                    <a:pt x="178" y="110"/>
                  </a:lnTo>
                  <a:lnTo>
                    <a:pt x="176" y="112"/>
                  </a:lnTo>
                  <a:lnTo>
                    <a:pt x="172" y="112"/>
                  </a:lnTo>
                  <a:lnTo>
                    <a:pt x="152" y="112"/>
                  </a:lnTo>
                  <a:lnTo>
                    <a:pt x="152" y="112"/>
                  </a:lnTo>
                  <a:lnTo>
                    <a:pt x="148" y="112"/>
                  </a:lnTo>
                  <a:lnTo>
                    <a:pt x="146" y="110"/>
                  </a:lnTo>
                  <a:lnTo>
                    <a:pt x="144" y="108"/>
                  </a:lnTo>
                  <a:lnTo>
                    <a:pt x="144" y="104"/>
                  </a:lnTo>
                  <a:lnTo>
                    <a:pt x="144" y="104"/>
                  </a:lnTo>
                  <a:close/>
                  <a:moveTo>
                    <a:pt x="152" y="164"/>
                  </a:moveTo>
                  <a:lnTo>
                    <a:pt x="172" y="164"/>
                  </a:lnTo>
                  <a:lnTo>
                    <a:pt x="172" y="164"/>
                  </a:lnTo>
                  <a:lnTo>
                    <a:pt x="176" y="162"/>
                  </a:lnTo>
                  <a:lnTo>
                    <a:pt x="178" y="162"/>
                  </a:lnTo>
                  <a:lnTo>
                    <a:pt x="180" y="158"/>
                  </a:lnTo>
                  <a:lnTo>
                    <a:pt x="180" y="156"/>
                  </a:lnTo>
                  <a:lnTo>
                    <a:pt x="180" y="134"/>
                  </a:lnTo>
                  <a:lnTo>
                    <a:pt x="180" y="134"/>
                  </a:lnTo>
                  <a:lnTo>
                    <a:pt x="180" y="130"/>
                  </a:lnTo>
                  <a:lnTo>
                    <a:pt x="178" y="128"/>
                  </a:lnTo>
                  <a:lnTo>
                    <a:pt x="176" y="126"/>
                  </a:lnTo>
                  <a:lnTo>
                    <a:pt x="172" y="126"/>
                  </a:lnTo>
                  <a:lnTo>
                    <a:pt x="152" y="126"/>
                  </a:lnTo>
                  <a:lnTo>
                    <a:pt x="152" y="126"/>
                  </a:lnTo>
                  <a:lnTo>
                    <a:pt x="148" y="126"/>
                  </a:lnTo>
                  <a:lnTo>
                    <a:pt x="146" y="128"/>
                  </a:lnTo>
                  <a:lnTo>
                    <a:pt x="144" y="130"/>
                  </a:lnTo>
                  <a:lnTo>
                    <a:pt x="144" y="134"/>
                  </a:lnTo>
                  <a:lnTo>
                    <a:pt x="144" y="156"/>
                  </a:lnTo>
                  <a:lnTo>
                    <a:pt x="144" y="156"/>
                  </a:lnTo>
                  <a:lnTo>
                    <a:pt x="144" y="158"/>
                  </a:lnTo>
                  <a:lnTo>
                    <a:pt x="146" y="162"/>
                  </a:lnTo>
                  <a:lnTo>
                    <a:pt x="148" y="162"/>
                  </a:lnTo>
                  <a:lnTo>
                    <a:pt x="152" y="164"/>
                  </a:lnTo>
                  <a:lnTo>
                    <a:pt x="152" y="164"/>
                  </a:lnTo>
                  <a:close/>
                  <a:moveTo>
                    <a:pt x="224" y="28"/>
                  </a:moveTo>
                  <a:lnTo>
                    <a:pt x="224" y="352"/>
                  </a:lnTo>
                  <a:lnTo>
                    <a:pt x="224" y="352"/>
                  </a:lnTo>
                  <a:lnTo>
                    <a:pt x="222" y="364"/>
                  </a:lnTo>
                  <a:lnTo>
                    <a:pt x="216" y="372"/>
                  </a:lnTo>
                  <a:lnTo>
                    <a:pt x="208" y="378"/>
                  </a:lnTo>
                  <a:lnTo>
                    <a:pt x="196" y="380"/>
                  </a:lnTo>
                  <a:lnTo>
                    <a:pt x="28" y="380"/>
                  </a:lnTo>
                  <a:lnTo>
                    <a:pt x="28" y="380"/>
                  </a:lnTo>
                  <a:lnTo>
                    <a:pt x="16" y="378"/>
                  </a:lnTo>
                  <a:lnTo>
                    <a:pt x="8" y="372"/>
                  </a:lnTo>
                  <a:lnTo>
                    <a:pt x="2" y="364"/>
                  </a:lnTo>
                  <a:lnTo>
                    <a:pt x="0" y="352"/>
                  </a:lnTo>
                  <a:lnTo>
                    <a:pt x="0" y="28"/>
                  </a:lnTo>
                  <a:lnTo>
                    <a:pt x="0" y="28"/>
                  </a:lnTo>
                  <a:lnTo>
                    <a:pt x="2" y="16"/>
                  </a:lnTo>
                  <a:lnTo>
                    <a:pt x="8" y="8"/>
                  </a:lnTo>
                  <a:lnTo>
                    <a:pt x="16" y="2"/>
                  </a:lnTo>
                  <a:lnTo>
                    <a:pt x="28" y="0"/>
                  </a:lnTo>
                  <a:lnTo>
                    <a:pt x="196" y="0"/>
                  </a:lnTo>
                  <a:lnTo>
                    <a:pt x="196" y="0"/>
                  </a:lnTo>
                  <a:lnTo>
                    <a:pt x="208" y="2"/>
                  </a:lnTo>
                  <a:lnTo>
                    <a:pt x="216" y="8"/>
                  </a:lnTo>
                  <a:lnTo>
                    <a:pt x="222" y="16"/>
                  </a:lnTo>
                  <a:lnTo>
                    <a:pt x="224" y="28"/>
                  </a:lnTo>
                  <a:lnTo>
                    <a:pt x="224" y="28"/>
                  </a:lnTo>
                  <a:close/>
                  <a:moveTo>
                    <a:pt x="86" y="34"/>
                  </a:moveTo>
                  <a:lnTo>
                    <a:pt x="86" y="34"/>
                  </a:lnTo>
                  <a:lnTo>
                    <a:pt x="86" y="38"/>
                  </a:lnTo>
                  <a:lnTo>
                    <a:pt x="88" y="40"/>
                  </a:lnTo>
                  <a:lnTo>
                    <a:pt x="90" y="42"/>
                  </a:lnTo>
                  <a:lnTo>
                    <a:pt x="94" y="42"/>
                  </a:lnTo>
                  <a:lnTo>
                    <a:pt x="130" y="42"/>
                  </a:lnTo>
                  <a:lnTo>
                    <a:pt x="130" y="42"/>
                  </a:lnTo>
                  <a:lnTo>
                    <a:pt x="134" y="42"/>
                  </a:lnTo>
                  <a:lnTo>
                    <a:pt x="136" y="40"/>
                  </a:lnTo>
                  <a:lnTo>
                    <a:pt x="138" y="38"/>
                  </a:lnTo>
                  <a:lnTo>
                    <a:pt x="138" y="34"/>
                  </a:lnTo>
                  <a:lnTo>
                    <a:pt x="138" y="34"/>
                  </a:lnTo>
                  <a:lnTo>
                    <a:pt x="138" y="32"/>
                  </a:lnTo>
                  <a:lnTo>
                    <a:pt x="136" y="28"/>
                  </a:lnTo>
                  <a:lnTo>
                    <a:pt x="134" y="28"/>
                  </a:lnTo>
                  <a:lnTo>
                    <a:pt x="130" y="26"/>
                  </a:lnTo>
                  <a:lnTo>
                    <a:pt x="94" y="26"/>
                  </a:lnTo>
                  <a:lnTo>
                    <a:pt x="94" y="26"/>
                  </a:lnTo>
                  <a:lnTo>
                    <a:pt x="90" y="28"/>
                  </a:lnTo>
                  <a:lnTo>
                    <a:pt x="88" y="28"/>
                  </a:lnTo>
                  <a:lnTo>
                    <a:pt x="86" y="32"/>
                  </a:lnTo>
                  <a:lnTo>
                    <a:pt x="86" y="34"/>
                  </a:lnTo>
                  <a:lnTo>
                    <a:pt x="86" y="34"/>
                  </a:lnTo>
                  <a:close/>
                  <a:moveTo>
                    <a:pt x="130" y="344"/>
                  </a:moveTo>
                  <a:lnTo>
                    <a:pt x="130" y="344"/>
                  </a:lnTo>
                  <a:lnTo>
                    <a:pt x="130" y="336"/>
                  </a:lnTo>
                  <a:lnTo>
                    <a:pt x="126" y="330"/>
                  </a:lnTo>
                  <a:lnTo>
                    <a:pt x="120" y="326"/>
                  </a:lnTo>
                  <a:lnTo>
                    <a:pt x="112" y="324"/>
                  </a:lnTo>
                  <a:lnTo>
                    <a:pt x="112" y="324"/>
                  </a:lnTo>
                  <a:lnTo>
                    <a:pt x="104" y="326"/>
                  </a:lnTo>
                  <a:lnTo>
                    <a:pt x="98" y="330"/>
                  </a:lnTo>
                  <a:lnTo>
                    <a:pt x="94" y="336"/>
                  </a:lnTo>
                  <a:lnTo>
                    <a:pt x="94" y="344"/>
                  </a:lnTo>
                  <a:lnTo>
                    <a:pt x="94" y="344"/>
                  </a:lnTo>
                  <a:lnTo>
                    <a:pt x="94" y="350"/>
                  </a:lnTo>
                  <a:lnTo>
                    <a:pt x="98" y="356"/>
                  </a:lnTo>
                  <a:lnTo>
                    <a:pt x="104" y="360"/>
                  </a:lnTo>
                  <a:lnTo>
                    <a:pt x="112" y="362"/>
                  </a:lnTo>
                  <a:lnTo>
                    <a:pt x="112" y="362"/>
                  </a:lnTo>
                  <a:lnTo>
                    <a:pt x="120" y="360"/>
                  </a:lnTo>
                  <a:lnTo>
                    <a:pt x="126" y="356"/>
                  </a:lnTo>
                  <a:lnTo>
                    <a:pt x="130" y="350"/>
                  </a:lnTo>
                  <a:lnTo>
                    <a:pt x="130" y="344"/>
                  </a:lnTo>
                  <a:lnTo>
                    <a:pt x="130" y="344"/>
                  </a:lnTo>
                  <a:close/>
                  <a:moveTo>
                    <a:pt x="196" y="60"/>
                  </a:moveTo>
                  <a:lnTo>
                    <a:pt x="28" y="60"/>
                  </a:lnTo>
                  <a:lnTo>
                    <a:pt x="28" y="308"/>
                  </a:lnTo>
                  <a:lnTo>
                    <a:pt x="196" y="308"/>
                  </a:lnTo>
                  <a:lnTo>
                    <a:pt x="196" y="60"/>
                  </a:lnTo>
                  <a:close/>
                  <a:moveTo>
                    <a:pt x="102" y="112"/>
                  </a:moveTo>
                  <a:lnTo>
                    <a:pt x="122" y="112"/>
                  </a:lnTo>
                  <a:lnTo>
                    <a:pt x="122" y="112"/>
                  </a:lnTo>
                  <a:lnTo>
                    <a:pt x="126" y="112"/>
                  </a:lnTo>
                  <a:lnTo>
                    <a:pt x="128" y="110"/>
                  </a:lnTo>
                  <a:lnTo>
                    <a:pt x="130" y="108"/>
                  </a:lnTo>
                  <a:lnTo>
                    <a:pt x="130" y="104"/>
                  </a:lnTo>
                  <a:lnTo>
                    <a:pt x="130" y="82"/>
                  </a:lnTo>
                  <a:lnTo>
                    <a:pt x="130" y="82"/>
                  </a:lnTo>
                  <a:lnTo>
                    <a:pt x="130" y="80"/>
                  </a:lnTo>
                  <a:lnTo>
                    <a:pt x="128" y="78"/>
                  </a:lnTo>
                  <a:lnTo>
                    <a:pt x="126" y="76"/>
                  </a:lnTo>
                  <a:lnTo>
                    <a:pt x="122" y="74"/>
                  </a:lnTo>
                  <a:lnTo>
                    <a:pt x="102" y="74"/>
                  </a:lnTo>
                  <a:lnTo>
                    <a:pt x="102" y="74"/>
                  </a:lnTo>
                  <a:lnTo>
                    <a:pt x="98" y="76"/>
                  </a:lnTo>
                  <a:lnTo>
                    <a:pt x="96" y="78"/>
                  </a:lnTo>
                  <a:lnTo>
                    <a:pt x="94" y="80"/>
                  </a:lnTo>
                  <a:lnTo>
                    <a:pt x="94" y="82"/>
                  </a:lnTo>
                  <a:lnTo>
                    <a:pt x="94" y="104"/>
                  </a:lnTo>
                  <a:lnTo>
                    <a:pt x="94" y="104"/>
                  </a:lnTo>
                  <a:lnTo>
                    <a:pt x="94" y="108"/>
                  </a:lnTo>
                  <a:lnTo>
                    <a:pt x="96" y="110"/>
                  </a:lnTo>
                  <a:lnTo>
                    <a:pt x="98" y="112"/>
                  </a:lnTo>
                  <a:lnTo>
                    <a:pt x="102" y="112"/>
                  </a:lnTo>
                  <a:lnTo>
                    <a:pt x="102" y="112"/>
                  </a:lnTo>
                  <a:close/>
                  <a:moveTo>
                    <a:pt x="52" y="228"/>
                  </a:moveTo>
                  <a:lnTo>
                    <a:pt x="130" y="228"/>
                  </a:lnTo>
                  <a:lnTo>
                    <a:pt x="130" y="228"/>
                  </a:lnTo>
                  <a:lnTo>
                    <a:pt x="134" y="228"/>
                  </a:lnTo>
                  <a:lnTo>
                    <a:pt x="136" y="226"/>
                  </a:lnTo>
                  <a:lnTo>
                    <a:pt x="138" y="224"/>
                  </a:lnTo>
                  <a:lnTo>
                    <a:pt x="138" y="220"/>
                  </a:lnTo>
                  <a:lnTo>
                    <a:pt x="138" y="220"/>
                  </a:lnTo>
                  <a:lnTo>
                    <a:pt x="138" y="218"/>
                  </a:lnTo>
                  <a:lnTo>
                    <a:pt x="136" y="216"/>
                  </a:lnTo>
                  <a:lnTo>
                    <a:pt x="134" y="214"/>
                  </a:lnTo>
                  <a:lnTo>
                    <a:pt x="130" y="212"/>
                  </a:lnTo>
                  <a:lnTo>
                    <a:pt x="52" y="212"/>
                  </a:lnTo>
                  <a:lnTo>
                    <a:pt x="52" y="212"/>
                  </a:lnTo>
                  <a:lnTo>
                    <a:pt x="48" y="214"/>
                  </a:lnTo>
                  <a:lnTo>
                    <a:pt x="46" y="216"/>
                  </a:lnTo>
                  <a:lnTo>
                    <a:pt x="44" y="218"/>
                  </a:lnTo>
                  <a:lnTo>
                    <a:pt x="44" y="220"/>
                  </a:lnTo>
                  <a:lnTo>
                    <a:pt x="44" y="220"/>
                  </a:lnTo>
                  <a:lnTo>
                    <a:pt x="44" y="224"/>
                  </a:lnTo>
                  <a:lnTo>
                    <a:pt x="46" y="226"/>
                  </a:lnTo>
                  <a:lnTo>
                    <a:pt x="48" y="228"/>
                  </a:lnTo>
                  <a:lnTo>
                    <a:pt x="52" y="228"/>
                  </a:lnTo>
                  <a:lnTo>
                    <a:pt x="52" y="228"/>
                  </a:lnTo>
                  <a:close/>
                  <a:moveTo>
                    <a:pt x="52" y="258"/>
                  </a:moveTo>
                  <a:lnTo>
                    <a:pt x="172" y="258"/>
                  </a:lnTo>
                  <a:lnTo>
                    <a:pt x="172" y="258"/>
                  </a:lnTo>
                  <a:lnTo>
                    <a:pt x="176" y="258"/>
                  </a:lnTo>
                  <a:lnTo>
                    <a:pt x="178" y="256"/>
                  </a:lnTo>
                  <a:lnTo>
                    <a:pt x="180" y="254"/>
                  </a:lnTo>
                  <a:lnTo>
                    <a:pt x="180" y="250"/>
                  </a:lnTo>
                  <a:lnTo>
                    <a:pt x="180" y="250"/>
                  </a:lnTo>
                  <a:lnTo>
                    <a:pt x="180" y="248"/>
                  </a:lnTo>
                  <a:lnTo>
                    <a:pt x="178" y="246"/>
                  </a:lnTo>
                  <a:lnTo>
                    <a:pt x="176" y="244"/>
                  </a:lnTo>
                  <a:lnTo>
                    <a:pt x="172" y="242"/>
                  </a:lnTo>
                  <a:lnTo>
                    <a:pt x="52" y="242"/>
                  </a:lnTo>
                  <a:lnTo>
                    <a:pt x="52" y="242"/>
                  </a:lnTo>
                  <a:lnTo>
                    <a:pt x="48" y="244"/>
                  </a:lnTo>
                  <a:lnTo>
                    <a:pt x="46" y="246"/>
                  </a:lnTo>
                  <a:lnTo>
                    <a:pt x="44" y="248"/>
                  </a:lnTo>
                  <a:lnTo>
                    <a:pt x="44" y="250"/>
                  </a:lnTo>
                  <a:lnTo>
                    <a:pt x="44" y="250"/>
                  </a:lnTo>
                  <a:lnTo>
                    <a:pt x="44" y="254"/>
                  </a:lnTo>
                  <a:lnTo>
                    <a:pt x="46" y="256"/>
                  </a:lnTo>
                  <a:lnTo>
                    <a:pt x="48" y="258"/>
                  </a:lnTo>
                  <a:lnTo>
                    <a:pt x="52" y="258"/>
                  </a:lnTo>
                  <a:lnTo>
                    <a:pt x="52" y="258"/>
                  </a:lnTo>
                  <a:close/>
                  <a:moveTo>
                    <a:pt x="52" y="288"/>
                  </a:moveTo>
                  <a:lnTo>
                    <a:pt x="152" y="288"/>
                  </a:lnTo>
                  <a:lnTo>
                    <a:pt x="152" y="288"/>
                  </a:lnTo>
                  <a:lnTo>
                    <a:pt x="154" y="286"/>
                  </a:lnTo>
                  <a:lnTo>
                    <a:pt x="156" y="286"/>
                  </a:lnTo>
                  <a:lnTo>
                    <a:pt x="158" y="282"/>
                  </a:lnTo>
                  <a:lnTo>
                    <a:pt x="160" y="280"/>
                  </a:lnTo>
                  <a:lnTo>
                    <a:pt x="160" y="280"/>
                  </a:lnTo>
                  <a:lnTo>
                    <a:pt x="158" y="276"/>
                  </a:lnTo>
                  <a:lnTo>
                    <a:pt x="156" y="274"/>
                  </a:lnTo>
                  <a:lnTo>
                    <a:pt x="154" y="272"/>
                  </a:lnTo>
                  <a:lnTo>
                    <a:pt x="152" y="272"/>
                  </a:lnTo>
                  <a:lnTo>
                    <a:pt x="52" y="272"/>
                  </a:lnTo>
                  <a:lnTo>
                    <a:pt x="52" y="272"/>
                  </a:lnTo>
                  <a:lnTo>
                    <a:pt x="48" y="272"/>
                  </a:lnTo>
                  <a:lnTo>
                    <a:pt x="46" y="274"/>
                  </a:lnTo>
                  <a:lnTo>
                    <a:pt x="44" y="276"/>
                  </a:lnTo>
                  <a:lnTo>
                    <a:pt x="44" y="280"/>
                  </a:lnTo>
                  <a:lnTo>
                    <a:pt x="44" y="280"/>
                  </a:lnTo>
                  <a:lnTo>
                    <a:pt x="44" y="282"/>
                  </a:lnTo>
                  <a:lnTo>
                    <a:pt x="46" y="286"/>
                  </a:lnTo>
                  <a:lnTo>
                    <a:pt x="48" y="286"/>
                  </a:lnTo>
                  <a:lnTo>
                    <a:pt x="52" y="288"/>
                  </a:lnTo>
                  <a:lnTo>
                    <a:pt x="52" y="288"/>
                  </a:lnTo>
                  <a:close/>
                  <a:moveTo>
                    <a:pt x="52" y="164"/>
                  </a:moveTo>
                  <a:lnTo>
                    <a:pt x="72" y="164"/>
                  </a:lnTo>
                  <a:lnTo>
                    <a:pt x="72" y="164"/>
                  </a:lnTo>
                  <a:lnTo>
                    <a:pt x="76" y="162"/>
                  </a:lnTo>
                  <a:lnTo>
                    <a:pt x="78" y="162"/>
                  </a:lnTo>
                  <a:lnTo>
                    <a:pt x="80" y="158"/>
                  </a:lnTo>
                  <a:lnTo>
                    <a:pt x="80" y="156"/>
                  </a:lnTo>
                  <a:lnTo>
                    <a:pt x="80" y="134"/>
                  </a:lnTo>
                  <a:lnTo>
                    <a:pt x="80" y="134"/>
                  </a:lnTo>
                  <a:lnTo>
                    <a:pt x="80" y="130"/>
                  </a:lnTo>
                  <a:lnTo>
                    <a:pt x="78" y="128"/>
                  </a:lnTo>
                  <a:lnTo>
                    <a:pt x="76" y="126"/>
                  </a:lnTo>
                  <a:lnTo>
                    <a:pt x="72" y="126"/>
                  </a:lnTo>
                  <a:lnTo>
                    <a:pt x="52" y="126"/>
                  </a:lnTo>
                  <a:lnTo>
                    <a:pt x="52" y="126"/>
                  </a:lnTo>
                  <a:lnTo>
                    <a:pt x="48" y="126"/>
                  </a:lnTo>
                  <a:lnTo>
                    <a:pt x="46" y="128"/>
                  </a:lnTo>
                  <a:lnTo>
                    <a:pt x="44" y="130"/>
                  </a:lnTo>
                  <a:lnTo>
                    <a:pt x="44" y="134"/>
                  </a:lnTo>
                  <a:lnTo>
                    <a:pt x="44" y="156"/>
                  </a:lnTo>
                  <a:lnTo>
                    <a:pt x="44" y="156"/>
                  </a:lnTo>
                  <a:lnTo>
                    <a:pt x="44" y="158"/>
                  </a:lnTo>
                  <a:lnTo>
                    <a:pt x="46" y="162"/>
                  </a:lnTo>
                  <a:lnTo>
                    <a:pt x="48" y="162"/>
                  </a:lnTo>
                  <a:lnTo>
                    <a:pt x="52" y="164"/>
                  </a:lnTo>
                  <a:lnTo>
                    <a:pt x="52" y="164"/>
                  </a:lnTo>
                  <a:close/>
                  <a:moveTo>
                    <a:pt x="102" y="164"/>
                  </a:moveTo>
                  <a:lnTo>
                    <a:pt x="122" y="164"/>
                  </a:lnTo>
                  <a:lnTo>
                    <a:pt x="122" y="164"/>
                  </a:lnTo>
                  <a:lnTo>
                    <a:pt x="126" y="162"/>
                  </a:lnTo>
                  <a:lnTo>
                    <a:pt x="128" y="162"/>
                  </a:lnTo>
                  <a:lnTo>
                    <a:pt x="130" y="158"/>
                  </a:lnTo>
                  <a:lnTo>
                    <a:pt x="130" y="156"/>
                  </a:lnTo>
                  <a:lnTo>
                    <a:pt x="130" y="134"/>
                  </a:lnTo>
                  <a:lnTo>
                    <a:pt x="130" y="134"/>
                  </a:lnTo>
                  <a:lnTo>
                    <a:pt x="130" y="130"/>
                  </a:lnTo>
                  <a:lnTo>
                    <a:pt x="128" y="128"/>
                  </a:lnTo>
                  <a:lnTo>
                    <a:pt x="126" y="126"/>
                  </a:lnTo>
                  <a:lnTo>
                    <a:pt x="122" y="126"/>
                  </a:lnTo>
                  <a:lnTo>
                    <a:pt x="102" y="126"/>
                  </a:lnTo>
                  <a:lnTo>
                    <a:pt x="102" y="126"/>
                  </a:lnTo>
                  <a:lnTo>
                    <a:pt x="98" y="126"/>
                  </a:lnTo>
                  <a:lnTo>
                    <a:pt x="96" y="128"/>
                  </a:lnTo>
                  <a:lnTo>
                    <a:pt x="94" y="130"/>
                  </a:lnTo>
                  <a:lnTo>
                    <a:pt x="94" y="134"/>
                  </a:lnTo>
                  <a:lnTo>
                    <a:pt x="94" y="156"/>
                  </a:lnTo>
                  <a:lnTo>
                    <a:pt x="94" y="156"/>
                  </a:lnTo>
                  <a:lnTo>
                    <a:pt x="94" y="158"/>
                  </a:lnTo>
                  <a:lnTo>
                    <a:pt x="96" y="162"/>
                  </a:lnTo>
                  <a:lnTo>
                    <a:pt x="98" y="162"/>
                  </a:lnTo>
                  <a:lnTo>
                    <a:pt x="102" y="164"/>
                  </a:lnTo>
                  <a:lnTo>
                    <a:pt x="102" y="164"/>
                  </a:lnTo>
                  <a:close/>
                  <a:moveTo>
                    <a:pt x="52" y="112"/>
                  </a:moveTo>
                  <a:lnTo>
                    <a:pt x="72" y="112"/>
                  </a:lnTo>
                  <a:lnTo>
                    <a:pt x="72" y="112"/>
                  </a:lnTo>
                  <a:lnTo>
                    <a:pt x="76" y="112"/>
                  </a:lnTo>
                  <a:lnTo>
                    <a:pt x="78" y="110"/>
                  </a:lnTo>
                  <a:lnTo>
                    <a:pt x="80" y="108"/>
                  </a:lnTo>
                  <a:lnTo>
                    <a:pt x="80" y="104"/>
                  </a:lnTo>
                  <a:lnTo>
                    <a:pt x="80" y="82"/>
                  </a:lnTo>
                  <a:lnTo>
                    <a:pt x="80" y="82"/>
                  </a:lnTo>
                  <a:lnTo>
                    <a:pt x="80" y="80"/>
                  </a:lnTo>
                  <a:lnTo>
                    <a:pt x="78" y="78"/>
                  </a:lnTo>
                  <a:lnTo>
                    <a:pt x="76" y="76"/>
                  </a:lnTo>
                  <a:lnTo>
                    <a:pt x="72" y="74"/>
                  </a:lnTo>
                  <a:lnTo>
                    <a:pt x="52" y="74"/>
                  </a:lnTo>
                  <a:lnTo>
                    <a:pt x="52" y="74"/>
                  </a:lnTo>
                  <a:lnTo>
                    <a:pt x="48" y="76"/>
                  </a:lnTo>
                  <a:lnTo>
                    <a:pt x="46" y="78"/>
                  </a:lnTo>
                  <a:lnTo>
                    <a:pt x="44" y="80"/>
                  </a:lnTo>
                  <a:lnTo>
                    <a:pt x="44" y="82"/>
                  </a:lnTo>
                  <a:lnTo>
                    <a:pt x="44" y="104"/>
                  </a:lnTo>
                  <a:lnTo>
                    <a:pt x="44" y="104"/>
                  </a:lnTo>
                  <a:lnTo>
                    <a:pt x="44" y="108"/>
                  </a:lnTo>
                  <a:lnTo>
                    <a:pt x="46" y="110"/>
                  </a:lnTo>
                  <a:lnTo>
                    <a:pt x="48" y="112"/>
                  </a:lnTo>
                  <a:lnTo>
                    <a:pt x="52" y="112"/>
                  </a:lnTo>
                  <a:lnTo>
                    <a:pt x="52" y="112"/>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56" name="Group 155">
            <a:extLst>
              <a:ext uri="{FF2B5EF4-FFF2-40B4-BE49-F238E27FC236}">
                <a16:creationId xmlns:a16="http://schemas.microsoft.com/office/drawing/2014/main" id="{A7A5D2A0-6225-4A99-B380-E5E37FF6FAE5}"/>
              </a:ext>
            </a:extLst>
          </p:cNvPr>
          <p:cNvGrpSpPr/>
          <p:nvPr/>
        </p:nvGrpSpPr>
        <p:grpSpPr>
          <a:xfrm>
            <a:off x="9814174" y="5136080"/>
            <a:ext cx="612000" cy="612000"/>
            <a:chOff x="9322641" y="5907019"/>
            <a:chExt cx="612000" cy="612000"/>
          </a:xfrm>
        </p:grpSpPr>
        <p:sp>
          <p:nvSpPr>
            <p:cNvPr id="157" name="Oval 156">
              <a:extLst>
                <a:ext uri="{FF2B5EF4-FFF2-40B4-BE49-F238E27FC236}">
                  <a16:creationId xmlns:a16="http://schemas.microsoft.com/office/drawing/2014/main" id="{2408C423-99EE-4EAD-B8E1-B24932A69DB9}"/>
                </a:ext>
              </a:extLst>
            </p:cNvPr>
            <p:cNvSpPr/>
            <p:nvPr/>
          </p:nvSpPr>
          <p:spPr bwMode="ltGray">
            <a:xfrm>
              <a:off x="9322641" y="5907019"/>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58" name="Freeform 5014">
              <a:extLst>
                <a:ext uri="{FF2B5EF4-FFF2-40B4-BE49-F238E27FC236}">
                  <a16:creationId xmlns:a16="http://schemas.microsoft.com/office/drawing/2014/main" id="{72E69542-6418-4A75-B8BC-3C8922D1C871}"/>
                </a:ext>
              </a:extLst>
            </p:cNvPr>
            <p:cNvSpPr>
              <a:spLocks noEditPoints="1"/>
            </p:cNvSpPr>
            <p:nvPr/>
          </p:nvSpPr>
          <p:spPr bwMode="auto">
            <a:xfrm>
              <a:off x="9411821" y="6045356"/>
              <a:ext cx="433640" cy="334866"/>
            </a:xfrm>
            <a:custGeom>
              <a:avLst/>
              <a:gdLst>
                <a:gd name="T0" fmla="*/ 360 w 360"/>
                <a:gd name="T1" fmla="*/ 256 h 278"/>
                <a:gd name="T2" fmla="*/ 360 w 360"/>
                <a:gd name="T3" fmla="*/ 252 h 278"/>
                <a:gd name="T4" fmla="*/ 358 w 360"/>
                <a:gd name="T5" fmla="*/ 252 h 278"/>
                <a:gd name="T6" fmla="*/ 318 w 360"/>
                <a:gd name="T7" fmla="*/ 200 h 278"/>
                <a:gd name="T8" fmla="*/ 314 w 360"/>
                <a:gd name="T9" fmla="*/ 198 h 278"/>
                <a:gd name="T10" fmla="*/ 50 w 360"/>
                <a:gd name="T11" fmla="*/ 196 h 278"/>
                <a:gd name="T12" fmla="*/ 46 w 360"/>
                <a:gd name="T13" fmla="*/ 198 h 278"/>
                <a:gd name="T14" fmla="*/ 2 w 360"/>
                <a:gd name="T15" fmla="*/ 250 h 278"/>
                <a:gd name="T16" fmla="*/ 2 w 360"/>
                <a:gd name="T17" fmla="*/ 252 h 278"/>
                <a:gd name="T18" fmla="*/ 0 w 360"/>
                <a:gd name="T19" fmla="*/ 252 h 278"/>
                <a:gd name="T20" fmla="*/ 0 w 360"/>
                <a:gd name="T21" fmla="*/ 256 h 278"/>
                <a:gd name="T22" fmla="*/ 0 w 360"/>
                <a:gd name="T23" fmla="*/ 256 h 278"/>
                <a:gd name="T24" fmla="*/ 0 w 360"/>
                <a:gd name="T25" fmla="*/ 268 h 278"/>
                <a:gd name="T26" fmla="*/ 4 w 360"/>
                <a:gd name="T27" fmla="*/ 276 h 278"/>
                <a:gd name="T28" fmla="*/ 10 w 360"/>
                <a:gd name="T29" fmla="*/ 278 h 278"/>
                <a:gd name="T30" fmla="*/ 350 w 360"/>
                <a:gd name="T31" fmla="*/ 278 h 278"/>
                <a:gd name="T32" fmla="*/ 356 w 360"/>
                <a:gd name="T33" fmla="*/ 276 h 278"/>
                <a:gd name="T34" fmla="*/ 360 w 360"/>
                <a:gd name="T35" fmla="*/ 268 h 278"/>
                <a:gd name="T36" fmla="*/ 360 w 360"/>
                <a:gd name="T37" fmla="*/ 256 h 278"/>
                <a:gd name="T38" fmla="*/ 360 w 360"/>
                <a:gd name="T39" fmla="*/ 256 h 278"/>
                <a:gd name="T40" fmla="*/ 146 w 360"/>
                <a:gd name="T41" fmla="*/ 234 h 278"/>
                <a:gd name="T42" fmla="*/ 226 w 360"/>
                <a:gd name="T43" fmla="*/ 254 h 278"/>
                <a:gd name="T44" fmla="*/ 338 w 360"/>
                <a:gd name="T45" fmla="*/ 268 h 278"/>
                <a:gd name="T46" fmla="*/ 334 w 360"/>
                <a:gd name="T47" fmla="*/ 270 h 278"/>
                <a:gd name="T48" fmla="*/ 332 w 360"/>
                <a:gd name="T49" fmla="*/ 270 h 278"/>
                <a:gd name="T50" fmla="*/ 326 w 360"/>
                <a:gd name="T51" fmla="*/ 268 h 278"/>
                <a:gd name="T52" fmla="*/ 324 w 360"/>
                <a:gd name="T53" fmla="*/ 262 h 278"/>
                <a:gd name="T54" fmla="*/ 326 w 360"/>
                <a:gd name="T55" fmla="*/ 256 h 278"/>
                <a:gd name="T56" fmla="*/ 328 w 360"/>
                <a:gd name="T57" fmla="*/ 256 h 278"/>
                <a:gd name="T58" fmla="*/ 334 w 360"/>
                <a:gd name="T59" fmla="*/ 256 h 278"/>
                <a:gd name="T60" fmla="*/ 338 w 360"/>
                <a:gd name="T61" fmla="*/ 256 h 278"/>
                <a:gd name="T62" fmla="*/ 340 w 360"/>
                <a:gd name="T63" fmla="*/ 262 h 278"/>
                <a:gd name="T64" fmla="*/ 340 w 360"/>
                <a:gd name="T65" fmla="*/ 266 h 278"/>
                <a:gd name="T66" fmla="*/ 338 w 360"/>
                <a:gd name="T67" fmla="*/ 268 h 278"/>
                <a:gd name="T68" fmla="*/ 306 w 360"/>
                <a:gd name="T69" fmla="*/ 184 h 278"/>
                <a:gd name="T70" fmla="*/ 310 w 360"/>
                <a:gd name="T71" fmla="*/ 184 h 278"/>
                <a:gd name="T72" fmla="*/ 318 w 360"/>
                <a:gd name="T73" fmla="*/ 178 h 278"/>
                <a:gd name="T74" fmla="*/ 318 w 360"/>
                <a:gd name="T75" fmla="*/ 12 h 278"/>
                <a:gd name="T76" fmla="*/ 318 w 360"/>
                <a:gd name="T77" fmla="*/ 6 h 278"/>
                <a:gd name="T78" fmla="*/ 310 w 360"/>
                <a:gd name="T79" fmla="*/ 0 h 278"/>
                <a:gd name="T80" fmla="*/ 54 w 360"/>
                <a:gd name="T81" fmla="*/ 0 h 278"/>
                <a:gd name="T82" fmla="*/ 50 w 360"/>
                <a:gd name="T83" fmla="*/ 0 h 278"/>
                <a:gd name="T84" fmla="*/ 42 w 360"/>
                <a:gd name="T85" fmla="*/ 6 h 278"/>
                <a:gd name="T86" fmla="*/ 42 w 360"/>
                <a:gd name="T87" fmla="*/ 172 h 278"/>
                <a:gd name="T88" fmla="*/ 42 w 360"/>
                <a:gd name="T89" fmla="*/ 178 h 278"/>
                <a:gd name="T90" fmla="*/ 50 w 360"/>
                <a:gd name="T91" fmla="*/ 184 h 278"/>
                <a:gd name="T92" fmla="*/ 54 w 360"/>
                <a:gd name="T93" fmla="*/ 184 h 278"/>
                <a:gd name="T94" fmla="*/ 294 w 360"/>
                <a:gd name="T95" fmla="*/ 24 h 278"/>
                <a:gd name="T96" fmla="*/ 66 w 360"/>
                <a:gd name="T97" fmla="*/ 16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60" h="278">
                  <a:moveTo>
                    <a:pt x="360" y="256"/>
                  </a:moveTo>
                  <a:lnTo>
                    <a:pt x="360" y="256"/>
                  </a:lnTo>
                  <a:lnTo>
                    <a:pt x="360" y="252"/>
                  </a:lnTo>
                  <a:lnTo>
                    <a:pt x="360" y="252"/>
                  </a:lnTo>
                  <a:lnTo>
                    <a:pt x="358" y="252"/>
                  </a:lnTo>
                  <a:lnTo>
                    <a:pt x="358" y="252"/>
                  </a:lnTo>
                  <a:lnTo>
                    <a:pt x="358" y="250"/>
                  </a:lnTo>
                  <a:lnTo>
                    <a:pt x="318" y="200"/>
                  </a:lnTo>
                  <a:lnTo>
                    <a:pt x="318" y="200"/>
                  </a:lnTo>
                  <a:lnTo>
                    <a:pt x="314" y="198"/>
                  </a:lnTo>
                  <a:lnTo>
                    <a:pt x="310" y="196"/>
                  </a:lnTo>
                  <a:lnTo>
                    <a:pt x="50" y="196"/>
                  </a:lnTo>
                  <a:lnTo>
                    <a:pt x="50" y="196"/>
                  </a:lnTo>
                  <a:lnTo>
                    <a:pt x="46" y="198"/>
                  </a:lnTo>
                  <a:lnTo>
                    <a:pt x="42" y="200"/>
                  </a:lnTo>
                  <a:lnTo>
                    <a:pt x="2" y="250"/>
                  </a:lnTo>
                  <a:lnTo>
                    <a:pt x="2" y="250"/>
                  </a:lnTo>
                  <a:lnTo>
                    <a:pt x="2" y="252"/>
                  </a:lnTo>
                  <a:lnTo>
                    <a:pt x="2" y="252"/>
                  </a:lnTo>
                  <a:lnTo>
                    <a:pt x="0" y="252"/>
                  </a:lnTo>
                  <a:lnTo>
                    <a:pt x="0" y="252"/>
                  </a:lnTo>
                  <a:lnTo>
                    <a:pt x="0" y="256"/>
                  </a:lnTo>
                  <a:lnTo>
                    <a:pt x="0" y="256"/>
                  </a:lnTo>
                  <a:lnTo>
                    <a:pt x="0" y="256"/>
                  </a:lnTo>
                  <a:lnTo>
                    <a:pt x="0" y="268"/>
                  </a:lnTo>
                  <a:lnTo>
                    <a:pt x="0" y="268"/>
                  </a:lnTo>
                  <a:lnTo>
                    <a:pt x="0" y="272"/>
                  </a:lnTo>
                  <a:lnTo>
                    <a:pt x="4" y="276"/>
                  </a:lnTo>
                  <a:lnTo>
                    <a:pt x="6" y="278"/>
                  </a:lnTo>
                  <a:lnTo>
                    <a:pt x="10" y="278"/>
                  </a:lnTo>
                  <a:lnTo>
                    <a:pt x="350" y="278"/>
                  </a:lnTo>
                  <a:lnTo>
                    <a:pt x="350" y="278"/>
                  </a:lnTo>
                  <a:lnTo>
                    <a:pt x="354" y="278"/>
                  </a:lnTo>
                  <a:lnTo>
                    <a:pt x="356" y="276"/>
                  </a:lnTo>
                  <a:lnTo>
                    <a:pt x="360" y="272"/>
                  </a:lnTo>
                  <a:lnTo>
                    <a:pt x="360" y="268"/>
                  </a:lnTo>
                  <a:lnTo>
                    <a:pt x="360" y="256"/>
                  </a:lnTo>
                  <a:lnTo>
                    <a:pt x="360" y="256"/>
                  </a:lnTo>
                  <a:lnTo>
                    <a:pt x="360" y="256"/>
                  </a:lnTo>
                  <a:lnTo>
                    <a:pt x="360" y="256"/>
                  </a:lnTo>
                  <a:close/>
                  <a:moveTo>
                    <a:pt x="134" y="254"/>
                  </a:moveTo>
                  <a:lnTo>
                    <a:pt x="146" y="234"/>
                  </a:lnTo>
                  <a:lnTo>
                    <a:pt x="214" y="234"/>
                  </a:lnTo>
                  <a:lnTo>
                    <a:pt x="226" y="254"/>
                  </a:lnTo>
                  <a:lnTo>
                    <a:pt x="134" y="254"/>
                  </a:lnTo>
                  <a:close/>
                  <a:moveTo>
                    <a:pt x="338" y="268"/>
                  </a:moveTo>
                  <a:lnTo>
                    <a:pt x="338" y="268"/>
                  </a:lnTo>
                  <a:lnTo>
                    <a:pt x="334" y="270"/>
                  </a:lnTo>
                  <a:lnTo>
                    <a:pt x="332" y="270"/>
                  </a:lnTo>
                  <a:lnTo>
                    <a:pt x="332" y="270"/>
                  </a:lnTo>
                  <a:lnTo>
                    <a:pt x="326" y="268"/>
                  </a:lnTo>
                  <a:lnTo>
                    <a:pt x="326" y="268"/>
                  </a:lnTo>
                  <a:lnTo>
                    <a:pt x="324" y="262"/>
                  </a:lnTo>
                  <a:lnTo>
                    <a:pt x="324" y="262"/>
                  </a:lnTo>
                  <a:lnTo>
                    <a:pt x="324" y="260"/>
                  </a:lnTo>
                  <a:lnTo>
                    <a:pt x="326" y="256"/>
                  </a:lnTo>
                  <a:lnTo>
                    <a:pt x="326" y="256"/>
                  </a:lnTo>
                  <a:lnTo>
                    <a:pt x="328" y="256"/>
                  </a:lnTo>
                  <a:lnTo>
                    <a:pt x="332" y="254"/>
                  </a:lnTo>
                  <a:lnTo>
                    <a:pt x="334" y="256"/>
                  </a:lnTo>
                  <a:lnTo>
                    <a:pt x="338" y="256"/>
                  </a:lnTo>
                  <a:lnTo>
                    <a:pt x="338" y="256"/>
                  </a:lnTo>
                  <a:lnTo>
                    <a:pt x="340" y="260"/>
                  </a:lnTo>
                  <a:lnTo>
                    <a:pt x="340" y="262"/>
                  </a:lnTo>
                  <a:lnTo>
                    <a:pt x="340" y="262"/>
                  </a:lnTo>
                  <a:lnTo>
                    <a:pt x="340" y="266"/>
                  </a:lnTo>
                  <a:lnTo>
                    <a:pt x="338" y="268"/>
                  </a:lnTo>
                  <a:lnTo>
                    <a:pt x="338" y="268"/>
                  </a:lnTo>
                  <a:close/>
                  <a:moveTo>
                    <a:pt x="54" y="184"/>
                  </a:moveTo>
                  <a:lnTo>
                    <a:pt x="306" y="184"/>
                  </a:lnTo>
                  <a:lnTo>
                    <a:pt x="306" y="184"/>
                  </a:lnTo>
                  <a:lnTo>
                    <a:pt x="310" y="184"/>
                  </a:lnTo>
                  <a:lnTo>
                    <a:pt x="314" y="182"/>
                  </a:lnTo>
                  <a:lnTo>
                    <a:pt x="318" y="178"/>
                  </a:lnTo>
                  <a:lnTo>
                    <a:pt x="318" y="172"/>
                  </a:lnTo>
                  <a:lnTo>
                    <a:pt x="318" y="12"/>
                  </a:lnTo>
                  <a:lnTo>
                    <a:pt x="318" y="12"/>
                  </a:lnTo>
                  <a:lnTo>
                    <a:pt x="318" y="6"/>
                  </a:lnTo>
                  <a:lnTo>
                    <a:pt x="314" y="2"/>
                  </a:lnTo>
                  <a:lnTo>
                    <a:pt x="310" y="0"/>
                  </a:lnTo>
                  <a:lnTo>
                    <a:pt x="306" y="0"/>
                  </a:lnTo>
                  <a:lnTo>
                    <a:pt x="54" y="0"/>
                  </a:lnTo>
                  <a:lnTo>
                    <a:pt x="54" y="0"/>
                  </a:lnTo>
                  <a:lnTo>
                    <a:pt x="50" y="0"/>
                  </a:lnTo>
                  <a:lnTo>
                    <a:pt x="46" y="2"/>
                  </a:lnTo>
                  <a:lnTo>
                    <a:pt x="42" y="6"/>
                  </a:lnTo>
                  <a:lnTo>
                    <a:pt x="42" y="12"/>
                  </a:lnTo>
                  <a:lnTo>
                    <a:pt x="42" y="172"/>
                  </a:lnTo>
                  <a:lnTo>
                    <a:pt x="42" y="172"/>
                  </a:lnTo>
                  <a:lnTo>
                    <a:pt x="42" y="178"/>
                  </a:lnTo>
                  <a:lnTo>
                    <a:pt x="46" y="182"/>
                  </a:lnTo>
                  <a:lnTo>
                    <a:pt x="50" y="184"/>
                  </a:lnTo>
                  <a:lnTo>
                    <a:pt x="54" y="184"/>
                  </a:lnTo>
                  <a:lnTo>
                    <a:pt x="54" y="184"/>
                  </a:lnTo>
                  <a:close/>
                  <a:moveTo>
                    <a:pt x="66" y="24"/>
                  </a:moveTo>
                  <a:lnTo>
                    <a:pt x="294" y="24"/>
                  </a:lnTo>
                  <a:lnTo>
                    <a:pt x="294" y="160"/>
                  </a:lnTo>
                  <a:lnTo>
                    <a:pt x="66" y="160"/>
                  </a:lnTo>
                  <a:lnTo>
                    <a:pt x="66" y="24"/>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grpSp>
        <p:nvGrpSpPr>
          <p:cNvPr id="159" name="Group 158">
            <a:extLst>
              <a:ext uri="{FF2B5EF4-FFF2-40B4-BE49-F238E27FC236}">
                <a16:creationId xmlns:a16="http://schemas.microsoft.com/office/drawing/2014/main" id="{DE57342A-27F3-4D0C-A1A7-3F4C32F2F5CA}"/>
              </a:ext>
            </a:extLst>
          </p:cNvPr>
          <p:cNvGrpSpPr/>
          <p:nvPr/>
        </p:nvGrpSpPr>
        <p:grpSpPr>
          <a:xfrm>
            <a:off x="6290382" y="1520049"/>
            <a:ext cx="612000" cy="612000"/>
            <a:chOff x="5841085" y="2258092"/>
            <a:chExt cx="612000" cy="612000"/>
          </a:xfrm>
        </p:grpSpPr>
        <p:sp>
          <p:nvSpPr>
            <p:cNvPr id="160" name="Oval 159">
              <a:extLst>
                <a:ext uri="{FF2B5EF4-FFF2-40B4-BE49-F238E27FC236}">
                  <a16:creationId xmlns:a16="http://schemas.microsoft.com/office/drawing/2014/main" id="{2E722D13-6B23-45D9-AE92-DCFD53DD9826}"/>
                </a:ext>
              </a:extLst>
            </p:cNvPr>
            <p:cNvSpPr/>
            <p:nvPr/>
          </p:nvSpPr>
          <p:spPr bwMode="ltGray">
            <a:xfrm>
              <a:off x="5841085" y="2258092"/>
              <a:ext cx="612000" cy="612000"/>
            </a:xfrm>
            <a:prstGeom prst="ellipse">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err="1">
                <a:solidFill>
                  <a:schemeClr val="bg1"/>
                </a:solidFill>
                <a:latin typeface="Segoe UI Light" panose="020B0502040204020203" pitchFamily="34" charset="0"/>
                <a:cs typeface="Segoe UI Light" panose="020B0502040204020203" pitchFamily="34" charset="0"/>
              </a:endParaRPr>
            </a:p>
          </p:txBody>
        </p:sp>
        <p:sp>
          <p:nvSpPr>
            <p:cNvPr id="161" name="Freeform 5016">
              <a:extLst>
                <a:ext uri="{FF2B5EF4-FFF2-40B4-BE49-F238E27FC236}">
                  <a16:creationId xmlns:a16="http://schemas.microsoft.com/office/drawing/2014/main" id="{6D2DBD8E-27CC-482D-83F1-DA8D4EAA6DDF}"/>
                </a:ext>
              </a:extLst>
            </p:cNvPr>
            <p:cNvSpPr>
              <a:spLocks noEditPoints="1"/>
            </p:cNvSpPr>
            <p:nvPr/>
          </p:nvSpPr>
          <p:spPr bwMode="auto">
            <a:xfrm>
              <a:off x="5963993" y="2369055"/>
              <a:ext cx="366185" cy="426413"/>
            </a:xfrm>
            <a:custGeom>
              <a:avLst/>
              <a:gdLst>
                <a:gd name="T0" fmla="*/ 102 w 304"/>
                <a:gd name="T1" fmla="*/ 232 h 354"/>
                <a:gd name="T2" fmla="*/ 132 w 304"/>
                <a:gd name="T3" fmla="*/ 220 h 354"/>
                <a:gd name="T4" fmla="*/ 304 w 304"/>
                <a:gd name="T5" fmla="*/ 76 h 354"/>
                <a:gd name="T6" fmla="*/ 304 w 304"/>
                <a:gd name="T7" fmla="*/ 264 h 354"/>
                <a:gd name="T8" fmla="*/ 304 w 304"/>
                <a:gd name="T9" fmla="*/ 264 h 354"/>
                <a:gd name="T10" fmla="*/ 298 w 304"/>
                <a:gd name="T11" fmla="*/ 272 h 354"/>
                <a:gd name="T12" fmla="*/ 280 w 304"/>
                <a:gd name="T13" fmla="*/ 290 h 354"/>
                <a:gd name="T14" fmla="*/ 280 w 304"/>
                <a:gd name="T15" fmla="*/ 294 h 354"/>
                <a:gd name="T16" fmla="*/ 156 w 304"/>
                <a:gd name="T17" fmla="*/ 354 h 354"/>
                <a:gd name="T18" fmla="*/ 156 w 304"/>
                <a:gd name="T19" fmla="*/ 354 h 354"/>
                <a:gd name="T20" fmla="*/ 152 w 304"/>
                <a:gd name="T21" fmla="*/ 354 h 354"/>
                <a:gd name="T22" fmla="*/ 148 w 304"/>
                <a:gd name="T23" fmla="*/ 354 h 354"/>
                <a:gd name="T24" fmla="*/ 148 w 304"/>
                <a:gd name="T25" fmla="*/ 354 h 354"/>
                <a:gd name="T26" fmla="*/ 28 w 304"/>
                <a:gd name="T27" fmla="*/ 296 h 354"/>
                <a:gd name="T28" fmla="*/ 24 w 304"/>
                <a:gd name="T29" fmla="*/ 290 h 354"/>
                <a:gd name="T30" fmla="*/ 6 w 304"/>
                <a:gd name="T31" fmla="*/ 272 h 354"/>
                <a:gd name="T32" fmla="*/ 2 w 304"/>
                <a:gd name="T33" fmla="*/ 268 h 354"/>
                <a:gd name="T34" fmla="*/ 0 w 304"/>
                <a:gd name="T35" fmla="*/ 264 h 354"/>
                <a:gd name="T36" fmla="*/ 0 w 304"/>
                <a:gd name="T37" fmla="*/ 76 h 354"/>
                <a:gd name="T38" fmla="*/ 2 w 304"/>
                <a:gd name="T39" fmla="*/ 72 h 354"/>
                <a:gd name="T40" fmla="*/ 148 w 304"/>
                <a:gd name="T41" fmla="*/ 0 h 354"/>
                <a:gd name="T42" fmla="*/ 150 w 304"/>
                <a:gd name="T43" fmla="*/ 0 h 354"/>
                <a:gd name="T44" fmla="*/ 150 w 304"/>
                <a:gd name="T45" fmla="*/ 0 h 354"/>
                <a:gd name="T46" fmla="*/ 150 w 304"/>
                <a:gd name="T47" fmla="*/ 0 h 354"/>
                <a:gd name="T48" fmla="*/ 152 w 304"/>
                <a:gd name="T49" fmla="*/ 0 h 354"/>
                <a:gd name="T50" fmla="*/ 154 w 304"/>
                <a:gd name="T51" fmla="*/ 0 h 354"/>
                <a:gd name="T52" fmla="*/ 154 w 304"/>
                <a:gd name="T53" fmla="*/ 0 h 354"/>
                <a:gd name="T54" fmla="*/ 154 w 304"/>
                <a:gd name="T55" fmla="*/ 0 h 354"/>
                <a:gd name="T56" fmla="*/ 156 w 304"/>
                <a:gd name="T57" fmla="*/ 0 h 354"/>
                <a:gd name="T58" fmla="*/ 298 w 304"/>
                <a:gd name="T59" fmla="*/ 68 h 354"/>
                <a:gd name="T60" fmla="*/ 304 w 304"/>
                <a:gd name="T61" fmla="*/ 76 h 354"/>
                <a:gd name="T62" fmla="*/ 144 w 304"/>
                <a:gd name="T63" fmla="*/ 150 h 354"/>
                <a:gd name="T64" fmla="*/ 16 w 304"/>
                <a:gd name="T65" fmla="*/ 258 h 354"/>
                <a:gd name="T66" fmla="*/ 68 w 304"/>
                <a:gd name="T67" fmla="*/ 130 h 354"/>
                <a:gd name="T68" fmla="*/ 92 w 304"/>
                <a:gd name="T69" fmla="*/ 294 h 354"/>
                <a:gd name="T70" fmla="*/ 144 w 304"/>
                <a:gd name="T71" fmla="*/ 260 h 354"/>
                <a:gd name="T72" fmla="*/ 144 w 304"/>
                <a:gd name="T73" fmla="*/ 226 h 354"/>
                <a:gd name="T74" fmla="*/ 144 w 304"/>
                <a:gd name="T75" fmla="*/ 208 h 354"/>
                <a:gd name="T76" fmla="*/ 144 w 304"/>
                <a:gd name="T77" fmla="*/ 150 h 354"/>
                <a:gd name="T78" fmla="*/ 278 w 304"/>
                <a:gd name="T79" fmla="*/ 76 h 354"/>
                <a:gd name="T80" fmla="*/ 160 w 304"/>
                <a:gd name="T81" fmla="*/ 132 h 354"/>
                <a:gd name="T82" fmla="*/ 160 w 304"/>
                <a:gd name="T83" fmla="*/ 226 h 354"/>
                <a:gd name="T84" fmla="*/ 202 w 304"/>
                <a:gd name="T85" fmla="*/ 232 h 354"/>
                <a:gd name="T86" fmla="*/ 236 w 304"/>
                <a:gd name="T87" fmla="*/ 124 h 354"/>
                <a:gd name="T88" fmla="*/ 212 w 304"/>
                <a:gd name="T89" fmla="*/ 304 h 354"/>
                <a:gd name="T90" fmla="*/ 236 w 304"/>
                <a:gd name="T91" fmla="*/ 124 h 354"/>
                <a:gd name="T92" fmla="*/ 246 w 304"/>
                <a:gd name="T93" fmla="*/ 186 h 354"/>
                <a:gd name="T94" fmla="*/ 292 w 304"/>
                <a:gd name="T95" fmla="*/ 192 h 354"/>
                <a:gd name="T96" fmla="*/ 58 w 304"/>
                <a:gd name="T97" fmla="*/ 186 h 354"/>
                <a:gd name="T98" fmla="*/ 30 w 304"/>
                <a:gd name="T99" fmla="*/ 200 h 354"/>
                <a:gd name="T100" fmla="*/ 58 w 304"/>
                <a:gd name="T101" fmla="*/ 18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4" h="354">
                  <a:moveTo>
                    <a:pt x="132" y="246"/>
                  </a:moveTo>
                  <a:lnTo>
                    <a:pt x="102" y="232"/>
                  </a:lnTo>
                  <a:lnTo>
                    <a:pt x="102" y="206"/>
                  </a:lnTo>
                  <a:lnTo>
                    <a:pt x="132" y="220"/>
                  </a:lnTo>
                  <a:lnTo>
                    <a:pt x="132" y="246"/>
                  </a:lnTo>
                  <a:close/>
                  <a:moveTo>
                    <a:pt x="304" y="76"/>
                  </a:moveTo>
                  <a:lnTo>
                    <a:pt x="304" y="76"/>
                  </a:lnTo>
                  <a:lnTo>
                    <a:pt x="304" y="264"/>
                  </a:lnTo>
                  <a:lnTo>
                    <a:pt x="304" y="264"/>
                  </a:lnTo>
                  <a:lnTo>
                    <a:pt x="304" y="264"/>
                  </a:lnTo>
                  <a:lnTo>
                    <a:pt x="302" y="268"/>
                  </a:lnTo>
                  <a:lnTo>
                    <a:pt x="298" y="272"/>
                  </a:lnTo>
                  <a:lnTo>
                    <a:pt x="280" y="280"/>
                  </a:lnTo>
                  <a:lnTo>
                    <a:pt x="280" y="290"/>
                  </a:lnTo>
                  <a:lnTo>
                    <a:pt x="280" y="290"/>
                  </a:lnTo>
                  <a:lnTo>
                    <a:pt x="280" y="294"/>
                  </a:lnTo>
                  <a:lnTo>
                    <a:pt x="276" y="296"/>
                  </a:lnTo>
                  <a:lnTo>
                    <a:pt x="156" y="354"/>
                  </a:lnTo>
                  <a:lnTo>
                    <a:pt x="156" y="354"/>
                  </a:lnTo>
                  <a:lnTo>
                    <a:pt x="156" y="354"/>
                  </a:lnTo>
                  <a:lnTo>
                    <a:pt x="156" y="354"/>
                  </a:lnTo>
                  <a:lnTo>
                    <a:pt x="152" y="354"/>
                  </a:lnTo>
                  <a:lnTo>
                    <a:pt x="152" y="354"/>
                  </a:lnTo>
                  <a:lnTo>
                    <a:pt x="148" y="354"/>
                  </a:lnTo>
                  <a:lnTo>
                    <a:pt x="148" y="354"/>
                  </a:lnTo>
                  <a:lnTo>
                    <a:pt x="148" y="354"/>
                  </a:lnTo>
                  <a:lnTo>
                    <a:pt x="28" y="296"/>
                  </a:lnTo>
                  <a:lnTo>
                    <a:pt x="28" y="296"/>
                  </a:lnTo>
                  <a:lnTo>
                    <a:pt x="24" y="294"/>
                  </a:lnTo>
                  <a:lnTo>
                    <a:pt x="24" y="290"/>
                  </a:lnTo>
                  <a:lnTo>
                    <a:pt x="24" y="280"/>
                  </a:lnTo>
                  <a:lnTo>
                    <a:pt x="6" y="272"/>
                  </a:lnTo>
                  <a:lnTo>
                    <a:pt x="6" y="272"/>
                  </a:lnTo>
                  <a:lnTo>
                    <a:pt x="2" y="268"/>
                  </a:lnTo>
                  <a:lnTo>
                    <a:pt x="0" y="264"/>
                  </a:lnTo>
                  <a:lnTo>
                    <a:pt x="0" y="264"/>
                  </a:lnTo>
                  <a:lnTo>
                    <a:pt x="0" y="76"/>
                  </a:lnTo>
                  <a:lnTo>
                    <a:pt x="0" y="76"/>
                  </a:lnTo>
                  <a:lnTo>
                    <a:pt x="0" y="76"/>
                  </a:lnTo>
                  <a:lnTo>
                    <a:pt x="2" y="72"/>
                  </a:lnTo>
                  <a:lnTo>
                    <a:pt x="6" y="68"/>
                  </a:lnTo>
                  <a:lnTo>
                    <a:pt x="148" y="0"/>
                  </a:lnTo>
                  <a:lnTo>
                    <a:pt x="148" y="0"/>
                  </a:lnTo>
                  <a:lnTo>
                    <a:pt x="150" y="0"/>
                  </a:lnTo>
                  <a:lnTo>
                    <a:pt x="150" y="0"/>
                  </a:lnTo>
                  <a:lnTo>
                    <a:pt x="150" y="0"/>
                  </a:lnTo>
                  <a:lnTo>
                    <a:pt x="150" y="0"/>
                  </a:lnTo>
                  <a:lnTo>
                    <a:pt x="150" y="0"/>
                  </a:lnTo>
                  <a:lnTo>
                    <a:pt x="150" y="0"/>
                  </a:lnTo>
                  <a:lnTo>
                    <a:pt x="152" y="0"/>
                  </a:lnTo>
                  <a:lnTo>
                    <a:pt x="152" y="0"/>
                  </a:lnTo>
                  <a:lnTo>
                    <a:pt x="154" y="0"/>
                  </a:lnTo>
                  <a:lnTo>
                    <a:pt x="154" y="0"/>
                  </a:lnTo>
                  <a:lnTo>
                    <a:pt x="154" y="0"/>
                  </a:lnTo>
                  <a:lnTo>
                    <a:pt x="154" y="0"/>
                  </a:lnTo>
                  <a:lnTo>
                    <a:pt x="154" y="0"/>
                  </a:lnTo>
                  <a:lnTo>
                    <a:pt x="154" y="0"/>
                  </a:lnTo>
                  <a:lnTo>
                    <a:pt x="156" y="0"/>
                  </a:lnTo>
                  <a:lnTo>
                    <a:pt x="298" y="68"/>
                  </a:lnTo>
                  <a:lnTo>
                    <a:pt x="298" y="68"/>
                  </a:lnTo>
                  <a:lnTo>
                    <a:pt x="302" y="72"/>
                  </a:lnTo>
                  <a:lnTo>
                    <a:pt x="304" y="76"/>
                  </a:lnTo>
                  <a:lnTo>
                    <a:pt x="304" y="76"/>
                  </a:lnTo>
                  <a:close/>
                  <a:moveTo>
                    <a:pt x="144" y="150"/>
                  </a:moveTo>
                  <a:lnTo>
                    <a:pt x="16" y="90"/>
                  </a:lnTo>
                  <a:lnTo>
                    <a:pt x="16" y="258"/>
                  </a:lnTo>
                  <a:lnTo>
                    <a:pt x="68" y="284"/>
                  </a:lnTo>
                  <a:lnTo>
                    <a:pt x="68" y="130"/>
                  </a:lnTo>
                  <a:lnTo>
                    <a:pt x="92" y="140"/>
                  </a:lnTo>
                  <a:lnTo>
                    <a:pt x="92" y="294"/>
                  </a:lnTo>
                  <a:lnTo>
                    <a:pt x="144" y="320"/>
                  </a:lnTo>
                  <a:lnTo>
                    <a:pt x="144" y="260"/>
                  </a:lnTo>
                  <a:lnTo>
                    <a:pt x="144" y="252"/>
                  </a:lnTo>
                  <a:lnTo>
                    <a:pt x="144" y="226"/>
                  </a:lnTo>
                  <a:lnTo>
                    <a:pt x="144" y="220"/>
                  </a:lnTo>
                  <a:lnTo>
                    <a:pt x="144" y="208"/>
                  </a:lnTo>
                  <a:lnTo>
                    <a:pt x="144" y="176"/>
                  </a:lnTo>
                  <a:lnTo>
                    <a:pt x="144" y="150"/>
                  </a:lnTo>
                  <a:close/>
                  <a:moveTo>
                    <a:pt x="160" y="132"/>
                  </a:moveTo>
                  <a:lnTo>
                    <a:pt x="278" y="76"/>
                  </a:lnTo>
                  <a:lnTo>
                    <a:pt x="160" y="20"/>
                  </a:lnTo>
                  <a:lnTo>
                    <a:pt x="160" y="132"/>
                  </a:lnTo>
                  <a:close/>
                  <a:moveTo>
                    <a:pt x="202" y="206"/>
                  </a:moveTo>
                  <a:lnTo>
                    <a:pt x="160" y="226"/>
                  </a:lnTo>
                  <a:lnTo>
                    <a:pt x="160" y="252"/>
                  </a:lnTo>
                  <a:lnTo>
                    <a:pt x="202" y="232"/>
                  </a:lnTo>
                  <a:lnTo>
                    <a:pt x="202" y="206"/>
                  </a:lnTo>
                  <a:close/>
                  <a:moveTo>
                    <a:pt x="236" y="124"/>
                  </a:moveTo>
                  <a:lnTo>
                    <a:pt x="212" y="134"/>
                  </a:lnTo>
                  <a:lnTo>
                    <a:pt x="212" y="304"/>
                  </a:lnTo>
                  <a:lnTo>
                    <a:pt x="236" y="294"/>
                  </a:lnTo>
                  <a:lnTo>
                    <a:pt x="236" y="124"/>
                  </a:lnTo>
                  <a:close/>
                  <a:moveTo>
                    <a:pt x="292" y="164"/>
                  </a:moveTo>
                  <a:lnTo>
                    <a:pt x="246" y="186"/>
                  </a:lnTo>
                  <a:lnTo>
                    <a:pt x="246" y="214"/>
                  </a:lnTo>
                  <a:lnTo>
                    <a:pt x="292" y="192"/>
                  </a:lnTo>
                  <a:lnTo>
                    <a:pt x="292" y="164"/>
                  </a:lnTo>
                  <a:close/>
                  <a:moveTo>
                    <a:pt x="58" y="186"/>
                  </a:moveTo>
                  <a:lnTo>
                    <a:pt x="30" y="172"/>
                  </a:lnTo>
                  <a:lnTo>
                    <a:pt x="30" y="200"/>
                  </a:lnTo>
                  <a:lnTo>
                    <a:pt x="58" y="212"/>
                  </a:lnTo>
                  <a:lnTo>
                    <a:pt x="58" y="18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Segoe UI Light" panose="020B0502040204020203" pitchFamily="34" charset="0"/>
                <a:cs typeface="Segoe UI Light" panose="020B0502040204020203" pitchFamily="34" charset="0"/>
              </a:endParaRPr>
            </a:p>
          </p:txBody>
        </p:sp>
      </p:grpSp>
      <p:sp>
        <p:nvSpPr>
          <p:cNvPr id="166" name="TextBox 165">
            <a:extLst>
              <a:ext uri="{FF2B5EF4-FFF2-40B4-BE49-F238E27FC236}">
                <a16:creationId xmlns:a16="http://schemas.microsoft.com/office/drawing/2014/main" id="{FB5A7216-E0C5-42D8-9C6C-F68FBF446368}"/>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ssorted Icons</a:t>
            </a:r>
          </a:p>
        </p:txBody>
      </p:sp>
    </p:spTree>
    <p:extLst>
      <p:ext uri="{BB962C8B-B14F-4D97-AF65-F5344CB8AC3E}">
        <p14:creationId xmlns:p14="http://schemas.microsoft.com/office/powerpoint/2010/main" val="45845560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62" name="Group 361">
            <a:extLst>
              <a:ext uri="{FF2B5EF4-FFF2-40B4-BE49-F238E27FC236}">
                <a16:creationId xmlns:a16="http://schemas.microsoft.com/office/drawing/2014/main" id="{7AFB1902-8D66-49E7-9EB5-7893EA24109C}"/>
              </a:ext>
            </a:extLst>
          </p:cNvPr>
          <p:cNvGrpSpPr/>
          <p:nvPr/>
        </p:nvGrpSpPr>
        <p:grpSpPr>
          <a:xfrm>
            <a:off x="4607622" y="2386226"/>
            <a:ext cx="612000" cy="612000"/>
            <a:chOff x="3216946" y="2258092"/>
            <a:chExt cx="612000" cy="612000"/>
          </a:xfrm>
        </p:grpSpPr>
        <p:sp>
          <p:nvSpPr>
            <p:cNvPr id="363" name="Oval 362">
              <a:extLst>
                <a:ext uri="{FF2B5EF4-FFF2-40B4-BE49-F238E27FC236}">
                  <a16:creationId xmlns:a16="http://schemas.microsoft.com/office/drawing/2014/main" id="{56C3B43A-132C-4718-9A53-B92469377523}"/>
                </a:ext>
              </a:extLst>
            </p:cNvPr>
            <p:cNvSpPr/>
            <p:nvPr/>
          </p:nvSpPr>
          <p:spPr bwMode="ltGray">
            <a:xfrm>
              <a:off x="3216946" y="225809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64" name="Freeform 4953">
              <a:extLst>
                <a:ext uri="{FF2B5EF4-FFF2-40B4-BE49-F238E27FC236}">
                  <a16:creationId xmlns:a16="http://schemas.microsoft.com/office/drawing/2014/main" id="{82A079B7-8DCC-4F36-B88C-61D7B0702190}"/>
                </a:ext>
              </a:extLst>
            </p:cNvPr>
            <p:cNvSpPr>
              <a:spLocks noEditPoints="1"/>
            </p:cNvSpPr>
            <p:nvPr/>
          </p:nvSpPr>
          <p:spPr bwMode="auto">
            <a:xfrm>
              <a:off x="3315059" y="2386644"/>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rgbClr val="3C3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65" name="Group 364">
            <a:extLst>
              <a:ext uri="{FF2B5EF4-FFF2-40B4-BE49-F238E27FC236}">
                <a16:creationId xmlns:a16="http://schemas.microsoft.com/office/drawing/2014/main" id="{33A1892B-43B0-46A4-8CD1-DF1325902CB2}"/>
              </a:ext>
            </a:extLst>
          </p:cNvPr>
          <p:cNvGrpSpPr/>
          <p:nvPr/>
        </p:nvGrpSpPr>
        <p:grpSpPr>
          <a:xfrm>
            <a:off x="5438439" y="2386226"/>
            <a:ext cx="612000" cy="612000"/>
            <a:chOff x="4091659" y="2258092"/>
            <a:chExt cx="612000" cy="612000"/>
          </a:xfrm>
        </p:grpSpPr>
        <p:sp>
          <p:nvSpPr>
            <p:cNvPr id="366" name="Oval 365">
              <a:extLst>
                <a:ext uri="{FF2B5EF4-FFF2-40B4-BE49-F238E27FC236}">
                  <a16:creationId xmlns:a16="http://schemas.microsoft.com/office/drawing/2014/main" id="{9E3F94AA-C01D-48A7-AF73-ED2EB555963F}"/>
                </a:ext>
              </a:extLst>
            </p:cNvPr>
            <p:cNvSpPr/>
            <p:nvPr/>
          </p:nvSpPr>
          <p:spPr bwMode="ltGray">
            <a:xfrm>
              <a:off x="4091659" y="225809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67" name="Freeform 4954">
              <a:extLst>
                <a:ext uri="{FF2B5EF4-FFF2-40B4-BE49-F238E27FC236}">
                  <a16:creationId xmlns:a16="http://schemas.microsoft.com/office/drawing/2014/main" id="{3536FB5C-CAB9-4250-BB14-D44B0F90EB27}"/>
                </a:ext>
              </a:extLst>
            </p:cNvPr>
            <p:cNvSpPr>
              <a:spLocks noEditPoints="1"/>
            </p:cNvSpPr>
            <p:nvPr/>
          </p:nvSpPr>
          <p:spPr bwMode="auto">
            <a:xfrm>
              <a:off x="4177482" y="2419619"/>
              <a:ext cx="469479" cy="355739"/>
            </a:xfrm>
            <a:custGeom>
              <a:avLst/>
              <a:gdLst>
                <a:gd name="T0" fmla="*/ 136 w 388"/>
                <a:gd name="T1" fmla="*/ 236 h 294"/>
                <a:gd name="T2" fmla="*/ 102 w 388"/>
                <a:gd name="T3" fmla="*/ 238 h 294"/>
                <a:gd name="T4" fmla="*/ 102 w 388"/>
                <a:gd name="T5" fmla="*/ 276 h 294"/>
                <a:gd name="T6" fmla="*/ 136 w 388"/>
                <a:gd name="T7" fmla="*/ 278 h 294"/>
                <a:gd name="T8" fmla="*/ 304 w 388"/>
                <a:gd name="T9" fmla="*/ 256 h 294"/>
                <a:gd name="T10" fmla="*/ 116 w 388"/>
                <a:gd name="T11" fmla="*/ 266 h 294"/>
                <a:gd name="T12" fmla="*/ 112 w 388"/>
                <a:gd name="T13" fmla="*/ 252 h 294"/>
                <a:gd name="T14" fmla="*/ 124 w 388"/>
                <a:gd name="T15" fmla="*/ 248 h 294"/>
                <a:gd name="T16" fmla="*/ 130 w 388"/>
                <a:gd name="T17" fmla="*/ 260 h 294"/>
                <a:gd name="T18" fmla="*/ 216 w 388"/>
                <a:gd name="T19" fmla="*/ 210 h 294"/>
                <a:gd name="T20" fmla="*/ 242 w 388"/>
                <a:gd name="T21" fmla="*/ 184 h 294"/>
                <a:gd name="T22" fmla="*/ 216 w 388"/>
                <a:gd name="T23" fmla="*/ 158 h 294"/>
                <a:gd name="T24" fmla="*/ 192 w 388"/>
                <a:gd name="T25" fmla="*/ 174 h 294"/>
                <a:gd name="T26" fmla="*/ 34 w 388"/>
                <a:gd name="T27" fmla="*/ 160 h 294"/>
                <a:gd name="T28" fmla="*/ 2 w 388"/>
                <a:gd name="T29" fmla="*/ 174 h 294"/>
                <a:gd name="T30" fmla="*/ 16 w 388"/>
                <a:gd name="T31" fmla="*/ 208 h 294"/>
                <a:gd name="T32" fmla="*/ 46 w 388"/>
                <a:gd name="T33" fmla="*/ 202 h 294"/>
                <a:gd name="T34" fmla="*/ 200 w 388"/>
                <a:gd name="T35" fmla="*/ 206 h 294"/>
                <a:gd name="T36" fmla="*/ 26 w 388"/>
                <a:gd name="T37" fmla="*/ 194 h 294"/>
                <a:gd name="T38" fmla="*/ 16 w 388"/>
                <a:gd name="T39" fmla="*/ 184 h 294"/>
                <a:gd name="T40" fmla="*/ 26 w 388"/>
                <a:gd name="T41" fmla="*/ 174 h 294"/>
                <a:gd name="T42" fmla="*/ 36 w 388"/>
                <a:gd name="T43" fmla="*/ 184 h 294"/>
                <a:gd name="T44" fmla="*/ 26 w 388"/>
                <a:gd name="T45" fmla="*/ 194 h 294"/>
                <a:gd name="T46" fmla="*/ 46 w 388"/>
                <a:gd name="T47" fmla="*/ 52 h 294"/>
                <a:gd name="T48" fmla="*/ 152 w 388"/>
                <a:gd name="T49" fmla="*/ 0 h 294"/>
                <a:gd name="T50" fmla="*/ 42 w 388"/>
                <a:gd name="T51" fmla="*/ 14 h 294"/>
                <a:gd name="T52" fmla="*/ 8 w 388"/>
                <a:gd name="T53" fmla="*/ 18 h 294"/>
                <a:gd name="T54" fmla="*/ 8 w 388"/>
                <a:gd name="T55" fmla="*/ 54 h 294"/>
                <a:gd name="T56" fmla="*/ 26 w 388"/>
                <a:gd name="T57" fmla="*/ 26 h 294"/>
                <a:gd name="T58" fmla="*/ 36 w 388"/>
                <a:gd name="T59" fmla="*/ 36 h 294"/>
                <a:gd name="T60" fmla="*/ 26 w 388"/>
                <a:gd name="T61" fmla="*/ 46 h 294"/>
                <a:gd name="T62" fmla="*/ 16 w 388"/>
                <a:gd name="T63" fmla="*/ 36 h 294"/>
                <a:gd name="T64" fmla="*/ 26 w 388"/>
                <a:gd name="T65" fmla="*/ 26 h 294"/>
                <a:gd name="T66" fmla="*/ 102 w 388"/>
                <a:gd name="T67" fmla="*/ 120 h 294"/>
                <a:gd name="T68" fmla="*/ 78 w 388"/>
                <a:gd name="T69" fmla="*/ 136 h 294"/>
                <a:gd name="T70" fmla="*/ 52 w 388"/>
                <a:gd name="T71" fmla="*/ 110 h 294"/>
                <a:gd name="T72" fmla="*/ 78 w 388"/>
                <a:gd name="T73" fmla="*/ 84 h 294"/>
                <a:gd name="T74" fmla="*/ 102 w 388"/>
                <a:gd name="T75" fmla="*/ 100 h 294"/>
                <a:gd name="T76" fmla="*/ 354 w 388"/>
                <a:gd name="T77" fmla="*/ 12 h 294"/>
                <a:gd name="T78" fmla="*/ 276 w 388"/>
                <a:gd name="T79" fmla="*/ 26 h 294"/>
                <a:gd name="T80" fmla="*/ 252 w 388"/>
                <a:gd name="T81" fmla="*/ 10 h 294"/>
                <a:gd name="T82" fmla="*/ 226 w 388"/>
                <a:gd name="T83" fmla="*/ 36 h 294"/>
                <a:gd name="T84" fmla="*/ 252 w 388"/>
                <a:gd name="T85" fmla="*/ 62 h 294"/>
                <a:gd name="T86" fmla="*/ 338 w 388"/>
                <a:gd name="T87" fmla="*/ 46 h 294"/>
                <a:gd name="T88" fmla="*/ 362 w 388"/>
                <a:gd name="T89" fmla="*/ 62 h 294"/>
                <a:gd name="T90" fmla="*/ 388 w 388"/>
                <a:gd name="T91" fmla="*/ 36 h 294"/>
                <a:gd name="T92" fmla="*/ 362 w 388"/>
                <a:gd name="T93" fmla="*/ 10 h 294"/>
                <a:gd name="T94" fmla="*/ 356 w 388"/>
                <a:gd name="T95" fmla="*/ 44 h 294"/>
                <a:gd name="T96" fmla="*/ 356 w 388"/>
                <a:gd name="T97" fmla="*/ 30 h 294"/>
                <a:gd name="T98" fmla="*/ 370 w 388"/>
                <a:gd name="T99" fmla="*/ 30 h 294"/>
                <a:gd name="T100" fmla="*/ 370 w 388"/>
                <a:gd name="T101" fmla="*/ 4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294">
                  <a:moveTo>
                    <a:pt x="264" y="246"/>
                  </a:moveTo>
                  <a:lnTo>
                    <a:pt x="144" y="246"/>
                  </a:lnTo>
                  <a:lnTo>
                    <a:pt x="144" y="246"/>
                  </a:lnTo>
                  <a:lnTo>
                    <a:pt x="140" y="240"/>
                  </a:lnTo>
                  <a:lnTo>
                    <a:pt x="136" y="236"/>
                  </a:lnTo>
                  <a:lnTo>
                    <a:pt x="128" y="232"/>
                  </a:lnTo>
                  <a:lnTo>
                    <a:pt x="120" y="230"/>
                  </a:lnTo>
                  <a:lnTo>
                    <a:pt x="120" y="230"/>
                  </a:lnTo>
                  <a:lnTo>
                    <a:pt x="110" y="232"/>
                  </a:lnTo>
                  <a:lnTo>
                    <a:pt x="102" y="238"/>
                  </a:lnTo>
                  <a:lnTo>
                    <a:pt x="96" y="246"/>
                  </a:lnTo>
                  <a:lnTo>
                    <a:pt x="94" y="256"/>
                  </a:lnTo>
                  <a:lnTo>
                    <a:pt x="94" y="256"/>
                  </a:lnTo>
                  <a:lnTo>
                    <a:pt x="96" y="266"/>
                  </a:lnTo>
                  <a:lnTo>
                    <a:pt x="102" y="276"/>
                  </a:lnTo>
                  <a:lnTo>
                    <a:pt x="110" y="280"/>
                  </a:lnTo>
                  <a:lnTo>
                    <a:pt x="120" y="282"/>
                  </a:lnTo>
                  <a:lnTo>
                    <a:pt x="120" y="282"/>
                  </a:lnTo>
                  <a:lnTo>
                    <a:pt x="128" y="282"/>
                  </a:lnTo>
                  <a:lnTo>
                    <a:pt x="136" y="278"/>
                  </a:lnTo>
                  <a:lnTo>
                    <a:pt x="140" y="274"/>
                  </a:lnTo>
                  <a:lnTo>
                    <a:pt x="144" y="266"/>
                  </a:lnTo>
                  <a:lnTo>
                    <a:pt x="264" y="266"/>
                  </a:lnTo>
                  <a:lnTo>
                    <a:pt x="264" y="294"/>
                  </a:lnTo>
                  <a:lnTo>
                    <a:pt x="304" y="256"/>
                  </a:lnTo>
                  <a:lnTo>
                    <a:pt x="264" y="220"/>
                  </a:lnTo>
                  <a:lnTo>
                    <a:pt x="264" y="246"/>
                  </a:lnTo>
                  <a:close/>
                  <a:moveTo>
                    <a:pt x="120" y="266"/>
                  </a:moveTo>
                  <a:lnTo>
                    <a:pt x="120" y="266"/>
                  </a:lnTo>
                  <a:lnTo>
                    <a:pt x="116" y="266"/>
                  </a:lnTo>
                  <a:lnTo>
                    <a:pt x="114" y="264"/>
                  </a:lnTo>
                  <a:lnTo>
                    <a:pt x="112" y="260"/>
                  </a:lnTo>
                  <a:lnTo>
                    <a:pt x="110" y="256"/>
                  </a:lnTo>
                  <a:lnTo>
                    <a:pt x="110" y="256"/>
                  </a:lnTo>
                  <a:lnTo>
                    <a:pt x="112" y="252"/>
                  </a:lnTo>
                  <a:lnTo>
                    <a:pt x="114" y="250"/>
                  </a:lnTo>
                  <a:lnTo>
                    <a:pt x="116" y="248"/>
                  </a:lnTo>
                  <a:lnTo>
                    <a:pt x="120" y="246"/>
                  </a:lnTo>
                  <a:lnTo>
                    <a:pt x="120" y="246"/>
                  </a:lnTo>
                  <a:lnTo>
                    <a:pt x="124" y="248"/>
                  </a:lnTo>
                  <a:lnTo>
                    <a:pt x="128" y="250"/>
                  </a:lnTo>
                  <a:lnTo>
                    <a:pt x="130" y="252"/>
                  </a:lnTo>
                  <a:lnTo>
                    <a:pt x="130" y="256"/>
                  </a:lnTo>
                  <a:lnTo>
                    <a:pt x="130" y="256"/>
                  </a:lnTo>
                  <a:lnTo>
                    <a:pt x="130" y="260"/>
                  </a:lnTo>
                  <a:lnTo>
                    <a:pt x="128" y="264"/>
                  </a:lnTo>
                  <a:lnTo>
                    <a:pt x="124" y="266"/>
                  </a:lnTo>
                  <a:lnTo>
                    <a:pt x="120" y="266"/>
                  </a:lnTo>
                  <a:lnTo>
                    <a:pt x="120" y="266"/>
                  </a:lnTo>
                  <a:close/>
                  <a:moveTo>
                    <a:pt x="216" y="210"/>
                  </a:moveTo>
                  <a:lnTo>
                    <a:pt x="216" y="210"/>
                  </a:lnTo>
                  <a:lnTo>
                    <a:pt x="226" y="208"/>
                  </a:lnTo>
                  <a:lnTo>
                    <a:pt x="234" y="204"/>
                  </a:lnTo>
                  <a:lnTo>
                    <a:pt x="240" y="194"/>
                  </a:lnTo>
                  <a:lnTo>
                    <a:pt x="242" y="184"/>
                  </a:lnTo>
                  <a:lnTo>
                    <a:pt x="242" y="184"/>
                  </a:lnTo>
                  <a:lnTo>
                    <a:pt x="240" y="174"/>
                  </a:lnTo>
                  <a:lnTo>
                    <a:pt x="234" y="166"/>
                  </a:lnTo>
                  <a:lnTo>
                    <a:pt x="226" y="160"/>
                  </a:lnTo>
                  <a:lnTo>
                    <a:pt x="216" y="158"/>
                  </a:lnTo>
                  <a:lnTo>
                    <a:pt x="216" y="158"/>
                  </a:lnTo>
                  <a:lnTo>
                    <a:pt x="208" y="160"/>
                  </a:lnTo>
                  <a:lnTo>
                    <a:pt x="200" y="164"/>
                  </a:lnTo>
                  <a:lnTo>
                    <a:pt x="196" y="168"/>
                  </a:lnTo>
                  <a:lnTo>
                    <a:pt x="192" y="174"/>
                  </a:lnTo>
                  <a:lnTo>
                    <a:pt x="50" y="174"/>
                  </a:lnTo>
                  <a:lnTo>
                    <a:pt x="50" y="174"/>
                  </a:lnTo>
                  <a:lnTo>
                    <a:pt x="46" y="168"/>
                  </a:lnTo>
                  <a:lnTo>
                    <a:pt x="42" y="164"/>
                  </a:lnTo>
                  <a:lnTo>
                    <a:pt x="34" y="160"/>
                  </a:lnTo>
                  <a:lnTo>
                    <a:pt x="26" y="158"/>
                  </a:lnTo>
                  <a:lnTo>
                    <a:pt x="26" y="158"/>
                  </a:lnTo>
                  <a:lnTo>
                    <a:pt x="16" y="160"/>
                  </a:lnTo>
                  <a:lnTo>
                    <a:pt x="8" y="166"/>
                  </a:lnTo>
                  <a:lnTo>
                    <a:pt x="2" y="174"/>
                  </a:lnTo>
                  <a:lnTo>
                    <a:pt x="0" y="184"/>
                  </a:lnTo>
                  <a:lnTo>
                    <a:pt x="0" y="184"/>
                  </a:lnTo>
                  <a:lnTo>
                    <a:pt x="2" y="194"/>
                  </a:lnTo>
                  <a:lnTo>
                    <a:pt x="8" y="204"/>
                  </a:lnTo>
                  <a:lnTo>
                    <a:pt x="16" y="208"/>
                  </a:lnTo>
                  <a:lnTo>
                    <a:pt x="26" y="210"/>
                  </a:lnTo>
                  <a:lnTo>
                    <a:pt x="26" y="210"/>
                  </a:lnTo>
                  <a:lnTo>
                    <a:pt x="34" y="210"/>
                  </a:lnTo>
                  <a:lnTo>
                    <a:pt x="42" y="206"/>
                  </a:lnTo>
                  <a:lnTo>
                    <a:pt x="46" y="202"/>
                  </a:lnTo>
                  <a:lnTo>
                    <a:pt x="50" y="194"/>
                  </a:lnTo>
                  <a:lnTo>
                    <a:pt x="192" y="194"/>
                  </a:lnTo>
                  <a:lnTo>
                    <a:pt x="192" y="194"/>
                  </a:lnTo>
                  <a:lnTo>
                    <a:pt x="196" y="202"/>
                  </a:lnTo>
                  <a:lnTo>
                    <a:pt x="200" y="206"/>
                  </a:lnTo>
                  <a:lnTo>
                    <a:pt x="208" y="210"/>
                  </a:lnTo>
                  <a:lnTo>
                    <a:pt x="216" y="210"/>
                  </a:lnTo>
                  <a:lnTo>
                    <a:pt x="216" y="210"/>
                  </a:lnTo>
                  <a:close/>
                  <a:moveTo>
                    <a:pt x="26" y="194"/>
                  </a:moveTo>
                  <a:lnTo>
                    <a:pt x="26" y="194"/>
                  </a:lnTo>
                  <a:lnTo>
                    <a:pt x="22" y="194"/>
                  </a:lnTo>
                  <a:lnTo>
                    <a:pt x="20" y="192"/>
                  </a:lnTo>
                  <a:lnTo>
                    <a:pt x="18" y="188"/>
                  </a:lnTo>
                  <a:lnTo>
                    <a:pt x="16" y="184"/>
                  </a:lnTo>
                  <a:lnTo>
                    <a:pt x="16" y="184"/>
                  </a:lnTo>
                  <a:lnTo>
                    <a:pt x="18" y="180"/>
                  </a:lnTo>
                  <a:lnTo>
                    <a:pt x="20" y="178"/>
                  </a:lnTo>
                  <a:lnTo>
                    <a:pt x="22" y="176"/>
                  </a:lnTo>
                  <a:lnTo>
                    <a:pt x="26" y="174"/>
                  </a:lnTo>
                  <a:lnTo>
                    <a:pt x="26" y="174"/>
                  </a:lnTo>
                  <a:lnTo>
                    <a:pt x="30" y="176"/>
                  </a:lnTo>
                  <a:lnTo>
                    <a:pt x="34" y="178"/>
                  </a:lnTo>
                  <a:lnTo>
                    <a:pt x="36" y="180"/>
                  </a:lnTo>
                  <a:lnTo>
                    <a:pt x="36" y="184"/>
                  </a:lnTo>
                  <a:lnTo>
                    <a:pt x="36" y="184"/>
                  </a:lnTo>
                  <a:lnTo>
                    <a:pt x="36" y="188"/>
                  </a:lnTo>
                  <a:lnTo>
                    <a:pt x="34" y="192"/>
                  </a:lnTo>
                  <a:lnTo>
                    <a:pt x="30" y="194"/>
                  </a:lnTo>
                  <a:lnTo>
                    <a:pt x="26" y="194"/>
                  </a:lnTo>
                  <a:lnTo>
                    <a:pt x="26" y="194"/>
                  </a:lnTo>
                  <a:close/>
                  <a:moveTo>
                    <a:pt x="26" y="62"/>
                  </a:moveTo>
                  <a:lnTo>
                    <a:pt x="26" y="62"/>
                  </a:lnTo>
                  <a:lnTo>
                    <a:pt x="34" y="60"/>
                  </a:lnTo>
                  <a:lnTo>
                    <a:pt x="42" y="58"/>
                  </a:lnTo>
                  <a:lnTo>
                    <a:pt x="46" y="52"/>
                  </a:lnTo>
                  <a:lnTo>
                    <a:pt x="50" y="46"/>
                  </a:lnTo>
                  <a:lnTo>
                    <a:pt x="152" y="46"/>
                  </a:lnTo>
                  <a:lnTo>
                    <a:pt x="152" y="72"/>
                  </a:lnTo>
                  <a:lnTo>
                    <a:pt x="194" y="36"/>
                  </a:lnTo>
                  <a:lnTo>
                    <a:pt x="152" y="0"/>
                  </a:lnTo>
                  <a:lnTo>
                    <a:pt x="152" y="26"/>
                  </a:lnTo>
                  <a:lnTo>
                    <a:pt x="50" y="26"/>
                  </a:lnTo>
                  <a:lnTo>
                    <a:pt x="50" y="26"/>
                  </a:lnTo>
                  <a:lnTo>
                    <a:pt x="46" y="20"/>
                  </a:lnTo>
                  <a:lnTo>
                    <a:pt x="42" y="14"/>
                  </a:lnTo>
                  <a:lnTo>
                    <a:pt x="34" y="12"/>
                  </a:lnTo>
                  <a:lnTo>
                    <a:pt x="26" y="10"/>
                  </a:lnTo>
                  <a:lnTo>
                    <a:pt x="26" y="10"/>
                  </a:lnTo>
                  <a:lnTo>
                    <a:pt x="16" y="12"/>
                  </a:lnTo>
                  <a:lnTo>
                    <a:pt x="8" y="18"/>
                  </a:lnTo>
                  <a:lnTo>
                    <a:pt x="2" y="26"/>
                  </a:lnTo>
                  <a:lnTo>
                    <a:pt x="0" y="36"/>
                  </a:lnTo>
                  <a:lnTo>
                    <a:pt x="0" y="36"/>
                  </a:lnTo>
                  <a:lnTo>
                    <a:pt x="2" y="46"/>
                  </a:lnTo>
                  <a:lnTo>
                    <a:pt x="8" y="54"/>
                  </a:lnTo>
                  <a:lnTo>
                    <a:pt x="16" y="60"/>
                  </a:lnTo>
                  <a:lnTo>
                    <a:pt x="26" y="62"/>
                  </a:lnTo>
                  <a:lnTo>
                    <a:pt x="26" y="62"/>
                  </a:lnTo>
                  <a:close/>
                  <a:moveTo>
                    <a:pt x="26" y="26"/>
                  </a:moveTo>
                  <a:lnTo>
                    <a:pt x="26" y="26"/>
                  </a:lnTo>
                  <a:lnTo>
                    <a:pt x="30" y="26"/>
                  </a:lnTo>
                  <a:lnTo>
                    <a:pt x="34" y="30"/>
                  </a:lnTo>
                  <a:lnTo>
                    <a:pt x="36" y="32"/>
                  </a:lnTo>
                  <a:lnTo>
                    <a:pt x="36" y="36"/>
                  </a:lnTo>
                  <a:lnTo>
                    <a:pt x="36" y="36"/>
                  </a:lnTo>
                  <a:lnTo>
                    <a:pt x="36" y="40"/>
                  </a:lnTo>
                  <a:lnTo>
                    <a:pt x="34" y="44"/>
                  </a:lnTo>
                  <a:lnTo>
                    <a:pt x="30" y="46"/>
                  </a:lnTo>
                  <a:lnTo>
                    <a:pt x="26" y="46"/>
                  </a:lnTo>
                  <a:lnTo>
                    <a:pt x="26" y="46"/>
                  </a:lnTo>
                  <a:lnTo>
                    <a:pt x="22" y="46"/>
                  </a:lnTo>
                  <a:lnTo>
                    <a:pt x="20" y="44"/>
                  </a:lnTo>
                  <a:lnTo>
                    <a:pt x="18" y="40"/>
                  </a:lnTo>
                  <a:lnTo>
                    <a:pt x="16" y="36"/>
                  </a:lnTo>
                  <a:lnTo>
                    <a:pt x="16" y="36"/>
                  </a:lnTo>
                  <a:lnTo>
                    <a:pt x="18" y="32"/>
                  </a:lnTo>
                  <a:lnTo>
                    <a:pt x="20" y="30"/>
                  </a:lnTo>
                  <a:lnTo>
                    <a:pt x="22" y="26"/>
                  </a:lnTo>
                  <a:lnTo>
                    <a:pt x="26" y="26"/>
                  </a:lnTo>
                  <a:lnTo>
                    <a:pt x="26" y="26"/>
                  </a:lnTo>
                  <a:close/>
                  <a:moveTo>
                    <a:pt x="308" y="74"/>
                  </a:moveTo>
                  <a:lnTo>
                    <a:pt x="348" y="110"/>
                  </a:lnTo>
                  <a:lnTo>
                    <a:pt x="308" y="146"/>
                  </a:lnTo>
                  <a:lnTo>
                    <a:pt x="308" y="120"/>
                  </a:lnTo>
                  <a:lnTo>
                    <a:pt x="102" y="120"/>
                  </a:lnTo>
                  <a:lnTo>
                    <a:pt x="102" y="120"/>
                  </a:lnTo>
                  <a:lnTo>
                    <a:pt x="98" y="126"/>
                  </a:lnTo>
                  <a:lnTo>
                    <a:pt x="94" y="132"/>
                  </a:lnTo>
                  <a:lnTo>
                    <a:pt x="86" y="134"/>
                  </a:lnTo>
                  <a:lnTo>
                    <a:pt x="78" y="136"/>
                  </a:lnTo>
                  <a:lnTo>
                    <a:pt x="78" y="136"/>
                  </a:lnTo>
                  <a:lnTo>
                    <a:pt x="68" y="134"/>
                  </a:lnTo>
                  <a:lnTo>
                    <a:pt x="60" y="128"/>
                  </a:lnTo>
                  <a:lnTo>
                    <a:pt x="54" y="120"/>
                  </a:lnTo>
                  <a:lnTo>
                    <a:pt x="52" y="110"/>
                  </a:lnTo>
                  <a:lnTo>
                    <a:pt x="52" y="110"/>
                  </a:lnTo>
                  <a:lnTo>
                    <a:pt x="54" y="100"/>
                  </a:lnTo>
                  <a:lnTo>
                    <a:pt x="60" y="92"/>
                  </a:lnTo>
                  <a:lnTo>
                    <a:pt x="68" y="86"/>
                  </a:lnTo>
                  <a:lnTo>
                    <a:pt x="78" y="84"/>
                  </a:lnTo>
                  <a:lnTo>
                    <a:pt x="78" y="84"/>
                  </a:lnTo>
                  <a:lnTo>
                    <a:pt x="86" y="86"/>
                  </a:lnTo>
                  <a:lnTo>
                    <a:pt x="94" y="88"/>
                  </a:lnTo>
                  <a:lnTo>
                    <a:pt x="98" y="94"/>
                  </a:lnTo>
                  <a:lnTo>
                    <a:pt x="102" y="100"/>
                  </a:lnTo>
                  <a:lnTo>
                    <a:pt x="308" y="100"/>
                  </a:lnTo>
                  <a:lnTo>
                    <a:pt x="308" y="74"/>
                  </a:lnTo>
                  <a:close/>
                  <a:moveTo>
                    <a:pt x="362" y="10"/>
                  </a:moveTo>
                  <a:lnTo>
                    <a:pt x="362" y="10"/>
                  </a:lnTo>
                  <a:lnTo>
                    <a:pt x="354" y="12"/>
                  </a:lnTo>
                  <a:lnTo>
                    <a:pt x="348" y="14"/>
                  </a:lnTo>
                  <a:lnTo>
                    <a:pt x="342" y="20"/>
                  </a:lnTo>
                  <a:lnTo>
                    <a:pt x="338" y="26"/>
                  </a:lnTo>
                  <a:lnTo>
                    <a:pt x="276" y="26"/>
                  </a:lnTo>
                  <a:lnTo>
                    <a:pt x="276" y="26"/>
                  </a:lnTo>
                  <a:lnTo>
                    <a:pt x="272" y="20"/>
                  </a:lnTo>
                  <a:lnTo>
                    <a:pt x="266" y="14"/>
                  </a:lnTo>
                  <a:lnTo>
                    <a:pt x="260" y="12"/>
                  </a:lnTo>
                  <a:lnTo>
                    <a:pt x="252" y="10"/>
                  </a:lnTo>
                  <a:lnTo>
                    <a:pt x="252" y="10"/>
                  </a:lnTo>
                  <a:lnTo>
                    <a:pt x="242" y="12"/>
                  </a:lnTo>
                  <a:lnTo>
                    <a:pt x="234" y="18"/>
                  </a:lnTo>
                  <a:lnTo>
                    <a:pt x="228" y="26"/>
                  </a:lnTo>
                  <a:lnTo>
                    <a:pt x="226" y="36"/>
                  </a:lnTo>
                  <a:lnTo>
                    <a:pt x="226" y="36"/>
                  </a:lnTo>
                  <a:lnTo>
                    <a:pt x="228" y="46"/>
                  </a:lnTo>
                  <a:lnTo>
                    <a:pt x="234" y="54"/>
                  </a:lnTo>
                  <a:lnTo>
                    <a:pt x="242" y="60"/>
                  </a:lnTo>
                  <a:lnTo>
                    <a:pt x="252" y="62"/>
                  </a:lnTo>
                  <a:lnTo>
                    <a:pt x="252" y="62"/>
                  </a:lnTo>
                  <a:lnTo>
                    <a:pt x="260" y="60"/>
                  </a:lnTo>
                  <a:lnTo>
                    <a:pt x="266" y="58"/>
                  </a:lnTo>
                  <a:lnTo>
                    <a:pt x="272" y="52"/>
                  </a:lnTo>
                  <a:lnTo>
                    <a:pt x="276" y="46"/>
                  </a:lnTo>
                  <a:lnTo>
                    <a:pt x="338" y="46"/>
                  </a:lnTo>
                  <a:lnTo>
                    <a:pt x="338" y="46"/>
                  </a:lnTo>
                  <a:lnTo>
                    <a:pt x="342" y="52"/>
                  </a:lnTo>
                  <a:lnTo>
                    <a:pt x="348" y="58"/>
                  </a:lnTo>
                  <a:lnTo>
                    <a:pt x="354" y="60"/>
                  </a:lnTo>
                  <a:lnTo>
                    <a:pt x="362" y="62"/>
                  </a:lnTo>
                  <a:lnTo>
                    <a:pt x="362" y="62"/>
                  </a:lnTo>
                  <a:lnTo>
                    <a:pt x="372" y="60"/>
                  </a:lnTo>
                  <a:lnTo>
                    <a:pt x="380" y="54"/>
                  </a:lnTo>
                  <a:lnTo>
                    <a:pt x="386" y="46"/>
                  </a:lnTo>
                  <a:lnTo>
                    <a:pt x="388" y="36"/>
                  </a:lnTo>
                  <a:lnTo>
                    <a:pt x="388" y="36"/>
                  </a:lnTo>
                  <a:lnTo>
                    <a:pt x="386" y="26"/>
                  </a:lnTo>
                  <a:lnTo>
                    <a:pt x="380" y="18"/>
                  </a:lnTo>
                  <a:lnTo>
                    <a:pt x="372" y="12"/>
                  </a:lnTo>
                  <a:lnTo>
                    <a:pt x="362" y="10"/>
                  </a:lnTo>
                  <a:lnTo>
                    <a:pt x="362" y="10"/>
                  </a:lnTo>
                  <a:close/>
                  <a:moveTo>
                    <a:pt x="362" y="46"/>
                  </a:moveTo>
                  <a:lnTo>
                    <a:pt x="362" y="46"/>
                  </a:lnTo>
                  <a:lnTo>
                    <a:pt x="358" y="46"/>
                  </a:lnTo>
                  <a:lnTo>
                    <a:pt x="356" y="44"/>
                  </a:lnTo>
                  <a:lnTo>
                    <a:pt x="352" y="40"/>
                  </a:lnTo>
                  <a:lnTo>
                    <a:pt x="352" y="36"/>
                  </a:lnTo>
                  <a:lnTo>
                    <a:pt x="352" y="36"/>
                  </a:lnTo>
                  <a:lnTo>
                    <a:pt x="352" y="32"/>
                  </a:lnTo>
                  <a:lnTo>
                    <a:pt x="356" y="30"/>
                  </a:lnTo>
                  <a:lnTo>
                    <a:pt x="358" y="26"/>
                  </a:lnTo>
                  <a:lnTo>
                    <a:pt x="362" y="26"/>
                  </a:lnTo>
                  <a:lnTo>
                    <a:pt x="362" y="26"/>
                  </a:lnTo>
                  <a:lnTo>
                    <a:pt x="366" y="26"/>
                  </a:lnTo>
                  <a:lnTo>
                    <a:pt x="370" y="30"/>
                  </a:lnTo>
                  <a:lnTo>
                    <a:pt x="372" y="32"/>
                  </a:lnTo>
                  <a:lnTo>
                    <a:pt x="372" y="36"/>
                  </a:lnTo>
                  <a:lnTo>
                    <a:pt x="372" y="36"/>
                  </a:lnTo>
                  <a:lnTo>
                    <a:pt x="372" y="40"/>
                  </a:lnTo>
                  <a:lnTo>
                    <a:pt x="370" y="44"/>
                  </a:lnTo>
                  <a:lnTo>
                    <a:pt x="366" y="46"/>
                  </a:lnTo>
                  <a:lnTo>
                    <a:pt x="362" y="46"/>
                  </a:lnTo>
                  <a:lnTo>
                    <a:pt x="362" y="46"/>
                  </a:lnTo>
                  <a:close/>
                </a:path>
              </a:pathLst>
            </a:custGeom>
            <a:solidFill>
              <a:srgbClr val="3C3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68" name="Group 367">
            <a:extLst>
              <a:ext uri="{FF2B5EF4-FFF2-40B4-BE49-F238E27FC236}">
                <a16:creationId xmlns:a16="http://schemas.microsoft.com/office/drawing/2014/main" id="{C2FD73F5-25C1-44B3-AEE1-F6A3B9781CB3}"/>
              </a:ext>
            </a:extLst>
          </p:cNvPr>
          <p:cNvGrpSpPr/>
          <p:nvPr/>
        </p:nvGrpSpPr>
        <p:grpSpPr>
          <a:xfrm>
            <a:off x="6269256" y="2386226"/>
            <a:ext cx="612000" cy="612000"/>
            <a:chOff x="4966372" y="2258092"/>
            <a:chExt cx="612000" cy="612000"/>
          </a:xfrm>
        </p:grpSpPr>
        <p:sp>
          <p:nvSpPr>
            <p:cNvPr id="369" name="Oval 368">
              <a:extLst>
                <a:ext uri="{FF2B5EF4-FFF2-40B4-BE49-F238E27FC236}">
                  <a16:creationId xmlns:a16="http://schemas.microsoft.com/office/drawing/2014/main" id="{172DDC66-A187-4AB5-9AA3-2806BC5DE19E}"/>
                </a:ext>
              </a:extLst>
            </p:cNvPr>
            <p:cNvSpPr/>
            <p:nvPr/>
          </p:nvSpPr>
          <p:spPr bwMode="ltGray">
            <a:xfrm>
              <a:off x="4966372" y="225809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70" name="Freeform 4955">
              <a:extLst>
                <a:ext uri="{FF2B5EF4-FFF2-40B4-BE49-F238E27FC236}">
                  <a16:creationId xmlns:a16="http://schemas.microsoft.com/office/drawing/2014/main" id="{2E377608-7423-48CC-91BB-ED435476D258}"/>
                </a:ext>
              </a:extLst>
            </p:cNvPr>
            <p:cNvSpPr>
              <a:spLocks noEditPoints="1"/>
            </p:cNvSpPr>
            <p:nvPr/>
          </p:nvSpPr>
          <p:spPr bwMode="auto">
            <a:xfrm>
              <a:off x="5058360" y="2418104"/>
              <a:ext cx="430759" cy="300079"/>
            </a:xfrm>
            <a:custGeom>
              <a:avLst/>
              <a:gdLst>
                <a:gd name="T0" fmla="*/ 16 w 356"/>
                <a:gd name="T1" fmla="*/ 0 h 248"/>
                <a:gd name="T2" fmla="*/ 2 w 356"/>
                <a:gd name="T3" fmla="*/ 10 h 248"/>
                <a:gd name="T4" fmla="*/ 0 w 356"/>
                <a:gd name="T5" fmla="*/ 232 h 248"/>
                <a:gd name="T6" fmla="*/ 10 w 356"/>
                <a:gd name="T7" fmla="*/ 246 h 248"/>
                <a:gd name="T8" fmla="*/ 340 w 356"/>
                <a:gd name="T9" fmla="*/ 248 h 248"/>
                <a:gd name="T10" fmla="*/ 354 w 356"/>
                <a:gd name="T11" fmla="*/ 238 h 248"/>
                <a:gd name="T12" fmla="*/ 356 w 356"/>
                <a:gd name="T13" fmla="*/ 16 h 248"/>
                <a:gd name="T14" fmla="*/ 346 w 356"/>
                <a:gd name="T15" fmla="*/ 2 h 248"/>
                <a:gd name="T16" fmla="*/ 216 w 356"/>
                <a:gd name="T17" fmla="*/ 16 h 248"/>
                <a:gd name="T18" fmla="*/ 216 w 356"/>
                <a:gd name="T19" fmla="*/ 40 h 248"/>
                <a:gd name="T20" fmla="*/ 168 w 356"/>
                <a:gd name="T21" fmla="*/ 16 h 248"/>
                <a:gd name="T22" fmla="*/ 152 w 356"/>
                <a:gd name="T23" fmla="*/ 16 h 248"/>
                <a:gd name="T24" fmla="*/ 106 w 356"/>
                <a:gd name="T25" fmla="*/ 70 h 248"/>
                <a:gd name="T26" fmla="*/ 26 w 356"/>
                <a:gd name="T27" fmla="*/ 16 h 248"/>
                <a:gd name="T28" fmla="*/ 26 w 356"/>
                <a:gd name="T29" fmla="*/ 152 h 248"/>
                <a:gd name="T30" fmla="*/ 26 w 356"/>
                <a:gd name="T31" fmla="*/ 232 h 248"/>
                <a:gd name="T32" fmla="*/ 42 w 356"/>
                <a:gd name="T33" fmla="*/ 232 h 248"/>
                <a:gd name="T34" fmla="*/ 20 w 356"/>
                <a:gd name="T35" fmla="*/ 180 h 248"/>
                <a:gd name="T36" fmla="*/ 10 w 356"/>
                <a:gd name="T37" fmla="*/ 172 h 248"/>
                <a:gd name="T38" fmla="*/ 10 w 356"/>
                <a:gd name="T39" fmla="*/ 166 h 248"/>
                <a:gd name="T40" fmla="*/ 20 w 356"/>
                <a:gd name="T41" fmla="*/ 160 h 248"/>
                <a:gd name="T42" fmla="*/ 54 w 356"/>
                <a:gd name="T43" fmla="*/ 160 h 248"/>
                <a:gd name="T44" fmla="*/ 60 w 356"/>
                <a:gd name="T45" fmla="*/ 170 h 248"/>
                <a:gd name="T46" fmla="*/ 56 w 356"/>
                <a:gd name="T47" fmla="*/ 176 h 248"/>
                <a:gd name="T48" fmla="*/ 50 w 356"/>
                <a:gd name="T49" fmla="*/ 180 h 248"/>
                <a:gd name="T50" fmla="*/ 90 w 356"/>
                <a:gd name="T51" fmla="*/ 106 h 248"/>
                <a:gd name="T52" fmla="*/ 112 w 356"/>
                <a:gd name="T53" fmla="*/ 98 h 248"/>
                <a:gd name="T54" fmla="*/ 78 w 356"/>
                <a:gd name="T55" fmla="*/ 98 h 248"/>
                <a:gd name="T56" fmla="*/ 72 w 356"/>
                <a:gd name="T57" fmla="*/ 88 h 248"/>
                <a:gd name="T58" fmla="*/ 76 w 356"/>
                <a:gd name="T59" fmla="*/ 82 h 248"/>
                <a:gd name="T60" fmla="*/ 112 w 356"/>
                <a:gd name="T61" fmla="*/ 78 h 248"/>
                <a:gd name="T62" fmla="*/ 120 w 356"/>
                <a:gd name="T63" fmla="*/ 82 h 248"/>
                <a:gd name="T64" fmla="*/ 122 w 356"/>
                <a:gd name="T65" fmla="*/ 88 h 248"/>
                <a:gd name="T66" fmla="*/ 116 w 356"/>
                <a:gd name="T67" fmla="*/ 98 h 248"/>
                <a:gd name="T68" fmla="*/ 168 w 356"/>
                <a:gd name="T69" fmla="*/ 232 h 248"/>
                <a:gd name="T70" fmla="*/ 168 w 356"/>
                <a:gd name="T71" fmla="*/ 142 h 248"/>
                <a:gd name="T72" fmla="*/ 146 w 356"/>
                <a:gd name="T73" fmla="*/ 134 h 248"/>
                <a:gd name="T74" fmla="*/ 138 w 356"/>
                <a:gd name="T75" fmla="*/ 132 h 248"/>
                <a:gd name="T76" fmla="*/ 136 w 356"/>
                <a:gd name="T77" fmla="*/ 124 h 248"/>
                <a:gd name="T78" fmla="*/ 142 w 356"/>
                <a:gd name="T79" fmla="*/ 114 h 248"/>
                <a:gd name="T80" fmla="*/ 176 w 356"/>
                <a:gd name="T81" fmla="*/ 114 h 248"/>
                <a:gd name="T82" fmla="*/ 186 w 356"/>
                <a:gd name="T83" fmla="*/ 120 h 248"/>
                <a:gd name="T84" fmla="*/ 186 w 356"/>
                <a:gd name="T85" fmla="*/ 128 h 248"/>
                <a:gd name="T86" fmla="*/ 176 w 356"/>
                <a:gd name="T87" fmla="*/ 134 h 248"/>
                <a:gd name="T88" fmla="*/ 216 w 356"/>
                <a:gd name="T89" fmla="*/ 232 h 248"/>
                <a:gd name="T90" fmla="*/ 232 w 356"/>
                <a:gd name="T91" fmla="*/ 232 h 248"/>
                <a:gd name="T92" fmla="*/ 208 w 356"/>
                <a:gd name="T93" fmla="*/ 68 h 248"/>
                <a:gd name="T94" fmla="*/ 200 w 356"/>
                <a:gd name="T95" fmla="*/ 62 h 248"/>
                <a:gd name="T96" fmla="*/ 200 w 356"/>
                <a:gd name="T97" fmla="*/ 54 h 248"/>
                <a:gd name="T98" fmla="*/ 208 w 356"/>
                <a:gd name="T99" fmla="*/ 48 h 248"/>
                <a:gd name="T100" fmla="*/ 242 w 356"/>
                <a:gd name="T101" fmla="*/ 50 h 248"/>
                <a:gd name="T102" fmla="*/ 248 w 356"/>
                <a:gd name="T103" fmla="*/ 58 h 248"/>
                <a:gd name="T104" fmla="*/ 246 w 356"/>
                <a:gd name="T105" fmla="*/ 66 h 248"/>
                <a:gd name="T106" fmla="*/ 238 w 356"/>
                <a:gd name="T107" fmla="*/ 68 h 248"/>
                <a:gd name="T108" fmla="*/ 328 w 356"/>
                <a:gd name="T109" fmla="*/ 124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6" h="248">
                  <a:moveTo>
                    <a:pt x="340" y="0"/>
                  </a:moveTo>
                  <a:lnTo>
                    <a:pt x="16" y="0"/>
                  </a:lnTo>
                  <a:lnTo>
                    <a:pt x="16" y="0"/>
                  </a:lnTo>
                  <a:lnTo>
                    <a:pt x="10" y="2"/>
                  </a:lnTo>
                  <a:lnTo>
                    <a:pt x="4" y="4"/>
                  </a:lnTo>
                  <a:lnTo>
                    <a:pt x="2" y="10"/>
                  </a:lnTo>
                  <a:lnTo>
                    <a:pt x="0" y="16"/>
                  </a:lnTo>
                  <a:lnTo>
                    <a:pt x="0" y="232"/>
                  </a:lnTo>
                  <a:lnTo>
                    <a:pt x="0" y="232"/>
                  </a:lnTo>
                  <a:lnTo>
                    <a:pt x="2" y="238"/>
                  </a:lnTo>
                  <a:lnTo>
                    <a:pt x="4" y="244"/>
                  </a:lnTo>
                  <a:lnTo>
                    <a:pt x="10" y="246"/>
                  </a:lnTo>
                  <a:lnTo>
                    <a:pt x="16" y="248"/>
                  </a:lnTo>
                  <a:lnTo>
                    <a:pt x="340" y="248"/>
                  </a:lnTo>
                  <a:lnTo>
                    <a:pt x="340" y="248"/>
                  </a:lnTo>
                  <a:lnTo>
                    <a:pt x="346" y="246"/>
                  </a:lnTo>
                  <a:lnTo>
                    <a:pt x="352" y="244"/>
                  </a:lnTo>
                  <a:lnTo>
                    <a:pt x="354" y="238"/>
                  </a:lnTo>
                  <a:lnTo>
                    <a:pt x="356" y="232"/>
                  </a:lnTo>
                  <a:lnTo>
                    <a:pt x="356" y="16"/>
                  </a:lnTo>
                  <a:lnTo>
                    <a:pt x="356" y="16"/>
                  </a:lnTo>
                  <a:lnTo>
                    <a:pt x="354" y="10"/>
                  </a:lnTo>
                  <a:lnTo>
                    <a:pt x="352" y="4"/>
                  </a:lnTo>
                  <a:lnTo>
                    <a:pt x="346" y="2"/>
                  </a:lnTo>
                  <a:lnTo>
                    <a:pt x="340" y="0"/>
                  </a:lnTo>
                  <a:lnTo>
                    <a:pt x="340" y="0"/>
                  </a:lnTo>
                  <a:close/>
                  <a:moveTo>
                    <a:pt x="216" y="16"/>
                  </a:moveTo>
                  <a:lnTo>
                    <a:pt x="232" y="16"/>
                  </a:lnTo>
                  <a:lnTo>
                    <a:pt x="232" y="40"/>
                  </a:lnTo>
                  <a:lnTo>
                    <a:pt x="216" y="40"/>
                  </a:lnTo>
                  <a:lnTo>
                    <a:pt x="216" y="16"/>
                  </a:lnTo>
                  <a:close/>
                  <a:moveTo>
                    <a:pt x="152" y="16"/>
                  </a:moveTo>
                  <a:lnTo>
                    <a:pt x="168" y="16"/>
                  </a:lnTo>
                  <a:lnTo>
                    <a:pt x="168" y="106"/>
                  </a:lnTo>
                  <a:lnTo>
                    <a:pt x="152" y="106"/>
                  </a:lnTo>
                  <a:lnTo>
                    <a:pt x="152" y="16"/>
                  </a:lnTo>
                  <a:close/>
                  <a:moveTo>
                    <a:pt x="90" y="16"/>
                  </a:moveTo>
                  <a:lnTo>
                    <a:pt x="106" y="16"/>
                  </a:lnTo>
                  <a:lnTo>
                    <a:pt x="106" y="70"/>
                  </a:lnTo>
                  <a:lnTo>
                    <a:pt x="90" y="70"/>
                  </a:lnTo>
                  <a:lnTo>
                    <a:pt x="90" y="16"/>
                  </a:lnTo>
                  <a:close/>
                  <a:moveTo>
                    <a:pt x="26" y="16"/>
                  </a:moveTo>
                  <a:lnTo>
                    <a:pt x="42" y="16"/>
                  </a:lnTo>
                  <a:lnTo>
                    <a:pt x="42" y="152"/>
                  </a:lnTo>
                  <a:lnTo>
                    <a:pt x="26" y="152"/>
                  </a:lnTo>
                  <a:lnTo>
                    <a:pt x="26" y="16"/>
                  </a:lnTo>
                  <a:close/>
                  <a:moveTo>
                    <a:pt x="42" y="232"/>
                  </a:moveTo>
                  <a:lnTo>
                    <a:pt x="26" y="232"/>
                  </a:lnTo>
                  <a:lnTo>
                    <a:pt x="26" y="188"/>
                  </a:lnTo>
                  <a:lnTo>
                    <a:pt x="42" y="188"/>
                  </a:lnTo>
                  <a:lnTo>
                    <a:pt x="42" y="232"/>
                  </a:lnTo>
                  <a:close/>
                  <a:moveTo>
                    <a:pt x="50" y="180"/>
                  </a:moveTo>
                  <a:lnTo>
                    <a:pt x="20" y="180"/>
                  </a:lnTo>
                  <a:lnTo>
                    <a:pt x="20" y="180"/>
                  </a:lnTo>
                  <a:lnTo>
                    <a:pt x="16" y="178"/>
                  </a:lnTo>
                  <a:lnTo>
                    <a:pt x="12" y="176"/>
                  </a:lnTo>
                  <a:lnTo>
                    <a:pt x="10" y="172"/>
                  </a:lnTo>
                  <a:lnTo>
                    <a:pt x="10" y="170"/>
                  </a:lnTo>
                  <a:lnTo>
                    <a:pt x="10" y="170"/>
                  </a:lnTo>
                  <a:lnTo>
                    <a:pt x="10" y="166"/>
                  </a:lnTo>
                  <a:lnTo>
                    <a:pt x="12" y="162"/>
                  </a:lnTo>
                  <a:lnTo>
                    <a:pt x="16" y="160"/>
                  </a:lnTo>
                  <a:lnTo>
                    <a:pt x="20" y="160"/>
                  </a:lnTo>
                  <a:lnTo>
                    <a:pt x="50" y="160"/>
                  </a:lnTo>
                  <a:lnTo>
                    <a:pt x="50" y="160"/>
                  </a:lnTo>
                  <a:lnTo>
                    <a:pt x="54" y="160"/>
                  </a:lnTo>
                  <a:lnTo>
                    <a:pt x="56" y="162"/>
                  </a:lnTo>
                  <a:lnTo>
                    <a:pt x="60" y="166"/>
                  </a:lnTo>
                  <a:lnTo>
                    <a:pt x="60" y="170"/>
                  </a:lnTo>
                  <a:lnTo>
                    <a:pt x="60" y="170"/>
                  </a:lnTo>
                  <a:lnTo>
                    <a:pt x="60" y="172"/>
                  </a:lnTo>
                  <a:lnTo>
                    <a:pt x="56" y="176"/>
                  </a:lnTo>
                  <a:lnTo>
                    <a:pt x="54" y="178"/>
                  </a:lnTo>
                  <a:lnTo>
                    <a:pt x="50" y="180"/>
                  </a:lnTo>
                  <a:lnTo>
                    <a:pt x="50" y="180"/>
                  </a:lnTo>
                  <a:close/>
                  <a:moveTo>
                    <a:pt x="106" y="232"/>
                  </a:moveTo>
                  <a:lnTo>
                    <a:pt x="90" y="232"/>
                  </a:lnTo>
                  <a:lnTo>
                    <a:pt x="90" y="106"/>
                  </a:lnTo>
                  <a:lnTo>
                    <a:pt x="106" y="106"/>
                  </a:lnTo>
                  <a:lnTo>
                    <a:pt x="106" y="232"/>
                  </a:lnTo>
                  <a:close/>
                  <a:moveTo>
                    <a:pt x="112" y="98"/>
                  </a:moveTo>
                  <a:lnTo>
                    <a:pt x="82" y="98"/>
                  </a:lnTo>
                  <a:lnTo>
                    <a:pt x="82" y="98"/>
                  </a:lnTo>
                  <a:lnTo>
                    <a:pt x="78" y="98"/>
                  </a:lnTo>
                  <a:lnTo>
                    <a:pt x="76" y="96"/>
                  </a:lnTo>
                  <a:lnTo>
                    <a:pt x="74" y="92"/>
                  </a:lnTo>
                  <a:lnTo>
                    <a:pt x="72" y="88"/>
                  </a:lnTo>
                  <a:lnTo>
                    <a:pt x="72" y="88"/>
                  </a:lnTo>
                  <a:lnTo>
                    <a:pt x="74" y="86"/>
                  </a:lnTo>
                  <a:lnTo>
                    <a:pt x="76" y="82"/>
                  </a:lnTo>
                  <a:lnTo>
                    <a:pt x="78" y="80"/>
                  </a:lnTo>
                  <a:lnTo>
                    <a:pt x="82" y="78"/>
                  </a:lnTo>
                  <a:lnTo>
                    <a:pt x="112" y="78"/>
                  </a:lnTo>
                  <a:lnTo>
                    <a:pt x="112" y="78"/>
                  </a:lnTo>
                  <a:lnTo>
                    <a:pt x="116" y="80"/>
                  </a:lnTo>
                  <a:lnTo>
                    <a:pt x="120" y="82"/>
                  </a:lnTo>
                  <a:lnTo>
                    <a:pt x="122" y="86"/>
                  </a:lnTo>
                  <a:lnTo>
                    <a:pt x="122" y="88"/>
                  </a:lnTo>
                  <a:lnTo>
                    <a:pt x="122" y="88"/>
                  </a:lnTo>
                  <a:lnTo>
                    <a:pt x="122" y="92"/>
                  </a:lnTo>
                  <a:lnTo>
                    <a:pt x="120" y="96"/>
                  </a:lnTo>
                  <a:lnTo>
                    <a:pt x="116" y="98"/>
                  </a:lnTo>
                  <a:lnTo>
                    <a:pt x="112" y="98"/>
                  </a:lnTo>
                  <a:lnTo>
                    <a:pt x="112" y="98"/>
                  </a:lnTo>
                  <a:close/>
                  <a:moveTo>
                    <a:pt x="168" y="232"/>
                  </a:moveTo>
                  <a:lnTo>
                    <a:pt x="152" y="232"/>
                  </a:lnTo>
                  <a:lnTo>
                    <a:pt x="152" y="142"/>
                  </a:lnTo>
                  <a:lnTo>
                    <a:pt x="168" y="142"/>
                  </a:lnTo>
                  <a:lnTo>
                    <a:pt x="168" y="232"/>
                  </a:lnTo>
                  <a:close/>
                  <a:moveTo>
                    <a:pt x="176" y="134"/>
                  </a:moveTo>
                  <a:lnTo>
                    <a:pt x="146" y="134"/>
                  </a:lnTo>
                  <a:lnTo>
                    <a:pt x="146" y="134"/>
                  </a:lnTo>
                  <a:lnTo>
                    <a:pt x="142" y="134"/>
                  </a:lnTo>
                  <a:lnTo>
                    <a:pt x="138" y="132"/>
                  </a:lnTo>
                  <a:lnTo>
                    <a:pt x="136" y="128"/>
                  </a:lnTo>
                  <a:lnTo>
                    <a:pt x="136" y="124"/>
                  </a:lnTo>
                  <a:lnTo>
                    <a:pt x="136" y="124"/>
                  </a:lnTo>
                  <a:lnTo>
                    <a:pt x="136" y="120"/>
                  </a:lnTo>
                  <a:lnTo>
                    <a:pt x="138" y="116"/>
                  </a:lnTo>
                  <a:lnTo>
                    <a:pt x="142" y="114"/>
                  </a:lnTo>
                  <a:lnTo>
                    <a:pt x="146" y="114"/>
                  </a:lnTo>
                  <a:lnTo>
                    <a:pt x="176" y="114"/>
                  </a:lnTo>
                  <a:lnTo>
                    <a:pt x="176" y="114"/>
                  </a:lnTo>
                  <a:lnTo>
                    <a:pt x="180" y="114"/>
                  </a:lnTo>
                  <a:lnTo>
                    <a:pt x="182" y="116"/>
                  </a:lnTo>
                  <a:lnTo>
                    <a:pt x="186" y="120"/>
                  </a:lnTo>
                  <a:lnTo>
                    <a:pt x="186" y="124"/>
                  </a:lnTo>
                  <a:lnTo>
                    <a:pt x="186" y="124"/>
                  </a:lnTo>
                  <a:lnTo>
                    <a:pt x="186" y="128"/>
                  </a:lnTo>
                  <a:lnTo>
                    <a:pt x="182" y="132"/>
                  </a:lnTo>
                  <a:lnTo>
                    <a:pt x="180" y="134"/>
                  </a:lnTo>
                  <a:lnTo>
                    <a:pt x="176" y="134"/>
                  </a:lnTo>
                  <a:lnTo>
                    <a:pt x="176" y="134"/>
                  </a:lnTo>
                  <a:close/>
                  <a:moveTo>
                    <a:pt x="232" y="232"/>
                  </a:moveTo>
                  <a:lnTo>
                    <a:pt x="216" y="232"/>
                  </a:lnTo>
                  <a:lnTo>
                    <a:pt x="216" y="76"/>
                  </a:lnTo>
                  <a:lnTo>
                    <a:pt x="232" y="76"/>
                  </a:lnTo>
                  <a:lnTo>
                    <a:pt x="232" y="232"/>
                  </a:lnTo>
                  <a:close/>
                  <a:moveTo>
                    <a:pt x="238" y="68"/>
                  </a:moveTo>
                  <a:lnTo>
                    <a:pt x="208" y="68"/>
                  </a:lnTo>
                  <a:lnTo>
                    <a:pt x="208" y="68"/>
                  </a:lnTo>
                  <a:lnTo>
                    <a:pt x="204" y="68"/>
                  </a:lnTo>
                  <a:lnTo>
                    <a:pt x="202" y="66"/>
                  </a:lnTo>
                  <a:lnTo>
                    <a:pt x="200" y="62"/>
                  </a:lnTo>
                  <a:lnTo>
                    <a:pt x="198" y="58"/>
                  </a:lnTo>
                  <a:lnTo>
                    <a:pt x="198" y="58"/>
                  </a:lnTo>
                  <a:lnTo>
                    <a:pt x="200" y="54"/>
                  </a:lnTo>
                  <a:lnTo>
                    <a:pt x="202" y="52"/>
                  </a:lnTo>
                  <a:lnTo>
                    <a:pt x="204" y="50"/>
                  </a:lnTo>
                  <a:lnTo>
                    <a:pt x="208" y="48"/>
                  </a:lnTo>
                  <a:lnTo>
                    <a:pt x="238" y="48"/>
                  </a:lnTo>
                  <a:lnTo>
                    <a:pt x="238" y="48"/>
                  </a:lnTo>
                  <a:lnTo>
                    <a:pt x="242" y="50"/>
                  </a:lnTo>
                  <a:lnTo>
                    <a:pt x="246" y="52"/>
                  </a:lnTo>
                  <a:lnTo>
                    <a:pt x="248" y="54"/>
                  </a:lnTo>
                  <a:lnTo>
                    <a:pt x="248" y="58"/>
                  </a:lnTo>
                  <a:lnTo>
                    <a:pt x="248" y="58"/>
                  </a:lnTo>
                  <a:lnTo>
                    <a:pt x="248" y="62"/>
                  </a:lnTo>
                  <a:lnTo>
                    <a:pt x="246" y="66"/>
                  </a:lnTo>
                  <a:lnTo>
                    <a:pt x="242" y="68"/>
                  </a:lnTo>
                  <a:lnTo>
                    <a:pt x="238" y="68"/>
                  </a:lnTo>
                  <a:lnTo>
                    <a:pt x="238" y="68"/>
                  </a:lnTo>
                  <a:close/>
                  <a:moveTo>
                    <a:pt x="278" y="158"/>
                  </a:moveTo>
                  <a:lnTo>
                    <a:pt x="278" y="90"/>
                  </a:lnTo>
                  <a:lnTo>
                    <a:pt x="328" y="124"/>
                  </a:lnTo>
                  <a:lnTo>
                    <a:pt x="278" y="158"/>
                  </a:lnTo>
                  <a:close/>
                </a:path>
              </a:pathLst>
            </a:custGeom>
            <a:solidFill>
              <a:srgbClr val="3C3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71" name="Group 370">
            <a:extLst>
              <a:ext uri="{FF2B5EF4-FFF2-40B4-BE49-F238E27FC236}">
                <a16:creationId xmlns:a16="http://schemas.microsoft.com/office/drawing/2014/main" id="{32DFF8EC-E7F1-4804-8DBF-A2F17DBB66B0}"/>
              </a:ext>
            </a:extLst>
          </p:cNvPr>
          <p:cNvGrpSpPr/>
          <p:nvPr/>
        </p:nvGrpSpPr>
        <p:grpSpPr>
          <a:xfrm>
            <a:off x="2115171" y="2380597"/>
            <a:ext cx="612000" cy="612000"/>
            <a:chOff x="592807" y="2258092"/>
            <a:chExt cx="612000" cy="612000"/>
          </a:xfrm>
        </p:grpSpPr>
        <p:sp>
          <p:nvSpPr>
            <p:cNvPr id="372" name="Oval 371">
              <a:extLst>
                <a:ext uri="{FF2B5EF4-FFF2-40B4-BE49-F238E27FC236}">
                  <a16:creationId xmlns:a16="http://schemas.microsoft.com/office/drawing/2014/main" id="{4A55AEA2-1300-46DB-8824-98B8C024AAFF}"/>
                </a:ext>
              </a:extLst>
            </p:cNvPr>
            <p:cNvSpPr/>
            <p:nvPr/>
          </p:nvSpPr>
          <p:spPr bwMode="ltGray">
            <a:xfrm>
              <a:off x="592807" y="225809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73" name="Freeform 4956">
              <a:extLst>
                <a:ext uri="{FF2B5EF4-FFF2-40B4-BE49-F238E27FC236}">
                  <a16:creationId xmlns:a16="http://schemas.microsoft.com/office/drawing/2014/main" id="{F32B0579-11C6-42C1-8642-3C79A8B0C8A3}"/>
                </a:ext>
              </a:extLst>
            </p:cNvPr>
            <p:cNvSpPr>
              <a:spLocks noEditPoints="1"/>
            </p:cNvSpPr>
            <p:nvPr/>
          </p:nvSpPr>
          <p:spPr bwMode="auto">
            <a:xfrm>
              <a:off x="664871" y="2322544"/>
              <a:ext cx="479158" cy="473586"/>
            </a:xfrm>
            <a:custGeom>
              <a:avLst/>
              <a:gdLst>
                <a:gd name="T0" fmla="*/ 154 w 344"/>
                <a:gd name="T1" fmla="*/ 30 h 340"/>
                <a:gd name="T2" fmla="*/ 122 w 344"/>
                <a:gd name="T3" fmla="*/ 34 h 340"/>
                <a:gd name="T4" fmla="*/ 94 w 344"/>
                <a:gd name="T5" fmla="*/ 42 h 340"/>
                <a:gd name="T6" fmla="*/ 68 w 344"/>
                <a:gd name="T7" fmla="*/ 56 h 340"/>
                <a:gd name="T8" fmla="*/ 44 w 344"/>
                <a:gd name="T9" fmla="*/ 76 h 340"/>
                <a:gd name="T10" fmla="*/ 26 w 344"/>
                <a:gd name="T11" fmla="*/ 98 h 340"/>
                <a:gd name="T12" fmla="*/ 12 w 344"/>
                <a:gd name="T13" fmla="*/ 124 h 340"/>
                <a:gd name="T14" fmla="*/ 2 w 344"/>
                <a:gd name="T15" fmla="*/ 154 h 340"/>
                <a:gd name="T16" fmla="*/ 0 w 344"/>
                <a:gd name="T17" fmla="*/ 186 h 340"/>
                <a:gd name="T18" fmla="*/ 0 w 344"/>
                <a:gd name="T19" fmla="*/ 200 h 340"/>
                <a:gd name="T20" fmla="*/ 6 w 344"/>
                <a:gd name="T21" fmla="*/ 232 h 340"/>
                <a:gd name="T22" fmla="*/ 18 w 344"/>
                <a:gd name="T23" fmla="*/ 258 h 340"/>
                <a:gd name="T24" fmla="*/ 34 w 344"/>
                <a:gd name="T25" fmla="*/ 284 h 340"/>
                <a:gd name="T26" fmla="*/ 56 w 344"/>
                <a:gd name="T27" fmla="*/ 304 h 340"/>
                <a:gd name="T28" fmla="*/ 80 w 344"/>
                <a:gd name="T29" fmla="*/ 322 h 340"/>
                <a:gd name="T30" fmla="*/ 108 w 344"/>
                <a:gd name="T31" fmla="*/ 332 h 340"/>
                <a:gd name="T32" fmla="*/ 138 w 344"/>
                <a:gd name="T33" fmla="*/ 338 h 340"/>
                <a:gd name="T34" fmla="*/ 154 w 344"/>
                <a:gd name="T35" fmla="*/ 340 h 340"/>
                <a:gd name="T36" fmla="*/ 196 w 344"/>
                <a:gd name="T37" fmla="*/ 334 h 340"/>
                <a:gd name="T38" fmla="*/ 232 w 344"/>
                <a:gd name="T39" fmla="*/ 318 h 340"/>
                <a:gd name="T40" fmla="*/ 264 w 344"/>
                <a:gd name="T41" fmla="*/ 294 h 340"/>
                <a:gd name="T42" fmla="*/ 288 w 344"/>
                <a:gd name="T43" fmla="*/ 262 h 340"/>
                <a:gd name="T44" fmla="*/ 154 w 344"/>
                <a:gd name="T45" fmla="*/ 30 h 340"/>
                <a:gd name="T46" fmla="*/ 240 w 344"/>
                <a:gd name="T47" fmla="*/ 272 h 340"/>
                <a:gd name="T48" fmla="*/ 202 w 344"/>
                <a:gd name="T49" fmla="*/ 298 h 340"/>
                <a:gd name="T50" fmla="*/ 166 w 344"/>
                <a:gd name="T51" fmla="*/ 308 h 340"/>
                <a:gd name="T52" fmla="*/ 154 w 344"/>
                <a:gd name="T53" fmla="*/ 308 h 340"/>
                <a:gd name="T54" fmla="*/ 130 w 344"/>
                <a:gd name="T55" fmla="*/ 306 h 340"/>
                <a:gd name="T56" fmla="*/ 106 w 344"/>
                <a:gd name="T57" fmla="*/ 298 h 340"/>
                <a:gd name="T58" fmla="*/ 68 w 344"/>
                <a:gd name="T59" fmla="*/ 272 h 340"/>
                <a:gd name="T60" fmla="*/ 42 w 344"/>
                <a:gd name="T61" fmla="*/ 232 h 340"/>
                <a:gd name="T62" fmla="*/ 34 w 344"/>
                <a:gd name="T63" fmla="*/ 210 h 340"/>
                <a:gd name="T64" fmla="*/ 32 w 344"/>
                <a:gd name="T65" fmla="*/ 186 h 340"/>
                <a:gd name="T66" fmla="*/ 34 w 344"/>
                <a:gd name="T67" fmla="*/ 164 h 340"/>
                <a:gd name="T68" fmla="*/ 46 w 344"/>
                <a:gd name="T69" fmla="*/ 126 h 340"/>
                <a:gd name="T70" fmla="*/ 70 w 344"/>
                <a:gd name="T71" fmla="*/ 96 h 340"/>
                <a:gd name="T72" fmla="*/ 104 w 344"/>
                <a:gd name="T73" fmla="*/ 74 h 340"/>
                <a:gd name="T74" fmla="*/ 122 w 344"/>
                <a:gd name="T75" fmla="*/ 186 h 340"/>
                <a:gd name="T76" fmla="*/ 124 w 344"/>
                <a:gd name="T77" fmla="*/ 194 h 340"/>
                <a:gd name="T78" fmla="*/ 132 w 344"/>
                <a:gd name="T79" fmla="*/ 208 h 340"/>
                <a:gd name="T80" fmla="*/ 240 w 344"/>
                <a:gd name="T81" fmla="*/ 272 h 340"/>
                <a:gd name="T82" fmla="*/ 180 w 344"/>
                <a:gd name="T83" fmla="*/ 154 h 340"/>
                <a:gd name="T84" fmla="*/ 328 w 344"/>
                <a:gd name="T85" fmla="*/ 114 h 340"/>
                <a:gd name="T86" fmla="*/ 308 w 344"/>
                <a:gd name="T87" fmla="*/ 70 h 340"/>
                <a:gd name="T88" fmla="*/ 274 w 344"/>
                <a:gd name="T89" fmla="*/ 32 h 340"/>
                <a:gd name="T90" fmla="*/ 230 w 344"/>
                <a:gd name="T91" fmla="*/ 8 h 340"/>
                <a:gd name="T92" fmla="*/ 180 w 344"/>
                <a:gd name="T93" fmla="*/ 0 h 340"/>
                <a:gd name="T94" fmla="*/ 200 w 344"/>
                <a:gd name="T95" fmla="*/ 22 h 340"/>
                <a:gd name="T96" fmla="*/ 216 w 344"/>
                <a:gd name="T97" fmla="*/ 26 h 340"/>
                <a:gd name="T98" fmla="*/ 248 w 344"/>
                <a:gd name="T99" fmla="*/ 38 h 340"/>
                <a:gd name="T100" fmla="*/ 274 w 344"/>
                <a:gd name="T101" fmla="*/ 60 h 340"/>
                <a:gd name="T102" fmla="*/ 296 w 344"/>
                <a:gd name="T103" fmla="*/ 86 h 340"/>
                <a:gd name="T104" fmla="*/ 200 w 344"/>
                <a:gd name="T105" fmla="*/ 128 h 340"/>
                <a:gd name="T106" fmla="*/ 344 w 344"/>
                <a:gd name="T107" fmla="*/ 176 h 340"/>
                <a:gd name="T108" fmla="*/ 344 w 344"/>
                <a:gd name="T109" fmla="*/ 198 h 340"/>
                <a:gd name="T110" fmla="*/ 332 w 344"/>
                <a:gd name="T111" fmla="*/ 236 h 340"/>
                <a:gd name="T112" fmla="*/ 190 w 344"/>
                <a:gd name="T113" fmla="*/ 176 h 340"/>
                <a:gd name="T114" fmla="*/ 340 w 344"/>
                <a:gd name="T115" fmla="*/ 136 h 340"/>
                <a:gd name="T116" fmla="*/ 344 w 344"/>
                <a:gd name="T117" fmla="*/ 176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4" h="340">
                  <a:moveTo>
                    <a:pt x="154" y="30"/>
                  </a:moveTo>
                  <a:lnTo>
                    <a:pt x="154" y="30"/>
                  </a:lnTo>
                  <a:lnTo>
                    <a:pt x="138" y="32"/>
                  </a:lnTo>
                  <a:lnTo>
                    <a:pt x="122" y="34"/>
                  </a:lnTo>
                  <a:lnTo>
                    <a:pt x="108" y="38"/>
                  </a:lnTo>
                  <a:lnTo>
                    <a:pt x="94" y="42"/>
                  </a:lnTo>
                  <a:lnTo>
                    <a:pt x="80" y="50"/>
                  </a:lnTo>
                  <a:lnTo>
                    <a:pt x="68" y="56"/>
                  </a:lnTo>
                  <a:lnTo>
                    <a:pt x="56" y="66"/>
                  </a:lnTo>
                  <a:lnTo>
                    <a:pt x="44" y="76"/>
                  </a:lnTo>
                  <a:lnTo>
                    <a:pt x="34" y="86"/>
                  </a:lnTo>
                  <a:lnTo>
                    <a:pt x="26" y="98"/>
                  </a:lnTo>
                  <a:lnTo>
                    <a:pt x="18" y="112"/>
                  </a:lnTo>
                  <a:lnTo>
                    <a:pt x="12" y="124"/>
                  </a:lnTo>
                  <a:lnTo>
                    <a:pt x="6" y="140"/>
                  </a:lnTo>
                  <a:lnTo>
                    <a:pt x="2" y="154"/>
                  </a:lnTo>
                  <a:lnTo>
                    <a:pt x="0" y="170"/>
                  </a:lnTo>
                  <a:lnTo>
                    <a:pt x="0" y="186"/>
                  </a:lnTo>
                  <a:lnTo>
                    <a:pt x="0" y="186"/>
                  </a:lnTo>
                  <a:lnTo>
                    <a:pt x="0" y="200"/>
                  </a:lnTo>
                  <a:lnTo>
                    <a:pt x="2" y="216"/>
                  </a:lnTo>
                  <a:lnTo>
                    <a:pt x="6" y="232"/>
                  </a:lnTo>
                  <a:lnTo>
                    <a:pt x="12" y="246"/>
                  </a:lnTo>
                  <a:lnTo>
                    <a:pt x="18" y="258"/>
                  </a:lnTo>
                  <a:lnTo>
                    <a:pt x="26" y="272"/>
                  </a:lnTo>
                  <a:lnTo>
                    <a:pt x="34" y="284"/>
                  </a:lnTo>
                  <a:lnTo>
                    <a:pt x="44" y="294"/>
                  </a:lnTo>
                  <a:lnTo>
                    <a:pt x="56" y="304"/>
                  </a:lnTo>
                  <a:lnTo>
                    <a:pt x="68" y="314"/>
                  </a:lnTo>
                  <a:lnTo>
                    <a:pt x="80" y="322"/>
                  </a:lnTo>
                  <a:lnTo>
                    <a:pt x="94" y="328"/>
                  </a:lnTo>
                  <a:lnTo>
                    <a:pt x="108" y="332"/>
                  </a:lnTo>
                  <a:lnTo>
                    <a:pt x="122" y="336"/>
                  </a:lnTo>
                  <a:lnTo>
                    <a:pt x="138" y="338"/>
                  </a:lnTo>
                  <a:lnTo>
                    <a:pt x="154" y="340"/>
                  </a:lnTo>
                  <a:lnTo>
                    <a:pt x="154" y="340"/>
                  </a:lnTo>
                  <a:lnTo>
                    <a:pt x="176" y="338"/>
                  </a:lnTo>
                  <a:lnTo>
                    <a:pt x="196" y="334"/>
                  </a:lnTo>
                  <a:lnTo>
                    <a:pt x="214" y="328"/>
                  </a:lnTo>
                  <a:lnTo>
                    <a:pt x="232" y="318"/>
                  </a:lnTo>
                  <a:lnTo>
                    <a:pt x="248" y="308"/>
                  </a:lnTo>
                  <a:lnTo>
                    <a:pt x="264" y="294"/>
                  </a:lnTo>
                  <a:lnTo>
                    <a:pt x="276" y="278"/>
                  </a:lnTo>
                  <a:lnTo>
                    <a:pt x="288" y="262"/>
                  </a:lnTo>
                  <a:lnTo>
                    <a:pt x="154" y="186"/>
                  </a:lnTo>
                  <a:lnTo>
                    <a:pt x="154" y="30"/>
                  </a:lnTo>
                  <a:close/>
                  <a:moveTo>
                    <a:pt x="240" y="272"/>
                  </a:moveTo>
                  <a:lnTo>
                    <a:pt x="240" y="272"/>
                  </a:lnTo>
                  <a:lnTo>
                    <a:pt x="222" y="288"/>
                  </a:lnTo>
                  <a:lnTo>
                    <a:pt x="202" y="298"/>
                  </a:lnTo>
                  <a:lnTo>
                    <a:pt x="178" y="306"/>
                  </a:lnTo>
                  <a:lnTo>
                    <a:pt x="166" y="308"/>
                  </a:lnTo>
                  <a:lnTo>
                    <a:pt x="154" y="308"/>
                  </a:lnTo>
                  <a:lnTo>
                    <a:pt x="154" y="308"/>
                  </a:lnTo>
                  <a:lnTo>
                    <a:pt x="142" y="308"/>
                  </a:lnTo>
                  <a:lnTo>
                    <a:pt x="130" y="306"/>
                  </a:lnTo>
                  <a:lnTo>
                    <a:pt x="118" y="302"/>
                  </a:lnTo>
                  <a:lnTo>
                    <a:pt x="106" y="298"/>
                  </a:lnTo>
                  <a:lnTo>
                    <a:pt x="86" y="286"/>
                  </a:lnTo>
                  <a:lnTo>
                    <a:pt x="68" y="272"/>
                  </a:lnTo>
                  <a:lnTo>
                    <a:pt x="52" y="254"/>
                  </a:lnTo>
                  <a:lnTo>
                    <a:pt x="42" y="232"/>
                  </a:lnTo>
                  <a:lnTo>
                    <a:pt x="38" y="222"/>
                  </a:lnTo>
                  <a:lnTo>
                    <a:pt x="34" y="210"/>
                  </a:lnTo>
                  <a:lnTo>
                    <a:pt x="32" y="198"/>
                  </a:lnTo>
                  <a:lnTo>
                    <a:pt x="32" y="186"/>
                  </a:lnTo>
                  <a:lnTo>
                    <a:pt x="32" y="186"/>
                  </a:lnTo>
                  <a:lnTo>
                    <a:pt x="34" y="164"/>
                  </a:lnTo>
                  <a:lnTo>
                    <a:pt x="38" y="144"/>
                  </a:lnTo>
                  <a:lnTo>
                    <a:pt x="46" y="126"/>
                  </a:lnTo>
                  <a:lnTo>
                    <a:pt x="58" y="110"/>
                  </a:lnTo>
                  <a:lnTo>
                    <a:pt x="70" y="96"/>
                  </a:lnTo>
                  <a:lnTo>
                    <a:pt x="86" y="84"/>
                  </a:lnTo>
                  <a:lnTo>
                    <a:pt x="104" y="74"/>
                  </a:lnTo>
                  <a:lnTo>
                    <a:pt x="122" y="66"/>
                  </a:lnTo>
                  <a:lnTo>
                    <a:pt x="122" y="186"/>
                  </a:lnTo>
                  <a:lnTo>
                    <a:pt x="122" y="186"/>
                  </a:lnTo>
                  <a:lnTo>
                    <a:pt x="124" y="194"/>
                  </a:lnTo>
                  <a:lnTo>
                    <a:pt x="126" y="202"/>
                  </a:lnTo>
                  <a:lnTo>
                    <a:pt x="132" y="208"/>
                  </a:lnTo>
                  <a:lnTo>
                    <a:pt x="138" y="212"/>
                  </a:lnTo>
                  <a:lnTo>
                    <a:pt x="240" y="272"/>
                  </a:lnTo>
                  <a:close/>
                  <a:moveTo>
                    <a:pt x="180" y="0"/>
                  </a:moveTo>
                  <a:lnTo>
                    <a:pt x="180" y="154"/>
                  </a:lnTo>
                  <a:lnTo>
                    <a:pt x="328" y="114"/>
                  </a:lnTo>
                  <a:lnTo>
                    <a:pt x="328" y="114"/>
                  </a:lnTo>
                  <a:lnTo>
                    <a:pt x="320" y="90"/>
                  </a:lnTo>
                  <a:lnTo>
                    <a:pt x="308" y="70"/>
                  </a:lnTo>
                  <a:lnTo>
                    <a:pt x="292" y="50"/>
                  </a:lnTo>
                  <a:lnTo>
                    <a:pt x="274" y="32"/>
                  </a:lnTo>
                  <a:lnTo>
                    <a:pt x="254" y="20"/>
                  </a:lnTo>
                  <a:lnTo>
                    <a:pt x="230" y="8"/>
                  </a:lnTo>
                  <a:lnTo>
                    <a:pt x="206" y="2"/>
                  </a:lnTo>
                  <a:lnTo>
                    <a:pt x="180" y="0"/>
                  </a:lnTo>
                  <a:lnTo>
                    <a:pt x="180" y="0"/>
                  </a:lnTo>
                  <a:close/>
                  <a:moveTo>
                    <a:pt x="200" y="22"/>
                  </a:moveTo>
                  <a:lnTo>
                    <a:pt x="200" y="22"/>
                  </a:lnTo>
                  <a:lnTo>
                    <a:pt x="216" y="26"/>
                  </a:lnTo>
                  <a:lnTo>
                    <a:pt x="232" y="32"/>
                  </a:lnTo>
                  <a:lnTo>
                    <a:pt x="248" y="38"/>
                  </a:lnTo>
                  <a:lnTo>
                    <a:pt x="262" y="48"/>
                  </a:lnTo>
                  <a:lnTo>
                    <a:pt x="274" y="60"/>
                  </a:lnTo>
                  <a:lnTo>
                    <a:pt x="286" y="72"/>
                  </a:lnTo>
                  <a:lnTo>
                    <a:pt x="296" y="86"/>
                  </a:lnTo>
                  <a:lnTo>
                    <a:pt x="302" y="102"/>
                  </a:lnTo>
                  <a:lnTo>
                    <a:pt x="200" y="128"/>
                  </a:lnTo>
                  <a:lnTo>
                    <a:pt x="200" y="22"/>
                  </a:lnTo>
                  <a:close/>
                  <a:moveTo>
                    <a:pt x="344" y="176"/>
                  </a:moveTo>
                  <a:lnTo>
                    <a:pt x="344" y="176"/>
                  </a:lnTo>
                  <a:lnTo>
                    <a:pt x="344" y="198"/>
                  </a:lnTo>
                  <a:lnTo>
                    <a:pt x="340" y="216"/>
                  </a:lnTo>
                  <a:lnTo>
                    <a:pt x="332" y="236"/>
                  </a:lnTo>
                  <a:lnTo>
                    <a:pt x="324" y="254"/>
                  </a:lnTo>
                  <a:lnTo>
                    <a:pt x="190" y="176"/>
                  </a:lnTo>
                  <a:lnTo>
                    <a:pt x="340" y="136"/>
                  </a:lnTo>
                  <a:lnTo>
                    <a:pt x="340" y="136"/>
                  </a:lnTo>
                  <a:lnTo>
                    <a:pt x="344" y="156"/>
                  </a:lnTo>
                  <a:lnTo>
                    <a:pt x="344" y="176"/>
                  </a:lnTo>
                  <a:lnTo>
                    <a:pt x="344" y="176"/>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74" name="Group 373">
            <a:extLst>
              <a:ext uri="{FF2B5EF4-FFF2-40B4-BE49-F238E27FC236}">
                <a16:creationId xmlns:a16="http://schemas.microsoft.com/office/drawing/2014/main" id="{A87E7312-00CA-435F-889B-F4B223D92C14}"/>
              </a:ext>
            </a:extLst>
          </p:cNvPr>
          <p:cNvGrpSpPr/>
          <p:nvPr/>
        </p:nvGrpSpPr>
        <p:grpSpPr>
          <a:xfrm>
            <a:off x="3776805" y="2386226"/>
            <a:ext cx="612000" cy="612000"/>
            <a:chOff x="2342233" y="2258092"/>
            <a:chExt cx="612000" cy="612000"/>
          </a:xfrm>
        </p:grpSpPr>
        <p:sp>
          <p:nvSpPr>
            <p:cNvPr id="375" name="Oval 374">
              <a:extLst>
                <a:ext uri="{FF2B5EF4-FFF2-40B4-BE49-F238E27FC236}">
                  <a16:creationId xmlns:a16="http://schemas.microsoft.com/office/drawing/2014/main" id="{BB508E6F-50D8-4C73-A67C-418F2578556B}"/>
                </a:ext>
              </a:extLst>
            </p:cNvPr>
            <p:cNvSpPr/>
            <p:nvPr/>
          </p:nvSpPr>
          <p:spPr bwMode="ltGray">
            <a:xfrm>
              <a:off x="2342233" y="225809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76" name="Freeform 4957">
              <a:extLst>
                <a:ext uri="{FF2B5EF4-FFF2-40B4-BE49-F238E27FC236}">
                  <a16:creationId xmlns:a16="http://schemas.microsoft.com/office/drawing/2014/main" id="{922E6B9F-92F2-43F0-A7A7-FBDEAC06A2A9}"/>
                </a:ext>
              </a:extLst>
            </p:cNvPr>
            <p:cNvSpPr>
              <a:spLocks noEditPoints="1"/>
            </p:cNvSpPr>
            <p:nvPr/>
          </p:nvSpPr>
          <p:spPr bwMode="auto">
            <a:xfrm>
              <a:off x="2438726" y="2375917"/>
              <a:ext cx="411399" cy="341219"/>
            </a:xfrm>
            <a:custGeom>
              <a:avLst/>
              <a:gdLst>
                <a:gd name="T0" fmla="*/ 46 w 340"/>
                <a:gd name="T1" fmla="*/ 232 h 282"/>
                <a:gd name="T2" fmla="*/ 52 w 340"/>
                <a:gd name="T3" fmla="*/ 210 h 282"/>
                <a:gd name="T4" fmla="*/ 122 w 340"/>
                <a:gd name="T5" fmla="*/ 190 h 282"/>
                <a:gd name="T6" fmla="*/ 140 w 340"/>
                <a:gd name="T7" fmla="*/ 184 h 282"/>
                <a:gd name="T8" fmla="*/ 194 w 340"/>
                <a:gd name="T9" fmla="*/ 198 h 282"/>
                <a:gd name="T10" fmla="*/ 218 w 340"/>
                <a:gd name="T11" fmla="*/ 212 h 282"/>
                <a:gd name="T12" fmla="*/ 244 w 340"/>
                <a:gd name="T13" fmla="*/ 188 h 282"/>
                <a:gd name="T14" fmla="*/ 302 w 340"/>
                <a:gd name="T15" fmla="*/ 186 h 282"/>
                <a:gd name="T16" fmla="*/ 324 w 340"/>
                <a:gd name="T17" fmla="*/ 188 h 282"/>
                <a:gd name="T18" fmla="*/ 340 w 340"/>
                <a:gd name="T19" fmla="*/ 164 h 282"/>
                <a:gd name="T20" fmla="*/ 314 w 340"/>
                <a:gd name="T21" fmla="*/ 136 h 282"/>
                <a:gd name="T22" fmla="*/ 290 w 340"/>
                <a:gd name="T23" fmla="*/ 150 h 282"/>
                <a:gd name="T24" fmla="*/ 236 w 340"/>
                <a:gd name="T25" fmla="*/ 164 h 282"/>
                <a:gd name="T26" fmla="*/ 218 w 340"/>
                <a:gd name="T27" fmla="*/ 158 h 282"/>
                <a:gd name="T28" fmla="*/ 196 w 340"/>
                <a:gd name="T29" fmla="*/ 170 h 282"/>
                <a:gd name="T30" fmla="*/ 140 w 340"/>
                <a:gd name="T31" fmla="*/ 144 h 282"/>
                <a:gd name="T32" fmla="*/ 112 w 340"/>
                <a:gd name="T33" fmla="*/ 138 h 282"/>
                <a:gd name="T34" fmla="*/ 96 w 340"/>
                <a:gd name="T35" fmla="*/ 164 h 282"/>
                <a:gd name="T36" fmla="*/ 216 w 340"/>
                <a:gd name="T37" fmla="*/ 104 h 282"/>
                <a:gd name="T38" fmla="*/ 306 w 340"/>
                <a:gd name="T39" fmla="*/ 42 h 282"/>
                <a:gd name="T40" fmla="*/ 292 w 340"/>
                <a:gd name="T41" fmla="*/ 28 h 282"/>
                <a:gd name="T42" fmla="*/ 118 w 340"/>
                <a:gd name="T43" fmla="*/ 58 h 282"/>
                <a:gd name="T44" fmla="*/ 26 w 340"/>
                <a:gd name="T45" fmla="*/ 186 h 282"/>
                <a:gd name="T46" fmla="*/ 2 w 340"/>
                <a:gd name="T47" fmla="*/ 202 h 282"/>
                <a:gd name="T48" fmla="*/ 8 w 340"/>
                <a:gd name="T49" fmla="*/ 232 h 282"/>
                <a:gd name="T50" fmla="*/ 314 w 340"/>
                <a:gd name="T51" fmla="*/ 152 h 282"/>
                <a:gd name="T52" fmla="*/ 324 w 340"/>
                <a:gd name="T53" fmla="*/ 160 h 282"/>
                <a:gd name="T54" fmla="*/ 322 w 340"/>
                <a:gd name="T55" fmla="*/ 172 h 282"/>
                <a:gd name="T56" fmla="*/ 310 w 340"/>
                <a:gd name="T57" fmla="*/ 174 h 282"/>
                <a:gd name="T58" fmla="*/ 304 w 340"/>
                <a:gd name="T59" fmla="*/ 164 h 282"/>
                <a:gd name="T60" fmla="*/ 314 w 340"/>
                <a:gd name="T61" fmla="*/ 152 h 282"/>
                <a:gd name="T62" fmla="*/ 222 w 340"/>
                <a:gd name="T63" fmla="*/ 174 h 282"/>
                <a:gd name="T64" fmla="*/ 228 w 340"/>
                <a:gd name="T65" fmla="*/ 184 h 282"/>
                <a:gd name="T66" fmla="*/ 218 w 340"/>
                <a:gd name="T67" fmla="*/ 196 h 282"/>
                <a:gd name="T68" fmla="*/ 208 w 340"/>
                <a:gd name="T69" fmla="*/ 188 h 282"/>
                <a:gd name="T70" fmla="*/ 210 w 340"/>
                <a:gd name="T71" fmla="*/ 176 h 282"/>
                <a:gd name="T72" fmla="*/ 122 w 340"/>
                <a:gd name="T73" fmla="*/ 152 h 282"/>
                <a:gd name="T74" fmla="*/ 132 w 340"/>
                <a:gd name="T75" fmla="*/ 160 h 282"/>
                <a:gd name="T76" fmla="*/ 130 w 340"/>
                <a:gd name="T77" fmla="*/ 172 h 282"/>
                <a:gd name="T78" fmla="*/ 118 w 340"/>
                <a:gd name="T79" fmla="*/ 174 h 282"/>
                <a:gd name="T80" fmla="*/ 112 w 340"/>
                <a:gd name="T81" fmla="*/ 164 h 282"/>
                <a:gd name="T82" fmla="*/ 122 w 340"/>
                <a:gd name="T83" fmla="*/ 152 h 282"/>
                <a:gd name="T84" fmla="*/ 334 w 340"/>
                <a:gd name="T85" fmla="*/ 276 h 282"/>
                <a:gd name="T86" fmla="*/ 16 w 340"/>
                <a:gd name="T87" fmla="*/ 282 h 282"/>
                <a:gd name="T88" fmla="*/ 6 w 340"/>
                <a:gd name="T89" fmla="*/ 276 h 282"/>
                <a:gd name="T90" fmla="*/ 8 w 340"/>
                <a:gd name="T91" fmla="*/ 264 h 282"/>
                <a:gd name="T92" fmla="*/ 324 w 340"/>
                <a:gd name="T93" fmla="*/ 262 h 282"/>
                <a:gd name="T94" fmla="*/ 334 w 340"/>
                <a:gd name="T95" fmla="*/ 27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0" h="282">
                  <a:moveTo>
                    <a:pt x="26" y="240"/>
                  </a:moveTo>
                  <a:lnTo>
                    <a:pt x="26" y="240"/>
                  </a:lnTo>
                  <a:lnTo>
                    <a:pt x="36" y="238"/>
                  </a:lnTo>
                  <a:lnTo>
                    <a:pt x="46" y="232"/>
                  </a:lnTo>
                  <a:lnTo>
                    <a:pt x="50" y="222"/>
                  </a:lnTo>
                  <a:lnTo>
                    <a:pt x="52" y="212"/>
                  </a:lnTo>
                  <a:lnTo>
                    <a:pt x="52" y="212"/>
                  </a:lnTo>
                  <a:lnTo>
                    <a:pt x="52" y="210"/>
                  </a:lnTo>
                  <a:lnTo>
                    <a:pt x="104" y="184"/>
                  </a:lnTo>
                  <a:lnTo>
                    <a:pt x="104" y="184"/>
                  </a:lnTo>
                  <a:lnTo>
                    <a:pt x="112" y="188"/>
                  </a:lnTo>
                  <a:lnTo>
                    <a:pt x="122" y="190"/>
                  </a:lnTo>
                  <a:lnTo>
                    <a:pt x="122" y="190"/>
                  </a:lnTo>
                  <a:lnTo>
                    <a:pt x="128" y="190"/>
                  </a:lnTo>
                  <a:lnTo>
                    <a:pt x="134" y="186"/>
                  </a:lnTo>
                  <a:lnTo>
                    <a:pt x="140" y="184"/>
                  </a:lnTo>
                  <a:lnTo>
                    <a:pt x="144" y="178"/>
                  </a:lnTo>
                  <a:lnTo>
                    <a:pt x="192" y="188"/>
                  </a:lnTo>
                  <a:lnTo>
                    <a:pt x="192" y="188"/>
                  </a:lnTo>
                  <a:lnTo>
                    <a:pt x="194" y="198"/>
                  </a:lnTo>
                  <a:lnTo>
                    <a:pt x="200" y="204"/>
                  </a:lnTo>
                  <a:lnTo>
                    <a:pt x="208" y="210"/>
                  </a:lnTo>
                  <a:lnTo>
                    <a:pt x="218" y="212"/>
                  </a:lnTo>
                  <a:lnTo>
                    <a:pt x="218" y="212"/>
                  </a:lnTo>
                  <a:lnTo>
                    <a:pt x="228" y="210"/>
                  </a:lnTo>
                  <a:lnTo>
                    <a:pt x="236" y="204"/>
                  </a:lnTo>
                  <a:lnTo>
                    <a:pt x="242" y="198"/>
                  </a:lnTo>
                  <a:lnTo>
                    <a:pt x="244" y="188"/>
                  </a:lnTo>
                  <a:lnTo>
                    <a:pt x="292" y="178"/>
                  </a:lnTo>
                  <a:lnTo>
                    <a:pt x="292" y="178"/>
                  </a:lnTo>
                  <a:lnTo>
                    <a:pt x="296" y="184"/>
                  </a:lnTo>
                  <a:lnTo>
                    <a:pt x="302" y="186"/>
                  </a:lnTo>
                  <a:lnTo>
                    <a:pt x="308" y="190"/>
                  </a:lnTo>
                  <a:lnTo>
                    <a:pt x="314" y="190"/>
                  </a:lnTo>
                  <a:lnTo>
                    <a:pt x="314" y="190"/>
                  </a:lnTo>
                  <a:lnTo>
                    <a:pt x="324" y="188"/>
                  </a:lnTo>
                  <a:lnTo>
                    <a:pt x="332" y="182"/>
                  </a:lnTo>
                  <a:lnTo>
                    <a:pt x="338" y="174"/>
                  </a:lnTo>
                  <a:lnTo>
                    <a:pt x="340" y="164"/>
                  </a:lnTo>
                  <a:lnTo>
                    <a:pt x="340" y="164"/>
                  </a:lnTo>
                  <a:lnTo>
                    <a:pt x="338" y="152"/>
                  </a:lnTo>
                  <a:lnTo>
                    <a:pt x="332" y="144"/>
                  </a:lnTo>
                  <a:lnTo>
                    <a:pt x="324" y="138"/>
                  </a:lnTo>
                  <a:lnTo>
                    <a:pt x="314" y="136"/>
                  </a:lnTo>
                  <a:lnTo>
                    <a:pt x="314" y="136"/>
                  </a:lnTo>
                  <a:lnTo>
                    <a:pt x="304" y="138"/>
                  </a:lnTo>
                  <a:lnTo>
                    <a:pt x="296" y="144"/>
                  </a:lnTo>
                  <a:lnTo>
                    <a:pt x="290" y="150"/>
                  </a:lnTo>
                  <a:lnTo>
                    <a:pt x="288" y="158"/>
                  </a:lnTo>
                  <a:lnTo>
                    <a:pt x="240" y="170"/>
                  </a:lnTo>
                  <a:lnTo>
                    <a:pt x="240" y="170"/>
                  </a:lnTo>
                  <a:lnTo>
                    <a:pt x="236" y="164"/>
                  </a:lnTo>
                  <a:lnTo>
                    <a:pt x="230" y="160"/>
                  </a:lnTo>
                  <a:lnTo>
                    <a:pt x="224" y="158"/>
                  </a:lnTo>
                  <a:lnTo>
                    <a:pt x="218" y="158"/>
                  </a:lnTo>
                  <a:lnTo>
                    <a:pt x="218" y="158"/>
                  </a:lnTo>
                  <a:lnTo>
                    <a:pt x="212" y="158"/>
                  </a:lnTo>
                  <a:lnTo>
                    <a:pt x="206" y="160"/>
                  </a:lnTo>
                  <a:lnTo>
                    <a:pt x="200" y="164"/>
                  </a:lnTo>
                  <a:lnTo>
                    <a:pt x="196" y="170"/>
                  </a:lnTo>
                  <a:lnTo>
                    <a:pt x="148" y="158"/>
                  </a:lnTo>
                  <a:lnTo>
                    <a:pt x="148" y="158"/>
                  </a:lnTo>
                  <a:lnTo>
                    <a:pt x="146" y="150"/>
                  </a:lnTo>
                  <a:lnTo>
                    <a:pt x="140" y="144"/>
                  </a:lnTo>
                  <a:lnTo>
                    <a:pt x="132" y="138"/>
                  </a:lnTo>
                  <a:lnTo>
                    <a:pt x="122" y="136"/>
                  </a:lnTo>
                  <a:lnTo>
                    <a:pt x="122" y="136"/>
                  </a:lnTo>
                  <a:lnTo>
                    <a:pt x="112" y="138"/>
                  </a:lnTo>
                  <a:lnTo>
                    <a:pt x="104" y="144"/>
                  </a:lnTo>
                  <a:lnTo>
                    <a:pt x="98" y="152"/>
                  </a:lnTo>
                  <a:lnTo>
                    <a:pt x="96" y="164"/>
                  </a:lnTo>
                  <a:lnTo>
                    <a:pt x="96" y="164"/>
                  </a:lnTo>
                  <a:lnTo>
                    <a:pt x="96" y="166"/>
                  </a:lnTo>
                  <a:lnTo>
                    <a:pt x="56" y="186"/>
                  </a:lnTo>
                  <a:lnTo>
                    <a:pt x="126" y="80"/>
                  </a:lnTo>
                  <a:lnTo>
                    <a:pt x="216" y="104"/>
                  </a:lnTo>
                  <a:lnTo>
                    <a:pt x="216" y="104"/>
                  </a:lnTo>
                  <a:lnTo>
                    <a:pt x="220" y="104"/>
                  </a:lnTo>
                  <a:lnTo>
                    <a:pt x="224" y="102"/>
                  </a:lnTo>
                  <a:lnTo>
                    <a:pt x="306" y="42"/>
                  </a:lnTo>
                  <a:lnTo>
                    <a:pt x="336" y="72"/>
                  </a:lnTo>
                  <a:lnTo>
                    <a:pt x="336" y="0"/>
                  </a:lnTo>
                  <a:lnTo>
                    <a:pt x="264" y="0"/>
                  </a:lnTo>
                  <a:lnTo>
                    <a:pt x="292" y="28"/>
                  </a:lnTo>
                  <a:lnTo>
                    <a:pt x="216" y="84"/>
                  </a:lnTo>
                  <a:lnTo>
                    <a:pt x="124" y="58"/>
                  </a:lnTo>
                  <a:lnTo>
                    <a:pt x="124" y="58"/>
                  </a:lnTo>
                  <a:lnTo>
                    <a:pt x="118" y="58"/>
                  </a:lnTo>
                  <a:lnTo>
                    <a:pt x="114" y="62"/>
                  </a:lnTo>
                  <a:lnTo>
                    <a:pt x="32" y="186"/>
                  </a:lnTo>
                  <a:lnTo>
                    <a:pt x="32" y="186"/>
                  </a:lnTo>
                  <a:lnTo>
                    <a:pt x="26" y="186"/>
                  </a:lnTo>
                  <a:lnTo>
                    <a:pt x="26" y="186"/>
                  </a:lnTo>
                  <a:lnTo>
                    <a:pt x="16" y="188"/>
                  </a:lnTo>
                  <a:lnTo>
                    <a:pt x="8" y="194"/>
                  </a:lnTo>
                  <a:lnTo>
                    <a:pt x="2" y="202"/>
                  </a:lnTo>
                  <a:lnTo>
                    <a:pt x="0" y="212"/>
                  </a:lnTo>
                  <a:lnTo>
                    <a:pt x="0" y="212"/>
                  </a:lnTo>
                  <a:lnTo>
                    <a:pt x="2" y="222"/>
                  </a:lnTo>
                  <a:lnTo>
                    <a:pt x="8" y="232"/>
                  </a:lnTo>
                  <a:lnTo>
                    <a:pt x="16" y="238"/>
                  </a:lnTo>
                  <a:lnTo>
                    <a:pt x="26" y="240"/>
                  </a:lnTo>
                  <a:lnTo>
                    <a:pt x="26" y="240"/>
                  </a:lnTo>
                  <a:close/>
                  <a:moveTo>
                    <a:pt x="314" y="152"/>
                  </a:moveTo>
                  <a:lnTo>
                    <a:pt x="314" y="152"/>
                  </a:lnTo>
                  <a:lnTo>
                    <a:pt x="318" y="154"/>
                  </a:lnTo>
                  <a:lnTo>
                    <a:pt x="322" y="156"/>
                  </a:lnTo>
                  <a:lnTo>
                    <a:pt x="324" y="160"/>
                  </a:lnTo>
                  <a:lnTo>
                    <a:pt x="324" y="164"/>
                  </a:lnTo>
                  <a:lnTo>
                    <a:pt x="324" y="164"/>
                  </a:lnTo>
                  <a:lnTo>
                    <a:pt x="324" y="168"/>
                  </a:lnTo>
                  <a:lnTo>
                    <a:pt x="322" y="172"/>
                  </a:lnTo>
                  <a:lnTo>
                    <a:pt x="318" y="174"/>
                  </a:lnTo>
                  <a:lnTo>
                    <a:pt x="314" y="174"/>
                  </a:lnTo>
                  <a:lnTo>
                    <a:pt x="314" y="174"/>
                  </a:lnTo>
                  <a:lnTo>
                    <a:pt x="310" y="174"/>
                  </a:lnTo>
                  <a:lnTo>
                    <a:pt x="306" y="172"/>
                  </a:lnTo>
                  <a:lnTo>
                    <a:pt x="304" y="168"/>
                  </a:lnTo>
                  <a:lnTo>
                    <a:pt x="304" y="164"/>
                  </a:lnTo>
                  <a:lnTo>
                    <a:pt x="304" y="164"/>
                  </a:lnTo>
                  <a:lnTo>
                    <a:pt x="304" y="160"/>
                  </a:lnTo>
                  <a:lnTo>
                    <a:pt x="306" y="156"/>
                  </a:lnTo>
                  <a:lnTo>
                    <a:pt x="310" y="154"/>
                  </a:lnTo>
                  <a:lnTo>
                    <a:pt x="314" y="152"/>
                  </a:lnTo>
                  <a:lnTo>
                    <a:pt x="314" y="152"/>
                  </a:lnTo>
                  <a:close/>
                  <a:moveTo>
                    <a:pt x="218" y="174"/>
                  </a:moveTo>
                  <a:lnTo>
                    <a:pt x="218" y="174"/>
                  </a:lnTo>
                  <a:lnTo>
                    <a:pt x="222" y="174"/>
                  </a:lnTo>
                  <a:lnTo>
                    <a:pt x="226" y="176"/>
                  </a:lnTo>
                  <a:lnTo>
                    <a:pt x="228" y="180"/>
                  </a:lnTo>
                  <a:lnTo>
                    <a:pt x="228" y="184"/>
                  </a:lnTo>
                  <a:lnTo>
                    <a:pt x="228" y="184"/>
                  </a:lnTo>
                  <a:lnTo>
                    <a:pt x="228" y="188"/>
                  </a:lnTo>
                  <a:lnTo>
                    <a:pt x="226" y="192"/>
                  </a:lnTo>
                  <a:lnTo>
                    <a:pt x="222" y="194"/>
                  </a:lnTo>
                  <a:lnTo>
                    <a:pt x="218" y="196"/>
                  </a:lnTo>
                  <a:lnTo>
                    <a:pt x="218" y="196"/>
                  </a:lnTo>
                  <a:lnTo>
                    <a:pt x="214" y="194"/>
                  </a:lnTo>
                  <a:lnTo>
                    <a:pt x="210" y="192"/>
                  </a:lnTo>
                  <a:lnTo>
                    <a:pt x="208" y="188"/>
                  </a:lnTo>
                  <a:lnTo>
                    <a:pt x="208" y="184"/>
                  </a:lnTo>
                  <a:lnTo>
                    <a:pt x="208" y="184"/>
                  </a:lnTo>
                  <a:lnTo>
                    <a:pt x="208" y="180"/>
                  </a:lnTo>
                  <a:lnTo>
                    <a:pt x="210" y="176"/>
                  </a:lnTo>
                  <a:lnTo>
                    <a:pt x="214" y="174"/>
                  </a:lnTo>
                  <a:lnTo>
                    <a:pt x="218" y="174"/>
                  </a:lnTo>
                  <a:lnTo>
                    <a:pt x="218" y="174"/>
                  </a:lnTo>
                  <a:close/>
                  <a:moveTo>
                    <a:pt x="122" y="152"/>
                  </a:moveTo>
                  <a:lnTo>
                    <a:pt x="122" y="152"/>
                  </a:lnTo>
                  <a:lnTo>
                    <a:pt x="126" y="154"/>
                  </a:lnTo>
                  <a:lnTo>
                    <a:pt x="130" y="156"/>
                  </a:lnTo>
                  <a:lnTo>
                    <a:pt x="132" y="160"/>
                  </a:lnTo>
                  <a:lnTo>
                    <a:pt x="132" y="164"/>
                  </a:lnTo>
                  <a:lnTo>
                    <a:pt x="132" y="164"/>
                  </a:lnTo>
                  <a:lnTo>
                    <a:pt x="132" y="168"/>
                  </a:lnTo>
                  <a:lnTo>
                    <a:pt x="130" y="172"/>
                  </a:lnTo>
                  <a:lnTo>
                    <a:pt x="126" y="174"/>
                  </a:lnTo>
                  <a:lnTo>
                    <a:pt x="122" y="174"/>
                  </a:lnTo>
                  <a:lnTo>
                    <a:pt x="122" y="174"/>
                  </a:lnTo>
                  <a:lnTo>
                    <a:pt x="118" y="174"/>
                  </a:lnTo>
                  <a:lnTo>
                    <a:pt x="114" y="172"/>
                  </a:lnTo>
                  <a:lnTo>
                    <a:pt x="112" y="168"/>
                  </a:lnTo>
                  <a:lnTo>
                    <a:pt x="112" y="164"/>
                  </a:lnTo>
                  <a:lnTo>
                    <a:pt x="112" y="164"/>
                  </a:lnTo>
                  <a:lnTo>
                    <a:pt x="112" y="160"/>
                  </a:lnTo>
                  <a:lnTo>
                    <a:pt x="114" y="156"/>
                  </a:lnTo>
                  <a:lnTo>
                    <a:pt x="118" y="154"/>
                  </a:lnTo>
                  <a:lnTo>
                    <a:pt x="122" y="152"/>
                  </a:lnTo>
                  <a:lnTo>
                    <a:pt x="122" y="152"/>
                  </a:lnTo>
                  <a:close/>
                  <a:moveTo>
                    <a:pt x="334" y="272"/>
                  </a:moveTo>
                  <a:lnTo>
                    <a:pt x="334" y="272"/>
                  </a:lnTo>
                  <a:lnTo>
                    <a:pt x="334" y="276"/>
                  </a:lnTo>
                  <a:lnTo>
                    <a:pt x="332" y="278"/>
                  </a:lnTo>
                  <a:lnTo>
                    <a:pt x="328" y="280"/>
                  </a:lnTo>
                  <a:lnTo>
                    <a:pt x="324" y="282"/>
                  </a:lnTo>
                  <a:lnTo>
                    <a:pt x="16" y="282"/>
                  </a:lnTo>
                  <a:lnTo>
                    <a:pt x="16" y="282"/>
                  </a:lnTo>
                  <a:lnTo>
                    <a:pt x="12" y="280"/>
                  </a:lnTo>
                  <a:lnTo>
                    <a:pt x="8" y="278"/>
                  </a:lnTo>
                  <a:lnTo>
                    <a:pt x="6" y="276"/>
                  </a:lnTo>
                  <a:lnTo>
                    <a:pt x="6" y="272"/>
                  </a:lnTo>
                  <a:lnTo>
                    <a:pt x="6" y="272"/>
                  </a:lnTo>
                  <a:lnTo>
                    <a:pt x="6" y="268"/>
                  </a:lnTo>
                  <a:lnTo>
                    <a:pt x="8" y="264"/>
                  </a:lnTo>
                  <a:lnTo>
                    <a:pt x="12" y="262"/>
                  </a:lnTo>
                  <a:lnTo>
                    <a:pt x="16" y="262"/>
                  </a:lnTo>
                  <a:lnTo>
                    <a:pt x="324" y="262"/>
                  </a:lnTo>
                  <a:lnTo>
                    <a:pt x="324" y="262"/>
                  </a:lnTo>
                  <a:lnTo>
                    <a:pt x="328" y="262"/>
                  </a:lnTo>
                  <a:lnTo>
                    <a:pt x="332" y="264"/>
                  </a:lnTo>
                  <a:lnTo>
                    <a:pt x="334" y="268"/>
                  </a:lnTo>
                  <a:lnTo>
                    <a:pt x="334" y="272"/>
                  </a:lnTo>
                  <a:lnTo>
                    <a:pt x="334" y="272"/>
                  </a:lnTo>
                  <a:close/>
                </a:path>
              </a:pathLst>
            </a:custGeom>
            <a:solidFill>
              <a:srgbClr val="3C3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77" name="Group 376">
            <a:extLst>
              <a:ext uri="{FF2B5EF4-FFF2-40B4-BE49-F238E27FC236}">
                <a16:creationId xmlns:a16="http://schemas.microsoft.com/office/drawing/2014/main" id="{30BB7283-1F1E-4403-A81F-6BC0E83594B4}"/>
              </a:ext>
            </a:extLst>
          </p:cNvPr>
          <p:cNvGrpSpPr/>
          <p:nvPr/>
        </p:nvGrpSpPr>
        <p:grpSpPr>
          <a:xfrm>
            <a:off x="2945988" y="2386226"/>
            <a:ext cx="612000" cy="612000"/>
            <a:chOff x="1467520" y="2258092"/>
            <a:chExt cx="612000" cy="612000"/>
          </a:xfrm>
        </p:grpSpPr>
        <p:sp>
          <p:nvSpPr>
            <p:cNvPr id="378" name="Oval 377">
              <a:extLst>
                <a:ext uri="{FF2B5EF4-FFF2-40B4-BE49-F238E27FC236}">
                  <a16:creationId xmlns:a16="http://schemas.microsoft.com/office/drawing/2014/main" id="{6A990BBC-0EA4-48C6-945F-3E857F3CBC59}"/>
                </a:ext>
              </a:extLst>
            </p:cNvPr>
            <p:cNvSpPr/>
            <p:nvPr/>
          </p:nvSpPr>
          <p:spPr bwMode="ltGray">
            <a:xfrm>
              <a:off x="1467520" y="225809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79" name="Freeform 4958">
              <a:extLst>
                <a:ext uri="{FF2B5EF4-FFF2-40B4-BE49-F238E27FC236}">
                  <a16:creationId xmlns:a16="http://schemas.microsoft.com/office/drawing/2014/main" id="{F201C1E9-F635-4142-ABB2-68A0BDDC4C7E}"/>
                </a:ext>
              </a:extLst>
            </p:cNvPr>
            <p:cNvSpPr>
              <a:spLocks noEditPoints="1"/>
            </p:cNvSpPr>
            <p:nvPr/>
          </p:nvSpPr>
          <p:spPr bwMode="auto">
            <a:xfrm>
              <a:off x="1528809" y="2317369"/>
              <a:ext cx="500939" cy="488839"/>
            </a:xfrm>
            <a:custGeom>
              <a:avLst/>
              <a:gdLst>
                <a:gd name="T0" fmla="*/ 294 w 414"/>
                <a:gd name="T1" fmla="*/ 176 h 404"/>
                <a:gd name="T2" fmla="*/ 272 w 414"/>
                <a:gd name="T3" fmla="*/ 200 h 404"/>
                <a:gd name="T4" fmla="*/ 272 w 414"/>
                <a:gd name="T5" fmla="*/ 220 h 404"/>
                <a:gd name="T6" fmla="*/ 294 w 414"/>
                <a:gd name="T7" fmla="*/ 244 h 404"/>
                <a:gd name="T8" fmla="*/ 286 w 414"/>
                <a:gd name="T9" fmla="*/ 316 h 404"/>
                <a:gd name="T10" fmla="*/ 244 w 414"/>
                <a:gd name="T11" fmla="*/ 338 h 404"/>
                <a:gd name="T12" fmla="*/ 212 w 414"/>
                <a:gd name="T13" fmla="*/ 316 h 404"/>
                <a:gd name="T14" fmla="*/ 170 w 414"/>
                <a:gd name="T15" fmla="*/ 332 h 404"/>
                <a:gd name="T16" fmla="*/ 112 w 414"/>
                <a:gd name="T17" fmla="*/ 378 h 404"/>
                <a:gd name="T18" fmla="*/ 128 w 414"/>
                <a:gd name="T19" fmla="*/ 390 h 404"/>
                <a:gd name="T20" fmla="*/ 174 w 414"/>
                <a:gd name="T21" fmla="*/ 372 h 404"/>
                <a:gd name="T22" fmla="*/ 212 w 414"/>
                <a:gd name="T23" fmla="*/ 382 h 404"/>
                <a:gd name="T24" fmla="*/ 244 w 414"/>
                <a:gd name="T25" fmla="*/ 358 h 404"/>
                <a:gd name="T26" fmla="*/ 302 w 414"/>
                <a:gd name="T27" fmla="*/ 328 h 404"/>
                <a:gd name="T28" fmla="*/ 314 w 414"/>
                <a:gd name="T29" fmla="*/ 288 h 404"/>
                <a:gd name="T30" fmla="*/ 336 w 414"/>
                <a:gd name="T31" fmla="*/ 228 h 404"/>
                <a:gd name="T32" fmla="*/ 414 w 414"/>
                <a:gd name="T33" fmla="*/ 210 h 404"/>
                <a:gd name="T34" fmla="*/ 330 w 414"/>
                <a:gd name="T35" fmla="*/ 184 h 404"/>
                <a:gd name="T36" fmla="*/ 200 w 414"/>
                <a:gd name="T37" fmla="*/ 364 h 404"/>
                <a:gd name="T38" fmla="*/ 186 w 414"/>
                <a:gd name="T39" fmla="*/ 348 h 404"/>
                <a:gd name="T40" fmla="*/ 200 w 414"/>
                <a:gd name="T41" fmla="*/ 334 h 404"/>
                <a:gd name="T42" fmla="*/ 216 w 414"/>
                <a:gd name="T43" fmla="*/ 348 h 404"/>
                <a:gd name="T44" fmla="*/ 200 w 414"/>
                <a:gd name="T45" fmla="*/ 364 h 404"/>
                <a:gd name="T46" fmla="*/ 334 w 414"/>
                <a:gd name="T47" fmla="*/ 138 h 404"/>
                <a:gd name="T48" fmla="*/ 16 w 414"/>
                <a:gd name="T49" fmla="*/ 292 h 404"/>
                <a:gd name="T50" fmla="*/ 46 w 414"/>
                <a:gd name="T51" fmla="*/ 240 h 404"/>
                <a:gd name="T52" fmla="*/ 80 w 414"/>
                <a:gd name="T53" fmla="*/ 240 h 404"/>
                <a:gd name="T54" fmla="*/ 120 w 414"/>
                <a:gd name="T55" fmla="*/ 238 h 404"/>
                <a:gd name="T56" fmla="*/ 168 w 414"/>
                <a:gd name="T57" fmla="*/ 220 h 404"/>
                <a:gd name="T58" fmla="*/ 136 w 414"/>
                <a:gd name="T59" fmla="*/ 200 h 404"/>
                <a:gd name="T60" fmla="*/ 120 w 414"/>
                <a:gd name="T61" fmla="*/ 182 h 404"/>
                <a:gd name="T62" fmla="*/ 86 w 414"/>
                <a:gd name="T63" fmla="*/ 176 h 404"/>
                <a:gd name="T64" fmla="*/ 62 w 414"/>
                <a:gd name="T65" fmla="*/ 206 h 404"/>
                <a:gd name="T66" fmla="*/ 16 w 414"/>
                <a:gd name="T67" fmla="*/ 242 h 404"/>
                <a:gd name="T68" fmla="*/ 6 w 414"/>
                <a:gd name="T69" fmla="*/ 292 h 404"/>
                <a:gd name="T70" fmla="*/ 104 w 414"/>
                <a:gd name="T71" fmla="*/ 196 h 404"/>
                <a:gd name="T72" fmla="*/ 112 w 414"/>
                <a:gd name="T73" fmla="*/ 216 h 404"/>
                <a:gd name="T74" fmla="*/ 92 w 414"/>
                <a:gd name="T75" fmla="*/ 224 h 404"/>
                <a:gd name="T76" fmla="*/ 84 w 414"/>
                <a:gd name="T77" fmla="*/ 204 h 404"/>
                <a:gd name="T78" fmla="*/ 108 w 414"/>
                <a:gd name="T79" fmla="*/ 306 h 404"/>
                <a:gd name="T80" fmla="*/ 124 w 414"/>
                <a:gd name="T81" fmla="*/ 284 h 404"/>
                <a:gd name="T82" fmla="*/ 184 w 414"/>
                <a:gd name="T83" fmla="*/ 234 h 404"/>
                <a:gd name="T84" fmla="*/ 212 w 414"/>
                <a:gd name="T85" fmla="*/ 202 h 404"/>
                <a:gd name="T86" fmla="*/ 180 w 414"/>
                <a:gd name="T87" fmla="*/ 276 h 404"/>
                <a:gd name="T88" fmla="*/ 108 w 414"/>
                <a:gd name="T89" fmla="*/ 306 h 404"/>
                <a:gd name="T90" fmla="*/ 212 w 414"/>
                <a:gd name="T91" fmla="*/ 68 h 404"/>
                <a:gd name="T92" fmla="*/ 236 w 414"/>
                <a:gd name="T93" fmla="*/ 34 h 404"/>
                <a:gd name="T94" fmla="*/ 222 w 414"/>
                <a:gd name="T95" fmla="*/ 6 h 404"/>
                <a:gd name="T96" fmla="*/ 194 w 414"/>
                <a:gd name="T97" fmla="*/ 0 h 404"/>
                <a:gd name="T98" fmla="*/ 168 w 414"/>
                <a:gd name="T99" fmla="*/ 22 h 404"/>
                <a:gd name="T100" fmla="*/ 174 w 414"/>
                <a:gd name="T101" fmla="*/ 56 h 404"/>
                <a:gd name="T102" fmla="*/ 202 w 414"/>
                <a:gd name="T103" fmla="*/ 20 h 404"/>
                <a:gd name="T104" fmla="*/ 216 w 414"/>
                <a:gd name="T105" fmla="*/ 34 h 404"/>
                <a:gd name="T106" fmla="*/ 202 w 414"/>
                <a:gd name="T107" fmla="*/ 50 h 404"/>
                <a:gd name="T108" fmla="*/ 186 w 414"/>
                <a:gd name="T109" fmla="*/ 34 h 404"/>
                <a:gd name="T110" fmla="*/ 202 w 414"/>
                <a:gd name="T111" fmla="*/ 20 h 404"/>
                <a:gd name="T112" fmla="*/ 2 w 414"/>
                <a:gd name="T113" fmla="*/ 138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14" h="404">
                  <a:moveTo>
                    <a:pt x="314" y="176"/>
                  </a:moveTo>
                  <a:lnTo>
                    <a:pt x="314" y="30"/>
                  </a:lnTo>
                  <a:lnTo>
                    <a:pt x="314" y="30"/>
                  </a:lnTo>
                  <a:lnTo>
                    <a:pt x="294" y="20"/>
                  </a:lnTo>
                  <a:lnTo>
                    <a:pt x="294" y="176"/>
                  </a:lnTo>
                  <a:lnTo>
                    <a:pt x="294" y="176"/>
                  </a:lnTo>
                  <a:lnTo>
                    <a:pt x="286" y="180"/>
                  </a:lnTo>
                  <a:lnTo>
                    <a:pt x="280" y="184"/>
                  </a:lnTo>
                  <a:lnTo>
                    <a:pt x="274" y="192"/>
                  </a:lnTo>
                  <a:lnTo>
                    <a:pt x="272" y="200"/>
                  </a:lnTo>
                  <a:lnTo>
                    <a:pt x="232" y="200"/>
                  </a:lnTo>
                  <a:lnTo>
                    <a:pt x="232" y="202"/>
                  </a:lnTo>
                  <a:lnTo>
                    <a:pt x="232" y="202"/>
                  </a:lnTo>
                  <a:lnTo>
                    <a:pt x="230" y="220"/>
                  </a:lnTo>
                  <a:lnTo>
                    <a:pt x="272" y="220"/>
                  </a:lnTo>
                  <a:lnTo>
                    <a:pt x="272" y="220"/>
                  </a:lnTo>
                  <a:lnTo>
                    <a:pt x="274" y="228"/>
                  </a:lnTo>
                  <a:lnTo>
                    <a:pt x="280" y="234"/>
                  </a:lnTo>
                  <a:lnTo>
                    <a:pt x="286" y="240"/>
                  </a:lnTo>
                  <a:lnTo>
                    <a:pt x="294" y="244"/>
                  </a:lnTo>
                  <a:lnTo>
                    <a:pt x="294" y="288"/>
                  </a:lnTo>
                  <a:lnTo>
                    <a:pt x="294" y="288"/>
                  </a:lnTo>
                  <a:lnTo>
                    <a:pt x="294" y="298"/>
                  </a:lnTo>
                  <a:lnTo>
                    <a:pt x="290" y="308"/>
                  </a:lnTo>
                  <a:lnTo>
                    <a:pt x="286" y="316"/>
                  </a:lnTo>
                  <a:lnTo>
                    <a:pt x="280" y="324"/>
                  </a:lnTo>
                  <a:lnTo>
                    <a:pt x="272" y="330"/>
                  </a:lnTo>
                  <a:lnTo>
                    <a:pt x="264" y="334"/>
                  </a:lnTo>
                  <a:lnTo>
                    <a:pt x="254" y="338"/>
                  </a:lnTo>
                  <a:lnTo>
                    <a:pt x="244" y="338"/>
                  </a:lnTo>
                  <a:lnTo>
                    <a:pt x="234" y="338"/>
                  </a:lnTo>
                  <a:lnTo>
                    <a:pt x="234" y="338"/>
                  </a:lnTo>
                  <a:lnTo>
                    <a:pt x="230" y="328"/>
                  </a:lnTo>
                  <a:lnTo>
                    <a:pt x="222" y="320"/>
                  </a:lnTo>
                  <a:lnTo>
                    <a:pt x="212" y="316"/>
                  </a:lnTo>
                  <a:lnTo>
                    <a:pt x="200" y="314"/>
                  </a:lnTo>
                  <a:lnTo>
                    <a:pt x="200" y="314"/>
                  </a:lnTo>
                  <a:lnTo>
                    <a:pt x="188" y="316"/>
                  </a:lnTo>
                  <a:lnTo>
                    <a:pt x="178" y="322"/>
                  </a:lnTo>
                  <a:lnTo>
                    <a:pt x="170" y="332"/>
                  </a:lnTo>
                  <a:lnTo>
                    <a:pt x="166" y="342"/>
                  </a:lnTo>
                  <a:lnTo>
                    <a:pt x="166" y="342"/>
                  </a:lnTo>
                  <a:lnTo>
                    <a:pt x="146" y="350"/>
                  </a:lnTo>
                  <a:lnTo>
                    <a:pt x="128" y="362"/>
                  </a:lnTo>
                  <a:lnTo>
                    <a:pt x="112" y="378"/>
                  </a:lnTo>
                  <a:lnTo>
                    <a:pt x="100" y="396"/>
                  </a:lnTo>
                  <a:lnTo>
                    <a:pt x="100" y="396"/>
                  </a:lnTo>
                  <a:lnTo>
                    <a:pt x="118" y="404"/>
                  </a:lnTo>
                  <a:lnTo>
                    <a:pt x="118" y="404"/>
                  </a:lnTo>
                  <a:lnTo>
                    <a:pt x="128" y="390"/>
                  </a:lnTo>
                  <a:lnTo>
                    <a:pt x="140" y="378"/>
                  </a:lnTo>
                  <a:lnTo>
                    <a:pt x="152" y="370"/>
                  </a:lnTo>
                  <a:lnTo>
                    <a:pt x="168" y="362"/>
                  </a:lnTo>
                  <a:lnTo>
                    <a:pt x="168" y="362"/>
                  </a:lnTo>
                  <a:lnTo>
                    <a:pt x="174" y="372"/>
                  </a:lnTo>
                  <a:lnTo>
                    <a:pt x="182" y="378"/>
                  </a:lnTo>
                  <a:lnTo>
                    <a:pt x="190" y="382"/>
                  </a:lnTo>
                  <a:lnTo>
                    <a:pt x="200" y="384"/>
                  </a:lnTo>
                  <a:lnTo>
                    <a:pt x="200" y="384"/>
                  </a:lnTo>
                  <a:lnTo>
                    <a:pt x="212" y="382"/>
                  </a:lnTo>
                  <a:lnTo>
                    <a:pt x="222" y="378"/>
                  </a:lnTo>
                  <a:lnTo>
                    <a:pt x="230" y="370"/>
                  </a:lnTo>
                  <a:lnTo>
                    <a:pt x="234" y="358"/>
                  </a:lnTo>
                  <a:lnTo>
                    <a:pt x="244" y="358"/>
                  </a:lnTo>
                  <a:lnTo>
                    <a:pt x="244" y="358"/>
                  </a:lnTo>
                  <a:lnTo>
                    <a:pt x="258" y="358"/>
                  </a:lnTo>
                  <a:lnTo>
                    <a:pt x="272" y="354"/>
                  </a:lnTo>
                  <a:lnTo>
                    <a:pt x="284" y="346"/>
                  </a:lnTo>
                  <a:lnTo>
                    <a:pt x="294" y="338"/>
                  </a:lnTo>
                  <a:lnTo>
                    <a:pt x="302" y="328"/>
                  </a:lnTo>
                  <a:lnTo>
                    <a:pt x="310" y="316"/>
                  </a:lnTo>
                  <a:lnTo>
                    <a:pt x="314" y="302"/>
                  </a:lnTo>
                  <a:lnTo>
                    <a:pt x="314" y="288"/>
                  </a:lnTo>
                  <a:lnTo>
                    <a:pt x="314" y="288"/>
                  </a:lnTo>
                  <a:lnTo>
                    <a:pt x="314" y="288"/>
                  </a:lnTo>
                  <a:lnTo>
                    <a:pt x="314" y="244"/>
                  </a:lnTo>
                  <a:lnTo>
                    <a:pt x="314" y="244"/>
                  </a:lnTo>
                  <a:lnTo>
                    <a:pt x="324" y="240"/>
                  </a:lnTo>
                  <a:lnTo>
                    <a:pt x="330" y="234"/>
                  </a:lnTo>
                  <a:lnTo>
                    <a:pt x="336" y="228"/>
                  </a:lnTo>
                  <a:lnTo>
                    <a:pt x="338" y="220"/>
                  </a:lnTo>
                  <a:lnTo>
                    <a:pt x="414" y="220"/>
                  </a:lnTo>
                  <a:lnTo>
                    <a:pt x="414" y="220"/>
                  </a:lnTo>
                  <a:lnTo>
                    <a:pt x="414" y="210"/>
                  </a:lnTo>
                  <a:lnTo>
                    <a:pt x="414" y="210"/>
                  </a:lnTo>
                  <a:lnTo>
                    <a:pt x="414" y="200"/>
                  </a:lnTo>
                  <a:lnTo>
                    <a:pt x="338" y="200"/>
                  </a:lnTo>
                  <a:lnTo>
                    <a:pt x="338" y="200"/>
                  </a:lnTo>
                  <a:lnTo>
                    <a:pt x="336" y="192"/>
                  </a:lnTo>
                  <a:lnTo>
                    <a:pt x="330" y="184"/>
                  </a:lnTo>
                  <a:lnTo>
                    <a:pt x="324" y="180"/>
                  </a:lnTo>
                  <a:lnTo>
                    <a:pt x="314" y="176"/>
                  </a:lnTo>
                  <a:lnTo>
                    <a:pt x="314" y="176"/>
                  </a:lnTo>
                  <a:close/>
                  <a:moveTo>
                    <a:pt x="200" y="364"/>
                  </a:moveTo>
                  <a:lnTo>
                    <a:pt x="200" y="364"/>
                  </a:lnTo>
                  <a:lnTo>
                    <a:pt x="194" y="364"/>
                  </a:lnTo>
                  <a:lnTo>
                    <a:pt x="190" y="360"/>
                  </a:lnTo>
                  <a:lnTo>
                    <a:pt x="186" y="354"/>
                  </a:lnTo>
                  <a:lnTo>
                    <a:pt x="186" y="348"/>
                  </a:lnTo>
                  <a:lnTo>
                    <a:pt x="186" y="348"/>
                  </a:lnTo>
                  <a:lnTo>
                    <a:pt x="186" y="342"/>
                  </a:lnTo>
                  <a:lnTo>
                    <a:pt x="190" y="338"/>
                  </a:lnTo>
                  <a:lnTo>
                    <a:pt x="194" y="334"/>
                  </a:lnTo>
                  <a:lnTo>
                    <a:pt x="200" y="334"/>
                  </a:lnTo>
                  <a:lnTo>
                    <a:pt x="200" y="334"/>
                  </a:lnTo>
                  <a:lnTo>
                    <a:pt x="206" y="334"/>
                  </a:lnTo>
                  <a:lnTo>
                    <a:pt x="212" y="338"/>
                  </a:lnTo>
                  <a:lnTo>
                    <a:pt x="216" y="342"/>
                  </a:lnTo>
                  <a:lnTo>
                    <a:pt x="216" y="348"/>
                  </a:lnTo>
                  <a:lnTo>
                    <a:pt x="216" y="348"/>
                  </a:lnTo>
                  <a:lnTo>
                    <a:pt x="216" y="354"/>
                  </a:lnTo>
                  <a:lnTo>
                    <a:pt x="212" y="360"/>
                  </a:lnTo>
                  <a:lnTo>
                    <a:pt x="206" y="364"/>
                  </a:lnTo>
                  <a:lnTo>
                    <a:pt x="200" y="364"/>
                  </a:lnTo>
                  <a:lnTo>
                    <a:pt x="200" y="364"/>
                  </a:lnTo>
                  <a:close/>
                  <a:moveTo>
                    <a:pt x="334" y="118"/>
                  </a:moveTo>
                  <a:lnTo>
                    <a:pt x="394" y="118"/>
                  </a:lnTo>
                  <a:lnTo>
                    <a:pt x="394" y="118"/>
                  </a:lnTo>
                  <a:lnTo>
                    <a:pt x="402" y="138"/>
                  </a:lnTo>
                  <a:lnTo>
                    <a:pt x="334" y="138"/>
                  </a:lnTo>
                  <a:lnTo>
                    <a:pt x="334" y="118"/>
                  </a:lnTo>
                  <a:close/>
                  <a:moveTo>
                    <a:pt x="16" y="310"/>
                  </a:moveTo>
                  <a:lnTo>
                    <a:pt x="16" y="304"/>
                  </a:lnTo>
                  <a:lnTo>
                    <a:pt x="16" y="304"/>
                  </a:lnTo>
                  <a:lnTo>
                    <a:pt x="16" y="292"/>
                  </a:lnTo>
                  <a:lnTo>
                    <a:pt x="20" y="278"/>
                  </a:lnTo>
                  <a:lnTo>
                    <a:pt x="24" y="268"/>
                  </a:lnTo>
                  <a:lnTo>
                    <a:pt x="30" y="256"/>
                  </a:lnTo>
                  <a:lnTo>
                    <a:pt x="38" y="248"/>
                  </a:lnTo>
                  <a:lnTo>
                    <a:pt x="46" y="240"/>
                  </a:lnTo>
                  <a:lnTo>
                    <a:pt x="56" y="232"/>
                  </a:lnTo>
                  <a:lnTo>
                    <a:pt x="66" y="226"/>
                  </a:lnTo>
                  <a:lnTo>
                    <a:pt x="66" y="226"/>
                  </a:lnTo>
                  <a:lnTo>
                    <a:pt x="72" y="234"/>
                  </a:lnTo>
                  <a:lnTo>
                    <a:pt x="80" y="240"/>
                  </a:lnTo>
                  <a:lnTo>
                    <a:pt x="88" y="244"/>
                  </a:lnTo>
                  <a:lnTo>
                    <a:pt x="98" y="246"/>
                  </a:lnTo>
                  <a:lnTo>
                    <a:pt x="98" y="246"/>
                  </a:lnTo>
                  <a:lnTo>
                    <a:pt x="110" y="244"/>
                  </a:lnTo>
                  <a:lnTo>
                    <a:pt x="120" y="238"/>
                  </a:lnTo>
                  <a:lnTo>
                    <a:pt x="128" y="230"/>
                  </a:lnTo>
                  <a:lnTo>
                    <a:pt x="132" y="220"/>
                  </a:lnTo>
                  <a:lnTo>
                    <a:pt x="132" y="220"/>
                  </a:lnTo>
                  <a:lnTo>
                    <a:pt x="136" y="220"/>
                  </a:lnTo>
                  <a:lnTo>
                    <a:pt x="168" y="220"/>
                  </a:lnTo>
                  <a:lnTo>
                    <a:pt x="168" y="220"/>
                  </a:lnTo>
                  <a:lnTo>
                    <a:pt x="170" y="212"/>
                  </a:lnTo>
                  <a:lnTo>
                    <a:pt x="172" y="202"/>
                  </a:lnTo>
                  <a:lnTo>
                    <a:pt x="172" y="200"/>
                  </a:lnTo>
                  <a:lnTo>
                    <a:pt x="136" y="200"/>
                  </a:lnTo>
                  <a:lnTo>
                    <a:pt x="136" y="200"/>
                  </a:lnTo>
                  <a:lnTo>
                    <a:pt x="132" y="200"/>
                  </a:lnTo>
                  <a:lnTo>
                    <a:pt x="132" y="200"/>
                  </a:lnTo>
                  <a:lnTo>
                    <a:pt x="128" y="190"/>
                  </a:lnTo>
                  <a:lnTo>
                    <a:pt x="120" y="182"/>
                  </a:lnTo>
                  <a:lnTo>
                    <a:pt x="110" y="176"/>
                  </a:lnTo>
                  <a:lnTo>
                    <a:pt x="98" y="174"/>
                  </a:lnTo>
                  <a:lnTo>
                    <a:pt x="98" y="174"/>
                  </a:lnTo>
                  <a:lnTo>
                    <a:pt x="92" y="176"/>
                  </a:lnTo>
                  <a:lnTo>
                    <a:pt x="86" y="176"/>
                  </a:lnTo>
                  <a:lnTo>
                    <a:pt x="74" y="184"/>
                  </a:lnTo>
                  <a:lnTo>
                    <a:pt x="66" y="194"/>
                  </a:lnTo>
                  <a:lnTo>
                    <a:pt x="64" y="200"/>
                  </a:lnTo>
                  <a:lnTo>
                    <a:pt x="62" y="206"/>
                  </a:lnTo>
                  <a:lnTo>
                    <a:pt x="62" y="206"/>
                  </a:lnTo>
                  <a:lnTo>
                    <a:pt x="52" y="212"/>
                  </a:lnTo>
                  <a:lnTo>
                    <a:pt x="42" y="218"/>
                  </a:lnTo>
                  <a:lnTo>
                    <a:pt x="32" y="224"/>
                  </a:lnTo>
                  <a:lnTo>
                    <a:pt x="24" y="232"/>
                  </a:lnTo>
                  <a:lnTo>
                    <a:pt x="16" y="242"/>
                  </a:lnTo>
                  <a:lnTo>
                    <a:pt x="10" y="252"/>
                  </a:lnTo>
                  <a:lnTo>
                    <a:pt x="4" y="262"/>
                  </a:lnTo>
                  <a:lnTo>
                    <a:pt x="0" y="274"/>
                  </a:lnTo>
                  <a:lnTo>
                    <a:pt x="0" y="274"/>
                  </a:lnTo>
                  <a:lnTo>
                    <a:pt x="6" y="292"/>
                  </a:lnTo>
                  <a:lnTo>
                    <a:pt x="16" y="310"/>
                  </a:lnTo>
                  <a:lnTo>
                    <a:pt x="16" y="310"/>
                  </a:lnTo>
                  <a:close/>
                  <a:moveTo>
                    <a:pt x="98" y="194"/>
                  </a:moveTo>
                  <a:lnTo>
                    <a:pt x="98" y="194"/>
                  </a:lnTo>
                  <a:lnTo>
                    <a:pt x="104" y="196"/>
                  </a:lnTo>
                  <a:lnTo>
                    <a:pt x="110" y="198"/>
                  </a:lnTo>
                  <a:lnTo>
                    <a:pt x="112" y="204"/>
                  </a:lnTo>
                  <a:lnTo>
                    <a:pt x="114" y="210"/>
                  </a:lnTo>
                  <a:lnTo>
                    <a:pt x="114" y="210"/>
                  </a:lnTo>
                  <a:lnTo>
                    <a:pt x="112" y="216"/>
                  </a:lnTo>
                  <a:lnTo>
                    <a:pt x="110" y="220"/>
                  </a:lnTo>
                  <a:lnTo>
                    <a:pt x="104" y="224"/>
                  </a:lnTo>
                  <a:lnTo>
                    <a:pt x="98" y="226"/>
                  </a:lnTo>
                  <a:lnTo>
                    <a:pt x="98" y="226"/>
                  </a:lnTo>
                  <a:lnTo>
                    <a:pt x="92" y="224"/>
                  </a:lnTo>
                  <a:lnTo>
                    <a:pt x="88" y="220"/>
                  </a:lnTo>
                  <a:lnTo>
                    <a:pt x="84" y="216"/>
                  </a:lnTo>
                  <a:lnTo>
                    <a:pt x="82" y="210"/>
                  </a:lnTo>
                  <a:lnTo>
                    <a:pt x="82" y="210"/>
                  </a:lnTo>
                  <a:lnTo>
                    <a:pt x="84" y="204"/>
                  </a:lnTo>
                  <a:lnTo>
                    <a:pt x="88" y="198"/>
                  </a:lnTo>
                  <a:lnTo>
                    <a:pt x="92" y="196"/>
                  </a:lnTo>
                  <a:lnTo>
                    <a:pt x="98" y="194"/>
                  </a:lnTo>
                  <a:lnTo>
                    <a:pt x="98" y="194"/>
                  </a:lnTo>
                  <a:close/>
                  <a:moveTo>
                    <a:pt x="108" y="306"/>
                  </a:moveTo>
                  <a:lnTo>
                    <a:pt x="36" y="306"/>
                  </a:lnTo>
                  <a:lnTo>
                    <a:pt x="36" y="286"/>
                  </a:lnTo>
                  <a:lnTo>
                    <a:pt x="108" y="286"/>
                  </a:lnTo>
                  <a:lnTo>
                    <a:pt x="108" y="286"/>
                  </a:lnTo>
                  <a:lnTo>
                    <a:pt x="124" y="284"/>
                  </a:lnTo>
                  <a:lnTo>
                    <a:pt x="140" y="280"/>
                  </a:lnTo>
                  <a:lnTo>
                    <a:pt x="154" y="272"/>
                  </a:lnTo>
                  <a:lnTo>
                    <a:pt x="166" y="262"/>
                  </a:lnTo>
                  <a:lnTo>
                    <a:pt x="178" y="250"/>
                  </a:lnTo>
                  <a:lnTo>
                    <a:pt x="184" y="234"/>
                  </a:lnTo>
                  <a:lnTo>
                    <a:pt x="190" y="220"/>
                  </a:lnTo>
                  <a:lnTo>
                    <a:pt x="192" y="202"/>
                  </a:lnTo>
                  <a:lnTo>
                    <a:pt x="192" y="158"/>
                  </a:lnTo>
                  <a:lnTo>
                    <a:pt x="212" y="158"/>
                  </a:lnTo>
                  <a:lnTo>
                    <a:pt x="212" y="202"/>
                  </a:lnTo>
                  <a:lnTo>
                    <a:pt x="212" y="202"/>
                  </a:lnTo>
                  <a:lnTo>
                    <a:pt x="210" y="224"/>
                  </a:lnTo>
                  <a:lnTo>
                    <a:pt x="204" y="242"/>
                  </a:lnTo>
                  <a:lnTo>
                    <a:pt x="194" y="260"/>
                  </a:lnTo>
                  <a:lnTo>
                    <a:pt x="180" y="276"/>
                  </a:lnTo>
                  <a:lnTo>
                    <a:pt x="166" y="288"/>
                  </a:lnTo>
                  <a:lnTo>
                    <a:pt x="148" y="298"/>
                  </a:lnTo>
                  <a:lnTo>
                    <a:pt x="128" y="304"/>
                  </a:lnTo>
                  <a:lnTo>
                    <a:pt x="108" y="306"/>
                  </a:lnTo>
                  <a:lnTo>
                    <a:pt x="108" y="306"/>
                  </a:lnTo>
                  <a:close/>
                  <a:moveTo>
                    <a:pt x="192" y="68"/>
                  </a:moveTo>
                  <a:lnTo>
                    <a:pt x="192" y="98"/>
                  </a:lnTo>
                  <a:lnTo>
                    <a:pt x="212" y="98"/>
                  </a:lnTo>
                  <a:lnTo>
                    <a:pt x="212" y="68"/>
                  </a:lnTo>
                  <a:lnTo>
                    <a:pt x="212" y="68"/>
                  </a:lnTo>
                  <a:lnTo>
                    <a:pt x="222" y="64"/>
                  </a:lnTo>
                  <a:lnTo>
                    <a:pt x="230" y="56"/>
                  </a:lnTo>
                  <a:lnTo>
                    <a:pt x="236" y="46"/>
                  </a:lnTo>
                  <a:lnTo>
                    <a:pt x="236" y="34"/>
                  </a:lnTo>
                  <a:lnTo>
                    <a:pt x="236" y="34"/>
                  </a:lnTo>
                  <a:lnTo>
                    <a:pt x="236" y="28"/>
                  </a:lnTo>
                  <a:lnTo>
                    <a:pt x="234" y="22"/>
                  </a:lnTo>
                  <a:lnTo>
                    <a:pt x="230" y="16"/>
                  </a:lnTo>
                  <a:lnTo>
                    <a:pt x="226" y="10"/>
                  </a:lnTo>
                  <a:lnTo>
                    <a:pt x="222" y="6"/>
                  </a:lnTo>
                  <a:lnTo>
                    <a:pt x="216" y="2"/>
                  </a:lnTo>
                  <a:lnTo>
                    <a:pt x="208" y="0"/>
                  </a:lnTo>
                  <a:lnTo>
                    <a:pt x="202" y="0"/>
                  </a:lnTo>
                  <a:lnTo>
                    <a:pt x="202" y="0"/>
                  </a:lnTo>
                  <a:lnTo>
                    <a:pt x="194" y="0"/>
                  </a:lnTo>
                  <a:lnTo>
                    <a:pt x="188" y="2"/>
                  </a:lnTo>
                  <a:lnTo>
                    <a:pt x="182" y="6"/>
                  </a:lnTo>
                  <a:lnTo>
                    <a:pt x="176" y="10"/>
                  </a:lnTo>
                  <a:lnTo>
                    <a:pt x="172" y="16"/>
                  </a:lnTo>
                  <a:lnTo>
                    <a:pt x="168" y="22"/>
                  </a:lnTo>
                  <a:lnTo>
                    <a:pt x="166" y="28"/>
                  </a:lnTo>
                  <a:lnTo>
                    <a:pt x="166" y="34"/>
                  </a:lnTo>
                  <a:lnTo>
                    <a:pt x="166" y="34"/>
                  </a:lnTo>
                  <a:lnTo>
                    <a:pt x="168" y="46"/>
                  </a:lnTo>
                  <a:lnTo>
                    <a:pt x="174" y="56"/>
                  </a:lnTo>
                  <a:lnTo>
                    <a:pt x="182" y="64"/>
                  </a:lnTo>
                  <a:lnTo>
                    <a:pt x="192" y="68"/>
                  </a:lnTo>
                  <a:lnTo>
                    <a:pt x="192" y="68"/>
                  </a:lnTo>
                  <a:close/>
                  <a:moveTo>
                    <a:pt x="202" y="20"/>
                  </a:moveTo>
                  <a:lnTo>
                    <a:pt x="202" y="20"/>
                  </a:lnTo>
                  <a:lnTo>
                    <a:pt x="208" y="20"/>
                  </a:lnTo>
                  <a:lnTo>
                    <a:pt x="212" y="24"/>
                  </a:lnTo>
                  <a:lnTo>
                    <a:pt x="216" y="28"/>
                  </a:lnTo>
                  <a:lnTo>
                    <a:pt x="216" y="34"/>
                  </a:lnTo>
                  <a:lnTo>
                    <a:pt x="216" y="34"/>
                  </a:lnTo>
                  <a:lnTo>
                    <a:pt x="216" y="40"/>
                  </a:lnTo>
                  <a:lnTo>
                    <a:pt x="212" y="46"/>
                  </a:lnTo>
                  <a:lnTo>
                    <a:pt x="208" y="50"/>
                  </a:lnTo>
                  <a:lnTo>
                    <a:pt x="202" y="50"/>
                  </a:lnTo>
                  <a:lnTo>
                    <a:pt x="202" y="50"/>
                  </a:lnTo>
                  <a:lnTo>
                    <a:pt x="196" y="50"/>
                  </a:lnTo>
                  <a:lnTo>
                    <a:pt x="190" y="46"/>
                  </a:lnTo>
                  <a:lnTo>
                    <a:pt x="188" y="40"/>
                  </a:lnTo>
                  <a:lnTo>
                    <a:pt x="186" y="34"/>
                  </a:lnTo>
                  <a:lnTo>
                    <a:pt x="186" y="34"/>
                  </a:lnTo>
                  <a:lnTo>
                    <a:pt x="188" y="28"/>
                  </a:lnTo>
                  <a:lnTo>
                    <a:pt x="190" y="24"/>
                  </a:lnTo>
                  <a:lnTo>
                    <a:pt x="196" y="20"/>
                  </a:lnTo>
                  <a:lnTo>
                    <a:pt x="202" y="20"/>
                  </a:lnTo>
                  <a:lnTo>
                    <a:pt x="202" y="20"/>
                  </a:lnTo>
                  <a:close/>
                  <a:moveTo>
                    <a:pt x="10" y="118"/>
                  </a:moveTo>
                  <a:lnTo>
                    <a:pt x="274" y="118"/>
                  </a:lnTo>
                  <a:lnTo>
                    <a:pt x="274" y="138"/>
                  </a:lnTo>
                  <a:lnTo>
                    <a:pt x="2" y="138"/>
                  </a:lnTo>
                  <a:lnTo>
                    <a:pt x="2" y="138"/>
                  </a:lnTo>
                  <a:lnTo>
                    <a:pt x="10" y="118"/>
                  </a:lnTo>
                  <a:lnTo>
                    <a:pt x="10" y="118"/>
                  </a:lnTo>
                  <a:close/>
                </a:path>
              </a:pathLst>
            </a:custGeom>
            <a:solidFill>
              <a:srgbClr val="3C3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80" name="Group 379">
            <a:extLst>
              <a:ext uri="{FF2B5EF4-FFF2-40B4-BE49-F238E27FC236}">
                <a16:creationId xmlns:a16="http://schemas.microsoft.com/office/drawing/2014/main" id="{6504D97B-301E-44FF-A4AC-621A8018B90B}"/>
              </a:ext>
            </a:extLst>
          </p:cNvPr>
          <p:cNvGrpSpPr/>
          <p:nvPr/>
        </p:nvGrpSpPr>
        <p:grpSpPr>
          <a:xfrm>
            <a:off x="6259638" y="3134527"/>
            <a:ext cx="612000" cy="612000"/>
            <a:chOff x="4966372" y="3474401"/>
            <a:chExt cx="612000" cy="612000"/>
          </a:xfrm>
          <a:solidFill>
            <a:srgbClr val="505050"/>
          </a:solidFill>
        </p:grpSpPr>
        <p:sp>
          <p:nvSpPr>
            <p:cNvPr id="381" name="Oval 380">
              <a:extLst>
                <a:ext uri="{FF2B5EF4-FFF2-40B4-BE49-F238E27FC236}">
                  <a16:creationId xmlns:a16="http://schemas.microsoft.com/office/drawing/2014/main" id="{F8C1050F-1648-45C1-A2FA-9894DBED816C}"/>
                </a:ext>
              </a:extLst>
            </p:cNvPr>
            <p:cNvSpPr/>
            <p:nvPr/>
          </p:nvSpPr>
          <p:spPr bwMode="ltGray">
            <a:xfrm>
              <a:off x="4966372" y="3474401"/>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82" name="Freeform 5002">
              <a:extLst>
                <a:ext uri="{FF2B5EF4-FFF2-40B4-BE49-F238E27FC236}">
                  <a16:creationId xmlns:a16="http://schemas.microsoft.com/office/drawing/2014/main" id="{5D030D12-8D20-416B-8F06-6F00151DF02E}"/>
                </a:ext>
              </a:extLst>
            </p:cNvPr>
            <p:cNvSpPr>
              <a:spLocks noEditPoints="1"/>
            </p:cNvSpPr>
            <p:nvPr/>
          </p:nvSpPr>
          <p:spPr bwMode="auto">
            <a:xfrm>
              <a:off x="5083464" y="3596641"/>
              <a:ext cx="387199" cy="333959"/>
            </a:xfrm>
            <a:custGeom>
              <a:avLst/>
              <a:gdLst>
                <a:gd name="T0" fmla="*/ 112 w 320"/>
                <a:gd name="T1" fmla="*/ 50 h 276"/>
                <a:gd name="T2" fmla="*/ 112 w 320"/>
                <a:gd name="T3" fmla="*/ 22 h 276"/>
                <a:gd name="T4" fmla="*/ 116 w 320"/>
                <a:gd name="T5" fmla="*/ 14 h 276"/>
                <a:gd name="T6" fmla="*/ 130 w 320"/>
                <a:gd name="T7" fmla="*/ 6 h 276"/>
                <a:gd name="T8" fmla="*/ 160 w 320"/>
                <a:gd name="T9" fmla="*/ 0 h 276"/>
                <a:gd name="T10" fmla="*/ 176 w 320"/>
                <a:gd name="T11" fmla="*/ 2 h 276"/>
                <a:gd name="T12" fmla="*/ 204 w 320"/>
                <a:gd name="T13" fmla="*/ 14 h 276"/>
                <a:gd name="T14" fmla="*/ 208 w 320"/>
                <a:gd name="T15" fmla="*/ 16 h 276"/>
                <a:gd name="T16" fmla="*/ 208 w 320"/>
                <a:gd name="T17" fmla="*/ 50 h 276"/>
                <a:gd name="T18" fmla="*/ 188 w 320"/>
                <a:gd name="T19" fmla="*/ 28 h 276"/>
                <a:gd name="T20" fmla="*/ 176 w 320"/>
                <a:gd name="T21" fmla="*/ 24 h 276"/>
                <a:gd name="T22" fmla="*/ 160 w 320"/>
                <a:gd name="T23" fmla="*/ 20 h 276"/>
                <a:gd name="T24" fmla="*/ 152 w 320"/>
                <a:gd name="T25" fmla="*/ 22 h 276"/>
                <a:gd name="T26" fmla="*/ 132 w 320"/>
                <a:gd name="T27" fmla="*/ 28 h 276"/>
                <a:gd name="T28" fmla="*/ 252 w 320"/>
                <a:gd name="T29" fmla="*/ 50 h 276"/>
                <a:gd name="T30" fmla="*/ 276 w 320"/>
                <a:gd name="T31" fmla="*/ 50 h 276"/>
                <a:gd name="T32" fmla="*/ 282 w 320"/>
                <a:gd name="T33" fmla="*/ 48 h 276"/>
                <a:gd name="T34" fmla="*/ 284 w 320"/>
                <a:gd name="T35" fmla="*/ 42 h 276"/>
                <a:gd name="T36" fmla="*/ 284 w 320"/>
                <a:gd name="T37" fmla="*/ 40 h 276"/>
                <a:gd name="T38" fmla="*/ 280 w 320"/>
                <a:gd name="T39" fmla="*/ 34 h 276"/>
                <a:gd name="T40" fmla="*/ 252 w 320"/>
                <a:gd name="T41" fmla="*/ 34 h 276"/>
                <a:gd name="T42" fmla="*/ 248 w 320"/>
                <a:gd name="T43" fmla="*/ 34 h 276"/>
                <a:gd name="T44" fmla="*/ 244 w 320"/>
                <a:gd name="T45" fmla="*/ 40 h 276"/>
                <a:gd name="T46" fmla="*/ 244 w 320"/>
                <a:gd name="T47" fmla="*/ 42 h 276"/>
                <a:gd name="T48" fmla="*/ 246 w 320"/>
                <a:gd name="T49" fmla="*/ 48 h 276"/>
                <a:gd name="T50" fmla="*/ 252 w 320"/>
                <a:gd name="T51" fmla="*/ 50 h 276"/>
                <a:gd name="T52" fmla="*/ 44 w 320"/>
                <a:gd name="T53" fmla="*/ 50 h 276"/>
                <a:gd name="T54" fmla="*/ 68 w 320"/>
                <a:gd name="T55" fmla="*/ 50 h 276"/>
                <a:gd name="T56" fmla="*/ 74 w 320"/>
                <a:gd name="T57" fmla="*/ 48 h 276"/>
                <a:gd name="T58" fmla="*/ 76 w 320"/>
                <a:gd name="T59" fmla="*/ 42 h 276"/>
                <a:gd name="T60" fmla="*/ 76 w 320"/>
                <a:gd name="T61" fmla="*/ 40 h 276"/>
                <a:gd name="T62" fmla="*/ 72 w 320"/>
                <a:gd name="T63" fmla="*/ 34 h 276"/>
                <a:gd name="T64" fmla="*/ 44 w 320"/>
                <a:gd name="T65" fmla="*/ 34 h 276"/>
                <a:gd name="T66" fmla="*/ 40 w 320"/>
                <a:gd name="T67" fmla="*/ 34 h 276"/>
                <a:gd name="T68" fmla="*/ 36 w 320"/>
                <a:gd name="T69" fmla="*/ 40 h 276"/>
                <a:gd name="T70" fmla="*/ 36 w 320"/>
                <a:gd name="T71" fmla="*/ 42 h 276"/>
                <a:gd name="T72" fmla="*/ 38 w 320"/>
                <a:gd name="T73" fmla="*/ 48 h 276"/>
                <a:gd name="T74" fmla="*/ 44 w 320"/>
                <a:gd name="T75" fmla="*/ 50 h 276"/>
                <a:gd name="T76" fmla="*/ 68 w 320"/>
                <a:gd name="T77" fmla="*/ 276 h 276"/>
                <a:gd name="T78" fmla="*/ 252 w 320"/>
                <a:gd name="T79" fmla="*/ 62 h 276"/>
                <a:gd name="T80" fmla="*/ 68 w 320"/>
                <a:gd name="T81" fmla="*/ 276 h 276"/>
                <a:gd name="T82" fmla="*/ 276 w 320"/>
                <a:gd name="T83" fmla="*/ 62 h 276"/>
                <a:gd name="T84" fmla="*/ 296 w 320"/>
                <a:gd name="T85" fmla="*/ 276 h 276"/>
                <a:gd name="T86" fmla="*/ 306 w 320"/>
                <a:gd name="T87" fmla="*/ 274 h 276"/>
                <a:gd name="T88" fmla="*/ 318 w 320"/>
                <a:gd name="T89" fmla="*/ 262 h 276"/>
                <a:gd name="T90" fmla="*/ 320 w 320"/>
                <a:gd name="T91" fmla="*/ 86 h 276"/>
                <a:gd name="T92" fmla="*/ 318 w 320"/>
                <a:gd name="T93" fmla="*/ 76 h 276"/>
                <a:gd name="T94" fmla="*/ 306 w 320"/>
                <a:gd name="T95" fmla="*/ 64 h 276"/>
                <a:gd name="T96" fmla="*/ 296 w 320"/>
                <a:gd name="T97" fmla="*/ 62 h 276"/>
                <a:gd name="T98" fmla="*/ 0 w 320"/>
                <a:gd name="T99" fmla="*/ 252 h 276"/>
                <a:gd name="T100" fmla="*/ 2 w 320"/>
                <a:gd name="T101" fmla="*/ 262 h 276"/>
                <a:gd name="T102" fmla="*/ 14 w 320"/>
                <a:gd name="T103" fmla="*/ 274 h 276"/>
                <a:gd name="T104" fmla="*/ 44 w 320"/>
                <a:gd name="T105" fmla="*/ 276 h 276"/>
                <a:gd name="T106" fmla="*/ 24 w 320"/>
                <a:gd name="T107" fmla="*/ 62 h 276"/>
                <a:gd name="T108" fmla="*/ 14 w 320"/>
                <a:gd name="T109" fmla="*/ 64 h 276"/>
                <a:gd name="T110" fmla="*/ 2 w 320"/>
                <a:gd name="T111" fmla="*/ 76 h 276"/>
                <a:gd name="T112" fmla="*/ 0 w 320"/>
                <a:gd name="T113" fmla="*/ 86 h 2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276">
                  <a:moveTo>
                    <a:pt x="132" y="50"/>
                  </a:moveTo>
                  <a:lnTo>
                    <a:pt x="112" y="50"/>
                  </a:lnTo>
                  <a:lnTo>
                    <a:pt x="112" y="22"/>
                  </a:lnTo>
                  <a:lnTo>
                    <a:pt x="112" y="22"/>
                  </a:lnTo>
                  <a:lnTo>
                    <a:pt x="112" y="16"/>
                  </a:lnTo>
                  <a:lnTo>
                    <a:pt x="116" y="14"/>
                  </a:lnTo>
                  <a:lnTo>
                    <a:pt x="116" y="14"/>
                  </a:lnTo>
                  <a:lnTo>
                    <a:pt x="130" y="6"/>
                  </a:lnTo>
                  <a:lnTo>
                    <a:pt x="144" y="2"/>
                  </a:lnTo>
                  <a:lnTo>
                    <a:pt x="160" y="0"/>
                  </a:lnTo>
                  <a:lnTo>
                    <a:pt x="160" y="0"/>
                  </a:lnTo>
                  <a:lnTo>
                    <a:pt x="176" y="2"/>
                  </a:lnTo>
                  <a:lnTo>
                    <a:pt x="190" y="6"/>
                  </a:lnTo>
                  <a:lnTo>
                    <a:pt x="204" y="14"/>
                  </a:lnTo>
                  <a:lnTo>
                    <a:pt x="204" y="14"/>
                  </a:lnTo>
                  <a:lnTo>
                    <a:pt x="208" y="16"/>
                  </a:lnTo>
                  <a:lnTo>
                    <a:pt x="208" y="22"/>
                  </a:lnTo>
                  <a:lnTo>
                    <a:pt x="208" y="50"/>
                  </a:lnTo>
                  <a:lnTo>
                    <a:pt x="188" y="50"/>
                  </a:lnTo>
                  <a:lnTo>
                    <a:pt x="188" y="28"/>
                  </a:lnTo>
                  <a:lnTo>
                    <a:pt x="188" y="28"/>
                  </a:lnTo>
                  <a:lnTo>
                    <a:pt x="176" y="24"/>
                  </a:lnTo>
                  <a:lnTo>
                    <a:pt x="168" y="22"/>
                  </a:lnTo>
                  <a:lnTo>
                    <a:pt x="160" y="20"/>
                  </a:lnTo>
                  <a:lnTo>
                    <a:pt x="160" y="20"/>
                  </a:lnTo>
                  <a:lnTo>
                    <a:pt x="152" y="22"/>
                  </a:lnTo>
                  <a:lnTo>
                    <a:pt x="144" y="24"/>
                  </a:lnTo>
                  <a:lnTo>
                    <a:pt x="132" y="28"/>
                  </a:lnTo>
                  <a:lnTo>
                    <a:pt x="132" y="50"/>
                  </a:lnTo>
                  <a:close/>
                  <a:moveTo>
                    <a:pt x="252" y="50"/>
                  </a:moveTo>
                  <a:lnTo>
                    <a:pt x="276" y="50"/>
                  </a:lnTo>
                  <a:lnTo>
                    <a:pt x="276" y="50"/>
                  </a:lnTo>
                  <a:lnTo>
                    <a:pt x="280" y="50"/>
                  </a:lnTo>
                  <a:lnTo>
                    <a:pt x="282" y="48"/>
                  </a:lnTo>
                  <a:lnTo>
                    <a:pt x="284" y="46"/>
                  </a:lnTo>
                  <a:lnTo>
                    <a:pt x="284" y="42"/>
                  </a:lnTo>
                  <a:lnTo>
                    <a:pt x="284" y="42"/>
                  </a:lnTo>
                  <a:lnTo>
                    <a:pt x="284" y="40"/>
                  </a:lnTo>
                  <a:lnTo>
                    <a:pt x="282" y="36"/>
                  </a:lnTo>
                  <a:lnTo>
                    <a:pt x="280" y="34"/>
                  </a:lnTo>
                  <a:lnTo>
                    <a:pt x="276" y="34"/>
                  </a:lnTo>
                  <a:lnTo>
                    <a:pt x="252" y="34"/>
                  </a:lnTo>
                  <a:lnTo>
                    <a:pt x="252" y="34"/>
                  </a:lnTo>
                  <a:lnTo>
                    <a:pt x="248" y="34"/>
                  </a:lnTo>
                  <a:lnTo>
                    <a:pt x="246" y="36"/>
                  </a:lnTo>
                  <a:lnTo>
                    <a:pt x="244" y="40"/>
                  </a:lnTo>
                  <a:lnTo>
                    <a:pt x="244" y="42"/>
                  </a:lnTo>
                  <a:lnTo>
                    <a:pt x="244" y="42"/>
                  </a:lnTo>
                  <a:lnTo>
                    <a:pt x="244" y="46"/>
                  </a:lnTo>
                  <a:lnTo>
                    <a:pt x="246" y="48"/>
                  </a:lnTo>
                  <a:lnTo>
                    <a:pt x="248" y="50"/>
                  </a:lnTo>
                  <a:lnTo>
                    <a:pt x="252" y="50"/>
                  </a:lnTo>
                  <a:lnTo>
                    <a:pt x="252" y="50"/>
                  </a:lnTo>
                  <a:close/>
                  <a:moveTo>
                    <a:pt x="44" y="50"/>
                  </a:moveTo>
                  <a:lnTo>
                    <a:pt x="68" y="50"/>
                  </a:lnTo>
                  <a:lnTo>
                    <a:pt x="68" y="50"/>
                  </a:lnTo>
                  <a:lnTo>
                    <a:pt x="72" y="50"/>
                  </a:lnTo>
                  <a:lnTo>
                    <a:pt x="74" y="48"/>
                  </a:lnTo>
                  <a:lnTo>
                    <a:pt x="76" y="46"/>
                  </a:lnTo>
                  <a:lnTo>
                    <a:pt x="76" y="42"/>
                  </a:lnTo>
                  <a:lnTo>
                    <a:pt x="76" y="42"/>
                  </a:lnTo>
                  <a:lnTo>
                    <a:pt x="76" y="40"/>
                  </a:lnTo>
                  <a:lnTo>
                    <a:pt x="74" y="36"/>
                  </a:lnTo>
                  <a:lnTo>
                    <a:pt x="72" y="34"/>
                  </a:lnTo>
                  <a:lnTo>
                    <a:pt x="68" y="34"/>
                  </a:lnTo>
                  <a:lnTo>
                    <a:pt x="44" y="34"/>
                  </a:lnTo>
                  <a:lnTo>
                    <a:pt x="44" y="34"/>
                  </a:lnTo>
                  <a:lnTo>
                    <a:pt x="40" y="34"/>
                  </a:lnTo>
                  <a:lnTo>
                    <a:pt x="38" y="36"/>
                  </a:lnTo>
                  <a:lnTo>
                    <a:pt x="36" y="40"/>
                  </a:lnTo>
                  <a:lnTo>
                    <a:pt x="36" y="42"/>
                  </a:lnTo>
                  <a:lnTo>
                    <a:pt x="36" y="42"/>
                  </a:lnTo>
                  <a:lnTo>
                    <a:pt x="36" y="46"/>
                  </a:lnTo>
                  <a:lnTo>
                    <a:pt x="38" y="48"/>
                  </a:lnTo>
                  <a:lnTo>
                    <a:pt x="40" y="50"/>
                  </a:lnTo>
                  <a:lnTo>
                    <a:pt x="44" y="50"/>
                  </a:lnTo>
                  <a:lnTo>
                    <a:pt x="44" y="50"/>
                  </a:lnTo>
                  <a:close/>
                  <a:moveTo>
                    <a:pt x="68" y="276"/>
                  </a:moveTo>
                  <a:lnTo>
                    <a:pt x="252" y="276"/>
                  </a:lnTo>
                  <a:lnTo>
                    <a:pt x="252" y="62"/>
                  </a:lnTo>
                  <a:lnTo>
                    <a:pt x="68" y="62"/>
                  </a:lnTo>
                  <a:lnTo>
                    <a:pt x="68" y="276"/>
                  </a:lnTo>
                  <a:close/>
                  <a:moveTo>
                    <a:pt x="296" y="62"/>
                  </a:moveTo>
                  <a:lnTo>
                    <a:pt x="276" y="62"/>
                  </a:lnTo>
                  <a:lnTo>
                    <a:pt x="276" y="276"/>
                  </a:lnTo>
                  <a:lnTo>
                    <a:pt x="296" y="276"/>
                  </a:lnTo>
                  <a:lnTo>
                    <a:pt x="296" y="276"/>
                  </a:lnTo>
                  <a:lnTo>
                    <a:pt x="306" y="274"/>
                  </a:lnTo>
                  <a:lnTo>
                    <a:pt x="312" y="270"/>
                  </a:lnTo>
                  <a:lnTo>
                    <a:pt x="318" y="262"/>
                  </a:lnTo>
                  <a:lnTo>
                    <a:pt x="320" y="252"/>
                  </a:lnTo>
                  <a:lnTo>
                    <a:pt x="320" y="86"/>
                  </a:lnTo>
                  <a:lnTo>
                    <a:pt x="320" y="86"/>
                  </a:lnTo>
                  <a:lnTo>
                    <a:pt x="318" y="76"/>
                  </a:lnTo>
                  <a:lnTo>
                    <a:pt x="312" y="70"/>
                  </a:lnTo>
                  <a:lnTo>
                    <a:pt x="306" y="64"/>
                  </a:lnTo>
                  <a:lnTo>
                    <a:pt x="296" y="62"/>
                  </a:lnTo>
                  <a:lnTo>
                    <a:pt x="296" y="62"/>
                  </a:lnTo>
                  <a:close/>
                  <a:moveTo>
                    <a:pt x="0" y="86"/>
                  </a:moveTo>
                  <a:lnTo>
                    <a:pt x="0" y="252"/>
                  </a:lnTo>
                  <a:lnTo>
                    <a:pt x="0" y="252"/>
                  </a:lnTo>
                  <a:lnTo>
                    <a:pt x="2" y="262"/>
                  </a:lnTo>
                  <a:lnTo>
                    <a:pt x="8" y="270"/>
                  </a:lnTo>
                  <a:lnTo>
                    <a:pt x="14" y="274"/>
                  </a:lnTo>
                  <a:lnTo>
                    <a:pt x="24" y="276"/>
                  </a:lnTo>
                  <a:lnTo>
                    <a:pt x="44" y="276"/>
                  </a:lnTo>
                  <a:lnTo>
                    <a:pt x="44" y="62"/>
                  </a:lnTo>
                  <a:lnTo>
                    <a:pt x="24" y="62"/>
                  </a:lnTo>
                  <a:lnTo>
                    <a:pt x="24" y="62"/>
                  </a:lnTo>
                  <a:lnTo>
                    <a:pt x="14" y="64"/>
                  </a:lnTo>
                  <a:lnTo>
                    <a:pt x="8" y="70"/>
                  </a:lnTo>
                  <a:lnTo>
                    <a:pt x="2" y="76"/>
                  </a:lnTo>
                  <a:lnTo>
                    <a:pt x="0" y="86"/>
                  </a:lnTo>
                  <a:lnTo>
                    <a:pt x="0"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83" name="Group 382">
            <a:extLst>
              <a:ext uri="{FF2B5EF4-FFF2-40B4-BE49-F238E27FC236}">
                <a16:creationId xmlns:a16="http://schemas.microsoft.com/office/drawing/2014/main" id="{B4A5C8BF-59C4-404B-8561-D903BA6A4497}"/>
              </a:ext>
            </a:extLst>
          </p:cNvPr>
          <p:cNvGrpSpPr/>
          <p:nvPr/>
        </p:nvGrpSpPr>
        <p:grpSpPr>
          <a:xfrm>
            <a:off x="5422229" y="3134527"/>
            <a:ext cx="612000" cy="612000"/>
            <a:chOff x="4091659" y="3474401"/>
            <a:chExt cx="612000" cy="612000"/>
          </a:xfrm>
          <a:solidFill>
            <a:srgbClr val="505050"/>
          </a:solidFill>
        </p:grpSpPr>
        <p:sp>
          <p:nvSpPr>
            <p:cNvPr id="384" name="Oval 383">
              <a:extLst>
                <a:ext uri="{FF2B5EF4-FFF2-40B4-BE49-F238E27FC236}">
                  <a16:creationId xmlns:a16="http://schemas.microsoft.com/office/drawing/2014/main" id="{B763B968-4AD2-4016-92FE-EABE819386C4}"/>
                </a:ext>
              </a:extLst>
            </p:cNvPr>
            <p:cNvSpPr/>
            <p:nvPr/>
          </p:nvSpPr>
          <p:spPr bwMode="ltGray">
            <a:xfrm>
              <a:off x="4091659" y="3474401"/>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85" name="Freeform 5005">
              <a:extLst>
                <a:ext uri="{FF2B5EF4-FFF2-40B4-BE49-F238E27FC236}">
                  <a16:creationId xmlns:a16="http://schemas.microsoft.com/office/drawing/2014/main" id="{E3A720D5-F189-44E5-B153-B4108981BB89}"/>
                </a:ext>
              </a:extLst>
            </p:cNvPr>
            <p:cNvSpPr>
              <a:spLocks noEditPoints="1"/>
            </p:cNvSpPr>
            <p:nvPr/>
          </p:nvSpPr>
          <p:spPr bwMode="auto">
            <a:xfrm>
              <a:off x="4200777" y="3647460"/>
              <a:ext cx="396879" cy="280720"/>
            </a:xfrm>
            <a:custGeom>
              <a:avLst/>
              <a:gdLst>
                <a:gd name="T0" fmla="*/ 10 w 328"/>
                <a:gd name="T1" fmla="*/ 0 h 232"/>
                <a:gd name="T2" fmla="*/ 8 w 328"/>
                <a:gd name="T3" fmla="*/ 2 h 232"/>
                <a:gd name="T4" fmla="*/ 2 w 328"/>
                <a:gd name="T5" fmla="*/ 6 h 232"/>
                <a:gd name="T6" fmla="*/ 0 w 328"/>
                <a:gd name="T7" fmla="*/ 14 h 232"/>
                <a:gd name="T8" fmla="*/ 0 w 328"/>
                <a:gd name="T9" fmla="*/ 222 h 232"/>
                <a:gd name="T10" fmla="*/ 2 w 328"/>
                <a:gd name="T11" fmla="*/ 222 h 232"/>
                <a:gd name="T12" fmla="*/ 2 w 328"/>
                <a:gd name="T13" fmla="*/ 224 h 232"/>
                <a:gd name="T14" fmla="*/ 2 w 328"/>
                <a:gd name="T15" fmla="*/ 224 h 232"/>
                <a:gd name="T16" fmla="*/ 2 w 328"/>
                <a:gd name="T17" fmla="*/ 226 h 232"/>
                <a:gd name="T18" fmla="*/ 4 w 328"/>
                <a:gd name="T19" fmla="*/ 228 h 232"/>
                <a:gd name="T20" fmla="*/ 4 w 328"/>
                <a:gd name="T21" fmla="*/ 228 h 232"/>
                <a:gd name="T22" fmla="*/ 6 w 328"/>
                <a:gd name="T23" fmla="*/ 230 h 232"/>
                <a:gd name="T24" fmla="*/ 8 w 328"/>
                <a:gd name="T25" fmla="*/ 230 h 232"/>
                <a:gd name="T26" fmla="*/ 318 w 328"/>
                <a:gd name="T27" fmla="*/ 232 h 232"/>
                <a:gd name="T28" fmla="*/ 320 w 328"/>
                <a:gd name="T29" fmla="*/ 230 h 232"/>
                <a:gd name="T30" fmla="*/ 322 w 328"/>
                <a:gd name="T31" fmla="*/ 230 h 232"/>
                <a:gd name="T32" fmla="*/ 324 w 328"/>
                <a:gd name="T33" fmla="*/ 228 h 232"/>
                <a:gd name="T34" fmla="*/ 324 w 328"/>
                <a:gd name="T35" fmla="*/ 228 h 232"/>
                <a:gd name="T36" fmla="*/ 326 w 328"/>
                <a:gd name="T37" fmla="*/ 226 h 232"/>
                <a:gd name="T38" fmla="*/ 326 w 328"/>
                <a:gd name="T39" fmla="*/ 224 h 232"/>
                <a:gd name="T40" fmla="*/ 326 w 328"/>
                <a:gd name="T41" fmla="*/ 224 h 232"/>
                <a:gd name="T42" fmla="*/ 326 w 328"/>
                <a:gd name="T43" fmla="*/ 222 h 232"/>
                <a:gd name="T44" fmla="*/ 328 w 328"/>
                <a:gd name="T45" fmla="*/ 222 h 232"/>
                <a:gd name="T46" fmla="*/ 328 w 328"/>
                <a:gd name="T47" fmla="*/ 10 h 232"/>
                <a:gd name="T48" fmla="*/ 326 w 328"/>
                <a:gd name="T49" fmla="*/ 6 h 232"/>
                <a:gd name="T50" fmla="*/ 320 w 328"/>
                <a:gd name="T51" fmla="*/ 2 h 232"/>
                <a:gd name="T52" fmla="*/ 318 w 328"/>
                <a:gd name="T53" fmla="*/ 0 h 232"/>
                <a:gd name="T54" fmla="*/ 164 w 328"/>
                <a:gd name="T55" fmla="*/ 150 h 232"/>
                <a:gd name="T56" fmla="*/ 292 w 328"/>
                <a:gd name="T57" fmla="*/ 20 h 232"/>
                <a:gd name="T58" fmla="*/ 108 w 328"/>
                <a:gd name="T59" fmla="*/ 122 h 232"/>
                <a:gd name="T60" fmla="*/ 20 w 328"/>
                <a:gd name="T61" fmla="*/ 36 h 232"/>
                <a:gd name="T62" fmla="*/ 122 w 328"/>
                <a:gd name="T63" fmla="*/ 136 h 232"/>
                <a:gd name="T64" fmla="*/ 206 w 328"/>
                <a:gd name="T65" fmla="*/ 136 h 232"/>
                <a:gd name="T66" fmla="*/ 38 w 328"/>
                <a:gd name="T67" fmla="*/ 212 h 232"/>
                <a:gd name="T68" fmla="*/ 220 w 328"/>
                <a:gd name="T69" fmla="*/ 122 h 232"/>
                <a:gd name="T70" fmla="*/ 308 w 328"/>
                <a:gd name="T71" fmla="*/ 200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8" h="232">
                  <a:moveTo>
                    <a:pt x="318" y="0"/>
                  </a:moveTo>
                  <a:lnTo>
                    <a:pt x="10" y="0"/>
                  </a:lnTo>
                  <a:lnTo>
                    <a:pt x="10" y="0"/>
                  </a:lnTo>
                  <a:lnTo>
                    <a:pt x="8" y="2"/>
                  </a:lnTo>
                  <a:lnTo>
                    <a:pt x="4" y="4"/>
                  </a:lnTo>
                  <a:lnTo>
                    <a:pt x="2" y="6"/>
                  </a:lnTo>
                  <a:lnTo>
                    <a:pt x="0" y="10"/>
                  </a:lnTo>
                  <a:lnTo>
                    <a:pt x="0" y="14"/>
                  </a:lnTo>
                  <a:lnTo>
                    <a:pt x="0" y="222"/>
                  </a:lnTo>
                  <a:lnTo>
                    <a:pt x="0" y="222"/>
                  </a:lnTo>
                  <a:lnTo>
                    <a:pt x="2" y="222"/>
                  </a:lnTo>
                  <a:lnTo>
                    <a:pt x="2" y="222"/>
                  </a:lnTo>
                  <a:lnTo>
                    <a:pt x="2" y="224"/>
                  </a:lnTo>
                  <a:lnTo>
                    <a:pt x="2" y="224"/>
                  </a:lnTo>
                  <a:lnTo>
                    <a:pt x="2" y="224"/>
                  </a:lnTo>
                  <a:lnTo>
                    <a:pt x="2" y="224"/>
                  </a:lnTo>
                  <a:lnTo>
                    <a:pt x="2" y="226"/>
                  </a:lnTo>
                  <a:lnTo>
                    <a:pt x="2" y="226"/>
                  </a:lnTo>
                  <a:lnTo>
                    <a:pt x="4" y="228"/>
                  </a:lnTo>
                  <a:lnTo>
                    <a:pt x="4" y="228"/>
                  </a:lnTo>
                  <a:lnTo>
                    <a:pt x="4" y="228"/>
                  </a:lnTo>
                  <a:lnTo>
                    <a:pt x="4" y="228"/>
                  </a:lnTo>
                  <a:lnTo>
                    <a:pt x="6" y="230"/>
                  </a:lnTo>
                  <a:lnTo>
                    <a:pt x="6" y="230"/>
                  </a:lnTo>
                  <a:lnTo>
                    <a:pt x="8" y="230"/>
                  </a:lnTo>
                  <a:lnTo>
                    <a:pt x="8" y="230"/>
                  </a:lnTo>
                  <a:lnTo>
                    <a:pt x="10" y="232"/>
                  </a:lnTo>
                  <a:lnTo>
                    <a:pt x="318" y="232"/>
                  </a:lnTo>
                  <a:lnTo>
                    <a:pt x="318" y="232"/>
                  </a:lnTo>
                  <a:lnTo>
                    <a:pt x="320" y="230"/>
                  </a:lnTo>
                  <a:lnTo>
                    <a:pt x="320" y="230"/>
                  </a:lnTo>
                  <a:lnTo>
                    <a:pt x="322" y="230"/>
                  </a:lnTo>
                  <a:lnTo>
                    <a:pt x="322" y="230"/>
                  </a:lnTo>
                  <a:lnTo>
                    <a:pt x="324" y="228"/>
                  </a:lnTo>
                  <a:lnTo>
                    <a:pt x="324" y="228"/>
                  </a:lnTo>
                  <a:lnTo>
                    <a:pt x="324" y="228"/>
                  </a:lnTo>
                  <a:lnTo>
                    <a:pt x="324" y="228"/>
                  </a:lnTo>
                  <a:lnTo>
                    <a:pt x="326" y="226"/>
                  </a:lnTo>
                  <a:lnTo>
                    <a:pt x="326" y="226"/>
                  </a:lnTo>
                  <a:lnTo>
                    <a:pt x="326" y="224"/>
                  </a:lnTo>
                  <a:lnTo>
                    <a:pt x="326" y="224"/>
                  </a:lnTo>
                  <a:lnTo>
                    <a:pt x="326" y="224"/>
                  </a:lnTo>
                  <a:lnTo>
                    <a:pt x="326" y="224"/>
                  </a:lnTo>
                  <a:lnTo>
                    <a:pt x="326" y="222"/>
                  </a:lnTo>
                  <a:lnTo>
                    <a:pt x="326" y="222"/>
                  </a:lnTo>
                  <a:lnTo>
                    <a:pt x="328" y="222"/>
                  </a:lnTo>
                  <a:lnTo>
                    <a:pt x="328" y="14"/>
                  </a:lnTo>
                  <a:lnTo>
                    <a:pt x="328" y="10"/>
                  </a:lnTo>
                  <a:lnTo>
                    <a:pt x="328" y="10"/>
                  </a:lnTo>
                  <a:lnTo>
                    <a:pt x="326" y="6"/>
                  </a:lnTo>
                  <a:lnTo>
                    <a:pt x="324" y="4"/>
                  </a:lnTo>
                  <a:lnTo>
                    <a:pt x="320" y="2"/>
                  </a:lnTo>
                  <a:lnTo>
                    <a:pt x="318" y="0"/>
                  </a:lnTo>
                  <a:lnTo>
                    <a:pt x="318" y="0"/>
                  </a:lnTo>
                  <a:close/>
                  <a:moveTo>
                    <a:pt x="292" y="20"/>
                  </a:moveTo>
                  <a:lnTo>
                    <a:pt x="164" y="150"/>
                  </a:lnTo>
                  <a:lnTo>
                    <a:pt x="36" y="20"/>
                  </a:lnTo>
                  <a:lnTo>
                    <a:pt x="292" y="20"/>
                  </a:lnTo>
                  <a:close/>
                  <a:moveTo>
                    <a:pt x="20" y="36"/>
                  </a:moveTo>
                  <a:lnTo>
                    <a:pt x="108" y="122"/>
                  </a:lnTo>
                  <a:lnTo>
                    <a:pt x="20" y="200"/>
                  </a:lnTo>
                  <a:lnTo>
                    <a:pt x="20" y="36"/>
                  </a:lnTo>
                  <a:close/>
                  <a:moveTo>
                    <a:pt x="38" y="212"/>
                  </a:moveTo>
                  <a:lnTo>
                    <a:pt x="122" y="136"/>
                  </a:lnTo>
                  <a:lnTo>
                    <a:pt x="164" y="178"/>
                  </a:lnTo>
                  <a:lnTo>
                    <a:pt x="206" y="136"/>
                  </a:lnTo>
                  <a:lnTo>
                    <a:pt x="290" y="212"/>
                  </a:lnTo>
                  <a:lnTo>
                    <a:pt x="38" y="212"/>
                  </a:lnTo>
                  <a:close/>
                  <a:moveTo>
                    <a:pt x="308" y="200"/>
                  </a:moveTo>
                  <a:lnTo>
                    <a:pt x="220" y="122"/>
                  </a:lnTo>
                  <a:lnTo>
                    <a:pt x="308" y="36"/>
                  </a:lnTo>
                  <a:lnTo>
                    <a:pt x="308" y="2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86" name="Group 385">
            <a:extLst>
              <a:ext uri="{FF2B5EF4-FFF2-40B4-BE49-F238E27FC236}">
                <a16:creationId xmlns:a16="http://schemas.microsoft.com/office/drawing/2014/main" id="{CBBEAD64-6899-4F66-AC6A-1A3F44FAC91A}"/>
              </a:ext>
            </a:extLst>
          </p:cNvPr>
          <p:cNvGrpSpPr/>
          <p:nvPr/>
        </p:nvGrpSpPr>
        <p:grpSpPr>
          <a:xfrm>
            <a:off x="4584820" y="3134527"/>
            <a:ext cx="612000" cy="612000"/>
            <a:chOff x="3216946" y="3474401"/>
            <a:chExt cx="612000" cy="612000"/>
          </a:xfrm>
          <a:solidFill>
            <a:srgbClr val="505050"/>
          </a:solidFill>
        </p:grpSpPr>
        <p:sp>
          <p:nvSpPr>
            <p:cNvPr id="387" name="Oval 386">
              <a:extLst>
                <a:ext uri="{FF2B5EF4-FFF2-40B4-BE49-F238E27FC236}">
                  <a16:creationId xmlns:a16="http://schemas.microsoft.com/office/drawing/2014/main" id="{B8E80882-2CB1-4593-87C1-FAD2110D0503}"/>
                </a:ext>
              </a:extLst>
            </p:cNvPr>
            <p:cNvSpPr/>
            <p:nvPr/>
          </p:nvSpPr>
          <p:spPr bwMode="ltGray">
            <a:xfrm>
              <a:off x="3216946" y="3474401"/>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88" name="Freeform 5006">
              <a:extLst>
                <a:ext uri="{FF2B5EF4-FFF2-40B4-BE49-F238E27FC236}">
                  <a16:creationId xmlns:a16="http://schemas.microsoft.com/office/drawing/2014/main" id="{D1985E1A-F6A9-4151-97F9-B0FDFC7D7F08}"/>
                </a:ext>
              </a:extLst>
            </p:cNvPr>
            <p:cNvSpPr>
              <a:spLocks noEditPoints="1"/>
            </p:cNvSpPr>
            <p:nvPr/>
          </p:nvSpPr>
          <p:spPr bwMode="auto">
            <a:xfrm>
              <a:off x="3338354" y="3538561"/>
              <a:ext cx="372679" cy="413819"/>
            </a:xfrm>
            <a:custGeom>
              <a:avLst/>
              <a:gdLst>
                <a:gd name="T0" fmla="*/ 308 w 308"/>
                <a:gd name="T1" fmla="*/ 134 h 342"/>
                <a:gd name="T2" fmla="*/ 308 w 308"/>
                <a:gd name="T3" fmla="*/ 132 h 342"/>
                <a:gd name="T4" fmla="*/ 308 w 308"/>
                <a:gd name="T5" fmla="*/ 130 h 342"/>
                <a:gd name="T6" fmla="*/ 306 w 308"/>
                <a:gd name="T7" fmla="*/ 130 h 342"/>
                <a:gd name="T8" fmla="*/ 306 w 308"/>
                <a:gd name="T9" fmla="*/ 128 h 342"/>
                <a:gd name="T10" fmla="*/ 304 w 308"/>
                <a:gd name="T11" fmla="*/ 126 h 342"/>
                <a:gd name="T12" fmla="*/ 304 w 308"/>
                <a:gd name="T13" fmla="*/ 126 h 342"/>
                <a:gd name="T14" fmla="*/ 4 w 308"/>
                <a:gd name="T15" fmla="*/ 126 h 342"/>
                <a:gd name="T16" fmla="*/ 4 w 308"/>
                <a:gd name="T17" fmla="*/ 126 h 342"/>
                <a:gd name="T18" fmla="*/ 2 w 308"/>
                <a:gd name="T19" fmla="*/ 128 h 342"/>
                <a:gd name="T20" fmla="*/ 2 w 308"/>
                <a:gd name="T21" fmla="*/ 128 h 342"/>
                <a:gd name="T22" fmla="*/ 2 w 308"/>
                <a:gd name="T23" fmla="*/ 130 h 342"/>
                <a:gd name="T24" fmla="*/ 0 w 308"/>
                <a:gd name="T25" fmla="*/ 130 h 342"/>
                <a:gd name="T26" fmla="*/ 0 w 308"/>
                <a:gd name="T27" fmla="*/ 132 h 342"/>
                <a:gd name="T28" fmla="*/ 0 w 308"/>
                <a:gd name="T29" fmla="*/ 134 h 342"/>
                <a:gd name="T30" fmla="*/ 0 w 308"/>
                <a:gd name="T31" fmla="*/ 144 h 342"/>
                <a:gd name="T32" fmla="*/ 0 w 308"/>
                <a:gd name="T33" fmla="*/ 332 h 342"/>
                <a:gd name="T34" fmla="*/ 0 w 308"/>
                <a:gd name="T35" fmla="*/ 336 h 342"/>
                <a:gd name="T36" fmla="*/ 6 w 308"/>
                <a:gd name="T37" fmla="*/ 342 h 342"/>
                <a:gd name="T38" fmla="*/ 298 w 308"/>
                <a:gd name="T39" fmla="*/ 342 h 342"/>
                <a:gd name="T40" fmla="*/ 302 w 308"/>
                <a:gd name="T41" fmla="*/ 342 h 342"/>
                <a:gd name="T42" fmla="*/ 308 w 308"/>
                <a:gd name="T43" fmla="*/ 336 h 342"/>
                <a:gd name="T44" fmla="*/ 308 w 308"/>
                <a:gd name="T45" fmla="*/ 328 h 342"/>
                <a:gd name="T46" fmla="*/ 308 w 308"/>
                <a:gd name="T47" fmla="*/ 134 h 342"/>
                <a:gd name="T48" fmla="*/ 308 w 308"/>
                <a:gd name="T49" fmla="*/ 134 h 342"/>
                <a:gd name="T50" fmla="*/ 154 w 308"/>
                <a:gd name="T51" fmla="*/ 26 h 342"/>
                <a:gd name="T52" fmla="*/ 38 w 308"/>
                <a:gd name="T53" fmla="*/ 124 h 342"/>
                <a:gd name="T54" fmla="*/ 20 w 308"/>
                <a:gd name="T55" fmla="*/ 152 h 342"/>
                <a:gd name="T56" fmla="*/ 20 w 308"/>
                <a:gd name="T57" fmla="*/ 310 h 342"/>
                <a:gd name="T58" fmla="*/ 36 w 308"/>
                <a:gd name="T59" fmla="*/ 322 h 342"/>
                <a:gd name="T60" fmla="*/ 272 w 308"/>
                <a:gd name="T61" fmla="*/ 322 h 342"/>
                <a:gd name="T62" fmla="*/ 288 w 308"/>
                <a:gd name="T63" fmla="*/ 310 h 342"/>
                <a:gd name="T64" fmla="*/ 288 w 308"/>
                <a:gd name="T65" fmla="*/ 152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8" h="342">
                  <a:moveTo>
                    <a:pt x="308" y="134"/>
                  </a:moveTo>
                  <a:lnTo>
                    <a:pt x="308" y="134"/>
                  </a:lnTo>
                  <a:lnTo>
                    <a:pt x="308" y="132"/>
                  </a:lnTo>
                  <a:lnTo>
                    <a:pt x="308" y="132"/>
                  </a:lnTo>
                  <a:lnTo>
                    <a:pt x="308" y="130"/>
                  </a:lnTo>
                  <a:lnTo>
                    <a:pt x="308" y="130"/>
                  </a:lnTo>
                  <a:lnTo>
                    <a:pt x="306" y="130"/>
                  </a:lnTo>
                  <a:lnTo>
                    <a:pt x="306" y="130"/>
                  </a:lnTo>
                  <a:lnTo>
                    <a:pt x="306" y="128"/>
                  </a:lnTo>
                  <a:lnTo>
                    <a:pt x="306" y="128"/>
                  </a:lnTo>
                  <a:lnTo>
                    <a:pt x="306" y="128"/>
                  </a:lnTo>
                  <a:lnTo>
                    <a:pt x="304" y="126"/>
                  </a:lnTo>
                  <a:lnTo>
                    <a:pt x="304" y="126"/>
                  </a:lnTo>
                  <a:lnTo>
                    <a:pt x="304" y="126"/>
                  </a:lnTo>
                  <a:lnTo>
                    <a:pt x="154" y="0"/>
                  </a:lnTo>
                  <a:lnTo>
                    <a:pt x="4" y="126"/>
                  </a:lnTo>
                  <a:lnTo>
                    <a:pt x="4" y="126"/>
                  </a:lnTo>
                  <a:lnTo>
                    <a:pt x="4" y="126"/>
                  </a:lnTo>
                  <a:lnTo>
                    <a:pt x="2" y="128"/>
                  </a:lnTo>
                  <a:lnTo>
                    <a:pt x="2" y="128"/>
                  </a:lnTo>
                  <a:lnTo>
                    <a:pt x="2" y="128"/>
                  </a:lnTo>
                  <a:lnTo>
                    <a:pt x="2" y="128"/>
                  </a:lnTo>
                  <a:lnTo>
                    <a:pt x="2" y="130"/>
                  </a:lnTo>
                  <a:lnTo>
                    <a:pt x="2" y="130"/>
                  </a:lnTo>
                  <a:lnTo>
                    <a:pt x="0" y="130"/>
                  </a:lnTo>
                  <a:lnTo>
                    <a:pt x="0" y="130"/>
                  </a:lnTo>
                  <a:lnTo>
                    <a:pt x="0" y="132"/>
                  </a:lnTo>
                  <a:lnTo>
                    <a:pt x="0" y="132"/>
                  </a:lnTo>
                  <a:lnTo>
                    <a:pt x="0" y="134"/>
                  </a:lnTo>
                  <a:lnTo>
                    <a:pt x="0" y="134"/>
                  </a:lnTo>
                  <a:lnTo>
                    <a:pt x="0" y="134"/>
                  </a:lnTo>
                  <a:lnTo>
                    <a:pt x="0" y="144"/>
                  </a:lnTo>
                  <a:lnTo>
                    <a:pt x="0" y="328"/>
                  </a:lnTo>
                  <a:lnTo>
                    <a:pt x="0" y="332"/>
                  </a:lnTo>
                  <a:lnTo>
                    <a:pt x="0" y="332"/>
                  </a:lnTo>
                  <a:lnTo>
                    <a:pt x="0" y="336"/>
                  </a:lnTo>
                  <a:lnTo>
                    <a:pt x="2" y="340"/>
                  </a:lnTo>
                  <a:lnTo>
                    <a:pt x="6" y="342"/>
                  </a:lnTo>
                  <a:lnTo>
                    <a:pt x="10" y="342"/>
                  </a:lnTo>
                  <a:lnTo>
                    <a:pt x="298" y="342"/>
                  </a:lnTo>
                  <a:lnTo>
                    <a:pt x="298" y="342"/>
                  </a:lnTo>
                  <a:lnTo>
                    <a:pt x="302" y="342"/>
                  </a:lnTo>
                  <a:lnTo>
                    <a:pt x="306" y="340"/>
                  </a:lnTo>
                  <a:lnTo>
                    <a:pt x="308" y="336"/>
                  </a:lnTo>
                  <a:lnTo>
                    <a:pt x="308" y="332"/>
                  </a:lnTo>
                  <a:lnTo>
                    <a:pt x="308" y="328"/>
                  </a:lnTo>
                  <a:lnTo>
                    <a:pt x="308" y="144"/>
                  </a:lnTo>
                  <a:lnTo>
                    <a:pt x="308" y="134"/>
                  </a:lnTo>
                  <a:lnTo>
                    <a:pt x="308" y="134"/>
                  </a:lnTo>
                  <a:lnTo>
                    <a:pt x="308" y="134"/>
                  </a:lnTo>
                  <a:lnTo>
                    <a:pt x="308" y="134"/>
                  </a:lnTo>
                  <a:close/>
                  <a:moveTo>
                    <a:pt x="154" y="26"/>
                  </a:moveTo>
                  <a:lnTo>
                    <a:pt x="270" y="124"/>
                  </a:lnTo>
                  <a:lnTo>
                    <a:pt x="38" y="124"/>
                  </a:lnTo>
                  <a:lnTo>
                    <a:pt x="154" y="26"/>
                  </a:lnTo>
                  <a:close/>
                  <a:moveTo>
                    <a:pt x="20" y="152"/>
                  </a:moveTo>
                  <a:lnTo>
                    <a:pt x="126" y="218"/>
                  </a:lnTo>
                  <a:lnTo>
                    <a:pt x="20" y="310"/>
                  </a:lnTo>
                  <a:lnTo>
                    <a:pt x="20" y="152"/>
                  </a:lnTo>
                  <a:close/>
                  <a:moveTo>
                    <a:pt x="36" y="322"/>
                  </a:moveTo>
                  <a:lnTo>
                    <a:pt x="154" y="220"/>
                  </a:lnTo>
                  <a:lnTo>
                    <a:pt x="272" y="322"/>
                  </a:lnTo>
                  <a:lnTo>
                    <a:pt x="36" y="322"/>
                  </a:lnTo>
                  <a:close/>
                  <a:moveTo>
                    <a:pt x="288" y="310"/>
                  </a:moveTo>
                  <a:lnTo>
                    <a:pt x="182" y="218"/>
                  </a:lnTo>
                  <a:lnTo>
                    <a:pt x="288" y="152"/>
                  </a:lnTo>
                  <a:lnTo>
                    <a:pt x="288" y="3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89" name="Group 388">
            <a:extLst>
              <a:ext uri="{FF2B5EF4-FFF2-40B4-BE49-F238E27FC236}">
                <a16:creationId xmlns:a16="http://schemas.microsoft.com/office/drawing/2014/main" id="{A019E131-9851-4350-B4B2-683A7DE12BFF}"/>
              </a:ext>
            </a:extLst>
          </p:cNvPr>
          <p:cNvGrpSpPr/>
          <p:nvPr/>
        </p:nvGrpSpPr>
        <p:grpSpPr>
          <a:xfrm>
            <a:off x="3747411" y="3134527"/>
            <a:ext cx="612000" cy="612000"/>
            <a:chOff x="2342233" y="3474401"/>
            <a:chExt cx="612000" cy="612000"/>
          </a:xfrm>
          <a:solidFill>
            <a:srgbClr val="505050"/>
          </a:solidFill>
        </p:grpSpPr>
        <p:sp>
          <p:nvSpPr>
            <p:cNvPr id="390" name="Oval 389">
              <a:extLst>
                <a:ext uri="{FF2B5EF4-FFF2-40B4-BE49-F238E27FC236}">
                  <a16:creationId xmlns:a16="http://schemas.microsoft.com/office/drawing/2014/main" id="{4085348F-6B85-4578-A15C-00294FCCD926}"/>
                </a:ext>
              </a:extLst>
            </p:cNvPr>
            <p:cNvSpPr/>
            <p:nvPr/>
          </p:nvSpPr>
          <p:spPr bwMode="ltGray">
            <a:xfrm>
              <a:off x="2342233" y="3474401"/>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91" name="Freeform 5013">
              <a:extLst>
                <a:ext uri="{FF2B5EF4-FFF2-40B4-BE49-F238E27FC236}">
                  <a16:creationId xmlns:a16="http://schemas.microsoft.com/office/drawing/2014/main" id="{79215FC4-3838-4538-AD86-E440024C3ABD}"/>
                </a:ext>
              </a:extLst>
            </p:cNvPr>
            <p:cNvSpPr>
              <a:spLocks noEditPoints="1"/>
            </p:cNvSpPr>
            <p:nvPr/>
          </p:nvSpPr>
          <p:spPr bwMode="auto">
            <a:xfrm>
              <a:off x="2528266" y="3545525"/>
              <a:ext cx="234740" cy="464639"/>
            </a:xfrm>
            <a:custGeom>
              <a:avLst/>
              <a:gdLst>
                <a:gd name="T0" fmla="*/ 0 w 194"/>
                <a:gd name="T1" fmla="*/ 96 h 384"/>
                <a:gd name="T2" fmla="*/ 8 w 194"/>
                <a:gd name="T3" fmla="*/ 106 h 384"/>
                <a:gd name="T4" fmla="*/ 10 w 194"/>
                <a:gd name="T5" fmla="*/ 106 h 384"/>
                <a:gd name="T6" fmla="*/ 20 w 194"/>
                <a:gd name="T7" fmla="*/ 100 h 384"/>
                <a:gd name="T8" fmla="*/ 54 w 194"/>
                <a:gd name="T9" fmla="*/ 62 h 384"/>
                <a:gd name="T10" fmla="*/ 78 w 194"/>
                <a:gd name="T11" fmla="*/ 62 h 384"/>
                <a:gd name="T12" fmla="*/ 68 w 194"/>
                <a:gd name="T13" fmla="*/ 86 h 384"/>
                <a:gd name="T14" fmla="*/ 42 w 194"/>
                <a:gd name="T15" fmla="*/ 108 h 384"/>
                <a:gd name="T16" fmla="*/ 30 w 194"/>
                <a:gd name="T17" fmla="*/ 138 h 384"/>
                <a:gd name="T18" fmla="*/ 28 w 194"/>
                <a:gd name="T19" fmla="*/ 226 h 384"/>
                <a:gd name="T20" fmla="*/ 98 w 194"/>
                <a:gd name="T21" fmla="*/ 234 h 384"/>
                <a:gd name="T22" fmla="*/ 166 w 194"/>
                <a:gd name="T23" fmla="*/ 150 h 384"/>
                <a:gd name="T24" fmla="*/ 162 w 194"/>
                <a:gd name="T25" fmla="*/ 126 h 384"/>
                <a:gd name="T26" fmla="*/ 146 w 194"/>
                <a:gd name="T27" fmla="*/ 100 h 384"/>
                <a:gd name="T28" fmla="*/ 118 w 194"/>
                <a:gd name="T29" fmla="*/ 82 h 384"/>
                <a:gd name="T30" fmla="*/ 124 w 194"/>
                <a:gd name="T31" fmla="*/ 56 h 384"/>
                <a:gd name="T32" fmla="*/ 144 w 194"/>
                <a:gd name="T33" fmla="*/ 22 h 384"/>
                <a:gd name="T34" fmla="*/ 124 w 194"/>
                <a:gd name="T35" fmla="*/ 14 h 384"/>
                <a:gd name="T36" fmla="*/ 98 w 194"/>
                <a:gd name="T37" fmla="*/ 0 h 384"/>
                <a:gd name="T38" fmla="*/ 78 w 194"/>
                <a:gd name="T39" fmla="*/ 8 h 384"/>
                <a:gd name="T40" fmla="*/ 10 w 194"/>
                <a:gd name="T41" fmla="*/ 24 h 384"/>
                <a:gd name="T42" fmla="*/ 4 w 194"/>
                <a:gd name="T43" fmla="*/ 28 h 384"/>
                <a:gd name="T44" fmla="*/ 0 w 194"/>
                <a:gd name="T45" fmla="*/ 34 h 384"/>
                <a:gd name="T46" fmla="*/ 8 w 194"/>
                <a:gd name="T47" fmla="*/ 44 h 384"/>
                <a:gd name="T48" fmla="*/ 46 w 194"/>
                <a:gd name="T49" fmla="*/ 44 h 384"/>
                <a:gd name="T50" fmla="*/ 10 w 194"/>
                <a:gd name="T51" fmla="*/ 78 h 384"/>
                <a:gd name="T52" fmla="*/ 116 w 194"/>
                <a:gd name="T53" fmla="*/ 104 h 384"/>
                <a:gd name="T54" fmla="*/ 132 w 194"/>
                <a:gd name="T55" fmla="*/ 114 h 384"/>
                <a:gd name="T56" fmla="*/ 142 w 194"/>
                <a:gd name="T57" fmla="*/ 130 h 384"/>
                <a:gd name="T58" fmla="*/ 146 w 194"/>
                <a:gd name="T59" fmla="*/ 204 h 384"/>
                <a:gd name="T60" fmla="*/ 144 w 194"/>
                <a:gd name="T61" fmla="*/ 212 h 384"/>
                <a:gd name="T62" fmla="*/ 136 w 194"/>
                <a:gd name="T63" fmla="*/ 214 h 384"/>
                <a:gd name="T64" fmla="*/ 126 w 194"/>
                <a:gd name="T65" fmla="*/ 208 h 384"/>
                <a:gd name="T66" fmla="*/ 126 w 194"/>
                <a:gd name="T67" fmla="*/ 150 h 384"/>
                <a:gd name="T68" fmla="*/ 118 w 194"/>
                <a:gd name="T69" fmla="*/ 128 h 384"/>
                <a:gd name="T70" fmla="*/ 106 w 194"/>
                <a:gd name="T71" fmla="*/ 120 h 384"/>
                <a:gd name="T72" fmla="*/ 104 w 194"/>
                <a:gd name="T73" fmla="*/ 110 h 384"/>
                <a:gd name="T74" fmla="*/ 108 w 194"/>
                <a:gd name="T75" fmla="*/ 104 h 384"/>
                <a:gd name="T76" fmla="*/ 116 w 194"/>
                <a:gd name="T77" fmla="*/ 104 h 384"/>
                <a:gd name="T78" fmla="*/ 104 w 194"/>
                <a:gd name="T79" fmla="*/ 22 h 384"/>
                <a:gd name="T80" fmla="*/ 112 w 194"/>
                <a:gd name="T81" fmla="*/ 34 h 384"/>
                <a:gd name="T82" fmla="*/ 108 w 194"/>
                <a:gd name="T83" fmla="*/ 44 h 384"/>
                <a:gd name="T84" fmla="*/ 98 w 194"/>
                <a:gd name="T85" fmla="*/ 50 h 384"/>
                <a:gd name="T86" fmla="*/ 84 w 194"/>
                <a:gd name="T87" fmla="*/ 40 h 384"/>
                <a:gd name="T88" fmla="*/ 84 w 194"/>
                <a:gd name="T89" fmla="*/ 30 h 384"/>
                <a:gd name="T90" fmla="*/ 98 w 194"/>
                <a:gd name="T91" fmla="*/ 20 h 384"/>
                <a:gd name="T92" fmla="*/ 98 w 194"/>
                <a:gd name="T93" fmla="*/ 282 h 384"/>
                <a:gd name="T94" fmla="*/ 28 w 194"/>
                <a:gd name="T95" fmla="*/ 368 h 384"/>
                <a:gd name="T96" fmla="*/ 34 w 194"/>
                <a:gd name="T97" fmla="*/ 378 h 384"/>
                <a:gd name="T98" fmla="*/ 150 w 194"/>
                <a:gd name="T99" fmla="*/ 384 h 384"/>
                <a:gd name="T100" fmla="*/ 162 w 194"/>
                <a:gd name="T101" fmla="*/ 378 h 384"/>
                <a:gd name="T102" fmla="*/ 166 w 194"/>
                <a:gd name="T103" fmla="*/ 276 h 384"/>
                <a:gd name="T104" fmla="*/ 98 w 194"/>
                <a:gd name="T105" fmla="*/ 282 h 384"/>
                <a:gd name="T106" fmla="*/ 146 w 194"/>
                <a:gd name="T107" fmla="*/ 354 h 384"/>
                <a:gd name="T108" fmla="*/ 140 w 194"/>
                <a:gd name="T109" fmla="*/ 364 h 384"/>
                <a:gd name="T110" fmla="*/ 132 w 194"/>
                <a:gd name="T111" fmla="*/ 364 h 384"/>
                <a:gd name="T112" fmla="*/ 126 w 194"/>
                <a:gd name="T113" fmla="*/ 354 h 384"/>
                <a:gd name="T114" fmla="*/ 126 w 194"/>
                <a:gd name="T115" fmla="*/ 306 h 384"/>
                <a:gd name="T116" fmla="*/ 136 w 194"/>
                <a:gd name="T117" fmla="*/ 300 h 384"/>
                <a:gd name="T118" fmla="*/ 144 w 194"/>
                <a:gd name="T119" fmla="*/ 302 h 384"/>
                <a:gd name="T120" fmla="*/ 146 w 194"/>
                <a:gd name="T121" fmla="*/ 354 h 384"/>
                <a:gd name="T122" fmla="*/ 154 w 194"/>
                <a:gd name="T123" fmla="*/ 20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4" h="384">
                  <a:moveTo>
                    <a:pt x="2" y="92"/>
                  </a:moveTo>
                  <a:lnTo>
                    <a:pt x="2" y="92"/>
                  </a:lnTo>
                  <a:lnTo>
                    <a:pt x="0" y="96"/>
                  </a:lnTo>
                  <a:lnTo>
                    <a:pt x="2" y="100"/>
                  </a:lnTo>
                  <a:lnTo>
                    <a:pt x="4" y="102"/>
                  </a:lnTo>
                  <a:lnTo>
                    <a:pt x="8" y="106"/>
                  </a:lnTo>
                  <a:lnTo>
                    <a:pt x="8" y="106"/>
                  </a:lnTo>
                  <a:lnTo>
                    <a:pt x="10" y="106"/>
                  </a:lnTo>
                  <a:lnTo>
                    <a:pt x="10" y="106"/>
                  </a:lnTo>
                  <a:lnTo>
                    <a:pt x="16" y="104"/>
                  </a:lnTo>
                  <a:lnTo>
                    <a:pt x="20" y="100"/>
                  </a:lnTo>
                  <a:lnTo>
                    <a:pt x="20" y="100"/>
                  </a:lnTo>
                  <a:lnTo>
                    <a:pt x="28" y="84"/>
                  </a:lnTo>
                  <a:lnTo>
                    <a:pt x="40" y="72"/>
                  </a:lnTo>
                  <a:lnTo>
                    <a:pt x="54" y="62"/>
                  </a:lnTo>
                  <a:lnTo>
                    <a:pt x="72" y="56"/>
                  </a:lnTo>
                  <a:lnTo>
                    <a:pt x="72" y="56"/>
                  </a:lnTo>
                  <a:lnTo>
                    <a:pt x="78" y="62"/>
                  </a:lnTo>
                  <a:lnTo>
                    <a:pt x="78" y="82"/>
                  </a:lnTo>
                  <a:lnTo>
                    <a:pt x="78" y="82"/>
                  </a:lnTo>
                  <a:lnTo>
                    <a:pt x="68" y="86"/>
                  </a:lnTo>
                  <a:lnTo>
                    <a:pt x="58" y="92"/>
                  </a:lnTo>
                  <a:lnTo>
                    <a:pt x="50" y="100"/>
                  </a:lnTo>
                  <a:lnTo>
                    <a:pt x="42" y="108"/>
                  </a:lnTo>
                  <a:lnTo>
                    <a:pt x="36" y="116"/>
                  </a:lnTo>
                  <a:lnTo>
                    <a:pt x="32" y="126"/>
                  </a:lnTo>
                  <a:lnTo>
                    <a:pt x="30" y="138"/>
                  </a:lnTo>
                  <a:lnTo>
                    <a:pt x="28" y="150"/>
                  </a:lnTo>
                  <a:lnTo>
                    <a:pt x="28" y="226"/>
                  </a:lnTo>
                  <a:lnTo>
                    <a:pt x="28" y="226"/>
                  </a:lnTo>
                  <a:lnTo>
                    <a:pt x="62" y="232"/>
                  </a:lnTo>
                  <a:lnTo>
                    <a:pt x="98" y="234"/>
                  </a:lnTo>
                  <a:lnTo>
                    <a:pt x="98" y="234"/>
                  </a:lnTo>
                  <a:lnTo>
                    <a:pt x="132" y="232"/>
                  </a:lnTo>
                  <a:lnTo>
                    <a:pt x="166" y="226"/>
                  </a:lnTo>
                  <a:lnTo>
                    <a:pt x="166" y="150"/>
                  </a:lnTo>
                  <a:lnTo>
                    <a:pt x="166" y="150"/>
                  </a:lnTo>
                  <a:lnTo>
                    <a:pt x="166" y="138"/>
                  </a:lnTo>
                  <a:lnTo>
                    <a:pt x="162" y="126"/>
                  </a:lnTo>
                  <a:lnTo>
                    <a:pt x="158" y="116"/>
                  </a:lnTo>
                  <a:lnTo>
                    <a:pt x="152" y="108"/>
                  </a:lnTo>
                  <a:lnTo>
                    <a:pt x="146" y="100"/>
                  </a:lnTo>
                  <a:lnTo>
                    <a:pt x="138" y="92"/>
                  </a:lnTo>
                  <a:lnTo>
                    <a:pt x="128" y="86"/>
                  </a:lnTo>
                  <a:lnTo>
                    <a:pt x="118" y="82"/>
                  </a:lnTo>
                  <a:lnTo>
                    <a:pt x="118" y="62"/>
                  </a:lnTo>
                  <a:lnTo>
                    <a:pt x="118" y="62"/>
                  </a:lnTo>
                  <a:lnTo>
                    <a:pt x="124" y="56"/>
                  </a:lnTo>
                  <a:lnTo>
                    <a:pt x="130" y="48"/>
                  </a:lnTo>
                  <a:lnTo>
                    <a:pt x="144" y="48"/>
                  </a:lnTo>
                  <a:lnTo>
                    <a:pt x="144" y="22"/>
                  </a:lnTo>
                  <a:lnTo>
                    <a:pt x="130" y="22"/>
                  </a:lnTo>
                  <a:lnTo>
                    <a:pt x="130" y="22"/>
                  </a:lnTo>
                  <a:lnTo>
                    <a:pt x="124" y="14"/>
                  </a:lnTo>
                  <a:lnTo>
                    <a:pt x="118" y="6"/>
                  </a:lnTo>
                  <a:lnTo>
                    <a:pt x="108" y="2"/>
                  </a:lnTo>
                  <a:lnTo>
                    <a:pt x="98" y="0"/>
                  </a:lnTo>
                  <a:lnTo>
                    <a:pt x="98" y="0"/>
                  </a:lnTo>
                  <a:lnTo>
                    <a:pt x="86" y="2"/>
                  </a:lnTo>
                  <a:lnTo>
                    <a:pt x="78" y="8"/>
                  </a:lnTo>
                  <a:lnTo>
                    <a:pt x="70" y="16"/>
                  </a:lnTo>
                  <a:lnTo>
                    <a:pt x="64" y="24"/>
                  </a:lnTo>
                  <a:lnTo>
                    <a:pt x="10" y="24"/>
                  </a:lnTo>
                  <a:lnTo>
                    <a:pt x="10" y="24"/>
                  </a:lnTo>
                  <a:lnTo>
                    <a:pt x="8" y="26"/>
                  </a:lnTo>
                  <a:lnTo>
                    <a:pt x="4" y="28"/>
                  </a:lnTo>
                  <a:lnTo>
                    <a:pt x="2" y="30"/>
                  </a:lnTo>
                  <a:lnTo>
                    <a:pt x="0" y="34"/>
                  </a:lnTo>
                  <a:lnTo>
                    <a:pt x="0" y="34"/>
                  </a:lnTo>
                  <a:lnTo>
                    <a:pt x="2" y="38"/>
                  </a:lnTo>
                  <a:lnTo>
                    <a:pt x="4" y="42"/>
                  </a:lnTo>
                  <a:lnTo>
                    <a:pt x="8" y="44"/>
                  </a:lnTo>
                  <a:lnTo>
                    <a:pt x="10" y="44"/>
                  </a:lnTo>
                  <a:lnTo>
                    <a:pt x="46" y="44"/>
                  </a:lnTo>
                  <a:lnTo>
                    <a:pt x="46" y="44"/>
                  </a:lnTo>
                  <a:lnTo>
                    <a:pt x="32" y="54"/>
                  </a:lnTo>
                  <a:lnTo>
                    <a:pt x="20" y="64"/>
                  </a:lnTo>
                  <a:lnTo>
                    <a:pt x="10" y="78"/>
                  </a:lnTo>
                  <a:lnTo>
                    <a:pt x="2" y="92"/>
                  </a:lnTo>
                  <a:lnTo>
                    <a:pt x="2" y="92"/>
                  </a:lnTo>
                  <a:close/>
                  <a:moveTo>
                    <a:pt x="116" y="104"/>
                  </a:moveTo>
                  <a:lnTo>
                    <a:pt x="116" y="104"/>
                  </a:lnTo>
                  <a:lnTo>
                    <a:pt x="124" y="108"/>
                  </a:lnTo>
                  <a:lnTo>
                    <a:pt x="132" y="114"/>
                  </a:lnTo>
                  <a:lnTo>
                    <a:pt x="132" y="114"/>
                  </a:lnTo>
                  <a:lnTo>
                    <a:pt x="138" y="122"/>
                  </a:lnTo>
                  <a:lnTo>
                    <a:pt x="142" y="130"/>
                  </a:lnTo>
                  <a:lnTo>
                    <a:pt x="146" y="140"/>
                  </a:lnTo>
                  <a:lnTo>
                    <a:pt x="146" y="150"/>
                  </a:lnTo>
                  <a:lnTo>
                    <a:pt x="146" y="204"/>
                  </a:lnTo>
                  <a:lnTo>
                    <a:pt x="146" y="204"/>
                  </a:lnTo>
                  <a:lnTo>
                    <a:pt x="146" y="208"/>
                  </a:lnTo>
                  <a:lnTo>
                    <a:pt x="144" y="212"/>
                  </a:lnTo>
                  <a:lnTo>
                    <a:pt x="140" y="214"/>
                  </a:lnTo>
                  <a:lnTo>
                    <a:pt x="136" y="214"/>
                  </a:lnTo>
                  <a:lnTo>
                    <a:pt x="136" y="214"/>
                  </a:lnTo>
                  <a:lnTo>
                    <a:pt x="132" y="214"/>
                  </a:lnTo>
                  <a:lnTo>
                    <a:pt x="130" y="212"/>
                  </a:lnTo>
                  <a:lnTo>
                    <a:pt x="126" y="208"/>
                  </a:lnTo>
                  <a:lnTo>
                    <a:pt x="126" y="204"/>
                  </a:lnTo>
                  <a:lnTo>
                    <a:pt x="126" y="150"/>
                  </a:lnTo>
                  <a:lnTo>
                    <a:pt x="126" y="150"/>
                  </a:lnTo>
                  <a:lnTo>
                    <a:pt x="124" y="138"/>
                  </a:lnTo>
                  <a:lnTo>
                    <a:pt x="118" y="128"/>
                  </a:lnTo>
                  <a:lnTo>
                    <a:pt x="118" y="128"/>
                  </a:lnTo>
                  <a:lnTo>
                    <a:pt x="108" y="122"/>
                  </a:lnTo>
                  <a:lnTo>
                    <a:pt x="108" y="122"/>
                  </a:lnTo>
                  <a:lnTo>
                    <a:pt x="106" y="120"/>
                  </a:lnTo>
                  <a:lnTo>
                    <a:pt x="104" y="118"/>
                  </a:lnTo>
                  <a:lnTo>
                    <a:pt x="102" y="114"/>
                  </a:lnTo>
                  <a:lnTo>
                    <a:pt x="104" y="110"/>
                  </a:lnTo>
                  <a:lnTo>
                    <a:pt x="104" y="110"/>
                  </a:lnTo>
                  <a:lnTo>
                    <a:pt x="106" y="106"/>
                  </a:lnTo>
                  <a:lnTo>
                    <a:pt x="108" y="104"/>
                  </a:lnTo>
                  <a:lnTo>
                    <a:pt x="112" y="104"/>
                  </a:lnTo>
                  <a:lnTo>
                    <a:pt x="116" y="104"/>
                  </a:lnTo>
                  <a:lnTo>
                    <a:pt x="116" y="104"/>
                  </a:lnTo>
                  <a:close/>
                  <a:moveTo>
                    <a:pt x="98" y="20"/>
                  </a:moveTo>
                  <a:lnTo>
                    <a:pt x="98" y="20"/>
                  </a:lnTo>
                  <a:lnTo>
                    <a:pt x="104" y="22"/>
                  </a:lnTo>
                  <a:lnTo>
                    <a:pt x="108" y="24"/>
                  </a:lnTo>
                  <a:lnTo>
                    <a:pt x="110" y="30"/>
                  </a:lnTo>
                  <a:lnTo>
                    <a:pt x="112" y="34"/>
                  </a:lnTo>
                  <a:lnTo>
                    <a:pt x="112" y="34"/>
                  </a:lnTo>
                  <a:lnTo>
                    <a:pt x="110" y="40"/>
                  </a:lnTo>
                  <a:lnTo>
                    <a:pt x="108" y="44"/>
                  </a:lnTo>
                  <a:lnTo>
                    <a:pt x="104" y="48"/>
                  </a:lnTo>
                  <a:lnTo>
                    <a:pt x="98" y="50"/>
                  </a:lnTo>
                  <a:lnTo>
                    <a:pt x="98" y="50"/>
                  </a:lnTo>
                  <a:lnTo>
                    <a:pt x="92" y="48"/>
                  </a:lnTo>
                  <a:lnTo>
                    <a:pt x="88" y="44"/>
                  </a:lnTo>
                  <a:lnTo>
                    <a:pt x="84" y="40"/>
                  </a:lnTo>
                  <a:lnTo>
                    <a:pt x="84" y="34"/>
                  </a:lnTo>
                  <a:lnTo>
                    <a:pt x="84" y="34"/>
                  </a:lnTo>
                  <a:lnTo>
                    <a:pt x="84" y="30"/>
                  </a:lnTo>
                  <a:lnTo>
                    <a:pt x="88" y="24"/>
                  </a:lnTo>
                  <a:lnTo>
                    <a:pt x="92" y="22"/>
                  </a:lnTo>
                  <a:lnTo>
                    <a:pt x="98" y="20"/>
                  </a:lnTo>
                  <a:lnTo>
                    <a:pt x="98" y="20"/>
                  </a:lnTo>
                  <a:close/>
                  <a:moveTo>
                    <a:pt x="98" y="282"/>
                  </a:moveTo>
                  <a:lnTo>
                    <a:pt x="98" y="282"/>
                  </a:lnTo>
                  <a:lnTo>
                    <a:pt x="62" y="280"/>
                  </a:lnTo>
                  <a:lnTo>
                    <a:pt x="28" y="276"/>
                  </a:lnTo>
                  <a:lnTo>
                    <a:pt x="28" y="368"/>
                  </a:lnTo>
                  <a:lnTo>
                    <a:pt x="28" y="368"/>
                  </a:lnTo>
                  <a:lnTo>
                    <a:pt x="30" y="374"/>
                  </a:lnTo>
                  <a:lnTo>
                    <a:pt x="34" y="378"/>
                  </a:lnTo>
                  <a:lnTo>
                    <a:pt x="38" y="382"/>
                  </a:lnTo>
                  <a:lnTo>
                    <a:pt x="44" y="384"/>
                  </a:lnTo>
                  <a:lnTo>
                    <a:pt x="150" y="384"/>
                  </a:lnTo>
                  <a:lnTo>
                    <a:pt x="150" y="384"/>
                  </a:lnTo>
                  <a:lnTo>
                    <a:pt x="156" y="382"/>
                  </a:lnTo>
                  <a:lnTo>
                    <a:pt x="162" y="378"/>
                  </a:lnTo>
                  <a:lnTo>
                    <a:pt x="166" y="374"/>
                  </a:lnTo>
                  <a:lnTo>
                    <a:pt x="166" y="368"/>
                  </a:lnTo>
                  <a:lnTo>
                    <a:pt x="166" y="276"/>
                  </a:lnTo>
                  <a:lnTo>
                    <a:pt x="166" y="276"/>
                  </a:lnTo>
                  <a:lnTo>
                    <a:pt x="132" y="280"/>
                  </a:lnTo>
                  <a:lnTo>
                    <a:pt x="98" y="282"/>
                  </a:lnTo>
                  <a:lnTo>
                    <a:pt x="98" y="282"/>
                  </a:lnTo>
                  <a:close/>
                  <a:moveTo>
                    <a:pt x="146" y="354"/>
                  </a:moveTo>
                  <a:lnTo>
                    <a:pt x="146" y="354"/>
                  </a:lnTo>
                  <a:lnTo>
                    <a:pt x="146" y="358"/>
                  </a:lnTo>
                  <a:lnTo>
                    <a:pt x="144" y="362"/>
                  </a:lnTo>
                  <a:lnTo>
                    <a:pt x="140" y="364"/>
                  </a:lnTo>
                  <a:lnTo>
                    <a:pt x="136" y="364"/>
                  </a:lnTo>
                  <a:lnTo>
                    <a:pt x="136" y="364"/>
                  </a:lnTo>
                  <a:lnTo>
                    <a:pt x="132" y="364"/>
                  </a:lnTo>
                  <a:lnTo>
                    <a:pt x="130" y="362"/>
                  </a:lnTo>
                  <a:lnTo>
                    <a:pt x="126" y="358"/>
                  </a:lnTo>
                  <a:lnTo>
                    <a:pt x="126" y="354"/>
                  </a:lnTo>
                  <a:lnTo>
                    <a:pt x="126" y="310"/>
                  </a:lnTo>
                  <a:lnTo>
                    <a:pt x="126" y="310"/>
                  </a:lnTo>
                  <a:lnTo>
                    <a:pt x="126" y="306"/>
                  </a:lnTo>
                  <a:lnTo>
                    <a:pt x="130" y="302"/>
                  </a:lnTo>
                  <a:lnTo>
                    <a:pt x="132" y="300"/>
                  </a:lnTo>
                  <a:lnTo>
                    <a:pt x="136" y="300"/>
                  </a:lnTo>
                  <a:lnTo>
                    <a:pt x="136" y="300"/>
                  </a:lnTo>
                  <a:lnTo>
                    <a:pt x="140" y="300"/>
                  </a:lnTo>
                  <a:lnTo>
                    <a:pt x="144" y="302"/>
                  </a:lnTo>
                  <a:lnTo>
                    <a:pt x="146" y="306"/>
                  </a:lnTo>
                  <a:lnTo>
                    <a:pt x="146" y="310"/>
                  </a:lnTo>
                  <a:lnTo>
                    <a:pt x="146" y="354"/>
                  </a:lnTo>
                  <a:close/>
                  <a:moveTo>
                    <a:pt x="194" y="64"/>
                  </a:moveTo>
                  <a:lnTo>
                    <a:pt x="154" y="48"/>
                  </a:lnTo>
                  <a:lnTo>
                    <a:pt x="154" y="20"/>
                  </a:lnTo>
                  <a:lnTo>
                    <a:pt x="194" y="6"/>
                  </a:lnTo>
                  <a:lnTo>
                    <a:pt x="194"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92" name="Group 391">
            <a:extLst>
              <a:ext uri="{FF2B5EF4-FFF2-40B4-BE49-F238E27FC236}">
                <a16:creationId xmlns:a16="http://schemas.microsoft.com/office/drawing/2014/main" id="{7B4E7F04-9D41-439F-B6B3-74E70CAE6C1E}"/>
              </a:ext>
            </a:extLst>
          </p:cNvPr>
          <p:cNvGrpSpPr/>
          <p:nvPr/>
        </p:nvGrpSpPr>
        <p:grpSpPr>
          <a:xfrm>
            <a:off x="7100073" y="2386226"/>
            <a:ext cx="612000" cy="612000"/>
            <a:chOff x="5841085" y="2258092"/>
            <a:chExt cx="612000" cy="612000"/>
          </a:xfrm>
        </p:grpSpPr>
        <p:sp>
          <p:nvSpPr>
            <p:cNvPr id="393" name="Oval 392">
              <a:extLst>
                <a:ext uri="{FF2B5EF4-FFF2-40B4-BE49-F238E27FC236}">
                  <a16:creationId xmlns:a16="http://schemas.microsoft.com/office/drawing/2014/main" id="{3BFA9A9E-5725-47F9-A92A-F930D50E6C58}"/>
                </a:ext>
              </a:extLst>
            </p:cNvPr>
            <p:cNvSpPr/>
            <p:nvPr/>
          </p:nvSpPr>
          <p:spPr bwMode="ltGray">
            <a:xfrm>
              <a:off x="5841085" y="225809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94" name="Freeform 5015">
              <a:extLst>
                <a:ext uri="{FF2B5EF4-FFF2-40B4-BE49-F238E27FC236}">
                  <a16:creationId xmlns:a16="http://schemas.microsoft.com/office/drawing/2014/main" id="{FF03C5E5-EDA1-451D-8EF4-EF84686A043C}"/>
                </a:ext>
              </a:extLst>
            </p:cNvPr>
            <p:cNvSpPr>
              <a:spLocks noEditPoints="1"/>
            </p:cNvSpPr>
            <p:nvPr/>
          </p:nvSpPr>
          <p:spPr bwMode="auto">
            <a:xfrm>
              <a:off x="5987786" y="2349133"/>
              <a:ext cx="309759" cy="438019"/>
            </a:xfrm>
            <a:custGeom>
              <a:avLst/>
              <a:gdLst>
                <a:gd name="T0" fmla="*/ 70 w 256"/>
                <a:gd name="T1" fmla="*/ 340 h 362"/>
                <a:gd name="T2" fmla="*/ 56 w 256"/>
                <a:gd name="T3" fmla="*/ 360 h 362"/>
                <a:gd name="T4" fmla="*/ 40 w 256"/>
                <a:gd name="T5" fmla="*/ 360 h 362"/>
                <a:gd name="T6" fmla="*/ 26 w 256"/>
                <a:gd name="T7" fmla="*/ 340 h 362"/>
                <a:gd name="T8" fmla="*/ 186 w 256"/>
                <a:gd name="T9" fmla="*/ 316 h 362"/>
                <a:gd name="T10" fmla="*/ 188 w 256"/>
                <a:gd name="T11" fmla="*/ 350 h 362"/>
                <a:gd name="T12" fmla="*/ 208 w 256"/>
                <a:gd name="T13" fmla="*/ 362 h 362"/>
                <a:gd name="T14" fmla="*/ 224 w 256"/>
                <a:gd name="T15" fmla="*/ 356 h 362"/>
                <a:gd name="T16" fmla="*/ 230 w 256"/>
                <a:gd name="T17" fmla="*/ 316 h 362"/>
                <a:gd name="T18" fmla="*/ 256 w 256"/>
                <a:gd name="T19" fmla="*/ 288 h 362"/>
                <a:gd name="T20" fmla="*/ 252 w 256"/>
                <a:gd name="T21" fmla="*/ 298 h 362"/>
                <a:gd name="T22" fmla="*/ 16 w 256"/>
                <a:gd name="T23" fmla="*/ 304 h 362"/>
                <a:gd name="T24" fmla="*/ 4 w 256"/>
                <a:gd name="T25" fmla="*/ 298 h 362"/>
                <a:gd name="T26" fmla="*/ 0 w 256"/>
                <a:gd name="T27" fmla="*/ 68 h 362"/>
                <a:gd name="T28" fmla="*/ 0 w 256"/>
                <a:gd name="T29" fmla="*/ 66 h 362"/>
                <a:gd name="T30" fmla="*/ 0 w 256"/>
                <a:gd name="T31" fmla="*/ 62 h 362"/>
                <a:gd name="T32" fmla="*/ 0 w 256"/>
                <a:gd name="T33" fmla="*/ 62 h 362"/>
                <a:gd name="T34" fmla="*/ 22 w 256"/>
                <a:gd name="T35" fmla="*/ 10 h 362"/>
                <a:gd name="T36" fmla="*/ 28 w 256"/>
                <a:gd name="T37" fmla="*/ 2 h 362"/>
                <a:gd name="T38" fmla="*/ 220 w 256"/>
                <a:gd name="T39" fmla="*/ 0 h 362"/>
                <a:gd name="T40" fmla="*/ 228 w 256"/>
                <a:gd name="T41" fmla="*/ 2 h 362"/>
                <a:gd name="T42" fmla="*/ 256 w 256"/>
                <a:gd name="T43" fmla="*/ 62 h 362"/>
                <a:gd name="T44" fmla="*/ 256 w 256"/>
                <a:gd name="T45" fmla="*/ 62 h 362"/>
                <a:gd name="T46" fmla="*/ 256 w 256"/>
                <a:gd name="T47" fmla="*/ 62 h 362"/>
                <a:gd name="T48" fmla="*/ 256 w 256"/>
                <a:gd name="T49" fmla="*/ 66 h 362"/>
                <a:gd name="T50" fmla="*/ 256 w 256"/>
                <a:gd name="T51" fmla="*/ 68 h 362"/>
                <a:gd name="T52" fmla="*/ 62 w 256"/>
                <a:gd name="T53" fmla="*/ 250 h 362"/>
                <a:gd name="T54" fmla="*/ 52 w 256"/>
                <a:gd name="T55" fmla="*/ 240 h 362"/>
                <a:gd name="T56" fmla="*/ 32 w 256"/>
                <a:gd name="T57" fmla="*/ 244 h 362"/>
                <a:gd name="T58" fmla="*/ 26 w 256"/>
                <a:gd name="T59" fmla="*/ 258 h 362"/>
                <a:gd name="T60" fmla="*/ 32 w 256"/>
                <a:gd name="T61" fmla="*/ 270 h 362"/>
                <a:gd name="T62" fmla="*/ 44 w 256"/>
                <a:gd name="T63" fmla="*/ 276 h 362"/>
                <a:gd name="T64" fmla="*/ 58 w 256"/>
                <a:gd name="T65" fmla="*/ 270 h 362"/>
                <a:gd name="T66" fmla="*/ 62 w 256"/>
                <a:gd name="T67" fmla="*/ 258 h 362"/>
                <a:gd name="T68" fmla="*/ 128 w 256"/>
                <a:gd name="T69" fmla="*/ 228 h 362"/>
                <a:gd name="T70" fmla="*/ 186 w 256"/>
                <a:gd name="T71" fmla="*/ 222 h 362"/>
                <a:gd name="T72" fmla="*/ 228 w 256"/>
                <a:gd name="T73" fmla="*/ 204 h 362"/>
                <a:gd name="T74" fmla="*/ 228 w 256"/>
                <a:gd name="T75" fmla="*/ 72 h 362"/>
                <a:gd name="T76" fmla="*/ 212 w 256"/>
                <a:gd name="T77" fmla="*/ 30 h 362"/>
                <a:gd name="T78" fmla="*/ 52 w 256"/>
                <a:gd name="T79" fmla="*/ 22 h 362"/>
                <a:gd name="T80" fmla="*/ 44 w 256"/>
                <a:gd name="T81" fmla="*/ 30 h 362"/>
                <a:gd name="T82" fmla="*/ 28 w 256"/>
                <a:gd name="T83" fmla="*/ 72 h 362"/>
                <a:gd name="T84" fmla="*/ 28 w 256"/>
                <a:gd name="T85" fmla="*/ 204 h 362"/>
                <a:gd name="T86" fmla="*/ 70 w 256"/>
                <a:gd name="T87" fmla="*/ 222 h 362"/>
                <a:gd name="T88" fmla="*/ 128 w 256"/>
                <a:gd name="T89" fmla="*/ 228 h 362"/>
                <a:gd name="T90" fmla="*/ 230 w 256"/>
                <a:gd name="T91" fmla="*/ 258 h 362"/>
                <a:gd name="T92" fmla="*/ 224 w 256"/>
                <a:gd name="T93" fmla="*/ 244 h 362"/>
                <a:gd name="T94" fmla="*/ 204 w 256"/>
                <a:gd name="T95" fmla="*/ 240 h 362"/>
                <a:gd name="T96" fmla="*/ 194 w 256"/>
                <a:gd name="T97" fmla="*/ 250 h 362"/>
                <a:gd name="T98" fmla="*/ 194 w 256"/>
                <a:gd name="T99" fmla="*/ 264 h 362"/>
                <a:gd name="T100" fmla="*/ 204 w 256"/>
                <a:gd name="T101" fmla="*/ 274 h 362"/>
                <a:gd name="T102" fmla="*/ 218 w 256"/>
                <a:gd name="T103" fmla="*/ 274 h 362"/>
                <a:gd name="T104" fmla="*/ 228 w 256"/>
                <a:gd name="T105" fmla="*/ 264 h 362"/>
                <a:gd name="T106" fmla="*/ 200 w 256"/>
                <a:gd name="T107" fmla="*/ 54 h 362"/>
                <a:gd name="T108" fmla="*/ 196 w 256"/>
                <a:gd name="T109" fmla="*/ 44 h 362"/>
                <a:gd name="T110" fmla="*/ 70 w 256"/>
                <a:gd name="T111" fmla="*/ 40 h 362"/>
                <a:gd name="T112" fmla="*/ 60 w 256"/>
                <a:gd name="T113" fmla="*/ 44 h 362"/>
                <a:gd name="T114" fmla="*/ 56 w 256"/>
                <a:gd name="T115" fmla="*/ 54 h 362"/>
                <a:gd name="T116" fmla="*/ 64 w 256"/>
                <a:gd name="T117" fmla="*/ 68 h 362"/>
                <a:gd name="T118" fmla="*/ 186 w 256"/>
                <a:gd name="T119" fmla="*/ 68 h 362"/>
                <a:gd name="T120" fmla="*/ 198 w 256"/>
                <a:gd name="T121" fmla="*/ 6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6" h="362">
                  <a:moveTo>
                    <a:pt x="70" y="316"/>
                  </a:moveTo>
                  <a:lnTo>
                    <a:pt x="70" y="340"/>
                  </a:lnTo>
                  <a:lnTo>
                    <a:pt x="70" y="340"/>
                  </a:lnTo>
                  <a:lnTo>
                    <a:pt x="68" y="350"/>
                  </a:lnTo>
                  <a:lnTo>
                    <a:pt x="64" y="356"/>
                  </a:lnTo>
                  <a:lnTo>
                    <a:pt x="56" y="360"/>
                  </a:lnTo>
                  <a:lnTo>
                    <a:pt x="48" y="362"/>
                  </a:lnTo>
                  <a:lnTo>
                    <a:pt x="48" y="362"/>
                  </a:lnTo>
                  <a:lnTo>
                    <a:pt x="40" y="360"/>
                  </a:lnTo>
                  <a:lnTo>
                    <a:pt x="32" y="356"/>
                  </a:lnTo>
                  <a:lnTo>
                    <a:pt x="28" y="350"/>
                  </a:lnTo>
                  <a:lnTo>
                    <a:pt x="26" y="340"/>
                  </a:lnTo>
                  <a:lnTo>
                    <a:pt x="26" y="316"/>
                  </a:lnTo>
                  <a:lnTo>
                    <a:pt x="70" y="316"/>
                  </a:lnTo>
                  <a:close/>
                  <a:moveTo>
                    <a:pt x="186" y="316"/>
                  </a:moveTo>
                  <a:lnTo>
                    <a:pt x="186" y="340"/>
                  </a:lnTo>
                  <a:lnTo>
                    <a:pt x="186" y="340"/>
                  </a:lnTo>
                  <a:lnTo>
                    <a:pt x="188" y="350"/>
                  </a:lnTo>
                  <a:lnTo>
                    <a:pt x="192" y="356"/>
                  </a:lnTo>
                  <a:lnTo>
                    <a:pt x="200" y="360"/>
                  </a:lnTo>
                  <a:lnTo>
                    <a:pt x="208" y="362"/>
                  </a:lnTo>
                  <a:lnTo>
                    <a:pt x="208" y="362"/>
                  </a:lnTo>
                  <a:lnTo>
                    <a:pt x="216" y="360"/>
                  </a:lnTo>
                  <a:lnTo>
                    <a:pt x="224" y="356"/>
                  </a:lnTo>
                  <a:lnTo>
                    <a:pt x="228" y="350"/>
                  </a:lnTo>
                  <a:lnTo>
                    <a:pt x="230" y="340"/>
                  </a:lnTo>
                  <a:lnTo>
                    <a:pt x="230" y="316"/>
                  </a:lnTo>
                  <a:lnTo>
                    <a:pt x="186" y="316"/>
                  </a:lnTo>
                  <a:close/>
                  <a:moveTo>
                    <a:pt x="256" y="68"/>
                  </a:moveTo>
                  <a:lnTo>
                    <a:pt x="256" y="288"/>
                  </a:lnTo>
                  <a:lnTo>
                    <a:pt x="256" y="288"/>
                  </a:lnTo>
                  <a:lnTo>
                    <a:pt x="256" y="294"/>
                  </a:lnTo>
                  <a:lnTo>
                    <a:pt x="252" y="298"/>
                  </a:lnTo>
                  <a:lnTo>
                    <a:pt x="246" y="302"/>
                  </a:lnTo>
                  <a:lnTo>
                    <a:pt x="240" y="304"/>
                  </a:lnTo>
                  <a:lnTo>
                    <a:pt x="16" y="304"/>
                  </a:lnTo>
                  <a:lnTo>
                    <a:pt x="16" y="304"/>
                  </a:lnTo>
                  <a:lnTo>
                    <a:pt x="10" y="302"/>
                  </a:lnTo>
                  <a:lnTo>
                    <a:pt x="4" y="298"/>
                  </a:lnTo>
                  <a:lnTo>
                    <a:pt x="0" y="294"/>
                  </a:lnTo>
                  <a:lnTo>
                    <a:pt x="0" y="288"/>
                  </a:lnTo>
                  <a:lnTo>
                    <a:pt x="0" y="68"/>
                  </a:lnTo>
                  <a:lnTo>
                    <a:pt x="0" y="68"/>
                  </a:lnTo>
                  <a:lnTo>
                    <a:pt x="0" y="66"/>
                  </a:lnTo>
                  <a:lnTo>
                    <a:pt x="0" y="66"/>
                  </a:lnTo>
                  <a:lnTo>
                    <a:pt x="0" y="66"/>
                  </a:lnTo>
                  <a:lnTo>
                    <a:pt x="0" y="66"/>
                  </a:lnTo>
                  <a:lnTo>
                    <a:pt x="0" y="62"/>
                  </a:lnTo>
                  <a:lnTo>
                    <a:pt x="0" y="62"/>
                  </a:lnTo>
                  <a:lnTo>
                    <a:pt x="0" y="62"/>
                  </a:lnTo>
                  <a:lnTo>
                    <a:pt x="0" y="62"/>
                  </a:lnTo>
                  <a:lnTo>
                    <a:pt x="0" y="62"/>
                  </a:lnTo>
                  <a:lnTo>
                    <a:pt x="0" y="62"/>
                  </a:lnTo>
                  <a:lnTo>
                    <a:pt x="22" y="10"/>
                  </a:lnTo>
                  <a:lnTo>
                    <a:pt x="22" y="10"/>
                  </a:lnTo>
                  <a:lnTo>
                    <a:pt x="24" y="6"/>
                  </a:lnTo>
                  <a:lnTo>
                    <a:pt x="28" y="2"/>
                  </a:lnTo>
                  <a:lnTo>
                    <a:pt x="32" y="0"/>
                  </a:lnTo>
                  <a:lnTo>
                    <a:pt x="36" y="0"/>
                  </a:lnTo>
                  <a:lnTo>
                    <a:pt x="220" y="0"/>
                  </a:lnTo>
                  <a:lnTo>
                    <a:pt x="220" y="0"/>
                  </a:lnTo>
                  <a:lnTo>
                    <a:pt x="224" y="0"/>
                  </a:lnTo>
                  <a:lnTo>
                    <a:pt x="228" y="2"/>
                  </a:lnTo>
                  <a:lnTo>
                    <a:pt x="232" y="6"/>
                  </a:lnTo>
                  <a:lnTo>
                    <a:pt x="234" y="10"/>
                  </a:lnTo>
                  <a:lnTo>
                    <a:pt x="256" y="62"/>
                  </a:lnTo>
                  <a:lnTo>
                    <a:pt x="256" y="62"/>
                  </a:lnTo>
                  <a:lnTo>
                    <a:pt x="256" y="62"/>
                  </a:lnTo>
                  <a:lnTo>
                    <a:pt x="256" y="62"/>
                  </a:lnTo>
                  <a:lnTo>
                    <a:pt x="256" y="62"/>
                  </a:lnTo>
                  <a:lnTo>
                    <a:pt x="256" y="62"/>
                  </a:lnTo>
                  <a:lnTo>
                    <a:pt x="256" y="62"/>
                  </a:lnTo>
                  <a:lnTo>
                    <a:pt x="256" y="66"/>
                  </a:lnTo>
                  <a:lnTo>
                    <a:pt x="256" y="66"/>
                  </a:lnTo>
                  <a:lnTo>
                    <a:pt x="256" y="66"/>
                  </a:lnTo>
                  <a:lnTo>
                    <a:pt x="256" y="66"/>
                  </a:lnTo>
                  <a:lnTo>
                    <a:pt x="256" y="68"/>
                  </a:lnTo>
                  <a:lnTo>
                    <a:pt x="256" y="68"/>
                  </a:lnTo>
                  <a:close/>
                  <a:moveTo>
                    <a:pt x="62" y="258"/>
                  </a:moveTo>
                  <a:lnTo>
                    <a:pt x="62" y="258"/>
                  </a:lnTo>
                  <a:lnTo>
                    <a:pt x="62" y="250"/>
                  </a:lnTo>
                  <a:lnTo>
                    <a:pt x="58" y="244"/>
                  </a:lnTo>
                  <a:lnTo>
                    <a:pt x="58" y="244"/>
                  </a:lnTo>
                  <a:lnTo>
                    <a:pt x="52" y="240"/>
                  </a:lnTo>
                  <a:lnTo>
                    <a:pt x="44" y="240"/>
                  </a:lnTo>
                  <a:lnTo>
                    <a:pt x="38" y="240"/>
                  </a:lnTo>
                  <a:lnTo>
                    <a:pt x="32" y="244"/>
                  </a:lnTo>
                  <a:lnTo>
                    <a:pt x="32" y="244"/>
                  </a:lnTo>
                  <a:lnTo>
                    <a:pt x="28" y="250"/>
                  </a:lnTo>
                  <a:lnTo>
                    <a:pt x="26" y="258"/>
                  </a:lnTo>
                  <a:lnTo>
                    <a:pt x="26" y="258"/>
                  </a:lnTo>
                  <a:lnTo>
                    <a:pt x="28" y="264"/>
                  </a:lnTo>
                  <a:lnTo>
                    <a:pt x="32" y="270"/>
                  </a:lnTo>
                  <a:lnTo>
                    <a:pt x="32" y="270"/>
                  </a:lnTo>
                  <a:lnTo>
                    <a:pt x="38" y="274"/>
                  </a:lnTo>
                  <a:lnTo>
                    <a:pt x="44" y="276"/>
                  </a:lnTo>
                  <a:lnTo>
                    <a:pt x="44" y="276"/>
                  </a:lnTo>
                  <a:lnTo>
                    <a:pt x="52" y="274"/>
                  </a:lnTo>
                  <a:lnTo>
                    <a:pt x="58" y="270"/>
                  </a:lnTo>
                  <a:lnTo>
                    <a:pt x="58" y="270"/>
                  </a:lnTo>
                  <a:lnTo>
                    <a:pt x="62" y="264"/>
                  </a:lnTo>
                  <a:lnTo>
                    <a:pt x="62" y="258"/>
                  </a:lnTo>
                  <a:lnTo>
                    <a:pt x="62" y="258"/>
                  </a:lnTo>
                  <a:close/>
                  <a:moveTo>
                    <a:pt x="128" y="228"/>
                  </a:moveTo>
                  <a:lnTo>
                    <a:pt x="128" y="228"/>
                  </a:lnTo>
                  <a:lnTo>
                    <a:pt x="148" y="228"/>
                  </a:lnTo>
                  <a:lnTo>
                    <a:pt x="168" y="226"/>
                  </a:lnTo>
                  <a:lnTo>
                    <a:pt x="186" y="222"/>
                  </a:lnTo>
                  <a:lnTo>
                    <a:pt x="200" y="216"/>
                  </a:lnTo>
                  <a:lnTo>
                    <a:pt x="220" y="208"/>
                  </a:lnTo>
                  <a:lnTo>
                    <a:pt x="228" y="204"/>
                  </a:lnTo>
                  <a:lnTo>
                    <a:pt x="228" y="72"/>
                  </a:lnTo>
                  <a:lnTo>
                    <a:pt x="228" y="72"/>
                  </a:lnTo>
                  <a:lnTo>
                    <a:pt x="228" y="72"/>
                  </a:lnTo>
                  <a:lnTo>
                    <a:pt x="228" y="70"/>
                  </a:lnTo>
                  <a:lnTo>
                    <a:pt x="212" y="30"/>
                  </a:lnTo>
                  <a:lnTo>
                    <a:pt x="212" y="30"/>
                  </a:lnTo>
                  <a:lnTo>
                    <a:pt x="210" y="24"/>
                  </a:lnTo>
                  <a:lnTo>
                    <a:pt x="204" y="22"/>
                  </a:lnTo>
                  <a:lnTo>
                    <a:pt x="52" y="22"/>
                  </a:lnTo>
                  <a:lnTo>
                    <a:pt x="52" y="22"/>
                  </a:lnTo>
                  <a:lnTo>
                    <a:pt x="46" y="24"/>
                  </a:lnTo>
                  <a:lnTo>
                    <a:pt x="44" y="30"/>
                  </a:lnTo>
                  <a:lnTo>
                    <a:pt x="28" y="70"/>
                  </a:lnTo>
                  <a:lnTo>
                    <a:pt x="28" y="70"/>
                  </a:lnTo>
                  <a:lnTo>
                    <a:pt x="28" y="72"/>
                  </a:lnTo>
                  <a:lnTo>
                    <a:pt x="28" y="72"/>
                  </a:lnTo>
                  <a:lnTo>
                    <a:pt x="28" y="204"/>
                  </a:lnTo>
                  <a:lnTo>
                    <a:pt x="28" y="204"/>
                  </a:lnTo>
                  <a:lnTo>
                    <a:pt x="36" y="208"/>
                  </a:lnTo>
                  <a:lnTo>
                    <a:pt x="56" y="216"/>
                  </a:lnTo>
                  <a:lnTo>
                    <a:pt x="70" y="222"/>
                  </a:lnTo>
                  <a:lnTo>
                    <a:pt x="88" y="226"/>
                  </a:lnTo>
                  <a:lnTo>
                    <a:pt x="108" y="228"/>
                  </a:lnTo>
                  <a:lnTo>
                    <a:pt x="128" y="228"/>
                  </a:lnTo>
                  <a:lnTo>
                    <a:pt x="128" y="228"/>
                  </a:lnTo>
                  <a:close/>
                  <a:moveTo>
                    <a:pt x="230" y="258"/>
                  </a:moveTo>
                  <a:lnTo>
                    <a:pt x="230" y="258"/>
                  </a:lnTo>
                  <a:lnTo>
                    <a:pt x="228" y="250"/>
                  </a:lnTo>
                  <a:lnTo>
                    <a:pt x="224" y="244"/>
                  </a:lnTo>
                  <a:lnTo>
                    <a:pt x="224" y="244"/>
                  </a:lnTo>
                  <a:lnTo>
                    <a:pt x="218" y="240"/>
                  </a:lnTo>
                  <a:lnTo>
                    <a:pt x="212" y="240"/>
                  </a:lnTo>
                  <a:lnTo>
                    <a:pt x="204" y="240"/>
                  </a:lnTo>
                  <a:lnTo>
                    <a:pt x="198" y="244"/>
                  </a:lnTo>
                  <a:lnTo>
                    <a:pt x="198" y="244"/>
                  </a:lnTo>
                  <a:lnTo>
                    <a:pt x="194" y="250"/>
                  </a:lnTo>
                  <a:lnTo>
                    <a:pt x="194" y="258"/>
                  </a:lnTo>
                  <a:lnTo>
                    <a:pt x="194" y="258"/>
                  </a:lnTo>
                  <a:lnTo>
                    <a:pt x="194" y="264"/>
                  </a:lnTo>
                  <a:lnTo>
                    <a:pt x="198" y="270"/>
                  </a:lnTo>
                  <a:lnTo>
                    <a:pt x="198" y="270"/>
                  </a:lnTo>
                  <a:lnTo>
                    <a:pt x="204" y="274"/>
                  </a:lnTo>
                  <a:lnTo>
                    <a:pt x="212" y="276"/>
                  </a:lnTo>
                  <a:lnTo>
                    <a:pt x="212" y="276"/>
                  </a:lnTo>
                  <a:lnTo>
                    <a:pt x="218" y="274"/>
                  </a:lnTo>
                  <a:lnTo>
                    <a:pt x="224" y="270"/>
                  </a:lnTo>
                  <a:lnTo>
                    <a:pt x="224" y="270"/>
                  </a:lnTo>
                  <a:lnTo>
                    <a:pt x="228" y="264"/>
                  </a:lnTo>
                  <a:lnTo>
                    <a:pt x="230" y="258"/>
                  </a:lnTo>
                  <a:lnTo>
                    <a:pt x="230" y="258"/>
                  </a:lnTo>
                  <a:close/>
                  <a:moveTo>
                    <a:pt x="200" y="54"/>
                  </a:moveTo>
                  <a:lnTo>
                    <a:pt x="200" y="54"/>
                  </a:lnTo>
                  <a:lnTo>
                    <a:pt x="198" y="48"/>
                  </a:lnTo>
                  <a:lnTo>
                    <a:pt x="196" y="44"/>
                  </a:lnTo>
                  <a:lnTo>
                    <a:pt x="192" y="42"/>
                  </a:lnTo>
                  <a:lnTo>
                    <a:pt x="186" y="40"/>
                  </a:lnTo>
                  <a:lnTo>
                    <a:pt x="70" y="40"/>
                  </a:lnTo>
                  <a:lnTo>
                    <a:pt x="70" y="40"/>
                  </a:lnTo>
                  <a:lnTo>
                    <a:pt x="64" y="42"/>
                  </a:lnTo>
                  <a:lnTo>
                    <a:pt x="60" y="44"/>
                  </a:lnTo>
                  <a:lnTo>
                    <a:pt x="58" y="48"/>
                  </a:lnTo>
                  <a:lnTo>
                    <a:pt x="56" y="54"/>
                  </a:lnTo>
                  <a:lnTo>
                    <a:pt x="56" y="54"/>
                  </a:lnTo>
                  <a:lnTo>
                    <a:pt x="58" y="60"/>
                  </a:lnTo>
                  <a:lnTo>
                    <a:pt x="60" y="64"/>
                  </a:lnTo>
                  <a:lnTo>
                    <a:pt x="64" y="68"/>
                  </a:lnTo>
                  <a:lnTo>
                    <a:pt x="70" y="68"/>
                  </a:lnTo>
                  <a:lnTo>
                    <a:pt x="186" y="68"/>
                  </a:lnTo>
                  <a:lnTo>
                    <a:pt x="186" y="68"/>
                  </a:lnTo>
                  <a:lnTo>
                    <a:pt x="192" y="68"/>
                  </a:lnTo>
                  <a:lnTo>
                    <a:pt x="196" y="64"/>
                  </a:lnTo>
                  <a:lnTo>
                    <a:pt x="198" y="60"/>
                  </a:lnTo>
                  <a:lnTo>
                    <a:pt x="200" y="54"/>
                  </a:lnTo>
                  <a:lnTo>
                    <a:pt x="200" y="54"/>
                  </a:lnTo>
                  <a:close/>
                </a:path>
              </a:pathLst>
            </a:custGeom>
            <a:solidFill>
              <a:srgbClr val="3C3C3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395" name="Group 394">
            <a:extLst>
              <a:ext uri="{FF2B5EF4-FFF2-40B4-BE49-F238E27FC236}">
                <a16:creationId xmlns:a16="http://schemas.microsoft.com/office/drawing/2014/main" id="{EB34F9EE-46E1-4B3C-94AC-DADDC507E32A}"/>
              </a:ext>
            </a:extLst>
          </p:cNvPr>
          <p:cNvGrpSpPr/>
          <p:nvPr/>
        </p:nvGrpSpPr>
        <p:grpSpPr>
          <a:xfrm>
            <a:off x="2114396" y="3133752"/>
            <a:ext cx="612775" cy="612775"/>
            <a:chOff x="1818308" y="4572719"/>
            <a:chExt cx="612775" cy="612775"/>
          </a:xfrm>
          <a:solidFill>
            <a:srgbClr val="505050"/>
          </a:solidFill>
        </p:grpSpPr>
        <p:sp>
          <p:nvSpPr>
            <p:cNvPr id="396" name="Oval 395">
              <a:extLst>
                <a:ext uri="{FF2B5EF4-FFF2-40B4-BE49-F238E27FC236}">
                  <a16:creationId xmlns:a16="http://schemas.microsoft.com/office/drawing/2014/main" id="{0CC5281F-8681-4DD2-B5D3-F432793C219F}"/>
                </a:ext>
              </a:extLst>
            </p:cNvPr>
            <p:cNvSpPr/>
            <p:nvPr/>
          </p:nvSpPr>
          <p:spPr bwMode="ltGray">
            <a:xfrm>
              <a:off x="1818308" y="45727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397" name="Oval 396">
              <a:extLst>
                <a:ext uri="{FF2B5EF4-FFF2-40B4-BE49-F238E27FC236}">
                  <a16:creationId xmlns:a16="http://schemas.microsoft.com/office/drawing/2014/main" id="{52D3F9ED-2E06-4E46-BB1D-5E5D844DA098}"/>
                </a:ext>
              </a:extLst>
            </p:cNvPr>
            <p:cNvSpPr/>
            <p:nvPr/>
          </p:nvSpPr>
          <p:spPr bwMode="ltGray">
            <a:xfrm>
              <a:off x="1892971" y="4647382"/>
              <a:ext cx="463448" cy="463448"/>
            </a:xfrm>
            <a:prstGeom prst="ellipse">
              <a:avLst/>
            </a:prstGeom>
            <a:noFill/>
            <a:ln w="38100" cap="flat" cmpd="sng" algn="ctr">
              <a:solidFill>
                <a:srgbClr val="3C3C3E"/>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cxnSp>
          <p:nvCxnSpPr>
            <p:cNvPr id="398" name="Straight Connector 397">
              <a:extLst>
                <a:ext uri="{FF2B5EF4-FFF2-40B4-BE49-F238E27FC236}">
                  <a16:creationId xmlns:a16="http://schemas.microsoft.com/office/drawing/2014/main" id="{CE49D4F4-76EA-488E-9DCC-D739545E6D87}"/>
                </a:ext>
              </a:extLst>
            </p:cNvPr>
            <p:cNvCxnSpPr/>
            <p:nvPr/>
          </p:nvCxnSpPr>
          <p:spPr>
            <a:xfrm>
              <a:off x="1892971" y="4879106"/>
              <a:ext cx="463448" cy="0"/>
            </a:xfrm>
            <a:prstGeom prst="line">
              <a:avLst/>
            </a:prstGeom>
            <a:grpFill/>
            <a:ln w="9525" cap="flat" cmpd="sng" algn="ctr">
              <a:solidFill>
                <a:srgbClr val="3C3C3E"/>
              </a:solidFill>
              <a:prstDash val="solid"/>
            </a:ln>
            <a:effectLst/>
          </p:spPr>
        </p:cxnSp>
        <p:cxnSp>
          <p:nvCxnSpPr>
            <p:cNvPr id="399" name="Straight Connector 398">
              <a:extLst>
                <a:ext uri="{FF2B5EF4-FFF2-40B4-BE49-F238E27FC236}">
                  <a16:creationId xmlns:a16="http://schemas.microsoft.com/office/drawing/2014/main" id="{5974D020-3DD7-4562-9B90-37617A4DF0A2}"/>
                </a:ext>
              </a:extLst>
            </p:cNvPr>
            <p:cNvCxnSpPr/>
            <p:nvPr/>
          </p:nvCxnSpPr>
          <p:spPr>
            <a:xfrm flipV="1">
              <a:off x="2124695" y="4647382"/>
              <a:ext cx="0" cy="463448"/>
            </a:xfrm>
            <a:prstGeom prst="line">
              <a:avLst/>
            </a:prstGeom>
            <a:grpFill/>
            <a:ln w="9525" cap="flat" cmpd="sng" algn="ctr">
              <a:solidFill>
                <a:srgbClr val="3C3C3E"/>
              </a:solidFill>
              <a:prstDash val="solid"/>
            </a:ln>
            <a:effectLst/>
          </p:spPr>
        </p:cxnSp>
        <p:sp>
          <p:nvSpPr>
            <p:cNvPr id="400" name="Oval 399">
              <a:extLst>
                <a:ext uri="{FF2B5EF4-FFF2-40B4-BE49-F238E27FC236}">
                  <a16:creationId xmlns:a16="http://schemas.microsoft.com/office/drawing/2014/main" id="{5E0447F8-7046-4AAE-9915-670E47004ECB}"/>
                </a:ext>
              </a:extLst>
            </p:cNvPr>
            <p:cNvSpPr/>
            <p:nvPr/>
          </p:nvSpPr>
          <p:spPr bwMode="ltGray">
            <a:xfrm>
              <a:off x="1957637" y="4712048"/>
              <a:ext cx="334117" cy="334117"/>
            </a:xfrm>
            <a:prstGeom prst="ellipse">
              <a:avLst/>
            </a:prstGeom>
            <a:noFill/>
            <a:ln w="381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401" name="Group 400">
              <a:extLst>
                <a:ext uri="{FF2B5EF4-FFF2-40B4-BE49-F238E27FC236}">
                  <a16:creationId xmlns:a16="http://schemas.microsoft.com/office/drawing/2014/main" id="{FA7D46A9-098D-4004-B5D4-A92E603A6ACD}"/>
                </a:ext>
              </a:extLst>
            </p:cNvPr>
            <p:cNvGrpSpPr/>
            <p:nvPr/>
          </p:nvGrpSpPr>
          <p:grpSpPr>
            <a:xfrm>
              <a:off x="1996655" y="4764061"/>
              <a:ext cx="264813" cy="161760"/>
              <a:chOff x="2173587" y="4641056"/>
              <a:chExt cx="264813" cy="161760"/>
            </a:xfrm>
            <a:grpFill/>
          </p:grpSpPr>
          <p:cxnSp>
            <p:nvCxnSpPr>
              <p:cNvPr id="402" name="Straight Connector 401">
                <a:extLst>
                  <a:ext uri="{FF2B5EF4-FFF2-40B4-BE49-F238E27FC236}">
                    <a16:creationId xmlns:a16="http://schemas.microsoft.com/office/drawing/2014/main" id="{EBA01B1B-6C05-43C9-AF8E-830C65638EE0}"/>
                  </a:ext>
                </a:extLst>
              </p:cNvPr>
              <p:cNvCxnSpPr/>
              <p:nvPr/>
            </p:nvCxnSpPr>
            <p:spPr>
              <a:xfrm flipV="1">
                <a:off x="2257692" y="4641056"/>
                <a:ext cx="180708" cy="161760"/>
              </a:xfrm>
              <a:prstGeom prst="line">
                <a:avLst/>
              </a:prstGeom>
              <a:grpFill/>
              <a:ln w="19050" cap="flat" cmpd="sng" algn="ctr">
                <a:solidFill>
                  <a:srgbClr val="3C3C3E"/>
                </a:solidFill>
                <a:prstDash val="solid"/>
              </a:ln>
              <a:effectLst/>
            </p:spPr>
          </p:cxnSp>
          <p:cxnSp>
            <p:nvCxnSpPr>
              <p:cNvPr id="403" name="Straight Connector 402">
                <a:extLst>
                  <a:ext uri="{FF2B5EF4-FFF2-40B4-BE49-F238E27FC236}">
                    <a16:creationId xmlns:a16="http://schemas.microsoft.com/office/drawing/2014/main" id="{60D501F7-7CC1-4F11-8047-E3927BFBB358}"/>
                  </a:ext>
                </a:extLst>
              </p:cNvPr>
              <p:cNvCxnSpPr/>
              <p:nvPr/>
            </p:nvCxnSpPr>
            <p:spPr>
              <a:xfrm flipH="1" flipV="1">
                <a:off x="2173587" y="4723876"/>
                <a:ext cx="105393" cy="32146"/>
              </a:xfrm>
              <a:prstGeom prst="line">
                <a:avLst/>
              </a:prstGeom>
              <a:grpFill/>
              <a:ln w="19050" cap="flat" cmpd="sng" algn="ctr">
                <a:solidFill>
                  <a:srgbClr val="3C3C3E"/>
                </a:solidFill>
                <a:prstDash val="solid"/>
              </a:ln>
              <a:effectLst/>
            </p:spPr>
          </p:cxnSp>
          <p:sp>
            <p:nvSpPr>
              <p:cNvPr id="404" name="Oval 403">
                <a:extLst>
                  <a:ext uri="{FF2B5EF4-FFF2-40B4-BE49-F238E27FC236}">
                    <a16:creationId xmlns:a16="http://schemas.microsoft.com/office/drawing/2014/main" id="{CC86DC11-2081-4DDB-9B9A-F78E5FB700A1}"/>
                  </a:ext>
                </a:extLst>
              </p:cNvPr>
              <p:cNvSpPr/>
              <p:nvPr/>
            </p:nvSpPr>
            <p:spPr bwMode="ltGray">
              <a:xfrm>
                <a:off x="2277047" y="4742184"/>
                <a:ext cx="45719" cy="45719"/>
              </a:xfrm>
              <a:prstGeom prst="ellipse">
                <a:avLst/>
              </a:prstGeom>
              <a:grpFill/>
              <a:ln w="12700" cap="flat" cmpd="sng" algn="ctr">
                <a:solidFill>
                  <a:srgbClr val="3C3C3E"/>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grpSp>
      <p:grpSp>
        <p:nvGrpSpPr>
          <p:cNvPr id="405" name="Group 404">
            <a:extLst>
              <a:ext uri="{FF2B5EF4-FFF2-40B4-BE49-F238E27FC236}">
                <a16:creationId xmlns:a16="http://schemas.microsoft.com/office/drawing/2014/main" id="{1C2C7434-B6F5-4FBF-B55B-04FF4DB43940}"/>
              </a:ext>
            </a:extLst>
          </p:cNvPr>
          <p:cNvGrpSpPr/>
          <p:nvPr/>
        </p:nvGrpSpPr>
        <p:grpSpPr>
          <a:xfrm>
            <a:off x="2952580" y="3177105"/>
            <a:ext cx="569422" cy="569422"/>
            <a:chOff x="1575605" y="3582211"/>
            <a:chExt cx="391130" cy="391130"/>
          </a:xfrm>
          <a:solidFill>
            <a:srgbClr val="505050"/>
          </a:solidFill>
        </p:grpSpPr>
        <p:sp>
          <p:nvSpPr>
            <p:cNvPr id="406" name="Oval 405">
              <a:extLst>
                <a:ext uri="{FF2B5EF4-FFF2-40B4-BE49-F238E27FC236}">
                  <a16:creationId xmlns:a16="http://schemas.microsoft.com/office/drawing/2014/main" id="{01017627-6D93-4676-A56B-707D118731B2}"/>
                </a:ext>
              </a:extLst>
            </p:cNvPr>
            <p:cNvSpPr/>
            <p:nvPr/>
          </p:nvSpPr>
          <p:spPr bwMode="ltGray">
            <a:xfrm>
              <a:off x="1575605" y="3582211"/>
              <a:ext cx="391130" cy="391130"/>
            </a:xfrm>
            <a:prstGeom prst="ellipse">
              <a:avLst/>
            </a:prstGeom>
            <a:noFill/>
            <a:ln w="762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cxnSp>
          <p:nvCxnSpPr>
            <p:cNvPr id="407" name="Straight Connector 406">
              <a:extLst>
                <a:ext uri="{FF2B5EF4-FFF2-40B4-BE49-F238E27FC236}">
                  <a16:creationId xmlns:a16="http://schemas.microsoft.com/office/drawing/2014/main" id="{6A0590AE-8CE8-4287-82AC-06293BE35E6B}"/>
                </a:ext>
              </a:extLst>
            </p:cNvPr>
            <p:cNvCxnSpPr/>
            <p:nvPr/>
          </p:nvCxnSpPr>
          <p:spPr>
            <a:xfrm>
              <a:off x="1575605" y="3777776"/>
              <a:ext cx="391130" cy="0"/>
            </a:xfrm>
            <a:prstGeom prst="line">
              <a:avLst/>
            </a:prstGeom>
            <a:grpFill/>
            <a:ln w="9525" cap="flat" cmpd="sng" algn="ctr">
              <a:solidFill>
                <a:srgbClr val="000000"/>
              </a:solidFill>
              <a:prstDash val="solid"/>
            </a:ln>
            <a:effectLst/>
          </p:spPr>
        </p:cxnSp>
        <p:cxnSp>
          <p:nvCxnSpPr>
            <p:cNvPr id="408" name="Straight Connector 407">
              <a:extLst>
                <a:ext uri="{FF2B5EF4-FFF2-40B4-BE49-F238E27FC236}">
                  <a16:creationId xmlns:a16="http://schemas.microsoft.com/office/drawing/2014/main" id="{7A3DD1FD-3E86-4D09-9CAD-4B34ACDFF768}"/>
                </a:ext>
              </a:extLst>
            </p:cNvPr>
            <p:cNvCxnSpPr/>
            <p:nvPr/>
          </p:nvCxnSpPr>
          <p:spPr>
            <a:xfrm flipV="1">
              <a:off x="1771170" y="3582211"/>
              <a:ext cx="0" cy="391130"/>
            </a:xfrm>
            <a:prstGeom prst="line">
              <a:avLst/>
            </a:prstGeom>
            <a:grpFill/>
            <a:ln w="9525" cap="flat" cmpd="sng" algn="ctr">
              <a:solidFill>
                <a:srgbClr val="000000"/>
              </a:solidFill>
              <a:prstDash val="solid"/>
            </a:ln>
            <a:effectLst/>
          </p:spPr>
        </p:cxnSp>
        <p:sp>
          <p:nvSpPr>
            <p:cNvPr id="409" name="Oval 408">
              <a:extLst>
                <a:ext uri="{FF2B5EF4-FFF2-40B4-BE49-F238E27FC236}">
                  <a16:creationId xmlns:a16="http://schemas.microsoft.com/office/drawing/2014/main" id="{ED968E4B-B02A-497E-979F-70E812D9A8DD}"/>
                </a:ext>
              </a:extLst>
            </p:cNvPr>
            <p:cNvSpPr/>
            <p:nvPr/>
          </p:nvSpPr>
          <p:spPr bwMode="ltGray">
            <a:xfrm>
              <a:off x="1630181" y="3636787"/>
              <a:ext cx="281980" cy="281980"/>
            </a:xfrm>
            <a:prstGeom prst="ellipse">
              <a:avLst/>
            </a:prstGeom>
            <a:solidFill>
              <a:srgbClr val="505050"/>
            </a:solidFill>
            <a:ln w="38100"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410" name="Group 409">
              <a:extLst>
                <a:ext uri="{FF2B5EF4-FFF2-40B4-BE49-F238E27FC236}">
                  <a16:creationId xmlns:a16="http://schemas.microsoft.com/office/drawing/2014/main" id="{5B02A03F-8D29-4B37-856E-43D0A1FC733A}"/>
                </a:ext>
              </a:extLst>
            </p:cNvPr>
            <p:cNvGrpSpPr/>
            <p:nvPr/>
          </p:nvGrpSpPr>
          <p:grpSpPr>
            <a:xfrm>
              <a:off x="1663110" y="3680683"/>
              <a:ext cx="223490" cy="136518"/>
              <a:chOff x="2173587" y="4641056"/>
              <a:chExt cx="264813" cy="161760"/>
            </a:xfrm>
            <a:grpFill/>
          </p:grpSpPr>
          <p:cxnSp>
            <p:nvCxnSpPr>
              <p:cNvPr id="411" name="Straight Connector 410">
                <a:extLst>
                  <a:ext uri="{FF2B5EF4-FFF2-40B4-BE49-F238E27FC236}">
                    <a16:creationId xmlns:a16="http://schemas.microsoft.com/office/drawing/2014/main" id="{FB8B03F0-DA46-48E6-BCBA-E9C5DE236E5F}"/>
                  </a:ext>
                </a:extLst>
              </p:cNvPr>
              <p:cNvCxnSpPr/>
              <p:nvPr/>
            </p:nvCxnSpPr>
            <p:spPr>
              <a:xfrm flipV="1">
                <a:off x="2257692" y="4641056"/>
                <a:ext cx="180708" cy="161760"/>
              </a:xfrm>
              <a:prstGeom prst="line">
                <a:avLst/>
              </a:prstGeom>
              <a:grpFill/>
              <a:ln w="19050" cap="flat" cmpd="sng" algn="ctr">
                <a:solidFill>
                  <a:sysClr val="window" lastClr="FFFFFF"/>
                </a:solidFill>
                <a:prstDash val="solid"/>
              </a:ln>
              <a:effectLst/>
            </p:spPr>
          </p:cxnSp>
          <p:cxnSp>
            <p:nvCxnSpPr>
              <p:cNvPr id="412" name="Straight Connector 411">
                <a:extLst>
                  <a:ext uri="{FF2B5EF4-FFF2-40B4-BE49-F238E27FC236}">
                    <a16:creationId xmlns:a16="http://schemas.microsoft.com/office/drawing/2014/main" id="{AFCF0EA8-04B0-4CBB-B711-65C4A6AA6A4E}"/>
                  </a:ext>
                </a:extLst>
              </p:cNvPr>
              <p:cNvCxnSpPr/>
              <p:nvPr/>
            </p:nvCxnSpPr>
            <p:spPr>
              <a:xfrm flipH="1" flipV="1">
                <a:off x="2173587" y="4723876"/>
                <a:ext cx="105393" cy="32146"/>
              </a:xfrm>
              <a:prstGeom prst="line">
                <a:avLst/>
              </a:prstGeom>
              <a:grpFill/>
              <a:ln w="19050" cap="flat" cmpd="sng" algn="ctr">
                <a:solidFill>
                  <a:sysClr val="window" lastClr="FFFFFF"/>
                </a:solidFill>
                <a:prstDash val="solid"/>
              </a:ln>
              <a:effectLst/>
            </p:spPr>
          </p:cxnSp>
          <p:sp>
            <p:nvSpPr>
              <p:cNvPr id="413" name="Oval 412">
                <a:extLst>
                  <a:ext uri="{FF2B5EF4-FFF2-40B4-BE49-F238E27FC236}">
                    <a16:creationId xmlns:a16="http://schemas.microsoft.com/office/drawing/2014/main" id="{E2D82BBD-2962-4243-AA4F-95DD782D0C01}"/>
                  </a:ext>
                </a:extLst>
              </p:cNvPr>
              <p:cNvSpPr/>
              <p:nvPr/>
            </p:nvSpPr>
            <p:spPr bwMode="ltGray">
              <a:xfrm>
                <a:off x="2277047" y="4742184"/>
                <a:ext cx="45719" cy="45719"/>
              </a:xfrm>
              <a:prstGeom prst="ellipse">
                <a:avLst/>
              </a:prstGeom>
              <a:solidFill>
                <a:sysClr val="window" lastClr="FFFFFF"/>
              </a:solidFill>
              <a:ln w="12700" cap="flat" cmpd="sng" algn="ctr">
                <a:solidFill>
                  <a:sysClr val="window" lastClr="FFFFFF"/>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grpSp>
      <p:grpSp>
        <p:nvGrpSpPr>
          <p:cNvPr id="414" name="Group 413">
            <a:extLst>
              <a:ext uri="{FF2B5EF4-FFF2-40B4-BE49-F238E27FC236}">
                <a16:creationId xmlns:a16="http://schemas.microsoft.com/office/drawing/2014/main" id="{33A8B251-7623-4F0C-BF8A-73A48AAB9937}"/>
              </a:ext>
            </a:extLst>
          </p:cNvPr>
          <p:cNvGrpSpPr/>
          <p:nvPr/>
        </p:nvGrpSpPr>
        <p:grpSpPr>
          <a:xfrm>
            <a:off x="8761707" y="2385451"/>
            <a:ext cx="612775" cy="612775"/>
            <a:chOff x="1320817" y="2265179"/>
            <a:chExt cx="612775" cy="612775"/>
          </a:xfrm>
        </p:grpSpPr>
        <p:sp>
          <p:nvSpPr>
            <p:cNvPr id="415" name="Oval 414">
              <a:extLst>
                <a:ext uri="{FF2B5EF4-FFF2-40B4-BE49-F238E27FC236}">
                  <a16:creationId xmlns:a16="http://schemas.microsoft.com/office/drawing/2014/main" id="{61A77276-723B-40E5-9E57-6C148C8FE5A7}"/>
                </a:ext>
              </a:extLst>
            </p:cNvPr>
            <p:cNvSpPr/>
            <p:nvPr/>
          </p:nvSpPr>
          <p:spPr bwMode="ltGray">
            <a:xfrm>
              <a:off x="132081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416" name="Group 415">
              <a:extLst>
                <a:ext uri="{FF2B5EF4-FFF2-40B4-BE49-F238E27FC236}">
                  <a16:creationId xmlns:a16="http://schemas.microsoft.com/office/drawing/2014/main" id="{6D3BEA50-64AA-47B4-81C6-EC8ACA73FA72}"/>
                </a:ext>
              </a:extLst>
            </p:cNvPr>
            <p:cNvGrpSpPr/>
            <p:nvPr/>
          </p:nvGrpSpPr>
          <p:grpSpPr>
            <a:xfrm>
              <a:off x="1414790" y="2390019"/>
              <a:ext cx="426378" cy="394096"/>
              <a:chOff x="7983287" y="3931481"/>
              <a:chExt cx="426378" cy="394096"/>
            </a:xfrm>
          </p:grpSpPr>
          <p:sp>
            <p:nvSpPr>
              <p:cNvPr id="417" name="Freeform 1901">
                <a:extLst>
                  <a:ext uri="{FF2B5EF4-FFF2-40B4-BE49-F238E27FC236}">
                    <a16:creationId xmlns:a16="http://schemas.microsoft.com/office/drawing/2014/main" id="{160A06C6-39E9-46DF-AF6C-28658492C829}"/>
                  </a:ext>
                </a:extLst>
              </p:cNvPr>
              <p:cNvSpPr>
                <a:spLocks/>
              </p:cNvSpPr>
              <p:nvPr/>
            </p:nvSpPr>
            <p:spPr bwMode="auto">
              <a:xfrm>
                <a:off x="7991959" y="3931481"/>
                <a:ext cx="417706" cy="237999"/>
              </a:xfrm>
              <a:custGeom>
                <a:avLst/>
                <a:gdLst>
                  <a:gd name="T0" fmla="*/ 546 w 1734"/>
                  <a:gd name="T1" fmla="*/ 67 h 987"/>
                  <a:gd name="T2" fmla="*/ 628 w 1734"/>
                  <a:gd name="T3" fmla="*/ 47 h 987"/>
                  <a:gd name="T4" fmla="*/ 703 w 1734"/>
                  <a:gd name="T5" fmla="*/ 29 h 987"/>
                  <a:gd name="T6" fmla="*/ 767 w 1734"/>
                  <a:gd name="T7" fmla="*/ 15 h 987"/>
                  <a:gd name="T8" fmla="*/ 817 w 1734"/>
                  <a:gd name="T9" fmla="*/ 5 h 987"/>
                  <a:gd name="T10" fmla="*/ 1734 w 1734"/>
                  <a:gd name="T11" fmla="*/ 491 h 987"/>
                  <a:gd name="T12" fmla="*/ 1677 w 1734"/>
                  <a:gd name="T13" fmla="*/ 508 h 987"/>
                  <a:gd name="T14" fmla="*/ 1610 w 1734"/>
                  <a:gd name="T15" fmla="*/ 527 h 987"/>
                  <a:gd name="T16" fmla="*/ 1533 w 1734"/>
                  <a:gd name="T17" fmla="*/ 552 h 987"/>
                  <a:gd name="T18" fmla="*/ 1448 w 1734"/>
                  <a:gd name="T19" fmla="*/ 578 h 987"/>
                  <a:gd name="T20" fmla="*/ 1359 w 1734"/>
                  <a:gd name="T21" fmla="*/ 607 h 987"/>
                  <a:gd name="T22" fmla="*/ 1267 w 1734"/>
                  <a:gd name="T23" fmla="*/ 638 h 987"/>
                  <a:gd name="T24" fmla="*/ 1175 w 1734"/>
                  <a:gd name="T25" fmla="*/ 669 h 987"/>
                  <a:gd name="T26" fmla="*/ 1085 w 1734"/>
                  <a:gd name="T27" fmla="*/ 701 h 987"/>
                  <a:gd name="T28" fmla="*/ 1000 w 1734"/>
                  <a:gd name="T29" fmla="*/ 732 h 987"/>
                  <a:gd name="T30" fmla="*/ 920 w 1734"/>
                  <a:gd name="T31" fmla="*/ 764 h 987"/>
                  <a:gd name="T32" fmla="*/ 185 w 1734"/>
                  <a:gd name="T33" fmla="*/ 275 h 987"/>
                  <a:gd name="T34" fmla="*/ 173 w 1734"/>
                  <a:gd name="T35" fmla="*/ 269 h 987"/>
                  <a:gd name="T36" fmla="*/ 156 w 1734"/>
                  <a:gd name="T37" fmla="*/ 271 h 987"/>
                  <a:gd name="T38" fmla="*/ 141 w 1734"/>
                  <a:gd name="T39" fmla="*/ 282 h 987"/>
                  <a:gd name="T40" fmla="*/ 139 w 1734"/>
                  <a:gd name="T41" fmla="*/ 317 h 987"/>
                  <a:gd name="T42" fmla="*/ 787 w 1734"/>
                  <a:gd name="T43" fmla="*/ 828 h 987"/>
                  <a:gd name="T44" fmla="*/ 743 w 1734"/>
                  <a:gd name="T45" fmla="*/ 887 h 987"/>
                  <a:gd name="T46" fmla="*/ 728 w 1734"/>
                  <a:gd name="T47" fmla="*/ 962 h 987"/>
                  <a:gd name="T48" fmla="*/ 26 w 1734"/>
                  <a:gd name="T49" fmla="*/ 417 h 987"/>
                  <a:gd name="T50" fmla="*/ 6 w 1734"/>
                  <a:gd name="T51" fmla="*/ 380 h 987"/>
                  <a:gd name="T52" fmla="*/ 0 w 1734"/>
                  <a:gd name="T53" fmla="*/ 333 h 987"/>
                  <a:gd name="T54" fmla="*/ 8 w 1734"/>
                  <a:gd name="T55" fmla="*/ 288 h 987"/>
                  <a:gd name="T56" fmla="*/ 29 w 1734"/>
                  <a:gd name="T57" fmla="*/ 248 h 987"/>
                  <a:gd name="T58" fmla="*/ 65 w 1734"/>
                  <a:gd name="T59" fmla="*/ 220 h 987"/>
                  <a:gd name="T60" fmla="*/ 135 w 1734"/>
                  <a:gd name="T61" fmla="*/ 192 h 987"/>
                  <a:gd name="T62" fmla="*/ 211 w 1734"/>
                  <a:gd name="T63" fmla="*/ 166 h 987"/>
                  <a:gd name="T64" fmla="*/ 293 w 1734"/>
                  <a:gd name="T65" fmla="*/ 139 h 987"/>
                  <a:gd name="T66" fmla="*/ 377 w 1734"/>
                  <a:gd name="T67" fmla="*/ 114 h 987"/>
                  <a:gd name="T68" fmla="*/ 461 w 1734"/>
                  <a:gd name="T69" fmla="*/ 90 h 987"/>
                  <a:gd name="T70" fmla="*/ 380 w 1734"/>
                  <a:gd name="T71" fmla="*/ 219 h 987"/>
                  <a:gd name="T72" fmla="*/ 364 w 1734"/>
                  <a:gd name="T73" fmla="*/ 234 h 987"/>
                  <a:gd name="T74" fmla="*/ 364 w 1734"/>
                  <a:gd name="T75" fmla="*/ 257 h 987"/>
                  <a:gd name="T76" fmla="*/ 577 w 1734"/>
                  <a:gd name="T77" fmla="*/ 408 h 987"/>
                  <a:gd name="T78" fmla="*/ 595 w 1734"/>
                  <a:gd name="T79" fmla="*/ 412 h 987"/>
                  <a:gd name="T80" fmla="*/ 1068 w 1734"/>
                  <a:gd name="T81" fmla="*/ 266 h 987"/>
                  <a:gd name="T82" fmla="*/ 1079 w 1734"/>
                  <a:gd name="T83" fmla="*/ 246 h 987"/>
                  <a:gd name="T84" fmla="*/ 1071 w 1734"/>
                  <a:gd name="T85" fmla="*/ 223 h 987"/>
                  <a:gd name="T86" fmla="*/ 843 w 1734"/>
                  <a:gd name="T87" fmla="*/ 87 h 987"/>
                  <a:gd name="T88" fmla="*/ 827 w 1734"/>
                  <a:gd name="T89" fmla="*/ 86 h 9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34" h="987">
                    <a:moveTo>
                      <a:pt x="490" y="82"/>
                    </a:moveTo>
                    <a:lnTo>
                      <a:pt x="519" y="75"/>
                    </a:lnTo>
                    <a:lnTo>
                      <a:pt x="546" y="67"/>
                    </a:lnTo>
                    <a:lnTo>
                      <a:pt x="574" y="60"/>
                    </a:lnTo>
                    <a:lnTo>
                      <a:pt x="601" y="53"/>
                    </a:lnTo>
                    <a:lnTo>
                      <a:pt x="628" y="47"/>
                    </a:lnTo>
                    <a:lnTo>
                      <a:pt x="654" y="40"/>
                    </a:lnTo>
                    <a:lnTo>
                      <a:pt x="679" y="34"/>
                    </a:lnTo>
                    <a:lnTo>
                      <a:pt x="703" y="29"/>
                    </a:lnTo>
                    <a:lnTo>
                      <a:pt x="726" y="24"/>
                    </a:lnTo>
                    <a:lnTo>
                      <a:pt x="748" y="20"/>
                    </a:lnTo>
                    <a:lnTo>
                      <a:pt x="767" y="15"/>
                    </a:lnTo>
                    <a:lnTo>
                      <a:pt x="786" y="11"/>
                    </a:lnTo>
                    <a:lnTo>
                      <a:pt x="802" y="8"/>
                    </a:lnTo>
                    <a:lnTo>
                      <a:pt x="817" y="5"/>
                    </a:lnTo>
                    <a:lnTo>
                      <a:pt x="831" y="2"/>
                    </a:lnTo>
                    <a:lnTo>
                      <a:pt x="841" y="0"/>
                    </a:lnTo>
                    <a:lnTo>
                      <a:pt x="1734" y="491"/>
                    </a:lnTo>
                    <a:lnTo>
                      <a:pt x="1716" y="495"/>
                    </a:lnTo>
                    <a:lnTo>
                      <a:pt x="1698" y="501"/>
                    </a:lnTo>
                    <a:lnTo>
                      <a:pt x="1677" y="508"/>
                    </a:lnTo>
                    <a:lnTo>
                      <a:pt x="1656" y="514"/>
                    </a:lnTo>
                    <a:lnTo>
                      <a:pt x="1633" y="521"/>
                    </a:lnTo>
                    <a:lnTo>
                      <a:pt x="1610" y="527"/>
                    </a:lnTo>
                    <a:lnTo>
                      <a:pt x="1585" y="536"/>
                    </a:lnTo>
                    <a:lnTo>
                      <a:pt x="1560" y="544"/>
                    </a:lnTo>
                    <a:lnTo>
                      <a:pt x="1533" y="552"/>
                    </a:lnTo>
                    <a:lnTo>
                      <a:pt x="1506" y="561"/>
                    </a:lnTo>
                    <a:lnTo>
                      <a:pt x="1477" y="569"/>
                    </a:lnTo>
                    <a:lnTo>
                      <a:pt x="1448" y="578"/>
                    </a:lnTo>
                    <a:lnTo>
                      <a:pt x="1419" y="589"/>
                    </a:lnTo>
                    <a:lnTo>
                      <a:pt x="1389" y="598"/>
                    </a:lnTo>
                    <a:lnTo>
                      <a:pt x="1359" y="607"/>
                    </a:lnTo>
                    <a:lnTo>
                      <a:pt x="1329" y="617"/>
                    </a:lnTo>
                    <a:lnTo>
                      <a:pt x="1298" y="628"/>
                    </a:lnTo>
                    <a:lnTo>
                      <a:pt x="1267" y="638"/>
                    </a:lnTo>
                    <a:lnTo>
                      <a:pt x="1237" y="648"/>
                    </a:lnTo>
                    <a:lnTo>
                      <a:pt x="1206" y="659"/>
                    </a:lnTo>
                    <a:lnTo>
                      <a:pt x="1175" y="669"/>
                    </a:lnTo>
                    <a:lnTo>
                      <a:pt x="1145" y="679"/>
                    </a:lnTo>
                    <a:lnTo>
                      <a:pt x="1115" y="690"/>
                    </a:lnTo>
                    <a:lnTo>
                      <a:pt x="1085" y="701"/>
                    </a:lnTo>
                    <a:lnTo>
                      <a:pt x="1056" y="712"/>
                    </a:lnTo>
                    <a:lnTo>
                      <a:pt x="1028" y="722"/>
                    </a:lnTo>
                    <a:lnTo>
                      <a:pt x="1000" y="732"/>
                    </a:lnTo>
                    <a:lnTo>
                      <a:pt x="972" y="743"/>
                    </a:lnTo>
                    <a:lnTo>
                      <a:pt x="947" y="753"/>
                    </a:lnTo>
                    <a:lnTo>
                      <a:pt x="920" y="764"/>
                    </a:lnTo>
                    <a:lnTo>
                      <a:pt x="896" y="773"/>
                    </a:lnTo>
                    <a:lnTo>
                      <a:pt x="873" y="783"/>
                    </a:lnTo>
                    <a:lnTo>
                      <a:pt x="185" y="275"/>
                    </a:lnTo>
                    <a:lnTo>
                      <a:pt x="185" y="275"/>
                    </a:lnTo>
                    <a:lnTo>
                      <a:pt x="179" y="272"/>
                    </a:lnTo>
                    <a:lnTo>
                      <a:pt x="173" y="269"/>
                    </a:lnTo>
                    <a:lnTo>
                      <a:pt x="167" y="269"/>
                    </a:lnTo>
                    <a:lnTo>
                      <a:pt x="162" y="269"/>
                    </a:lnTo>
                    <a:lnTo>
                      <a:pt x="156" y="271"/>
                    </a:lnTo>
                    <a:lnTo>
                      <a:pt x="150" y="273"/>
                    </a:lnTo>
                    <a:lnTo>
                      <a:pt x="145" y="278"/>
                    </a:lnTo>
                    <a:lnTo>
                      <a:pt x="141" y="282"/>
                    </a:lnTo>
                    <a:lnTo>
                      <a:pt x="135" y="294"/>
                    </a:lnTo>
                    <a:lnTo>
                      <a:pt x="135" y="305"/>
                    </a:lnTo>
                    <a:lnTo>
                      <a:pt x="139" y="317"/>
                    </a:lnTo>
                    <a:lnTo>
                      <a:pt x="148" y="326"/>
                    </a:lnTo>
                    <a:lnTo>
                      <a:pt x="808" y="813"/>
                    </a:lnTo>
                    <a:lnTo>
                      <a:pt x="787" y="828"/>
                    </a:lnTo>
                    <a:lnTo>
                      <a:pt x="768" y="845"/>
                    </a:lnTo>
                    <a:lnTo>
                      <a:pt x="755" y="865"/>
                    </a:lnTo>
                    <a:lnTo>
                      <a:pt x="743" y="887"/>
                    </a:lnTo>
                    <a:lnTo>
                      <a:pt x="735" y="911"/>
                    </a:lnTo>
                    <a:lnTo>
                      <a:pt x="730" y="935"/>
                    </a:lnTo>
                    <a:lnTo>
                      <a:pt x="728" y="962"/>
                    </a:lnTo>
                    <a:lnTo>
                      <a:pt x="729" y="987"/>
                    </a:lnTo>
                    <a:lnTo>
                      <a:pt x="35" y="426"/>
                    </a:lnTo>
                    <a:lnTo>
                      <a:pt x="26" y="417"/>
                    </a:lnTo>
                    <a:lnTo>
                      <a:pt x="18" y="407"/>
                    </a:lnTo>
                    <a:lnTo>
                      <a:pt x="11" y="394"/>
                    </a:lnTo>
                    <a:lnTo>
                      <a:pt x="6" y="380"/>
                    </a:lnTo>
                    <a:lnTo>
                      <a:pt x="1" y="365"/>
                    </a:lnTo>
                    <a:lnTo>
                      <a:pt x="0" y="349"/>
                    </a:lnTo>
                    <a:lnTo>
                      <a:pt x="0" y="333"/>
                    </a:lnTo>
                    <a:lnTo>
                      <a:pt x="1" y="316"/>
                    </a:lnTo>
                    <a:lnTo>
                      <a:pt x="4" y="302"/>
                    </a:lnTo>
                    <a:lnTo>
                      <a:pt x="8" y="288"/>
                    </a:lnTo>
                    <a:lnTo>
                      <a:pt x="13" y="274"/>
                    </a:lnTo>
                    <a:lnTo>
                      <a:pt x="20" y="260"/>
                    </a:lnTo>
                    <a:lnTo>
                      <a:pt x="29" y="248"/>
                    </a:lnTo>
                    <a:lnTo>
                      <a:pt x="39" y="237"/>
                    </a:lnTo>
                    <a:lnTo>
                      <a:pt x="51" y="227"/>
                    </a:lnTo>
                    <a:lnTo>
                      <a:pt x="65" y="220"/>
                    </a:lnTo>
                    <a:lnTo>
                      <a:pt x="88" y="211"/>
                    </a:lnTo>
                    <a:lnTo>
                      <a:pt x="111" y="201"/>
                    </a:lnTo>
                    <a:lnTo>
                      <a:pt x="135" y="192"/>
                    </a:lnTo>
                    <a:lnTo>
                      <a:pt x="160" y="183"/>
                    </a:lnTo>
                    <a:lnTo>
                      <a:pt x="186" y="175"/>
                    </a:lnTo>
                    <a:lnTo>
                      <a:pt x="211" y="166"/>
                    </a:lnTo>
                    <a:lnTo>
                      <a:pt x="239" y="157"/>
                    </a:lnTo>
                    <a:lnTo>
                      <a:pt x="265" y="147"/>
                    </a:lnTo>
                    <a:lnTo>
                      <a:pt x="293" y="139"/>
                    </a:lnTo>
                    <a:lnTo>
                      <a:pt x="320" y="130"/>
                    </a:lnTo>
                    <a:lnTo>
                      <a:pt x="348" y="122"/>
                    </a:lnTo>
                    <a:lnTo>
                      <a:pt x="377" y="114"/>
                    </a:lnTo>
                    <a:lnTo>
                      <a:pt x="405" y="105"/>
                    </a:lnTo>
                    <a:lnTo>
                      <a:pt x="433" y="97"/>
                    </a:lnTo>
                    <a:lnTo>
                      <a:pt x="461" y="90"/>
                    </a:lnTo>
                    <a:lnTo>
                      <a:pt x="490" y="82"/>
                    </a:lnTo>
                    <a:lnTo>
                      <a:pt x="561" y="166"/>
                    </a:lnTo>
                    <a:lnTo>
                      <a:pt x="380" y="219"/>
                    </a:lnTo>
                    <a:lnTo>
                      <a:pt x="373" y="222"/>
                    </a:lnTo>
                    <a:lnTo>
                      <a:pt x="368" y="228"/>
                    </a:lnTo>
                    <a:lnTo>
                      <a:pt x="364" y="234"/>
                    </a:lnTo>
                    <a:lnTo>
                      <a:pt x="362" y="242"/>
                    </a:lnTo>
                    <a:lnTo>
                      <a:pt x="362" y="250"/>
                    </a:lnTo>
                    <a:lnTo>
                      <a:pt x="364" y="257"/>
                    </a:lnTo>
                    <a:lnTo>
                      <a:pt x="369" y="264"/>
                    </a:lnTo>
                    <a:lnTo>
                      <a:pt x="375" y="269"/>
                    </a:lnTo>
                    <a:lnTo>
                      <a:pt x="577" y="408"/>
                    </a:lnTo>
                    <a:lnTo>
                      <a:pt x="583" y="410"/>
                    </a:lnTo>
                    <a:lnTo>
                      <a:pt x="589" y="412"/>
                    </a:lnTo>
                    <a:lnTo>
                      <a:pt x="595" y="412"/>
                    </a:lnTo>
                    <a:lnTo>
                      <a:pt x="600" y="411"/>
                    </a:lnTo>
                    <a:lnTo>
                      <a:pt x="1061" y="269"/>
                    </a:lnTo>
                    <a:lnTo>
                      <a:pt x="1068" y="266"/>
                    </a:lnTo>
                    <a:lnTo>
                      <a:pt x="1074" y="260"/>
                    </a:lnTo>
                    <a:lnTo>
                      <a:pt x="1077" y="253"/>
                    </a:lnTo>
                    <a:lnTo>
                      <a:pt x="1079" y="246"/>
                    </a:lnTo>
                    <a:lnTo>
                      <a:pt x="1079" y="238"/>
                    </a:lnTo>
                    <a:lnTo>
                      <a:pt x="1076" y="230"/>
                    </a:lnTo>
                    <a:lnTo>
                      <a:pt x="1071" y="223"/>
                    </a:lnTo>
                    <a:lnTo>
                      <a:pt x="1066" y="219"/>
                    </a:lnTo>
                    <a:lnTo>
                      <a:pt x="849" y="90"/>
                    </a:lnTo>
                    <a:lnTo>
                      <a:pt x="843" y="87"/>
                    </a:lnTo>
                    <a:lnTo>
                      <a:pt x="839" y="85"/>
                    </a:lnTo>
                    <a:lnTo>
                      <a:pt x="833" y="85"/>
                    </a:lnTo>
                    <a:lnTo>
                      <a:pt x="827" y="86"/>
                    </a:lnTo>
                    <a:lnTo>
                      <a:pt x="561" y="166"/>
                    </a:lnTo>
                    <a:lnTo>
                      <a:pt x="490" y="82"/>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18" name="Freeform 1902">
                <a:extLst>
                  <a:ext uri="{FF2B5EF4-FFF2-40B4-BE49-F238E27FC236}">
                    <a16:creationId xmlns:a16="http://schemas.microsoft.com/office/drawing/2014/main" id="{56AEA39B-8AD8-4DD1-AAE0-90827DE8044C}"/>
                  </a:ext>
                </a:extLst>
              </p:cNvPr>
              <p:cNvSpPr>
                <a:spLocks/>
              </p:cNvSpPr>
              <p:nvPr/>
            </p:nvSpPr>
            <p:spPr bwMode="auto">
              <a:xfrm>
                <a:off x="8100842" y="3966169"/>
                <a:ext cx="128154" cy="50587"/>
              </a:xfrm>
              <a:custGeom>
                <a:avLst/>
                <a:gdLst>
                  <a:gd name="T0" fmla="*/ 531 w 531"/>
                  <a:gd name="T1" fmla="*/ 90 h 210"/>
                  <a:gd name="T2" fmla="*/ 143 w 531"/>
                  <a:gd name="T3" fmla="*/ 210 h 210"/>
                  <a:gd name="T4" fmla="*/ 0 w 531"/>
                  <a:gd name="T5" fmla="*/ 113 h 210"/>
                  <a:gd name="T6" fmla="*/ 380 w 531"/>
                  <a:gd name="T7" fmla="*/ 0 h 210"/>
                  <a:gd name="T8" fmla="*/ 531 w 531"/>
                  <a:gd name="T9" fmla="*/ 90 h 210"/>
                </a:gdLst>
                <a:ahLst/>
                <a:cxnLst>
                  <a:cxn ang="0">
                    <a:pos x="T0" y="T1"/>
                  </a:cxn>
                  <a:cxn ang="0">
                    <a:pos x="T2" y="T3"/>
                  </a:cxn>
                  <a:cxn ang="0">
                    <a:pos x="T4" y="T5"/>
                  </a:cxn>
                  <a:cxn ang="0">
                    <a:pos x="T6" y="T7"/>
                  </a:cxn>
                  <a:cxn ang="0">
                    <a:pos x="T8" y="T9"/>
                  </a:cxn>
                </a:cxnLst>
                <a:rect l="0" t="0" r="r" b="b"/>
                <a:pathLst>
                  <a:path w="531" h="210">
                    <a:moveTo>
                      <a:pt x="531" y="90"/>
                    </a:moveTo>
                    <a:lnTo>
                      <a:pt x="143" y="210"/>
                    </a:lnTo>
                    <a:lnTo>
                      <a:pt x="0" y="113"/>
                    </a:lnTo>
                    <a:lnTo>
                      <a:pt x="380" y="0"/>
                    </a:lnTo>
                    <a:lnTo>
                      <a:pt x="531" y="90"/>
                    </a:lnTo>
                    <a:close/>
                  </a:path>
                </a:pathLst>
              </a:custGeom>
              <a:solidFill>
                <a:srgbClr val="3C3C3E"/>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19" name="Freeform 1904">
                <a:extLst>
                  <a:ext uri="{FF2B5EF4-FFF2-40B4-BE49-F238E27FC236}">
                    <a16:creationId xmlns:a16="http://schemas.microsoft.com/office/drawing/2014/main" id="{DB6B624E-584C-47A1-B754-A34CF474C11C}"/>
                  </a:ext>
                </a:extLst>
              </p:cNvPr>
              <p:cNvSpPr>
                <a:spLocks/>
              </p:cNvSpPr>
              <p:nvPr/>
            </p:nvSpPr>
            <p:spPr bwMode="auto">
              <a:xfrm>
                <a:off x="8155283" y="4184897"/>
                <a:ext cx="229329" cy="140680"/>
              </a:xfrm>
              <a:custGeom>
                <a:avLst/>
                <a:gdLst>
                  <a:gd name="T0" fmla="*/ 38 w 951"/>
                  <a:gd name="T1" fmla="*/ 581 h 582"/>
                  <a:gd name="T2" fmla="*/ 27 w 951"/>
                  <a:gd name="T3" fmla="*/ 581 h 582"/>
                  <a:gd name="T4" fmla="*/ 22 w 951"/>
                  <a:gd name="T5" fmla="*/ 575 h 582"/>
                  <a:gd name="T6" fmla="*/ 18 w 951"/>
                  <a:gd name="T7" fmla="*/ 571 h 582"/>
                  <a:gd name="T8" fmla="*/ 16 w 951"/>
                  <a:gd name="T9" fmla="*/ 569 h 582"/>
                  <a:gd name="T10" fmla="*/ 13 w 951"/>
                  <a:gd name="T11" fmla="*/ 565 h 582"/>
                  <a:gd name="T12" fmla="*/ 12 w 951"/>
                  <a:gd name="T13" fmla="*/ 562 h 582"/>
                  <a:gd name="T14" fmla="*/ 3 w 951"/>
                  <a:gd name="T15" fmla="*/ 536 h 582"/>
                  <a:gd name="T16" fmla="*/ 1 w 951"/>
                  <a:gd name="T17" fmla="*/ 475 h 582"/>
                  <a:gd name="T18" fmla="*/ 16 w 951"/>
                  <a:gd name="T19" fmla="*/ 412 h 582"/>
                  <a:gd name="T20" fmla="*/ 53 w 951"/>
                  <a:gd name="T21" fmla="*/ 359 h 582"/>
                  <a:gd name="T22" fmla="*/ 99 w 951"/>
                  <a:gd name="T23" fmla="*/ 331 h 582"/>
                  <a:gd name="T24" fmla="*/ 140 w 951"/>
                  <a:gd name="T25" fmla="*/ 311 h 582"/>
                  <a:gd name="T26" fmla="*/ 186 w 951"/>
                  <a:gd name="T27" fmla="*/ 290 h 582"/>
                  <a:gd name="T28" fmla="*/ 237 w 951"/>
                  <a:gd name="T29" fmla="*/ 268 h 582"/>
                  <a:gd name="T30" fmla="*/ 290 w 951"/>
                  <a:gd name="T31" fmla="*/ 245 h 582"/>
                  <a:gd name="T32" fmla="*/ 345 w 951"/>
                  <a:gd name="T33" fmla="*/ 222 h 582"/>
                  <a:gd name="T34" fmla="*/ 402 w 951"/>
                  <a:gd name="T35" fmla="*/ 199 h 582"/>
                  <a:gd name="T36" fmla="*/ 460 w 951"/>
                  <a:gd name="T37" fmla="*/ 176 h 582"/>
                  <a:gd name="T38" fmla="*/ 520 w 951"/>
                  <a:gd name="T39" fmla="*/ 153 h 582"/>
                  <a:gd name="T40" fmla="*/ 580 w 951"/>
                  <a:gd name="T41" fmla="*/ 130 h 582"/>
                  <a:gd name="T42" fmla="*/ 640 w 951"/>
                  <a:gd name="T43" fmla="*/ 108 h 582"/>
                  <a:gd name="T44" fmla="*/ 699 w 951"/>
                  <a:gd name="T45" fmla="*/ 86 h 582"/>
                  <a:gd name="T46" fmla="*/ 756 w 951"/>
                  <a:gd name="T47" fmla="*/ 65 h 582"/>
                  <a:gd name="T48" fmla="*/ 812 w 951"/>
                  <a:gd name="T49" fmla="*/ 44 h 582"/>
                  <a:gd name="T50" fmla="*/ 865 w 951"/>
                  <a:gd name="T51" fmla="*/ 26 h 582"/>
                  <a:gd name="T52" fmla="*/ 914 w 951"/>
                  <a:gd name="T53" fmla="*/ 8 h 582"/>
                  <a:gd name="T54" fmla="*/ 931 w 951"/>
                  <a:gd name="T55" fmla="*/ 17 h 582"/>
                  <a:gd name="T56" fmla="*/ 920 w 951"/>
                  <a:gd name="T57" fmla="*/ 58 h 582"/>
                  <a:gd name="T58" fmla="*/ 914 w 951"/>
                  <a:gd name="T59" fmla="*/ 107 h 582"/>
                  <a:gd name="T60" fmla="*/ 918 w 951"/>
                  <a:gd name="T61" fmla="*/ 152 h 582"/>
                  <a:gd name="T62" fmla="*/ 929 w 951"/>
                  <a:gd name="T63" fmla="*/ 187 h 582"/>
                  <a:gd name="T64" fmla="*/ 944 w 951"/>
                  <a:gd name="T65" fmla="*/ 217 h 582"/>
                  <a:gd name="T66" fmla="*/ 929 w 951"/>
                  <a:gd name="T67" fmla="*/ 237 h 582"/>
                  <a:gd name="T68" fmla="*/ 878 w 951"/>
                  <a:gd name="T69" fmla="*/ 256 h 582"/>
                  <a:gd name="T70" fmla="*/ 821 w 951"/>
                  <a:gd name="T71" fmla="*/ 279 h 582"/>
                  <a:gd name="T72" fmla="*/ 759 w 951"/>
                  <a:gd name="T73" fmla="*/ 304 h 582"/>
                  <a:gd name="T74" fmla="*/ 692 w 951"/>
                  <a:gd name="T75" fmla="*/ 329 h 582"/>
                  <a:gd name="T76" fmla="*/ 622 w 951"/>
                  <a:gd name="T77" fmla="*/ 355 h 582"/>
                  <a:gd name="T78" fmla="*/ 550 w 951"/>
                  <a:gd name="T79" fmla="*/ 383 h 582"/>
                  <a:gd name="T80" fmla="*/ 479 w 951"/>
                  <a:gd name="T81" fmla="*/ 411 h 582"/>
                  <a:gd name="T82" fmla="*/ 407 w 951"/>
                  <a:gd name="T83" fmla="*/ 438 h 582"/>
                  <a:gd name="T84" fmla="*/ 339 w 951"/>
                  <a:gd name="T85" fmla="*/ 465 h 582"/>
                  <a:gd name="T86" fmla="*/ 275 w 951"/>
                  <a:gd name="T87" fmla="*/ 489 h 582"/>
                  <a:gd name="T88" fmla="*/ 215 w 951"/>
                  <a:gd name="T89" fmla="*/ 513 h 582"/>
                  <a:gd name="T90" fmla="*/ 161 w 951"/>
                  <a:gd name="T91" fmla="*/ 534 h 582"/>
                  <a:gd name="T92" fmla="*/ 115 w 951"/>
                  <a:gd name="T93" fmla="*/ 551 h 582"/>
                  <a:gd name="T94" fmla="*/ 78 w 951"/>
                  <a:gd name="T95" fmla="*/ 566 h 582"/>
                  <a:gd name="T96" fmla="*/ 50 w 951"/>
                  <a:gd name="T97" fmla="*/ 577 h 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1" h="582">
                    <a:moveTo>
                      <a:pt x="41" y="580"/>
                    </a:moveTo>
                    <a:lnTo>
                      <a:pt x="38" y="581"/>
                    </a:lnTo>
                    <a:lnTo>
                      <a:pt x="33" y="582"/>
                    </a:lnTo>
                    <a:lnTo>
                      <a:pt x="27" y="581"/>
                    </a:lnTo>
                    <a:lnTo>
                      <a:pt x="23" y="578"/>
                    </a:lnTo>
                    <a:lnTo>
                      <a:pt x="22" y="575"/>
                    </a:lnTo>
                    <a:lnTo>
                      <a:pt x="19" y="573"/>
                    </a:lnTo>
                    <a:lnTo>
                      <a:pt x="18" y="571"/>
                    </a:lnTo>
                    <a:lnTo>
                      <a:pt x="16" y="569"/>
                    </a:lnTo>
                    <a:lnTo>
                      <a:pt x="16" y="569"/>
                    </a:lnTo>
                    <a:lnTo>
                      <a:pt x="15" y="566"/>
                    </a:lnTo>
                    <a:lnTo>
                      <a:pt x="13" y="565"/>
                    </a:lnTo>
                    <a:lnTo>
                      <a:pt x="13" y="564"/>
                    </a:lnTo>
                    <a:lnTo>
                      <a:pt x="12" y="562"/>
                    </a:lnTo>
                    <a:lnTo>
                      <a:pt x="11" y="560"/>
                    </a:lnTo>
                    <a:lnTo>
                      <a:pt x="3" y="536"/>
                    </a:lnTo>
                    <a:lnTo>
                      <a:pt x="0" y="507"/>
                    </a:lnTo>
                    <a:lnTo>
                      <a:pt x="1" y="475"/>
                    </a:lnTo>
                    <a:lnTo>
                      <a:pt x="5" y="443"/>
                    </a:lnTo>
                    <a:lnTo>
                      <a:pt x="16" y="412"/>
                    </a:lnTo>
                    <a:lnTo>
                      <a:pt x="32" y="383"/>
                    </a:lnTo>
                    <a:lnTo>
                      <a:pt x="53" y="359"/>
                    </a:lnTo>
                    <a:lnTo>
                      <a:pt x="79" y="340"/>
                    </a:lnTo>
                    <a:lnTo>
                      <a:pt x="99" y="331"/>
                    </a:lnTo>
                    <a:lnTo>
                      <a:pt x="119" y="321"/>
                    </a:lnTo>
                    <a:lnTo>
                      <a:pt x="140" y="311"/>
                    </a:lnTo>
                    <a:lnTo>
                      <a:pt x="163" y="300"/>
                    </a:lnTo>
                    <a:lnTo>
                      <a:pt x="186" y="290"/>
                    </a:lnTo>
                    <a:lnTo>
                      <a:pt x="212" y="278"/>
                    </a:lnTo>
                    <a:lnTo>
                      <a:pt x="237" y="268"/>
                    </a:lnTo>
                    <a:lnTo>
                      <a:pt x="262" y="256"/>
                    </a:lnTo>
                    <a:lnTo>
                      <a:pt x="290" y="245"/>
                    </a:lnTo>
                    <a:lnTo>
                      <a:pt x="316" y="233"/>
                    </a:lnTo>
                    <a:lnTo>
                      <a:pt x="345" y="222"/>
                    </a:lnTo>
                    <a:lnTo>
                      <a:pt x="373" y="210"/>
                    </a:lnTo>
                    <a:lnTo>
                      <a:pt x="402" y="199"/>
                    </a:lnTo>
                    <a:lnTo>
                      <a:pt x="432" y="187"/>
                    </a:lnTo>
                    <a:lnTo>
                      <a:pt x="460" y="176"/>
                    </a:lnTo>
                    <a:lnTo>
                      <a:pt x="490" y="164"/>
                    </a:lnTo>
                    <a:lnTo>
                      <a:pt x="520" y="153"/>
                    </a:lnTo>
                    <a:lnTo>
                      <a:pt x="550" y="141"/>
                    </a:lnTo>
                    <a:lnTo>
                      <a:pt x="580" y="130"/>
                    </a:lnTo>
                    <a:lnTo>
                      <a:pt x="610" y="119"/>
                    </a:lnTo>
                    <a:lnTo>
                      <a:pt x="640" y="108"/>
                    </a:lnTo>
                    <a:lnTo>
                      <a:pt x="670" y="96"/>
                    </a:lnTo>
                    <a:lnTo>
                      <a:pt x="699" y="86"/>
                    </a:lnTo>
                    <a:lnTo>
                      <a:pt x="727" y="76"/>
                    </a:lnTo>
                    <a:lnTo>
                      <a:pt x="756" y="65"/>
                    </a:lnTo>
                    <a:lnTo>
                      <a:pt x="784" y="55"/>
                    </a:lnTo>
                    <a:lnTo>
                      <a:pt x="812" y="44"/>
                    </a:lnTo>
                    <a:lnTo>
                      <a:pt x="838" y="35"/>
                    </a:lnTo>
                    <a:lnTo>
                      <a:pt x="865" y="26"/>
                    </a:lnTo>
                    <a:lnTo>
                      <a:pt x="890" y="17"/>
                    </a:lnTo>
                    <a:lnTo>
                      <a:pt x="914" y="8"/>
                    </a:lnTo>
                    <a:lnTo>
                      <a:pt x="938" y="0"/>
                    </a:lnTo>
                    <a:lnTo>
                      <a:pt x="931" y="17"/>
                    </a:lnTo>
                    <a:lnTo>
                      <a:pt x="924" y="36"/>
                    </a:lnTo>
                    <a:lnTo>
                      <a:pt x="920" y="58"/>
                    </a:lnTo>
                    <a:lnTo>
                      <a:pt x="916" y="82"/>
                    </a:lnTo>
                    <a:lnTo>
                      <a:pt x="914" y="107"/>
                    </a:lnTo>
                    <a:lnTo>
                      <a:pt x="915" y="130"/>
                    </a:lnTo>
                    <a:lnTo>
                      <a:pt x="918" y="152"/>
                    </a:lnTo>
                    <a:lnTo>
                      <a:pt x="923" y="170"/>
                    </a:lnTo>
                    <a:lnTo>
                      <a:pt x="929" y="187"/>
                    </a:lnTo>
                    <a:lnTo>
                      <a:pt x="936" y="203"/>
                    </a:lnTo>
                    <a:lnTo>
                      <a:pt x="944" y="217"/>
                    </a:lnTo>
                    <a:lnTo>
                      <a:pt x="951" y="229"/>
                    </a:lnTo>
                    <a:lnTo>
                      <a:pt x="929" y="237"/>
                    </a:lnTo>
                    <a:lnTo>
                      <a:pt x="905" y="247"/>
                    </a:lnTo>
                    <a:lnTo>
                      <a:pt x="878" y="256"/>
                    </a:lnTo>
                    <a:lnTo>
                      <a:pt x="851" y="268"/>
                    </a:lnTo>
                    <a:lnTo>
                      <a:pt x="821" y="279"/>
                    </a:lnTo>
                    <a:lnTo>
                      <a:pt x="791" y="291"/>
                    </a:lnTo>
                    <a:lnTo>
                      <a:pt x="759" y="304"/>
                    </a:lnTo>
                    <a:lnTo>
                      <a:pt x="725" y="316"/>
                    </a:lnTo>
                    <a:lnTo>
                      <a:pt x="692" y="329"/>
                    </a:lnTo>
                    <a:lnTo>
                      <a:pt x="657" y="343"/>
                    </a:lnTo>
                    <a:lnTo>
                      <a:pt x="622" y="355"/>
                    </a:lnTo>
                    <a:lnTo>
                      <a:pt x="586" y="369"/>
                    </a:lnTo>
                    <a:lnTo>
                      <a:pt x="550" y="383"/>
                    </a:lnTo>
                    <a:lnTo>
                      <a:pt x="514" y="397"/>
                    </a:lnTo>
                    <a:lnTo>
                      <a:pt x="479" y="411"/>
                    </a:lnTo>
                    <a:lnTo>
                      <a:pt x="443" y="425"/>
                    </a:lnTo>
                    <a:lnTo>
                      <a:pt x="407" y="438"/>
                    </a:lnTo>
                    <a:lnTo>
                      <a:pt x="373" y="451"/>
                    </a:lnTo>
                    <a:lnTo>
                      <a:pt x="339" y="465"/>
                    </a:lnTo>
                    <a:lnTo>
                      <a:pt x="306" y="478"/>
                    </a:lnTo>
                    <a:lnTo>
                      <a:pt x="275" y="489"/>
                    </a:lnTo>
                    <a:lnTo>
                      <a:pt x="244" y="502"/>
                    </a:lnTo>
                    <a:lnTo>
                      <a:pt x="215" y="513"/>
                    </a:lnTo>
                    <a:lnTo>
                      <a:pt x="187" y="524"/>
                    </a:lnTo>
                    <a:lnTo>
                      <a:pt x="161" y="534"/>
                    </a:lnTo>
                    <a:lnTo>
                      <a:pt x="137" y="543"/>
                    </a:lnTo>
                    <a:lnTo>
                      <a:pt x="115" y="551"/>
                    </a:lnTo>
                    <a:lnTo>
                      <a:pt x="95" y="559"/>
                    </a:lnTo>
                    <a:lnTo>
                      <a:pt x="78" y="566"/>
                    </a:lnTo>
                    <a:lnTo>
                      <a:pt x="63" y="572"/>
                    </a:lnTo>
                    <a:lnTo>
                      <a:pt x="50" y="577"/>
                    </a:lnTo>
                    <a:lnTo>
                      <a:pt x="41" y="580"/>
                    </a:lnTo>
                    <a:close/>
                  </a:path>
                </a:pathLst>
              </a:custGeom>
              <a:solidFill>
                <a:srgbClr val="3C3C3E"/>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20" name="Freeform 1905">
                <a:extLst>
                  <a:ext uri="{FF2B5EF4-FFF2-40B4-BE49-F238E27FC236}">
                    <a16:creationId xmlns:a16="http://schemas.microsoft.com/office/drawing/2014/main" id="{F6D1AF16-EA48-4E45-B923-CF53C7C1BFC9}"/>
                  </a:ext>
                </a:extLst>
              </p:cNvPr>
              <p:cNvSpPr>
                <a:spLocks/>
              </p:cNvSpPr>
              <p:nvPr/>
            </p:nvSpPr>
            <p:spPr bwMode="auto">
              <a:xfrm>
                <a:off x="8405329" y="4176225"/>
                <a:ext cx="482" cy="0"/>
              </a:xfrm>
              <a:custGeom>
                <a:avLst/>
                <a:gdLst>
                  <a:gd name="T0" fmla="*/ 0 w 1"/>
                  <a:gd name="T1" fmla="*/ 1 w 1"/>
                  <a:gd name="T2" fmla="*/ 1 w 1"/>
                  <a:gd name="T3" fmla="*/ 1 w 1"/>
                  <a:gd name="T4" fmla="*/ 1 w 1"/>
                  <a:gd name="T5" fmla="*/ 1 w 1"/>
                  <a:gd name="T6" fmla="*/ 1 w 1"/>
                  <a:gd name="T7" fmla="*/ 1 w 1"/>
                  <a:gd name="T8" fmla="*/ 1 w 1"/>
                  <a:gd name="T9" fmla="*/ 0 w 1"/>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Lst>
                <a:rect l="0" t="0" r="r" b="b"/>
                <a:pathLst>
                  <a:path w="1">
                    <a:moveTo>
                      <a:pt x="0" y="0"/>
                    </a:moveTo>
                    <a:lnTo>
                      <a:pt x="1" y="0"/>
                    </a:lnTo>
                    <a:lnTo>
                      <a:pt x="1" y="0"/>
                    </a:lnTo>
                    <a:lnTo>
                      <a:pt x="1" y="0"/>
                    </a:lnTo>
                    <a:lnTo>
                      <a:pt x="1" y="0"/>
                    </a:lnTo>
                    <a:lnTo>
                      <a:pt x="1" y="0"/>
                    </a:lnTo>
                    <a:lnTo>
                      <a:pt x="1" y="0"/>
                    </a:lnTo>
                    <a:lnTo>
                      <a:pt x="1" y="0"/>
                    </a:lnTo>
                    <a:lnTo>
                      <a:pt x="1"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21" name="Freeform 1906">
                <a:extLst>
                  <a:ext uri="{FF2B5EF4-FFF2-40B4-BE49-F238E27FC236}">
                    <a16:creationId xmlns:a16="http://schemas.microsoft.com/office/drawing/2014/main" id="{A6A74BE7-521A-46AD-91D6-ED21BDA147DC}"/>
                  </a:ext>
                </a:extLst>
              </p:cNvPr>
              <p:cNvSpPr>
                <a:spLocks/>
              </p:cNvSpPr>
              <p:nvPr/>
            </p:nvSpPr>
            <p:spPr bwMode="auto">
              <a:xfrm>
                <a:off x="7983287" y="4089986"/>
                <a:ext cx="425896" cy="213429"/>
              </a:xfrm>
              <a:custGeom>
                <a:avLst/>
                <a:gdLst>
                  <a:gd name="T0" fmla="*/ 1731 w 1768"/>
                  <a:gd name="T1" fmla="*/ 298 h 885"/>
                  <a:gd name="T2" fmla="*/ 1665 w 1768"/>
                  <a:gd name="T3" fmla="*/ 321 h 885"/>
                  <a:gd name="T4" fmla="*/ 1585 w 1768"/>
                  <a:gd name="T5" fmla="*/ 350 h 885"/>
                  <a:gd name="T6" fmla="*/ 1495 w 1768"/>
                  <a:gd name="T7" fmla="*/ 382 h 885"/>
                  <a:gd name="T8" fmla="*/ 1400 w 1768"/>
                  <a:gd name="T9" fmla="*/ 417 h 885"/>
                  <a:gd name="T10" fmla="*/ 1300 w 1768"/>
                  <a:gd name="T11" fmla="*/ 455 h 885"/>
                  <a:gd name="T12" fmla="*/ 1198 w 1768"/>
                  <a:gd name="T13" fmla="*/ 494 h 885"/>
                  <a:gd name="T14" fmla="*/ 1097 w 1768"/>
                  <a:gd name="T15" fmla="*/ 533 h 885"/>
                  <a:gd name="T16" fmla="*/ 1000 w 1768"/>
                  <a:gd name="T17" fmla="*/ 572 h 885"/>
                  <a:gd name="T18" fmla="*/ 909 w 1768"/>
                  <a:gd name="T19" fmla="*/ 611 h 885"/>
                  <a:gd name="T20" fmla="*/ 827 w 1768"/>
                  <a:gd name="T21" fmla="*/ 648 h 885"/>
                  <a:gd name="T22" fmla="*/ 173 w 1768"/>
                  <a:gd name="T23" fmla="*/ 96 h 885"/>
                  <a:gd name="T24" fmla="*/ 156 w 1768"/>
                  <a:gd name="T25" fmla="*/ 95 h 885"/>
                  <a:gd name="T26" fmla="*/ 140 w 1768"/>
                  <a:gd name="T27" fmla="*/ 106 h 885"/>
                  <a:gd name="T28" fmla="*/ 135 w 1768"/>
                  <a:gd name="T29" fmla="*/ 140 h 885"/>
                  <a:gd name="T30" fmla="*/ 738 w 1768"/>
                  <a:gd name="T31" fmla="*/ 695 h 885"/>
                  <a:gd name="T32" fmla="*/ 680 w 1768"/>
                  <a:gd name="T33" fmla="*/ 768 h 885"/>
                  <a:gd name="T34" fmla="*/ 655 w 1768"/>
                  <a:gd name="T35" fmla="*/ 855 h 885"/>
                  <a:gd name="T36" fmla="*/ 24 w 1768"/>
                  <a:gd name="T37" fmla="*/ 277 h 885"/>
                  <a:gd name="T38" fmla="*/ 4 w 1768"/>
                  <a:gd name="T39" fmla="*/ 230 h 885"/>
                  <a:gd name="T40" fmla="*/ 2 w 1768"/>
                  <a:gd name="T41" fmla="*/ 175 h 885"/>
                  <a:gd name="T42" fmla="*/ 15 w 1768"/>
                  <a:gd name="T43" fmla="*/ 122 h 885"/>
                  <a:gd name="T44" fmla="*/ 42 w 1768"/>
                  <a:gd name="T45" fmla="*/ 83 h 885"/>
                  <a:gd name="T46" fmla="*/ 79 w 1768"/>
                  <a:gd name="T47" fmla="*/ 57 h 885"/>
                  <a:gd name="T48" fmla="*/ 111 w 1768"/>
                  <a:gd name="T49" fmla="*/ 46 h 885"/>
                  <a:gd name="T50" fmla="*/ 150 w 1768"/>
                  <a:gd name="T51" fmla="*/ 32 h 885"/>
                  <a:gd name="T52" fmla="*/ 188 w 1768"/>
                  <a:gd name="T53" fmla="*/ 20 h 885"/>
                  <a:gd name="T54" fmla="*/ 219 w 1768"/>
                  <a:gd name="T55" fmla="*/ 11 h 885"/>
                  <a:gd name="T56" fmla="*/ 248 w 1768"/>
                  <a:gd name="T57" fmla="*/ 3 h 885"/>
                  <a:gd name="T58" fmla="*/ 340 w 1768"/>
                  <a:gd name="T59" fmla="*/ 66 h 885"/>
                  <a:gd name="T60" fmla="*/ 470 w 1768"/>
                  <a:gd name="T61" fmla="*/ 171 h 885"/>
                  <a:gd name="T62" fmla="*/ 596 w 1768"/>
                  <a:gd name="T63" fmla="*/ 274 h 885"/>
                  <a:gd name="T64" fmla="*/ 704 w 1768"/>
                  <a:gd name="T65" fmla="*/ 361 h 885"/>
                  <a:gd name="T66" fmla="*/ 782 w 1768"/>
                  <a:gd name="T67" fmla="*/ 425 h 885"/>
                  <a:gd name="T68" fmla="*/ 823 w 1768"/>
                  <a:gd name="T69" fmla="*/ 459 h 885"/>
                  <a:gd name="T70" fmla="*/ 858 w 1768"/>
                  <a:gd name="T71" fmla="*/ 480 h 885"/>
                  <a:gd name="T72" fmla="*/ 898 w 1768"/>
                  <a:gd name="T73" fmla="*/ 482 h 885"/>
                  <a:gd name="T74" fmla="*/ 929 w 1768"/>
                  <a:gd name="T75" fmla="*/ 473 h 885"/>
                  <a:gd name="T76" fmla="*/ 969 w 1768"/>
                  <a:gd name="T77" fmla="*/ 459 h 885"/>
                  <a:gd name="T78" fmla="*/ 1023 w 1768"/>
                  <a:gd name="T79" fmla="*/ 441 h 885"/>
                  <a:gd name="T80" fmla="*/ 1090 w 1768"/>
                  <a:gd name="T81" fmla="*/ 418 h 885"/>
                  <a:gd name="T82" fmla="*/ 1166 w 1768"/>
                  <a:gd name="T83" fmla="*/ 392 h 885"/>
                  <a:gd name="T84" fmla="*/ 1249 w 1768"/>
                  <a:gd name="T85" fmla="*/ 364 h 885"/>
                  <a:gd name="T86" fmla="*/ 1335 w 1768"/>
                  <a:gd name="T87" fmla="*/ 335 h 885"/>
                  <a:gd name="T88" fmla="*/ 1423 w 1768"/>
                  <a:gd name="T89" fmla="*/ 305 h 885"/>
                  <a:gd name="T90" fmla="*/ 1508 w 1768"/>
                  <a:gd name="T91" fmla="*/ 276 h 885"/>
                  <a:gd name="T92" fmla="*/ 1590 w 1768"/>
                  <a:gd name="T93" fmla="*/ 248 h 885"/>
                  <a:gd name="T94" fmla="*/ 1663 w 1768"/>
                  <a:gd name="T95" fmla="*/ 223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768" h="885">
                    <a:moveTo>
                      <a:pt x="1768" y="285"/>
                    </a:moveTo>
                    <a:lnTo>
                      <a:pt x="1751" y="291"/>
                    </a:lnTo>
                    <a:lnTo>
                      <a:pt x="1731" y="298"/>
                    </a:lnTo>
                    <a:lnTo>
                      <a:pt x="1711" y="305"/>
                    </a:lnTo>
                    <a:lnTo>
                      <a:pt x="1688" y="313"/>
                    </a:lnTo>
                    <a:lnTo>
                      <a:pt x="1665" y="321"/>
                    </a:lnTo>
                    <a:lnTo>
                      <a:pt x="1639" y="330"/>
                    </a:lnTo>
                    <a:lnTo>
                      <a:pt x="1613" y="339"/>
                    </a:lnTo>
                    <a:lnTo>
                      <a:pt x="1585" y="350"/>
                    </a:lnTo>
                    <a:lnTo>
                      <a:pt x="1556" y="360"/>
                    </a:lnTo>
                    <a:lnTo>
                      <a:pt x="1526" y="371"/>
                    </a:lnTo>
                    <a:lnTo>
                      <a:pt x="1495" y="382"/>
                    </a:lnTo>
                    <a:lnTo>
                      <a:pt x="1464" y="394"/>
                    </a:lnTo>
                    <a:lnTo>
                      <a:pt x="1432" y="405"/>
                    </a:lnTo>
                    <a:lnTo>
                      <a:pt x="1400" y="417"/>
                    </a:lnTo>
                    <a:lnTo>
                      <a:pt x="1366" y="429"/>
                    </a:lnTo>
                    <a:lnTo>
                      <a:pt x="1333" y="442"/>
                    </a:lnTo>
                    <a:lnTo>
                      <a:pt x="1300" y="455"/>
                    </a:lnTo>
                    <a:lnTo>
                      <a:pt x="1266" y="467"/>
                    </a:lnTo>
                    <a:lnTo>
                      <a:pt x="1232" y="480"/>
                    </a:lnTo>
                    <a:lnTo>
                      <a:pt x="1198" y="494"/>
                    </a:lnTo>
                    <a:lnTo>
                      <a:pt x="1164" y="506"/>
                    </a:lnTo>
                    <a:lnTo>
                      <a:pt x="1130" y="519"/>
                    </a:lnTo>
                    <a:lnTo>
                      <a:pt x="1097" y="533"/>
                    </a:lnTo>
                    <a:lnTo>
                      <a:pt x="1065" y="546"/>
                    </a:lnTo>
                    <a:lnTo>
                      <a:pt x="1031" y="559"/>
                    </a:lnTo>
                    <a:lnTo>
                      <a:pt x="1000" y="572"/>
                    </a:lnTo>
                    <a:lnTo>
                      <a:pt x="969" y="586"/>
                    </a:lnTo>
                    <a:lnTo>
                      <a:pt x="939" y="599"/>
                    </a:lnTo>
                    <a:lnTo>
                      <a:pt x="909" y="611"/>
                    </a:lnTo>
                    <a:lnTo>
                      <a:pt x="880" y="624"/>
                    </a:lnTo>
                    <a:lnTo>
                      <a:pt x="854" y="635"/>
                    </a:lnTo>
                    <a:lnTo>
                      <a:pt x="827" y="648"/>
                    </a:lnTo>
                    <a:lnTo>
                      <a:pt x="185" y="102"/>
                    </a:lnTo>
                    <a:lnTo>
                      <a:pt x="179" y="99"/>
                    </a:lnTo>
                    <a:lnTo>
                      <a:pt x="173" y="96"/>
                    </a:lnTo>
                    <a:lnTo>
                      <a:pt x="167" y="94"/>
                    </a:lnTo>
                    <a:lnTo>
                      <a:pt x="162" y="94"/>
                    </a:lnTo>
                    <a:lnTo>
                      <a:pt x="156" y="95"/>
                    </a:lnTo>
                    <a:lnTo>
                      <a:pt x="150" y="98"/>
                    </a:lnTo>
                    <a:lnTo>
                      <a:pt x="144" y="101"/>
                    </a:lnTo>
                    <a:lnTo>
                      <a:pt x="140" y="106"/>
                    </a:lnTo>
                    <a:lnTo>
                      <a:pt x="134" y="116"/>
                    </a:lnTo>
                    <a:lnTo>
                      <a:pt x="132" y="129"/>
                    </a:lnTo>
                    <a:lnTo>
                      <a:pt x="135" y="140"/>
                    </a:lnTo>
                    <a:lnTo>
                      <a:pt x="143" y="151"/>
                    </a:lnTo>
                    <a:lnTo>
                      <a:pt x="765" y="678"/>
                    </a:lnTo>
                    <a:lnTo>
                      <a:pt x="738" y="695"/>
                    </a:lnTo>
                    <a:lnTo>
                      <a:pt x="714" y="716"/>
                    </a:lnTo>
                    <a:lnTo>
                      <a:pt x="695" y="740"/>
                    </a:lnTo>
                    <a:lnTo>
                      <a:pt x="680" y="768"/>
                    </a:lnTo>
                    <a:lnTo>
                      <a:pt x="668" y="796"/>
                    </a:lnTo>
                    <a:lnTo>
                      <a:pt x="659" y="825"/>
                    </a:lnTo>
                    <a:lnTo>
                      <a:pt x="655" y="855"/>
                    </a:lnTo>
                    <a:lnTo>
                      <a:pt x="652" y="885"/>
                    </a:lnTo>
                    <a:lnTo>
                      <a:pt x="33" y="290"/>
                    </a:lnTo>
                    <a:lnTo>
                      <a:pt x="24" y="277"/>
                    </a:lnTo>
                    <a:lnTo>
                      <a:pt x="15" y="263"/>
                    </a:lnTo>
                    <a:lnTo>
                      <a:pt x="9" y="247"/>
                    </a:lnTo>
                    <a:lnTo>
                      <a:pt x="4" y="230"/>
                    </a:lnTo>
                    <a:lnTo>
                      <a:pt x="2" y="213"/>
                    </a:lnTo>
                    <a:lnTo>
                      <a:pt x="0" y="193"/>
                    </a:lnTo>
                    <a:lnTo>
                      <a:pt x="2" y="175"/>
                    </a:lnTo>
                    <a:lnTo>
                      <a:pt x="5" y="155"/>
                    </a:lnTo>
                    <a:lnTo>
                      <a:pt x="10" y="138"/>
                    </a:lnTo>
                    <a:lnTo>
                      <a:pt x="15" y="122"/>
                    </a:lnTo>
                    <a:lnTo>
                      <a:pt x="24" y="108"/>
                    </a:lnTo>
                    <a:lnTo>
                      <a:pt x="32" y="94"/>
                    </a:lnTo>
                    <a:lnTo>
                      <a:pt x="42" y="83"/>
                    </a:lnTo>
                    <a:lnTo>
                      <a:pt x="53" y="72"/>
                    </a:lnTo>
                    <a:lnTo>
                      <a:pt x="65" y="64"/>
                    </a:lnTo>
                    <a:lnTo>
                      <a:pt x="79" y="57"/>
                    </a:lnTo>
                    <a:lnTo>
                      <a:pt x="88" y="54"/>
                    </a:lnTo>
                    <a:lnTo>
                      <a:pt x="98" y="49"/>
                    </a:lnTo>
                    <a:lnTo>
                      <a:pt x="111" y="46"/>
                    </a:lnTo>
                    <a:lnTo>
                      <a:pt x="124" y="41"/>
                    </a:lnTo>
                    <a:lnTo>
                      <a:pt x="136" y="36"/>
                    </a:lnTo>
                    <a:lnTo>
                      <a:pt x="150" y="32"/>
                    </a:lnTo>
                    <a:lnTo>
                      <a:pt x="164" y="28"/>
                    </a:lnTo>
                    <a:lnTo>
                      <a:pt x="178" y="24"/>
                    </a:lnTo>
                    <a:lnTo>
                      <a:pt x="188" y="20"/>
                    </a:lnTo>
                    <a:lnTo>
                      <a:pt x="199" y="18"/>
                    </a:lnTo>
                    <a:lnTo>
                      <a:pt x="209" y="15"/>
                    </a:lnTo>
                    <a:lnTo>
                      <a:pt x="219" y="11"/>
                    </a:lnTo>
                    <a:lnTo>
                      <a:pt x="229" y="9"/>
                    </a:lnTo>
                    <a:lnTo>
                      <a:pt x="239" y="5"/>
                    </a:lnTo>
                    <a:lnTo>
                      <a:pt x="248" y="3"/>
                    </a:lnTo>
                    <a:lnTo>
                      <a:pt x="257" y="0"/>
                    </a:lnTo>
                    <a:lnTo>
                      <a:pt x="298" y="33"/>
                    </a:lnTo>
                    <a:lnTo>
                      <a:pt x="340" y="66"/>
                    </a:lnTo>
                    <a:lnTo>
                      <a:pt x="383" y="101"/>
                    </a:lnTo>
                    <a:lnTo>
                      <a:pt x="427" y="137"/>
                    </a:lnTo>
                    <a:lnTo>
                      <a:pt x="470" y="171"/>
                    </a:lnTo>
                    <a:lnTo>
                      <a:pt x="513" y="207"/>
                    </a:lnTo>
                    <a:lnTo>
                      <a:pt x="556" y="240"/>
                    </a:lnTo>
                    <a:lnTo>
                      <a:pt x="596" y="274"/>
                    </a:lnTo>
                    <a:lnTo>
                      <a:pt x="635" y="305"/>
                    </a:lnTo>
                    <a:lnTo>
                      <a:pt x="671" y="335"/>
                    </a:lnTo>
                    <a:lnTo>
                      <a:pt x="704" y="361"/>
                    </a:lnTo>
                    <a:lnTo>
                      <a:pt x="734" y="385"/>
                    </a:lnTo>
                    <a:lnTo>
                      <a:pt x="761" y="407"/>
                    </a:lnTo>
                    <a:lnTo>
                      <a:pt x="782" y="425"/>
                    </a:lnTo>
                    <a:lnTo>
                      <a:pt x="801" y="438"/>
                    </a:lnTo>
                    <a:lnTo>
                      <a:pt x="812" y="449"/>
                    </a:lnTo>
                    <a:lnTo>
                      <a:pt x="823" y="459"/>
                    </a:lnTo>
                    <a:lnTo>
                      <a:pt x="834" y="468"/>
                    </a:lnTo>
                    <a:lnTo>
                      <a:pt x="847" y="475"/>
                    </a:lnTo>
                    <a:lnTo>
                      <a:pt x="858" y="480"/>
                    </a:lnTo>
                    <a:lnTo>
                      <a:pt x="871" y="483"/>
                    </a:lnTo>
                    <a:lnTo>
                      <a:pt x="885" y="483"/>
                    </a:lnTo>
                    <a:lnTo>
                      <a:pt x="898" y="482"/>
                    </a:lnTo>
                    <a:lnTo>
                      <a:pt x="911" y="479"/>
                    </a:lnTo>
                    <a:lnTo>
                      <a:pt x="919" y="476"/>
                    </a:lnTo>
                    <a:lnTo>
                      <a:pt x="929" y="473"/>
                    </a:lnTo>
                    <a:lnTo>
                      <a:pt x="940" y="468"/>
                    </a:lnTo>
                    <a:lnTo>
                      <a:pt x="954" y="464"/>
                    </a:lnTo>
                    <a:lnTo>
                      <a:pt x="969" y="459"/>
                    </a:lnTo>
                    <a:lnTo>
                      <a:pt x="985" y="453"/>
                    </a:lnTo>
                    <a:lnTo>
                      <a:pt x="1004" y="448"/>
                    </a:lnTo>
                    <a:lnTo>
                      <a:pt x="1023" y="441"/>
                    </a:lnTo>
                    <a:lnTo>
                      <a:pt x="1045" y="433"/>
                    </a:lnTo>
                    <a:lnTo>
                      <a:pt x="1067" y="426"/>
                    </a:lnTo>
                    <a:lnTo>
                      <a:pt x="1090" y="418"/>
                    </a:lnTo>
                    <a:lnTo>
                      <a:pt x="1115" y="410"/>
                    </a:lnTo>
                    <a:lnTo>
                      <a:pt x="1141" y="400"/>
                    </a:lnTo>
                    <a:lnTo>
                      <a:pt x="1166" y="392"/>
                    </a:lnTo>
                    <a:lnTo>
                      <a:pt x="1194" y="383"/>
                    </a:lnTo>
                    <a:lnTo>
                      <a:pt x="1221" y="373"/>
                    </a:lnTo>
                    <a:lnTo>
                      <a:pt x="1249" y="364"/>
                    </a:lnTo>
                    <a:lnTo>
                      <a:pt x="1278" y="354"/>
                    </a:lnTo>
                    <a:lnTo>
                      <a:pt x="1306" y="344"/>
                    </a:lnTo>
                    <a:lnTo>
                      <a:pt x="1335" y="335"/>
                    </a:lnTo>
                    <a:lnTo>
                      <a:pt x="1364" y="324"/>
                    </a:lnTo>
                    <a:lnTo>
                      <a:pt x="1394" y="315"/>
                    </a:lnTo>
                    <a:lnTo>
                      <a:pt x="1423" y="305"/>
                    </a:lnTo>
                    <a:lnTo>
                      <a:pt x="1452" y="296"/>
                    </a:lnTo>
                    <a:lnTo>
                      <a:pt x="1480" y="285"/>
                    </a:lnTo>
                    <a:lnTo>
                      <a:pt x="1508" y="276"/>
                    </a:lnTo>
                    <a:lnTo>
                      <a:pt x="1536" y="267"/>
                    </a:lnTo>
                    <a:lnTo>
                      <a:pt x="1563" y="258"/>
                    </a:lnTo>
                    <a:lnTo>
                      <a:pt x="1590" y="248"/>
                    </a:lnTo>
                    <a:lnTo>
                      <a:pt x="1615" y="239"/>
                    </a:lnTo>
                    <a:lnTo>
                      <a:pt x="1639" y="231"/>
                    </a:lnTo>
                    <a:lnTo>
                      <a:pt x="1663" y="223"/>
                    </a:lnTo>
                    <a:lnTo>
                      <a:pt x="1768" y="285"/>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22" name="Freeform 1907">
                <a:extLst>
                  <a:ext uri="{FF2B5EF4-FFF2-40B4-BE49-F238E27FC236}">
                    <a16:creationId xmlns:a16="http://schemas.microsoft.com/office/drawing/2014/main" id="{BD871642-2654-4166-A7D5-E59B459959D9}"/>
                  </a:ext>
                </a:extLst>
              </p:cNvPr>
              <p:cNvSpPr>
                <a:spLocks/>
              </p:cNvSpPr>
              <p:nvPr/>
            </p:nvSpPr>
            <p:spPr bwMode="auto">
              <a:xfrm>
                <a:off x="8182745" y="4072161"/>
                <a:ext cx="213912" cy="119481"/>
              </a:xfrm>
              <a:custGeom>
                <a:avLst/>
                <a:gdLst>
                  <a:gd name="T0" fmla="*/ 830 w 886"/>
                  <a:gd name="T1" fmla="*/ 230 h 494"/>
                  <a:gd name="T2" fmla="*/ 822 w 886"/>
                  <a:gd name="T3" fmla="*/ 233 h 494"/>
                  <a:gd name="T4" fmla="*/ 793 w 886"/>
                  <a:gd name="T5" fmla="*/ 243 h 494"/>
                  <a:gd name="T6" fmla="*/ 744 w 886"/>
                  <a:gd name="T7" fmla="*/ 260 h 494"/>
                  <a:gd name="T8" fmla="*/ 689 w 886"/>
                  <a:gd name="T9" fmla="*/ 279 h 494"/>
                  <a:gd name="T10" fmla="*/ 633 w 886"/>
                  <a:gd name="T11" fmla="*/ 297 h 494"/>
                  <a:gd name="T12" fmla="*/ 575 w 886"/>
                  <a:gd name="T13" fmla="*/ 317 h 494"/>
                  <a:gd name="T14" fmla="*/ 517 w 886"/>
                  <a:gd name="T15" fmla="*/ 337 h 494"/>
                  <a:gd name="T16" fmla="*/ 458 w 886"/>
                  <a:gd name="T17" fmla="*/ 357 h 494"/>
                  <a:gd name="T18" fmla="*/ 400 w 886"/>
                  <a:gd name="T19" fmla="*/ 377 h 494"/>
                  <a:gd name="T20" fmla="*/ 345 w 886"/>
                  <a:gd name="T21" fmla="*/ 396 h 494"/>
                  <a:gd name="T22" fmla="*/ 291 w 886"/>
                  <a:gd name="T23" fmla="*/ 415 h 494"/>
                  <a:gd name="T24" fmla="*/ 240 w 886"/>
                  <a:gd name="T25" fmla="*/ 431 h 494"/>
                  <a:gd name="T26" fmla="*/ 194 w 886"/>
                  <a:gd name="T27" fmla="*/ 447 h 494"/>
                  <a:gd name="T28" fmla="*/ 154 w 886"/>
                  <a:gd name="T29" fmla="*/ 461 h 494"/>
                  <a:gd name="T30" fmla="*/ 118 w 886"/>
                  <a:gd name="T31" fmla="*/ 473 h 494"/>
                  <a:gd name="T32" fmla="*/ 89 w 886"/>
                  <a:gd name="T33" fmla="*/ 483 h 494"/>
                  <a:gd name="T34" fmla="*/ 69 w 886"/>
                  <a:gd name="T35" fmla="*/ 491 h 494"/>
                  <a:gd name="T36" fmla="*/ 54 w 886"/>
                  <a:gd name="T37" fmla="*/ 494 h 494"/>
                  <a:gd name="T38" fmla="*/ 42 w 886"/>
                  <a:gd name="T39" fmla="*/ 491 h 494"/>
                  <a:gd name="T40" fmla="*/ 35 w 886"/>
                  <a:gd name="T41" fmla="*/ 485 h 494"/>
                  <a:gd name="T42" fmla="*/ 32 w 886"/>
                  <a:gd name="T43" fmla="*/ 481 h 494"/>
                  <a:gd name="T44" fmla="*/ 30 w 886"/>
                  <a:gd name="T45" fmla="*/ 479 h 494"/>
                  <a:gd name="T46" fmla="*/ 23 w 886"/>
                  <a:gd name="T47" fmla="*/ 469 h 494"/>
                  <a:gd name="T48" fmla="*/ 13 w 886"/>
                  <a:gd name="T49" fmla="*/ 454 h 494"/>
                  <a:gd name="T50" fmla="*/ 5 w 886"/>
                  <a:gd name="T51" fmla="*/ 430 h 494"/>
                  <a:gd name="T52" fmla="*/ 0 w 886"/>
                  <a:gd name="T53" fmla="*/ 382 h 494"/>
                  <a:gd name="T54" fmla="*/ 7 w 886"/>
                  <a:gd name="T55" fmla="*/ 335 h 494"/>
                  <a:gd name="T56" fmla="*/ 32 w 886"/>
                  <a:gd name="T57" fmla="*/ 296 h 494"/>
                  <a:gd name="T58" fmla="*/ 70 w 886"/>
                  <a:gd name="T59" fmla="*/ 274 h 494"/>
                  <a:gd name="T60" fmla="*/ 109 w 886"/>
                  <a:gd name="T61" fmla="*/ 257 h 494"/>
                  <a:gd name="T62" fmla="*/ 152 w 886"/>
                  <a:gd name="T63" fmla="*/ 239 h 494"/>
                  <a:gd name="T64" fmla="*/ 198 w 886"/>
                  <a:gd name="T65" fmla="*/ 221 h 494"/>
                  <a:gd name="T66" fmla="*/ 247 w 886"/>
                  <a:gd name="T67" fmla="*/ 203 h 494"/>
                  <a:gd name="T68" fmla="*/ 298 w 886"/>
                  <a:gd name="T69" fmla="*/ 183 h 494"/>
                  <a:gd name="T70" fmla="*/ 352 w 886"/>
                  <a:gd name="T71" fmla="*/ 165 h 494"/>
                  <a:gd name="T72" fmla="*/ 406 w 886"/>
                  <a:gd name="T73" fmla="*/ 145 h 494"/>
                  <a:gd name="T74" fmla="*/ 461 w 886"/>
                  <a:gd name="T75" fmla="*/ 125 h 494"/>
                  <a:gd name="T76" fmla="*/ 518 w 886"/>
                  <a:gd name="T77" fmla="*/ 107 h 494"/>
                  <a:gd name="T78" fmla="*/ 573 w 886"/>
                  <a:gd name="T79" fmla="*/ 89 h 494"/>
                  <a:gd name="T80" fmla="*/ 628 w 886"/>
                  <a:gd name="T81" fmla="*/ 70 h 494"/>
                  <a:gd name="T82" fmla="*/ 681 w 886"/>
                  <a:gd name="T83" fmla="*/ 53 h 494"/>
                  <a:gd name="T84" fmla="*/ 733 w 886"/>
                  <a:gd name="T85" fmla="*/ 37 h 494"/>
                  <a:gd name="T86" fmla="*/ 783 w 886"/>
                  <a:gd name="T87" fmla="*/ 22 h 494"/>
                  <a:gd name="T88" fmla="*/ 829 w 886"/>
                  <a:gd name="T89" fmla="*/ 7 h 494"/>
                  <a:gd name="T90" fmla="*/ 846 w 886"/>
                  <a:gd name="T91" fmla="*/ 17 h 494"/>
                  <a:gd name="T92" fmla="*/ 842 w 886"/>
                  <a:gd name="T93" fmla="*/ 57 h 494"/>
                  <a:gd name="T94" fmla="*/ 843 w 886"/>
                  <a:gd name="T95" fmla="*/ 102 h 494"/>
                  <a:gd name="T96" fmla="*/ 851 w 886"/>
                  <a:gd name="T97" fmla="*/ 140 h 494"/>
                  <a:gd name="T98" fmla="*/ 863 w 886"/>
                  <a:gd name="T99" fmla="*/ 174 h 494"/>
                  <a:gd name="T100" fmla="*/ 878 w 886"/>
                  <a:gd name="T101" fmla="*/ 201 h 494"/>
                  <a:gd name="T102" fmla="*/ 881 w 886"/>
                  <a:gd name="T103" fmla="*/ 214 h 494"/>
                  <a:gd name="T104" fmla="*/ 868 w 886"/>
                  <a:gd name="T105" fmla="*/ 219 h 494"/>
                  <a:gd name="T106" fmla="*/ 855 w 886"/>
                  <a:gd name="T107" fmla="*/ 222 h 494"/>
                  <a:gd name="T108" fmla="*/ 842 w 886"/>
                  <a:gd name="T109" fmla="*/ 227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86" h="494">
                    <a:moveTo>
                      <a:pt x="835" y="229"/>
                    </a:moveTo>
                    <a:lnTo>
                      <a:pt x="830" y="230"/>
                    </a:lnTo>
                    <a:lnTo>
                      <a:pt x="827" y="231"/>
                    </a:lnTo>
                    <a:lnTo>
                      <a:pt x="822" y="233"/>
                    </a:lnTo>
                    <a:lnTo>
                      <a:pt x="817" y="235"/>
                    </a:lnTo>
                    <a:lnTo>
                      <a:pt x="793" y="243"/>
                    </a:lnTo>
                    <a:lnTo>
                      <a:pt x="769" y="251"/>
                    </a:lnTo>
                    <a:lnTo>
                      <a:pt x="744" y="260"/>
                    </a:lnTo>
                    <a:lnTo>
                      <a:pt x="717" y="269"/>
                    </a:lnTo>
                    <a:lnTo>
                      <a:pt x="689" y="279"/>
                    </a:lnTo>
                    <a:lnTo>
                      <a:pt x="662" y="288"/>
                    </a:lnTo>
                    <a:lnTo>
                      <a:pt x="633" y="297"/>
                    </a:lnTo>
                    <a:lnTo>
                      <a:pt x="605" y="307"/>
                    </a:lnTo>
                    <a:lnTo>
                      <a:pt x="575" y="317"/>
                    </a:lnTo>
                    <a:lnTo>
                      <a:pt x="547" y="327"/>
                    </a:lnTo>
                    <a:lnTo>
                      <a:pt x="517" y="337"/>
                    </a:lnTo>
                    <a:lnTo>
                      <a:pt x="488" y="347"/>
                    </a:lnTo>
                    <a:lnTo>
                      <a:pt x="458" y="357"/>
                    </a:lnTo>
                    <a:lnTo>
                      <a:pt x="429" y="367"/>
                    </a:lnTo>
                    <a:lnTo>
                      <a:pt x="400" y="377"/>
                    </a:lnTo>
                    <a:lnTo>
                      <a:pt x="373" y="386"/>
                    </a:lnTo>
                    <a:lnTo>
                      <a:pt x="345" y="396"/>
                    </a:lnTo>
                    <a:lnTo>
                      <a:pt x="318" y="405"/>
                    </a:lnTo>
                    <a:lnTo>
                      <a:pt x="291" y="415"/>
                    </a:lnTo>
                    <a:lnTo>
                      <a:pt x="266" y="423"/>
                    </a:lnTo>
                    <a:lnTo>
                      <a:pt x="240" y="431"/>
                    </a:lnTo>
                    <a:lnTo>
                      <a:pt x="217" y="439"/>
                    </a:lnTo>
                    <a:lnTo>
                      <a:pt x="194" y="447"/>
                    </a:lnTo>
                    <a:lnTo>
                      <a:pt x="174" y="454"/>
                    </a:lnTo>
                    <a:lnTo>
                      <a:pt x="154" y="461"/>
                    </a:lnTo>
                    <a:lnTo>
                      <a:pt x="136" y="468"/>
                    </a:lnTo>
                    <a:lnTo>
                      <a:pt x="118" y="473"/>
                    </a:lnTo>
                    <a:lnTo>
                      <a:pt x="103" y="478"/>
                    </a:lnTo>
                    <a:lnTo>
                      <a:pt x="89" y="483"/>
                    </a:lnTo>
                    <a:lnTo>
                      <a:pt x="78" y="487"/>
                    </a:lnTo>
                    <a:lnTo>
                      <a:pt x="69" y="491"/>
                    </a:lnTo>
                    <a:lnTo>
                      <a:pt x="61" y="493"/>
                    </a:lnTo>
                    <a:lnTo>
                      <a:pt x="54" y="494"/>
                    </a:lnTo>
                    <a:lnTo>
                      <a:pt x="48" y="493"/>
                    </a:lnTo>
                    <a:lnTo>
                      <a:pt x="42" y="491"/>
                    </a:lnTo>
                    <a:lnTo>
                      <a:pt x="38" y="487"/>
                    </a:lnTo>
                    <a:lnTo>
                      <a:pt x="35" y="485"/>
                    </a:lnTo>
                    <a:lnTo>
                      <a:pt x="34" y="483"/>
                    </a:lnTo>
                    <a:lnTo>
                      <a:pt x="32" y="481"/>
                    </a:lnTo>
                    <a:lnTo>
                      <a:pt x="30" y="479"/>
                    </a:lnTo>
                    <a:lnTo>
                      <a:pt x="30" y="479"/>
                    </a:lnTo>
                    <a:lnTo>
                      <a:pt x="28" y="477"/>
                    </a:lnTo>
                    <a:lnTo>
                      <a:pt x="23" y="469"/>
                    </a:lnTo>
                    <a:lnTo>
                      <a:pt x="17" y="461"/>
                    </a:lnTo>
                    <a:lnTo>
                      <a:pt x="13" y="454"/>
                    </a:lnTo>
                    <a:lnTo>
                      <a:pt x="12" y="450"/>
                    </a:lnTo>
                    <a:lnTo>
                      <a:pt x="5" y="430"/>
                    </a:lnTo>
                    <a:lnTo>
                      <a:pt x="1" y="406"/>
                    </a:lnTo>
                    <a:lnTo>
                      <a:pt x="0" y="382"/>
                    </a:lnTo>
                    <a:lnTo>
                      <a:pt x="2" y="358"/>
                    </a:lnTo>
                    <a:lnTo>
                      <a:pt x="7" y="335"/>
                    </a:lnTo>
                    <a:lnTo>
                      <a:pt x="17" y="313"/>
                    </a:lnTo>
                    <a:lnTo>
                      <a:pt x="32" y="296"/>
                    </a:lnTo>
                    <a:lnTo>
                      <a:pt x="53" y="282"/>
                    </a:lnTo>
                    <a:lnTo>
                      <a:pt x="70" y="274"/>
                    </a:lnTo>
                    <a:lnTo>
                      <a:pt x="89" y="266"/>
                    </a:lnTo>
                    <a:lnTo>
                      <a:pt x="109" y="257"/>
                    </a:lnTo>
                    <a:lnTo>
                      <a:pt x="130" y="248"/>
                    </a:lnTo>
                    <a:lnTo>
                      <a:pt x="152" y="239"/>
                    </a:lnTo>
                    <a:lnTo>
                      <a:pt x="175" y="230"/>
                    </a:lnTo>
                    <a:lnTo>
                      <a:pt x="198" y="221"/>
                    </a:lnTo>
                    <a:lnTo>
                      <a:pt x="222" y="212"/>
                    </a:lnTo>
                    <a:lnTo>
                      <a:pt x="247" y="203"/>
                    </a:lnTo>
                    <a:lnTo>
                      <a:pt x="273" y="192"/>
                    </a:lnTo>
                    <a:lnTo>
                      <a:pt x="298" y="183"/>
                    </a:lnTo>
                    <a:lnTo>
                      <a:pt x="324" y="174"/>
                    </a:lnTo>
                    <a:lnTo>
                      <a:pt x="352" y="165"/>
                    </a:lnTo>
                    <a:lnTo>
                      <a:pt x="379" y="154"/>
                    </a:lnTo>
                    <a:lnTo>
                      <a:pt x="406" y="145"/>
                    </a:lnTo>
                    <a:lnTo>
                      <a:pt x="434" y="136"/>
                    </a:lnTo>
                    <a:lnTo>
                      <a:pt x="461" y="125"/>
                    </a:lnTo>
                    <a:lnTo>
                      <a:pt x="490" y="116"/>
                    </a:lnTo>
                    <a:lnTo>
                      <a:pt x="518" y="107"/>
                    </a:lnTo>
                    <a:lnTo>
                      <a:pt x="546" y="98"/>
                    </a:lnTo>
                    <a:lnTo>
                      <a:pt x="573" y="89"/>
                    </a:lnTo>
                    <a:lnTo>
                      <a:pt x="601" y="79"/>
                    </a:lnTo>
                    <a:lnTo>
                      <a:pt x="628" y="70"/>
                    </a:lnTo>
                    <a:lnTo>
                      <a:pt x="655" y="62"/>
                    </a:lnTo>
                    <a:lnTo>
                      <a:pt x="681" y="53"/>
                    </a:lnTo>
                    <a:lnTo>
                      <a:pt x="708" y="45"/>
                    </a:lnTo>
                    <a:lnTo>
                      <a:pt x="733" y="37"/>
                    </a:lnTo>
                    <a:lnTo>
                      <a:pt x="759" y="29"/>
                    </a:lnTo>
                    <a:lnTo>
                      <a:pt x="783" y="22"/>
                    </a:lnTo>
                    <a:lnTo>
                      <a:pt x="806" y="14"/>
                    </a:lnTo>
                    <a:lnTo>
                      <a:pt x="829" y="7"/>
                    </a:lnTo>
                    <a:lnTo>
                      <a:pt x="851" y="0"/>
                    </a:lnTo>
                    <a:lnTo>
                      <a:pt x="846" y="17"/>
                    </a:lnTo>
                    <a:lnTo>
                      <a:pt x="843" y="37"/>
                    </a:lnTo>
                    <a:lnTo>
                      <a:pt x="842" y="57"/>
                    </a:lnTo>
                    <a:lnTo>
                      <a:pt x="840" y="81"/>
                    </a:lnTo>
                    <a:lnTo>
                      <a:pt x="843" y="102"/>
                    </a:lnTo>
                    <a:lnTo>
                      <a:pt x="846" y="122"/>
                    </a:lnTo>
                    <a:lnTo>
                      <a:pt x="851" y="140"/>
                    </a:lnTo>
                    <a:lnTo>
                      <a:pt x="856" y="158"/>
                    </a:lnTo>
                    <a:lnTo>
                      <a:pt x="863" y="174"/>
                    </a:lnTo>
                    <a:lnTo>
                      <a:pt x="871" y="189"/>
                    </a:lnTo>
                    <a:lnTo>
                      <a:pt x="878" y="201"/>
                    </a:lnTo>
                    <a:lnTo>
                      <a:pt x="886" y="212"/>
                    </a:lnTo>
                    <a:lnTo>
                      <a:pt x="881" y="214"/>
                    </a:lnTo>
                    <a:lnTo>
                      <a:pt x="874" y="216"/>
                    </a:lnTo>
                    <a:lnTo>
                      <a:pt x="868" y="219"/>
                    </a:lnTo>
                    <a:lnTo>
                      <a:pt x="861" y="220"/>
                    </a:lnTo>
                    <a:lnTo>
                      <a:pt x="855" y="222"/>
                    </a:lnTo>
                    <a:lnTo>
                      <a:pt x="848" y="225"/>
                    </a:lnTo>
                    <a:lnTo>
                      <a:pt x="842" y="227"/>
                    </a:lnTo>
                    <a:lnTo>
                      <a:pt x="835" y="229"/>
                    </a:lnTo>
                    <a:close/>
                  </a:path>
                </a:pathLst>
              </a:custGeom>
              <a:solidFill>
                <a:srgbClr val="3C3C3E"/>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423" name="Group 422">
            <a:extLst>
              <a:ext uri="{FF2B5EF4-FFF2-40B4-BE49-F238E27FC236}">
                <a16:creationId xmlns:a16="http://schemas.microsoft.com/office/drawing/2014/main" id="{04BD2CB9-D3DA-48A1-A4CF-71BA81953340}"/>
              </a:ext>
            </a:extLst>
          </p:cNvPr>
          <p:cNvGrpSpPr/>
          <p:nvPr/>
        </p:nvGrpSpPr>
        <p:grpSpPr>
          <a:xfrm>
            <a:off x="7930890" y="2386226"/>
            <a:ext cx="612000" cy="612000"/>
            <a:chOff x="592807" y="2258092"/>
            <a:chExt cx="612000" cy="612000"/>
          </a:xfrm>
        </p:grpSpPr>
        <p:sp>
          <p:nvSpPr>
            <p:cNvPr id="424" name="Oval 423">
              <a:extLst>
                <a:ext uri="{FF2B5EF4-FFF2-40B4-BE49-F238E27FC236}">
                  <a16:creationId xmlns:a16="http://schemas.microsoft.com/office/drawing/2014/main" id="{D22A9F77-778A-49AC-B107-3FC4C4DC2A76}"/>
                </a:ext>
              </a:extLst>
            </p:cNvPr>
            <p:cNvSpPr/>
            <p:nvPr/>
          </p:nvSpPr>
          <p:spPr bwMode="ltGray">
            <a:xfrm>
              <a:off x="592807" y="2258092"/>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25" name="Freeform 42">
              <a:extLst>
                <a:ext uri="{FF2B5EF4-FFF2-40B4-BE49-F238E27FC236}">
                  <a16:creationId xmlns:a16="http://schemas.microsoft.com/office/drawing/2014/main" id="{594BFD3D-7B48-4017-9F6F-9087520DEC55}"/>
                </a:ext>
              </a:extLst>
            </p:cNvPr>
            <p:cNvSpPr>
              <a:spLocks/>
            </p:cNvSpPr>
            <p:nvPr/>
          </p:nvSpPr>
          <p:spPr bwMode="auto">
            <a:xfrm>
              <a:off x="657373" y="2428119"/>
              <a:ext cx="500483" cy="267525"/>
            </a:xfrm>
            <a:custGeom>
              <a:avLst/>
              <a:gdLst>
                <a:gd name="T0" fmla="*/ 490 w 1000"/>
                <a:gd name="T1" fmla="*/ 0 h 535"/>
                <a:gd name="T2" fmla="*/ 989 w 1000"/>
                <a:gd name="T3" fmla="*/ 172 h 535"/>
                <a:gd name="T4" fmla="*/ 997 w 1000"/>
                <a:gd name="T5" fmla="*/ 178 h 535"/>
                <a:gd name="T6" fmla="*/ 1000 w 1000"/>
                <a:gd name="T7" fmla="*/ 187 h 535"/>
                <a:gd name="T8" fmla="*/ 993 w 1000"/>
                <a:gd name="T9" fmla="*/ 200 h 535"/>
                <a:gd name="T10" fmla="*/ 822 w 1000"/>
                <a:gd name="T11" fmla="*/ 251 h 535"/>
                <a:gd name="T12" fmla="*/ 791 w 1000"/>
                <a:gd name="T13" fmla="*/ 224 h 535"/>
                <a:gd name="T14" fmla="*/ 739 w 1000"/>
                <a:gd name="T15" fmla="*/ 203 h 535"/>
                <a:gd name="T16" fmla="*/ 673 w 1000"/>
                <a:gd name="T17" fmla="*/ 187 h 535"/>
                <a:gd name="T18" fmla="*/ 548 w 1000"/>
                <a:gd name="T19" fmla="*/ 174 h 535"/>
                <a:gd name="T20" fmla="*/ 491 w 1000"/>
                <a:gd name="T21" fmla="*/ 174 h 535"/>
                <a:gd name="T22" fmla="*/ 480 w 1000"/>
                <a:gd name="T23" fmla="*/ 189 h 535"/>
                <a:gd name="T24" fmla="*/ 485 w 1000"/>
                <a:gd name="T25" fmla="*/ 200 h 535"/>
                <a:gd name="T26" fmla="*/ 497 w 1000"/>
                <a:gd name="T27" fmla="*/ 205 h 535"/>
                <a:gd name="T28" fmla="*/ 585 w 1000"/>
                <a:gd name="T29" fmla="*/ 208 h 535"/>
                <a:gd name="T30" fmla="*/ 660 w 1000"/>
                <a:gd name="T31" fmla="*/ 217 h 535"/>
                <a:gd name="T32" fmla="*/ 723 w 1000"/>
                <a:gd name="T33" fmla="*/ 230 h 535"/>
                <a:gd name="T34" fmla="*/ 768 w 1000"/>
                <a:gd name="T35" fmla="*/ 246 h 535"/>
                <a:gd name="T36" fmla="*/ 793 w 1000"/>
                <a:gd name="T37" fmla="*/ 264 h 535"/>
                <a:gd name="T38" fmla="*/ 798 w 1000"/>
                <a:gd name="T39" fmla="*/ 373 h 535"/>
                <a:gd name="T40" fmla="*/ 798 w 1000"/>
                <a:gd name="T41" fmla="*/ 377 h 535"/>
                <a:gd name="T42" fmla="*/ 784 w 1000"/>
                <a:gd name="T43" fmla="*/ 395 h 535"/>
                <a:gd name="T44" fmla="*/ 747 w 1000"/>
                <a:gd name="T45" fmla="*/ 413 h 535"/>
                <a:gd name="T46" fmla="*/ 688 w 1000"/>
                <a:gd name="T47" fmla="*/ 429 h 535"/>
                <a:gd name="T48" fmla="*/ 612 w 1000"/>
                <a:gd name="T49" fmla="*/ 440 h 535"/>
                <a:gd name="T50" fmla="*/ 526 w 1000"/>
                <a:gd name="T51" fmla="*/ 446 h 535"/>
                <a:gd name="T52" fmla="*/ 464 w 1000"/>
                <a:gd name="T53" fmla="*/ 446 h 535"/>
                <a:gd name="T54" fmla="*/ 377 w 1000"/>
                <a:gd name="T55" fmla="*/ 440 h 535"/>
                <a:gd name="T56" fmla="*/ 302 w 1000"/>
                <a:gd name="T57" fmla="*/ 429 h 535"/>
                <a:gd name="T58" fmla="*/ 243 w 1000"/>
                <a:gd name="T59" fmla="*/ 413 h 535"/>
                <a:gd name="T60" fmla="*/ 206 w 1000"/>
                <a:gd name="T61" fmla="*/ 395 h 535"/>
                <a:gd name="T62" fmla="*/ 192 w 1000"/>
                <a:gd name="T63" fmla="*/ 377 h 535"/>
                <a:gd name="T64" fmla="*/ 192 w 1000"/>
                <a:gd name="T65" fmla="*/ 371 h 535"/>
                <a:gd name="T66" fmla="*/ 106 w 1000"/>
                <a:gd name="T67" fmla="*/ 363 h 535"/>
                <a:gd name="T68" fmla="*/ 118 w 1000"/>
                <a:gd name="T69" fmla="*/ 369 h 535"/>
                <a:gd name="T70" fmla="*/ 130 w 1000"/>
                <a:gd name="T71" fmla="*/ 384 h 535"/>
                <a:gd name="T72" fmla="*/ 135 w 1000"/>
                <a:gd name="T73" fmla="*/ 404 h 535"/>
                <a:gd name="T74" fmla="*/ 134 w 1000"/>
                <a:gd name="T75" fmla="*/ 417 h 535"/>
                <a:gd name="T76" fmla="*/ 126 w 1000"/>
                <a:gd name="T77" fmla="*/ 432 h 535"/>
                <a:gd name="T78" fmla="*/ 111 w 1000"/>
                <a:gd name="T79" fmla="*/ 443 h 535"/>
                <a:gd name="T80" fmla="*/ 121 w 1000"/>
                <a:gd name="T81" fmla="*/ 499 h 535"/>
                <a:gd name="T82" fmla="*/ 111 w 1000"/>
                <a:gd name="T83" fmla="*/ 513 h 535"/>
                <a:gd name="T84" fmla="*/ 67 w 1000"/>
                <a:gd name="T85" fmla="*/ 533 h 535"/>
                <a:gd name="T86" fmla="*/ 45 w 1000"/>
                <a:gd name="T87" fmla="*/ 533 h 535"/>
                <a:gd name="T88" fmla="*/ 58 w 1000"/>
                <a:gd name="T89" fmla="*/ 440 h 535"/>
                <a:gd name="T90" fmla="*/ 43 w 1000"/>
                <a:gd name="T91" fmla="*/ 425 h 535"/>
                <a:gd name="T92" fmla="*/ 39 w 1000"/>
                <a:gd name="T93" fmla="*/ 404 h 535"/>
                <a:gd name="T94" fmla="*/ 41 w 1000"/>
                <a:gd name="T95" fmla="*/ 391 h 535"/>
                <a:gd name="T96" fmla="*/ 51 w 1000"/>
                <a:gd name="T97" fmla="*/ 374 h 535"/>
                <a:gd name="T98" fmla="*/ 69 w 1000"/>
                <a:gd name="T99" fmla="*/ 363 h 535"/>
                <a:gd name="T100" fmla="*/ 12 w 1000"/>
                <a:gd name="T101" fmla="*/ 202 h 535"/>
                <a:gd name="T102" fmla="*/ 2 w 1000"/>
                <a:gd name="T103" fmla="*/ 193 h 535"/>
                <a:gd name="T104" fmla="*/ 2 w 1000"/>
                <a:gd name="T105" fmla="*/ 182 h 535"/>
                <a:gd name="T106" fmla="*/ 11 w 1000"/>
                <a:gd name="T107" fmla="*/ 172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00" h="535">
                  <a:moveTo>
                    <a:pt x="11" y="172"/>
                  </a:moveTo>
                  <a:lnTo>
                    <a:pt x="490" y="0"/>
                  </a:lnTo>
                  <a:lnTo>
                    <a:pt x="490" y="0"/>
                  </a:lnTo>
                  <a:lnTo>
                    <a:pt x="495" y="0"/>
                  </a:lnTo>
                  <a:lnTo>
                    <a:pt x="500" y="0"/>
                  </a:lnTo>
                  <a:lnTo>
                    <a:pt x="989" y="172"/>
                  </a:lnTo>
                  <a:lnTo>
                    <a:pt x="989" y="172"/>
                  </a:lnTo>
                  <a:lnTo>
                    <a:pt x="994" y="174"/>
                  </a:lnTo>
                  <a:lnTo>
                    <a:pt x="997" y="178"/>
                  </a:lnTo>
                  <a:lnTo>
                    <a:pt x="1000" y="182"/>
                  </a:lnTo>
                  <a:lnTo>
                    <a:pt x="1000" y="187"/>
                  </a:lnTo>
                  <a:lnTo>
                    <a:pt x="1000" y="187"/>
                  </a:lnTo>
                  <a:lnTo>
                    <a:pt x="998" y="193"/>
                  </a:lnTo>
                  <a:lnTo>
                    <a:pt x="996" y="196"/>
                  </a:lnTo>
                  <a:lnTo>
                    <a:pt x="993" y="200"/>
                  </a:lnTo>
                  <a:lnTo>
                    <a:pt x="988" y="202"/>
                  </a:lnTo>
                  <a:lnTo>
                    <a:pt x="822" y="251"/>
                  </a:lnTo>
                  <a:lnTo>
                    <a:pt x="822" y="251"/>
                  </a:lnTo>
                  <a:lnTo>
                    <a:pt x="814" y="240"/>
                  </a:lnTo>
                  <a:lnTo>
                    <a:pt x="804" y="232"/>
                  </a:lnTo>
                  <a:lnTo>
                    <a:pt x="791" y="224"/>
                  </a:lnTo>
                  <a:lnTo>
                    <a:pt x="775" y="216"/>
                  </a:lnTo>
                  <a:lnTo>
                    <a:pt x="759" y="209"/>
                  </a:lnTo>
                  <a:lnTo>
                    <a:pt x="739" y="203"/>
                  </a:lnTo>
                  <a:lnTo>
                    <a:pt x="718" y="198"/>
                  </a:lnTo>
                  <a:lnTo>
                    <a:pt x="696" y="192"/>
                  </a:lnTo>
                  <a:lnTo>
                    <a:pt x="673" y="187"/>
                  </a:lnTo>
                  <a:lnTo>
                    <a:pt x="650" y="184"/>
                  </a:lnTo>
                  <a:lnTo>
                    <a:pt x="599" y="178"/>
                  </a:lnTo>
                  <a:lnTo>
                    <a:pt x="548" y="174"/>
                  </a:lnTo>
                  <a:lnTo>
                    <a:pt x="497" y="173"/>
                  </a:lnTo>
                  <a:lnTo>
                    <a:pt x="497" y="173"/>
                  </a:lnTo>
                  <a:lnTo>
                    <a:pt x="491" y="174"/>
                  </a:lnTo>
                  <a:lnTo>
                    <a:pt x="485" y="178"/>
                  </a:lnTo>
                  <a:lnTo>
                    <a:pt x="482" y="182"/>
                  </a:lnTo>
                  <a:lnTo>
                    <a:pt x="480" y="189"/>
                  </a:lnTo>
                  <a:lnTo>
                    <a:pt x="480" y="189"/>
                  </a:lnTo>
                  <a:lnTo>
                    <a:pt x="482" y="195"/>
                  </a:lnTo>
                  <a:lnTo>
                    <a:pt x="485" y="200"/>
                  </a:lnTo>
                  <a:lnTo>
                    <a:pt x="491" y="203"/>
                  </a:lnTo>
                  <a:lnTo>
                    <a:pt x="497" y="205"/>
                  </a:lnTo>
                  <a:lnTo>
                    <a:pt x="497" y="205"/>
                  </a:lnTo>
                  <a:lnTo>
                    <a:pt x="527" y="205"/>
                  </a:lnTo>
                  <a:lnTo>
                    <a:pt x="556" y="206"/>
                  </a:lnTo>
                  <a:lnTo>
                    <a:pt x="585" y="208"/>
                  </a:lnTo>
                  <a:lnTo>
                    <a:pt x="611" y="210"/>
                  </a:lnTo>
                  <a:lnTo>
                    <a:pt x="637" y="214"/>
                  </a:lnTo>
                  <a:lnTo>
                    <a:pt x="660" y="217"/>
                  </a:lnTo>
                  <a:lnTo>
                    <a:pt x="683" y="221"/>
                  </a:lnTo>
                  <a:lnTo>
                    <a:pt x="703" y="225"/>
                  </a:lnTo>
                  <a:lnTo>
                    <a:pt x="723" y="230"/>
                  </a:lnTo>
                  <a:lnTo>
                    <a:pt x="739" y="236"/>
                  </a:lnTo>
                  <a:lnTo>
                    <a:pt x="754" y="240"/>
                  </a:lnTo>
                  <a:lnTo>
                    <a:pt x="768" y="246"/>
                  </a:lnTo>
                  <a:lnTo>
                    <a:pt x="778" y="252"/>
                  </a:lnTo>
                  <a:lnTo>
                    <a:pt x="788" y="258"/>
                  </a:lnTo>
                  <a:lnTo>
                    <a:pt x="793" y="264"/>
                  </a:lnTo>
                  <a:lnTo>
                    <a:pt x="798" y="269"/>
                  </a:lnTo>
                  <a:lnTo>
                    <a:pt x="798" y="373"/>
                  </a:lnTo>
                  <a:lnTo>
                    <a:pt x="798" y="373"/>
                  </a:lnTo>
                  <a:lnTo>
                    <a:pt x="798" y="374"/>
                  </a:lnTo>
                  <a:lnTo>
                    <a:pt x="798" y="374"/>
                  </a:lnTo>
                  <a:lnTo>
                    <a:pt x="798" y="377"/>
                  </a:lnTo>
                  <a:lnTo>
                    <a:pt x="797" y="381"/>
                  </a:lnTo>
                  <a:lnTo>
                    <a:pt x="792" y="388"/>
                  </a:lnTo>
                  <a:lnTo>
                    <a:pt x="784" y="395"/>
                  </a:lnTo>
                  <a:lnTo>
                    <a:pt x="775" y="402"/>
                  </a:lnTo>
                  <a:lnTo>
                    <a:pt x="762" y="407"/>
                  </a:lnTo>
                  <a:lnTo>
                    <a:pt x="747" y="413"/>
                  </a:lnTo>
                  <a:lnTo>
                    <a:pt x="728" y="419"/>
                  </a:lnTo>
                  <a:lnTo>
                    <a:pt x="710" y="425"/>
                  </a:lnTo>
                  <a:lnTo>
                    <a:pt x="688" y="429"/>
                  </a:lnTo>
                  <a:lnTo>
                    <a:pt x="665" y="433"/>
                  </a:lnTo>
                  <a:lnTo>
                    <a:pt x="639" y="436"/>
                  </a:lnTo>
                  <a:lnTo>
                    <a:pt x="612" y="440"/>
                  </a:lnTo>
                  <a:lnTo>
                    <a:pt x="585" y="442"/>
                  </a:lnTo>
                  <a:lnTo>
                    <a:pt x="556" y="444"/>
                  </a:lnTo>
                  <a:lnTo>
                    <a:pt x="526" y="446"/>
                  </a:lnTo>
                  <a:lnTo>
                    <a:pt x="494" y="446"/>
                  </a:lnTo>
                  <a:lnTo>
                    <a:pt x="494" y="446"/>
                  </a:lnTo>
                  <a:lnTo>
                    <a:pt x="464" y="446"/>
                  </a:lnTo>
                  <a:lnTo>
                    <a:pt x="434" y="444"/>
                  </a:lnTo>
                  <a:lnTo>
                    <a:pt x="405" y="442"/>
                  </a:lnTo>
                  <a:lnTo>
                    <a:pt x="377" y="440"/>
                  </a:lnTo>
                  <a:lnTo>
                    <a:pt x="351" y="436"/>
                  </a:lnTo>
                  <a:lnTo>
                    <a:pt x="325" y="433"/>
                  </a:lnTo>
                  <a:lnTo>
                    <a:pt x="302" y="429"/>
                  </a:lnTo>
                  <a:lnTo>
                    <a:pt x="280" y="425"/>
                  </a:lnTo>
                  <a:lnTo>
                    <a:pt x="261" y="419"/>
                  </a:lnTo>
                  <a:lnTo>
                    <a:pt x="243" y="413"/>
                  </a:lnTo>
                  <a:lnTo>
                    <a:pt x="228" y="407"/>
                  </a:lnTo>
                  <a:lnTo>
                    <a:pt x="215" y="402"/>
                  </a:lnTo>
                  <a:lnTo>
                    <a:pt x="206" y="395"/>
                  </a:lnTo>
                  <a:lnTo>
                    <a:pt x="198" y="388"/>
                  </a:lnTo>
                  <a:lnTo>
                    <a:pt x="193" y="381"/>
                  </a:lnTo>
                  <a:lnTo>
                    <a:pt x="192" y="377"/>
                  </a:lnTo>
                  <a:lnTo>
                    <a:pt x="192" y="374"/>
                  </a:lnTo>
                  <a:lnTo>
                    <a:pt x="192" y="374"/>
                  </a:lnTo>
                  <a:lnTo>
                    <a:pt x="192" y="371"/>
                  </a:lnTo>
                  <a:lnTo>
                    <a:pt x="192" y="254"/>
                  </a:lnTo>
                  <a:lnTo>
                    <a:pt x="106" y="230"/>
                  </a:lnTo>
                  <a:lnTo>
                    <a:pt x="106" y="363"/>
                  </a:lnTo>
                  <a:lnTo>
                    <a:pt x="106" y="363"/>
                  </a:lnTo>
                  <a:lnTo>
                    <a:pt x="112" y="366"/>
                  </a:lnTo>
                  <a:lnTo>
                    <a:pt x="118" y="369"/>
                  </a:lnTo>
                  <a:lnTo>
                    <a:pt x="122" y="374"/>
                  </a:lnTo>
                  <a:lnTo>
                    <a:pt x="127" y="380"/>
                  </a:lnTo>
                  <a:lnTo>
                    <a:pt x="130" y="384"/>
                  </a:lnTo>
                  <a:lnTo>
                    <a:pt x="134" y="391"/>
                  </a:lnTo>
                  <a:lnTo>
                    <a:pt x="135" y="397"/>
                  </a:lnTo>
                  <a:lnTo>
                    <a:pt x="135" y="404"/>
                  </a:lnTo>
                  <a:lnTo>
                    <a:pt x="135" y="404"/>
                  </a:lnTo>
                  <a:lnTo>
                    <a:pt x="135" y="411"/>
                  </a:lnTo>
                  <a:lnTo>
                    <a:pt x="134" y="417"/>
                  </a:lnTo>
                  <a:lnTo>
                    <a:pt x="131" y="421"/>
                  </a:lnTo>
                  <a:lnTo>
                    <a:pt x="129" y="427"/>
                  </a:lnTo>
                  <a:lnTo>
                    <a:pt x="126" y="432"/>
                  </a:lnTo>
                  <a:lnTo>
                    <a:pt x="121" y="436"/>
                  </a:lnTo>
                  <a:lnTo>
                    <a:pt x="116" y="440"/>
                  </a:lnTo>
                  <a:lnTo>
                    <a:pt x="111" y="443"/>
                  </a:lnTo>
                  <a:lnTo>
                    <a:pt x="121" y="494"/>
                  </a:lnTo>
                  <a:lnTo>
                    <a:pt x="121" y="494"/>
                  </a:lnTo>
                  <a:lnTo>
                    <a:pt x="121" y="499"/>
                  </a:lnTo>
                  <a:lnTo>
                    <a:pt x="119" y="504"/>
                  </a:lnTo>
                  <a:lnTo>
                    <a:pt x="115" y="508"/>
                  </a:lnTo>
                  <a:lnTo>
                    <a:pt x="111" y="513"/>
                  </a:lnTo>
                  <a:lnTo>
                    <a:pt x="98" y="521"/>
                  </a:lnTo>
                  <a:lnTo>
                    <a:pt x="82" y="528"/>
                  </a:lnTo>
                  <a:lnTo>
                    <a:pt x="67" y="533"/>
                  </a:lnTo>
                  <a:lnTo>
                    <a:pt x="54" y="535"/>
                  </a:lnTo>
                  <a:lnTo>
                    <a:pt x="48" y="534"/>
                  </a:lnTo>
                  <a:lnTo>
                    <a:pt x="45" y="533"/>
                  </a:lnTo>
                  <a:lnTo>
                    <a:pt x="42" y="530"/>
                  </a:lnTo>
                  <a:lnTo>
                    <a:pt x="42" y="527"/>
                  </a:lnTo>
                  <a:lnTo>
                    <a:pt x="58" y="440"/>
                  </a:lnTo>
                  <a:lnTo>
                    <a:pt x="58" y="440"/>
                  </a:lnTo>
                  <a:lnTo>
                    <a:pt x="50" y="433"/>
                  </a:lnTo>
                  <a:lnTo>
                    <a:pt x="43" y="425"/>
                  </a:lnTo>
                  <a:lnTo>
                    <a:pt x="40" y="414"/>
                  </a:lnTo>
                  <a:lnTo>
                    <a:pt x="39" y="410"/>
                  </a:lnTo>
                  <a:lnTo>
                    <a:pt x="39" y="404"/>
                  </a:lnTo>
                  <a:lnTo>
                    <a:pt x="39" y="404"/>
                  </a:lnTo>
                  <a:lnTo>
                    <a:pt x="39" y="397"/>
                  </a:lnTo>
                  <a:lnTo>
                    <a:pt x="41" y="391"/>
                  </a:lnTo>
                  <a:lnTo>
                    <a:pt x="43" y="384"/>
                  </a:lnTo>
                  <a:lnTo>
                    <a:pt x="47" y="380"/>
                  </a:lnTo>
                  <a:lnTo>
                    <a:pt x="51" y="374"/>
                  </a:lnTo>
                  <a:lnTo>
                    <a:pt x="56" y="369"/>
                  </a:lnTo>
                  <a:lnTo>
                    <a:pt x="62" y="366"/>
                  </a:lnTo>
                  <a:lnTo>
                    <a:pt x="69" y="363"/>
                  </a:lnTo>
                  <a:lnTo>
                    <a:pt x="69" y="218"/>
                  </a:lnTo>
                  <a:lnTo>
                    <a:pt x="12" y="202"/>
                  </a:lnTo>
                  <a:lnTo>
                    <a:pt x="12" y="202"/>
                  </a:lnTo>
                  <a:lnTo>
                    <a:pt x="7" y="200"/>
                  </a:lnTo>
                  <a:lnTo>
                    <a:pt x="4" y="198"/>
                  </a:lnTo>
                  <a:lnTo>
                    <a:pt x="2" y="193"/>
                  </a:lnTo>
                  <a:lnTo>
                    <a:pt x="0" y="187"/>
                  </a:lnTo>
                  <a:lnTo>
                    <a:pt x="0" y="187"/>
                  </a:lnTo>
                  <a:lnTo>
                    <a:pt x="2" y="182"/>
                  </a:lnTo>
                  <a:lnTo>
                    <a:pt x="4" y="178"/>
                  </a:lnTo>
                  <a:lnTo>
                    <a:pt x="7" y="174"/>
                  </a:lnTo>
                  <a:lnTo>
                    <a:pt x="11" y="172"/>
                  </a:lnTo>
                  <a:lnTo>
                    <a:pt x="11" y="172"/>
                  </a:lnTo>
                  <a:close/>
                </a:path>
              </a:pathLst>
            </a:custGeom>
            <a:solidFill>
              <a:srgbClr val="3C3C3E"/>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endParaRPr>
            </a:p>
          </p:txBody>
        </p:sp>
      </p:grpSp>
      <p:grpSp>
        <p:nvGrpSpPr>
          <p:cNvPr id="426" name="Group 425">
            <a:extLst>
              <a:ext uri="{FF2B5EF4-FFF2-40B4-BE49-F238E27FC236}">
                <a16:creationId xmlns:a16="http://schemas.microsoft.com/office/drawing/2014/main" id="{858FB397-A696-42AD-BA7E-5E5CFC33703E}"/>
              </a:ext>
            </a:extLst>
          </p:cNvPr>
          <p:cNvGrpSpPr/>
          <p:nvPr/>
        </p:nvGrpSpPr>
        <p:grpSpPr>
          <a:xfrm>
            <a:off x="8783417" y="3887682"/>
            <a:ext cx="612775" cy="612775"/>
            <a:chOff x="1321592" y="3807696"/>
            <a:chExt cx="612775" cy="612775"/>
          </a:xfrm>
          <a:solidFill>
            <a:srgbClr val="505050"/>
          </a:solidFill>
        </p:grpSpPr>
        <p:sp>
          <p:nvSpPr>
            <p:cNvPr id="427" name="Oval 426">
              <a:extLst>
                <a:ext uri="{FF2B5EF4-FFF2-40B4-BE49-F238E27FC236}">
                  <a16:creationId xmlns:a16="http://schemas.microsoft.com/office/drawing/2014/main" id="{D5817D2D-4842-49C1-BF7D-591824B3A8BC}"/>
                </a:ext>
              </a:extLst>
            </p:cNvPr>
            <p:cNvSpPr/>
            <p:nvPr/>
          </p:nvSpPr>
          <p:spPr bwMode="ltGray">
            <a:xfrm>
              <a:off x="1321592" y="3807696"/>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428" name="Group 427">
              <a:extLst>
                <a:ext uri="{FF2B5EF4-FFF2-40B4-BE49-F238E27FC236}">
                  <a16:creationId xmlns:a16="http://schemas.microsoft.com/office/drawing/2014/main" id="{C3FA1DFA-276C-4563-947D-9AEB4F9958E1}"/>
                </a:ext>
              </a:extLst>
            </p:cNvPr>
            <p:cNvGrpSpPr/>
            <p:nvPr/>
          </p:nvGrpSpPr>
          <p:grpSpPr>
            <a:xfrm>
              <a:off x="1439243" y="3915187"/>
              <a:ext cx="392112" cy="381001"/>
              <a:chOff x="9454562" y="3909811"/>
              <a:chExt cx="392112" cy="381001"/>
            </a:xfrm>
            <a:grpFill/>
          </p:grpSpPr>
          <p:sp>
            <p:nvSpPr>
              <p:cNvPr id="429" name="Freeform 435">
                <a:extLst>
                  <a:ext uri="{FF2B5EF4-FFF2-40B4-BE49-F238E27FC236}">
                    <a16:creationId xmlns:a16="http://schemas.microsoft.com/office/drawing/2014/main" id="{0964867C-B854-4BD3-BDBE-828D1044A46E}"/>
                  </a:ext>
                </a:extLst>
              </p:cNvPr>
              <p:cNvSpPr>
                <a:spLocks/>
              </p:cNvSpPr>
              <p:nvPr/>
            </p:nvSpPr>
            <p:spPr bwMode="auto">
              <a:xfrm>
                <a:off x="9557749" y="4105074"/>
                <a:ext cx="55562" cy="122238"/>
              </a:xfrm>
              <a:custGeom>
                <a:avLst/>
                <a:gdLst>
                  <a:gd name="T0" fmla="*/ 96 w 174"/>
                  <a:gd name="T1" fmla="*/ 384 h 384"/>
                  <a:gd name="T2" fmla="*/ 174 w 174"/>
                  <a:gd name="T3" fmla="*/ 384 h 384"/>
                  <a:gd name="T4" fmla="*/ 174 w 174"/>
                  <a:gd name="T5" fmla="*/ 0 h 384"/>
                  <a:gd name="T6" fmla="*/ 113 w 174"/>
                  <a:gd name="T7" fmla="*/ 0 h 384"/>
                  <a:gd name="T8" fmla="*/ 113 w 174"/>
                  <a:gd name="T9" fmla="*/ 0 h 384"/>
                  <a:gd name="T10" fmla="*/ 110 w 174"/>
                  <a:gd name="T11" fmla="*/ 11 h 384"/>
                  <a:gd name="T12" fmla="*/ 107 w 174"/>
                  <a:gd name="T13" fmla="*/ 21 h 384"/>
                  <a:gd name="T14" fmla="*/ 104 w 174"/>
                  <a:gd name="T15" fmla="*/ 30 h 384"/>
                  <a:gd name="T16" fmla="*/ 99 w 174"/>
                  <a:gd name="T17" fmla="*/ 37 h 384"/>
                  <a:gd name="T18" fmla="*/ 99 w 174"/>
                  <a:gd name="T19" fmla="*/ 37 h 384"/>
                  <a:gd name="T20" fmla="*/ 93 w 174"/>
                  <a:gd name="T21" fmla="*/ 44 h 384"/>
                  <a:gd name="T22" fmla="*/ 88 w 174"/>
                  <a:gd name="T23" fmla="*/ 50 h 384"/>
                  <a:gd name="T24" fmla="*/ 80 w 174"/>
                  <a:gd name="T25" fmla="*/ 56 h 384"/>
                  <a:gd name="T26" fmla="*/ 74 w 174"/>
                  <a:gd name="T27" fmla="*/ 61 h 384"/>
                  <a:gd name="T28" fmla="*/ 74 w 174"/>
                  <a:gd name="T29" fmla="*/ 61 h 384"/>
                  <a:gd name="T30" fmla="*/ 65 w 174"/>
                  <a:gd name="T31" fmla="*/ 66 h 384"/>
                  <a:gd name="T32" fmla="*/ 57 w 174"/>
                  <a:gd name="T33" fmla="*/ 69 h 384"/>
                  <a:gd name="T34" fmla="*/ 49 w 174"/>
                  <a:gd name="T35" fmla="*/ 72 h 384"/>
                  <a:gd name="T36" fmla="*/ 39 w 174"/>
                  <a:gd name="T37" fmla="*/ 74 h 384"/>
                  <a:gd name="T38" fmla="*/ 39 w 174"/>
                  <a:gd name="T39" fmla="*/ 74 h 384"/>
                  <a:gd name="T40" fmla="*/ 20 w 174"/>
                  <a:gd name="T41" fmla="*/ 76 h 384"/>
                  <a:gd name="T42" fmla="*/ 0 w 174"/>
                  <a:gd name="T43" fmla="*/ 76 h 384"/>
                  <a:gd name="T44" fmla="*/ 0 w 174"/>
                  <a:gd name="T45" fmla="*/ 136 h 384"/>
                  <a:gd name="T46" fmla="*/ 96 w 174"/>
                  <a:gd name="T47" fmla="*/ 136 h 384"/>
                  <a:gd name="T48" fmla="*/ 96 w 174"/>
                  <a:gd name="T49" fmla="*/ 384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384">
                    <a:moveTo>
                      <a:pt x="96" y="384"/>
                    </a:moveTo>
                    <a:lnTo>
                      <a:pt x="174" y="384"/>
                    </a:lnTo>
                    <a:lnTo>
                      <a:pt x="174" y="0"/>
                    </a:lnTo>
                    <a:lnTo>
                      <a:pt x="113" y="0"/>
                    </a:lnTo>
                    <a:lnTo>
                      <a:pt x="113" y="0"/>
                    </a:lnTo>
                    <a:lnTo>
                      <a:pt x="110" y="11"/>
                    </a:lnTo>
                    <a:lnTo>
                      <a:pt x="107" y="21"/>
                    </a:lnTo>
                    <a:lnTo>
                      <a:pt x="104" y="30"/>
                    </a:lnTo>
                    <a:lnTo>
                      <a:pt x="99" y="37"/>
                    </a:lnTo>
                    <a:lnTo>
                      <a:pt x="99" y="37"/>
                    </a:lnTo>
                    <a:lnTo>
                      <a:pt x="93" y="44"/>
                    </a:lnTo>
                    <a:lnTo>
                      <a:pt x="88" y="50"/>
                    </a:lnTo>
                    <a:lnTo>
                      <a:pt x="80" y="56"/>
                    </a:lnTo>
                    <a:lnTo>
                      <a:pt x="74" y="61"/>
                    </a:lnTo>
                    <a:lnTo>
                      <a:pt x="74" y="61"/>
                    </a:lnTo>
                    <a:lnTo>
                      <a:pt x="65" y="66"/>
                    </a:lnTo>
                    <a:lnTo>
                      <a:pt x="57" y="69"/>
                    </a:lnTo>
                    <a:lnTo>
                      <a:pt x="49" y="72"/>
                    </a:lnTo>
                    <a:lnTo>
                      <a:pt x="39" y="74"/>
                    </a:lnTo>
                    <a:lnTo>
                      <a:pt x="39" y="74"/>
                    </a:lnTo>
                    <a:lnTo>
                      <a:pt x="20" y="76"/>
                    </a:lnTo>
                    <a:lnTo>
                      <a:pt x="0" y="76"/>
                    </a:lnTo>
                    <a:lnTo>
                      <a:pt x="0" y="136"/>
                    </a:lnTo>
                    <a:lnTo>
                      <a:pt x="96" y="136"/>
                    </a:lnTo>
                    <a:lnTo>
                      <a:pt x="96" y="3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30" name="Freeform 436">
                <a:extLst>
                  <a:ext uri="{FF2B5EF4-FFF2-40B4-BE49-F238E27FC236}">
                    <a16:creationId xmlns:a16="http://schemas.microsoft.com/office/drawing/2014/main" id="{7096243E-4AF4-4DC8-9FE1-49A9A04D170C}"/>
                  </a:ext>
                </a:extLst>
              </p:cNvPr>
              <p:cNvSpPr>
                <a:spLocks/>
              </p:cNvSpPr>
              <p:nvPr/>
            </p:nvSpPr>
            <p:spPr bwMode="auto">
              <a:xfrm>
                <a:off x="9640299" y="4105074"/>
                <a:ext cx="90487" cy="123825"/>
              </a:xfrm>
              <a:custGeom>
                <a:avLst/>
                <a:gdLst>
                  <a:gd name="T0" fmla="*/ 184 w 285"/>
                  <a:gd name="T1" fmla="*/ 311 h 392"/>
                  <a:gd name="T2" fmla="*/ 168 w 285"/>
                  <a:gd name="T3" fmla="*/ 321 h 392"/>
                  <a:gd name="T4" fmla="*/ 155 w 285"/>
                  <a:gd name="T5" fmla="*/ 327 h 392"/>
                  <a:gd name="T6" fmla="*/ 141 w 285"/>
                  <a:gd name="T7" fmla="*/ 328 h 392"/>
                  <a:gd name="T8" fmla="*/ 106 w 285"/>
                  <a:gd name="T9" fmla="*/ 319 h 392"/>
                  <a:gd name="T10" fmla="*/ 90 w 285"/>
                  <a:gd name="T11" fmla="*/ 304 h 392"/>
                  <a:gd name="T12" fmla="*/ 78 w 285"/>
                  <a:gd name="T13" fmla="*/ 270 h 392"/>
                  <a:gd name="T14" fmla="*/ 0 w 285"/>
                  <a:gd name="T15" fmla="*/ 286 h 392"/>
                  <a:gd name="T16" fmla="*/ 12 w 285"/>
                  <a:gd name="T17" fmla="*/ 324 h 392"/>
                  <a:gd name="T18" fmla="*/ 26 w 285"/>
                  <a:gd name="T19" fmla="*/ 344 h 392"/>
                  <a:gd name="T20" fmla="*/ 44 w 285"/>
                  <a:gd name="T21" fmla="*/ 362 h 392"/>
                  <a:gd name="T22" fmla="*/ 76 w 285"/>
                  <a:gd name="T23" fmla="*/ 380 h 392"/>
                  <a:gd name="T24" fmla="*/ 102 w 285"/>
                  <a:gd name="T25" fmla="*/ 388 h 392"/>
                  <a:gd name="T26" fmla="*/ 142 w 285"/>
                  <a:gd name="T27" fmla="*/ 392 h 392"/>
                  <a:gd name="T28" fmla="*/ 170 w 285"/>
                  <a:gd name="T29" fmla="*/ 390 h 392"/>
                  <a:gd name="T30" fmla="*/ 197 w 285"/>
                  <a:gd name="T31" fmla="*/ 382 h 392"/>
                  <a:gd name="T32" fmla="*/ 232 w 285"/>
                  <a:gd name="T33" fmla="*/ 363 h 392"/>
                  <a:gd name="T34" fmla="*/ 252 w 285"/>
                  <a:gd name="T35" fmla="*/ 344 h 392"/>
                  <a:gd name="T36" fmla="*/ 273 w 285"/>
                  <a:gd name="T37" fmla="*/ 309 h 392"/>
                  <a:gd name="T38" fmla="*/ 282 w 285"/>
                  <a:gd name="T39" fmla="*/ 282 h 392"/>
                  <a:gd name="T40" fmla="*/ 285 w 285"/>
                  <a:gd name="T41" fmla="*/ 254 h 392"/>
                  <a:gd name="T42" fmla="*/ 281 w 285"/>
                  <a:gd name="T43" fmla="*/ 215 h 392"/>
                  <a:gd name="T44" fmla="*/ 272 w 285"/>
                  <a:gd name="T45" fmla="*/ 191 h 392"/>
                  <a:gd name="T46" fmla="*/ 254 w 285"/>
                  <a:gd name="T47" fmla="*/ 162 h 392"/>
                  <a:gd name="T48" fmla="*/ 238 w 285"/>
                  <a:gd name="T49" fmla="*/ 146 h 392"/>
                  <a:gd name="T50" fmla="*/ 217 w 285"/>
                  <a:gd name="T51" fmla="*/ 134 h 392"/>
                  <a:gd name="T52" fmla="*/ 180 w 285"/>
                  <a:gd name="T53" fmla="*/ 124 h 392"/>
                  <a:gd name="T54" fmla="*/ 155 w 285"/>
                  <a:gd name="T55" fmla="*/ 124 h 392"/>
                  <a:gd name="T56" fmla="*/ 125 w 285"/>
                  <a:gd name="T57" fmla="*/ 131 h 392"/>
                  <a:gd name="T58" fmla="*/ 107 w 285"/>
                  <a:gd name="T59" fmla="*/ 139 h 392"/>
                  <a:gd name="T60" fmla="*/ 90 w 285"/>
                  <a:gd name="T61" fmla="*/ 152 h 392"/>
                  <a:gd name="T62" fmla="*/ 265 w 285"/>
                  <a:gd name="T63" fmla="*/ 0 h 392"/>
                  <a:gd name="T64" fmla="*/ 83 w 285"/>
                  <a:gd name="T65" fmla="*/ 213 h 392"/>
                  <a:gd name="T66" fmla="*/ 94 w 285"/>
                  <a:gd name="T67" fmla="*/ 199 h 392"/>
                  <a:gd name="T68" fmla="*/ 106 w 285"/>
                  <a:gd name="T69" fmla="*/ 189 h 392"/>
                  <a:gd name="T70" fmla="*/ 131 w 285"/>
                  <a:gd name="T71" fmla="*/ 183 h 392"/>
                  <a:gd name="T72" fmla="*/ 149 w 285"/>
                  <a:gd name="T73" fmla="*/ 183 h 392"/>
                  <a:gd name="T74" fmla="*/ 169 w 285"/>
                  <a:gd name="T75" fmla="*/ 188 h 392"/>
                  <a:gd name="T76" fmla="*/ 180 w 285"/>
                  <a:gd name="T77" fmla="*/ 195 h 392"/>
                  <a:gd name="T78" fmla="*/ 190 w 285"/>
                  <a:gd name="T79" fmla="*/ 203 h 392"/>
                  <a:gd name="T80" fmla="*/ 203 w 285"/>
                  <a:gd name="T81" fmla="*/ 226 h 392"/>
                  <a:gd name="T82" fmla="*/ 207 w 285"/>
                  <a:gd name="T83" fmla="*/ 254 h 392"/>
                  <a:gd name="T84" fmla="*/ 205 w 285"/>
                  <a:gd name="T85" fmla="*/ 275 h 392"/>
                  <a:gd name="T86" fmla="*/ 196 w 285"/>
                  <a:gd name="T87" fmla="*/ 294 h 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5" h="392">
                    <a:moveTo>
                      <a:pt x="190" y="305"/>
                    </a:moveTo>
                    <a:lnTo>
                      <a:pt x="190" y="305"/>
                    </a:lnTo>
                    <a:lnTo>
                      <a:pt x="184" y="311"/>
                    </a:lnTo>
                    <a:lnTo>
                      <a:pt x="180" y="315"/>
                    </a:lnTo>
                    <a:lnTo>
                      <a:pt x="175" y="318"/>
                    </a:lnTo>
                    <a:lnTo>
                      <a:pt x="168" y="321"/>
                    </a:lnTo>
                    <a:lnTo>
                      <a:pt x="168" y="321"/>
                    </a:lnTo>
                    <a:lnTo>
                      <a:pt x="162" y="325"/>
                    </a:lnTo>
                    <a:lnTo>
                      <a:pt x="155" y="327"/>
                    </a:lnTo>
                    <a:lnTo>
                      <a:pt x="149" y="328"/>
                    </a:lnTo>
                    <a:lnTo>
                      <a:pt x="141" y="328"/>
                    </a:lnTo>
                    <a:lnTo>
                      <a:pt x="141" y="328"/>
                    </a:lnTo>
                    <a:lnTo>
                      <a:pt x="128" y="327"/>
                    </a:lnTo>
                    <a:lnTo>
                      <a:pt x="117" y="325"/>
                    </a:lnTo>
                    <a:lnTo>
                      <a:pt x="106" y="319"/>
                    </a:lnTo>
                    <a:lnTo>
                      <a:pt x="98" y="313"/>
                    </a:lnTo>
                    <a:lnTo>
                      <a:pt x="98" y="313"/>
                    </a:lnTo>
                    <a:lnTo>
                      <a:pt x="90" y="304"/>
                    </a:lnTo>
                    <a:lnTo>
                      <a:pt x="84" y="294"/>
                    </a:lnTo>
                    <a:lnTo>
                      <a:pt x="80" y="283"/>
                    </a:lnTo>
                    <a:lnTo>
                      <a:pt x="78" y="270"/>
                    </a:lnTo>
                    <a:lnTo>
                      <a:pt x="0" y="270"/>
                    </a:lnTo>
                    <a:lnTo>
                      <a:pt x="0" y="270"/>
                    </a:lnTo>
                    <a:lnTo>
                      <a:pt x="0" y="286"/>
                    </a:lnTo>
                    <a:lnTo>
                      <a:pt x="3" y="299"/>
                    </a:lnTo>
                    <a:lnTo>
                      <a:pt x="7" y="312"/>
                    </a:lnTo>
                    <a:lnTo>
                      <a:pt x="12" y="324"/>
                    </a:lnTo>
                    <a:lnTo>
                      <a:pt x="12" y="324"/>
                    </a:lnTo>
                    <a:lnTo>
                      <a:pt x="19" y="334"/>
                    </a:lnTo>
                    <a:lnTo>
                      <a:pt x="26" y="344"/>
                    </a:lnTo>
                    <a:lnTo>
                      <a:pt x="34" y="354"/>
                    </a:lnTo>
                    <a:lnTo>
                      <a:pt x="44" y="362"/>
                    </a:lnTo>
                    <a:lnTo>
                      <a:pt x="44" y="362"/>
                    </a:lnTo>
                    <a:lnTo>
                      <a:pt x="54" y="369"/>
                    </a:lnTo>
                    <a:lnTo>
                      <a:pt x="65" y="376"/>
                    </a:lnTo>
                    <a:lnTo>
                      <a:pt x="76" y="380"/>
                    </a:lnTo>
                    <a:lnTo>
                      <a:pt x="89" y="384"/>
                    </a:lnTo>
                    <a:lnTo>
                      <a:pt x="89" y="384"/>
                    </a:lnTo>
                    <a:lnTo>
                      <a:pt x="102" y="388"/>
                    </a:lnTo>
                    <a:lnTo>
                      <a:pt x="115" y="390"/>
                    </a:lnTo>
                    <a:lnTo>
                      <a:pt x="128" y="392"/>
                    </a:lnTo>
                    <a:lnTo>
                      <a:pt x="142" y="392"/>
                    </a:lnTo>
                    <a:lnTo>
                      <a:pt x="142" y="392"/>
                    </a:lnTo>
                    <a:lnTo>
                      <a:pt x="156" y="392"/>
                    </a:lnTo>
                    <a:lnTo>
                      <a:pt x="170" y="390"/>
                    </a:lnTo>
                    <a:lnTo>
                      <a:pt x="184" y="386"/>
                    </a:lnTo>
                    <a:lnTo>
                      <a:pt x="197" y="382"/>
                    </a:lnTo>
                    <a:lnTo>
                      <a:pt x="197" y="382"/>
                    </a:lnTo>
                    <a:lnTo>
                      <a:pt x="209" y="377"/>
                    </a:lnTo>
                    <a:lnTo>
                      <a:pt x="221" y="370"/>
                    </a:lnTo>
                    <a:lnTo>
                      <a:pt x="232" y="363"/>
                    </a:lnTo>
                    <a:lnTo>
                      <a:pt x="243" y="354"/>
                    </a:lnTo>
                    <a:lnTo>
                      <a:pt x="243" y="354"/>
                    </a:lnTo>
                    <a:lnTo>
                      <a:pt x="252" y="344"/>
                    </a:lnTo>
                    <a:lnTo>
                      <a:pt x="260" y="333"/>
                    </a:lnTo>
                    <a:lnTo>
                      <a:pt x="268" y="321"/>
                    </a:lnTo>
                    <a:lnTo>
                      <a:pt x="273" y="309"/>
                    </a:lnTo>
                    <a:lnTo>
                      <a:pt x="273" y="309"/>
                    </a:lnTo>
                    <a:lnTo>
                      <a:pt x="279" y="296"/>
                    </a:lnTo>
                    <a:lnTo>
                      <a:pt x="282" y="282"/>
                    </a:lnTo>
                    <a:lnTo>
                      <a:pt x="284" y="268"/>
                    </a:lnTo>
                    <a:lnTo>
                      <a:pt x="285" y="254"/>
                    </a:lnTo>
                    <a:lnTo>
                      <a:pt x="285" y="254"/>
                    </a:lnTo>
                    <a:lnTo>
                      <a:pt x="284" y="241"/>
                    </a:lnTo>
                    <a:lnTo>
                      <a:pt x="283" y="228"/>
                    </a:lnTo>
                    <a:lnTo>
                      <a:pt x="281" y="215"/>
                    </a:lnTo>
                    <a:lnTo>
                      <a:pt x="278" y="203"/>
                    </a:lnTo>
                    <a:lnTo>
                      <a:pt x="278" y="203"/>
                    </a:lnTo>
                    <a:lnTo>
                      <a:pt x="272" y="191"/>
                    </a:lnTo>
                    <a:lnTo>
                      <a:pt x="268" y="182"/>
                    </a:lnTo>
                    <a:lnTo>
                      <a:pt x="261" y="171"/>
                    </a:lnTo>
                    <a:lnTo>
                      <a:pt x="254" y="162"/>
                    </a:lnTo>
                    <a:lnTo>
                      <a:pt x="254" y="162"/>
                    </a:lnTo>
                    <a:lnTo>
                      <a:pt x="246" y="153"/>
                    </a:lnTo>
                    <a:lnTo>
                      <a:pt x="238" y="146"/>
                    </a:lnTo>
                    <a:lnTo>
                      <a:pt x="228" y="139"/>
                    </a:lnTo>
                    <a:lnTo>
                      <a:pt x="217" y="134"/>
                    </a:lnTo>
                    <a:lnTo>
                      <a:pt x="217" y="134"/>
                    </a:lnTo>
                    <a:lnTo>
                      <a:pt x="206" y="130"/>
                    </a:lnTo>
                    <a:lnTo>
                      <a:pt x="193" y="126"/>
                    </a:lnTo>
                    <a:lnTo>
                      <a:pt x="180" y="124"/>
                    </a:lnTo>
                    <a:lnTo>
                      <a:pt x="167" y="123"/>
                    </a:lnTo>
                    <a:lnTo>
                      <a:pt x="167" y="123"/>
                    </a:lnTo>
                    <a:lnTo>
                      <a:pt x="155" y="124"/>
                    </a:lnTo>
                    <a:lnTo>
                      <a:pt x="144" y="125"/>
                    </a:lnTo>
                    <a:lnTo>
                      <a:pt x="135" y="127"/>
                    </a:lnTo>
                    <a:lnTo>
                      <a:pt x="125" y="131"/>
                    </a:lnTo>
                    <a:lnTo>
                      <a:pt x="125" y="131"/>
                    </a:lnTo>
                    <a:lnTo>
                      <a:pt x="116" y="134"/>
                    </a:lnTo>
                    <a:lnTo>
                      <a:pt x="107" y="139"/>
                    </a:lnTo>
                    <a:lnTo>
                      <a:pt x="100" y="146"/>
                    </a:lnTo>
                    <a:lnTo>
                      <a:pt x="91" y="153"/>
                    </a:lnTo>
                    <a:lnTo>
                      <a:pt x="90" y="152"/>
                    </a:lnTo>
                    <a:lnTo>
                      <a:pt x="105" y="64"/>
                    </a:lnTo>
                    <a:lnTo>
                      <a:pt x="265" y="64"/>
                    </a:lnTo>
                    <a:lnTo>
                      <a:pt x="265" y="0"/>
                    </a:lnTo>
                    <a:lnTo>
                      <a:pt x="50" y="0"/>
                    </a:lnTo>
                    <a:lnTo>
                      <a:pt x="12" y="213"/>
                    </a:lnTo>
                    <a:lnTo>
                      <a:pt x="83" y="213"/>
                    </a:lnTo>
                    <a:lnTo>
                      <a:pt x="83" y="213"/>
                    </a:lnTo>
                    <a:lnTo>
                      <a:pt x="88" y="205"/>
                    </a:lnTo>
                    <a:lnTo>
                      <a:pt x="94" y="199"/>
                    </a:lnTo>
                    <a:lnTo>
                      <a:pt x="100" y="193"/>
                    </a:lnTo>
                    <a:lnTo>
                      <a:pt x="106" y="189"/>
                    </a:lnTo>
                    <a:lnTo>
                      <a:pt x="106" y="189"/>
                    </a:lnTo>
                    <a:lnTo>
                      <a:pt x="114" y="186"/>
                    </a:lnTo>
                    <a:lnTo>
                      <a:pt x="122" y="184"/>
                    </a:lnTo>
                    <a:lnTo>
                      <a:pt x="131" y="183"/>
                    </a:lnTo>
                    <a:lnTo>
                      <a:pt x="141" y="182"/>
                    </a:lnTo>
                    <a:lnTo>
                      <a:pt x="141" y="182"/>
                    </a:lnTo>
                    <a:lnTo>
                      <a:pt x="149" y="183"/>
                    </a:lnTo>
                    <a:lnTo>
                      <a:pt x="156" y="184"/>
                    </a:lnTo>
                    <a:lnTo>
                      <a:pt x="163" y="185"/>
                    </a:lnTo>
                    <a:lnTo>
                      <a:pt x="169" y="188"/>
                    </a:lnTo>
                    <a:lnTo>
                      <a:pt x="169" y="188"/>
                    </a:lnTo>
                    <a:lnTo>
                      <a:pt x="175" y="190"/>
                    </a:lnTo>
                    <a:lnTo>
                      <a:pt x="180" y="195"/>
                    </a:lnTo>
                    <a:lnTo>
                      <a:pt x="186" y="199"/>
                    </a:lnTo>
                    <a:lnTo>
                      <a:pt x="190" y="203"/>
                    </a:lnTo>
                    <a:lnTo>
                      <a:pt x="190" y="203"/>
                    </a:lnTo>
                    <a:lnTo>
                      <a:pt x="197" y="214"/>
                    </a:lnTo>
                    <a:lnTo>
                      <a:pt x="201" y="220"/>
                    </a:lnTo>
                    <a:lnTo>
                      <a:pt x="203" y="226"/>
                    </a:lnTo>
                    <a:lnTo>
                      <a:pt x="203" y="226"/>
                    </a:lnTo>
                    <a:lnTo>
                      <a:pt x="206" y="240"/>
                    </a:lnTo>
                    <a:lnTo>
                      <a:pt x="207" y="254"/>
                    </a:lnTo>
                    <a:lnTo>
                      <a:pt x="207" y="254"/>
                    </a:lnTo>
                    <a:lnTo>
                      <a:pt x="206" y="268"/>
                    </a:lnTo>
                    <a:lnTo>
                      <a:pt x="205" y="275"/>
                    </a:lnTo>
                    <a:lnTo>
                      <a:pt x="203" y="281"/>
                    </a:lnTo>
                    <a:lnTo>
                      <a:pt x="203" y="281"/>
                    </a:lnTo>
                    <a:lnTo>
                      <a:pt x="196" y="294"/>
                    </a:lnTo>
                    <a:lnTo>
                      <a:pt x="190" y="305"/>
                    </a:lnTo>
                    <a:lnTo>
                      <a:pt x="190"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31" name="Freeform 437">
                <a:extLst>
                  <a:ext uri="{FF2B5EF4-FFF2-40B4-BE49-F238E27FC236}">
                    <a16:creationId xmlns:a16="http://schemas.microsoft.com/office/drawing/2014/main" id="{33CAF0A6-7E32-40FC-BD57-F308FE1D6CC2}"/>
                  </a:ext>
                </a:extLst>
              </p:cNvPr>
              <p:cNvSpPr>
                <a:spLocks/>
              </p:cNvSpPr>
              <p:nvPr/>
            </p:nvSpPr>
            <p:spPr bwMode="auto">
              <a:xfrm>
                <a:off x="9527587" y="3909811"/>
                <a:ext cx="44450" cy="79375"/>
              </a:xfrm>
              <a:custGeom>
                <a:avLst/>
                <a:gdLst>
                  <a:gd name="T0" fmla="*/ 24 w 140"/>
                  <a:gd name="T1" fmla="*/ 249 h 249"/>
                  <a:gd name="T2" fmla="*/ 115 w 140"/>
                  <a:gd name="T3" fmla="*/ 249 h 249"/>
                  <a:gd name="T4" fmla="*/ 115 w 140"/>
                  <a:gd name="T5" fmla="*/ 249 h 249"/>
                  <a:gd name="T6" fmla="*/ 121 w 140"/>
                  <a:gd name="T7" fmla="*/ 249 h 249"/>
                  <a:gd name="T8" fmla="*/ 125 w 140"/>
                  <a:gd name="T9" fmla="*/ 247 h 249"/>
                  <a:gd name="T10" fmla="*/ 129 w 140"/>
                  <a:gd name="T11" fmla="*/ 245 h 249"/>
                  <a:gd name="T12" fmla="*/ 133 w 140"/>
                  <a:gd name="T13" fmla="*/ 242 h 249"/>
                  <a:gd name="T14" fmla="*/ 136 w 140"/>
                  <a:gd name="T15" fmla="*/ 238 h 249"/>
                  <a:gd name="T16" fmla="*/ 138 w 140"/>
                  <a:gd name="T17" fmla="*/ 234 h 249"/>
                  <a:gd name="T18" fmla="*/ 140 w 140"/>
                  <a:gd name="T19" fmla="*/ 230 h 249"/>
                  <a:gd name="T20" fmla="*/ 140 w 140"/>
                  <a:gd name="T21" fmla="*/ 224 h 249"/>
                  <a:gd name="T22" fmla="*/ 140 w 140"/>
                  <a:gd name="T23" fmla="*/ 25 h 249"/>
                  <a:gd name="T24" fmla="*/ 140 w 140"/>
                  <a:gd name="T25" fmla="*/ 25 h 249"/>
                  <a:gd name="T26" fmla="*/ 140 w 140"/>
                  <a:gd name="T27" fmla="*/ 19 h 249"/>
                  <a:gd name="T28" fmla="*/ 138 w 140"/>
                  <a:gd name="T29" fmla="*/ 15 h 249"/>
                  <a:gd name="T30" fmla="*/ 136 w 140"/>
                  <a:gd name="T31" fmla="*/ 11 h 249"/>
                  <a:gd name="T32" fmla="*/ 133 w 140"/>
                  <a:gd name="T33" fmla="*/ 7 h 249"/>
                  <a:gd name="T34" fmla="*/ 129 w 140"/>
                  <a:gd name="T35" fmla="*/ 4 h 249"/>
                  <a:gd name="T36" fmla="*/ 125 w 140"/>
                  <a:gd name="T37" fmla="*/ 2 h 249"/>
                  <a:gd name="T38" fmla="*/ 121 w 140"/>
                  <a:gd name="T39" fmla="*/ 0 h 249"/>
                  <a:gd name="T40" fmla="*/ 115 w 140"/>
                  <a:gd name="T41" fmla="*/ 0 h 249"/>
                  <a:gd name="T42" fmla="*/ 24 w 140"/>
                  <a:gd name="T43" fmla="*/ 0 h 249"/>
                  <a:gd name="T44" fmla="*/ 24 w 140"/>
                  <a:gd name="T45" fmla="*/ 0 h 249"/>
                  <a:gd name="T46" fmla="*/ 20 w 140"/>
                  <a:gd name="T47" fmla="*/ 0 h 249"/>
                  <a:gd name="T48" fmla="*/ 16 w 140"/>
                  <a:gd name="T49" fmla="*/ 2 h 249"/>
                  <a:gd name="T50" fmla="*/ 11 w 140"/>
                  <a:gd name="T51" fmla="*/ 4 h 249"/>
                  <a:gd name="T52" fmla="*/ 7 w 140"/>
                  <a:gd name="T53" fmla="*/ 7 h 249"/>
                  <a:gd name="T54" fmla="*/ 4 w 140"/>
                  <a:gd name="T55" fmla="*/ 11 h 249"/>
                  <a:gd name="T56" fmla="*/ 1 w 140"/>
                  <a:gd name="T57" fmla="*/ 15 h 249"/>
                  <a:gd name="T58" fmla="*/ 0 w 140"/>
                  <a:gd name="T59" fmla="*/ 19 h 249"/>
                  <a:gd name="T60" fmla="*/ 0 w 140"/>
                  <a:gd name="T61" fmla="*/ 25 h 249"/>
                  <a:gd name="T62" fmla="*/ 0 w 140"/>
                  <a:gd name="T63" fmla="*/ 224 h 249"/>
                  <a:gd name="T64" fmla="*/ 0 w 140"/>
                  <a:gd name="T65" fmla="*/ 224 h 249"/>
                  <a:gd name="T66" fmla="*/ 0 w 140"/>
                  <a:gd name="T67" fmla="*/ 230 h 249"/>
                  <a:gd name="T68" fmla="*/ 1 w 140"/>
                  <a:gd name="T69" fmla="*/ 234 h 249"/>
                  <a:gd name="T70" fmla="*/ 4 w 140"/>
                  <a:gd name="T71" fmla="*/ 238 h 249"/>
                  <a:gd name="T72" fmla="*/ 7 w 140"/>
                  <a:gd name="T73" fmla="*/ 242 h 249"/>
                  <a:gd name="T74" fmla="*/ 11 w 140"/>
                  <a:gd name="T75" fmla="*/ 245 h 249"/>
                  <a:gd name="T76" fmla="*/ 16 w 140"/>
                  <a:gd name="T77" fmla="*/ 247 h 249"/>
                  <a:gd name="T78" fmla="*/ 20 w 140"/>
                  <a:gd name="T79" fmla="*/ 249 h 249"/>
                  <a:gd name="T80" fmla="*/ 24 w 140"/>
                  <a:gd name="T81" fmla="*/ 249 h 249"/>
                  <a:gd name="T82" fmla="*/ 24 w 140"/>
                  <a:gd name="T83"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0" h="249">
                    <a:moveTo>
                      <a:pt x="24" y="249"/>
                    </a:moveTo>
                    <a:lnTo>
                      <a:pt x="115" y="249"/>
                    </a:lnTo>
                    <a:lnTo>
                      <a:pt x="115" y="249"/>
                    </a:lnTo>
                    <a:lnTo>
                      <a:pt x="121" y="249"/>
                    </a:lnTo>
                    <a:lnTo>
                      <a:pt x="125" y="247"/>
                    </a:lnTo>
                    <a:lnTo>
                      <a:pt x="129" y="245"/>
                    </a:lnTo>
                    <a:lnTo>
                      <a:pt x="133" y="242"/>
                    </a:lnTo>
                    <a:lnTo>
                      <a:pt x="136" y="238"/>
                    </a:lnTo>
                    <a:lnTo>
                      <a:pt x="138" y="234"/>
                    </a:lnTo>
                    <a:lnTo>
                      <a:pt x="140" y="230"/>
                    </a:lnTo>
                    <a:lnTo>
                      <a:pt x="140" y="224"/>
                    </a:lnTo>
                    <a:lnTo>
                      <a:pt x="140" y="25"/>
                    </a:lnTo>
                    <a:lnTo>
                      <a:pt x="140" y="25"/>
                    </a:lnTo>
                    <a:lnTo>
                      <a:pt x="140" y="19"/>
                    </a:lnTo>
                    <a:lnTo>
                      <a:pt x="138" y="15"/>
                    </a:lnTo>
                    <a:lnTo>
                      <a:pt x="136" y="11"/>
                    </a:lnTo>
                    <a:lnTo>
                      <a:pt x="133" y="7"/>
                    </a:lnTo>
                    <a:lnTo>
                      <a:pt x="129" y="4"/>
                    </a:lnTo>
                    <a:lnTo>
                      <a:pt x="125" y="2"/>
                    </a:lnTo>
                    <a:lnTo>
                      <a:pt x="121" y="0"/>
                    </a:lnTo>
                    <a:lnTo>
                      <a:pt x="115" y="0"/>
                    </a:lnTo>
                    <a:lnTo>
                      <a:pt x="24" y="0"/>
                    </a:lnTo>
                    <a:lnTo>
                      <a:pt x="24" y="0"/>
                    </a:lnTo>
                    <a:lnTo>
                      <a:pt x="20" y="0"/>
                    </a:lnTo>
                    <a:lnTo>
                      <a:pt x="16" y="2"/>
                    </a:lnTo>
                    <a:lnTo>
                      <a:pt x="11" y="4"/>
                    </a:lnTo>
                    <a:lnTo>
                      <a:pt x="7" y="7"/>
                    </a:lnTo>
                    <a:lnTo>
                      <a:pt x="4" y="11"/>
                    </a:lnTo>
                    <a:lnTo>
                      <a:pt x="1" y="15"/>
                    </a:lnTo>
                    <a:lnTo>
                      <a:pt x="0" y="19"/>
                    </a:lnTo>
                    <a:lnTo>
                      <a:pt x="0" y="25"/>
                    </a:lnTo>
                    <a:lnTo>
                      <a:pt x="0" y="224"/>
                    </a:lnTo>
                    <a:lnTo>
                      <a:pt x="0" y="224"/>
                    </a:lnTo>
                    <a:lnTo>
                      <a:pt x="0" y="230"/>
                    </a:lnTo>
                    <a:lnTo>
                      <a:pt x="1" y="234"/>
                    </a:lnTo>
                    <a:lnTo>
                      <a:pt x="4" y="238"/>
                    </a:lnTo>
                    <a:lnTo>
                      <a:pt x="7" y="242"/>
                    </a:lnTo>
                    <a:lnTo>
                      <a:pt x="11" y="245"/>
                    </a:lnTo>
                    <a:lnTo>
                      <a:pt x="16" y="247"/>
                    </a:lnTo>
                    <a:lnTo>
                      <a:pt x="20" y="249"/>
                    </a:lnTo>
                    <a:lnTo>
                      <a:pt x="24" y="249"/>
                    </a:lnTo>
                    <a:lnTo>
                      <a:pt x="24"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32" name="Freeform 438">
                <a:extLst>
                  <a:ext uri="{FF2B5EF4-FFF2-40B4-BE49-F238E27FC236}">
                    <a16:creationId xmlns:a16="http://schemas.microsoft.com/office/drawing/2014/main" id="{AB8AC5FC-E2E9-4D47-B3F8-1DFB3E18A022}"/>
                  </a:ext>
                </a:extLst>
              </p:cNvPr>
              <p:cNvSpPr>
                <a:spLocks/>
              </p:cNvSpPr>
              <p:nvPr/>
            </p:nvSpPr>
            <p:spPr bwMode="auto">
              <a:xfrm>
                <a:off x="9730787" y="3909811"/>
                <a:ext cx="44450" cy="79375"/>
              </a:xfrm>
              <a:custGeom>
                <a:avLst/>
                <a:gdLst>
                  <a:gd name="T0" fmla="*/ 25 w 141"/>
                  <a:gd name="T1" fmla="*/ 249 h 249"/>
                  <a:gd name="T2" fmla="*/ 116 w 141"/>
                  <a:gd name="T3" fmla="*/ 249 h 249"/>
                  <a:gd name="T4" fmla="*/ 116 w 141"/>
                  <a:gd name="T5" fmla="*/ 249 h 249"/>
                  <a:gd name="T6" fmla="*/ 121 w 141"/>
                  <a:gd name="T7" fmla="*/ 249 h 249"/>
                  <a:gd name="T8" fmla="*/ 126 w 141"/>
                  <a:gd name="T9" fmla="*/ 247 h 249"/>
                  <a:gd name="T10" fmla="*/ 130 w 141"/>
                  <a:gd name="T11" fmla="*/ 245 h 249"/>
                  <a:gd name="T12" fmla="*/ 133 w 141"/>
                  <a:gd name="T13" fmla="*/ 242 h 249"/>
                  <a:gd name="T14" fmla="*/ 137 w 141"/>
                  <a:gd name="T15" fmla="*/ 238 h 249"/>
                  <a:gd name="T16" fmla="*/ 139 w 141"/>
                  <a:gd name="T17" fmla="*/ 234 h 249"/>
                  <a:gd name="T18" fmla="*/ 140 w 141"/>
                  <a:gd name="T19" fmla="*/ 230 h 249"/>
                  <a:gd name="T20" fmla="*/ 141 w 141"/>
                  <a:gd name="T21" fmla="*/ 224 h 249"/>
                  <a:gd name="T22" fmla="*/ 141 w 141"/>
                  <a:gd name="T23" fmla="*/ 25 h 249"/>
                  <a:gd name="T24" fmla="*/ 141 w 141"/>
                  <a:gd name="T25" fmla="*/ 25 h 249"/>
                  <a:gd name="T26" fmla="*/ 140 w 141"/>
                  <a:gd name="T27" fmla="*/ 19 h 249"/>
                  <a:gd name="T28" fmla="*/ 139 w 141"/>
                  <a:gd name="T29" fmla="*/ 15 h 249"/>
                  <a:gd name="T30" fmla="*/ 137 w 141"/>
                  <a:gd name="T31" fmla="*/ 11 h 249"/>
                  <a:gd name="T32" fmla="*/ 133 w 141"/>
                  <a:gd name="T33" fmla="*/ 7 h 249"/>
                  <a:gd name="T34" fmla="*/ 130 w 141"/>
                  <a:gd name="T35" fmla="*/ 4 h 249"/>
                  <a:gd name="T36" fmla="*/ 126 w 141"/>
                  <a:gd name="T37" fmla="*/ 2 h 249"/>
                  <a:gd name="T38" fmla="*/ 121 w 141"/>
                  <a:gd name="T39" fmla="*/ 0 h 249"/>
                  <a:gd name="T40" fmla="*/ 116 w 141"/>
                  <a:gd name="T41" fmla="*/ 0 h 249"/>
                  <a:gd name="T42" fmla="*/ 25 w 141"/>
                  <a:gd name="T43" fmla="*/ 0 h 249"/>
                  <a:gd name="T44" fmla="*/ 25 w 141"/>
                  <a:gd name="T45" fmla="*/ 0 h 249"/>
                  <a:gd name="T46" fmla="*/ 21 w 141"/>
                  <a:gd name="T47" fmla="*/ 0 h 249"/>
                  <a:gd name="T48" fmla="*/ 15 w 141"/>
                  <a:gd name="T49" fmla="*/ 2 h 249"/>
                  <a:gd name="T50" fmla="*/ 11 w 141"/>
                  <a:gd name="T51" fmla="*/ 4 h 249"/>
                  <a:gd name="T52" fmla="*/ 8 w 141"/>
                  <a:gd name="T53" fmla="*/ 7 h 249"/>
                  <a:gd name="T54" fmla="*/ 4 w 141"/>
                  <a:gd name="T55" fmla="*/ 11 h 249"/>
                  <a:gd name="T56" fmla="*/ 2 w 141"/>
                  <a:gd name="T57" fmla="*/ 15 h 249"/>
                  <a:gd name="T58" fmla="*/ 1 w 141"/>
                  <a:gd name="T59" fmla="*/ 19 h 249"/>
                  <a:gd name="T60" fmla="*/ 0 w 141"/>
                  <a:gd name="T61" fmla="*/ 25 h 249"/>
                  <a:gd name="T62" fmla="*/ 0 w 141"/>
                  <a:gd name="T63" fmla="*/ 224 h 249"/>
                  <a:gd name="T64" fmla="*/ 0 w 141"/>
                  <a:gd name="T65" fmla="*/ 224 h 249"/>
                  <a:gd name="T66" fmla="*/ 1 w 141"/>
                  <a:gd name="T67" fmla="*/ 230 h 249"/>
                  <a:gd name="T68" fmla="*/ 2 w 141"/>
                  <a:gd name="T69" fmla="*/ 234 h 249"/>
                  <a:gd name="T70" fmla="*/ 4 w 141"/>
                  <a:gd name="T71" fmla="*/ 238 h 249"/>
                  <a:gd name="T72" fmla="*/ 8 w 141"/>
                  <a:gd name="T73" fmla="*/ 242 h 249"/>
                  <a:gd name="T74" fmla="*/ 11 w 141"/>
                  <a:gd name="T75" fmla="*/ 245 h 249"/>
                  <a:gd name="T76" fmla="*/ 15 w 141"/>
                  <a:gd name="T77" fmla="*/ 247 h 249"/>
                  <a:gd name="T78" fmla="*/ 21 w 141"/>
                  <a:gd name="T79" fmla="*/ 249 h 249"/>
                  <a:gd name="T80" fmla="*/ 25 w 141"/>
                  <a:gd name="T81" fmla="*/ 249 h 249"/>
                  <a:gd name="T82" fmla="*/ 25 w 141"/>
                  <a:gd name="T83" fmla="*/ 24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249">
                    <a:moveTo>
                      <a:pt x="25" y="249"/>
                    </a:moveTo>
                    <a:lnTo>
                      <a:pt x="116" y="249"/>
                    </a:lnTo>
                    <a:lnTo>
                      <a:pt x="116" y="249"/>
                    </a:lnTo>
                    <a:lnTo>
                      <a:pt x="121" y="249"/>
                    </a:lnTo>
                    <a:lnTo>
                      <a:pt x="126" y="247"/>
                    </a:lnTo>
                    <a:lnTo>
                      <a:pt x="130" y="245"/>
                    </a:lnTo>
                    <a:lnTo>
                      <a:pt x="133" y="242"/>
                    </a:lnTo>
                    <a:lnTo>
                      <a:pt x="137" y="238"/>
                    </a:lnTo>
                    <a:lnTo>
                      <a:pt x="139" y="234"/>
                    </a:lnTo>
                    <a:lnTo>
                      <a:pt x="140" y="230"/>
                    </a:lnTo>
                    <a:lnTo>
                      <a:pt x="141" y="224"/>
                    </a:lnTo>
                    <a:lnTo>
                      <a:pt x="141" y="25"/>
                    </a:lnTo>
                    <a:lnTo>
                      <a:pt x="141" y="25"/>
                    </a:lnTo>
                    <a:lnTo>
                      <a:pt x="140" y="19"/>
                    </a:lnTo>
                    <a:lnTo>
                      <a:pt x="139" y="15"/>
                    </a:lnTo>
                    <a:lnTo>
                      <a:pt x="137" y="11"/>
                    </a:lnTo>
                    <a:lnTo>
                      <a:pt x="133" y="7"/>
                    </a:lnTo>
                    <a:lnTo>
                      <a:pt x="130" y="4"/>
                    </a:lnTo>
                    <a:lnTo>
                      <a:pt x="126" y="2"/>
                    </a:lnTo>
                    <a:lnTo>
                      <a:pt x="121" y="0"/>
                    </a:lnTo>
                    <a:lnTo>
                      <a:pt x="116" y="0"/>
                    </a:lnTo>
                    <a:lnTo>
                      <a:pt x="25" y="0"/>
                    </a:lnTo>
                    <a:lnTo>
                      <a:pt x="25" y="0"/>
                    </a:lnTo>
                    <a:lnTo>
                      <a:pt x="21" y="0"/>
                    </a:lnTo>
                    <a:lnTo>
                      <a:pt x="15" y="2"/>
                    </a:lnTo>
                    <a:lnTo>
                      <a:pt x="11" y="4"/>
                    </a:lnTo>
                    <a:lnTo>
                      <a:pt x="8" y="7"/>
                    </a:lnTo>
                    <a:lnTo>
                      <a:pt x="4" y="11"/>
                    </a:lnTo>
                    <a:lnTo>
                      <a:pt x="2" y="15"/>
                    </a:lnTo>
                    <a:lnTo>
                      <a:pt x="1" y="19"/>
                    </a:lnTo>
                    <a:lnTo>
                      <a:pt x="0" y="25"/>
                    </a:lnTo>
                    <a:lnTo>
                      <a:pt x="0" y="224"/>
                    </a:lnTo>
                    <a:lnTo>
                      <a:pt x="0" y="224"/>
                    </a:lnTo>
                    <a:lnTo>
                      <a:pt x="1" y="230"/>
                    </a:lnTo>
                    <a:lnTo>
                      <a:pt x="2" y="234"/>
                    </a:lnTo>
                    <a:lnTo>
                      <a:pt x="4" y="238"/>
                    </a:lnTo>
                    <a:lnTo>
                      <a:pt x="8" y="242"/>
                    </a:lnTo>
                    <a:lnTo>
                      <a:pt x="11" y="245"/>
                    </a:lnTo>
                    <a:lnTo>
                      <a:pt x="15" y="247"/>
                    </a:lnTo>
                    <a:lnTo>
                      <a:pt x="21" y="249"/>
                    </a:lnTo>
                    <a:lnTo>
                      <a:pt x="25" y="249"/>
                    </a:lnTo>
                    <a:lnTo>
                      <a:pt x="25" y="2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33" name="Freeform 439">
                <a:extLst>
                  <a:ext uri="{FF2B5EF4-FFF2-40B4-BE49-F238E27FC236}">
                    <a16:creationId xmlns:a16="http://schemas.microsoft.com/office/drawing/2014/main" id="{DFB67A06-6C3B-4638-9FF0-923E1C4384FB}"/>
                  </a:ext>
                </a:extLst>
              </p:cNvPr>
              <p:cNvSpPr>
                <a:spLocks noEditPoints="1"/>
              </p:cNvSpPr>
              <p:nvPr/>
            </p:nvSpPr>
            <p:spPr bwMode="auto">
              <a:xfrm>
                <a:off x="9454562" y="3939974"/>
                <a:ext cx="392112" cy="350838"/>
              </a:xfrm>
              <a:custGeom>
                <a:avLst/>
                <a:gdLst>
                  <a:gd name="T0" fmla="*/ 1058 w 1235"/>
                  <a:gd name="T1" fmla="*/ 129 h 1105"/>
                  <a:gd name="T2" fmla="*/ 1057 w 1235"/>
                  <a:gd name="T3" fmla="*/ 145 h 1105"/>
                  <a:gd name="T4" fmla="*/ 1049 w 1235"/>
                  <a:gd name="T5" fmla="*/ 165 h 1105"/>
                  <a:gd name="T6" fmla="*/ 1036 w 1235"/>
                  <a:gd name="T7" fmla="*/ 182 h 1105"/>
                  <a:gd name="T8" fmla="*/ 1019 w 1235"/>
                  <a:gd name="T9" fmla="*/ 195 h 1105"/>
                  <a:gd name="T10" fmla="*/ 998 w 1235"/>
                  <a:gd name="T11" fmla="*/ 203 h 1105"/>
                  <a:gd name="T12" fmla="*/ 892 w 1235"/>
                  <a:gd name="T13" fmla="*/ 205 h 1105"/>
                  <a:gd name="T14" fmla="*/ 877 w 1235"/>
                  <a:gd name="T15" fmla="*/ 203 h 1105"/>
                  <a:gd name="T16" fmla="*/ 856 w 1235"/>
                  <a:gd name="T17" fmla="*/ 195 h 1105"/>
                  <a:gd name="T18" fmla="*/ 839 w 1235"/>
                  <a:gd name="T19" fmla="*/ 182 h 1105"/>
                  <a:gd name="T20" fmla="*/ 826 w 1235"/>
                  <a:gd name="T21" fmla="*/ 165 h 1105"/>
                  <a:gd name="T22" fmla="*/ 818 w 1235"/>
                  <a:gd name="T23" fmla="*/ 145 h 1105"/>
                  <a:gd name="T24" fmla="*/ 817 w 1235"/>
                  <a:gd name="T25" fmla="*/ 0 h 1105"/>
                  <a:gd name="T26" fmla="*/ 418 w 1235"/>
                  <a:gd name="T27" fmla="*/ 129 h 1105"/>
                  <a:gd name="T28" fmla="*/ 414 w 1235"/>
                  <a:gd name="T29" fmla="*/ 152 h 1105"/>
                  <a:gd name="T30" fmla="*/ 405 w 1235"/>
                  <a:gd name="T31" fmla="*/ 172 h 1105"/>
                  <a:gd name="T32" fmla="*/ 390 w 1235"/>
                  <a:gd name="T33" fmla="*/ 188 h 1105"/>
                  <a:gd name="T34" fmla="*/ 372 w 1235"/>
                  <a:gd name="T35" fmla="*/ 199 h 1105"/>
                  <a:gd name="T36" fmla="*/ 350 w 1235"/>
                  <a:gd name="T37" fmla="*/ 204 h 1105"/>
                  <a:gd name="T38" fmla="*/ 251 w 1235"/>
                  <a:gd name="T39" fmla="*/ 205 h 1105"/>
                  <a:gd name="T40" fmla="*/ 230 w 1235"/>
                  <a:gd name="T41" fmla="*/ 201 h 1105"/>
                  <a:gd name="T42" fmla="*/ 210 w 1235"/>
                  <a:gd name="T43" fmla="*/ 192 h 1105"/>
                  <a:gd name="T44" fmla="*/ 194 w 1235"/>
                  <a:gd name="T45" fmla="*/ 177 h 1105"/>
                  <a:gd name="T46" fmla="*/ 183 w 1235"/>
                  <a:gd name="T47" fmla="*/ 159 h 1105"/>
                  <a:gd name="T48" fmla="*/ 176 w 1235"/>
                  <a:gd name="T49" fmla="*/ 137 h 1105"/>
                  <a:gd name="T50" fmla="*/ 144 w 1235"/>
                  <a:gd name="T51" fmla="*/ 0 h 1105"/>
                  <a:gd name="T52" fmla="*/ 116 w 1235"/>
                  <a:gd name="T53" fmla="*/ 4 h 1105"/>
                  <a:gd name="T54" fmla="*/ 76 w 1235"/>
                  <a:gd name="T55" fmla="*/ 18 h 1105"/>
                  <a:gd name="T56" fmla="*/ 42 w 1235"/>
                  <a:gd name="T57" fmla="*/ 43 h 1105"/>
                  <a:gd name="T58" fmla="*/ 17 w 1235"/>
                  <a:gd name="T59" fmla="*/ 76 h 1105"/>
                  <a:gd name="T60" fmla="*/ 3 w 1235"/>
                  <a:gd name="T61" fmla="*/ 116 h 1105"/>
                  <a:gd name="T62" fmla="*/ 0 w 1235"/>
                  <a:gd name="T63" fmla="*/ 413 h 1105"/>
                  <a:gd name="T64" fmla="*/ 1 w 1235"/>
                  <a:gd name="T65" fmla="*/ 975 h 1105"/>
                  <a:gd name="T66" fmla="*/ 12 w 1235"/>
                  <a:gd name="T67" fmla="*/ 1016 h 1105"/>
                  <a:gd name="T68" fmla="*/ 33 w 1235"/>
                  <a:gd name="T69" fmla="*/ 1052 h 1105"/>
                  <a:gd name="T70" fmla="*/ 64 w 1235"/>
                  <a:gd name="T71" fmla="*/ 1080 h 1105"/>
                  <a:gd name="T72" fmla="*/ 102 w 1235"/>
                  <a:gd name="T73" fmla="*/ 1099 h 1105"/>
                  <a:gd name="T74" fmla="*/ 144 w 1235"/>
                  <a:gd name="T75" fmla="*/ 1105 h 1105"/>
                  <a:gd name="T76" fmla="*/ 1104 w 1235"/>
                  <a:gd name="T77" fmla="*/ 1104 h 1105"/>
                  <a:gd name="T78" fmla="*/ 1147 w 1235"/>
                  <a:gd name="T79" fmla="*/ 1093 h 1105"/>
                  <a:gd name="T80" fmla="*/ 1183 w 1235"/>
                  <a:gd name="T81" fmla="*/ 1072 h 1105"/>
                  <a:gd name="T82" fmla="*/ 1210 w 1235"/>
                  <a:gd name="T83" fmla="*/ 1041 h 1105"/>
                  <a:gd name="T84" fmla="*/ 1228 w 1235"/>
                  <a:gd name="T85" fmla="*/ 1003 h 1105"/>
                  <a:gd name="T86" fmla="*/ 1235 w 1235"/>
                  <a:gd name="T87" fmla="*/ 960 h 1105"/>
                  <a:gd name="T88" fmla="*/ 1235 w 1235"/>
                  <a:gd name="T89" fmla="*/ 146 h 1105"/>
                  <a:gd name="T90" fmla="*/ 1228 w 1235"/>
                  <a:gd name="T91" fmla="*/ 102 h 1105"/>
                  <a:gd name="T92" fmla="*/ 1210 w 1235"/>
                  <a:gd name="T93" fmla="*/ 64 h 1105"/>
                  <a:gd name="T94" fmla="*/ 1183 w 1235"/>
                  <a:gd name="T95" fmla="*/ 34 h 1105"/>
                  <a:gd name="T96" fmla="*/ 1147 w 1235"/>
                  <a:gd name="T97" fmla="*/ 12 h 1105"/>
                  <a:gd name="T98" fmla="*/ 1104 w 1235"/>
                  <a:gd name="T99" fmla="*/ 1 h 1105"/>
                  <a:gd name="T100" fmla="*/ 1144 w 1235"/>
                  <a:gd name="T101" fmla="*/ 960 h 1105"/>
                  <a:gd name="T102" fmla="*/ 1139 w 1235"/>
                  <a:gd name="T103" fmla="*/ 980 h 1105"/>
                  <a:gd name="T104" fmla="*/ 1120 w 1235"/>
                  <a:gd name="T105" fmla="*/ 1004 h 1105"/>
                  <a:gd name="T106" fmla="*/ 1090 w 1235"/>
                  <a:gd name="T107" fmla="*/ 1013 h 1105"/>
                  <a:gd name="T108" fmla="*/ 134 w 1235"/>
                  <a:gd name="T109" fmla="*/ 1012 h 1105"/>
                  <a:gd name="T110" fmla="*/ 107 w 1235"/>
                  <a:gd name="T111" fmla="*/ 998 h 1105"/>
                  <a:gd name="T112" fmla="*/ 92 w 1235"/>
                  <a:gd name="T113" fmla="*/ 971 h 1105"/>
                  <a:gd name="T114" fmla="*/ 1144 w 1235"/>
                  <a:gd name="T115" fmla="*/ 413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35" h="1105">
                    <a:moveTo>
                      <a:pt x="1090" y="0"/>
                    </a:moveTo>
                    <a:lnTo>
                      <a:pt x="1058" y="0"/>
                    </a:lnTo>
                    <a:lnTo>
                      <a:pt x="1058" y="129"/>
                    </a:lnTo>
                    <a:lnTo>
                      <a:pt x="1058" y="129"/>
                    </a:lnTo>
                    <a:lnTo>
                      <a:pt x="1058" y="137"/>
                    </a:lnTo>
                    <a:lnTo>
                      <a:pt x="1057" y="145"/>
                    </a:lnTo>
                    <a:lnTo>
                      <a:pt x="1055" y="152"/>
                    </a:lnTo>
                    <a:lnTo>
                      <a:pt x="1052" y="159"/>
                    </a:lnTo>
                    <a:lnTo>
                      <a:pt x="1049" y="165"/>
                    </a:lnTo>
                    <a:lnTo>
                      <a:pt x="1045" y="172"/>
                    </a:lnTo>
                    <a:lnTo>
                      <a:pt x="1041" y="177"/>
                    </a:lnTo>
                    <a:lnTo>
                      <a:pt x="1036" y="182"/>
                    </a:lnTo>
                    <a:lnTo>
                      <a:pt x="1031" y="188"/>
                    </a:lnTo>
                    <a:lnTo>
                      <a:pt x="1025" y="192"/>
                    </a:lnTo>
                    <a:lnTo>
                      <a:pt x="1019" y="195"/>
                    </a:lnTo>
                    <a:lnTo>
                      <a:pt x="1012" y="199"/>
                    </a:lnTo>
                    <a:lnTo>
                      <a:pt x="1006" y="201"/>
                    </a:lnTo>
                    <a:lnTo>
                      <a:pt x="998" y="203"/>
                    </a:lnTo>
                    <a:lnTo>
                      <a:pt x="991" y="204"/>
                    </a:lnTo>
                    <a:lnTo>
                      <a:pt x="983" y="205"/>
                    </a:lnTo>
                    <a:lnTo>
                      <a:pt x="892" y="205"/>
                    </a:lnTo>
                    <a:lnTo>
                      <a:pt x="892" y="205"/>
                    </a:lnTo>
                    <a:lnTo>
                      <a:pt x="884" y="204"/>
                    </a:lnTo>
                    <a:lnTo>
                      <a:pt x="877" y="203"/>
                    </a:lnTo>
                    <a:lnTo>
                      <a:pt x="870" y="201"/>
                    </a:lnTo>
                    <a:lnTo>
                      <a:pt x="863" y="199"/>
                    </a:lnTo>
                    <a:lnTo>
                      <a:pt x="856" y="195"/>
                    </a:lnTo>
                    <a:lnTo>
                      <a:pt x="850" y="192"/>
                    </a:lnTo>
                    <a:lnTo>
                      <a:pt x="844" y="188"/>
                    </a:lnTo>
                    <a:lnTo>
                      <a:pt x="839" y="182"/>
                    </a:lnTo>
                    <a:lnTo>
                      <a:pt x="835" y="177"/>
                    </a:lnTo>
                    <a:lnTo>
                      <a:pt x="830" y="172"/>
                    </a:lnTo>
                    <a:lnTo>
                      <a:pt x="826" y="165"/>
                    </a:lnTo>
                    <a:lnTo>
                      <a:pt x="823" y="159"/>
                    </a:lnTo>
                    <a:lnTo>
                      <a:pt x="820" y="152"/>
                    </a:lnTo>
                    <a:lnTo>
                      <a:pt x="818" y="145"/>
                    </a:lnTo>
                    <a:lnTo>
                      <a:pt x="817" y="137"/>
                    </a:lnTo>
                    <a:lnTo>
                      <a:pt x="817" y="129"/>
                    </a:lnTo>
                    <a:lnTo>
                      <a:pt x="817" y="0"/>
                    </a:lnTo>
                    <a:lnTo>
                      <a:pt x="418" y="0"/>
                    </a:lnTo>
                    <a:lnTo>
                      <a:pt x="418" y="129"/>
                    </a:lnTo>
                    <a:lnTo>
                      <a:pt x="418" y="129"/>
                    </a:lnTo>
                    <a:lnTo>
                      <a:pt x="417" y="137"/>
                    </a:lnTo>
                    <a:lnTo>
                      <a:pt x="416" y="145"/>
                    </a:lnTo>
                    <a:lnTo>
                      <a:pt x="414" y="152"/>
                    </a:lnTo>
                    <a:lnTo>
                      <a:pt x="412" y="159"/>
                    </a:lnTo>
                    <a:lnTo>
                      <a:pt x="408" y="165"/>
                    </a:lnTo>
                    <a:lnTo>
                      <a:pt x="405" y="172"/>
                    </a:lnTo>
                    <a:lnTo>
                      <a:pt x="401" y="177"/>
                    </a:lnTo>
                    <a:lnTo>
                      <a:pt x="395" y="182"/>
                    </a:lnTo>
                    <a:lnTo>
                      <a:pt x="390" y="188"/>
                    </a:lnTo>
                    <a:lnTo>
                      <a:pt x="385" y="192"/>
                    </a:lnTo>
                    <a:lnTo>
                      <a:pt x="378" y="195"/>
                    </a:lnTo>
                    <a:lnTo>
                      <a:pt x="372" y="199"/>
                    </a:lnTo>
                    <a:lnTo>
                      <a:pt x="365" y="201"/>
                    </a:lnTo>
                    <a:lnTo>
                      <a:pt x="357" y="203"/>
                    </a:lnTo>
                    <a:lnTo>
                      <a:pt x="350" y="204"/>
                    </a:lnTo>
                    <a:lnTo>
                      <a:pt x="342" y="205"/>
                    </a:lnTo>
                    <a:lnTo>
                      <a:pt x="251" y="205"/>
                    </a:lnTo>
                    <a:lnTo>
                      <a:pt x="251" y="205"/>
                    </a:lnTo>
                    <a:lnTo>
                      <a:pt x="244" y="204"/>
                    </a:lnTo>
                    <a:lnTo>
                      <a:pt x="236" y="203"/>
                    </a:lnTo>
                    <a:lnTo>
                      <a:pt x="230" y="201"/>
                    </a:lnTo>
                    <a:lnTo>
                      <a:pt x="222" y="199"/>
                    </a:lnTo>
                    <a:lnTo>
                      <a:pt x="215" y="195"/>
                    </a:lnTo>
                    <a:lnTo>
                      <a:pt x="210" y="192"/>
                    </a:lnTo>
                    <a:lnTo>
                      <a:pt x="203" y="188"/>
                    </a:lnTo>
                    <a:lnTo>
                      <a:pt x="198" y="182"/>
                    </a:lnTo>
                    <a:lnTo>
                      <a:pt x="194" y="177"/>
                    </a:lnTo>
                    <a:lnTo>
                      <a:pt x="189" y="172"/>
                    </a:lnTo>
                    <a:lnTo>
                      <a:pt x="185" y="165"/>
                    </a:lnTo>
                    <a:lnTo>
                      <a:pt x="183" y="159"/>
                    </a:lnTo>
                    <a:lnTo>
                      <a:pt x="180" y="152"/>
                    </a:lnTo>
                    <a:lnTo>
                      <a:pt x="177" y="145"/>
                    </a:lnTo>
                    <a:lnTo>
                      <a:pt x="176" y="137"/>
                    </a:lnTo>
                    <a:lnTo>
                      <a:pt x="176" y="129"/>
                    </a:lnTo>
                    <a:lnTo>
                      <a:pt x="176" y="0"/>
                    </a:lnTo>
                    <a:lnTo>
                      <a:pt x="144" y="0"/>
                    </a:lnTo>
                    <a:lnTo>
                      <a:pt x="144" y="0"/>
                    </a:lnTo>
                    <a:lnTo>
                      <a:pt x="130" y="1"/>
                    </a:lnTo>
                    <a:lnTo>
                      <a:pt x="116" y="4"/>
                    </a:lnTo>
                    <a:lnTo>
                      <a:pt x="102" y="7"/>
                    </a:lnTo>
                    <a:lnTo>
                      <a:pt x="89" y="12"/>
                    </a:lnTo>
                    <a:lnTo>
                      <a:pt x="76" y="18"/>
                    </a:lnTo>
                    <a:lnTo>
                      <a:pt x="64" y="25"/>
                    </a:lnTo>
                    <a:lnTo>
                      <a:pt x="53" y="34"/>
                    </a:lnTo>
                    <a:lnTo>
                      <a:pt x="42" y="43"/>
                    </a:lnTo>
                    <a:lnTo>
                      <a:pt x="33" y="53"/>
                    </a:lnTo>
                    <a:lnTo>
                      <a:pt x="25" y="64"/>
                    </a:lnTo>
                    <a:lnTo>
                      <a:pt x="17" y="76"/>
                    </a:lnTo>
                    <a:lnTo>
                      <a:pt x="12" y="89"/>
                    </a:lnTo>
                    <a:lnTo>
                      <a:pt x="6" y="102"/>
                    </a:lnTo>
                    <a:lnTo>
                      <a:pt x="3" y="116"/>
                    </a:lnTo>
                    <a:lnTo>
                      <a:pt x="1" y="130"/>
                    </a:lnTo>
                    <a:lnTo>
                      <a:pt x="0" y="146"/>
                    </a:lnTo>
                    <a:lnTo>
                      <a:pt x="0" y="413"/>
                    </a:lnTo>
                    <a:lnTo>
                      <a:pt x="0" y="960"/>
                    </a:lnTo>
                    <a:lnTo>
                      <a:pt x="0" y="960"/>
                    </a:lnTo>
                    <a:lnTo>
                      <a:pt x="1" y="975"/>
                    </a:lnTo>
                    <a:lnTo>
                      <a:pt x="3" y="989"/>
                    </a:lnTo>
                    <a:lnTo>
                      <a:pt x="6" y="1003"/>
                    </a:lnTo>
                    <a:lnTo>
                      <a:pt x="12" y="1016"/>
                    </a:lnTo>
                    <a:lnTo>
                      <a:pt x="17" y="1029"/>
                    </a:lnTo>
                    <a:lnTo>
                      <a:pt x="25" y="1041"/>
                    </a:lnTo>
                    <a:lnTo>
                      <a:pt x="33" y="1052"/>
                    </a:lnTo>
                    <a:lnTo>
                      <a:pt x="42" y="1063"/>
                    </a:lnTo>
                    <a:lnTo>
                      <a:pt x="53" y="1072"/>
                    </a:lnTo>
                    <a:lnTo>
                      <a:pt x="64" y="1080"/>
                    </a:lnTo>
                    <a:lnTo>
                      <a:pt x="76" y="1088"/>
                    </a:lnTo>
                    <a:lnTo>
                      <a:pt x="89" y="1093"/>
                    </a:lnTo>
                    <a:lnTo>
                      <a:pt x="102" y="1099"/>
                    </a:lnTo>
                    <a:lnTo>
                      <a:pt x="116" y="1102"/>
                    </a:lnTo>
                    <a:lnTo>
                      <a:pt x="130" y="1104"/>
                    </a:lnTo>
                    <a:lnTo>
                      <a:pt x="144" y="1105"/>
                    </a:lnTo>
                    <a:lnTo>
                      <a:pt x="1090" y="1105"/>
                    </a:lnTo>
                    <a:lnTo>
                      <a:pt x="1090" y="1105"/>
                    </a:lnTo>
                    <a:lnTo>
                      <a:pt x="1104" y="1104"/>
                    </a:lnTo>
                    <a:lnTo>
                      <a:pt x="1120" y="1102"/>
                    </a:lnTo>
                    <a:lnTo>
                      <a:pt x="1134" y="1099"/>
                    </a:lnTo>
                    <a:lnTo>
                      <a:pt x="1147" y="1093"/>
                    </a:lnTo>
                    <a:lnTo>
                      <a:pt x="1159" y="1088"/>
                    </a:lnTo>
                    <a:lnTo>
                      <a:pt x="1171" y="1080"/>
                    </a:lnTo>
                    <a:lnTo>
                      <a:pt x="1183" y="1072"/>
                    </a:lnTo>
                    <a:lnTo>
                      <a:pt x="1192" y="1063"/>
                    </a:lnTo>
                    <a:lnTo>
                      <a:pt x="1202" y="1052"/>
                    </a:lnTo>
                    <a:lnTo>
                      <a:pt x="1210" y="1041"/>
                    </a:lnTo>
                    <a:lnTo>
                      <a:pt x="1217" y="1029"/>
                    </a:lnTo>
                    <a:lnTo>
                      <a:pt x="1224" y="1016"/>
                    </a:lnTo>
                    <a:lnTo>
                      <a:pt x="1228" y="1003"/>
                    </a:lnTo>
                    <a:lnTo>
                      <a:pt x="1232" y="989"/>
                    </a:lnTo>
                    <a:lnTo>
                      <a:pt x="1235" y="975"/>
                    </a:lnTo>
                    <a:lnTo>
                      <a:pt x="1235" y="960"/>
                    </a:lnTo>
                    <a:lnTo>
                      <a:pt x="1235" y="413"/>
                    </a:lnTo>
                    <a:lnTo>
                      <a:pt x="1235" y="146"/>
                    </a:lnTo>
                    <a:lnTo>
                      <a:pt x="1235" y="146"/>
                    </a:lnTo>
                    <a:lnTo>
                      <a:pt x="1235" y="130"/>
                    </a:lnTo>
                    <a:lnTo>
                      <a:pt x="1232" y="116"/>
                    </a:lnTo>
                    <a:lnTo>
                      <a:pt x="1228" y="102"/>
                    </a:lnTo>
                    <a:lnTo>
                      <a:pt x="1224" y="89"/>
                    </a:lnTo>
                    <a:lnTo>
                      <a:pt x="1217" y="76"/>
                    </a:lnTo>
                    <a:lnTo>
                      <a:pt x="1210" y="64"/>
                    </a:lnTo>
                    <a:lnTo>
                      <a:pt x="1202" y="53"/>
                    </a:lnTo>
                    <a:lnTo>
                      <a:pt x="1192" y="43"/>
                    </a:lnTo>
                    <a:lnTo>
                      <a:pt x="1183" y="34"/>
                    </a:lnTo>
                    <a:lnTo>
                      <a:pt x="1171" y="25"/>
                    </a:lnTo>
                    <a:lnTo>
                      <a:pt x="1159" y="18"/>
                    </a:lnTo>
                    <a:lnTo>
                      <a:pt x="1147" y="12"/>
                    </a:lnTo>
                    <a:lnTo>
                      <a:pt x="1134" y="7"/>
                    </a:lnTo>
                    <a:lnTo>
                      <a:pt x="1120" y="4"/>
                    </a:lnTo>
                    <a:lnTo>
                      <a:pt x="1104" y="1"/>
                    </a:lnTo>
                    <a:lnTo>
                      <a:pt x="1090" y="0"/>
                    </a:lnTo>
                    <a:lnTo>
                      <a:pt x="1090" y="0"/>
                    </a:lnTo>
                    <a:close/>
                    <a:moveTo>
                      <a:pt x="1144" y="960"/>
                    </a:moveTo>
                    <a:lnTo>
                      <a:pt x="1144" y="960"/>
                    </a:lnTo>
                    <a:lnTo>
                      <a:pt x="1142" y="971"/>
                    </a:lnTo>
                    <a:lnTo>
                      <a:pt x="1139" y="980"/>
                    </a:lnTo>
                    <a:lnTo>
                      <a:pt x="1134" y="990"/>
                    </a:lnTo>
                    <a:lnTo>
                      <a:pt x="1128" y="998"/>
                    </a:lnTo>
                    <a:lnTo>
                      <a:pt x="1120" y="1004"/>
                    </a:lnTo>
                    <a:lnTo>
                      <a:pt x="1111" y="1010"/>
                    </a:lnTo>
                    <a:lnTo>
                      <a:pt x="1101" y="1012"/>
                    </a:lnTo>
                    <a:lnTo>
                      <a:pt x="1090" y="1013"/>
                    </a:lnTo>
                    <a:lnTo>
                      <a:pt x="144" y="1013"/>
                    </a:lnTo>
                    <a:lnTo>
                      <a:pt x="144" y="1013"/>
                    </a:lnTo>
                    <a:lnTo>
                      <a:pt x="134" y="1012"/>
                    </a:lnTo>
                    <a:lnTo>
                      <a:pt x="123" y="1010"/>
                    </a:lnTo>
                    <a:lnTo>
                      <a:pt x="115" y="1004"/>
                    </a:lnTo>
                    <a:lnTo>
                      <a:pt x="107" y="998"/>
                    </a:lnTo>
                    <a:lnTo>
                      <a:pt x="100" y="990"/>
                    </a:lnTo>
                    <a:lnTo>
                      <a:pt x="95" y="980"/>
                    </a:lnTo>
                    <a:lnTo>
                      <a:pt x="92" y="971"/>
                    </a:lnTo>
                    <a:lnTo>
                      <a:pt x="91" y="960"/>
                    </a:lnTo>
                    <a:lnTo>
                      <a:pt x="91" y="413"/>
                    </a:lnTo>
                    <a:lnTo>
                      <a:pt x="1144" y="413"/>
                    </a:lnTo>
                    <a:lnTo>
                      <a:pt x="1144" y="9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434" name="Group 433">
            <a:extLst>
              <a:ext uri="{FF2B5EF4-FFF2-40B4-BE49-F238E27FC236}">
                <a16:creationId xmlns:a16="http://schemas.microsoft.com/office/drawing/2014/main" id="{9B6EC27B-1FA8-45AB-9DEF-D25D2AC53925}"/>
              </a:ext>
            </a:extLst>
          </p:cNvPr>
          <p:cNvGrpSpPr/>
          <p:nvPr/>
        </p:nvGrpSpPr>
        <p:grpSpPr>
          <a:xfrm>
            <a:off x="9593301" y="2385451"/>
            <a:ext cx="612775" cy="612775"/>
            <a:chOff x="2048827" y="2265179"/>
            <a:chExt cx="612775" cy="612775"/>
          </a:xfrm>
        </p:grpSpPr>
        <p:sp>
          <p:nvSpPr>
            <p:cNvPr id="435" name="Oval 434">
              <a:extLst>
                <a:ext uri="{FF2B5EF4-FFF2-40B4-BE49-F238E27FC236}">
                  <a16:creationId xmlns:a16="http://schemas.microsoft.com/office/drawing/2014/main" id="{E654CD42-6D0B-4948-9970-95CFE929E338}"/>
                </a:ext>
              </a:extLst>
            </p:cNvPr>
            <p:cNvSpPr/>
            <p:nvPr/>
          </p:nvSpPr>
          <p:spPr bwMode="ltGray">
            <a:xfrm>
              <a:off x="204882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36" name="Freeform 23">
              <a:extLst>
                <a:ext uri="{FF2B5EF4-FFF2-40B4-BE49-F238E27FC236}">
                  <a16:creationId xmlns:a16="http://schemas.microsoft.com/office/drawing/2014/main" id="{D952F994-4F4D-4F4A-BD5A-6FBA9EA86280}"/>
                </a:ext>
              </a:extLst>
            </p:cNvPr>
            <p:cNvSpPr>
              <a:spLocks noEditPoints="1"/>
            </p:cNvSpPr>
            <p:nvPr/>
          </p:nvSpPr>
          <p:spPr bwMode="auto">
            <a:xfrm>
              <a:off x="2222262" y="2369821"/>
              <a:ext cx="268162" cy="418872"/>
            </a:xfrm>
            <a:custGeom>
              <a:avLst/>
              <a:gdLst>
                <a:gd name="T0" fmla="*/ 1518 w 1548"/>
                <a:gd name="T1" fmla="*/ 2168 h 2418"/>
                <a:gd name="T2" fmla="*/ 130 w 1548"/>
                <a:gd name="T3" fmla="*/ 2214 h 2418"/>
                <a:gd name="T4" fmla="*/ 136 w 1548"/>
                <a:gd name="T5" fmla="*/ 2232 h 2418"/>
                <a:gd name="T6" fmla="*/ 158 w 1548"/>
                <a:gd name="T7" fmla="*/ 2260 h 2418"/>
                <a:gd name="T8" fmla="*/ 186 w 1548"/>
                <a:gd name="T9" fmla="*/ 2280 h 2418"/>
                <a:gd name="T10" fmla="*/ 220 w 1548"/>
                <a:gd name="T11" fmla="*/ 2292 h 2418"/>
                <a:gd name="T12" fmla="*/ 1518 w 1548"/>
                <a:gd name="T13" fmla="*/ 2292 h 2418"/>
                <a:gd name="T14" fmla="*/ 238 w 1548"/>
                <a:gd name="T15" fmla="*/ 2418 h 2418"/>
                <a:gd name="T16" fmla="*/ 214 w 1548"/>
                <a:gd name="T17" fmla="*/ 2416 h 2418"/>
                <a:gd name="T18" fmla="*/ 168 w 1548"/>
                <a:gd name="T19" fmla="*/ 2406 h 2418"/>
                <a:gd name="T20" fmla="*/ 124 w 1548"/>
                <a:gd name="T21" fmla="*/ 2388 h 2418"/>
                <a:gd name="T22" fmla="*/ 86 w 1548"/>
                <a:gd name="T23" fmla="*/ 2362 h 2418"/>
                <a:gd name="T24" fmla="*/ 54 w 1548"/>
                <a:gd name="T25" fmla="*/ 2330 h 2418"/>
                <a:gd name="T26" fmla="*/ 28 w 1548"/>
                <a:gd name="T27" fmla="*/ 2292 h 2418"/>
                <a:gd name="T28" fmla="*/ 10 w 1548"/>
                <a:gd name="T29" fmla="*/ 2250 h 2418"/>
                <a:gd name="T30" fmla="*/ 0 w 1548"/>
                <a:gd name="T31" fmla="*/ 2202 h 2418"/>
                <a:gd name="T32" fmla="*/ 0 w 1548"/>
                <a:gd name="T33" fmla="*/ 240 h 2418"/>
                <a:gd name="T34" fmla="*/ 0 w 1548"/>
                <a:gd name="T35" fmla="*/ 214 h 2418"/>
                <a:gd name="T36" fmla="*/ 10 w 1548"/>
                <a:gd name="T37" fmla="*/ 168 h 2418"/>
                <a:gd name="T38" fmla="*/ 28 w 1548"/>
                <a:gd name="T39" fmla="*/ 126 h 2418"/>
                <a:gd name="T40" fmla="*/ 54 w 1548"/>
                <a:gd name="T41" fmla="*/ 88 h 2418"/>
                <a:gd name="T42" fmla="*/ 86 w 1548"/>
                <a:gd name="T43" fmla="*/ 56 h 2418"/>
                <a:gd name="T44" fmla="*/ 124 w 1548"/>
                <a:gd name="T45" fmla="*/ 30 h 2418"/>
                <a:gd name="T46" fmla="*/ 168 w 1548"/>
                <a:gd name="T47" fmla="*/ 12 h 2418"/>
                <a:gd name="T48" fmla="*/ 214 w 1548"/>
                <a:gd name="T49" fmla="*/ 2 h 2418"/>
                <a:gd name="T50" fmla="*/ 1310 w 1548"/>
                <a:gd name="T51" fmla="*/ 0 h 2418"/>
                <a:gd name="T52" fmla="*/ 1334 w 1548"/>
                <a:gd name="T53" fmla="*/ 2 h 2418"/>
                <a:gd name="T54" fmla="*/ 1380 w 1548"/>
                <a:gd name="T55" fmla="*/ 12 h 2418"/>
                <a:gd name="T56" fmla="*/ 1424 w 1548"/>
                <a:gd name="T57" fmla="*/ 30 h 2418"/>
                <a:gd name="T58" fmla="*/ 1462 w 1548"/>
                <a:gd name="T59" fmla="*/ 56 h 2418"/>
                <a:gd name="T60" fmla="*/ 1494 w 1548"/>
                <a:gd name="T61" fmla="*/ 88 h 2418"/>
                <a:gd name="T62" fmla="*/ 1520 w 1548"/>
                <a:gd name="T63" fmla="*/ 126 h 2418"/>
                <a:gd name="T64" fmla="*/ 1538 w 1548"/>
                <a:gd name="T65" fmla="*/ 168 h 2418"/>
                <a:gd name="T66" fmla="*/ 1548 w 1548"/>
                <a:gd name="T67" fmla="*/ 214 h 2418"/>
                <a:gd name="T68" fmla="*/ 1548 w 1548"/>
                <a:gd name="T69" fmla="*/ 1650 h 2418"/>
                <a:gd name="T70" fmla="*/ 1548 w 1548"/>
                <a:gd name="T71" fmla="*/ 1674 h 2418"/>
                <a:gd name="T72" fmla="*/ 1538 w 1548"/>
                <a:gd name="T73" fmla="*/ 1720 h 2418"/>
                <a:gd name="T74" fmla="*/ 1520 w 1548"/>
                <a:gd name="T75" fmla="*/ 1764 h 2418"/>
                <a:gd name="T76" fmla="*/ 1494 w 1548"/>
                <a:gd name="T77" fmla="*/ 1802 h 2418"/>
                <a:gd name="T78" fmla="*/ 1462 w 1548"/>
                <a:gd name="T79" fmla="*/ 1834 h 2418"/>
                <a:gd name="T80" fmla="*/ 1424 w 1548"/>
                <a:gd name="T81" fmla="*/ 1860 h 2418"/>
                <a:gd name="T82" fmla="*/ 1380 w 1548"/>
                <a:gd name="T83" fmla="*/ 1878 h 2418"/>
                <a:gd name="T84" fmla="*/ 1334 w 1548"/>
                <a:gd name="T85" fmla="*/ 1886 h 2418"/>
                <a:gd name="T86" fmla="*/ 238 w 1548"/>
                <a:gd name="T87" fmla="*/ 1888 h 2418"/>
                <a:gd name="T88" fmla="*/ 220 w 1548"/>
                <a:gd name="T89" fmla="*/ 1890 h 2418"/>
                <a:gd name="T90" fmla="*/ 186 w 1548"/>
                <a:gd name="T91" fmla="*/ 1900 h 2418"/>
                <a:gd name="T92" fmla="*/ 158 w 1548"/>
                <a:gd name="T93" fmla="*/ 1922 h 2418"/>
                <a:gd name="T94" fmla="*/ 136 w 1548"/>
                <a:gd name="T95" fmla="*/ 1950 h 2418"/>
                <a:gd name="T96" fmla="*/ 1518 w 1548"/>
                <a:gd name="T97" fmla="*/ 1966 h 2418"/>
                <a:gd name="T98" fmla="*/ 124 w 1548"/>
                <a:gd name="T99" fmla="*/ 2012 h 2418"/>
                <a:gd name="T100" fmla="*/ 1518 w 1548"/>
                <a:gd name="T101" fmla="*/ 2066 h 2418"/>
                <a:gd name="T102" fmla="*/ 124 w 1548"/>
                <a:gd name="T103" fmla="*/ 2114 h 2418"/>
                <a:gd name="T104" fmla="*/ 124 w 1548"/>
                <a:gd name="T105" fmla="*/ 2168 h 2418"/>
                <a:gd name="T106" fmla="*/ 364 w 1548"/>
                <a:gd name="T107" fmla="*/ 1020 h 2418"/>
                <a:gd name="T108" fmla="*/ 1184 w 1548"/>
                <a:gd name="T109" fmla="*/ 502 h 2418"/>
                <a:gd name="T110" fmla="*/ 364 w 1548"/>
                <a:gd name="T111" fmla="*/ 502 h 2418"/>
                <a:gd name="T112" fmla="*/ 462 w 1548"/>
                <a:gd name="T113" fmla="*/ 924 h 2418"/>
                <a:gd name="T114" fmla="*/ 1086 w 1548"/>
                <a:gd name="T115" fmla="*/ 600 h 2418"/>
                <a:gd name="T116" fmla="*/ 1086 w 1548"/>
                <a:gd name="T117" fmla="*/ 924 h 2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48" h="2418">
                  <a:moveTo>
                    <a:pt x="124" y="2168"/>
                  </a:moveTo>
                  <a:lnTo>
                    <a:pt x="1518" y="2168"/>
                  </a:lnTo>
                  <a:lnTo>
                    <a:pt x="1518" y="2214"/>
                  </a:lnTo>
                  <a:lnTo>
                    <a:pt x="130" y="2214"/>
                  </a:lnTo>
                  <a:lnTo>
                    <a:pt x="130" y="2214"/>
                  </a:lnTo>
                  <a:lnTo>
                    <a:pt x="136" y="2232"/>
                  </a:lnTo>
                  <a:lnTo>
                    <a:pt x="146" y="2246"/>
                  </a:lnTo>
                  <a:lnTo>
                    <a:pt x="158" y="2260"/>
                  </a:lnTo>
                  <a:lnTo>
                    <a:pt x="170" y="2270"/>
                  </a:lnTo>
                  <a:lnTo>
                    <a:pt x="186" y="2280"/>
                  </a:lnTo>
                  <a:lnTo>
                    <a:pt x="202" y="2286"/>
                  </a:lnTo>
                  <a:lnTo>
                    <a:pt x="220" y="2292"/>
                  </a:lnTo>
                  <a:lnTo>
                    <a:pt x="238" y="2292"/>
                  </a:lnTo>
                  <a:lnTo>
                    <a:pt x="1518" y="2292"/>
                  </a:lnTo>
                  <a:lnTo>
                    <a:pt x="1518" y="2418"/>
                  </a:lnTo>
                  <a:lnTo>
                    <a:pt x="238" y="2418"/>
                  </a:lnTo>
                  <a:lnTo>
                    <a:pt x="238" y="2418"/>
                  </a:lnTo>
                  <a:lnTo>
                    <a:pt x="214" y="2416"/>
                  </a:lnTo>
                  <a:lnTo>
                    <a:pt x="190" y="2412"/>
                  </a:lnTo>
                  <a:lnTo>
                    <a:pt x="168" y="2406"/>
                  </a:lnTo>
                  <a:lnTo>
                    <a:pt x="146" y="2398"/>
                  </a:lnTo>
                  <a:lnTo>
                    <a:pt x="124" y="2388"/>
                  </a:lnTo>
                  <a:lnTo>
                    <a:pt x="104" y="2376"/>
                  </a:lnTo>
                  <a:lnTo>
                    <a:pt x="86" y="2362"/>
                  </a:lnTo>
                  <a:lnTo>
                    <a:pt x="70" y="2348"/>
                  </a:lnTo>
                  <a:lnTo>
                    <a:pt x="54" y="2330"/>
                  </a:lnTo>
                  <a:lnTo>
                    <a:pt x="40" y="2312"/>
                  </a:lnTo>
                  <a:lnTo>
                    <a:pt x="28" y="2292"/>
                  </a:lnTo>
                  <a:lnTo>
                    <a:pt x="18" y="2272"/>
                  </a:lnTo>
                  <a:lnTo>
                    <a:pt x="10" y="2250"/>
                  </a:lnTo>
                  <a:lnTo>
                    <a:pt x="4" y="2226"/>
                  </a:lnTo>
                  <a:lnTo>
                    <a:pt x="0" y="2202"/>
                  </a:lnTo>
                  <a:lnTo>
                    <a:pt x="0" y="2178"/>
                  </a:lnTo>
                  <a:lnTo>
                    <a:pt x="0" y="240"/>
                  </a:lnTo>
                  <a:lnTo>
                    <a:pt x="0" y="240"/>
                  </a:lnTo>
                  <a:lnTo>
                    <a:pt x="0" y="214"/>
                  </a:lnTo>
                  <a:lnTo>
                    <a:pt x="4" y="192"/>
                  </a:lnTo>
                  <a:lnTo>
                    <a:pt x="10" y="168"/>
                  </a:lnTo>
                  <a:lnTo>
                    <a:pt x="18" y="146"/>
                  </a:lnTo>
                  <a:lnTo>
                    <a:pt x="28" y="126"/>
                  </a:lnTo>
                  <a:lnTo>
                    <a:pt x="40" y="106"/>
                  </a:lnTo>
                  <a:lnTo>
                    <a:pt x="54" y="88"/>
                  </a:lnTo>
                  <a:lnTo>
                    <a:pt x="70" y="70"/>
                  </a:lnTo>
                  <a:lnTo>
                    <a:pt x="86" y="56"/>
                  </a:lnTo>
                  <a:lnTo>
                    <a:pt x="104" y="42"/>
                  </a:lnTo>
                  <a:lnTo>
                    <a:pt x="124" y="30"/>
                  </a:lnTo>
                  <a:lnTo>
                    <a:pt x="146" y="20"/>
                  </a:lnTo>
                  <a:lnTo>
                    <a:pt x="168" y="12"/>
                  </a:lnTo>
                  <a:lnTo>
                    <a:pt x="190" y="6"/>
                  </a:lnTo>
                  <a:lnTo>
                    <a:pt x="214" y="2"/>
                  </a:lnTo>
                  <a:lnTo>
                    <a:pt x="238" y="0"/>
                  </a:lnTo>
                  <a:lnTo>
                    <a:pt x="1310" y="0"/>
                  </a:lnTo>
                  <a:lnTo>
                    <a:pt x="1310" y="0"/>
                  </a:lnTo>
                  <a:lnTo>
                    <a:pt x="1334" y="2"/>
                  </a:lnTo>
                  <a:lnTo>
                    <a:pt x="1358" y="6"/>
                  </a:lnTo>
                  <a:lnTo>
                    <a:pt x="1380" y="12"/>
                  </a:lnTo>
                  <a:lnTo>
                    <a:pt x="1402" y="20"/>
                  </a:lnTo>
                  <a:lnTo>
                    <a:pt x="1424" y="30"/>
                  </a:lnTo>
                  <a:lnTo>
                    <a:pt x="1444" y="42"/>
                  </a:lnTo>
                  <a:lnTo>
                    <a:pt x="1462" y="56"/>
                  </a:lnTo>
                  <a:lnTo>
                    <a:pt x="1478" y="70"/>
                  </a:lnTo>
                  <a:lnTo>
                    <a:pt x="1494" y="88"/>
                  </a:lnTo>
                  <a:lnTo>
                    <a:pt x="1508" y="106"/>
                  </a:lnTo>
                  <a:lnTo>
                    <a:pt x="1520" y="126"/>
                  </a:lnTo>
                  <a:lnTo>
                    <a:pt x="1530" y="146"/>
                  </a:lnTo>
                  <a:lnTo>
                    <a:pt x="1538" y="168"/>
                  </a:lnTo>
                  <a:lnTo>
                    <a:pt x="1544" y="192"/>
                  </a:lnTo>
                  <a:lnTo>
                    <a:pt x="1548" y="214"/>
                  </a:lnTo>
                  <a:lnTo>
                    <a:pt x="1548" y="240"/>
                  </a:lnTo>
                  <a:lnTo>
                    <a:pt x="1548" y="1650"/>
                  </a:lnTo>
                  <a:lnTo>
                    <a:pt x="1548" y="1650"/>
                  </a:lnTo>
                  <a:lnTo>
                    <a:pt x="1548" y="1674"/>
                  </a:lnTo>
                  <a:lnTo>
                    <a:pt x="1544" y="1698"/>
                  </a:lnTo>
                  <a:lnTo>
                    <a:pt x="1538" y="1720"/>
                  </a:lnTo>
                  <a:lnTo>
                    <a:pt x="1530" y="1742"/>
                  </a:lnTo>
                  <a:lnTo>
                    <a:pt x="1520" y="1764"/>
                  </a:lnTo>
                  <a:lnTo>
                    <a:pt x="1508" y="1782"/>
                  </a:lnTo>
                  <a:lnTo>
                    <a:pt x="1494" y="1802"/>
                  </a:lnTo>
                  <a:lnTo>
                    <a:pt x="1478" y="1818"/>
                  </a:lnTo>
                  <a:lnTo>
                    <a:pt x="1462" y="1834"/>
                  </a:lnTo>
                  <a:lnTo>
                    <a:pt x="1444" y="1848"/>
                  </a:lnTo>
                  <a:lnTo>
                    <a:pt x="1424" y="1860"/>
                  </a:lnTo>
                  <a:lnTo>
                    <a:pt x="1402" y="1870"/>
                  </a:lnTo>
                  <a:lnTo>
                    <a:pt x="1380" y="1878"/>
                  </a:lnTo>
                  <a:lnTo>
                    <a:pt x="1358" y="1884"/>
                  </a:lnTo>
                  <a:lnTo>
                    <a:pt x="1334" y="1886"/>
                  </a:lnTo>
                  <a:lnTo>
                    <a:pt x="1310" y="1888"/>
                  </a:lnTo>
                  <a:lnTo>
                    <a:pt x="238" y="1888"/>
                  </a:lnTo>
                  <a:lnTo>
                    <a:pt x="238" y="1888"/>
                  </a:lnTo>
                  <a:lnTo>
                    <a:pt x="220" y="1890"/>
                  </a:lnTo>
                  <a:lnTo>
                    <a:pt x="202" y="1894"/>
                  </a:lnTo>
                  <a:lnTo>
                    <a:pt x="186" y="1900"/>
                  </a:lnTo>
                  <a:lnTo>
                    <a:pt x="170" y="1910"/>
                  </a:lnTo>
                  <a:lnTo>
                    <a:pt x="158" y="1922"/>
                  </a:lnTo>
                  <a:lnTo>
                    <a:pt x="146" y="1934"/>
                  </a:lnTo>
                  <a:lnTo>
                    <a:pt x="136" y="1950"/>
                  </a:lnTo>
                  <a:lnTo>
                    <a:pt x="130" y="1966"/>
                  </a:lnTo>
                  <a:lnTo>
                    <a:pt x="1518" y="1966"/>
                  </a:lnTo>
                  <a:lnTo>
                    <a:pt x="1518" y="2012"/>
                  </a:lnTo>
                  <a:lnTo>
                    <a:pt x="124" y="2012"/>
                  </a:lnTo>
                  <a:lnTo>
                    <a:pt x="124" y="2066"/>
                  </a:lnTo>
                  <a:lnTo>
                    <a:pt x="1518" y="2066"/>
                  </a:lnTo>
                  <a:lnTo>
                    <a:pt x="1518" y="2114"/>
                  </a:lnTo>
                  <a:lnTo>
                    <a:pt x="124" y="2114"/>
                  </a:lnTo>
                  <a:lnTo>
                    <a:pt x="124" y="2168"/>
                  </a:lnTo>
                  <a:lnTo>
                    <a:pt x="124" y="2168"/>
                  </a:lnTo>
                  <a:close/>
                  <a:moveTo>
                    <a:pt x="364" y="502"/>
                  </a:moveTo>
                  <a:lnTo>
                    <a:pt x="364" y="1020"/>
                  </a:lnTo>
                  <a:lnTo>
                    <a:pt x="1184" y="1020"/>
                  </a:lnTo>
                  <a:lnTo>
                    <a:pt x="1184" y="502"/>
                  </a:lnTo>
                  <a:lnTo>
                    <a:pt x="364" y="502"/>
                  </a:lnTo>
                  <a:lnTo>
                    <a:pt x="364" y="502"/>
                  </a:lnTo>
                  <a:close/>
                  <a:moveTo>
                    <a:pt x="1086" y="924"/>
                  </a:moveTo>
                  <a:lnTo>
                    <a:pt x="462" y="924"/>
                  </a:lnTo>
                  <a:lnTo>
                    <a:pt x="462" y="600"/>
                  </a:lnTo>
                  <a:lnTo>
                    <a:pt x="1086" y="600"/>
                  </a:lnTo>
                  <a:lnTo>
                    <a:pt x="1086" y="924"/>
                  </a:lnTo>
                  <a:lnTo>
                    <a:pt x="1086" y="924"/>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37" name="Group 436">
            <a:extLst>
              <a:ext uri="{FF2B5EF4-FFF2-40B4-BE49-F238E27FC236}">
                <a16:creationId xmlns:a16="http://schemas.microsoft.com/office/drawing/2014/main" id="{C16D0945-88AB-4D95-A77D-8AE2FB9B322A}"/>
              </a:ext>
            </a:extLst>
          </p:cNvPr>
          <p:cNvGrpSpPr/>
          <p:nvPr/>
        </p:nvGrpSpPr>
        <p:grpSpPr>
          <a:xfrm>
            <a:off x="2109537" y="3887682"/>
            <a:ext cx="612775" cy="612775"/>
            <a:chOff x="2777612" y="2265179"/>
            <a:chExt cx="612775" cy="612775"/>
          </a:xfrm>
          <a:solidFill>
            <a:srgbClr val="505050"/>
          </a:solidFill>
        </p:grpSpPr>
        <p:sp>
          <p:nvSpPr>
            <p:cNvPr id="438" name="Oval 437">
              <a:extLst>
                <a:ext uri="{FF2B5EF4-FFF2-40B4-BE49-F238E27FC236}">
                  <a16:creationId xmlns:a16="http://schemas.microsoft.com/office/drawing/2014/main" id="{EF703D82-D7F0-44EF-9CE9-5374583DC72B}"/>
                </a:ext>
              </a:extLst>
            </p:cNvPr>
            <p:cNvSpPr/>
            <p:nvPr/>
          </p:nvSpPr>
          <p:spPr bwMode="ltGray">
            <a:xfrm>
              <a:off x="2777612"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39" name="Freeform 799">
              <a:extLst>
                <a:ext uri="{FF2B5EF4-FFF2-40B4-BE49-F238E27FC236}">
                  <a16:creationId xmlns:a16="http://schemas.microsoft.com/office/drawing/2014/main" id="{6BCF2332-1F04-4CB0-8151-932AD3FEF1C7}"/>
                </a:ext>
              </a:extLst>
            </p:cNvPr>
            <p:cNvSpPr>
              <a:spLocks noEditPoints="1"/>
            </p:cNvSpPr>
            <p:nvPr/>
          </p:nvSpPr>
          <p:spPr bwMode="auto">
            <a:xfrm>
              <a:off x="2868846" y="2420568"/>
              <a:ext cx="447395" cy="302137"/>
            </a:xfrm>
            <a:custGeom>
              <a:avLst/>
              <a:gdLst>
                <a:gd name="T0" fmla="*/ 142 w 462"/>
                <a:gd name="T1" fmla="*/ 90 h 312"/>
                <a:gd name="T2" fmla="*/ 192 w 462"/>
                <a:gd name="T3" fmla="*/ 98 h 312"/>
                <a:gd name="T4" fmla="*/ 194 w 462"/>
                <a:gd name="T5" fmla="*/ 84 h 312"/>
                <a:gd name="T6" fmla="*/ 126 w 462"/>
                <a:gd name="T7" fmla="*/ 72 h 312"/>
                <a:gd name="T8" fmla="*/ 62 w 462"/>
                <a:gd name="T9" fmla="*/ 84 h 312"/>
                <a:gd name="T10" fmla="*/ 68 w 462"/>
                <a:gd name="T11" fmla="*/ 98 h 312"/>
                <a:gd name="T12" fmla="*/ 126 w 462"/>
                <a:gd name="T13" fmla="*/ 132 h 312"/>
                <a:gd name="T14" fmla="*/ 186 w 462"/>
                <a:gd name="T15" fmla="*/ 142 h 312"/>
                <a:gd name="T16" fmla="*/ 198 w 462"/>
                <a:gd name="T17" fmla="*/ 134 h 312"/>
                <a:gd name="T18" fmla="*/ 160 w 462"/>
                <a:gd name="T19" fmla="*/ 118 h 312"/>
                <a:gd name="T20" fmla="*/ 66 w 462"/>
                <a:gd name="T21" fmla="*/ 124 h 312"/>
                <a:gd name="T22" fmla="*/ 62 w 462"/>
                <a:gd name="T23" fmla="*/ 138 h 312"/>
                <a:gd name="T24" fmla="*/ 186 w 462"/>
                <a:gd name="T25" fmla="*/ 186 h 312"/>
                <a:gd name="T26" fmla="*/ 198 w 462"/>
                <a:gd name="T27" fmla="*/ 180 h 312"/>
                <a:gd name="T28" fmla="*/ 176 w 462"/>
                <a:gd name="T29" fmla="*/ 164 h 312"/>
                <a:gd name="T30" fmla="*/ 66 w 462"/>
                <a:gd name="T31" fmla="*/ 166 h 312"/>
                <a:gd name="T32" fmla="*/ 60 w 462"/>
                <a:gd name="T33" fmla="*/ 178 h 312"/>
                <a:gd name="T34" fmla="*/ 98 w 462"/>
                <a:gd name="T35" fmla="*/ 178 h 312"/>
                <a:gd name="T36" fmla="*/ 186 w 462"/>
                <a:gd name="T37" fmla="*/ 186 h 312"/>
                <a:gd name="T38" fmla="*/ 438 w 462"/>
                <a:gd name="T39" fmla="*/ 30 h 312"/>
                <a:gd name="T40" fmla="*/ 364 w 462"/>
                <a:gd name="T41" fmla="*/ 2 h 312"/>
                <a:gd name="T42" fmla="*/ 232 w 462"/>
                <a:gd name="T43" fmla="*/ 30 h 312"/>
                <a:gd name="T44" fmla="*/ 126 w 462"/>
                <a:gd name="T45" fmla="*/ 0 h 312"/>
                <a:gd name="T46" fmla="*/ 28 w 462"/>
                <a:gd name="T47" fmla="*/ 26 h 312"/>
                <a:gd name="T48" fmla="*/ 22 w 462"/>
                <a:gd name="T49" fmla="*/ 42 h 312"/>
                <a:gd name="T50" fmla="*/ 0 w 462"/>
                <a:gd name="T51" fmla="*/ 260 h 312"/>
                <a:gd name="T52" fmla="*/ 30 w 462"/>
                <a:gd name="T53" fmla="*/ 300 h 312"/>
                <a:gd name="T54" fmla="*/ 92 w 462"/>
                <a:gd name="T55" fmla="*/ 284 h 312"/>
                <a:gd name="T56" fmla="*/ 190 w 462"/>
                <a:gd name="T57" fmla="*/ 294 h 312"/>
                <a:gd name="T58" fmla="*/ 254 w 462"/>
                <a:gd name="T59" fmla="*/ 304 h 312"/>
                <a:gd name="T60" fmla="*/ 334 w 462"/>
                <a:gd name="T61" fmla="*/ 280 h 312"/>
                <a:gd name="T62" fmla="*/ 412 w 462"/>
                <a:gd name="T63" fmla="*/ 302 h 312"/>
                <a:gd name="T64" fmla="*/ 458 w 462"/>
                <a:gd name="T65" fmla="*/ 280 h 312"/>
                <a:gd name="T66" fmla="*/ 456 w 462"/>
                <a:gd name="T67" fmla="*/ 58 h 312"/>
                <a:gd name="T68" fmla="*/ 264 w 462"/>
                <a:gd name="T69" fmla="*/ 32 h 312"/>
                <a:gd name="T70" fmla="*/ 380 w 462"/>
                <a:gd name="T71" fmla="*/ 22 h 312"/>
                <a:gd name="T72" fmla="*/ 380 w 462"/>
                <a:gd name="T73" fmla="*/ 238 h 312"/>
                <a:gd name="T74" fmla="*/ 264 w 462"/>
                <a:gd name="T75" fmla="*/ 248 h 312"/>
                <a:gd name="T76" fmla="*/ 84 w 462"/>
                <a:gd name="T77" fmla="*/ 22 h 312"/>
                <a:gd name="T78" fmla="*/ 200 w 462"/>
                <a:gd name="T79" fmla="*/ 32 h 312"/>
                <a:gd name="T80" fmla="*/ 152 w 462"/>
                <a:gd name="T81" fmla="*/ 234 h 312"/>
                <a:gd name="T82" fmla="*/ 44 w 462"/>
                <a:gd name="T83" fmla="*/ 250 h 312"/>
                <a:gd name="T84" fmla="*/ 442 w 462"/>
                <a:gd name="T85" fmla="*/ 280 h 312"/>
                <a:gd name="T86" fmla="*/ 408 w 462"/>
                <a:gd name="T87" fmla="*/ 286 h 312"/>
                <a:gd name="T88" fmla="*/ 334 w 462"/>
                <a:gd name="T89" fmla="*/ 268 h 312"/>
                <a:gd name="T90" fmla="*/ 240 w 462"/>
                <a:gd name="T91" fmla="*/ 298 h 312"/>
                <a:gd name="T92" fmla="*/ 174 w 462"/>
                <a:gd name="T93" fmla="*/ 274 h 312"/>
                <a:gd name="T94" fmla="*/ 72 w 462"/>
                <a:gd name="T95" fmla="*/ 278 h 312"/>
                <a:gd name="T96" fmla="*/ 26 w 462"/>
                <a:gd name="T97" fmla="*/ 286 h 312"/>
                <a:gd name="T98" fmla="*/ 12 w 462"/>
                <a:gd name="T99" fmla="*/ 80 h 312"/>
                <a:gd name="T100" fmla="*/ 26 w 462"/>
                <a:gd name="T101" fmla="*/ 264 h 312"/>
                <a:gd name="T102" fmla="*/ 40 w 462"/>
                <a:gd name="T103" fmla="*/ 272 h 312"/>
                <a:gd name="T104" fmla="*/ 126 w 462"/>
                <a:gd name="T105" fmla="*/ 250 h 312"/>
                <a:gd name="T106" fmla="*/ 228 w 462"/>
                <a:gd name="T107" fmla="*/ 282 h 312"/>
                <a:gd name="T108" fmla="*/ 232 w 462"/>
                <a:gd name="T109" fmla="*/ 282 h 312"/>
                <a:gd name="T110" fmla="*/ 234 w 462"/>
                <a:gd name="T111" fmla="*/ 282 h 312"/>
                <a:gd name="T112" fmla="*/ 236 w 462"/>
                <a:gd name="T113" fmla="*/ 280 h 312"/>
                <a:gd name="T114" fmla="*/ 338 w 462"/>
                <a:gd name="T115" fmla="*/ 250 h 312"/>
                <a:gd name="T116" fmla="*/ 430 w 462"/>
                <a:gd name="T117" fmla="*/ 272 h 312"/>
                <a:gd name="T118" fmla="*/ 438 w 462"/>
                <a:gd name="T119" fmla="*/ 56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62" h="312">
                  <a:moveTo>
                    <a:pt x="72" y="96"/>
                  </a:moveTo>
                  <a:lnTo>
                    <a:pt x="72" y="96"/>
                  </a:lnTo>
                  <a:lnTo>
                    <a:pt x="98" y="90"/>
                  </a:lnTo>
                  <a:lnTo>
                    <a:pt x="126" y="88"/>
                  </a:lnTo>
                  <a:lnTo>
                    <a:pt x="126" y="88"/>
                  </a:lnTo>
                  <a:lnTo>
                    <a:pt x="142" y="90"/>
                  </a:lnTo>
                  <a:lnTo>
                    <a:pt x="156" y="92"/>
                  </a:lnTo>
                  <a:lnTo>
                    <a:pt x="172" y="94"/>
                  </a:lnTo>
                  <a:lnTo>
                    <a:pt x="186" y="100"/>
                  </a:lnTo>
                  <a:lnTo>
                    <a:pt x="186" y="100"/>
                  </a:lnTo>
                  <a:lnTo>
                    <a:pt x="190" y="100"/>
                  </a:lnTo>
                  <a:lnTo>
                    <a:pt x="192" y="98"/>
                  </a:lnTo>
                  <a:lnTo>
                    <a:pt x="196" y="96"/>
                  </a:lnTo>
                  <a:lnTo>
                    <a:pt x="198" y="94"/>
                  </a:lnTo>
                  <a:lnTo>
                    <a:pt x="198" y="94"/>
                  </a:lnTo>
                  <a:lnTo>
                    <a:pt x="198" y="90"/>
                  </a:lnTo>
                  <a:lnTo>
                    <a:pt x="196" y="88"/>
                  </a:lnTo>
                  <a:lnTo>
                    <a:pt x="194" y="84"/>
                  </a:lnTo>
                  <a:lnTo>
                    <a:pt x="192" y="82"/>
                  </a:lnTo>
                  <a:lnTo>
                    <a:pt x="192" y="82"/>
                  </a:lnTo>
                  <a:lnTo>
                    <a:pt x="176" y="78"/>
                  </a:lnTo>
                  <a:lnTo>
                    <a:pt x="160" y="74"/>
                  </a:lnTo>
                  <a:lnTo>
                    <a:pt x="142" y="72"/>
                  </a:lnTo>
                  <a:lnTo>
                    <a:pt x="126" y="72"/>
                  </a:lnTo>
                  <a:lnTo>
                    <a:pt x="126" y="72"/>
                  </a:lnTo>
                  <a:lnTo>
                    <a:pt x="96" y="74"/>
                  </a:lnTo>
                  <a:lnTo>
                    <a:pt x="66" y="80"/>
                  </a:lnTo>
                  <a:lnTo>
                    <a:pt x="66" y="80"/>
                  </a:lnTo>
                  <a:lnTo>
                    <a:pt x="64" y="82"/>
                  </a:lnTo>
                  <a:lnTo>
                    <a:pt x="62" y="84"/>
                  </a:lnTo>
                  <a:lnTo>
                    <a:pt x="60" y="88"/>
                  </a:lnTo>
                  <a:lnTo>
                    <a:pt x="60" y="92"/>
                  </a:lnTo>
                  <a:lnTo>
                    <a:pt x="60" y="92"/>
                  </a:lnTo>
                  <a:lnTo>
                    <a:pt x="62" y="94"/>
                  </a:lnTo>
                  <a:lnTo>
                    <a:pt x="66" y="96"/>
                  </a:lnTo>
                  <a:lnTo>
                    <a:pt x="68" y="98"/>
                  </a:lnTo>
                  <a:lnTo>
                    <a:pt x="72" y="96"/>
                  </a:lnTo>
                  <a:lnTo>
                    <a:pt x="72" y="96"/>
                  </a:lnTo>
                  <a:close/>
                  <a:moveTo>
                    <a:pt x="72" y="140"/>
                  </a:moveTo>
                  <a:lnTo>
                    <a:pt x="72" y="140"/>
                  </a:lnTo>
                  <a:lnTo>
                    <a:pt x="98" y="134"/>
                  </a:lnTo>
                  <a:lnTo>
                    <a:pt x="126" y="132"/>
                  </a:lnTo>
                  <a:lnTo>
                    <a:pt x="126" y="132"/>
                  </a:lnTo>
                  <a:lnTo>
                    <a:pt x="142" y="132"/>
                  </a:lnTo>
                  <a:lnTo>
                    <a:pt x="156" y="134"/>
                  </a:lnTo>
                  <a:lnTo>
                    <a:pt x="172" y="138"/>
                  </a:lnTo>
                  <a:lnTo>
                    <a:pt x="186" y="142"/>
                  </a:lnTo>
                  <a:lnTo>
                    <a:pt x="186" y="142"/>
                  </a:lnTo>
                  <a:lnTo>
                    <a:pt x="190" y="142"/>
                  </a:lnTo>
                  <a:lnTo>
                    <a:pt x="192" y="142"/>
                  </a:lnTo>
                  <a:lnTo>
                    <a:pt x="196" y="140"/>
                  </a:lnTo>
                  <a:lnTo>
                    <a:pt x="198" y="136"/>
                  </a:lnTo>
                  <a:lnTo>
                    <a:pt x="198" y="136"/>
                  </a:lnTo>
                  <a:lnTo>
                    <a:pt x="198" y="134"/>
                  </a:lnTo>
                  <a:lnTo>
                    <a:pt x="196" y="130"/>
                  </a:lnTo>
                  <a:lnTo>
                    <a:pt x="194" y="128"/>
                  </a:lnTo>
                  <a:lnTo>
                    <a:pt x="192" y="126"/>
                  </a:lnTo>
                  <a:lnTo>
                    <a:pt x="192" y="126"/>
                  </a:lnTo>
                  <a:lnTo>
                    <a:pt x="176" y="120"/>
                  </a:lnTo>
                  <a:lnTo>
                    <a:pt x="160" y="118"/>
                  </a:lnTo>
                  <a:lnTo>
                    <a:pt x="142" y="116"/>
                  </a:lnTo>
                  <a:lnTo>
                    <a:pt x="126" y="114"/>
                  </a:lnTo>
                  <a:lnTo>
                    <a:pt x="126" y="114"/>
                  </a:lnTo>
                  <a:lnTo>
                    <a:pt x="96" y="116"/>
                  </a:lnTo>
                  <a:lnTo>
                    <a:pt x="66" y="124"/>
                  </a:lnTo>
                  <a:lnTo>
                    <a:pt x="66" y="124"/>
                  </a:lnTo>
                  <a:lnTo>
                    <a:pt x="64" y="126"/>
                  </a:lnTo>
                  <a:lnTo>
                    <a:pt x="62" y="128"/>
                  </a:lnTo>
                  <a:lnTo>
                    <a:pt x="60" y="130"/>
                  </a:lnTo>
                  <a:lnTo>
                    <a:pt x="60" y="134"/>
                  </a:lnTo>
                  <a:lnTo>
                    <a:pt x="60" y="134"/>
                  </a:lnTo>
                  <a:lnTo>
                    <a:pt x="62" y="138"/>
                  </a:lnTo>
                  <a:lnTo>
                    <a:pt x="66" y="140"/>
                  </a:lnTo>
                  <a:lnTo>
                    <a:pt x="68" y="140"/>
                  </a:lnTo>
                  <a:lnTo>
                    <a:pt x="72" y="140"/>
                  </a:lnTo>
                  <a:lnTo>
                    <a:pt x="72" y="140"/>
                  </a:lnTo>
                  <a:close/>
                  <a:moveTo>
                    <a:pt x="186" y="186"/>
                  </a:moveTo>
                  <a:lnTo>
                    <a:pt x="186" y="186"/>
                  </a:lnTo>
                  <a:lnTo>
                    <a:pt x="186" y="186"/>
                  </a:lnTo>
                  <a:lnTo>
                    <a:pt x="190" y="186"/>
                  </a:lnTo>
                  <a:lnTo>
                    <a:pt x="192" y="184"/>
                  </a:lnTo>
                  <a:lnTo>
                    <a:pt x="196" y="182"/>
                  </a:lnTo>
                  <a:lnTo>
                    <a:pt x="198" y="180"/>
                  </a:lnTo>
                  <a:lnTo>
                    <a:pt x="198" y="180"/>
                  </a:lnTo>
                  <a:lnTo>
                    <a:pt x="198" y="176"/>
                  </a:lnTo>
                  <a:lnTo>
                    <a:pt x="196" y="174"/>
                  </a:lnTo>
                  <a:lnTo>
                    <a:pt x="194" y="170"/>
                  </a:lnTo>
                  <a:lnTo>
                    <a:pt x="192" y="168"/>
                  </a:lnTo>
                  <a:lnTo>
                    <a:pt x="192" y="168"/>
                  </a:lnTo>
                  <a:lnTo>
                    <a:pt x="176" y="164"/>
                  </a:lnTo>
                  <a:lnTo>
                    <a:pt x="160" y="160"/>
                  </a:lnTo>
                  <a:lnTo>
                    <a:pt x="142" y="158"/>
                  </a:lnTo>
                  <a:lnTo>
                    <a:pt x="126" y="158"/>
                  </a:lnTo>
                  <a:lnTo>
                    <a:pt x="126" y="158"/>
                  </a:lnTo>
                  <a:lnTo>
                    <a:pt x="96" y="160"/>
                  </a:lnTo>
                  <a:lnTo>
                    <a:pt x="66" y="166"/>
                  </a:lnTo>
                  <a:lnTo>
                    <a:pt x="66" y="166"/>
                  </a:lnTo>
                  <a:lnTo>
                    <a:pt x="64" y="168"/>
                  </a:lnTo>
                  <a:lnTo>
                    <a:pt x="62" y="170"/>
                  </a:lnTo>
                  <a:lnTo>
                    <a:pt x="60" y="174"/>
                  </a:lnTo>
                  <a:lnTo>
                    <a:pt x="60" y="178"/>
                  </a:lnTo>
                  <a:lnTo>
                    <a:pt x="60" y="178"/>
                  </a:lnTo>
                  <a:lnTo>
                    <a:pt x="62" y="180"/>
                  </a:lnTo>
                  <a:lnTo>
                    <a:pt x="66" y="182"/>
                  </a:lnTo>
                  <a:lnTo>
                    <a:pt x="68" y="184"/>
                  </a:lnTo>
                  <a:lnTo>
                    <a:pt x="72" y="184"/>
                  </a:lnTo>
                  <a:lnTo>
                    <a:pt x="72" y="184"/>
                  </a:lnTo>
                  <a:lnTo>
                    <a:pt x="98" y="178"/>
                  </a:lnTo>
                  <a:lnTo>
                    <a:pt x="126" y="176"/>
                  </a:lnTo>
                  <a:lnTo>
                    <a:pt x="126" y="176"/>
                  </a:lnTo>
                  <a:lnTo>
                    <a:pt x="142" y="176"/>
                  </a:lnTo>
                  <a:lnTo>
                    <a:pt x="156" y="178"/>
                  </a:lnTo>
                  <a:lnTo>
                    <a:pt x="172" y="180"/>
                  </a:lnTo>
                  <a:lnTo>
                    <a:pt x="186" y="186"/>
                  </a:lnTo>
                  <a:lnTo>
                    <a:pt x="186" y="186"/>
                  </a:lnTo>
                  <a:close/>
                  <a:moveTo>
                    <a:pt x="442" y="42"/>
                  </a:moveTo>
                  <a:lnTo>
                    <a:pt x="442" y="42"/>
                  </a:lnTo>
                  <a:lnTo>
                    <a:pt x="438" y="42"/>
                  </a:lnTo>
                  <a:lnTo>
                    <a:pt x="438" y="30"/>
                  </a:lnTo>
                  <a:lnTo>
                    <a:pt x="438" y="30"/>
                  </a:lnTo>
                  <a:lnTo>
                    <a:pt x="436" y="26"/>
                  </a:lnTo>
                  <a:lnTo>
                    <a:pt x="434" y="22"/>
                  </a:lnTo>
                  <a:lnTo>
                    <a:pt x="434" y="22"/>
                  </a:lnTo>
                  <a:lnTo>
                    <a:pt x="410" y="12"/>
                  </a:lnTo>
                  <a:lnTo>
                    <a:pt x="388" y="6"/>
                  </a:lnTo>
                  <a:lnTo>
                    <a:pt x="364" y="2"/>
                  </a:lnTo>
                  <a:lnTo>
                    <a:pt x="338" y="0"/>
                  </a:lnTo>
                  <a:lnTo>
                    <a:pt x="338" y="0"/>
                  </a:lnTo>
                  <a:lnTo>
                    <a:pt x="310" y="2"/>
                  </a:lnTo>
                  <a:lnTo>
                    <a:pt x="284" y="8"/>
                  </a:lnTo>
                  <a:lnTo>
                    <a:pt x="256" y="16"/>
                  </a:lnTo>
                  <a:lnTo>
                    <a:pt x="232" y="30"/>
                  </a:lnTo>
                  <a:lnTo>
                    <a:pt x="232" y="30"/>
                  </a:lnTo>
                  <a:lnTo>
                    <a:pt x="208" y="16"/>
                  </a:lnTo>
                  <a:lnTo>
                    <a:pt x="182" y="8"/>
                  </a:lnTo>
                  <a:lnTo>
                    <a:pt x="154" y="2"/>
                  </a:lnTo>
                  <a:lnTo>
                    <a:pt x="126" y="0"/>
                  </a:lnTo>
                  <a:lnTo>
                    <a:pt x="126" y="0"/>
                  </a:lnTo>
                  <a:lnTo>
                    <a:pt x="100" y="2"/>
                  </a:lnTo>
                  <a:lnTo>
                    <a:pt x="76" y="6"/>
                  </a:lnTo>
                  <a:lnTo>
                    <a:pt x="54" y="12"/>
                  </a:lnTo>
                  <a:lnTo>
                    <a:pt x="32" y="22"/>
                  </a:lnTo>
                  <a:lnTo>
                    <a:pt x="32" y="22"/>
                  </a:lnTo>
                  <a:lnTo>
                    <a:pt x="28" y="26"/>
                  </a:lnTo>
                  <a:lnTo>
                    <a:pt x="26" y="30"/>
                  </a:lnTo>
                  <a:lnTo>
                    <a:pt x="26" y="42"/>
                  </a:lnTo>
                  <a:lnTo>
                    <a:pt x="26" y="42"/>
                  </a:lnTo>
                  <a:lnTo>
                    <a:pt x="24" y="42"/>
                  </a:lnTo>
                  <a:lnTo>
                    <a:pt x="22" y="42"/>
                  </a:lnTo>
                  <a:lnTo>
                    <a:pt x="22" y="42"/>
                  </a:lnTo>
                  <a:lnTo>
                    <a:pt x="12" y="50"/>
                  </a:lnTo>
                  <a:lnTo>
                    <a:pt x="6" y="58"/>
                  </a:lnTo>
                  <a:lnTo>
                    <a:pt x="2" y="68"/>
                  </a:lnTo>
                  <a:lnTo>
                    <a:pt x="0" y="80"/>
                  </a:lnTo>
                  <a:lnTo>
                    <a:pt x="0" y="260"/>
                  </a:lnTo>
                  <a:lnTo>
                    <a:pt x="0" y="260"/>
                  </a:lnTo>
                  <a:lnTo>
                    <a:pt x="2" y="272"/>
                  </a:lnTo>
                  <a:lnTo>
                    <a:pt x="6" y="280"/>
                  </a:lnTo>
                  <a:lnTo>
                    <a:pt x="12" y="290"/>
                  </a:lnTo>
                  <a:lnTo>
                    <a:pt x="20" y="296"/>
                  </a:lnTo>
                  <a:lnTo>
                    <a:pt x="20" y="296"/>
                  </a:lnTo>
                  <a:lnTo>
                    <a:pt x="30" y="300"/>
                  </a:lnTo>
                  <a:lnTo>
                    <a:pt x="40" y="302"/>
                  </a:lnTo>
                  <a:lnTo>
                    <a:pt x="50" y="302"/>
                  </a:lnTo>
                  <a:lnTo>
                    <a:pt x="60" y="298"/>
                  </a:lnTo>
                  <a:lnTo>
                    <a:pt x="60" y="298"/>
                  </a:lnTo>
                  <a:lnTo>
                    <a:pt x="76" y="290"/>
                  </a:lnTo>
                  <a:lnTo>
                    <a:pt x="92" y="284"/>
                  </a:lnTo>
                  <a:lnTo>
                    <a:pt x="110" y="282"/>
                  </a:lnTo>
                  <a:lnTo>
                    <a:pt x="128" y="280"/>
                  </a:lnTo>
                  <a:lnTo>
                    <a:pt x="128" y="280"/>
                  </a:lnTo>
                  <a:lnTo>
                    <a:pt x="150" y="282"/>
                  </a:lnTo>
                  <a:lnTo>
                    <a:pt x="170" y="286"/>
                  </a:lnTo>
                  <a:lnTo>
                    <a:pt x="190" y="294"/>
                  </a:lnTo>
                  <a:lnTo>
                    <a:pt x="208" y="306"/>
                  </a:lnTo>
                  <a:lnTo>
                    <a:pt x="208" y="306"/>
                  </a:lnTo>
                  <a:lnTo>
                    <a:pt x="220" y="310"/>
                  </a:lnTo>
                  <a:lnTo>
                    <a:pt x="232" y="312"/>
                  </a:lnTo>
                  <a:lnTo>
                    <a:pt x="242" y="310"/>
                  </a:lnTo>
                  <a:lnTo>
                    <a:pt x="254" y="304"/>
                  </a:lnTo>
                  <a:lnTo>
                    <a:pt x="254" y="304"/>
                  </a:lnTo>
                  <a:lnTo>
                    <a:pt x="272" y="294"/>
                  </a:lnTo>
                  <a:lnTo>
                    <a:pt x="292" y="286"/>
                  </a:lnTo>
                  <a:lnTo>
                    <a:pt x="314" y="282"/>
                  </a:lnTo>
                  <a:lnTo>
                    <a:pt x="334" y="280"/>
                  </a:lnTo>
                  <a:lnTo>
                    <a:pt x="334" y="280"/>
                  </a:lnTo>
                  <a:lnTo>
                    <a:pt x="352" y="282"/>
                  </a:lnTo>
                  <a:lnTo>
                    <a:pt x="370" y="284"/>
                  </a:lnTo>
                  <a:lnTo>
                    <a:pt x="386" y="290"/>
                  </a:lnTo>
                  <a:lnTo>
                    <a:pt x="402" y="298"/>
                  </a:lnTo>
                  <a:lnTo>
                    <a:pt x="402" y="298"/>
                  </a:lnTo>
                  <a:lnTo>
                    <a:pt x="412" y="302"/>
                  </a:lnTo>
                  <a:lnTo>
                    <a:pt x="422" y="302"/>
                  </a:lnTo>
                  <a:lnTo>
                    <a:pt x="434" y="300"/>
                  </a:lnTo>
                  <a:lnTo>
                    <a:pt x="442" y="296"/>
                  </a:lnTo>
                  <a:lnTo>
                    <a:pt x="442" y="296"/>
                  </a:lnTo>
                  <a:lnTo>
                    <a:pt x="452" y="290"/>
                  </a:lnTo>
                  <a:lnTo>
                    <a:pt x="458" y="280"/>
                  </a:lnTo>
                  <a:lnTo>
                    <a:pt x="462" y="272"/>
                  </a:lnTo>
                  <a:lnTo>
                    <a:pt x="462" y="260"/>
                  </a:lnTo>
                  <a:lnTo>
                    <a:pt x="462" y="80"/>
                  </a:lnTo>
                  <a:lnTo>
                    <a:pt x="462" y="80"/>
                  </a:lnTo>
                  <a:lnTo>
                    <a:pt x="462" y="68"/>
                  </a:lnTo>
                  <a:lnTo>
                    <a:pt x="456" y="58"/>
                  </a:lnTo>
                  <a:lnTo>
                    <a:pt x="450" y="50"/>
                  </a:lnTo>
                  <a:lnTo>
                    <a:pt x="442" y="42"/>
                  </a:lnTo>
                  <a:lnTo>
                    <a:pt x="442" y="42"/>
                  </a:lnTo>
                  <a:close/>
                  <a:moveTo>
                    <a:pt x="240" y="46"/>
                  </a:moveTo>
                  <a:lnTo>
                    <a:pt x="240" y="46"/>
                  </a:lnTo>
                  <a:lnTo>
                    <a:pt x="264" y="32"/>
                  </a:lnTo>
                  <a:lnTo>
                    <a:pt x="288" y="24"/>
                  </a:lnTo>
                  <a:lnTo>
                    <a:pt x="312" y="18"/>
                  </a:lnTo>
                  <a:lnTo>
                    <a:pt x="338" y="16"/>
                  </a:lnTo>
                  <a:lnTo>
                    <a:pt x="338" y="16"/>
                  </a:lnTo>
                  <a:lnTo>
                    <a:pt x="360" y="18"/>
                  </a:lnTo>
                  <a:lnTo>
                    <a:pt x="380" y="22"/>
                  </a:lnTo>
                  <a:lnTo>
                    <a:pt x="400" y="28"/>
                  </a:lnTo>
                  <a:lnTo>
                    <a:pt x="420" y="36"/>
                  </a:lnTo>
                  <a:lnTo>
                    <a:pt x="420" y="250"/>
                  </a:lnTo>
                  <a:lnTo>
                    <a:pt x="420" y="250"/>
                  </a:lnTo>
                  <a:lnTo>
                    <a:pt x="400" y="242"/>
                  </a:lnTo>
                  <a:lnTo>
                    <a:pt x="380" y="238"/>
                  </a:lnTo>
                  <a:lnTo>
                    <a:pt x="360" y="234"/>
                  </a:lnTo>
                  <a:lnTo>
                    <a:pt x="338" y="232"/>
                  </a:lnTo>
                  <a:lnTo>
                    <a:pt x="338" y="232"/>
                  </a:lnTo>
                  <a:lnTo>
                    <a:pt x="314" y="234"/>
                  </a:lnTo>
                  <a:lnTo>
                    <a:pt x="288" y="240"/>
                  </a:lnTo>
                  <a:lnTo>
                    <a:pt x="264" y="248"/>
                  </a:lnTo>
                  <a:lnTo>
                    <a:pt x="240" y="258"/>
                  </a:lnTo>
                  <a:lnTo>
                    <a:pt x="240" y="46"/>
                  </a:lnTo>
                  <a:close/>
                  <a:moveTo>
                    <a:pt x="44" y="36"/>
                  </a:moveTo>
                  <a:lnTo>
                    <a:pt x="44" y="36"/>
                  </a:lnTo>
                  <a:lnTo>
                    <a:pt x="64" y="28"/>
                  </a:lnTo>
                  <a:lnTo>
                    <a:pt x="84" y="22"/>
                  </a:lnTo>
                  <a:lnTo>
                    <a:pt x="104" y="18"/>
                  </a:lnTo>
                  <a:lnTo>
                    <a:pt x="126" y="16"/>
                  </a:lnTo>
                  <a:lnTo>
                    <a:pt x="126" y="16"/>
                  </a:lnTo>
                  <a:lnTo>
                    <a:pt x="152" y="18"/>
                  </a:lnTo>
                  <a:lnTo>
                    <a:pt x="176" y="24"/>
                  </a:lnTo>
                  <a:lnTo>
                    <a:pt x="200" y="32"/>
                  </a:lnTo>
                  <a:lnTo>
                    <a:pt x="224" y="46"/>
                  </a:lnTo>
                  <a:lnTo>
                    <a:pt x="224" y="258"/>
                  </a:lnTo>
                  <a:lnTo>
                    <a:pt x="224" y="258"/>
                  </a:lnTo>
                  <a:lnTo>
                    <a:pt x="200" y="248"/>
                  </a:lnTo>
                  <a:lnTo>
                    <a:pt x="176" y="240"/>
                  </a:lnTo>
                  <a:lnTo>
                    <a:pt x="152" y="234"/>
                  </a:lnTo>
                  <a:lnTo>
                    <a:pt x="126" y="232"/>
                  </a:lnTo>
                  <a:lnTo>
                    <a:pt x="126" y="232"/>
                  </a:lnTo>
                  <a:lnTo>
                    <a:pt x="104" y="234"/>
                  </a:lnTo>
                  <a:lnTo>
                    <a:pt x="84" y="238"/>
                  </a:lnTo>
                  <a:lnTo>
                    <a:pt x="64" y="242"/>
                  </a:lnTo>
                  <a:lnTo>
                    <a:pt x="44" y="250"/>
                  </a:lnTo>
                  <a:lnTo>
                    <a:pt x="44" y="36"/>
                  </a:lnTo>
                  <a:close/>
                  <a:moveTo>
                    <a:pt x="450" y="260"/>
                  </a:moveTo>
                  <a:lnTo>
                    <a:pt x="450" y="260"/>
                  </a:lnTo>
                  <a:lnTo>
                    <a:pt x="450" y="268"/>
                  </a:lnTo>
                  <a:lnTo>
                    <a:pt x="446" y="274"/>
                  </a:lnTo>
                  <a:lnTo>
                    <a:pt x="442" y="280"/>
                  </a:lnTo>
                  <a:lnTo>
                    <a:pt x="436" y="286"/>
                  </a:lnTo>
                  <a:lnTo>
                    <a:pt x="436" y="286"/>
                  </a:lnTo>
                  <a:lnTo>
                    <a:pt x="430" y="288"/>
                  </a:lnTo>
                  <a:lnTo>
                    <a:pt x="422" y="290"/>
                  </a:lnTo>
                  <a:lnTo>
                    <a:pt x="416" y="290"/>
                  </a:lnTo>
                  <a:lnTo>
                    <a:pt x="408" y="286"/>
                  </a:lnTo>
                  <a:lnTo>
                    <a:pt x="408" y="286"/>
                  </a:lnTo>
                  <a:lnTo>
                    <a:pt x="390" y="278"/>
                  </a:lnTo>
                  <a:lnTo>
                    <a:pt x="372" y="272"/>
                  </a:lnTo>
                  <a:lnTo>
                    <a:pt x="354" y="268"/>
                  </a:lnTo>
                  <a:lnTo>
                    <a:pt x="334" y="268"/>
                  </a:lnTo>
                  <a:lnTo>
                    <a:pt x="334" y="268"/>
                  </a:lnTo>
                  <a:lnTo>
                    <a:pt x="312" y="270"/>
                  </a:lnTo>
                  <a:lnTo>
                    <a:pt x="288" y="274"/>
                  </a:lnTo>
                  <a:lnTo>
                    <a:pt x="268" y="284"/>
                  </a:lnTo>
                  <a:lnTo>
                    <a:pt x="246" y="294"/>
                  </a:lnTo>
                  <a:lnTo>
                    <a:pt x="246" y="294"/>
                  </a:lnTo>
                  <a:lnTo>
                    <a:pt x="240" y="298"/>
                  </a:lnTo>
                  <a:lnTo>
                    <a:pt x="232" y="300"/>
                  </a:lnTo>
                  <a:lnTo>
                    <a:pt x="224" y="298"/>
                  </a:lnTo>
                  <a:lnTo>
                    <a:pt x="216" y="294"/>
                  </a:lnTo>
                  <a:lnTo>
                    <a:pt x="216" y="294"/>
                  </a:lnTo>
                  <a:lnTo>
                    <a:pt x="196" y="284"/>
                  </a:lnTo>
                  <a:lnTo>
                    <a:pt x="174" y="274"/>
                  </a:lnTo>
                  <a:lnTo>
                    <a:pt x="152" y="270"/>
                  </a:lnTo>
                  <a:lnTo>
                    <a:pt x="128" y="268"/>
                  </a:lnTo>
                  <a:lnTo>
                    <a:pt x="128" y="268"/>
                  </a:lnTo>
                  <a:lnTo>
                    <a:pt x="108" y="268"/>
                  </a:lnTo>
                  <a:lnTo>
                    <a:pt x="90" y="272"/>
                  </a:lnTo>
                  <a:lnTo>
                    <a:pt x="72" y="278"/>
                  </a:lnTo>
                  <a:lnTo>
                    <a:pt x="54" y="286"/>
                  </a:lnTo>
                  <a:lnTo>
                    <a:pt x="54" y="286"/>
                  </a:lnTo>
                  <a:lnTo>
                    <a:pt x="46" y="290"/>
                  </a:lnTo>
                  <a:lnTo>
                    <a:pt x="40" y="290"/>
                  </a:lnTo>
                  <a:lnTo>
                    <a:pt x="32" y="288"/>
                  </a:lnTo>
                  <a:lnTo>
                    <a:pt x="26" y="286"/>
                  </a:lnTo>
                  <a:lnTo>
                    <a:pt x="26" y="286"/>
                  </a:lnTo>
                  <a:lnTo>
                    <a:pt x="20" y="280"/>
                  </a:lnTo>
                  <a:lnTo>
                    <a:pt x="16" y="274"/>
                  </a:lnTo>
                  <a:lnTo>
                    <a:pt x="14" y="268"/>
                  </a:lnTo>
                  <a:lnTo>
                    <a:pt x="12" y="260"/>
                  </a:lnTo>
                  <a:lnTo>
                    <a:pt x="12" y="80"/>
                  </a:lnTo>
                  <a:lnTo>
                    <a:pt x="12" y="80"/>
                  </a:lnTo>
                  <a:lnTo>
                    <a:pt x="14" y="72"/>
                  </a:lnTo>
                  <a:lnTo>
                    <a:pt x="16" y="66"/>
                  </a:lnTo>
                  <a:lnTo>
                    <a:pt x="20" y="58"/>
                  </a:lnTo>
                  <a:lnTo>
                    <a:pt x="26" y="54"/>
                  </a:lnTo>
                  <a:lnTo>
                    <a:pt x="26" y="264"/>
                  </a:lnTo>
                  <a:lnTo>
                    <a:pt x="26" y="264"/>
                  </a:lnTo>
                  <a:lnTo>
                    <a:pt x="28" y="268"/>
                  </a:lnTo>
                  <a:lnTo>
                    <a:pt x="30" y="272"/>
                  </a:lnTo>
                  <a:lnTo>
                    <a:pt x="30" y="272"/>
                  </a:lnTo>
                  <a:lnTo>
                    <a:pt x="36" y="272"/>
                  </a:lnTo>
                  <a:lnTo>
                    <a:pt x="40" y="272"/>
                  </a:lnTo>
                  <a:lnTo>
                    <a:pt x="40" y="272"/>
                  </a:lnTo>
                  <a:lnTo>
                    <a:pt x="60" y="262"/>
                  </a:lnTo>
                  <a:lnTo>
                    <a:pt x="82" y="256"/>
                  </a:lnTo>
                  <a:lnTo>
                    <a:pt x="104" y="252"/>
                  </a:lnTo>
                  <a:lnTo>
                    <a:pt x="126" y="250"/>
                  </a:lnTo>
                  <a:lnTo>
                    <a:pt x="126" y="250"/>
                  </a:lnTo>
                  <a:lnTo>
                    <a:pt x="152" y="252"/>
                  </a:lnTo>
                  <a:lnTo>
                    <a:pt x="178" y="258"/>
                  </a:lnTo>
                  <a:lnTo>
                    <a:pt x="204" y="268"/>
                  </a:lnTo>
                  <a:lnTo>
                    <a:pt x="228" y="280"/>
                  </a:lnTo>
                  <a:lnTo>
                    <a:pt x="228" y="280"/>
                  </a:lnTo>
                  <a:lnTo>
                    <a:pt x="228" y="282"/>
                  </a:lnTo>
                  <a:lnTo>
                    <a:pt x="228" y="282"/>
                  </a:lnTo>
                  <a:lnTo>
                    <a:pt x="228" y="282"/>
                  </a:lnTo>
                  <a:lnTo>
                    <a:pt x="230" y="282"/>
                  </a:lnTo>
                  <a:lnTo>
                    <a:pt x="230" y="282"/>
                  </a:lnTo>
                  <a:lnTo>
                    <a:pt x="230" y="282"/>
                  </a:lnTo>
                  <a:lnTo>
                    <a:pt x="232" y="282"/>
                  </a:lnTo>
                  <a:lnTo>
                    <a:pt x="232" y="282"/>
                  </a:lnTo>
                  <a:lnTo>
                    <a:pt x="232" y="282"/>
                  </a:lnTo>
                  <a:lnTo>
                    <a:pt x="232" y="282"/>
                  </a:lnTo>
                  <a:lnTo>
                    <a:pt x="234" y="282"/>
                  </a:lnTo>
                  <a:lnTo>
                    <a:pt x="234" y="282"/>
                  </a:lnTo>
                  <a:lnTo>
                    <a:pt x="234" y="282"/>
                  </a:lnTo>
                  <a:lnTo>
                    <a:pt x="236" y="282"/>
                  </a:lnTo>
                  <a:lnTo>
                    <a:pt x="236" y="282"/>
                  </a:lnTo>
                  <a:lnTo>
                    <a:pt x="236" y="282"/>
                  </a:lnTo>
                  <a:lnTo>
                    <a:pt x="236" y="282"/>
                  </a:lnTo>
                  <a:lnTo>
                    <a:pt x="236" y="280"/>
                  </a:lnTo>
                  <a:lnTo>
                    <a:pt x="236" y="280"/>
                  </a:lnTo>
                  <a:lnTo>
                    <a:pt x="236" y="280"/>
                  </a:lnTo>
                  <a:lnTo>
                    <a:pt x="260" y="268"/>
                  </a:lnTo>
                  <a:lnTo>
                    <a:pt x="286" y="258"/>
                  </a:lnTo>
                  <a:lnTo>
                    <a:pt x="312" y="252"/>
                  </a:lnTo>
                  <a:lnTo>
                    <a:pt x="338" y="250"/>
                  </a:lnTo>
                  <a:lnTo>
                    <a:pt x="338" y="250"/>
                  </a:lnTo>
                  <a:lnTo>
                    <a:pt x="362" y="252"/>
                  </a:lnTo>
                  <a:lnTo>
                    <a:pt x="384" y="256"/>
                  </a:lnTo>
                  <a:lnTo>
                    <a:pt x="404" y="262"/>
                  </a:lnTo>
                  <a:lnTo>
                    <a:pt x="424" y="272"/>
                  </a:lnTo>
                  <a:lnTo>
                    <a:pt x="424" y="272"/>
                  </a:lnTo>
                  <a:lnTo>
                    <a:pt x="430" y="272"/>
                  </a:lnTo>
                  <a:lnTo>
                    <a:pt x="434" y="272"/>
                  </a:lnTo>
                  <a:lnTo>
                    <a:pt x="434" y="272"/>
                  </a:lnTo>
                  <a:lnTo>
                    <a:pt x="436" y="268"/>
                  </a:lnTo>
                  <a:lnTo>
                    <a:pt x="438" y="264"/>
                  </a:lnTo>
                  <a:lnTo>
                    <a:pt x="438" y="56"/>
                  </a:lnTo>
                  <a:lnTo>
                    <a:pt x="438" y="56"/>
                  </a:lnTo>
                  <a:lnTo>
                    <a:pt x="442" y="60"/>
                  </a:lnTo>
                  <a:lnTo>
                    <a:pt x="446" y="66"/>
                  </a:lnTo>
                  <a:lnTo>
                    <a:pt x="450" y="72"/>
                  </a:lnTo>
                  <a:lnTo>
                    <a:pt x="450" y="80"/>
                  </a:lnTo>
                  <a:lnTo>
                    <a:pt x="450" y="2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40" name="Group 439">
            <a:extLst>
              <a:ext uri="{FF2B5EF4-FFF2-40B4-BE49-F238E27FC236}">
                <a16:creationId xmlns:a16="http://schemas.microsoft.com/office/drawing/2014/main" id="{0CEE6C3B-A85F-48B0-BAC4-69658EAF8FFA}"/>
              </a:ext>
            </a:extLst>
          </p:cNvPr>
          <p:cNvGrpSpPr/>
          <p:nvPr/>
        </p:nvGrpSpPr>
        <p:grpSpPr>
          <a:xfrm>
            <a:off x="7935231" y="3133752"/>
            <a:ext cx="612775" cy="612775"/>
            <a:chOff x="592807" y="3032119"/>
            <a:chExt cx="612775" cy="612775"/>
          </a:xfrm>
          <a:solidFill>
            <a:srgbClr val="505050"/>
          </a:solidFill>
        </p:grpSpPr>
        <p:sp>
          <p:nvSpPr>
            <p:cNvPr id="441" name="Oval 440">
              <a:extLst>
                <a:ext uri="{FF2B5EF4-FFF2-40B4-BE49-F238E27FC236}">
                  <a16:creationId xmlns:a16="http://schemas.microsoft.com/office/drawing/2014/main" id="{3350D93E-46A0-4D44-BE11-683D6B5A2DE9}"/>
                </a:ext>
              </a:extLst>
            </p:cNvPr>
            <p:cNvSpPr/>
            <p:nvPr/>
          </p:nvSpPr>
          <p:spPr bwMode="ltGray">
            <a:xfrm>
              <a:off x="592807"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42" name="Freeform 57">
              <a:extLst>
                <a:ext uri="{FF2B5EF4-FFF2-40B4-BE49-F238E27FC236}">
                  <a16:creationId xmlns:a16="http://schemas.microsoft.com/office/drawing/2014/main" id="{101AE96F-D7AA-40F9-AC46-7D35D5025C22}"/>
                </a:ext>
              </a:extLst>
            </p:cNvPr>
            <p:cNvSpPr>
              <a:spLocks noEditPoints="1"/>
            </p:cNvSpPr>
            <p:nvPr/>
          </p:nvSpPr>
          <p:spPr bwMode="auto">
            <a:xfrm>
              <a:off x="785903" y="3098472"/>
              <a:ext cx="323850" cy="500063"/>
            </a:xfrm>
            <a:custGeom>
              <a:avLst/>
              <a:gdLst>
                <a:gd name="T0" fmla="*/ 32 w 611"/>
                <a:gd name="T1" fmla="*/ 25 h 947"/>
                <a:gd name="T2" fmla="*/ 53 w 611"/>
                <a:gd name="T3" fmla="*/ 2 h 947"/>
                <a:gd name="T4" fmla="*/ 77 w 611"/>
                <a:gd name="T5" fmla="*/ 3 h 947"/>
                <a:gd name="T6" fmla="*/ 118 w 611"/>
                <a:gd name="T7" fmla="*/ 82 h 947"/>
                <a:gd name="T8" fmla="*/ 116 w 611"/>
                <a:gd name="T9" fmla="*/ 107 h 947"/>
                <a:gd name="T10" fmla="*/ 98 w 611"/>
                <a:gd name="T11" fmla="*/ 124 h 947"/>
                <a:gd name="T12" fmla="*/ 76 w 611"/>
                <a:gd name="T13" fmla="*/ 124 h 947"/>
                <a:gd name="T14" fmla="*/ 57 w 611"/>
                <a:gd name="T15" fmla="*/ 109 h 947"/>
                <a:gd name="T16" fmla="*/ 285 w 611"/>
                <a:gd name="T17" fmla="*/ 536 h 947"/>
                <a:gd name="T18" fmla="*/ 259 w 611"/>
                <a:gd name="T19" fmla="*/ 521 h 947"/>
                <a:gd name="T20" fmla="*/ 234 w 611"/>
                <a:gd name="T21" fmla="*/ 530 h 947"/>
                <a:gd name="T22" fmla="*/ 224 w 611"/>
                <a:gd name="T23" fmla="*/ 559 h 947"/>
                <a:gd name="T24" fmla="*/ 259 w 611"/>
                <a:gd name="T25" fmla="*/ 645 h 947"/>
                <a:gd name="T26" fmla="*/ 288 w 611"/>
                <a:gd name="T27" fmla="*/ 654 h 947"/>
                <a:gd name="T28" fmla="*/ 310 w 611"/>
                <a:gd name="T29" fmla="*/ 641 h 947"/>
                <a:gd name="T30" fmla="*/ 313 w 611"/>
                <a:gd name="T31" fmla="*/ 610 h 947"/>
                <a:gd name="T32" fmla="*/ 592 w 611"/>
                <a:gd name="T33" fmla="*/ 726 h 947"/>
                <a:gd name="T34" fmla="*/ 592 w 611"/>
                <a:gd name="T35" fmla="*/ 698 h 947"/>
                <a:gd name="T36" fmla="*/ 320 w 611"/>
                <a:gd name="T37" fmla="*/ 352 h 947"/>
                <a:gd name="T38" fmla="*/ 328 w 611"/>
                <a:gd name="T39" fmla="*/ 288 h 947"/>
                <a:gd name="T40" fmla="*/ 313 w 611"/>
                <a:gd name="T41" fmla="*/ 232 h 947"/>
                <a:gd name="T42" fmla="*/ 276 w 611"/>
                <a:gd name="T43" fmla="*/ 181 h 947"/>
                <a:gd name="T44" fmla="*/ 224 w 611"/>
                <a:gd name="T45" fmla="*/ 149 h 947"/>
                <a:gd name="T46" fmla="*/ 164 w 611"/>
                <a:gd name="T47" fmla="*/ 137 h 947"/>
                <a:gd name="T48" fmla="*/ 106 w 611"/>
                <a:gd name="T49" fmla="*/ 148 h 947"/>
                <a:gd name="T50" fmla="*/ 62 w 611"/>
                <a:gd name="T51" fmla="*/ 173 h 947"/>
                <a:gd name="T52" fmla="*/ 22 w 611"/>
                <a:gd name="T53" fmla="*/ 219 h 947"/>
                <a:gd name="T54" fmla="*/ 1 w 611"/>
                <a:gd name="T55" fmla="*/ 277 h 947"/>
                <a:gd name="T56" fmla="*/ 2 w 611"/>
                <a:gd name="T57" fmla="*/ 331 h 947"/>
                <a:gd name="T58" fmla="*/ 24 w 611"/>
                <a:gd name="T59" fmla="*/ 389 h 947"/>
                <a:gd name="T60" fmla="*/ 78 w 611"/>
                <a:gd name="T61" fmla="*/ 443 h 947"/>
                <a:gd name="T62" fmla="*/ 97 w 611"/>
                <a:gd name="T63" fmla="*/ 883 h 947"/>
                <a:gd name="T64" fmla="*/ 115 w 611"/>
                <a:gd name="T65" fmla="*/ 903 h 947"/>
                <a:gd name="T66" fmla="*/ 126 w 611"/>
                <a:gd name="T67" fmla="*/ 945 h 947"/>
                <a:gd name="T68" fmla="*/ 141 w 611"/>
                <a:gd name="T69" fmla="*/ 944 h 947"/>
                <a:gd name="T70" fmla="*/ 148 w 611"/>
                <a:gd name="T71" fmla="*/ 905 h 947"/>
                <a:gd name="T72" fmla="*/ 168 w 611"/>
                <a:gd name="T73" fmla="*/ 883 h 947"/>
                <a:gd name="T74" fmla="*/ 166 w 611"/>
                <a:gd name="T75" fmla="*/ 347 h 947"/>
                <a:gd name="T76" fmla="*/ 144 w 611"/>
                <a:gd name="T77" fmla="*/ 320 h 947"/>
                <a:gd name="T78" fmla="*/ 114 w 611"/>
                <a:gd name="T79" fmla="*/ 320 h 947"/>
                <a:gd name="T80" fmla="*/ 92 w 611"/>
                <a:gd name="T81" fmla="*/ 348 h 947"/>
                <a:gd name="T82" fmla="*/ 76 w 611"/>
                <a:gd name="T83" fmla="*/ 399 h 947"/>
                <a:gd name="T84" fmla="*/ 46 w 611"/>
                <a:gd name="T85" fmla="*/ 357 h 947"/>
                <a:gd name="T86" fmla="*/ 33 w 611"/>
                <a:gd name="T87" fmla="*/ 313 h 947"/>
                <a:gd name="T88" fmla="*/ 37 w 611"/>
                <a:gd name="T89" fmla="*/ 273 h 947"/>
                <a:gd name="T90" fmla="*/ 56 w 611"/>
                <a:gd name="T91" fmla="*/ 229 h 947"/>
                <a:gd name="T92" fmla="*/ 91 w 611"/>
                <a:gd name="T93" fmla="*/ 194 h 947"/>
                <a:gd name="T94" fmla="*/ 129 w 611"/>
                <a:gd name="T95" fmla="*/ 175 h 947"/>
                <a:gd name="T96" fmla="*/ 173 w 611"/>
                <a:gd name="T97" fmla="*/ 172 h 947"/>
                <a:gd name="T98" fmla="*/ 221 w 611"/>
                <a:gd name="T99" fmla="*/ 185 h 947"/>
                <a:gd name="T100" fmla="*/ 260 w 611"/>
                <a:gd name="T101" fmla="*/ 214 h 947"/>
                <a:gd name="T102" fmla="*/ 286 w 611"/>
                <a:gd name="T103" fmla="*/ 257 h 947"/>
                <a:gd name="T104" fmla="*/ 295 w 611"/>
                <a:gd name="T105" fmla="*/ 302 h 947"/>
                <a:gd name="T106" fmla="*/ 253 w 611"/>
                <a:gd name="T107" fmla="*/ 295 h 947"/>
                <a:gd name="T108" fmla="*/ 227 w 611"/>
                <a:gd name="T109" fmla="*/ 282 h 947"/>
                <a:gd name="T110" fmla="*/ 200 w 611"/>
                <a:gd name="T111" fmla="*/ 291 h 947"/>
                <a:gd name="T112" fmla="*/ 187 w 611"/>
                <a:gd name="T113" fmla="*/ 324 h 947"/>
                <a:gd name="T114" fmla="*/ 529 w 611"/>
                <a:gd name="T115" fmla="*/ 736 h 947"/>
                <a:gd name="T116" fmla="*/ 557 w 611"/>
                <a:gd name="T117" fmla="*/ 750 h 947"/>
                <a:gd name="T118" fmla="*/ 596 w 611"/>
                <a:gd name="T119" fmla="*/ 772 h 947"/>
                <a:gd name="T120" fmla="*/ 608 w 611"/>
                <a:gd name="T121" fmla="*/ 771 h 947"/>
                <a:gd name="T122" fmla="*/ 609 w 611"/>
                <a:gd name="T123" fmla="*/ 756 h 9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1" h="947">
                  <a:moveTo>
                    <a:pt x="33" y="44"/>
                  </a:moveTo>
                  <a:lnTo>
                    <a:pt x="33" y="44"/>
                  </a:lnTo>
                  <a:lnTo>
                    <a:pt x="31" y="37"/>
                  </a:lnTo>
                  <a:lnTo>
                    <a:pt x="31" y="32"/>
                  </a:lnTo>
                  <a:lnTo>
                    <a:pt x="32" y="25"/>
                  </a:lnTo>
                  <a:lnTo>
                    <a:pt x="34" y="19"/>
                  </a:lnTo>
                  <a:lnTo>
                    <a:pt x="37" y="13"/>
                  </a:lnTo>
                  <a:lnTo>
                    <a:pt x="41" y="9"/>
                  </a:lnTo>
                  <a:lnTo>
                    <a:pt x="46" y="5"/>
                  </a:lnTo>
                  <a:lnTo>
                    <a:pt x="53" y="2"/>
                  </a:lnTo>
                  <a:lnTo>
                    <a:pt x="53" y="2"/>
                  </a:lnTo>
                  <a:lnTo>
                    <a:pt x="59" y="0"/>
                  </a:lnTo>
                  <a:lnTo>
                    <a:pt x="66" y="0"/>
                  </a:lnTo>
                  <a:lnTo>
                    <a:pt x="71" y="0"/>
                  </a:lnTo>
                  <a:lnTo>
                    <a:pt x="77" y="3"/>
                  </a:lnTo>
                  <a:lnTo>
                    <a:pt x="83" y="6"/>
                  </a:lnTo>
                  <a:lnTo>
                    <a:pt x="88" y="10"/>
                  </a:lnTo>
                  <a:lnTo>
                    <a:pt x="92" y="15"/>
                  </a:lnTo>
                  <a:lnTo>
                    <a:pt x="94" y="21"/>
                  </a:lnTo>
                  <a:lnTo>
                    <a:pt x="118" y="82"/>
                  </a:lnTo>
                  <a:lnTo>
                    <a:pt x="118" y="82"/>
                  </a:lnTo>
                  <a:lnTo>
                    <a:pt x="119" y="88"/>
                  </a:lnTo>
                  <a:lnTo>
                    <a:pt x="119" y="94"/>
                  </a:lnTo>
                  <a:lnTo>
                    <a:pt x="119" y="101"/>
                  </a:lnTo>
                  <a:lnTo>
                    <a:pt x="116" y="107"/>
                  </a:lnTo>
                  <a:lnTo>
                    <a:pt x="113" y="113"/>
                  </a:lnTo>
                  <a:lnTo>
                    <a:pt x="108" y="117"/>
                  </a:lnTo>
                  <a:lnTo>
                    <a:pt x="104" y="121"/>
                  </a:lnTo>
                  <a:lnTo>
                    <a:pt x="98" y="124"/>
                  </a:lnTo>
                  <a:lnTo>
                    <a:pt x="98" y="124"/>
                  </a:lnTo>
                  <a:lnTo>
                    <a:pt x="92" y="126"/>
                  </a:lnTo>
                  <a:lnTo>
                    <a:pt x="86" y="127"/>
                  </a:lnTo>
                  <a:lnTo>
                    <a:pt x="86" y="127"/>
                  </a:lnTo>
                  <a:lnTo>
                    <a:pt x="82" y="126"/>
                  </a:lnTo>
                  <a:lnTo>
                    <a:pt x="76" y="124"/>
                  </a:lnTo>
                  <a:lnTo>
                    <a:pt x="71" y="123"/>
                  </a:lnTo>
                  <a:lnTo>
                    <a:pt x="68" y="121"/>
                  </a:lnTo>
                  <a:lnTo>
                    <a:pt x="63" y="117"/>
                  </a:lnTo>
                  <a:lnTo>
                    <a:pt x="60" y="114"/>
                  </a:lnTo>
                  <a:lnTo>
                    <a:pt x="57" y="109"/>
                  </a:lnTo>
                  <a:lnTo>
                    <a:pt x="55" y="105"/>
                  </a:lnTo>
                  <a:lnTo>
                    <a:pt x="33" y="44"/>
                  </a:lnTo>
                  <a:close/>
                  <a:moveTo>
                    <a:pt x="288" y="542"/>
                  </a:moveTo>
                  <a:lnTo>
                    <a:pt x="288" y="542"/>
                  </a:lnTo>
                  <a:lnTo>
                    <a:pt x="285" y="536"/>
                  </a:lnTo>
                  <a:lnTo>
                    <a:pt x="281" y="531"/>
                  </a:lnTo>
                  <a:lnTo>
                    <a:pt x="276" y="527"/>
                  </a:lnTo>
                  <a:lnTo>
                    <a:pt x="271" y="524"/>
                  </a:lnTo>
                  <a:lnTo>
                    <a:pt x="264" y="522"/>
                  </a:lnTo>
                  <a:lnTo>
                    <a:pt x="259" y="521"/>
                  </a:lnTo>
                  <a:lnTo>
                    <a:pt x="252" y="521"/>
                  </a:lnTo>
                  <a:lnTo>
                    <a:pt x="246" y="523"/>
                  </a:lnTo>
                  <a:lnTo>
                    <a:pt x="246" y="523"/>
                  </a:lnTo>
                  <a:lnTo>
                    <a:pt x="240" y="525"/>
                  </a:lnTo>
                  <a:lnTo>
                    <a:pt x="234" y="530"/>
                  </a:lnTo>
                  <a:lnTo>
                    <a:pt x="230" y="535"/>
                  </a:lnTo>
                  <a:lnTo>
                    <a:pt x="227" y="541"/>
                  </a:lnTo>
                  <a:lnTo>
                    <a:pt x="225" y="546"/>
                  </a:lnTo>
                  <a:lnTo>
                    <a:pt x="224" y="552"/>
                  </a:lnTo>
                  <a:lnTo>
                    <a:pt x="224" y="559"/>
                  </a:lnTo>
                  <a:lnTo>
                    <a:pt x="226" y="565"/>
                  </a:lnTo>
                  <a:lnTo>
                    <a:pt x="252" y="633"/>
                  </a:lnTo>
                  <a:lnTo>
                    <a:pt x="252" y="633"/>
                  </a:lnTo>
                  <a:lnTo>
                    <a:pt x="254" y="639"/>
                  </a:lnTo>
                  <a:lnTo>
                    <a:pt x="259" y="645"/>
                  </a:lnTo>
                  <a:lnTo>
                    <a:pt x="263" y="648"/>
                  </a:lnTo>
                  <a:lnTo>
                    <a:pt x="268" y="652"/>
                  </a:lnTo>
                  <a:lnTo>
                    <a:pt x="275" y="654"/>
                  </a:lnTo>
                  <a:lnTo>
                    <a:pt x="281" y="655"/>
                  </a:lnTo>
                  <a:lnTo>
                    <a:pt x="288" y="654"/>
                  </a:lnTo>
                  <a:lnTo>
                    <a:pt x="293" y="653"/>
                  </a:lnTo>
                  <a:lnTo>
                    <a:pt x="293" y="653"/>
                  </a:lnTo>
                  <a:lnTo>
                    <a:pt x="299" y="650"/>
                  </a:lnTo>
                  <a:lnTo>
                    <a:pt x="305" y="646"/>
                  </a:lnTo>
                  <a:lnTo>
                    <a:pt x="310" y="641"/>
                  </a:lnTo>
                  <a:lnTo>
                    <a:pt x="312" y="636"/>
                  </a:lnTo>
                  <a:lnTo>
                    <a:pt x="314" y="630"/>
                  </a:lnTo>
                  <a:lnTo>
                    <a:pt x="315" y="624"/>
                  </a:lnTo>
                  <a:lnTo>
                    <a:pt x="315" y="617"/>
                  </a:lnTo>
                  <a:lnTo>
                    <a:pt x="313" y="610"/>
                  </a:lnTo>
                  <a:lnTo>
                    <a:pt x="288" y="542"/>
                  </a:lnTo>
                  <a:close/>
                  <a:moveTo>
                    <a:pt x="609" y="756"/>
                  </a:moveTo>
                  <a:lnTo>
                    <a:pt x="589" y="732"/>
                  </a:lnTo>
                  <a:lnTo>
                    <a:pt x="589" y="732"/>
                  </a:lnTo>
                  <a:lnTo>
                    <a:pt x="592" y="726"/>
                  </a:lnTo>
                  <a:lnTo>
                    <a:pt x="594" y="720"/>
                  </a:lnTo>
                  <a:lnTo>
                    <a:pt x="595" y="714"/>
                  </a:lnTo>
                  <a:lnTo>
                    <a:pt x="595" y="710"/>
                  </a:lnTo>
                  <a:lnTo>
                    <a:pt x="594" y="704"/>
                  </a:lnTo>
                  <a:lnTo>
                    <a:pt x="592" y="698"/>
                  </a:lnTo>
                  <a:lnTo>
                    <a:pt x="589" y="692"/>
                  </a:lnTo>
                  <a:lnTo>
                    <a:pt x="586" y="688"/>
                  </a:lnTo>
                  <a:lnTo>
                    <a:pt x="314" y="368"/>
                  </a:lnTo>
                  <a:lnTo>
                    <a:pt x="314" y="368"/>
                  </a:lnTo>
                  <a:lnTo>
                    <a:pt x="320" y="352"/>
                  </a:lnTo>
                  <a:lnTo>
                    <a:pt x="325" y="335"/>
                  </a:lnTo>
                  <a:lnTo>
                    <a:pt x="327" y="319"/>
                  </a:lnTo>
                  <a:lnTo>
                    <a:pt x="328" y="302"/>
                  </a:lnTo>
                  <a:lnTo>
                    <a:pt x="328" y="302"/>
                  </a:lnTo>
                  <a:lnTo>
                    <a:pt x="328" y="288"/>
                  </a:lnTo>
                  <a:lnTo>
                    <a:pt x="326" y="273"/>
                  </a:lnTo>
                  <a:lnTo>
                    <a:pt x="322" y="259"/>
                  </a:lnTo>
                  <a:lnTo>
                    <a:pt x="318" y="245"/>
                  </a:lnTo>
                  <a:lnTo>
                    <a:pt x="318" y="245"/>
                  </a:lnTo>
                  <a:lnTo>
                    <a:pt x="313" y="232"/>
                  </a:lnTo>
                  <a:lnTo>
                    <a:pt x="307" y="221"/>
                  </a:lnTo>
                  <a:lnTo>
                    <a:pt x="300" y="210"/>
                  </a:lnTo>
                  <a:lnTo>
                    <a:pt x="292" y="200"/>
                  </a:lnTo>
                  <a:lnTo>
                    <a:pt x="284" y="190"/>
                  </a:lnTo>
                  <a:lnTo>
                    <a:pt x="276" y="181"/>
                  </a:lnTo>
                  <a:lnTo>
                    <a:pt x="267" y="173"/>
                  </a:lnTo>
                  <a:lnTo>
                    <a:pt x="256" y="166"/>
                  </a:lnTo>
                  <a:lnTo>
                    <a:pt x="246" y="159"/>
                  </a:lnTo>
                  <a:lnTo>
                    <a:pt x="236" y="153"/>
                  </a:lnTo>
                  <a:lnTo>
                    <a:pt x="224" y="149"/>
                  </a:lnTo>
                  <a:lnTo>
                    <a:pt x="212" y="145"/>
                  </a:lnTo>
                  <a:lnTo>
                    <a:pt x="201" y="142"/>
                  </a:lnTo>
                  <a:lnTo>
                    <a:pt x="188" y="139"/>
                  </a:lnTo>
                  <a:lnTo>
                    <a:pt x="177" y="138"/>
                  </a:lnTo>
                  <a:lnTo>
                    <a:pt x="164" y="137"/>
                  </a:lnTo>
                  <a:lnTo>
                    <a:pt x="164" y="137"/>
                  </a:lnTo>
                  <a:lnTo>
                    <a:pt x="149" y="138"/>
                  </a:lnTo>
                  <a:lnTo>
                    <a:pt x="135" y="139"/>
                  </a:lnTo>
                  <a:lnTo>
                    <a:pt x="121" y="143"/>
                  </a:lnTo>
                  <a:lnTo>
                    <a:pt x="106" y="148"/>
                  </a:lnTo>
                  <a:lnTo>
                    <a:pt x="106" y="148"/>
                  </a:lnTo>
                  <a:lnTo>
                    <a:pt x="94" y="152"/>
                  </a:lnTo>
                  <a:lnTo>
                    <a:pt x="83" y="159"/>
                  </a:lnTo>
                  <a:lnTo>
                    <a:pt x="71" y="165"/>
                  </a:lnTo>
                  <a:lnTo>
                    <a:pt x="62" y="173"/>
                  </a:lnTo>
                  <a:lnTo>
                    <a:pt x="52" y="181"/>
                  </a:lnTo>
                  <a:lnTo>
                    <a:pt x="44" y="189"/>
                  </a:lnTo>
                  <a:lnTo>
                    <a:pt x="36" y="199"/>
                  </a:lnTo>
                  <a:lnTo>
                    <a:pt x="27" y="209"/>
                  </a:lnTo>
                  <a:lnTo>
                    <a:pt x="22" y="219"/>
                  </a:lnTo>
                  <a:lnTo>
                    <a:pt x="16" y="230"/>
                  </a:lnTo>
                  <a:lnTo>
                    <a:pt x="11" y="241"/>
                  </a:lnTo>
                  <a:lnTo>
                    <a:pt x="7" y="253"/>
                  </a:lnTo>
                  <a:lnTo>
                    <a:pt x="3" y="265"/>
                  </a:lnTo>
                  <a:lnTo>
                    <a:pt x="1" y="277"/>
                  </a:lnTo>
                  <a:lnTo>
                    <a:pt x="0" y="290"/>
                  </a:lnTo>
                  <a:lnTo>
                    <a:pt x="0" y="302"/>
                  </a:lnTo>
                  <a:lnTo>
                    <a:pt x="0" y="302"/>
                  </a:lnTo>
                  <a:lnTo>
                    <a:pt x="0" y="317"/>
                  </a:lnTo>
                  <a:lnTo>
                    <a:pt x="2" y="331"/>
                  </a:lnTo>
                  <a:lnTo>
                    <a:pt x="5" y="346"/>
                  </a:lnTo>
                  <a:lnTo>
                    <a:pt x="10" y="360"/>
                  </a:lnTo>
                  <a:lnTo>
                    <a:pt x="10" y="360"/>
                  </a:lnTo>
                  <a:lnTo>
                    <a:pt x="16" y="375"/>
                  </a:lnTo>
                  <a:lnTo>
                    <a:pt x="24" y="389"/>
                  </a:lnTo>
                  <a:lnTo>
                    <a:pt x="33" y="401"/>
                  </a:lnTo>
                  <a:lnTo>
                    <a:pt x="42" y="414"/>
                  </a:lnTo>
                  <a:lnTo>
                    <a:pt x="54" y="425"/>
                  </a:lnTo>
                  <a:lnTo>
                    <a:pt x="66" y="434"/>
                  </a:lnTo>
                  <a:lnTo>
                    <a:pt x="78" y="443"/>
                  </a:lnTo>
                  <a:lnTo>
                    <a:pt x="92" y="450"/>
                  </a:lnTo>
                  <a:lnTo>
                    <a:pt x="96" y="871"/>
                  </a:lnTo>
                  <a:lnTo>
                    <a:pt x="96" y="871"/>
                  </a:lnTo>
                  <a:lnTo>
                    <a:pt x="96" y="877"/>
                  </a:lnTo>
                  <a:lnTo>
                    <a:pt x="97" y="883"/>
                  </a:lnTo>
                  <a:lnTo>
                    <a:pt x="99" y="888"/>
                  </a:lnTo>
                  <a:lnTo>
                    <a:pt x="103" y="893"/>
                  </a:lnTo>
                  <a:lnTo>
                    <a:pt x="106" y="896"/>
                  </a:lnTo>
                  <a:lnTo>
                    <a:pt x="111" y="901"/>
                  </a:lnTo>
                  <a:lnTo>
                    <a:pt x="115" y="903"/>
                  </a:lnTo>
                  <a:lnTo>
                    <a:pt x="121" y="906"/>
                  </a:lnTo>
                  <a:lnTo>
                    <a:pt x="122" y="938"/>
                  </a:lnTo>
                  <a:lnTo>
                    <a:pt x="122" y="938"/>
                  </a:lnTo>
                  <a:lnTo>
                    <a:pt x="123" y="942"/>
                  </a:lnTo>
                  <a:lnTo>
                    <a:pt x="126" y="945"/>
                  </a:lnTo>
                  <a:lnTo>
                    <a:pt x="129" y="947"/>
                  </a:lnTo>
                  <a:lnTo>
                    <a:pt x="133" y="947"/>
                  </a:lnTo>
                  <a:lnTo>
                    <a:pt x="133" y="947"/>
                  </a:lnTo>
                  <a:lnTo>
                    <a:pt x="137" y="947"/>
                  </a:lnTo>
                  <a:lnTo>
                    <a:pt x="141" y="944"/>
                  </a:lnTo>
                  <a:lnTo>
                    <a:pt x="143" y="940"/>
                  </a:lnTo>
                  <a:lnTo>
                    <a:pt x="143" y="937"/>
                  </a:lnTo>
                  <a:lnTo>
                    <a:pt x="142" y="907"/>
                  </a:lnTo>
                  <a:lnTo>
                    <a:pt x="142" y="907"/>
                  </a:lnTo>
                  <a:lnTo>
                    <a:pt x="148" y="905"/>
                  </a:lnTo>
                  <a:lnTo>
                    <a:pt x="153" y="902"/>
                  </a:lnTo>
                  <a:lnTo>
                    <a:pt x="158" y="898"/>
                  </a:lnTo>
                  <a:lnTo>
                    <a:pt x="163" y="893"/>
                  </a:lnTo>
                  <a:lnTo>
                    <a:pt x="166" y="888"/>
                  </a:lnTo>
                  <a:lnTo>
                    <a:pt x="168" y="883"/>
                  </a:lnTo>
                  <a:lnTo>
                    <a:pt x="170" y="877"/>
                  </a:lnTo>
                  <a:lnTo>
                    <a:pt x="171" y="870"/>
                  </a:lnTo>
                  <a:lnTo>
                    <a:pt x="167" y="355"/>
                  </a:lnTo>
                  <a:lnTo>
                    <a:pt x="167" y="355"/>
                  </a:lnTo>
                  <a:lnTo>
                    <a:pt x="166" y="347"/>
                  </a:lnTo>
                  <a:lnTo>
                    <a:pt x="164" y="340"/>
                  </a:lnTo>
                  <a:lnTo>
                    <a:pt x="160" y="334"/>
                  </a:lnTo>
                  <a:lnTo>
                    <a:pt x="156" y="328"/>
                  </a:lnTo>
                  <a:lnTo>
                    <a:pt x="150" y="324"/>
                  </a:lnTo>
                  <a:lnTo>
                    <a:pt x="144" y="320"/>
                  </a:lnTo>
                  <a:lnTo>
                    <a:pt x="136" y="318"/>
                  </a:lnTo>
                  <a:lnTo>
                    <a:pt x="129" y="318"/>
                  </a:lnTo>
                  <a:lnTo>
                    <a:pt x="129" y="318"/>
                  </a:lnTo>
                  <a:lnTo>
                    <a:pt x="121" y="318"/>
                  </a:lnTo>
                  <a:lnTo>
                    <a:pt x="114" y="320"/>
                  </a:lnTo>
                  <a:lnTo>
                    <a:pt x="108" y="324"/>
                  </a:lnTo>
                  <a:lnTo>
                    <a:pt x="103" y="328"/>
                  </a:lnTo>
                  <a:lnTo>
                    <a:pt x="98" y="334"/>
                  </a:lnTo>
                  <a:lnTo>
                    <a:pt x="94" y="341"/>
                  </a:lnTo>
                  <a:lnTo>
                    <a:pt x="92" y="348"/>
                  </a:lnTo>
                  <a:lnTo>
                    <a:pt x="92" y="355"/>
                  </a:lnTo>
                  <a:lnTo>
                    <a:pt x="92" y="411"/>
                  </a:lnTo>
                  <a:lnTo>
                    <a:pt x="92" y="411"/>
                  </a:lnTo>
                  <a:lnTo>
                    <a:pt x="84" y="405"/>
                  </a:lnTo>
                  <a:lnTo>
                    <a:pt x="76" y="399"/>
                  </a:lnTo>
                  <a:lnTo>
                    <a:pt x="69" y="392"/>
                  </a:lnTo>
                  <a:lnTo>
                    <a:pt x="62" y="384"/>
                  </a:lnTo>
                  <a:lnTo>
                    <a:pt x="56" y="376"/>
                  </a:lnTo>
                  <a:lnTo>
                    <a:pt x="51" y="367"/>
                  </a:lnTo>
                  <a:lnTo>
                    <a:pt x="46" y="357"/>
                  </a:lnTo>
                  <a:lnTo>
                    <a:pt x="41" y="348"/>
                  </a:lnTo>
                  <a:lnTo>
                    <a:pt x="41" y="348"/>
                  </a:lnTo>
                  <a:lnTo>
                    <a:pt x="38" y="337"/>
                  </a:lnTo>
                  <a:lnTo>
                    <a:pt x="36" y="325"/>
                  </a:lnTo>
                  <a:lnTo>
                    <a:pt x="33" y="313"/>
                  </a:lnTo>
                  <a:lnTo>
                    <a:pt x="33" y="302"/>
                  </a:lnTo>
                  <a:lnTo>
                    <a:pt x="33" y="302"/>
                  </a:lnTo>
                  <a:lnTo>
                    <a:pt x="33" y="293"/>
                  </a:lnTo>
                  <a:lnTo>
                    <a:pt x="34" y="282"/>
                  </a:lnTo>
                  <a:lnTo>
                    <a:pt x="37" y="273"/>
                  </a:lnTo>
                  <a:lnTo>
                    <a:pt x="39" y="264"/>
                  </a:lnTo>
                  <a:lnTo>
                    <a:pt x="42" y="254"/>
                  </a:lnTo>
                  <a:lnTo>
                    <a:pt x="46" y="245"/>
                  </a:lnTo>
                  <a:lnTo>
                    <a:pt x="51" y="237"/>
                  </a:lnTo>
                  <a:lnTo>
                    <a:pt x="56" y="229"/>
                  </a:lnTo>
                  <a:lnTo>
                    <a:pt x="62" y="221"/>
                  </a:lnTo>
                  <a:lnTo>
                    <a:pt x="68" y="213"/>
                  </a:lnTo>
                  <a:lnTo>
                    <a:pt x="75" y="206"/>
                  </a:lnTo>
                  <a:lnTo>
                    <a:pt x="83" y="200"/>
                  </a:lnTo>
                  <a:lnTo>
                    <a:pt x="91" y="194"/>
                  </a:lnTo>
                  <a:lnTo>
                    <a:pt x="99" y="188"/>
                  </a:lnTo>
                  <a:lnTo>
                    <a:pt x="108" y="184"/>
                  </a:lnTo>
                  <a:lnTo>
                    <a:pt x="118" y="180"/>
                  </a:lnTo>
                  <a:lnTo>
                    <a:pt x="118" y="180"/>
                  </a:lnTo>
                  <a:lnTo>
                    <a:pt x="129" y="175"/>
                  </a:lnTo>
                  <a:lnTo>
                    <a:pt x="141" y="173"/>
                  </a:lnTo>
                  <a:lnTo>
                    <a:pt x="152" y="172"/>
                  </a:lnTo>
                  <a:lnTo>
                    <a:pt x="164" y="171"/>
                  </a:lnTo>
                  <a:lnTo>
                    <a:pt x="164" y="171"/>
                  </a:lnTo>
                  <a:lnTo>
                    <a:pt x="173" y="172"/>
                  </a:lnTo>
                  <a:lnTo>
                    <a:pt x="184" y="173"/>
                  </a:lnTo>
                  <a:lnTo>
                    <a:pt x="193" y="174"/>
                  </a:lnTo>
                  <a:lnTo>
                    <a:pt x="202" y="177"/>
                  </a:lnTo>
                  <a:lnTo>
                    <a:pt x="211" y="180"/>
                  </a:lnTo>
                  <a:lnTo>
                    <a:pt x="221" y="185"/>
                  </a:lnTo>
                  <a:lnTo>
                    <a:pt x="229" y="189"/>
                  </a:lnTo>
                  <a:lnTo>
                    <a:pt x="238" y="194"/>
                  </a:lnTo>
                  <a:lnTo>
                    <a:pt x="245" y="200"/>
                  </a:lnTo>
                  <a:lnTo>
                    <a:pt x="253" y="207"/>
                  </a:lnTo>
                  <a:lnTo>
                    <a:pt x="260" y="214"/>
                  </a:lnTo>
                  <a:lnTo>
                    <a:pt x="266" y="221"/>
                  </a:lnTo>
                  <a:lnTo>
                    <a:pt x="273" y="229"/>
                  </a:lnTo>
                  <a:lnTo>
                    <a:pt x="277" y="238"/>
                  </a:lnTo>
                  <a:lnTo>
                    <a:pt x="282" y="247"/>
                  </a:lnTo>
                  <a:lnTo>
                    <a:pt x="286" y="257"/>
                  </a:lnTo>
                  <a:lnTo>
                    <a:pt x="286" y="257"/>
                  </a:lnTo>
                  <a:lnTo>
                    <a:pt x="290" y="268"/>
                  </a:lnTo>
                  <a:lnTo>
                    <a:pt x="292" y="280"/>
                  </a:lnTo>
                  <a:lnTo>
                    <a:pt x="293" y="290"/>
                  </a:lnTo>
                  <a:lnTo>
                    <a:pt x="295" y="302"/>
                  </a:lnTo>
                  <a:lnTo>
                    <a:pt x="295" y="302"/>
                  </a:lnTo>
                  <a:lnTo>
                    <a:pt x="293" y="311"/>
                  </a:lnTo>
                  <a:lnTo>
                    <a:pt x="292" y="320"/>
                  </a:lnTo>
                  <a:lnTo>
                    <a:pt x="289" y="338"/>
                  </a:lnTo>
                  <a:lnTo>
                    <a:pt x="253" y="295"/>
                  </a:lnTo>
                  <a:lnTo>
                    <a:pt x="253" y="295"/>
                  </a:lnTo>
                  <a:lnTo>
                    <a:pt x="247" y="290"/>
                  </a:lnTo>
                  <a:lnTo>
                    <a:pt x="241" y="286"/>
                  </a:lnTo>
                  <a:lnTo>
                    <a:pt x="234" y="283"/>
                  </a:lnTo>
                  <a:lnTo>
                    <a:pt x="227" y="282"/>
                  </a:lnTo>
                  <a:lnTo>
                    <a:pt x="221" y="282"/>
                  </a:lnTo>
                  <a:lnTo>
                    <a:pt x="214" y="283"/>
                  </a:lnTo>
                  <a:lnTo>
                    <a:pt x="207" y="287"/>
                  </a:lnTo>
                  <a:lnTo>
                    <a:pt x="200" y="291"/>
                  </a:lnTo>
                  <a:lnTo>
                    <a:pt x="200" y="291"/>
                  </a:lnTo>
                  <a:lnTo>
                    <a:pt x="195" y="296"/>
                  </a:lnTo>
                  <a:lnTo>
                    <a:pt x="190" y="303"/>
                  </a:lnTo>
                  <a:lnTo>
                    <a:pt x="188" y="310"/>
                  </a:lnTo>
                  <a:lnTo>
                    <a:pt x="187" y="317"/>
                  </a:lnTo>
                  <a:lnTo>
                    <a:pt x="187" y="324"/>
                  </a:lnTo>
                  <a:lnTo>
                    <a:pt x="188" y="331"/>
                  </a:lnTo>
                  <a:lnTo>
                    <a:pt x="192" y="338"/>
                  </a:lnTo>
                  <a:lnTo>
                    <a:pt x="196" y="345"/>
                  </a:lnTo>
                  <a:lnTo>
                    <a:pt x="529" y="736"/>
                  </a:lnTo>
                  <a:lnTo>
                    <a:pt x="529" y="736"/>
                  </a:lnTo>
                  <a:lnTo>
                    <a:pt x="535" y="742"/>
                  </a:lnTo>
                  <a:lnTo>
                    <a:pt x="542" y="747"/>
                  </a:lnTo>
                  <a:lnTo>
                    <a:pt x="550" y="749"/>
                  </a:lnTo>
                  <a:lnTo>
                    <a:pt x="557" y="750"/>
                  </a:lnTo>
                  <a:lnTo>
                    <a:pt x="557" y="750"/>
                  </a:lnTo>
                  <a:lnTo>
                    <a:pt x="565" y="749"/>
                  </a:lnTo>
                  <a:lnTo>
                    <a:pt x="573" y="746"/>
                  </a:lnTo>
                  <a:lnTo>
                    <a:pt x="593" y="770"/>
                  </a:lnTo>
                  <a:lnTo>
                    <a:pt x="593" y="770"/>
                  </a:lnTo>
                  <a:lnTo>
                    <a:pt x="596" y="772"/>
                  </a:lnTo>
                  <a:lnTo>
                    <a:pt x="601" y="774"/>
                  </a:lnTo>
                  <a:lnTo>
                    <a:pt x="601" y="774"/>
                  </a:lnTo>
                  <a:lnTo>
                    <a:pt x="604" y="774"/>
                  </a:lnTo>
                  <a:lnTo>
                    <a:pt x="608" y="771"/>
                  </a:lnTo>
                  <a:lnTo>
                    <a:pt x="608" y="771"/>
                  </a:lnTo>
                  <a:lnTo>
                    <a:pt x="610" y="768"/>
                  </a:lnTo>
                  <a:lnTo>
                    <a:pt x="611" y="764"/>
                  </a:lnTo>
                  <a:lnTo>
                    <a:pt x="611" y="760"/>
                  </a:lnTo>
                  <a:lnTo>
                    <a:pt x="609" y="756"/>
                  </a:lnTo>
                  <a:lnTo>
                    <a:pt x="609" y="7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43" name="Group 442">
            <a:extLst>
              <a:ext uri="{FF2B5EF4-FFF2-40B4-BE49-F238E27FC236}">
                <a16:creationId xmlns:a16="http://schemas.microsoft.com/office/drawing/2014/main" id="{AD2C882A-8F84-41E7-946F-A0A827A458CD}"/>
              </a:ext>
            </a:extLst>
          </p:cNvPr>
          <p:cNvGrpSpPr/>
          <p:nvPr/>
        </p:nvGrpSpPr>
        <p:grpSpPr>
          <a:xfrm>
            <a:off x="7949182" y="3887682"/>
            <a:ext cx="612775" cy="612775"/>
            <a:chOff x="592807" y="3807696"/>
            <a:chExt cx="612775" cy="612775"/>
          </a:xfrm>
          <a:solidFill>
            <a:srgbClr val="505050"/>
          </a:solidFill>
        </p:grpSpPr>
        <p:sp>
          <p:nvSpPr>
            <p:cNvPr id="444" name="Oval 443">
              <a:extLst>
                <a:ext uri="{FF2B5EF4-FFF2-40B4-BE49-F238E27FC236}">
                  <a16:creationId xmlns:a16="http://schemas.microsoft.com/office/drawing/2014/main" id="{CFF73665-4739-43AD-8977-D0E7C7BFF4BE}"/>
                </a:ext>
              </a:extLst>
            </p:cNvPr>
            <p:cNvSpPr/>
            <p:nvPr/>
          </p:nvSpPr>
          <p:spPr bwMode="ltGray">
            <a:xfrm>
              <a:off x="592807" y="3807696"/>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45" name="Freeform 62">
              <a:extLst>
                <a:ext uri="{FF2B5EF4-FFF2-40B4-BE49-F238E27FC236}">
                  <a16:creationId xmlns:a16="http://schemas.microsoft.com/office/drawing/2014/main" id="{A3C2305D-DB1F-4DC4-A523-B9AD8B2699F7}"/>
                </a:ext>
              </a:extLst>
            </p:cNvPr>
            <p:cNvSpPr>
              <a:spLocks noEditPoints="1"/>
            </p:cNvSpPr>
            <p:nvPr/>
          </p:nvSpPr>
          <p:spPr bwMode="auto">
            <a:xfrm>
              <a:off x="726988" y="3986541"/>
              <a:ext cx="371353" cy="270333"/>
            </a:xfrm>
            <a:custGeom>
              <a:avLst/>
              <a:gdLst>
                <a:gd name="T0" fmla="*/ 783 w 783"/>
                <a:gd name="T1" fmla="*/ 572 h 572"/>
                <a:gd name="T2" fmla="*/ 750 w 783"/>
                <a:gd name="T3" fmla="*/ 539 h 572"/>
                <a:gd name="T4" fmla="*/ 750 w 783"/>
                <a:gd name="T5" fmla="*/ 33 h 572"/>
                <a:gd name="T6" fmla="*/ 674 w 783"/>
                <a:gd name="T7" fmla="*/ 338 h 572"/>
                <a:gd name="T8" fmla="*/ 669 w 783"/>
                <a:gd name="T9" fmla="*/ 364 h 572"/>
                <a:gd name="T10" fmla="*/ 653 w 783"/>
                <a:gd name="T11" fmla="*/ 387 h 572"/>
                <a:gd name="T12" fmla="*/ 639 w 783"/>
                <a:gd name="T13" fmla="*/ 398 h 572"/>
                <a:gd name="T14" fmla="*/ 639 w 783"/>
                <a:gd name="T15" fmla="*/ 507 h 572"/>
                <a:gd name="T16" fmla="*/ 569 w 783"/>
                <a:gd name="T17" fmla="*/ 399 h 572"/>
                <a:gd name="T18" fmla="*/ 569 w 783"/>
                <a:gd name="T19" fmla="*/ 398 h 572"/>
                <a:gd name="T20" fmla="*/ 549 w 783"/>
                <a:gd name="T21" fmla="*/ 380 h 572"/>
                <a:gd name="T22" fmla="*/ 536 w 783"/>
                <a:gd name="T23" fmla="*/ 356 h 572"/>
                <a:gd name="T24" fmla="*/ 534 w 783"/>
                <a:gd name="T25" fmla="*/ 338 h 572"/>
                <a:gd name="T26" fmla="*/ 536 w 783"/>
                <a:gd name="T27" fmla="*/ 316 h 572"/>
                <a:gd name="T28" fmla="*/ 554 w 783"/>
                <a:gd name="T29" fmla="*/ 287 h 572"/>
                <a:gd name="T30" fmla="*/ 583 w 783"/>
                <a:gd name="T31" fmla="*/ 269 h 572"/>
                <a:gd name="T32" fmla="*/ 603 w 783"/>
                <a:gd name="T33" fmla="*/ 267 h 572"/>
                <a:gd name="T34" fmla="*/ 619 w 783"/>
                <a:gd name="T35" fmla="*/ 268 h 572"/>
                <a:gd name="T36" fmla="*/ 644 w 783"/>
                <a:gd name="T37" fmla="*/ 278 h 572"/>
                <a:gd name="T38" fmla="*/ 669 w 783"/>
                <a:gd name="T39" fmla="*/ 310 h 572"/>
                <a:gd name="T40" fmla="*/ 674 w 783"/>
                <a:gd name="T41" fmla="*/ 329 h 572"/>
                <a:gd name="T42" fmla="*/ 87 w 783"/>
                <a:gd name="T43" fmla="*/ 119 h 572"/>
                <a:gd name="T44" fmla="*/ 90 w 783"/>
                <a:gd name="T45" fmla="*/ 112 h 572"/>
                <a:gd name="T46" fmla="*/ 668 w 783"/>
                <a:gd name="T47" fmla="*/ 108 h 572"/>
                <a:gd name="T48" fmla="*/ 676 w 783"/>
                <a:gd name="T49" fmla="*/ 112 h 572"/>
                <a:gd name="T50" fmla="*/ 679 w 783"/>
                <a:gd name="T51" fmla="*/ 119 h 572"/>
                <a:gd name="T52" fmla="*/ 673 w 783"/>
                <a:gd name="T53" fmla="*/ 129 h 572"/>
                <a:gd name="T54" fmla="*/ 98 w 783"/>
                <a:gd name="T55" fmla="*/ 130 h 572"/>
                <a:gd name="T56" fmla="*/ 88 w 783"/>
                <a:gd name="T57" fmla="*/ 123 h 572"/>
                <a:gd name="T58" fmla="*/ 585 w 783"/>
                <a:gd name="T59" fmla="*/ 215 h 572"/>
                <a:gd name="T60" fmla="*/ 146 w 783"/>
                <a:gd name="T61" fmla="*/ 214 h 572"/>
                <a:gd name="T62" fmla="*/ 140 w 783"/>
                <a:gd name="T63" fmla="*/ 203 h 572"/>
                <a:gd name="T64" fmla="*/ 142 w 783"/>
                <a:gd name="T65" fmla="*/ 195 h 572"/>
                <a:gd name="T66" fmla="*/ 585 w 783"/>
                <a:gd name="T67" fmla="*/ 192 h 572"/>
                <a:gd name="T68" fmla="*/ 592 w 783"/>
                <a:gd name="T69" fmla="*/ 195 h 572"/>
                <a:gd name="T70" fmla="*/ 595 w 783"/>
                <a:gd name="T71" fmla="*/ 203 h 572"/>
                <a:gd name="T72" fmla="*/ 588 w 783"/>
                <a:gd name="T73" fmla="*/ 214 h 572"/>
                <a:gd name="T74" fmla="*/ 428 w 783"/>
                <a:gd name="T75" fmla="*/ 343 h 572"/>
                <a:gd name="T76" fmla="*/ 424 w 783"/>
                <a:gd name="T77" fmla="*/ 351 h 572"/>
                <a:gd name="T78" fmla="*/ 169 w 783"/>
                <a:gd name="T79" fmla="*/ 355 h 572"/>
                <a:gd name="T80" fmla="*/ 161 w 783"/>
                <a:gd name="T81" fmla="*/ 351 h 572"/>
                <a:gd name="T82" fmla="*/ 157 w 783"/>
                <a:gd name="T83" fmla="*/ 343 h 572"/>
                <a:gd name="T84" fmla="*/ 164 w 783"/>
                <a:gd name="T85" fmla="*/ 334 h 572"/>
                <a:gd name="T86" fmla="*/ 416 w 783"/>
                <a:gd name="T87" fmla="*/ 333 h 572"/>
                <a:gd name="T88" fmla="*/ 427 w 783"/>
                <a:gd name="T89" fmla="*/ 340 h 572"/>
                <a:gd name="T90" fmla="*/ 428 w 783"/>
                <a:gd name="T91" fmla="*/ 426 h 572"/>
                <a:gd name="T92" fmla="*/ 424 w 783"/>
                <a:gd name="T93" fmla="*/ 434 h 572"/>
                <a:gd name="T94" fmla="*/ 169 w 783"/>
                <a:gd name="T95" fmla="*/ 437 h 572"/>
                <a:gd name="T96" fmla="*/ 161 w 783"/>
                <a:gd name="T97" fmla="*/ 434 h 572"/>
                <a:gd name="T98" fmla="*/ 157 w 783"/>
                <a:gd name="T99" fmla="*/ 426 h 572"/>
                <a:gd name="T100" fmla="*/ 164 w 783"/>
                <a:gd name="T101" fmla="*/ 415 h 572"/>
                <a:gd name="T102" fmla="*/ 416 w 783"/>
                <a:gd name="T103" fmla="*/ 415 h 572"/>
                <a:gd name="T104" fmla="*/ 427 w 783"/>
                <a:gd name="T105" fmla="*/ 422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83" h="572">
                  <a:moveTo>
                    <a:pt x="0" y="0"/>
                  </a:moveTo>
                  <a:lnTo>
                    <a:pt x="0" y="572"/>
                  </a:lnTo>
                  <a:lnTo>
                    <a:pt x="783" y="572"/>
                  </a:lnTo>
                  <a:lnTo>
                    <a:pt x="783" y="0"/>
                  </a:lnTo>
                  <a:lnTo>
                    <a:pt x="0" y="0"/>
                  </a:lnTo>
                  <a:close/>
                  <a:moveTo>
                    <a:pt x="750" y="539"/>
                  </a:moveTo>
                  <a:lnTo>
                    <a:pt x="31" y="539"/>
                  </a:lnTo>
                  <a:lnTo>
                    <a:pt x="31" y="33"/>
                  </a:lnTo>
                  <a:lnTo>
                    <a:pt x="750" y="33"/>
                  </a:lnTo>
                  <a:lnTo>
                    <a:pt x="750" y="539"/>
                  </a:lnTo>
                  <a:close/>
                  <a:moveTo>
                    <a:pt x="674" y="338"/>
                  </a:moveTo>
                  <a:lnTo>
                    <a:pt x="674" y="338"/>
                  </a:lnTo>
                  <a:lnTo>
                    <a:pt x="674" y="347"/>
                  </a:lnTo>
                  <a:lnTo>
                    <a:pt x="672" y="356"/>
                  </a:lnTo>
                  <a:lnTo>
                    <a:pt x="669" y="364"/>
                  </a:lnTo>
                  <a:lnTo>
                    <a:pt x="665" y="372"/>
                  </a:lnTo>
                  <a:lnTo>
                    <a:pt x="659" y="380"/>
                  </a:lnTo>
                  <a:lnTo>
                    <a:pt x="653" y="387"/>
                  </a:lnTo>
                  <a:lnTo>
                    <a:pt x="646" y="393"/>
                  </a:lnTo>
                  <a:lnTo>
                    <a:pt x="639" y="398"/>
                  </a:lnTo>
                  <a:lnTo>
                    <a:pt x="639" y="398"/>
                  </a:lnTo>
                  <a:lnTo>
                    <a:pt x="639" y="399"/>
                  </a:lnTo>
                  <a:lnTo>
                    <a:pt x="639" y="399"/>
                  </a:lnTo>
                  <a:lnTo>
                    <a:pt x="639" y="507"/>
                  </a:lnTo>
                  <a:lnTo>
                    <a:pt x="603" y="459"/>
                  </a:lnTo>
                  <a:lnTo>
                    <a:pt x="569" y="507"/>
                  </a:lnTo>
                  <a:lnTo>
                    <a:pt x="569" y="399"/>
                  </a:lnTo>
                  <a:lnTo>
                    <a:pt x="569" y="399"/>
                  </a:lnTo>
                  <a:lnTo>
                    <a:pt x="569" y="398"/>
                  </a:lnTo>
                  <a:lnTo>
                    <a:pt x="569" y="398"/>
                  </a:lnTo>
                  <a:lnTo>
                    <a:pt x="562" y="393"/>
                  </a:lnTo>
                  <a:lnTo>
                    <a:pt x="555" y="387"/>
                  </a:lnTo>
                  <a:lnTo>
                    <a:pt x="549" y="380"/>
                  </a:lnTo>
                  <a:lnTo>
                    <a:pt x="543" y="372"/>
                  </a:lnTo>
                  <a:lnTo>
                    <a:pt x="539" y="364"/>
                  </a:lnTo>
                  <a:lnTo>
                    <a:pt x="536" y="356"/>
                  </a:lnTo>
                  <a:lnTo>
                    <a:pt x="534" y="347"/>
                  </a:lnTo>
                  <a:lnTo>
                    <a:pt x="534" y="338"/>
                  </a:lnTo>
                  <a:lnTo>
                    <a:pt x="534" y="338"/>
                  </a:lnTo>
                  <a:lnTo>
                    <a:pt x="534" y="329"/>
                  </a:lnTo>
                  <a:lnTo>
                    <a:pt x="535" y="323"/>
                  </a:lnTo>
                  <a:lnTo>
                    <a:pt x="536" y="316"/>
                  </a:lnTo>
                  <a:lnTo>
                    <a:pt x="539" y="310"/>
                  </a:lnTo>
                  <a:lnTo>
                    <a:pt x="546" y="297"/>
                  </a:lnTo>
                  <a:lnTo>
                    <a:pt x="554" y="287"/>
                  </a:lnTo>
                  <a:lnTo>
                    <a:pt x="564" y="278"/>
                  </a:lnTo>
                  <a:lnTo>
                    <a:pt x="577" y="272"/>
                  </a:lnTo>
                  <a:lnTo>
                    <a:pt x="583" y="269"/>
                  </a:lnTo>
                  <a:lnTo>
                    <a:pt x="590" y="268"/>
                  </a:lnTo>
                  <a:lnTo>
                    <a:pt x="597" y="267"/>
                  </a:lnTo>
                  <a:lnTo>
                    <a:pt x="603" y="267"/>
                  </a:lnTo>
                  <a:lnTo>
                    <a:pt x="603" y="267"/>
                  </a:lnTo>
                  <a:lnTo>
                    <a:pt x="612" y="267"/>
                  </a:lnTo>
                  <a:lnTo>
                    <a:pt x="619" y="268"/>
                  </a:lnTo>
                  <a:lnTo>
                    <a:pt x="625" y="269"/>
                  </a:lnTo>
                  <a:lnTo>
                    <a:pt x="631" y="272"/>
                  </a:lnTo>
                  <a:lnTo>
                    <a:pt x="644" y="278"/>
                  </a:lnTo>
                  <a:lnTo>
                    <a:pt x="654" y="287"/>
                  </a:lnTo>
                  <a:lnTo>
                    <a:pt x="662" y="297"/>
                  </a:lnTo>
                  <a:lnTo>
                    <a:pt x="669" y="310"/>
                  </a:lnTo>
                  <a:lnTo>
                    <a:pt x="672" y="316"/>
                  </a:lnTo>
                  <a:lnTo>
                    <a:pt x="673" y="323"/>
                  </a:lnTo>
                  <a:lnTo>
                    <a:pt x="674" y="329"/>
                  </a:lnTo>
                  <a:lnTo>
                    <a:pt x="674" y="338"/>
                  </a:lnTo>
                  <a:lnTo>
                    <a:pt x="674" y="338"/>
                  </a:lnTo>
                  <a:close/>
                  <a:moveTo>
                    <a:pt x="87" y="119"/>
                  </a:moveTo>
                  <a:lnTo>
                    <a:pt x="87" y="119"/>
                  </a:lnTo>
                  <a:lnTo>
                    <a:pt x="88" y="115"/>
                  </a:lnTo>
                  <a:lnTo>
                    <a:pt x="90" y="112"/>
                  </a:lnTo>
                  <a:lnTo>
                    <a:pt x="94" y="109"/>
                  </a:lnTo>
                  <a:lnTo>
                    <a:pt x="98" y="108"/>
                  </a:lnTo>
                  <a:lnTo>
                    <a:pt x="668" y="108"/>
                  </a:lnTo>
                  <a:lnTo>
                    <a:pt x="668" y="108"/>
                  </a:lnTo>
                  <a:lnTo>
                    <a:pt x="673" y="109"/>
                  </a:lnTo>
                  <a:lnTo>
                    <a:pt x="676" y="112"/>
                  </a:lnTo>
                  <a:lnTo>
                    <a:pt x="679" y="115"/>
                  </a:lnTo>
                  <a:lnTo>
                    <a:pt x="679" y="119"/>
                  </a:lnTo>
                  <a:lnTo>
                    <a:pt x="679" y="119"/>
                  </a:lnTo>
                  <a:lnTo>
                    <a:pt x="679" y="123"/>
                  </a:lnTo>
                  <a:lnTo>
                    <a:pt x="676" y="127"/>
                  </a:lnTo>
                  <a:lnTo>
                    <a:pt x="673" y="129"/>
                  </a:lnTo>
                  <a:lnTo>
                    <a:pt x="668" y="130"/>
                  </a:lnTo>
                  <a:lnTo>
                    <a:pt x="98" y="130"/>
                  </a:lnTo>
                  <a:lnTo>
                    <a:pt x="98" y="130"/>
                  </a:lnTo>
                  <a:lnTo>
                    <a:pt x="94" y="129"/>
                  </a:lnTo>
                  <a:lnTo>
                    <a:pt x="90" y="127"/>
                  </a:lnTo>
                  <a:lnTo>
                    <a:pt x="88" y="123"/>
                  </a:lnTo>
                  <a:lnTo>
                    <a:pt x="87" y="119"/>
                  </a:lnTo>
                  <a:lnTo>
                    <a:pt x="87" y="119"/>
                  </a:lnTo>
                  <a:close/>
                  <a:moveTo>
                    <a:pt x="585" y="215"/>
                  </a:moveTo>
                  <a:lnTo>
                    <a:pt x="150" y="215"/>
                  </a:lnTo>
                  <a:lnTo>
                    <a:pt x="150" y="215"/>
                  </a:lnTo>
                  <a:lnTo>
                    <a:pt x="146" y="214"/>
                  </a:lnTo>
                  <a:lnTo>
                    <a:pt x="142" y="211"/>
                  </a:lnTo>
                  <a:lnTo>
                    <a:pt x="140" y="208"/>
                  </a:lnTo>
                  <a:lnTo>
                    <a:pt x="140" y="203"/>
                  </a:lnTo>
                  <a:lnTo>
                    <a:pt x="140" y="203"/>
                  </a:lnTo>
                  <a:lnTo>
                    <a:pt x="140" y="198"/>
                  </a:lnTo>
                  <a:lnTo>
                    <a:pt x="142" y="195"/>
                  </a:lnTo>
                  <a:lnTo>
                    <a:pt x="146" y="193"/>
                  </a:lnTo>
                  <a:lnTo>
                    <a:pt x="150" y="192"/>
                  </a:lnTo>
                  <a:lnTo>
                    <a:pt x="585" y="192"/>
                  </a:lnTo>
                  <a:lnTo>
                    <a:pt x="585" y="192"/>
                  </a:lnTo>
                  <a:lnTo>
                    <a:pt x="588" y="193"/>
                  </a:lnTo>
                  <a:lnTo>
                    <a:pt x="592" y="195"/>
                  </a:lnTo>
                  <a:lnTo>
                    <a:pt x="595" y="198"/>
                  </a:lnTo>
                  <a:lnTo>
                    <a:pt x="595" y="203"/>
                  </a:lnTo>
                  <a:lnTo>
                    <a:pt x="595" y="203"/>
                  </a:lnTo>
                  <a:lnTo>
                    <a:pt x="595" y="208"/>
                  </a:lnTo>
                  <a:lnTo>
                    <a:pt x="592" y="211"/>
                  </a:lnTo>
                  <a:lnTo>
                    <a:pt x="588" y="214"/>
                  </a:lnTo>
                  <a:lnTo>
                    <a:pt x="585" y="215"/>
                  </a:lnTo>
                  <a:lnTo>
                    <a:pt x="585" y="215"/>
                  </a:lnTo>
                  <a:close/>
                  <a:moveTo>
                    <a:pt x="428" y="343"/>
                  </a:moveTo>
                  <a:lnTo>
                    <a:pt x="428" y="343"/>
                  </a:lnTo>
                  <a:lnTo>
                    <a:pt x="427" y="348"/>
                  </a:lnTo>
                  <a:lnTo>
                    <a:pt x="424" y="351"/>
                  </a:lnTo>
                  <a:lnTo>
                    <a:pt x="421" y="354"/>
                  </a:lnTo>
                  <a:lnTo>
                    <a:pt x="416" y="355"/>
                  </a:lnTo>
                  <a:lnTo>
                    <a:pt x="169" y="355"/>
                  </a:lnTo>
                  <a:lnTo>
                    <a:pt x="169" y="355"/>
                  </a:lnTo>
                  <a:lnTo>
                    <a:pt x="164" y="354"/>
                  </a:lnTo>
                  <a:lnTo>
                    <a:pt x="161" y="351"/>
                  </a:lnTo>
                  <a:lnTo>
                    <a:pt x="158" y="348"/>
                  </a:lnTo>
                  <a:lnTo>
                    <a:pt x="157" y="343"/>
                  </a:lnTo>
                  <a:lnTo>
                    <a:pt x="157" y="343"/>
                  </a:lnTo>
                  <a:lnTo>
                    <a:pt x="158" y="340"/>
                  </a:lnTo>
                  <a:lnTo>
                    <a:pt x="161" y="336"/>
                  </a:lnTo>
                  <a:lnTo>
                    <a:pt x="164" y="334"/>
                  </a:lnTo>
                  <a:lnTo>
                    <a:pt x="169" y="333"/>
                  </a:lnTo>
                  <a:lnTo>
                    <a:pt x="416" y="333"/>
                  </a:lnTo>
                  <a:lnTo>
                    <a:pt x="416" y="333"/>
                  </a:lnTo>
                  <a:lnTo>
                    <a:pt x="421" y="334"/>
                  </a:lnTo>
                  <a:lnTo>
                    <a:pt x="424" y="336"/>
                  </a:lnTo>
                  <a:lnTo>
                    <a:pt x="427" y="340"/>
                  </a:lnTo>
                  <a:lnTo>
                    <a:pt x="428" y="343"/>
                  </a:lnTo>
                  <a:lnTo>
                    <a:pt x="428" y="343"/>
                  </a:lnTo>
                  <a:close/>
                  <a:moveTo>
                    <a:pt x="428" y="426"/>
                  </a:moveTo>
                  <a:lnTo>
                    <a:pt x="428" y="426"/>
                  </a:lnTo>
                  <a:lnTo>
                    <a:pt x="427" y="430"/>
                  </a:lnTo>
                  <a:lnTo>
                    <a:pt x="424" y="434"/>
                  </a:lnTo>
                  <a:lnTo>
                    <a:pt x="421" y="436"/>
                  </a:lnTo>
                  <a:lnTo>
                    <a:pt x="416" y="437"/>
                  </a:lnTo>
                  <a:lnTo>
                    <a:pt x="169" y="437"/>
                  </a:lnTo>
                  <a:lnTo>
                    <a:pt x="169" y="437"/>
                  </a:lnTo>
                  <a:lnTo>
                    <a:pt x="164" y="436"/>
                  </a:lnTo>
                  <a:lnTo>
                    <a:pt x="161" y="434"/>
                  </a:lnTo>
                  <a:lnTo>
                    <a:pt x="158" y="430"/>
                  </a:lnTo>
                  <a:lnTo>
                    <a:pt x="157" y="426"/>
                  </a:lnTo>
                  <a:lnTo>
                    <a:pt x="157" y="426"/>
                  </a:lnTo>
                  <a:lnTo>
                    <a:pt x="158" y="422"/>
                  </a:lnTo>
                  <a:lnTo>
                    <a:pt x="161" y="419"/>
                  </a:lnTo>
                  <a:lnTo>
                    <a:pt x="164" y="415"/>
                  </a:lnTo>
                  <a:lnTo>
                    <a:pt x="169" y="415"/>
                  </a:lnTo>
                  <a:lnTo>
                    <a:pt x="416" y="415"/>
                  </a:lnTo>
                  <a:lnTo>
                    <a:pt x="416" y="415"/>
                  </a:lnTo>
                  <a:lnTo>
                    <a:pt x="421" y="415"/>
                  </a:lnTo>
                  <a:lnTo>
                    <a:pt x="424" y="419"/>
                  </a:lnTo>
                  <a:lnTo>
                    <a:pt x="427" y="422"/>
                  </a:lnTo>
                  <a:lnTo>
                    <a:pt x="428" y="426"/>
                  </a:lnTo>
                  <a:lnTo>
                    <a:pt x="428" y="4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46" name="Group 445">
            <a:extLst>
              <a:ext uri="{FF2B5EF4-FFF2-40B4-BE49-F238E27FC236}">
                <a16:creationId xmlns:a16="http://schemas.microsoft.com/office/drawing/2014/main" id="{C088A198-3B5F-4FBF-AA3F-5EA8129198CD}"/>
              </a:ext>
            </a:extLst>
          </p:cNvPr>
          <p:cNvGrpSpPr/>
          <p:nvPr/>
        </p:nvGrpSpPr>
        <p:grpSpPr>
          <a:xfrm>
            <a:off x="2943772" y="3887682"/>
            <a:ext cx="612775" cy="612775"/>
            <a:chOff x="3506397" y="2265179"/>
            <a:chExt cx="612775" cy="612775"/>
          </a:xfrm>
          <a:solidFill>
            <a:srgbClr val="505050"/>
          </a:solidFill>
        </p:grpSpPr>
        <p:sp>
          <p:nvSpPr>
            <p:cNvPr id="447" name="Oval 446">
              <a:extLst>
                <a:ext uri="{FF2B5EF4-FFF2-40B4-BE49-F238E27FC236}">
                  <a16:creationId xmlns:a16="http://schemas.microsoft.com/office/drawing/2014/main" id="{9071F5C7-FEBF-4D90-81DA-E3FDDB744C65}"/>
                </a:ext>
              </a:extLst>
            </p:cNvPr>
            <p:cNvSpPr/>
            <p:nvPr/>
          </p:nvSpPr>
          <p:spPr bwMode="ltGray">
            <a:xfrm>
              <a:off x="350639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48" name="Freeform 67">
              <a:extLst>
                <a:ext uri="{FF2B5EF4-FFF2-40B4-BE49-F238E27FC236}">
                  <a16:creationId xmlns:a16="http://schemas.microsoft.com/office/drawing/2014/main" id="{47BCEC48-E2A6-4437-BBA1-6735B3EB8C18}"/>
                </a:ext>
              </a:extLst>
            </p:cNvPr>
            <p:cNvSpPr>
              <a:spLocks noEditPoints="1"/>
            </p:cNvSpPr>
            <p:nvPr/>
          </p:nvSpPr>
          <p:spPr bwMode="auto">
            <a:xfrm>
              <a:off x="3619820" y="2424707"/>
              <a:ext cx="403225" cy="330200"/>
            </a:xfrm>
            <a:custGeom>
              <a:avLst/>
              <a:gdLst>
                <a:gd name="T0" fmla="*/ 426 w 761"/>
                <a:gd name="T1" fmla="*/ 504 h 625"/>
                <a:gd name="T2" fmla="*/ 753 w 761"/>
                <a:gd name="T3" fmla="*/ 333 h 625"/>
                <a:gd name="T4" fmla="*/ 761 w 761"/>
                <a:gd name="T5" fmla="*/ 318 h 625"/>
                <a:gd name="T6" fmla="*/ 758 w 761"/>
                <a:gd name="T7" fmla="*/ 306 h 625"/>
                <a:gd name="T8" fmla="*/ 746 w 761"/>
                <a:gd name="T9" fmla="*/ 295 h 625"/>
                <a:gd name="T10" fmla="*/ 728 w 761"/>
                <a:gd name="T11" fmla="*/ 296 h 625"/>
                <a:gd name="T12" fmla="*/ 67 w 761"/>
                <a:gd name="T13" fmla="*/ 384 h 625"/>
                <a:gd name="T14" fmla="*/ 48 w 761"/>
                <a:gd name="T15" fmla="*/ 364 h 625"/>
                <a:gd name="T16" fmla="*/ 45 w 761"/>
                <a:gd name="T17" fmla="*/ 341 h 625"/>
                <a:gd name="T18" fmla="*/ 62 w 761"/>
                <a:gd name="T19" fmla="*/ 318 h 625"/>
                <a:gd name="T20" fmla="*/ 89 w 761"/>
                <a:gd name="T21" fmla="*/ 313 h 625"/>
                <a:gd name="T22" fmla="*/ 427 w 761"/>
                <a:gd name="T23" fmla="*/ 383 h 625"/>
                <a:gd name="T24" fmla="*/ 753 w 761"/>
                <a:gd name="T25" fmla="*/ 212 h 625"/>
                <a:gd name="T26" fmla="*/ 761 w 761"/>
                <a:gd name="T27" fmla="*/ 197 h 625"/>
                <a:gd name="T28" fmla="*/ 758 w 761"/>
                <a:gd name="T29" fmla="*/ 185 h 625"/>
                <a:gd name="T30" fmla="*/ 746 w 761"/>
                <a:gd name="T31" fmla="*/ 173 h 625"/>
                <a:gd name="T32" fmla="*/ 728 w 761"/>
                <a:gd name="T33" fmla="*/ 176 h 625"/>
                <a:gd name="T34" fmla="*/ 67 w 761"/>
                <a:gd name="T35" fmla="*/ 263 h 625"/>
                <a:gd name="T36" fmla="*/ 48 w 761"/>
                <a:gd name="T37" fmla="*/ 243 h 625"/>
                <a:gd name="T38" fmla="*/ 45 w 761"/>
                <a:gd name="T39" fmla="*/ 221 h 625"/>
                <a:gd name="T40" fmla="*/ 62 w 761"/>
                <a:gd name="T41" fmla="*/ 197 h 625"/>
                <a:gd name="T42" fmla="*/ 89 w 761"/>
                <a:gd name="T43" fmla="*/ 192 h 625"/>
                <a:gd name="T44" fmla="*/ 407 w 761"/>
                <a:gd name="T45" fmla="*/ 257 h 625"/>
                <a:gd name="T46" fmla="*/ 729 w 761"/>
                <a:gd name="T47" fmla="*/ 90 h 625"/>
                <a:gd name="T48" fmla="*/ 744 w 761"/>
                <a:gd name="T49" fmla="*/ 74 h 625"/>
                <a:gd name="T50" fmla="*/ 726 w 761"/>
                <a:gd name="T51" fmla="*/ 61 h 625"/>
                <a:gd name="T52" fmla="*/ 398 w 761"/>
                <a:gd name="T53" fmla="*/ 0 h 625"/>
                <a:gd name="T54" fmla="*/ 354 w 761"/>
                <a:gd name="T55" fmla="*/ 5 h 625"/>
                <a:gd name="T56" fmla="*/ 50 w 761"/>
                <a:gd name="T57" fmla="*/ 153 h 625"/>
                <a:gd name="T58" fmla="*/ 33 w 761"/>
                <a:gd name="T59" fmla="*/ 164 h 625"/>
                <a:gd name="T60" fmla="*/ 12 w 761"/>
                <a:gd name="T61" fmla="*/ 188 h 625"/>
                <a:gd name="T62" fmla="*/ 3 w 761"/>
                <a:gd name="T63" fmla="*/ 212 h 625"/>
                <a:gd name="T64" fmla="*/ 5 w 761"/>
                <a:gd name="T65" fmla="*/ 255 h 625"/>
                <a:gd name="T66" fmla="*/ 28 w 761"/>
                <a:gd name="T67" fmla="*/ 289 h 625"/>
                <a:gd name="T68" fmla="*/ 6 w 761"/>
                <a:gd name="T69" fmla="*/ 319 h 625"/>
                <a:gd name="T70" fmla="*/ 0 w 761"/>
                <a:gd name="T71" fmla="*/ 354 h 625"/>
                <a:gd name="T72" fmla="*/ 14 w 761"/>
                <a:gd name="T73" fmla="*/ 395 h 625"/>
                <a:gd name="T74" fmla="*/ 19 w 761"/>
                <a:gd name="T75" fmla="*/ 419 h 625"/>
                <a:gd name="T76" fmla="*/ 3 w 761"/>
                <a:gd name="T77" fmla="*/ 454 h 625"/>
                <a:gd name="T78" fmla="*/ 3 w 761"/>
                <a:gd name="T79" fmla="*/ 486 h 625"/>
                <a:gd name="T80" fmla="*/ 14 w 761"/>
                <a:gd name="T81" fmla="*/ 515 h 625"/>
                <a:gd name="T82" fmla="*/ 35 w 761"/>
                <a:gd name="T83" fmla="*/ 537 h 625"/>
                <a:gd name="T84" fmla="*/ 65 w 761"/>
                <a:gd name="T85" fmla="*/ 551 h 625"/>
                <a:gd name="T86" fmla="*/ 426 w 761"/>
                <a:gd name="T87" fmla="*/ 625 h 625"/>
                <a:gd name="T88" fmla="*/ 753 w 761"/>
                <a:gd name="T89" fmla="*/ 454 h 625"/>
                <a:gd name="T90" fmla="*/ 761 w 761"/>
                <a:gd name="T91" fmla="*/ 440 h 625"/>
                <a:gd name="T92" fmla="*/ 758 w 761"/>
                <a:gd name="T93" fmla="*/ 427 h 625"/>
                <a:gd name="T94" fmla="*/ 746 w 761"/>
                <a:gd name="T95" fmla="*/ 416 h 625"/>
                <a:gd name="T96" fmla="*/ 728 w 761"/>
                <a:gd name="T97" fmla="*/ 418 h 625"/>
                <a:gd name="T98" fmla="*/ 67 w 761"/>
                <a:gd name="T99" fmla="*/ 505 h 625"/>
                <a:gd name="T100" fmla="*/ 48 w 761"/>
                <a:gd name="T101" fmla="*/ 485 h 625"/>
                <a:gd name="T102" fmla="*/ 45 w 761"/>
                <a:gd name="T103" fmla="*/ 463 h 625"/>
                <a:gd name="T104" fmla="*/ 62 w 761"/>
                <a:gd name="T105" fmla="*/ 439 h 625"/>
                <a:gd name="T106" fmla="*/ 89 w 761"/>
                <a:gd name="T107" fmla="*/ 434 h 625"/>
                <a:gd name="T108" fmla="*/ 399 w 761"/>
                <a:gd name="T109" fmla="*/ 74 h 625"/>
                <a:gd name="T110" fmla="*/ 399 w 761"/>
                <a:gd name="T111" fmla="*/ 74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61" h="625">
                  <a:moveTo>
                    <a:pt x="418" y="505"/>
                  </a:moveTo>
                  <a:lnTo>
                    <a:pt x="418" y="505"/>
                  </a:lnTo>
                  <a:lnTo>
                    <a:pt x="421" y="505"/>
                  </a:lnTo>
                  <a:lnTo>
                    <a:pt x="426" y="504"/>
                  </a:lnTo>
                  <a:lnTo>
                    <a:pt x="433" y="503"/>
                  </a:lnTo>
                  <a:lnTo>
                    <a:pt x="749" y="336"/>
                  </a:lnTo>
                  <a:lnTo>
                    <a:pt x="749" y="336"/>
                  </a:lnTo>
                  <a:lnTo>
                    <a:pt x="753" y="333"/>
                  </a:lnTo>
                  <a:lnTo>
                    <a:pt x="756" y="330"/>
                  </a:lnTo>
                  <a:lnTo>
                    <a:pt x="758" y="326"/>
                  </a:lnTo>
                  <a:lnTo>
                    <a:pt x="759" y="322"/>
                  </a:lnTo>
                  <a:lnTo>
                    <a:pt x="761" y="318"/>
                  </a:lnTo>
                  <a:lnTo>
                    <a:pt x="761" y="314"/>
                  </a:lnTo>
                  <a:lnTo>
                    <a:pt x="759" y="310"/>
                  </a:lnTo>
                  <a:lnTo>
                    <a:pt x="758" y="306"/>
                  </a:lnTo>
                  <a:lnTo>
                    <a:pt x="758" y="306"/>
                  </a:lnTo>
                  <a:lnTo>
                    <a:pt x="756" y="302"/>
                  </a:lnTo>
                  <a:lnTo>
                    <a:pt x="753" y="299"/>
                  </a:lnTo>
                  <a:lnTo>
                    <a:pt x="749" y="296"/>
                  </a:lnTo>
                  <a:lnTo>
                    <a:pt x="746" y="295"/>
                  </a:lnTo>
                  <a:lnTo>
                    <a:pt x="741" y="294"/>
                  </a:lnTo>
                  <a:lnTo>
                    <a:pt x="737" y="294"/>
                  </a:lnTo>
                  <a:lnTo>
                    <a:pt x="733" y="295"/>
                  </a:lnTo>
                  <a:lnTo>
                    <a:pt x="728" y="296"/>
                  </a:lnTo>
                  <a:lnTo>
                    <a:pt x="419" y="460"/>
                  </a:lnTo>
                  <a:lnTo>
                    <a:pt x="74" y="387"/>
                  </a:lnTo>
                  <a:lnTo>
                    <a:pt x="74" y="387"/>
                  </a:lnTo>
                  <a:lnTo>
                    <a:pt x="67" y="384"/>
                  </a:lnTo>
                  <a:lnTo>
                    <a:pt x="60" y="381"/>
                  </a:lnTo>
                  <a:lnTo>
                    <a:pt x="55" y="376"/>
                  </a:lnTo>
                  <a:lnTo>
                    <a:pt x="50" y="370"/>
                  </a:lnTo>
                  <a:lnTo>
                    <a:pt x="48" y="364"/>
                  </a:lnTo>
                  <a:lnTo>
                    <a:pt x="45" y="357"/>
                  </a:lnTo>
                  <a:lnTo>
                    <a:pt x="44" y="350"/>
                  </a:lnTo>
                  <a:lnTo>
                    <a:pt x="45" y="341"/>
                  </a:lnTo>
                  <a:lnTo>
                    <a:pt x="45" y="341"/>
                  </a:lnTo>
                  <a:lnTo>
                    <a:pt x="48" y="335"/>
                  </a:lnTo>
                  <a:lnTo>
                    <a:pt x="51" y="328"/>
                  </a:lnTo>
                  <a:lnTo>
                    <a:pt x="56" y="323"/>
                  </a:lnTo>
                  <a:lnTo>
                    <a:pt x="62" y="318"/>
                  </a:lnTo>
                  <a:lnTo>
                    <a:pt x="69" y="315"/>
                  </a:lnTo>
                  <a:lnTo>
                    <a:pt x="76" y="313"/>
                  </a:lnTo>
                  <a:lnTo>
                    <a:pt x="83" y="313"/>
                  </a:lnTo>
                  <a:lnTo>
                    <a:pt x="89" y="313"/>
                  </a:lnTo>
                  <a:lnTo>
                    <a:pt x="89" y="313"/>
                  </a:lnTo>
                  <a:lnTo>
                    <a:pt x="422" y="383"/>
                  </a:lnTo>
                  <a:lnTo>
                    <a:pt x="422" y="383"/>
                  </a:lnTo>
                  <a:lnTo>
                    <a:pt x="427" y="383"/>
                  </a:lnTo>
                  <a:lnTo>
                    <a:pt x="433" y="381"/>
                  </a:lnTo>
                  <a:lnTo>
                    <a:pt x="749" y="214"/>
                  </a:lnTo>
                  <a:lnTo>
                    <a:pt x="749" y="214"/>
                  </a:lnTo>
                  <a:lnTo>
                    <a:pt x="753" y="212"/>
                  </a:lnTo>
                  <a:lnTo>
                    <a:pt x="756" y="208"/>
                  </a:lnTo>
                  <a:lnTo>
                    <a:pt x="758" y="205"/>
                  </a:lnTo>
                  <a:lnTo>
                    <a:pt x="759" y="201"/>
                  </a:lnTo>
                  <a:lnTo>
                    <a:pt x="761" y="197"/>
                  </a:lnTo>
                  <a:lnTo>
                    <a:pt x="761" y="193"/>
                  </a:lnTo>
                  <a:lnTo>
                    <a:pt x="759" y="188"/>
                  </a:lnTo>
                  <a:lnTo>
                    <a:pt x="758" y="185"/>
                  </a:lnTo>
                  <a:lnTo>
                    <a:pt x="758" y="185"/>
                  </a:lnTo>
                  <a:lnTo>
                    <a:pt x="756" y="180"/>
                  </a:lnTo>
                  <a:lnTo>
                    <a:pt x="753" y="178"/>
                  </a:lnTo>
                  <a:lnTo>
                    <a:pt x="749" y="176"/>
                  </a:lnTo>
                  <a:lnTo>
                    <a:pt x="746" y="173"/>
                  </a:lnTo>
                  <a:lnTo>
                    <a:pt x="741" y="173"/>
                  </a:lnTo>
                  <a:lnTo>
                    <a:pt x="737" y="172"/>
                  </a:lnTo>
                  <a:lnTo>
                    <a:pt x="733" y="173"/>
                  </a:lnTo>
                  <a:lnTo>
                    <a:pt x="728" y="176"/>
                  </a:lnTo>
                  <a:lnTo>
                    <a:pt x="418" y="339"/>
                  </a:lnTo>
                  <a:lnTo>
                    <a:pt x="74" y="265"/>
                  </a:lnTo>
                  <a:lnTo>
                    <a:pt x="74" y="265"/>
                  </a:lnTo>
                  <a:lnTo>
                    <a:pt x="67" y="263"/>
                  </a:lnTo>
                  <a:lnTo>
                    <a:pt x="60" y="259"/>
                  </a:lnTo>
                  <a:lnTo>
                    <a:pt x="55" y="255"/>
                  </a:lnTo>
                  <a:lnTo>
                    <a:pt x="50" y="249"/>
                  </a:lnTo>
                  <a:lnTo>
                    <a:pt x="48" y="243"/>
                  </a:lnTo>
                  <a:lnTo>
                    <a:pt x="45" y="236"/>
                  </a:lnTo>
                  <a:lnTo>
                    <a:pt x="44" y="228"/>
                  </a:lnTo>
                  <a:lnTo>
                    <a:pt x="45" y="221"/>
                  </a:lnTo>
                  <a:lnTo>
                    <a:pt x="45" y="221"/>
                  </a:lnTo>
                  <a:lnTo>
                    <a:pt x="48" y="213"/>
                  </a:lnTo>
                  <a:lnTo>
                    <a:pt x="51" y="207"/>
                  </a:lnTo>
                  <a:lnTo>
                    <a:pt x="56" y="201"/>
                  </a:lnTo>
                  <a:lnTo>
                    <a:pt x="62" y="197"/>
                  </a:lnTo>
                  <a:lnTo>
                    <a:pt x="69" y="193"/>
                  </a:lnTo>
                  <a:lnTo>
                    <a:pt x="76" y="192"/>
                  </a:lnTo>
                  <a:lnTo>
                    <a:pt x="83" y="191"/>
                  </a:lnTo>
                  <a:lnTo>
                    <a:pt x="89" y="192"/>
                  </a:lnTo>
                  <a:lnTo>
                    <a:pt x="89" y="192"/>
                  </a:lnTo>
                  <a:lnTo>
                    <a:pt x="401" y="258"/>
                  </a:lnTo>
                  <a:lnTo>
                    <a:pt x="401" y="258"/>
                  </a:lnTo>
                  <a:lnTo>
                    <a:pt x="407" y="257"/>
                  </a:lnTo>
                  <a:lnTo>
                    <a:pt x="412" y="255"/>
                  </a:lnTo>
                  <a:lnTo>
                    <a:pt x="412" y="255"/>
                  </a:lnTo>
                  <a:lnTo>
                    <a:pt x="729" y="90"/>
                  </a:lnTo>
                  <a:lnTo>
                    <a:pt x="729" y="90"/>
                  </a:lnTo>
                  <a:lnTo>
                    <a:pt x="736" y="86"/>
                  </a:lnTo>
                  <a:lnTo>
                    <a:pt x="742" y="82"/>
                  </a:lnTo>
                  <a:lnTo>
                    <a:pt x="744" y="77"/>
                  </a:lnTo>
                  <a:lnTo>
                    <a:pt x="744" y="74"/>
                  </a:lnTo>
                  <a:lnTo>
                    <a:pt x="743" y="70"/>
                  </a:lnTo>
                  <a:lnTo>
                    <a:pt x="740" y="67"/>
                  </a:lnTo>
                  <a:lnTo>
                    <a:pt x="734" y="63"/>
                  </a:lnTo>
                  <a:lnTo>
                    <a:pt x="726" y="61"/>
                  </a:lnTo>
                  <a:lnTo>
                    <a:pt x="418" y="1"/>
                  </a:lnTo>
                  <a:lnTo>
                    <a:pt x="418" y="1"/>
                  </a:lnTo>
                  <a:lnTo>
                    <a:pt x="408" y="0"/>
                  </a:lnTo>
                  <a:lnTo>
                    <a:pt x="398" y="0"/>
                  </a:lnTo>
                  <a:lnTo>
                    <a:pt x="386" y="0"/>
                  </a:lnTo>
                  <a:lnTo>
                    <a:pt x="376" y="1"/>
                  </a:lnTo>
                  <a:lnTo>
                    <a:pt x="364" y="3"/>
                  </a:lnTo>
                  <a:lnTo>
                    <a:pt x="354" y="5"/>
                  </a:lnTo>
                  <a:lnTo>
                    <a:pt x="343" y="8"/>
                  </a:lnTo>
                  <a:lnTo>
                    <a:pt x="335" y="12"/>
                  </a:lnTo>
                  <a:lnTo>
                    <a:pt x="50" y="153"/>
                  </a:lnTo>
                  <a:lnTo>
                    <a:pt x="50" y="153"/>
                  </a:lnTo>
                  <a:lnTo>
                    <a:pt x="43" y="156"/>
                  </a:lnTo>
                  <a:lnTo>
                    <a:pt x="40" y="160"/>
                  </a:lnTo>
                  <a:lnTo>
                    <a:pt x="40" y="160"/>
                  </a:lnTo>
                  <a:lnTo>
                    <a:pt x="33" y="164"/>
                  </a:lnTo>
                  <a:lnTo>
                    <a:pt x="27" y="169"/>
                  </a:lnTo>
                  <a:lnTo>
                    <a:pt x="21" y="175"/>
                  </a:lnTo>
                  <a:lnTo>
                    <a:pt x="15" y="182"/>
                  </a:lnTo>
                  <a:lnTo>
                    <a:pt x="12" y="188"/>
                  </a:lnTo>
                  <a:lnTo>
                    <a:pt x="7" y="195"/>
                  </a:lnTo>
                  <a:lnTo>
                    <a:pt x="5" y="204"/>
                  </a:lnTo>
                  <a:lnTo>
                    <a:pt x="3" y="212"/>
                  </a:lnTo>
                  <a:lnTo>
                    <a:pt x="3" y="212"/>
                  </a:lnTo>
                  <a:lnTo>
                    <a:pt x="1" y="222"/>
                  </a:lnTo>
                  <a:lnTo>
                    <a:pt x="0" y="234"/>
                  </a:lnTo>
                  <a:lnTo>
                    <a:pt x="3" y="244"/>
                  </a:lnTo>
                  <a:lnTo>
                    <a:pt x="5" y="255"/>
                  </a:lnTo>
                  <a:lnTo>
                    <a:pt x="8" y="264"/>
                  </a:lnTo>
                  <a:lnTo>
                    <a:pt x="14" y="273"/>
                  </a:lnTo>
                  <a:lnTo>
                    <a:pt x="20" y="281"/>
                  </a:lnTo>
                  <a:lnTo>
                    <a:pt x="28" y="289"/>
                  </a:lnTo>
                  <a:lnTo>
                    <a:pt x="28" y="289"/>
                  </a:lnTo>
                  <a:lnTo>
                    <a:pt x="19" y="299"/>
                  </a:lnTo>
                  <a:lnTo>
                    <a:pt x="12" y="309"/>
                  </a:lnTo>
                  <a:lnTo>
                    <a:pt x="6" y="319"/>
                  </a:lnTo>
                  <a:lnTo>
                    <a:pt x="3" y="332"/>
                  </a:lnTo>
                  <a:lnTo>
                    <a:pt x="3" y="332"/>
                  </a:lnTo>
                  <a:lnTo>
                    <a:pt x="1" y="344"/>
                  </a:lnTo>
                  <a:lnTo>
                    <a:pt x="0" y="354"/>
                  </a:lnTo>
                  <a:lnTo>
                    <a:pt x="3" y="366"/>
                  </a:lnTo>
                  <a:lnTo>
                    <a:pt x="5" y="375"/>
                  </a:lnTo>
                  <a:lnTo>
                    <a:pt x="8" y="386"/>
                  </a:lnTo>
                  <a:lnTo>
                    <a:pt x="14" y="395"/>
                  </a:lnTo>
                  <a:lnTo>
                    <a:pt x="20" y="403"/>
                  </a:lnTo>
                  <a:lnTo>
                    <a:pt x="28" y="410"/>
                  </a:lnTo>
                  <a:lnTo>
                    <a:pt x="28" y="410"/>
                  </a:lnTo>
                  <a:lnTo>
                    <a:pt x="19" y="419"/>
                  </a:lnTo>
                  <a:lnTo>
                    <a:pt x="12" y="430"/>
                  </a:lnTo>
                  <a:lnTo>
                    <a:pt x="6" y="441"/>
                  </a:lnTo>
                  <a:lnTo>
                    <a:pt x="3" y="454"/>
                  </a:lnTo>
                  <a:lnTo>
                    <a:pt x="3" y="454"/>
                  </a:lnTo>
                  <a:lnTo>
                    <a:pt x="1" y="462"/>
                  </a:lnTo>
                  <a:lnTo>
                    <a:pt x="0" y="470"/>
                  </a:lnTo>
                  <a:lnTo>
                    <a:pt x="1" y="478"/>
                  </a:lnTo>
                  <a:lnTo>
                    <a:pt x="3" y="486"/>
                  </a:lnTo>
                  <a:lnTo>
                    <a:pt x="4" y="494"/>
                  </a:lnTo>
                  <a:lnTo>
                    <a:pt x="6" y="501"/>
                  </a:lnTo>
                  <a:lnTo>
                    <a:pt x="9" y="508"/>
                  </a:lnTo>
                  <a:lnTo>
                    <a:pt x="14" y="515"/>
                  </a:lnTo>
                  <a:lnTo>
                    <a:pt x="19" y="521"/>
                  </a:lnTo>
                  <a:lnTo>
                    <a:pt x="23" y="528"/>
                  </a:lnTo>
                  <a:lnTo>
                    <a:pt x="29" y="533"/>
                  </a:lnTo>
                  <a:lnTo>
                    <a:pt x="35" y="537"/>
                  </a:lnTo>
                  <a:lnTo>
                    <a:pt x="42" y="542"/>
                  </a:lnTo>
                  <a:lnTo>
                    <a:pt x="49" y="546"/>
                  </a:lnTo>
                  <a:lnTo>
                    <a:pt x="57" y="549"/>
                  </a:lnTo>
                  <a:lnTo>
                    <a:pt x="65" y="551"/>
                  </a:lnTo>
                  <a:lnTo>
                    <a:pt x="65" y="551"/>
                  </a:lnTo>
                  <a:lnTo>
                    <a:pt x="420" y="625"/>
                  </a:lnTo>
                  <a:lnTo>
                    <a:pt x="420" y="625"/>
                  </a:lnTo>
                  <a:lnTo>
                    <a:pt x="426" y="625"/>
                  </a:lnTo>
                  <a:lnTo>
                    <a:pt x="433" y="623"/>
                  </a:lnTo>
                  <a:lnTo>
                    <a:pt x="749" y="456"/>
                  </a:lnTo>
                  <a:lnTo>
                    <a:pt x="749" y="456"/>
                  </a:lnTo>
                  <a:lnTo>
                    <a:pt x="753" y="454"/>
                  </a:lnTo>
                  <a:lnTo>
                    <a:pt x="756" y="452"/>
                  </a:lnTo>
                  <a:lnTo>
                    <a:pt x="758" y="447"/>
                  </a:lnTo>
                  <a:lnTo>
                    <a:pt x="759" y="443"/>
                  </a:lnTo>
                  <a:lnTo>
                    <a:pt x="761" y="440"/>
                  </a:lnTo>
                  <a:lnTo>
                    <a:pt x="761" y="435"/>
                  </a:lnTo>
                  <a:lnTo>
                    <a:pt x="759" y="431"/>
                  </a:lnTo>
                  <a:lnTo>
                    <a:pt x="758" y="427"/>
                  </a:lnTo>
                  <a:lnTo>
                    <a:pt x="758" y="427"/>
                  </a:lnTo>
                  <a:lnTo>
                    <a:pt x="756" y="423"/>
                  </a:lnTo>
                  <a:lnTo>
                    <a:pt x="753" y="420"/>
                  </a:lnTo>
                  <a:lnTo>
                    <a:pt x="749" y="418"/>
                  </a:lnTo>
                  <a:lnTo>
                    <a:pt x="746" y="416"/>
                  </a:lnTo>
                  <a:lnTo>
                    <a:pt x="741" y="416"/>
                  </a:lnTo>
                  <a:lnTo>
                    <a:pt x="737" y="416"/>
                  </a:lnTo>
                  <a:lnTo>
                    <a:pt x="733" y="416"/>
                  </a:lnTo>
                  <a:lnTo>
                    <a:pt x="728" y="418"/>
                  </a:lnTo>
                  <a:lnTo>
                    <a:pt x="418" y="581"/>
                  </a:lnTo>
                  <a:lnTo>
                    <a:pt x="74" y="507"/>
                  </a:lnTo>
                  <a:lnTo>
                    <a:pt x="74" y="507"/>
                  </a:lnTo>
                  <a:lnTo>
                    <a:pt x="67" y="505"/>
                  </a:lnTo>
                  <a:lnTo>
                    <a:pt x="60" y="501"/>
                  </a:lnTo>
                  <a:lnTo>
                    <a:pt x="55" y="497"/>
                  </a:lnTo>
                  <a:lnTo>
                    <a:pt x="50" y="491"/>
                  </a:lnTo>
                  <a:lnTo>
                    <a:pt x="48" y="485"/>
                  </a:lnTo>
                  <a:lnTo>
                    <a:pt x="45" y="478"/>
                  </a:lnTo>
                  <a:lnTo>
                    <a:pt x="44" y="470"/>
                  </a:lnTo>
                  <a:lnTo>
                    <a:pt x="45" y="463"/>
                  </a:lnTo>
                  <a:lnTo>
                    <a:pt x="45" y="463"/>
                  </a:lnTo>
                  <a:lnTo>
                    <a:pt x="48" y="456"/>
                  </a:lnTo>
                  <a:lnTo>
                    <a:pt x="51" y="449"/>
                  </a:lnTo>
                  <a:lnTo>
                    <a:pt x="56" y="443"/>
                  </a:lnTo>
                  <a:lnTo>
                    <a:pt x="62" y="439"/>
                  </a:lnTo>
                  <a:lnTo>
                    <a:pt x="69" y="437"/>
                  </a:lnTo>
                  <a:lnTo>
                    <a:pt x="76" y="434"/>
                  </a:lnTo>
                  <a:lnTo>
                    <a:pt x="83" y="433"/>
                  </a:lnTo>
                  <a:lnTo>
                    <a:pt x="89" y="434"/>
                  </a:lnTo>
                  <a:lnTo>
                    <a:pt x="89" y="434"/>
                  </a:lnTo>
                  <a:lnTo>
                    <a:pt x="418" y="505"/>
                  </a:lnTo>
                  <a:lnTo>
                    <a:pt x="418" y="505"/>
                  </a:lnTo>
                  <a:close/>
                  <a:moveTo>
                    <a:pt x="399" y="74"/>
                  </a:moveTo>
                  <a:lnTo>
                    <a:pt x="546" y="103"/>
                  </a:lnTo>
                  <a:lnTo>
                    <a:pt x="481" y="134"/>
                  </a:lnTo>
                  <a:lnTo>
                    <a:pt x="334" y="104"/>
                  </a:lnTo>
                  <a:lnTo>
                    <a:pt x="399"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49" name="Group 448">
            <a:extLst>
              <a:ext uri="{FF2B5EF4-FFF2-40B4-BE49-F238E27FC236}">
                <a16:creationId xmlns:a16="http://schemas.microsoft.com/office/drawing/2014/main" id="{021ABEED-63D3-41C7-A6BA-866DF9AD0663}"/>
              </a:ext>
            </a:extLst>
          </p:cNvPr>
          <p:cNvGrpSpPr/>
          <p:nvPr/>
        </p:nvGrpSpPr>
        <p:grpSpPr>
          <a:xfrm>
            <a:off x="9617656" y="3887682"/>
            <a:ext cx="612000" cy="612000"/>
            <a:chOff x="2050377" y="3807696"/>
            <a:chExt cx="612000" cy="612000"/>
          </a:xfrm>
          <a:solidFill>
            <a:srgbClr val="505050"/>
          </a:solidFill>
        </p:grpSpPr>
        <p:sp>
          <p:nvSpPr>
            <p:cNvPr id="450" name="Oval 449">
              <a:extLst>
                <a:ext uri="{FF2B5EF4-FFF2-40B4-BE49-F238E27FC236}">
                  <a16:creationId xmlns:a16="http://schemas.microsoft.com/office/drawing/2014/main" id="{AC36EE92-F0A4-41B6-9C4A-87AC9BA328AB}"/>
                </a:ext>
              </a:extLst>
            </p:cNvPr>
            <p:cNvSpPr/>
            <p:nvPr/>
          </p:nvSpPr>
          <p:spPr bwMode="ltGray">
            <a:xfrm>
              <a:off x="2050377" y="3807696"/>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51" name="Freeform 87">
              <a:extLst>
                <a:ext uri="{FF2B5EF4-FFF2-40B4-BE49-F238E27FC236}">
                  <a16:creationId xmlns:a16="http://schemas.microsoft.com/office/drawing/2014/main" id="{97819878-DB95-4330-B084-C9C54AE9C0C3}"/>
                </a:ext>
              </a:extLst>
            </p:cNvPr>
            <p:cNvSpPr>
              <a:spLocks noEditPoints="1"/>
            </p:cNvSpPr>
            <p:nvPr/>
          </p:nvSpPr>
          <p:spPr bwMode="auto">
            <a:xfrm>
              <a:off x="2163383" y="3939140"/>
              <a:ext cx="409575" cy="333375"/>
            </a:xfrm>
            <a:custGeom>
              <a:avLst/>
              <a:gdLst>
                <a:gd name="T0" fmla="*/ 17 w 775"/>
                <a:gd name="T1" fmla="*/ 17 h 629"/>
                <a:gd name="T2" fmla="*/ 1 w 775"/>
                <a:gd name="T3" fmla="*/ 585 h 629"/>
                <a:gd name="T4" fmla="*/ 56 w 775"/>
                <a:gd name="T5" fmla="*/ 629 h 629"/>
                <a:gd name="T6" fmla="*/ 766 w 775"/>
                <a:gd name="T7" fmla="*/ 605 h 629"/>
                <a:gd name="T8" fmla="*/ 770 w 775"/>
                <a:gd name="T9" fmla="*/ 34 h 629"/>
                <a:gd name="T10" fmla="*/ 719 w 775"/>
                <a:gd name="T11" fmla="*/ 0 h 629"/>
                <a:gd name="T12" fmla="*/ 722 w 775"/>
                <a:gd name="T13" fmla="*/ 585 h 629"/>
                <a:gd name="T14" fmla="*/ 60 w 775"/>
                <a:gd name="T15" fmla="*/ 588 h 629"/>
                <a:gd name="T16" fmla="*/ 42 w 775"/>
                <a:gd name="T17" fmla="*/ 71 h 629"/>
                <a:gd name="T18" fmla="*/ 60 w 775"/>
                <a:gd name="T19" fmla="*/ 46 h 629"/>
                <a:gd name="T20" fmla="*/ 722 w 775"/>
                <a:gd name="T21" fmla="*/ 48 h 629"/>
                <a:gd name="T22" fmla="*/ 677 w 775"/>
                <a:gd name="T23" fmla="*/ 83 h 629"/>
                <a:gd name="T24" fmla="*/ 82 w 775"/>
                <a:gd name="T25" fmla="*/ 536 h 629"/>
                <a:gd name="T26" fmla="*/ 449 w 775"/>
                <a:gd name="T27" fmla="*/ 520 h 629"/>
                <a:gd name="T28" fmla="*/ 631 w 775"/>
                <a:gd name="T29" fmla="*/ 511 h 629"/>
                <a:gd name="T30" fmla="*/ 677 w 775"/>
                <a:gd name="T31" fmla="*/ 552 h 629"/>
                <a:gd name="T32" fmla="*/ 690 w 775"/>
                <a:gd name="T33" fmla="*/ 92 h 629"/>
                <a:gd name="T34" fmla="*/ 294 w 775"/>
                <a:gd name="T35" fmla="*/ 379 h 629"/>
                <a:gd name="T36" fmla="*/ 245 w 775"/>
                <a:gd name="T37" fmla="*/ 407 h 629"/>
                <a:gd name="T38" fmla="*/ 200 w 775"/>
                <a:gd name="T39" fmla="*/ 403 h 629"/>
                <a:gd name="T40" fmla="*/ 172 w 775"/>
                <a:gd name="T41" fmla="*/ 380 h 629"/>
                <a:gd name="T42" fmla="*/ 179 w 775"/>
                <a:gd name="T43" fmla="*/ 361 h 629"/>
                <a:gd name="T44" fmla="*/ 204 w 775"/>
                <a:gd name="T45" fmla="*/ 365 h 629"/>
                <a:gd name="T46" fmla="*/ 221 w 775"/>
                <a:gd name="T47" fmla="*/ 383 h 629"/>
                <a:gd name="T48" fmla="*/ 266 w 775"/>
                <a:gd name="T49" fmla="*/ 360 h 629"/>
                <a:gd name="T50" fmla="*/ 258 w 775"/>
                <a:gd name="T51" fmla="*/ 317 h 629"/>
                <a:gd name="T52" fmla="*/ 221 w 775"/>
                <a:gd name="T53" fmla="*/ 314 h 629"/>
                <a:gd name="T54" fmla="*/ 199 w 775"/>
                <a:gd name="T55" fmla="*/ 310 h 629"/>
                <a:gd name="T56" fmla="*/ 201 w 775"/>
                <a:gd name="T57" fmla="*/ 294 h 629"/>
                <a:gd name="T58" fmla="*/ 242 w 775"/>
                <a:gd name="T59" fmla="*/ 265 h 629"/>
                <a:gd name="T60" fmla="*/ 233 w 775"/>
                <a:gd name="T61" fmla="*/ 254 h 629"/>
                <a:gd name="T62" fmla="*/ 185 w 775"/>
                <a:gd name="T63" fmla="*/ 272 h 629"/>
                <a:gd name="T64" fmla="*/ 165 w 775"/>
                <a:gd name="T65" fmla="*/ 273 h 629"/>
                <a:gd name="T66" fmla="*/ 166 w 775"/>
                <a:gd name="T67" fmla="*/ 254 h 629"/>
                <a:gd name="T68" fmla="*/ 230 w 775"/>
                <a:gd name="T69" fmla="*/ 229 h 629"/>
                <a:gd name="T70" fmla="*/ 272 w 775"/>
                <a:gd name="T71" fmla="*/ 247 h 629"/>
                <a:gd name="T72" fmla="*/ 267 w 775"/>
                <a:gd name="T73" fmla="*/ 285 h 629"/>
                <a:gd name="T74" fmla="*/ 285 w 775"/>
                <a:gd name="T75" fmla="*/ 303 h 629"/>
                <a:gd name="T76" fmla="*/ 306 w 775"/>
                <a:gd name="T77" fmla="*/ 340 h 629"/>
                <a:gd name="T78" fmla="*/ 468 w 775"/>
                <a:gd name="T79" fmla="*/ 298 h 629"/>
                <a:gd name="T80" fmla="*/ 417 w 775"/>
                <a:gd name="T81" fmla="*/ 308 h 629"/>
                <a:gd name="T82" fmla="*/ 420 w 775"/>
                <a:gd name="T83" fmla="*/ 351 h 629"/>
                <a:gd name="T84" fmla="*/ 406 w 775"/>
                <a:gd name="T85" fmla="*/ 355 h 629"/>
                <a:gd name="T86" fmla="*/ 394 w 775"/>
                <a:gd name="T87" fmla="*/ 331 h 629"/>
                <a:gd name="T88" fmla="*/ 358 w 775"/>
                <a:gd name="T89" fmla="*/ 321 h 629"/>
                <a:gd name="T90" fmla="*/ 345 w 775"/>
                <a:gd name="T91" fmla="*/ 308 h 629"/>
                <a:gd name="T92" fmla="*/ 390 w 775"/>
                <a:gd name="T93" fmla="*/ 294 h 629"/>
                <a:gd name="T94" fmla="*/ 404 w 775"/>
                <a:gd name="T95" fmla="*/ 251 h 629"/>
                <a:gd name="T96" fmla="*/ 415 w 775"/>
                <a:gd name="T97" fmla="*/ 259 h 629"/>
                <a:gd name="T98" fmla="*/ 449 w 775"/>
                <a:gd name="T99" fmla="*/ 285 h 629"/>
                <a:gd name="T100" fmla="*/ 468 w 775"/>
                <a:gd name="T101" fmla="*/ 298 h 629"/>
                <a:gd name="T102" fmla="*/ 570 w 775"/>
                <a:gd name="T103" fmla="*/ 347 h 629"/>
                <a:gd name="T104" fmla="*/ 552 w 775"/>
                <a:gd name="T105" fmla="*/ 343 h 629"/>
                <a:gd name="T106" fmla="*/ 534 w 775"/>
                <a:gd name="T107" fmla="*/ 278 h 629"/>
                <a:gd name="T108" fmla="*/ 514 w 775"/>
                <a:gd name="T109" fmla="*/ 226 h 629"/>
                <a:gd name="T110" fmla="*/ 482 w 775"/>
                <a:gd name="T111" fmla="*/ 239 h 629"/>
                <a:gd name="T112" fmla="*/ 470 w 775"/>
                <a:gd name="T113" fmla="*/ 224 h 629"/>
                <a:gd name="T114" fmla="*/ 519 w 775"/>
                <a:gd name="T115" fmla="*/ 184 h 629"/>
                <a:gd name="T116" fmla="*/ 552 w 775"/>
                <a:gd name="T117" fmla="*/ 174 h 629"/>
                <a:gd name="T118" fmla="*/ 564 w 775"/>
                <a:gd name="T119" fmla="*/ 195 h 629"/>
                <a:gd name="T120" fmla="*/ 577 w 775"/>
                <a:gd name="T121" fmla="*/ 339 h 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5" h="629">
                  <a:moveTo>
                    <a:pt x="719" y="0"/>
                  </a:moveTo>
                  <a:lnTo>
                    <a:pt x="56" y="0"/>
                  </a:lnTo>
                  <a:lnTo>
                    <a:pt x="56" y="0"/>
                  </a:lnTo>
                  <a:lnTo>
                    <a:pt x="45" y="2"/>
                  </a:lnTo>
                  <a:lnTo>
                    <a:pt x="34" y="5"/>
                  </a:lnTo>
                  <a:lnTo>
                    <a:pt x="25" y="10"/>
                  </a:lnTo>
                  <a:lnTo>
                    <a:pt x="17" y="17"/>
                  </a:lnTo>
                  <a:lnTo>
                    <a:pt x="10" y="25"/>
                  </a:lnTo>
                  <a:lnTo>
                    <a:pt x="4" y="34"/>
                  </a:lnTo>
                  <a:lnTo>
                    <a:pt x="1" y="44"/>
                  </a:lnTo>
                  <a:lnTo>
                    <a:pt x="0" y="56"/>
                  </a:lnTo>
                  <a:lnTo>
                    <a:pt x="0" y="574"/>
                  </a:lnTo>
                  <a:lnTo>
                    <a:pt x="0" y="574"/>
                  </a:lnTo>
                  <a:lnTo>
                    <a:pt x="1" y="585"/>
                  </a:lnTo>
                  <a:lnTo>
                    <a:pt x="4" y="596"/>
                  </a:lnTo>
                  <a:lnTo>
                    <a:pt x="10" y="605"/>
                  </a:lnTo>
                  <a:lnTo>
                    <a:pt x="17" y="613"/>
                  </a:lnTo>
                  <a:lnTo>
                    <a:pt x="25" y="620"/>
                  </a:lnTo>
                  <a:lnTo>
                    <a:pt x="34" y="625"/>
                  </a:lnTo>
                  <a:lnTo>
                    <a:pt x="45" y="628"/>
                  </a:lnTo>
                  <a:lnTo>
                    <a:pt x="56" y="629"/>
                  </a:lnTo>
                  <a:lnTo>
                    <a:pt x="719" y="629"/>
                  </a:lnTo>
                  <a:lnTo>
                    <a:pt x="719" y="629"/>
                  </a:lnTo>
                  <a:lnTo>
                    <a:pt x="731" y="628"/>
                  </a:lnTo>
                  <a:lnTo>
                    <a:pt x="741" y="625"/>
                  </a:lnTo>
                  <a:lnTo>
                    <a:pt x="751" y="620"/>
                  </a:lnTo>
                  <a:lnTo>
                    <a:pt x="759" y="613"/>
                  </a:lnTo>
                  <a:lnTo>
                    <a:pt x="766" y="605"/>
                  </a:lnTo>
                  <a:lnTo>
                    <a:pt x="770" y="596"/>
                  </a:lnTo>
                  <a:lnTo>
                    <a:pt x="774" y="585"/>
                  </a:lnTo>
                  <a:lnTo>
                    <a:pt x="775" y="574"/>
                  </a:lnTo>
                  <a:lnTo>
                    <a:pt x="775" y="56"/>
                  </a:lnTo>
                  <a:lnTo>
                    <a:pt x="775" y="56"/>
                  </a:lnTo>
                  <a:lnTo>
                    <a:pt x="774" y="44"/>
                  </a:lnTo>
                  <a:lnTo>
                    <a:pt x="770" y="34"/>
                  </a:lnTo>
                  <a:lnTo>
                    <a:pt x="766" y="25"/>
                  </a:lnTo>
                  <a:lnTo>
                    <a:pt x="759" y="17"/>
                  </a:lnTo>
                  <a:lnTo>
                    <a:pt x="751" y="10"/>
                  </a:lnTo>
                  <a:lnTo>
                    <a:pt x="741" y="5"/>
                  </a:lnTo>
                  <a:lnTo>
                    <a:pt x="731" y="2"/>
                  </a:lnTo>
                  <a:lnTo>
                    <a:pt x="719" y="0"/>
                  </a:lnTo>
                  <a:lnTo>
                    <a:pt x="719" y="0"/>
                  </a:lnTo>
                  <a:close/>
                  <a:moveTo>
                    <a:pt x="734" y="562"/>
                  </a:moveTo>
                  <a:lnTo>
                    <a:pt x="734" y="562"/>
                  </a:lnTo>
                  <a:lnTo>
                    <a:pt x="733" y="568"/>
                  </a:lnTo>
                  <a:lnTo>
                    <a:pt x="732" y="573"/>
                  </a:lnTo>
                  <a:lnTo>
                    <a:pt x="730" y="577"/>
                  </a:lnTo>
                  <a:lnTo>
                    <a:pt x="726" y="582"/>
                  </a:lnTo>
                  <a:lnTo>
                    <a:pt x="722" y="585"/>
                  </a:lnTo>
                  <a:lnTo>
                    <a:pt x="717" y="588"/>
                  </a:lnTo>
                  <a:lnTo>
                    <a:pt x="712" y="589"/>
                  </a:lnTo>
                  <a:lnTo>
                    <a:pt x="707" y="590"/>
                  </a:lnTo>
                  <a:lnTo>
                    <a:pt x="70" y="590"/>
                  </a:lnTo>
                  <a:lnTo>
                    <a:pt x="70" y="590"/>
                  </a:lnTo>
                  <a:lnTo>
                    <a:pt x="64" y="589"/>
                  </a:lnTo>
                  <a:lnTo>
                    <a:pt x="60" y="588"/>
                  </a:lnTo>
                  <a:lnTo>
                    <a:pt x="54" y="585"/>
                  </a:lnTo>
                  <a:lnTo>
                    <a:pt x="51" y="582"/>
                  </a:lnTo>
                  <a:lnTo>
                    <a:pt x="47" y="577"/>
                  </a:lnTo>
                  <a:lnTo>
                    <a:pt x="45" y="573"/>
                  </a:lnTo>
                  <a:lnTo>
                    <a:pt x="42" y="568"/>
                  </a:lnTo>
                  <a:lnTo>
                    <a:pt x="42" y="562"/>
                  </a:lnTo>
                  <a:lnTo>
                    <a:pt x="42" y="71"/>
                  </a:lnTo>
                  <a:lnTo>
                    <a:pt x="42" y="71"/>
                  </a:lnTo>
                  <a:lnTo>
                    <a:pt x="42" y="65"/>
                  </a:lnTo>
                  <a:lnTo>
                    <a:pt x="45" y="61"/>
                  </a:lnTo>
                  <a:lnTo>
                    <a:pt x="47" y="56"/>
                  </a:lnTo>
                  <a:lnTo>
                    <a:pt x="51" y="51"/>
                  </a:lnTo>
                  <a:lnTo>
                    <a:pt x="54" y="48"/>
                  </a:lnTo>
                  <a:lnTo>
                    <a:pt x="60" y="46"/>
                  </a:lnTo>
                  <a:lnTo>
                    <a:pt x="64" y="44"/>
                  </a:lnTo>
                  <a:lnTo>
                    <a:pt x="70" y="43"/>
                  </a:lnTo>
                  <a:lnTo>
                    <a:pt x="707" y="43"/>
                  </a:lnTo>
                  <a:lnTo>
                    <a:pt x="707" y="43"/>
                  </a:lnTo>
                  <a:lnTo>
                    <a:pt x="712" y="44"/>
                  </a:lnTo>
                  <a:lnTo>
                    <a:pt x="717" y="46"/>
                  </a:lnTo>
                  <a:lnTo>
                    <a:pt x="722" y="48"/>
                  </a:lnTo>
                  <a:lnTo>
                    <a:pt x="726" y="51"/>
                  </a:lnTo>
                  <a:lnTo>
                    <a:pt x="730" y="56"/>
                  </a:lnTo>
                  <a:lnTo>
                    <a:pt x="732" y="61"/>
                  </a:lnTo>
                  <a:lnTo>
                    <a:pt x="733" y="65"/>
                  </a:lnTo>
                  <a:lnTo>
                    <a:pt x="734" y="71"/>
                  </a:lnTo>
                  <a:lnTo>
                    <a:pt x="734" y="562"/>
                  </a:lnTo>
                  <a:close/>
                  <a:moveTo>
                    <a:pt x="677" y="83"/>
                  </a:moveTo>
                  <a:lnTo>
                    <a:pt x="98" y="83"/>
                  </a:lnTo>
                  <a:lnTo>
                    <a:pt x="98" y="83"/>
                  </a:lnTo>
                  <a:lnTo>
                    <a:pt x="91" y="84"/>
                  </a:lnTo>
                  <a:lnTo>
                    <a:pt x="87" y="87"/>
                  </a:lnTo>
                  <a:lnTo>
                    <a:pt x="83" y="92"/>
                  </a:lnTo>
                  <a:lnTo>
                    <a:pt x="82" y="98"/>
                  </a:lnTo>
                  <a:lnTo>
                    <a:pt x="82" y="536"/>
                  </a:lnTo>
                  <a:lnTo>
                    <a:pt x="82" y="536"/>
                  </a:lnTo>
                  <a:lnTo>
                    <a:pt x="83" y="542"/>
                  </a:lnTo>
                  <a:lnTo>
                    <a:pt x="87" y="547"/>
                  </a:lnTo>
                  <a:lnTo>
                    <a:pt x="91" y="551"/>
                  </a:lnTo>
                  <a:lnTo>
                    <a:pt x="98" y="552"/>
                  </a:lnTo>
                  <a:lnTo>
                    <a:pt x="449" y="552"/>
                  </a:lnTo>
                  <a:lnTo>
                    <a:pt x="449" y="520"/>
                  </a:lnTo>
                  <a:lnTo>
                    <a:pt x="449" y="520"/>
                  </a:lnTo>
                  <a:lnTo>
                    <a:pt x="449" y="516"/>
                  </a:lnTo>
                  <a:lnTo>
                    <a:pt x="452" y="514"/>
                  </a:lnTo>
                  <a:lnTo>
                    <a:pt x="454" y="513"/>
                  </a:lnTo>
                  <a:lnTo>
                    <a:pt x="457" y="511"/>
                  </a:lnTo>
                  <a:lnTo>
                    <a:pt x="631" y="511"/>
                  </a:lnTo>
                  <a:lnTo>
                    <a:pt x="631" y="511"/>
                  </a:lnTo>
                  <a:lnTo>
                    <a:pt x="634" y="513"/>
                  </a:lnTo>
                  <a:lnTo>
                    <a:pt x="636" y="514"/>
                  </a:lnTo>
                  <a:lnTo>
                    <a:pt x="638" y="516"/>
                  </a:lnTo>
                  <a:lnTo>
                    <a:pt x="638" y="520"/>
                  </a:lnTo>
                  <a:lnTo>
                    <a:pt x="638" y="552"/>
                  </a:lnTo>
                  <a:lnTo>
                    <a:pt x="677" y="552"/>
                  </a:lnTo>
                  <a:lnTo>
                    <a:pt x="677" y="552"/>
                  </a:lnTo>
                  <a:lnTo>
                    <a:pt x="682" y="551"/>
                  </a:lnTo>
                  <a:lnTo>
                    <a:pt x="687" y="547"/>
                  </a:lnTo>
                  <a:lnTo>
                    <a:pt x="690" y="543"/>
                  </a:lnTo>
                  <a:lnTo>
                    <a:pt x="692" y="536"/>
                  </a:lnTo>
                  <a:lnTo>
                    <a:pt x="692" y="98"/>
                  </a:lnTo>
                  <a:lnTo>
                    <a:pt x="692" y="98"/>
                  </a:lnTo>
                  <a:lnTo>
                    <a:pt x="690" y="92"/>
                  </a:lnTo>
                  <a:lnTo>
                    <a:pt x="687" y="87"/>
                  </a:lnTo>
                  <a:lnTo>
                    <a:pt x="682" y="84"/>
                  </a:lnTo>
                  <a:lnTo>
                    <a:pt x="677" y="83"/>
                  </a:lnTo>
                  <a:lnTo>
                    <a:pt x="677" y="83"/>
                  </a:lnTo>
                  <a:close/>
                  <a:moveTo>
                    <a:pt x="297" y="370"/>
                  </a:moveTo>
                  <a:lnTo>
                    <a:pt x="297" y="370"/>
                  </a:lnTo>
                  <a:lnTo>
                    <a:pt x="294" y="379"/>
                  </a:lnTo>
                  <a:lnTo>
                    <a:pt x="288" y="384"/>
                  </a:lnTo>
                  <a:lnTo>
                    <a:pt x="282" y="390"/>
                  </a:lnTo>
                  <a:lnTo>
                    <a:pt x="277" y="396"/>
                  </a:lnTo>
                  <a:lnTo>
                    <a:pt x="270" y="399"/>
                  </a:lnTo>
                  <a:lnTo>
                    <a:pt x="263" y="403"/>
                  </a:lnTo>
                  <a:lnTo>
                    <a:pt x="255" y="406"/>
                  </a:lnTo>
                  <a:lnTo>
                    <a:pt x="245" y="407"/>
                  </a:lnTo>
                  <a:lnTo>
                    <a:pt x="245" y="407"/>
                  </a:lnTo>
                  <a:lnTo>
                    <a:pt x="233" y="409"/>
                  </a:lnTo>
                  <a:lnTo>
                    <a:pt x="233" y="409"/>
                  </a:lnTo>
                  <a:lnTo>
                    <a:pt x="224" y="409"/>
                  </a:lnTo>
                  <a:lnTo>
                    <a:pt x="216" y="407"/>
                  </a:lnTo>
                  <a:lnTo>
                    <a:pt x="208" y="405"/>
                  </a:lnTo>
                  <a:lnTo>
                    <a:pt x="200" y="403"/>
                  </a:lnTo>
                  <a:lnTo>
                    <a:pt x="200" y="403"/>
                  </a:lnTo>
                  <a:lnTo>
                    <a:pt x="192" y="398"/>
                  </a:lnTo>
                  <a:lnTo>
                    <a:pt x="186" y="395"/>
                  </a:lnTo>
                  <a:lnTo>
                    <a:pt x="180" y="390"/>
                  </a:lnTo>
                  <a:lnTo>
                    <a:pt x="176" y="384"/>
                  </a:lnTo>
                  <a:lnTo>
                    <a:pt x="176" y="384"/>
                  </a:lnTo>
                  <a:lnTo>
                    <a:pt x="172" y="380"/>
                  </a:lnTo>
                  <a:lnTo>
                    <a:pt x="171" y="375"/>
                  </a:lnTo>
                  <a:lnTo>
                    <a:pt x="170" y="372"/>
                  </a:lnTo>
                  <a:lnTo>
                    <a:pt x="171" y="368"/>
                  </a:lnTo>
                  <a:lnTo>
                    <a:pt x="171" y="368"/>
                  </a:lnTo>
                  <a:lnTo>
                    <a:pt x="173" y="366"/>
                  </a:lnTo>
                  <a:lnTo>
                    <a:pt x="176" y="363"/>
                  </a:lnTo>
                  <a:lnTo>
                    <a:pt x="179" y="361"/>
                  </a:lnTo>
                  <a:lnTo>
                    <a:pt x="185" y="360"/>
                  </a:lnTo>
                  <a:lnTo>
                    <a:pt x="185" y="360"/>
                  </a:lnTo>
                  <a:lnTo>
                    <a:pt x="191" y="360"/>
                  </a:lnTo>
                  <a:lnTo>
                    <a:pt x="195" y="360"/>
                  </a:lnTo>
                  <a:lnTo>
                    <a:pt x="200" y="362"/>
                  </a:lnTo>
                  <a:lnTo>
                    <a:pt x="204" y="365"/>
                  </a:lnTo>
                  <a:lnTo>
                    <a:pt x="204" y="365"/>
                  </a:lnTo>
                  <a:lnTo>
                    <a:pt x="206" y="369"/>
                  </a:lnTo>
                  <a:lnTo>
                    <a:pt x="206" y="369"/>
                  </a:lnTo>
                  <a:lnTo>
                    <a:pt x="208" y="374"/>
                  </a:lnTo>
                  <a:lnTo>
                    <a:pt x="208" y="374"/>
                  </a:lnTo>
                  <a:lnTo>
                    <a:pt x="214" y="380"/>
                  </a:lnTo>
                  <a:lnTo>
                    <a:pt x="221" y="383"/>
                  </a:lnTo>
                  <a:lnTo>
                    <a:pt x="221" y="383"/>
                  </a:lnTo>
                  <a:lnTo>
                    <a:pt x="230" y="385"/>
                  </a:lnTo>
                  <a:lnTo>
                    <a:pt x="238" y="385"/>
                  </a:lnTo>
                  <a:lnTo>
                    <a:pt x="238" y="385"/>
                  </a:lnTo>
                  <a:lnTo>
                    <a:pt x="248" y="382"/>
                  </a:lnTo>
                  <a:lnTo>
                    <a:pt x="255" y="377"/>
                  </a:lnTo>
                  <a:lnTo>
                    <a:pt x="262" y="369"/>
                  </a:lnTo>
                  <a:lnTo>
                    <a:pt x="266" y="360"/>
                  </a:lnTo>
                  <a:lnTo>
                    <a:pt x="266" y="360"/>
                  </a:lnTo>
                  <a:lnTo>
                    <a:pt x="270" y="350"/>
                  </a:lnTo>
                  <a:lnTo>
                    <a:pt x="271" y="340"/>
                  </a:lnTo>
                  <a:lnTo>
                    <a:pt x="269" y="332"/>
                  </a:lnTo>
                  <a:lnTo>
                    <a:pt x="264" y="324"/>
                  </a:lnTo>
                  <a:lnTo>
                    <a:pt x="264" y="324"/>
                  </a:lnTo>
                  <a:lnTo>
                    <a:pt x="258" y="317"/>
                  </a:lnTo>
                  <a:lnTo>
                    <a:pt x="250" y="313"/>
                  </a:lnTo>
                  <a:lnTo>
                    <a:pt x="250" y="313"/>
                  </a:lnTo>
                  <a:lnTo>
                    <a:pt x="244" y="311"/>
                  </a:lnTo>
                  <a:lnTo>
                    <a:pt x="240" y="310"/>
                  </a:lnTo>
                  <a:lnTo>
                    <a:pt x="229" y="311"/>
                  </a:lnTo>
                  <a:lnTo>
                    <a:pt x="229" y="311"/>
                  </a:lnTo>
                  <a:lnTo>
                    <a:pt x="221" y="314"/>
                  </a:lnTo>
                  <a:lnTo>
                    <a:pt x="221" y="314"/>
                  </a:lnTo>
                  <a:lnTo>
                    <a:pt x="213" y="316"/>
                  </a:lnTo>
                  <a:lnTo>
                    <a:pt x="213" y="316"/>
                  </a:lnTo>
                  <a:lnTo>
                    <a:pt x="208" y="316"/>
                  </a:lnTo>
                  <a:lnTo>
                    <a:pt x="205" y="315"/>
                  </a:lnTo>
                  <a:lnTo>
                    <a:pt x="201" y="314"/>
                  </a:lnTo>
                  <a:lnTo>
                    <a:pt x="199" y="310"/>
                  </a:lnTo>
                  <a:lnTo>
                    <a:pt x="199" y="310"/>
                  </a:lnTo>
                  <a:lnTo>
                    <a:pt x="197" y="307"/>
                  </a:lnTo>
                  <a:lnTo>
                    <a:pt x="195" y="303"/>
                  </a:lnTo>
                  <a:lnTo>
                    <a:pt x="197" y="300"/>
                  </a:lnTo>
                  <a:lnTo>
                    <a:pt x="198" y="298"/>
                  </a:lnTo>
                  <a:lnTo>
                    <a:pt x="198" y="298"/>
                  </a:lnTo>
                  <a:lnTo>
                    <a:pt x="201" y="294"/>
                  </a:lnTo>
                  <a:lnTo>
                    <a:pt x="209" y="291"/>
                  </a:lnTo>
                  <a:lnTo>
                    <a:pt x="209" y="291"/>
                  </a:lnTo>
                  <a:lnTo>
                    <a:pt x="224" y="284"/>
                  </a:lnTo>
                  <a:lnTo>
                    <a:pt x="236" y="276"/>
                  </a:lnTo>
                  <a:lnTo>
                    <a:pt x="236" y="276"/>
                  </a:lnTo>
                  <a:lnTo>
                    <a:pt x="241" y="271"/>
                  </a:lnTo>
                  <a:lnTo>
                    <a:pt x="242" y="265"/>
                  </a:lnTo>
                  <a:lnTo>
                    <a:pt x="242" y="265"/>
                  </a:lnTo>
                  <a:lnTo>
                    <a:pt x="242" y="262"/>
                  </a:lnTo>
                  <a:lnTo>
                    <a:pt x="240" y="259"/>
                  </a:lnTo>
                  <a:lnTo>
                    <a:pt x="240" y="259"/>
                  </a:lnTo>
                  <a:lnTo>
                    <a:pt x="236" y="256"/>
                  </a:lnTo>
                  <a:lnTo>
                    <a:pt x="233" y="254"/>
                  </a:lnTo>
                  <a:lnTo>
                    <a:pt x="233" y="254"/>
                  </a:lnTo>
                  <a:lnTo>
                    <a:pt x="227" y="252"/>
                  </a:lnTo>
                  <a:lnTo>
                    <a:pt x="220" y="254"/>
                  </a:lnTo>
                  <a:lnTo>
                    <a:pt x="220" y="254"/>
                  </a:lnTo>
                  <a:lnTo>
                    <a:pt x="208" y="257"/>
                  </a:lnTo>
                  <a:lnTo>
                    <a:pt x="198" y="263"/>
                  </a:lnTo>
                  <a:lnTo>
                    <a:pt x="198" y="263"/>
                  </a:lnTo>
                  <a:lnTo>
                    <a:pt x="185" y="272"/>
                  </a:lnTo>
                  <a:lnTo>
                    <a:pt x="185" y="272"/>
                  </a:lnTo>
                  <a:lnTo>
                    <a:pt x="182" y="274"/>
                  </a:lnTo>
                  <a:lnTo>
                    <a:pt x="177" y="276"/>
                  </a:lnTo>
                  <a:lnTo>
                    <a:pt x="177" y="276"/>
                  </a:lnTo>
                  <a:lnTo>
                    <a:pt x="172" y="276"/>
                  </a:lnTo>
                  <a:lnTo>
                    <a:pt x="169" y="274"/>
                  </a:lnTo>
                  <a:lnTo>
                    <a:pt x="165" y="273"/>
                  </a:lnTo>
                  <a:lnTo>
                    <a:pt x="162" y="270"/>
                  </a:lnTo>
                  <a:lnTo>
                    <a:pt x="162" y="270"/>
                  </a:lnTo>
                  <a:lnTo>
                    <a:pt x="161" y="268"/>
                  </a:lnTo>
                  <a:lnTo>
                    <a:pt x="161" y="263"/>
                  </a:lnTo>
                  <a:lnTo>
                    <a:pt x="162" y="259"/>
                  </a:lnTo>
                  <a:lnTo>
                    <a:pt x="166" y="254"/>
                  </a:lnTo>
                  <a:lnTo>
                    <a:pt x="166" y="254"/>
                  </a:lnTo>
                  <a:lnTo>
                    <a:pt x="177" y="246"/>
                  </a:lnTo>
                  <a:lnTo>
                    <a:pt x="187" y="239"/>
                  </a:lnTo>
                  <a:lnTo>
                    <a:pt x="200" y="233"/>
                  </a:lnTo>
                  <a:lnTo>
                    <a:pt x="214" y="231"/>
                  </a:lnTo>
                  <a:lnTo>
                    <a:pt x="214" y="231"/>
                  </a:lnTo>
                  <a:lnTo>
                    <a:pt x="222" y="229"/>
                  </a:lnTo>
                  <a:lnTo>
                    <a:pt x="230" y="229"/>
                  </a:lnTo>
                  <a:lnTo>
                    <a:pt x="238" y="229"/>
                  </a:lnTo>
                  <a:lnTo>
                    <a:pt x="246" y="232"/>
                  </a:lnTo>
                  <a:lnTo>
                    <a:pt x="246" y="232"/>
                  </a:lnTo>
                  <a:lnTo>
                    <a:pt x="255" y="235"/>
                  </a:lnTo>
                  <a:lnTo>
                    <a:pt x="262" y="239"/>
                  </a:lnTo>
                  <a:lnTo>
                    <a:pt x="267" y="242"/>
                  </a:lnTo>
                  <a:lnTo>
                    <a:pt x="272" y="247"/>
                  </a:lnTo>
                  <a:lnTo>
                    <a:pt x="272" y="247"/>
                  </a:lnTo>
                  <a:lnTo>
                    <a:pt x="277" y="255"/>
                  </a:lnTo>
                  <a:lnTo>
                    <a:pt x="278" y="262"/>
                  </a:lnTo>
                  <a:lnTo>
                    <a:pt x="277" y="270"/>
                  </a:lnTo>
                  <a:lnTo>
                    <a:pt x="273" y="277"/>
                  </a:lnTo>
                  <a:lnTo>
                    <a:pt x="273" y="277"/>
                  </a:lnTo>
                  <a:lnTo>
                    <a:pt x="267" y="285"/>
                  </a:lnTo>
                  <a:lnTo>
                    <a:pt x="257" y="293"/>
                  </a:lnTo>
                  <a:lnTo>
                    <a:pt x="257" y="293"/>
                  </a:lnTo>
                  <a:lnTo>
                    <a:pt x="266" y="294"/>
                  </a:lnTo>
                  <a:lnTo>
                    <a:pt x="273" y="296"/>
                  </a:lnTo>
                  <a:lnTo>
                    <a:pt x="273" y="296"/>
                  </a:lnTo>
                  <a:lnTo>
                    <a:pt x="280" y="300"/>
                  </a:lnTo>
                  <a:lnTo>
                    <a:pt x="285" y="303"/>
                  </a:lnTo>
                  <a:lnTo>
                    <a:pt x="289" y="308"/>
                  </a:lnTo>
                  <a:lnTo>
                    <a:pt x="294" y="313"/>
                  </a:lnTo>
                  <a:lnTo>
                    <a:pt x="294" y="313"/>
                  </a:lnTo>
                  <a:lnTo>
                    <a:pt x="299" y="320"/>
                  </a:lnTo>
                  <a:lnTo>
                    <a:pt x="302" y="326"/>
                  </a:lnTo>
                  <a:lnTo>
                    <a:pt x="304" y="333"/>
                  </a:lnTo>
                  <a:lnTo>
                    <a:pt x="306" y="340"/>
                  </a:lnTo>
                  <a:lnTo>
                    <a:pt x="304" y="348"/>
                  </a:lnTo>
                  <a:lnTo>
                    <a:pt x="303" y="355"/>
                  </a:lnTo>
                  <a:lnTo>
                    <a:pt x="301" y="363"/>
                  </a:lnTo>
                  <a:lnTo>
                    <a:pt x="297" y="370"/>
                  </a:lnTo>
                  <a:lnTo>
                    <a:pt x="297" y="370"/>
                  </a:lnTo>
                  <a:close/>
                  <a:moveTo>
                    <a:pt x="468" y="298"/>
                  </a:moveTo>
                  <a:lnTo>
                    <a:pt x="468" y="298"/>
                  </a:lnTo>
                  <a:lnTo>
                    <a:pt x="466" y="300"/>
                  </a:lnTo>
                  <a:lnTo>
                    <a:pt x="461" y="302"/>
                  </a:lnTo>
                  <a:lnTo>
                    <a:pt x="461" y="302"/>
                  </a:lnTo>
                  <a:lnTo>
                    <a:pt x="453" y="302"/>
                  </a:lnTo>
                  <a:lnTo>
                    <a:pt x="453" y="302"/>
                  </a:lnTo>
                  <a:lnTo>
                    <a:pt x="423" y="308"/>
                  </a:lnTo>
                  <a:lnTo>
                    <a:pt x="417" y="308"/>
                  </a:lnTo>
                  <a:lnTo>
                    <a:pt x="417" y="308"/>
                  </a:lnTo>
                  <a:lnTo>
                    <a:pt x="420" y="331"/>
                  </a:lnTo>
                  <a:lnTo>
                    <a:pt x="420" y="331"/>
                  </a:lnTo>
                  <a:lnTo>
                    <a:pt x="422" y="342"/>
                  </a:lnTo>
                  <a:lnTo>
                    <a:pt x="422" y="347"/>
                  </a:lnTo>
                  <a:lnTo>
                    <a:pt x="422" y="347"/>
                  </a:lnTo>
                  <a:lnTo>
                    <a:pt x="420" y="351"/>
                  </a:lnTo>
                  <a:lnTo>
                    <a:pt x="418" y="353"/>
                  </a:lnTo>
                  <a:lnTo>
                    <a:pt x="416" y="354"/>
                  </a:lnTo>
                  <a:lnTo>
                    <a:pt x="413" y="355"/>
                  </a:lnTo>
                  <a:lnTo>
                    <a:pt x="413" y="355"/>
                  </a:lnTo>
                  <a:lnTo>
                    <a:pt x="410" y="355"/>
                  </a:lnTo>
                  <a:lnTo>
                    <a:pt x="410" y="355"/>
                  </a:lnTo>
                  <a:lnTo>
                    <a:pt x="406" y="355"/>
                  </a:lnTo>
                  <a:lnTo>
                    <a:pt x="406" y="355"/>
                  </a:lnTo>
                  <a:lnTo>
                    <a:pt x="402" y="353"/>
                  </a:lnTo>
                  <a:lnTo>
                    <a:pt x="399" y="351"/>
                  </a:lnTo>
                  <a:lnTo>
                    <a:pt x="399" y="351"/>
                  </a:lnTo>
                  <a:lnTo>
                    <a:pt x="398" y="348"/>
                  </a:lnTo>
                  <a:lnTo>
                    <a:pt x="396" y="342"/>
                  </a:lnTo>
                  <a:lnTo>
                    <a:pt x="394" y="331"/>
                  </a:lnTo>
                  <a:lnTo>
                    <a:pt x="391" y="313"/>
                  </a:lnTo>
                  <a:lnTo>
                    <a:pt x="391" y="313"/>
                  </a:lnTo>
                  <a:lnTo>
                    <a:pt x="372" y="318"/>
                  </a:lnTo>
                  <a:lnTo>
                    <a:pt x="372" y="318"/>
                  </a:lnTo>
                  <a:lnTo>
                    <a:pt x="364" y="321"/>
                  </a:lnTo>
                  <a:lnTo>
                    <a:pt x="364" y="321"/>
                  </a:lnTo>
                  <a:lnTo>
                    <a:pt x="358" y="321"/>
                  </a:lnTo>
                  <a:lnTo>
                    <a:pt x="352" y="318"/>
                  </a:lnTo>
                  <a:lnTo>
                    <a:pt x="352" y="318"/>
                  </a:lnTo>
                  <a:lnTo>
                    <a:pt x="348" y="317"/>
                  </a:lnTo>
                  <a:lnTo>
                    <a:pt x="346" y="315"/>
                  </a:lnTo>
                  <a:lnTo>
                    <a:pt x="346" y="315"/>
                  </a:lnTo>
                  <a:lnTo>
                    <a:pt x="345" y="311"/>
                  </a:lnTo>
                  <a:lnTo>
                    <a:pt x="345" y="308"/>
                  </a:lnTo>
                  <a:lnTo>
                    <a:pt x="345" y="308"/>
                  </a:lnTo>
                  <a:lnTo>
                    <a:pt x="347" y="305"/>
                  </a:lnTo>
                  <a:lnTo>
                    <a:pt x="352" y="302"/>
                  </a:lnTo>
                  <a:lnTo>
                    <a:pt x="352" y="302"/>
                  </a:lnTo>
                  <a:lnTo>
                    <a:pt x="387" y="294"/>
                  </a:lnTo>
                  <a:lnTo>
                    <a:pt x="390" y="294"/>
                  </a:lnTo>
                  <a:lnTo>
                    <a:pt x="390" y="294"/>
                  </a:lnTo>
                  <a:lnTo>
                    <a:pt x="390" y="279"/>
                  </a:lnTo>
                  <a:lnTo>
                    <a:pt x="390" y="266"/>
                  </a:lnTo>
                  <a:lnTo>
                    <a:pt x="390" y="266"/>
                  </a:lnTo>
                  <a:lnTo>
                    <a:pt x="391" y="261"/>
                  </a:lnTo>
                  <a:lnTo>
                    <a:pt x="394" y="256"/>
                  </a:lnTo>
                  <a:lnTo>
                    <a:pt x="398" y="254"/>
                  </a:lnTo>
                  <a:lnTo>
                    <a:pt x="404" y="251"/>
                  </a:lnTo>
                  <a:lnTo>
                    <a:pt x="404" y="251"/>
                  </a:lnTo>
                  <a:lnTo>
                    <a:pt x="406" y="251"/>
                  </a:lnTo>
                  <a:lnTo>
                    <a:pt x="409" y="251"/>
                  </a:lnTo>
                  <a:lnTo>
                    <a:pt x="411" y="252"/>
                  </a:lnTo>
                  <a:lnTo>
                    <a:pt x="412" y="255"/>
                  </a:lnTo>
                  <a:lnTo>
                    <a:pt x="412" y="255"/>
                  </a:lnTo>
                  <a:lnTo>
                    <a:pt x="415" y="259"/>
                  </a:lnTo>
                  <a:lnTo>
                    <a:pt x="416" y="273"/>
                  </a:lnTo>
                  <a:lnTo>
                    <a:pt x="416" y="273"/>
                  </a:lnTo>
                  <a:lnTo>
                    <a:pt x="416" y="289"/>
                  </a:lnTo>
                  <a:lnTo>
                    <a:pt x="416" y="289"/>
                  </a:lnTo>
                  <a:lnTo>
                    <a:pt x="438" y="286"/>
                  </a:lnTo>
                  <a:lnTo>
                    <a:pt x="438" y="286"/>
                  </a:lnTo>
                  <a:lnTo>
                    <a:pt x="449" y="285"/>
                  </a:lnTo>
                  <a:lnTo>
                    <a:pt x="457" y="285"/>
                  </a:lnTo>
                  <a:lnTo>
                    <a:pt x="457" y="285"/>
                  </a:lnTo>
                  <a:lnTo>
                    <a:pt x="462" y="286"/>
                  </a:lnTo>
                  <a:lnTo>
                    <a:pt x="466" y="291"/>
                  </a:lnTo>
                  <a:lnTo>
                    <a:pt x="466" y="291"/>
                  </a:lnTo>
                  <a:lnTo>
                    <a:pt x="468" y="294"/>
                  </a:lnTo>
                  <a:lnTo>
                    <a:pt x="468" y="298"/>
                  </a:lnTo>
                  <a:lnTo>
                    <a:pt x="468" y="298"/>
                  </a:lnTo>
                  <a:close/>
                  <a:moveTo>
                    <a:pt x="577" y="339"/>
                  </a:moveTo>
                  <a:lnTo>
                    <a:pt x="577" y="339"/>
                  </a:lnTo>
                  <a:lnTo>
                    <a:pt x="577" y="343"/>
                  </a:lnTo>
                  <a:lnTo>
                    <a:pt x="575" y="344"/>
                  </a:lnTo>
                  <a:lnTo>
                    <a:pt x="572" y="346"/>
                  </a:lnTo>
                  <a:lnTo>
                    <a:pt x="570" y="347"/>
                  </a:lnTo>
                  <a:lnTo>
                    <a:pt x="570" y="347"/>
                  </a:lnTo>
                  <a:lnTo>
                    <a:pt x="568" y="347"/>
                  </a:lnTo>
                  <a:lnTo>
                    <a:pt x="568" y="347"/>
                  </a:lnTo>
                  <a:lnTo>
                    <a:pt x="563" y="346"/>
                  </a:lnTo>
                  <a:lnTo>
                    <a:pt x="557" y="345"/>
                  </a:lnTo>
                  <a:lnTo>
                    <a:pt x="557" y="345"/>
                  </a:lnTo>
                  <a:lnTo>
                    <a:pt x="552" y="343"/>
                  </a:lnTo>
                  <a:lnTo>
                    <a:pt x="549" y="340"/>
                  </a:lnTo>
                  <a:lnTo>
                    <a:pt x="549" y="340"/>
                  </a:lnTo>
                  <a:lnTo>
                    <a:pt x="546" y="336"/>
                  </a:lnTo>
                  <a:lnTo>
                    <a:pt x="542" y="325"/>
                  </a:lnTo>
                  <a:lnTo>
                    <a:pt x="539" y="307"/>
                  </a:lnTo>
                  <a:lnTo>
                    <a:pt x="534" y="278"/>
                  </a:lnTo>
                  <a:lnTo>
                    <a:pt x="534" y="278"/>
                  </a:lnTo>
                  <a:lnTo>
                    <a:pt x="532" y="257"/>
                  </a:lnTo>
                  <a:lnTo>
                    <a:pt x="530" y="240"/>
                  </a:lnTo>
                  <a:lnTo>
                    <a:pt x="529" y="225"/>
                  </a:lnTo>
                  <a:lnTo>
                    <a:pt x="530" y="211"/>
                  </a:lnTo>
                  <a:lnTo>
                    <a:pt x="530" y="211"/>
                  </a:lnTo>
                  <a:lnTo>
                    <a:pt x="522" y="219"/>
                  </a:lnTo>
                  <a:lnTo>
                    <a:pt x="514" y="226"/>
                  </a:lnTo>
                  <a:lnTo>
                    <a:pt x="514" y="226"/>
                  </a:lnTo>
                  <a:lnTo>
                    <a:pt x="500" y="235"/>
                  </a:lnTo>
                  <a:lnTo>
                    <a:pt x="495" y="237"/>
                  </a:lnTo>
                  <a:lnTo>
                    <a:pt x="490" y="239"/>
                  </a:lnTo>
                  <a:lnTo>
                    <a:pt x="490" y="239"/>
                  </a:lnTo>
                  <a:lnTo>
                    <a:pt x="485" y="240"/>
                  </a:lnTo>
                  <a:lnTo>
                    <a:pt x="482" y="239"/>
                  </a:lnTo>
                  <a:lnTo>
                    <a:pt x="477" y="235"/>
                  </a:lnTo>
                  <a:lnTo>
                    <a:pt x="473" y="232"/>
                  </a:lnTo>
                  <a:lnTo>
                    <a:pt x="473" y="232"/>
                  </a:lnTo>
                  <a:lnTo>
                    <a:pt x="470" y="228"/>
                  </a:lnTo>
                  <a:lnTo>
                    <a:pt x="469" y="225"/>
                  </a:lnTo>
                  <a:lnTo>
                    <a:pt x="469" y="225"/>
                  </a:lnTo>
                  <a:lnTo>
                    <a:pt x="470" y="224"/>
                  </a:lnTo>
                  <a:lnTo>
                    <a:pt x="471" y="221"/>
                  </a:lnTo>
                  <a:lnTo>
                    <a:pt x="477" y="218"/>
                  </a:lnTo>
                  <a:lnTo>
                    <a:pt x="477" y="218"/>
                  </a:lnTo>
                  <a:lnTo>
                    <a:pt x="485" y="212"/>
                  </a:lnTo>
                  <a:lnTo>
                    <a:pt x="496" y="205"/>
                  </a:lnTo>
                  <a:lnTo>
                    <a:pt x="519" y="184"/>
                  </a:lnTo>
                  <a:lnTo>
                    <a:pt x="519" y="184"/>
                  </a:lnTo>
                  <a:lnTo>
                    <a:pt x="529" y="176"/>
                  </a:lnTo>
                  <a:lnTo>
                    <a:pt x="535" y="173"/>
                  </a:lnTo>
                  <a:lnTo>
                    <a:pt x="539" y="172"/>
                  </a:lnTo>
                  <a:lnTo>
                    <a:pt x="539" y="172"/>
                  </a:lnTo>
                  <a:lnTo>
                    <a:pt x="546" y="172"/>
                  </a:lnTo>
                  <a:lnTo>
                    <a:pt x="552" y="174"/>
                  </a:lnTo>
                  <a:lnTo>
                    <a:pt x="552" y="174"/>
                  </a:lnTo>
                  <a:lnTo>
                    <a:pt x="557" y="176"/>
                  </a:lnTo>
                  <a:lnTo>
                    <a:pt x="561" y="178"/>
                  </a:lnTo>
                  <a:lnTo>
                    <a:pt x="561" y="178"/>
                  </a:lnTo>
                  <a:lnTo>
                    <a:pt x="563" y="181"/>
                  </a:lnTo>
                  <a:lnTo>
                    <a:pt x="564" y="184"/>
                  </a:lnTo>
                  <a:lnTo>
                    <a:pt x="564" y="195"/>
                  </a:lnTo>
                  <a:lnTo>
                    <a:pt x="564" y="195"/>
                  </a:lnTo>
                  <a:lnTo>
                    <a:pt x="564" y="234"/>
                  </a:lnTo>
                  <a:lnTo>
                    <a:pt x="566" y="269"/>
                  </a:lnTo>
                  <a:lnTo>
                    <a:pt x="570" y="299"/>
                  </a:lnTo>
                  <a:lnTo>
                    <a:pt x="575" y="324"/>
                  </a:lnTo>
                  <a:lnTo>
                    <a:pt x="575" y="324"/>
                  </a:lnTo>
                  <a:lnTo>
                    <a:pt x="577" y="335"/>
                  </a:lnTo>
                  <a:lnTo>
                    <a:pt x="577" y="339"/>
                  </a:lnTo>
                  <a:lnTo>
                    <a:pt x="577" y="3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52" name="Group 451">
            <a:extLst>
              <a:ext uri="{FF2B5EF4-FFF2-40B4-BE49-F238E27FC236}">
                <a16:creationId xmlns:a16="http://schemas.microsoft.com/office/drawing/2014/main" id="{159C8E2E-25E3-433A-B0AB-473D8A0EB50F}"/>
              </a:ext>
            </a:extLst>
          </p:cNvPr>
          <p:cNvGrpSpPr/>
          <p:nvPr/>
        </p:nvGrpSpPr>
        <p:grpSpPr>
          <a:xfrm>
            <a:off x="2948226" y="4641612"/>
            <a:ext cx="612000" cy="612000"/>
            <a:chOff x="2778387" y="3807696"/>
            <a:chExt cx="612000" cy="612000"/>
          </a:xfrm>
          <a:solidFill>
            <a:srgbClr val="505050"/>
          </a:solidFill>
        </p:grpSpPr>
        <p:sp>
          <p:nvSpPr>
            <p:cNvPr id="453" name="Oval 452">
              <a:extLst>
                <a:ext uri="{FF2B5EF4-FFF2-40B4-BE49-F238E27FC236}">
                  <a16:creationId xmlns:a16="http://schemas.microsoft.com/office/drawing/2014/main" id="{2E75C1B5-F171-4779-B8AC-7CB61833A820}"/>
                </a:ext>
              </a:extLst>
            </p:cNvPr>
            <p:cNvSpPr/>
            <p:nvPr/>
          </p:nvSpPr>
          <p:spPr bwMode="ltGray">
            <a:xfrm>
              <a:off x="2778387" y="3807696"/>
              <a:ext cx="612000" cy="612000"/>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54" name="Freeform 92">
              <a:extLst>
                <a:ext uri="{FF2B5EF4-FFF2-40B4-BE49-F238E27FC236}">
                  <a16:creationId xmlns:a16="http://schemas.microsoft.com/office/drawing/2014/main" id="{5FAE25ED-5BA6-40E3-ACCC-72AA01FED462}"/>
                </a:ext>
              </a:extLst>
            </p:cNvPr>
            <p:cNvSpPr>
              <a:spLocks noEditPoints="1"/>
            </p:cNvSpPr>
            <p:nvPr/>
          </p:nvSpPr>
          <p:spPr bwMode="auto">
            <a:xfrm>
              <a:off x="2868846" y="3924054"/>
              <a:ext cx="388938" cy="390525"/>
            </a:xfrm>
            <a:custGeom>
              <a:avLst/>
              <a:gdLst>
                <a:gd name="T0" fmla="*/ 391 w 735"/>
                <a:gd name="T1" fmla="*/ 281 h 737"/>
                <a:gd name="T2" fmla="*/ 321 w 735"/>
                <a:gd name="T3" fmla="*/ 262 h 737"/>
                <a:gd name="T4" fmla="*/ 280 w 735"/>
                <a:gd name="T5" fmla="*/ 270 h 737"/>
                <a:gd name="T6" fmla="*/ 245 w 735"/>
                <a:gd name="T7" fmla="*/ 292 h 737"/>
                <a:gd name="T8" fmla="*/ 137 w 735"/>
                <a:gd name="T9" fmla="*/ 373 h 737"/>
                <a:gd name="T10" fmla="*/ 60 w 735"/>
                <a:gd name="T11" fmla="*/ 402 h 737"/>
                <a:gd name="T12" fmla="*/ 28 w 735"/>
                <a:gd name="T13" fmla="*/ 407 h 737"/>
                <a:gd name="T14" fmla="*/ 0 w 735"/>
                <a:gd name="T15" fmla="*/ 427 h 737"/>
                <a:gd name="T16" fmla="*/ 10 w 735"/>
                <a:gd name="T17" fmla="*/ 456 h 737"/>
                <a:gd name="T18" fmla="*/ 281 w 735"/>
                <a:gd name="T19" fmla="*/ 727 h 737"/>
                <a:gd name="T20" fmla="*/ 305 w 735"/>
                <a:gd name="T21" fmla="*/ 737 h 737"/>
                <a:gd name="T22" fmla="*/ 324 w 735"/>
                <a:gd name="T23" fmla="*/ 728 h 737"/>
                <a:gd name="T24" fmla="*/ 330 w 735"/>
                <a:gd name="T25" fmla="*/ 708 h 737"/>
                <a:gd name="T26" fmla="*/ 349 w 735"/>
                <a:gd name="T27" fmla="*/ 631 h 737"/>
                <a:gd name="T28" fmla="*/ 408 w 735"/>
                <a:gd name="T29" fmla="*/ 533 h 737"/>
                <a:gd name="T30" fmla="*/ 459 w 735"/>
                <a:gd name="T31" fmla="*/ 473 h 737"/>
                <a:gd name="T32" fmla="*/ 474 w 735"/>
                <a:gd name="T33" fmla="*/ 416 h 737"/>
                <a:gd name="T34" fmla="*/ 460 w 735"/>
                <a:gd name="T35" fmla="*/ 354 h 737"/>
                <a:gd name="T36" fmla="*/ 429 w 735"/>
                <a:gd name="T37" fmla="*/ 307 h 737"/>
                <a:gd name="T38" fmla="*/ 340 w 735"/>
                <a:gd name="T39" fmla="*/ 331 h 737"/>
                <a:gd name="T40" fmla="*/ 316 w 735"/>
                <a:gd name="T41" fmla="*/ 329 h 737"/>
                <a:gd name="T42" fmla="*/ 281 w 735"/>
                <a:gd name="T43" fmla="*/ 351 h 737"/>
                <a:gd name="T44" fmla="*/ 191 w 735"/>
                <a:gd name="T45" fmla="*/ 419 h 737"/>
                <a:gd name="T46" fmla="*/ 86 w 735"/>
                <a:gd name="T47" fmla="*/ 464 h 737"/>
                <a:gd name="T48" fmla="*/ 69 w 735"/>
                <a:gd name="T49" fmla="*/ 458 h 737"/>
                <a:gd name="T50" fmla="*/ 73 w 735"/>
                <a:gd name="T51" fmla="*/ 439 h 737"/>
                <a:gd name="T52" fmla="*/ 153 w 735"/>
                <a:gd name="T53" fmla="*/ 407 h 737"/>
                <a:gd name="T54" fmla="*/ 260 w 735"/>
                <a:gd name="T55" fmla="*/ 332 h 737"/>
                <a:gd name="T56" fmla="*/ 302 w 735"/>
                <a:gd name="T57" fmla="*/ 303 h 737"/>
                <a:gd name="T58" fmla="*/ 343 w 735"/>
                <a:gd name="T59" fmla="*/ 303 h 737"/>
                <a:gd name="T60" fmla="*/ 353 w 735"/>
                <a:gd name="T61" fmla="*/ 320 h 737"/>
                <a:gd name="T62" fmla="*/ 681 w 735"/>
                <a:gd name="T63" fmla="*/ 168 h 737"/>
                <a:gd name="T64" fmla="*/ 575 w 735"/>
                <a:gd name="T65" fmla="*/ 233 h 737"/>
                <a:gd name="T66" fmla="*/ 505 w 735"/>
                <a:gd name="T67" fmla="*/ 293 h 737"/>
                <a:gd name="T68" fmla="*/ 475 w 735"/>
                <a:gd name="T69" fmla="*/ 337 h 737"/>
                <a:gd name="T70" fmla="*/ 444 w 735"/>
                <a:gd name="T71" fmla="*/ 293 h 737"/>
                <a:gd name="T72" fmla="*/ 399 w 735"/>
                <a:gd name="T73" fmla="*/ 261 h 737"/>
                <a:gd name="T74" fmla="*/ 459 w 735"/>
                <a:gd name="T75" fmla="*/ 218 h 737"/>
                <a:gd name="T76" fmla="*/ 512 w 735"/>
                <a:gd name="T77" fmla="*/ 146 h 737"/>
                <a:gd name="T78" fmla="*/ 582 w 735"/>
                <a:gd name="T79" fmla="*/ 40 h 737"/>
                <a:gd name="T80" fmla="*/ 616 w 735"/>
                <a:gd name="T81" fmla="*/ 8 h 737"/>
                <a:gd name="T82" fmla="*/ 653 w 735"/>
                <a:gd name="T83" fmla="*/ 0 h 737"/>
                <a:gd name="T84" fmla="*/ 696 w 735"/>
                <a:gd name="T85" fmla="*/ 16 h 737"/>
                <a:gd name="T86" fmla="*/ 727 w 735"/>
                <a:gd name="T87" fmla="*/ 53 h 737"/>
                <a:gd name="T88" fmla="*/ 735 w 735"/>
                <a:gd name="T89" fmla="*/ 91 h 737"/>
                <a:gd name="T90" fmla="*/ 723 w 735"/>
                <a:gd name="T91" fmla="*/ 127 h 737"/>
                <a:gd name="T92" fmla="*/ 242 w 735"/>
                <a:gd name="T93" fmla="*/ 721 h 737"/>
                <a:gd name="T94" fmla="*/ 186 w 735"/>
                <a:gd name="T95" fmla="*/ 721 h 737"/>
                <a:gd name="T96" fmla="*/ 146 w 735"/>
                <a:gd name="T97" fmla="*/ 690 h 737"/>
                <a:gd name="T98" fmla="*/ 127 w 735"/>
                <a:gd name="T99" fmla="*/ 633 h 737"/>
                <a:gd name="T100" fmla="*/ 231 w 735"/>
                <a:gd name="T101" fmla="*/ 71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5" h="737">
                  <a:moveTo>
                    <a:pt x="429" y="307"/>
                  </a:moveTo>
                  <a:lnTo>
                    <a:pt x="429" y="307"/>
                  </a:lnTo>
                  <a:lnTo>
                    <a:pt x="416" y="297"/>
                  </a:lnTo>
                  <a:lnTo>
                    <a:pt x="404" y="288"/>
                  </a:lnTo>
                  <a:lnTo>
                    <a:pt x="391" y="281"/>
                  </a:lnTo>
                  <a:lnTo>
                    <a:pt x="377" y="274"/>
                  </a:lnTo>
                  <a:lnTo>
                    <a:pt x="363" y="269"/>
                  </a:lnTo>
                  <a:lnTo>
                    <a:pt x="349" y="266"/>
                  </a:lnTo>
                  <a:lnTo>
                    <a:pt x="335" y="263"/>
                  </a:lnTo>
                  <a:lnTo>
                    <a:pt x="321" y="262"/>
                  </a:lnTo>
                  <a:lnTo>
                    <a:pt x="321" y="262"/>
                  </a:lnTo>
                  <a:lnTo>
                    <a:pt x="311" y="263"/>
                  </a:lnTo>
                  <a:lnTo>
                    <a:pt x="301" y="264"/>
                  </a:lnTo>
                  <a:lnTo>
                    <a:pt x="290" y="267"/>
                  </a:lnTo>
                  <a:lnTo>
                    <a:pt x="280" y="270"/>
                  </a:lnTo>
                  <a:lnTo>
                    <a:pt x="271" y="274"/>
                  </a:lnTo>
                  <a:lnTo>
                    <a:pt x="261" y="280"/>
                  </a:lnTo>
                  <a:lnTo>
                    <a:pt x="253" y="285"/>
                  </a:lnTo>
                  <a:lnTo>
                    <a:pt x="245" y="292"/>
                  </a:lnTo>
                  <a:lnTo>
                    <a:pt x="245" y="292"/>
                  </a:lnTo>
                  <a:lnTo>
                    <a:pt x="227" y="310"/>
                  </a:lnTo>
                  <a:lnTo>
                    <a:pt x="204" y="328"/>
                  </a:lnTo>
                  <a:lnTo>
                    <a:pt x="178" y="347"/>
                  </a:lnTo>
                  <a:lnTo>
                    <a:pt x="152" y="365"/>
                  </a:lnTo>
                  <a:lnTo>
                    <a:pt x="137" y="373"/>
                  </a:lnTo>
                  <a:lnTo>
                    <a:pt x="121" y="380"/>
                  </a:lnTo>
                  <a:lnTo>
                    <a:pt x="106" y="387"/>
                  </a:lnTo>
                  <a:lnTo>
                    <a:pt x="91" y="393"/>
                  </a:lnTo>
                  <a:lnTo>
                    <a:pt x="76" y="399"/>
                  </a:lnTo>
                  <a:lnTo>
                    <a:pt x="60" y="402"/>
                  </a:lnTo>
                  <a:lnTo>
                    <a:pt x="45" y="406"/>
                  </a:lnTo>
                  <a:lnTo>
                    <a:pt x="30" y="407"/>
                  </a:lnTo>
                  <a:lnTo>
                    <a:pt x="30" y="407"/>
                  </a:lnTo>
                  <a:lnTo>
                    <a:pt x="28" y="407"/>
                  </a:lnTo>
                  <a:lnTo>
                    <a:pt x="28" y="407"/>
                  </a:lnTo>
                  <a:lnTo>
                    <a:pt x="21" y="408"/>
                  </a:lnTo>
                  <a:lnTo>
                    <a:pt x="14" y="411"/>
                  </a:lnTo>
                  <a:lnTo>
                    <a:pt x="8" y="415"/>
                  </a:lnTo>
                  <a:lnTo>
                    <a:pt x="4" y="420"/>
                  </a:lnTo>
                  <a:lnTo>
                    <a:pt x="0" y="427"/>
                  </a:lnTo>
                  <a:lnTo>
                    <a:pt x="0" y="431"/>
                  </a:lnTo>
                  <a:lnTo>
                    <a:pt x="0" y="435"/>
                  </a:lnTo>
                  <a:lnTo>
                    <a:pt x="1" y="439"/>
                  </a:lnTo>
                  <a:lnTo>
                    <a:pt x="4" y="445"/>
                  </a:lnTo>
                  <a:lnTo>
                    <a:pt x="10" y="456"/>
                  </a:lnTo>
                  <a:lnTo>
                    <a:pt x="10" y="456"/>
                  </a:lnTo>
                  <a:lnTo>
                    <a:pt x="54" y="501"/>
                  </a:lnTo>
                  <a:lnTo>
                    <a:pt x="145" y="593"/>
                  </a:lnTo>
                  <a:lnTo>
                    <a:pt x="236" y="683"/>
                  </a:lnTo>
                  <a:lnTo>
                    <a:pt x="281" y="727"/>
                  </a:lnTo>
                  <a:lnTo>
                    <a:pt x="281" y="727"/>
                  </a:lnTo>
                  <a:lnTo>
                    <a:pt x="288" y="732"/>
                  </a:lnTo>
                  <a:lnTo>
                    <a:pt x="295" y="735"/>
                  </a:lnTo>
                  <a:lnTo>
                    <a:pt x="301" y="736"/>
                  </a:lnTo>
                  <a:lnTo>
                    <a:pt x="305" y="737"/>
                  </a:lnTo>
                  <a:lnTo>
                    <a:pt x="305" y="737"/>
                  </a:lnTo>
                  <a:lnTo>
                    <a:pt x="311" y="736"/>
                  </a:lnTo>
                  <a:lnTo>
                    <a:pt x="316" y="735"/>
                  </a:lnTo>
                  <a:lnTo>
                    <a:pt x="320" y="732"/>
                  </a:lnTo>
                  <a:lnTo>
                    <a:pt x="324" y="728"/>
                  </a:lnTo>
                  <a:lnTo>
                    <a:pt x="326" y="723"/>
                  </a:lnTo>
                  <a:lnTo>
                    <a:pt x="328" y="719"/>
                  </a:lnTo>
                  <a:lnTo>
                    <a:pt x="330" y="713"/>
                  </a:lnTo>
                  <a:lnTo>
                    <a:pt x="330" y="708"/>
                  </a:lnTo>
                  <a:lnTo>
                    <a:pt x="330" y="708"/>
                  </a:lnTo>
                  <a:lnTo>
                    <a:pt x="331" y="692"/>
                  </a:lnTo>
                  <a:lnTo>
                    <a:pt x="334" y="677"/>
                  </a:lnTo>
                  <a:lnTo>
                    <a:pt x="338" y="661"/>
                  </a:lnTo>
                  <a:lnTo>
                    <a:pt x="343" y="646"/>
                  </a:lnTo>
                  <a:lnTo>
                    <a:pt x="349" y="631"/>
                  </a:lnTo>
                  <a:lnTo>
                    <a:pt x="356" y="616"/>
                  </a:lnTo>
                  <a:lnTo>
                    <a:pt x="363" y="601"/>
                  </a:lnTo>
                  <a:lnTo>
                    <a:pt x="371" y="586"/>
                  </a:lnTo>
                  <a:lnTo>
                    <a:pt x="390" y="559"/>
                  </a:lnTo>
                  <a:lnTo>
                    <a:pt x="408" y="533"/>
                  </a:lnTo>
                  <a:lnTo>
                    <a:pt x="427" y="510"/>
                  </a:lnTo>
                  <a:lnTo>
                    <a:pt x="444" y="492"/>
                  </a:lnTo>
                  <a:lnTo>
                    <a:pt x="444" y="492"/>
                  </a:lnTo>
                  <a:lnTo>
                    <a:pt x="452" y="482"/>
                  </a:lnTo>
                  <a:lnTo>
                    <a:pt x="459" y="473"/>
                  </a:lnTo>
                  <a:lnTo>
                    <a:pt x="464" y="463"/>
                  </a:lnTo>
                  <a:lnTo>
                    <a:pt x="468" y="451"/>
                  </a:lnTo>
                  <a:lnTo>
                    <a:pt x="472" y="441"/>
                  </a:lnTo>
                  <a:lnTo>
                    <a:pt x="473" y="428"/>
                  </a:lnTo>
                  <a:lnTo>
                    <a:pt x="474" y="416"/>
                  </a:lnTo>
                  <a:lnTo>
                    <a:pt x="473" y="404"/>
                  </a:lnTo>
                  <a:lnTo>
                    <a:pt x="472" y="391"/>
                  </a:lnTo>
                  <a:lnTo>
                    <a:pt x="469" y="378"/>
                  </a:lnTo>
                  <a:lnTo>
                    <a:pt x="465" y="366"/>
                  </a:lnTo>
                  <a:lnTo>
                    <a:pt x="460" y="354"/>
                  </a:lnTo>
                  <a:lnTo>
                    <a:pt x="454" y="341"/>
                  </a:lnTo>
                  <a:lnTo>
                    <a:pt x="446" y="329"/>
                  </a:lnTo>
                  <a:lnTo>
                    <a:pt x="438" y="318"/>
                  </a:lnTo>
                  <a:lnTo>
                    <a:pt x="429" y="307"/>
                  </a:lnTo>
                  <a:lnTo>
                    <a:pt x="429" y="307"/>
                  </a:lnTo>
                  <a:close/>
                  <a:moveTo>
                    <a:pt x="353" y="320"/>
                  </a:moveTo>
                  <a:lnTo>
                    <a:pt x="353" y="320"/>
                  </a:lnTo>
                  <a:lnTo>
                    <a:pt x="350" y="326"/>
                  </a:lnTo>
                  <a:lnTo>
                    <a:pt x="346" y="329"/>
                  </a:lnTo>
                  <a:lnTo>
                    <a:pt x="340" y="331"/>
                  </a:lnTo>
                  <a:lnTo>
                    <a:pt x="334" y="329"/>
                  </a:lnTo>
                  <a:lnTo>
                    <a:pt x="334" y="329"/>
                  </a:lnTo>
                  <a:lnTo>
                    <a:pt x="328" y="328"/>
                  </a:lnTo>
                  <a:lnTo>
                    <a:pt x="323" y="328"/>
                  </a:lnTo>
                  <a:lnTo>
                    <a:pt x="316" y="329"/>
                  </a:lnTo>
                  <a:lnTo>
                    <a:pt x="309" y="331"/>
                  </a:lnTo>
                  <a:lnTo>
                    <a:pt x="303" y="334"/>
                  </a:lnTo>
                  <a:lnTo>
                    <a:pt x="296" y="339"/>
                  </a:lnTo>
                  <a:lnTo>
                    <a:pt x="288" y="344"/>
                  </a:lnTo>
                  <a:lnTo>
                    <a:pt x="281" y="351"/>
                  </a:lnTo>
                  <a:lnTo>
                    <a:pt x="281" y="351"/>
                  </a:lnTo>
                  <a:lnTo>
                    <a:pt x="261" y="370"/>
                  </a:lnTo>
                  <a:lnTo>
                    <a:pt x="239" y="387"/>
                  </a:lnTo>
                  <a:lnTo>
                    <a:pt x="216" y="404"/>
                  </a:lnTo>
                  <a:lnTo>
                    <a:pt x="191" y="419"/>
                  </a:lnTo>
                  <a:lnTo>
                    <a:pt x="165" y="433"/>
                  </a:lnTo>
                  <a:lnTo>
                    <a:pt x="139" y="445"/>
                  </a:lnTo>
                  <a:lnTo>
                    <a:pt x="112" y="456"/>
                  </a:lnTo>
                  <a:lnTo>
                    <a:pt x="86" y="464"/>
                  </a:lnTo>
                  <a:lnTo>
                    <a:pt x="86" y="464"/>
                  </a:lnTo>
                  <a:lnTo>
                    <a:pt x="82" y="465"/>
                  </a:lnTo>
                  <a:lnTo>
                    <a:pt x="82" y="465"/>
                  </a:lnTo>
                  <a:lnTo>
                    <a:pt x="78" y="464"/>
                  </a:lnTo>
                  <a:lnTo>
                    <a:pt x="73" y="462"/>
                  </a:lnTo>
                  <a:lnTo>
                    <a:pt x="69" y="458"/>
                  </a:lnTo>
                  <a:lnTo>
                    <a:pt x="68" y="455"/>
                  </a:lnTo>
                  <a:lnTo>
                    <a:pt x="68" y="455"/>
                  </a:lnTo>
                  <a:lnTo>
                    <a:pt x="67" y="449"/>
                  </a:lnTo>
                  <a:lnTo>
                    <a:pt x="69" y="443"/>
                  </a:lnTo>
                  <a:lnTo>
                    <a:pt x="73" y="439"/>
                  </a:lnTo>
                  <a:lnTo>
                    <a:pt x="78" y="436"/>
                  </a:lnTo>
                  <a:lnTo>
                    <a:pt x="78" y="436"/>
                  </a:lnTo>
                  <a:lnTo>
                    <a:pt x="103" y="428"/>
                  </a:lnTo>
                  <a:lnTo>
                    <a:pt x="128" y="419"/>
                  </a:lnTo>
                  <a:lnTo>
                    <a:pt x="153" y="407"/>
                  </a:lnTo>
                  <a:lnTo>
                    <a:pt x="177" y="394"/>
                  </a:lnTo>
                  <a:lnTo>
                    <a:pt x="200" y="380"/>
                  </a:lnTo>
                  <a:lnTo>
                    <a:pt x="222" y="364"/>
                  </a:lnTo>
                  <a:lnTo>
                    <a:pt x="242" y="348"/>
                  </a:lnTo>
                  <a:lnTo>
                    <a:pt x="260" y="332"/>
                  </a:lnTo>
                  <a:lnTo>
                    <a:pt x="260" y="332"/>
                  </a:lnTo>
                  <a:lnTo>
                    <a:pt x="272" y="320"/>
                  </a:lnTo>
                  <a:lnTo>
                    <a:pt x="281" y="314"/>
                  </a:lnTo>
                  <a:lnTo>
                    <a:pt x="290" y="307"/>
                  </a:lnTo>
                  <a:lnTo>
                    <a:pt x="302" y="303"/>
                  </a:lnTo>
                  <a:lnTo>
                    <a:pt x="316" y="299"/>
                  </a:lnTo>
                  <a:lnTo>
                    <a:pt x="321" y="299"/>
                  </a:lnTo>
                  <a:lnTo>
                    <a:pt x="330" y="299"/>
                  </a:lnTo>
                  <a:lnTo>
                    <a:pt x="337" y="300"/>
                  </a:lnTo>
                  <a:lnTo>
                    <a:pt x="343" y="303"/>
                  </a:lnTo>
                  <a:lnTo>
                    <a:pt x="343" y="303"/>
                  </a:lnTo>
                  <a:lnTo>
                    <a:pt x="349" y="305"/>
                  </a:lnTo>
                  <a:lnTo>
                    <a:pt x="353" y="310"/>
                  </a:lnTo>
                  <a:lnTo>
                    <a:pt x="354" y="315"/>
                  </a:lnTo>
                  <a:lnTo>
                    <a:pt x="353" y="320"/>
                  </a:lnTo>
                  <a:lnTo>
                    <a:pt x="353" y="320"/>
                  </a:lnTo>
                  <a:close/>
                  <a:moveTo>
                    <a:pt x="712" y="140"/>
                  </a:moveTo>
                  <a:lnTo>
                    <a:pt x="712" y="140"/>
                  </a:lnTo>
                  <a:lnTo>
                    <a:pt x="696" y="154"/>
                  </a:lnTo>
                  <a:lnTo>
                    <a:pt x="681" y="168"/>
                  </a:lnTo>
                  <a:lnTo>
                    <a:pt x="666" y="179"/>
                  </a:lnTo>
                  <a:lnTo>
                    <a:pt x="650" y="189"/>
                  </a:lnTo>
                  <a:lnTo>
                    <a:pt x="620" y="208"/>
                  </a:lnTo>
                  <a:lnTo>
                    <a:pt x="590" y="225"/>
                  </a:lnTo>
                  <a:lnTo>
                    <a:pt x="575" y="233"/>
                  </a:lnTo>
                  <a:lnTo>
                    <a:pt x="561" y="244"/>
                  </a:lnTo>
                  <a:lnTo>
                    <a:pt x="546" y="254"/>
                  </a:lnTo>
                  <a:lnTo>
                    <a:pt x="532" y="266"/>
                  </a:lnTo>
                  <a:lnTo>
                    <a:pt x="518" y="278"/>
                  </a:lnTo>
                  <a:lnTo>
                    <a:pt x="505" y="293"/>
                  </a:lnTo>
                  <a:lnTo>
                    <a:pt x="493" y="311"/>
                  </a:lnTo>
                  <a:lnTo>
                    <a:pt x="480" y="331"/>
                  </a:lnTo>
                  <a:lnTo>
                    <a:pt x="480" y="331"/>
                  </a:lnTo>
                  <a:lnTo>
                    <a:pt x="475" y="337"/>
                  </a:lnTo>
                  <a:lnTo>
                    <a:pt x="475" y="337"/>
                  </a:lnTo>
                  <a:lnTo>
                    <a:pt x="468" y="326"/>
                  </a:lnTo>
                  <a:lnTo>
                    <a:pt x="461" y="314"/>
                  </a:lnTo>
                  <a:lnTo>
                    <a:pt x="453" y="304"/>
                  </a:lnTo>
                  <a:lnTo>
                    <a:pt x="444" y="293"/>
                  </a:lnTo>
                  <a:lnTo>
                    <a:pt x="444" y="293"/>
                  </a:lnTo>
                  <a:lnTo>
                    <a:pt x="434" y="283"/>
                  </a:lnTo>
                  <a:lnTo>
                    <a:pt x="422" y="275"/>
                  </a:lnTo>
                  <a:lnTo>
                    <a:pt x="411" y="268"/>
                  </a:lnTo>
                  <a:lnTo>
                    <a:pt x="399" y="261"/>
                  </a:lnTo>
                  <a:lnTo>
                    <a:pt x="399" y="261"/>
                  </a:lnTo>
                  <a:lnTo>
                    <a:pt x="406" y="256"/>
                  </a:lnTo>
                  <a:lnTo>
                    <a:pt x="406" y="256"/>
                  </a:lnTo>
                  <a:lnTo>
                    <a:pt x="426" y="245"/>
                  </a:lnTo>
                  <a:lnTo>
                    <a:pt x="443" y="231"/>
                  </a:lnTo>
                  <a:lnTo>
                    <a:pt x="459" y="218"/>
                  </a:lnTo>
                  <a:lnTo>
                    <a:pt x="472" y="204"/>
                  </a:lnTo>
                  <a:lnTo>
                    <a:pt x="483" y="190"/>
                  </a:lnTo>
                  <a:lnTo>
                    <a:pt x="494" y="176"/>
                  </a:lnTo>
                  <a:lnTo>
                    <a:pt x="504" y="161"/>
                  </a:lnTo>
                  <a:lnTo>
                    <a:pt x="512" y="146"/>
                  </a:lnTo>
                  <a:lnTo>
                    <a:pt x="530" y="116"/>
                  </a:lnTo>
                  <a:lnTo>
                    <a:pt x="547" y="86"/>
                  </a:lnTo>
                  <a:lnTo>
                    <a:pt x="557" y="71"/>
                  </a:lnTo>
                  <a:lnTo>
                    <a:pt x="569" y="55"/>
                  </a:lnTo>
                  <a:lnTo>
                    <a:pt x="582" y="40"/>
                  </a:lnTo>
                  <a:lnTo>
                    <a:pt x="595" y="23"/>
                  </a:lnTo>
                  <a:lnTo>
                    <a:pt x="595" y="23"/>
                  </a:lnTo>
                  <a:lnTo>
                    <a:pt x="602" y="18"/>
                  </a:lnTo>
                  <a:lnTo>
                    <a:pt x="609" y="13"/>
                  </a:lnTo>
                  <a:lnTo>
                    <a:pt x="616" y="8"/>
                  </a:lnTo>
                  <a:lnTo>
                    <a:pt x="623" y="5"/>
                  </a:lnTo>
                  <a:lnTo>
                    <a:pt x="630" y="2"/>
                  </a:lnTo>
                  <a:lnTo>
                    <a:pt x="638" y="1"/>
                  </a:lnTo>
                  <a:lnTo>
                    <a:pt x="645" y="0"/>
                  </a:lnTo>
                  <a:lnTo>
                    <a:pt x="653" y="0"/>
                  </a:lnTo>
                  <a:lnTo>
                    <a:pt x="660" y="1"/>
                  </a:lnTo>
                  <a:lnTo>
                    <a:pt x="667" y="2"/>
                  </a:lnTo>
                  <a:lnTo>
                    <a:pt x="675" y="5"/>
                  </a:lnTo>
                  <a:lnTo>
                    <a:pt x="682" y="8"/>
                  </a:lnTo>
                  <a:lnTo>
                    <a:pt x="696" y="16"/>
                  </a:lnTo>
                  <a:lnTo>
                    <a:pt x="708" y="28"/>
                  </a:lnTo>
                  <a:lnTo>
                    <a:pt x="708" y="28"/>
                  </a:lnTo>
                  <a:lnTo>
                    <a:pt x="719" y="40"/>
                  </a:lnTo>
                  <a:lnTo>
                    <a:pt x="724" y="47"/>
                  </a:lnTo>
                  <a:lnTo>
                    <a:pt x="727" y="53"/>
                  </a:lnTo>
                  <a:lnTo>
                    <a:pt x="731" y="60"/>
                  </a:lnTo>
                  <a:lnTo>
                    <a:pt x="733" y="69"/>
                  </a:lnTo>
                  <a:lnTo>
                    <a:pt x="734" y="76"/>
                  </a:lnTo>
                  <a:lnTo>
                    <a:pt x="735" y="84"/>
                  </a:lnTo>
                  <a:lnTo>
                    <a:pt x="735" y="91"/>
                  </a:lnTo>
                  <a:lnTo>
                    <a:pt x="734" y="98"/>
                  </a:lnTo>
                  <a:lnTo>
                    <a:pt x="733" y="106"/>
                  </a:lnTo>
                  <a:lnTo>
                    <a:pt x="731" y="113"/>
                  </a:lnTo>
                  <a:lnTo>
                    <a:pt x="727" y="120"/>
                  </a:lnTo>
                  <a:lnTo>
                    <a:pt x="723" y="127"/>
                  </a:lnTo>
                  <a:lnTo>
                    <a:pt x="718" y="133"/>
                  </a:lnTo>
                  <a:lnTo>
                    <a:pt x="712" y="140"/>
                  </a:lnTo>
                  <a:lnTo>
                    <a:pt x="712" y="140"/>
                  </a:lnTo>
                  <a:close/>
                  <a:moveTo>
                    <a:pt x="242" y="721"/>
                  </a:moveTo>
                  <a:lnTo>
                    <a:pt x="242" y="721"/>
                  </a:lnTo>
                  <a:lnTo>
                    <a:pt x="231" y="725"/>
                  </a:lnTo>
                  <a:lnTo>
                    <a:pt x="221" y="726"/>
                  </a:lnTo>
                  <a:lnTo>
                    <a:pt x="209" y="726"/>
                  </a:lnTo>
                  <a:lnTo>
                    <a:pt x="198" y="725"/>
                  </a:lnTo>
                  <a:lnTo>
                    <a:pt x="186" y="721"/>
                  </a:lnTo>
                  <a:lnTo>
                    <a:pt x="175" y="715"/>
                  </a:lnTo>
                  <a:lnTo>
                    <a:pt x="164" y="708"/>
                  </a:lnTo>
                  <a:lnTo>
                    <a:pt x="154" y="699"/>
                  </a:lnTo>
                  <a:lnTo>
                    <a:pt x="154" y="699"/>
                  </a:lnTo>
                  <a:lnTo>
                    <a:pt x="146" y="690"/>
                  </a:lnTo>
                  <a:lnTo>
                    <a:pt x="139" y="678"/>
                  </a:lnTo>
                  <a:lnTo>
                    <a:pt x="133" y="668"/>
                  </a:lnTo>
                  <a:lnTo>
                    <a:pt x="130" y="656"/>
                  </a:lnTo>
                  <a:lnTo>
                    <a:pt x="127" y="645"/>
                  </a:lnTo>
                  <a:lnTo>
                    <a:pt x="127" y="633"/>
                  </a:lnTo>
                  <a:lnTo>
                    <a:pt x="130" y="621"/>
                  </a:lnTo>
                  <a:lnTo>
                    <a:pt x="133" y="612"/>
                  </a:lnTo>
                  <a:lnTo>
                    <a:pt x="133" y="612"/>
                  </a:lnTo>
                  <a:lnTo>
                    <a:pt x="231" y="711"/>
                  </a:lnTo>
                  <a:lnTo>
                    <a:pt x="231" y="711"/>
                  </a:lnTo>
                  <a:lnTo>
                    <a:pt x="242" y="721"/>
                  </a:lnTo>
                  <a:lnTo>
                    <a:pt x="242" y="721"/>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55" name="Group 454">
            <a:extLst>
              <a:ext uri="{FF2B5EF4-FFF2-40B4-BE49-F238E27FC236}">
                <a16:creationId xmlns:a16="http://schemas.microsoft.com/office/drawing/2014/main" id="{9371B32F-F43F-4C19-BB04-E430DAAEC656}"/>
              </a:ext>
            </a:extLst>
          </p:cNvPr>
          <p:cNvGrpSpPr/>
          <p:nvPr/>
        </p:nvGrpSpPr>
        <p:grpSpPr>
          <a:xfrm>
            <a:off x="3778007" y="3887682"/>
            <a:ext cx="612775" cy="612775"/>
            <a:chOff x="4235182" y="2265179"/>
            <a:chExt cx="612775" cy="612775"/>
          </a:xfrm>
          <a:solidFill>
            <a:srgbClr val="505050"/>
          </a:solidFill>
        </p:grpSpPr>
        <p:sp>
          <p:nvSpPr>
            <p:cNvPr id="456" name="Oval 455">
              <a:extLst>
                <a:ext uri="{FF2B5EF4-FFF2-40B4-BE49-F238E27FC236}">
                  <a16:creationId xmlns:a16="http://schemas.microsoft.com/office/drawing/2014/main" id="{ECDAE3CC-22B6-4EAC-9979-4DCF5A6B301A}"/>
                </a:ext>
              </a:extLst>
            </p:cNvPr>
            <p:cNvSpPr/>
            <p:nvPr/>
          </p:nvSpPr>
          <p:spPr bwMode="ltGray">
            <a:xfrm>
              <a:off x="4235182"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457" name="Group 456">
              <a:extLst>
                <a:ext uri="{FF2B5EF4-FFF2-40B4-BE49-F238E27FC236}">
                  <a16:creationId xmlns:a16="http://schemas.microsoft.com/office/drawing/2014/main" id="{054BA3DD-7F7C-47D7-BD49-615CD1FE9B2B}"/>
                </a:ext>
              </a:extLst>
            </p:cNvPr>
            <p:cNvGrpSpPr/>
            <p:nvPr/>
          </p:nvGrpSpPr>
          <p:grpSpPr>
            <a:xfrm>
              <a:off x="4329833" y="2420568"/>
              <a:ext cx="439738" cy="298450"/>
              <a:chOff x="3751263" y="644525"/>
              <a:chExt cx="439738" cy="298450"/>
            </a:xfrm>
            <a:grpFill/>
          </p:grpSpPr>
          <p:sp>
            <p:nvSpPr>
              <p:cNvPr id="458" name="Freeform 72">
                <a:extLst>
                  <a:ext uri="{FF2B5EF4-FFF2-40B4-BE49-F238E27FC236}">
                    <a16:creationId xmlns:a16="http://schemas.microsoft.com/office/drawing/2014/main" id="{937ABABA-23F6-473A-9BF7-B1E33F8A8B84}"/>
                  </a:ext>
                </a:extLst>
              </p:cNvPr>
              <p:cNvSpPr>
                <a:spLocks noEditPoints="1"/>
              </p:cNvSpPr>
              <p:nvPr/>
            </p:nvSpPr>
            <p:spPr bwMode="auto">
              <a:xfrm>
                <a:off x="3751263" y="644525"/>
                <a:ext cx="439738" cy="298450"/>
              </a:xfrm>
              <a:custGeom>
                <a:avLst/>
                <a:gdLst>
                  <a:gd name="T0" fmla="*/ 816 w 830"/>
                  <a:gd name="T1" fmla="*/ 51 h 564"/>
                  <a:gd name="T2" fmla="*/ 763 w 830"/>
                  <a:gd name="T3" fmla="*/ 24 h 564"/>
                  <a:gd name="T4" fmla="*/ 681 w 830"/>
                  <a:gd name="T5" fmla="*/ 4 h 564"/>
                  <a:gd name="T6" fmla="*/ 618 w 830"/>
                  <a:gd name="T7" fmla="*/ 0 h 564"/>
                  <a:gd name="T8" fmla="*/ 530 w 830"/>
                  <a:gd name="T9" fmla="*/ 9 h 564"/>
                  <a:gd name="T10" fmla="*/ 455 w 830"/>
                  <a:gd name="T11" fmla="*/ 32 h 564"/>
                  <a:gd name="T12" fmla="*/ 415 w 830"/>
                  <a:gd name="T13" fmla="*/ 54 h 564"/>
                  <a:gd name="T14" fmla="*/ 382 w 830"/>
                  <a:gd name="T15" fmla="*/ 32 h 564"/>
                  <a:gd name="T16" fmla="*/ 312 w 830"/>
                  <a:gd name="T17" fmla="*/ 9 h 564"/>
                  <a:gd name="T18" fmla="*/ 222 w 830"/>
                  <a:gd name="T19" fmla="*/ 0 h 564"/>
                  <a:gd name="T20" fmla="*/ 157 w 830"/>
                  <a:gd name="T21" fmla="*/ 4 h 564"/>
                  <a:gd name="T22" fmla="*/ 70 w 830"/>
                  <a:gd name="T23" fmla="*/ 25 h 564"/>
                  <a:gd name="T24" fmla="*/ 14 w 830"/>
                  <a:gd name="T25" fmla="*/ 51 h 564"/>
                  <a:gd name="T26" fmla="*/ 3 w 830"/>
                  <a:gd name="T27" fmla="*/ 63 h 564"/>
                  <a:gd name="T28" fmla="*/ 0 w 830"/>
                  <a:gd name="T29" fmla="*/ 540 h 564"/>
                  <a:gd name="T30" fmla="*/ 6 w 830"/>
                  <a:gd name="T31" fmla="*/ 552 h 564"/>
                  <a:gd name="T32" fmla="*/ 19 w 830"/>
                  <a:gd name="T33" fmla="*/ 561 h 564"/>
                  <a:gd name="T34" fmla="*/ 413 w 830"/>
                  <a:gd name="T35" fmla="*/ 564 h 564"/>
                  <a:gd name="T36" fmla="*/ 800 w 830"/>
                  <a:gd name="T37" fmla="*/ 564 h 564"/>
                  <a:gd name="T38" fmla="*/ 820 w 830"/>
                  <a:gd name="T39" fmla="*/ 558 h 564"/>
                  <a:gd name="T40" fmla="*/ 829 w 830"/>
                  <a:gd name="T41" fmla="*/ 547 h 564"/>
                  <a:gd name="T42" fmla="*/ 830 w 830"/>
                  <a:gd name="T43" fmla="*/ 69 h 564"/>
                  <a:gd name="T44" fmla="*/ 826 w 830"/>
                  <a:gd name="T45" fmla="*/ 58 h 564"/>
                  <a:gd name="T46" fmla="*/ 402 w 830"/>
                  <a:gd name="T47" fmla="*/ 516 h 564"/>
                  <a:gd name="T48" fmla="*/ 368 w 830"/>
                  <a:gd name="T49" fmla="*/ 494 h 564"/>
                  <a:gd name="T50" fmla="*/ 302 w 830"/>
                  <a:gd name="T51" fmla="*/ 473 h 564"/>
                  <a:gd name="T52" fmla="*/ 221 w 830"/>
                  <a:gd name="T53" fmla="*/ 465 h 564"/>
                  <a:gd name="T54" fmla="*/ 175 w 830"/>
                  <a:gd name="T55" fmla="*/ 468 h 564"/>
                  <a:gd name="T56" fmla="*/ 111 w 830"/>
                  <a:gd name="T57" fmla="*/ 479 h 564"/>
                  <a:gd name="T58" fmla="*/ 55 w 830"/>
                  <a:gd name="T59" fmla="*/ 499 h 564"/>
                  <a:gd name="T60" fmla="*/ 65 w 830"/>
                  <a:gd name="T61" fmla="*/ 56 h 564"/>
                  <a:gd name="T62" fmla="*/ 122 w 830"/>
                  <a:gd name="T63" fmla="*/ 39 h 564"/>
                  <a:gd name="T64" fmla="*/ 203 w 830"/>
                  <a:gd name="T65" fmla="*/ 28 h 564"/>
                  <a:gd name="T66" fmla="*/ 247 w 830"/>
                  <a:gd name="T67" fmla="*/ 28 h 564"/>
                  <a:gd name="T68" fmla="*/ 305 w 830"/>
                  <a:gd name="T69" fmla="*/ 35 h 564"/>
                  <a:gd name="T70" fmla="*/ 349 w 830"/>
                  <a:gd name="T71" fmla="*/ 48 h 564"/>
                  <a:gd name="T72" fmla="*/ 391 w 830"/>
                  <a:gd name="T73" fmla="*/ 70 h 564"/>
                  <a:gd name="T74" fmla="*/ 402 w 830"/>
                  <a:gd name="T75" fmla="*/ 79 h 564"/>
                  <a:gd name="T76" fmla="*/ 776 w 830"/>
                  <a:gd name="T77" fmla="*/ 500 h 564"/>
                  <a:gd name="T78" fmla="*/ 717 w 830"/>
                  <a:gd name="T79" fmla="*/ 481 h 564"/>
                  <a:gd name="T80" fmla="*/ 652 w 830"/>
                  <a:gd name="T81" fmla="*/ 472 h 564"/>
                  <a:gd name="T82" fmla="*/ 608 w 830"/>
                  <a:gd name="T83" fmla="*/ 471 h 564"/>
                  <a:gd name="T84" fmla="*/ 526 w 830"/>
                  <a:gd name="T85" fmla="*/ 477 h 564"/>
                  <a:gd name="T86" fmla="*/ 458 w 830"/>
                  <a:gd name="T87" fmla="*/ 496 h 564"/>
                  <a:gd name="T88" fmla="*/ 426 w 830"/>
                  <a:gd name="T89" fmla="*/ 80 h 564"/>
                  <a:gd name="T90" fmla="*/ 437 w 830"/>
                  <a:gd name="T91" fmla="*/ 72 h 564"/>
                  <a:gd name="T92" fmla="*/ 485 w 830"/>
                  <a:gd name="T93" fmla="*/ 49 h 564"/>
                  <a:gd name="T94" fmla="*/ 531 w 830"/>
                  <a:gd name="T95" fmla="*/ 36 h 564"/>
                  <a:gd name="T96" fmla="*/ 594 w 830"/>
                  <a:gd name="T97" fmla="*/ 28 h 564"/>
                  <a:gd name="T98" fmla="*/ 637 w 830"/>
                  <a:gd name="T99" fmla="*/ 28 h 564"/>
                  <a:gd name="T100" fmla="*/ 713 w 830"/>
                  <a:gd name="T101" fmla="*/ 37 h 564"/>
                  <a:gd name="T102" fmla="*/ 765 w 830"/>
                  <a:gd name="T103" fmla="*/ 55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30" h="564">
                    <a:moveTo>
                      <a:pt x="826" y="58"/>
                    </a:moveTo>
                    <a:lnTo>
                      <a:pt x="826" y="58"/>
                    </a:lnTo>
                    <a:lnTo>
                      <a:pt x="816" y="51"/>
                    </a:lnTo>
                    <a:lnTo>
                      <a:pt x="807" y="46"/>
                    </a:lnTo>
                    <a:lnTo>
                      <a:pt x="786" y="34"/>
                    </a:lnTo>
                    <a:lnTo>
                      <a:pt x="763" y="24"/>
                    </a:lnTo>
                    <a:lnTo>
                      <a:pt x="738" y="16"/>
                    </a:lnTo>
                    <a:lnTo>
                      <a:pt x="710" y="10"/>
                    </a:lnTo>
                    <a:lnTo>
                      <a:pt x="681" y="4"/>
                    </a:lnTo>
                    <a:lnTo>
                      <a:pt x="650" y="2"/>
                    </a:lnTo>
                    <a:lnTo>
                      <a:pt x="618" y="0"/>
                    </a:lnTo>
                    <a:lnTo>
                      <a:pt x="618" y="0"/>
                    </a:lnTo>
                    <a:lnTo>
                      <a:pt x="588" y="2"/>
                    </a:lnTo>
                    <a:lnTo>
                      <a:pt x="558" y="4"/>
                    </a:lnTo>
                    <a:lnTo>
                      <a:pt x="530" y="9"/>
                    </a:lnTo>
                    <a:lnTo>
                      <a:pt x="504" y="14"/>
                    </a:lnTo>
                    <a:lnTo>
                      <a:pt x="478" y="22"/>
                    </a:lnTo>
                    <a:lnTo>
                      <a:pt x="455" y="32"/>
                    </a:lnTo>
                    <a:lnTo>
                      <a:pt x="434" y="42"/>
                    </a:lnTo>
                    <a:lnTo>
                      <a:pt x="415" y="54"/>
                    </a:lnTo>
                    <a:lnTo>
                      <a:pt x="415" y="54"/>
                    </a:lnTo>
                    <a:lnTo>
                      <a:pt x="408" y="48"/>
                    </a:lnTo>
                    <a:lnTo>
                      <a:pt x="400" y="42"/>
                    </a:lnTo>
                    <a:lnTo>
                      <a:pt x="382" y="32"/>
                    </a:lnTo>
                    <a:lnTo>
                      <a:pt x="361" y="22"/>
                    </a:lnTo>
                    <a:lnTo>
                      <a:pt x="338" y="14"/>
                    </a:lnTo>
                    <a:lnTo>
                      <a:pt x="312" y="9"/>
                    </a:lnTo>
                    <a:lnTo>
                      <a:pt x="283" y="4"/>
                    </a:lnTo>
                    <a:lnTo>
                      <a:pt x="254" y="2"/>
                    </a:lnTo>
                    <a:lnTo>
                      <a:pt x="222" y="0"/>
                    </a:lnTo>
                    <a:lnTo>
                      <a:pt x="222" y="0"/>
                    </a:lnTo>
                    <a:lnTo>
                      <a:pt x="189" y="2"/>
                    </a:lnTo>
                    <a:lnTo>
                      <a:pt x="157" y="4"/>
                    </a:lnTo>
                    <a:lnTo>
                      <a:pt x="126" y="10"/>
                    </a:lnTo>
                    <a:lnTo>
                      <a:pt x="97" y="16"/>
                    </a:lnTo>
                    <a:lnTo>
                      <a:pt x="70" y="25"/>
                    </a:lnTo>
                    <a:lnTo>
                      <a:pt x="46" y="34"/>
                    </a:lnTo>
                    <a:lnTo>
                      <a:pt x="25" y="46"/>
                    </a:lnTo>
                    <a:lnTo>
                      <a:pt x="14" y="51"/>
                    </a:lnTo>
                    <a:lnTo>
                      <a:pt x="6" y="58"/>
                    </a:lnTo>
                    <a:lnTo>
                      <a:pt x="6" y="58"/>
                    </a:lnTo>
                    <a:lnTo>
                      <a:pt x="3" y="63"/>
                    </a:lnTo>
                    <a:lnTo>
                      <a:pt x="0" y="69"/>
                    </a:lnTo>
                    <a:lnTo>
                      <a:pt x="0" y="540"/>
                    </a:lnTo>
                    <a:lnTo>
                      <a:pt x="0" y="540"/>
                    </a:lnTo>
                    <a:lnTo>
                      <a:pt x="2" y="544"/>
                    </a:lnTo>
                    <a:lnTo>
                      <a:pt x="3" y="547"/>
                    </a:lnTo>
                    <a:lnTo>
                      <a:pt x="6" y="552"/>
                    </a:lnTo>
                    <a:lnTo>
                      <a:pt x="10" y="555"/>
                    </a:lnTo>
                    <a:lnTo>
                      <a:pt x="14" y="558"/>
                    </a:lnTo>
                    <a:lnTo>
                      <a:pt x="19" y="561"/>
                    </a:lnTo>
                    <a:lnTo>
                      <a:pt x="25" y="562"/>
                    </a:lnTo>
                    <a:lnTo>
                      <a:pt x="32" y="564"/>
                    </a:lnTo>
                    <a:lnTo>
                      <a:pt x="413" y="564"/>
                    </a:lnTo>
                    <a:lnTo>
                      <a:pt x="413" y="564"/>
                    </a:lnTo>
                    <a:lnTo>
                      <a:pt x="800" y="564"/>
                    </a:lnTo>
                    <a:lnTo>
                      <a:pt x="800" y="564"/>
                    </a:lnTo>
                    <a:lnTo>
                      <a:pt x="811" y="562"/>
                    </a:lnTo>
                    <a:lnTo>
                      <a:pt x="815" y="560"/>
                    </a:lnTo>
                    <a:lnTo>
                      <a:pt x="820" y="558"/>
                    </a:lnTo>
                    <a:lnTo>
                      <a:pt x="825" y="555"/>
                    </a:lnTo>
                    <a:lnTo>
                      <a:pt x="828" y="552"/>
                    </a:lnTo>
                    <a:lnTo>
                      <a:pt x="829" y="547"/>
                    </a:lnTo>
                    <a:lnTo>
                      <a:pt x="830" y="543"/>
                    </a:lnTo>
                    <a:lnTo>
                      <a:pt x="830" y="69"/>
                    </a:lnTo>
                    <a:lnTo>
                      <a:pt x="830" y="69"/>
                    </a:lnTo>
                    <a:lnTo>
                      <a:pt x="829" y="63"/>
                    </a:lnTo>
                    <a:lnTo>
                      <a:pt x="826" y="58"/>
                    </a:lnTo>
                    <a:lnTo>
                      <a:pt x="826" y="58"/>
                    </a:lnTo>
                    <a:close/>
                    <a:moveTo>
                      <a:pt x="402" y="79"/>
                    </a:moveTo>
                    <a:lnTo>
                      <a:pt x="402" y="79"/>
                    </a:lnTo>
                    <a:lnTo>
                      <a:pt x="402" y="516"/>
                    </a:lnTo>
                    <a:lnTo>
                      <a:pt x="402" y="516"/>
                    </a:lnTo>
                    <a:lnTo>
                      <a:pt x="386" y="505"/>
                    </a:lnTo>
                    <a:lnTo>
                      <a:pt x="368" y="494"/>
                    </a:lnTo>
                    <a:lnTo>
                      <a:pt x="348" y="486"/>
                    </a:lnTo>
                    <a:lnTo>
                      <a:pt x="326" y="478"/>
                    </a:lnTo>
                    <a:lnTo>
                      <a:pt x="302" y="473"/>
                    </a:lnTo>
                    <a:lnTo>
                      <a:pt x="276" y="469"/>
                    </a:lnTo>
                    <a:lnTo>
                      <a:pt x="250" y="466"/>
                    </a:lnTo>
                    <a:lnTo>
                      <a:pt x="221" y="465"/>
                    </a:lnTo>
                    <a:lnTo>
                      <a:pt x="221" y="465"/>
                    </a:lnTo>
                    <a:lnTo>
                      <a:pt x="197" y="466"/>
                    </a:lnTo>
                    <a:lnTo>
                      <a:pt x="175" y="468"/>
                    </a:lnTo>
                    <a:lnTo>
                      <a:pt x="152" y="470"/>
                    </a:lnTo>
                    <a:lnTo>
                      <a:pt x="131" y="475"/>
                    </a:lnTo>
                    <a:lnTo>
                      <a:pt x="111" y="479"/>
                    </a:lnTo>
                    <a:lnTo>
                      <a:pt x="91" y="485"/>
                    </a:lnTo>
                    <a:lnTo>
                      <a:pt x="72" y="492"/>
                    </a:lnTo>
                    <a:lnTo>
                      <a:pt x="55" y="499"/>
                    </a:lnTo>
                    <a:lnTo>
                      <a:pt x="55" y="61"/>
                    </a:lnTo>
                    <a:lnTo>
                      <a:pt x="55" y="61"/>
                    </a:lnTo>
                    <a:lnTo>
                      <a:pt x="65" y="56"/>
                    </a:lnTo>
                    <a:lnTo>
                      <a:pt x="79" y="50"/>
                    </a:lnTo>
                    <a:lnTo>
                      <a:pt x="98" y="44"/>
                    </a:lnTo>
                    <a:lnTo>
                      <a:pt x="122" y="39"/>
                    </a:lnTo>
                    <a:lnTo>
                      <a:pt x="151" y="33"/>
                    </a:lnTo>
                    <a:lnTo>
                      <a:pt x="185" y="29"/>
                    </a:lnTo>
                    <a:lnTo>
                      <a:pt x="203" y="28"/>
                    </a:lnTo>
                    <a:lnTo>
                      <a:pt x="224" y="28"/>
                    </a:lnTo>
                    <a:lnTo>
                      <a:pt x="224" y="28"/>
                    </a:lnTo>
                    <a:lnTo>
                      <a:pt x="247" y="28"/>
                    </a:lnTo>
                    <a:lnTo>
                      <a:pt x="268" y="31"/>
                    </a:lnTo>
                    <a:lnTo>
                      <a:pt x="288" y="33"/>
                    </a:lnTo>
                    <a:lnTo>
                      <a:pt x="305" y="35"/>
                    </a:lnTo>
                    <a:lnTo>
                      <a:pt x="322" y="39"/>
                    </a:lnTo>
                    <a:lnTo>
                      <a:pt x="337" y="43"/>
                    </a:lnTo>
                    <a:lnTo>
                      <a:pt x="349" y="48"/>
                    </a:lnTo>
                    <a:lnTo>
                      <a:pt x="361" y="53"/>
                    </a:lnTo>
                    <a:lnTo>
                      <a:pt x="378" y="62"/>
                    </a:lnTo>
                    <a:lnTo>
                      <a:pt x="391" y="70"/>
                    </a:lnTo>
                    <a:lnTo>
                      <a:pt x="399" y="77"/>
                    </a:lnTo>
                    <a:lnTo>
                      <a:pt x="402" y="79"/>
                    </a:lnTo>
                    <a:lnTo>
                      <a:pt x="402" y="79"/>
                    </a:lnTo>
                    <a:close/>
                    <a:moveTo>
                      <a:pt x="776" y="59"/>
                    </a:moveTo>
                    <a:lnTo>
                      <a:pt x="776" y="500"/>
                    </a:lnTo>
                    <a:lnTo>
                      <a:pt x="776" y="500"/>
                    </a:lnTo>
                    <a:lnTo>
                      <a:pt x="757" y="493"/>
                    </a:lnTo>
                    <a:lnTo>
                      <a:pt x="738" y="487"/>
                    </a:lnTo>
                    <a:lnTo>
                      <a:pt x="717" y="481"/>
                    </a:lnTo>
                    <a:lnTo>
                      <a:pt x="696" y="478"/>
                    </a:lnTo>
                    <a:lnTo>
                      <a:pt x="674" y="475"/>
                    </a:lnTo>
                    <a:lnTo>
                      <a:pt x="652" y="472"/>
                    </a:lnTo>
                    <a:lnTo>
                      <a:pt x="630" y="471"/>
                    </a:lnTo>
                    <a:lnTo>
                      <a:pt x="608" y="471"/>
                    </a:lnTo>
                    <a:lnTo>
                      <a:pt x="608" y="471"/>
                    </a:lnTo>
                    <a:lnTo>
                      <a:pt x="579" y="471"/>
                    </a:lnTo>
                    <a:lnTo>
                      <a:pt x="551" y="473"/>
                    </a:lnTo>
                    <a:lnTo>
                      <a:pt x="526" y="477"/>
                    </a:lnTo>
                    <a:lnTo>
                      <a:pt x="501" y="483"/>
                    </a:lnTo>
                    <a:lnTo>
                      <a:pt x="479" y="490"/>
                    </a:lnTo>
                    <a:lnTo>
                      <a:pt x="458" y="496"/>
                    </a:lnTo>
                    <a:lnTo>
                      <a:pt x="441" y="506"/>
                    </a:lnTo>
                    <a:lnTo>
                      <a:pt x="426" y="516"/>
                    </a:lnTo>
                    <a:lnTo>
                      <a:pt x="426" y="80"/>
                    </a:lnTo>
                    <a:lnTo>
                      <a:pt x="426" y="80"/>
                    </a:lnTo>
                    <a:lnTo>
                      <a:pt x="428" y="78"/>
                    </a:lnTo>
                    <a:lnTo>
                      <a:pt x="437" y="72"/>
                    </a:lnTo>
                    <a:lnTo>
                      <a:pt x="451" y="64"/>
                    </a:lnTo>
                    <a:lnTo>
                      <a:pt x="472" y="55"/>
                    </a:lnTo>
                    <a:lnTo>
                      <a:pt x="485" y="49"/>
                    </a:lnTo>
                    <a:lnTo>
                      <a:pt x="499" y="44"/>
                    </a:lnTo>
                    <a:lnTo>
                      <a:pt x="514" y="40"/>
                    </a:lnTo>
                    <a:lnTo>
                      <a:pt x="531" y="36"/>
                    </a:lnTo>
                    <a:lnTo>
                      <a:pt x="551" y="33"/>
                    </a:lnTo>
                    <a:lnTo>
                      <a:pt x="572" y="31"/>
                    </a:lnTo>
                    <a:lnTo>
                      <a:pt x="594" y="28"/>
                    </a:lnTo>
                    <a:lnTo>
                      <a:pt x="618" y="28"/>
                    </a:lnTo>
                    <a:lnTo>
                      <a:pt x="618" y="28"/>
                    </a:lnTo>
                    <a:lnTo>
                      <a:pt x="637" y="28"/>
                    </a:lnTo>
                    <a:lnTo>
                      <a:pt x="654" y="29"/>
                    </a:lnTo>
                    <a:lnTo>
                      <a:pt x="686" y="33"/>
                    </a:lnTo>
                    <a:lnTo>
                      <a:pt x="713" y="37"/>
                    </a:lnTo>
                    <a:lnTo>
                      <a:pt x="735" y="44"/>
                    </a:lnTo>
                    <a:lnTo>
                      <a:pt x="753" y="50"/>
                    </a:lnTo>
                    <a:lnTo>
                      <a:pt x="765" y="55"/>
                    </a:lnTo>
                    <a:lnTo>
                      <a:pt x="776" y="59"/>
                    </a:lnTo>
                    <a:lnTo>
                      <a:pt x="77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59" name="Freeform 73">
                <a:extLst>
                  <a:ext uri="{FF2B5EF4-FFF2-40B4-BE49-F238E27FC236}">
                    <a16:creationId xmlns:a16="http://schemas.microsoft.com/office/drawing/2014/main" id="{F46BB784-041F-4BBC-AD1D-809E1EFE5703}"/>
                  </a:ext>
                </a:extLst>
              </p:cNvPr>
              <p:cNvSpPr>
                <a:spLocks/>
              </p:cNvSpPr>
              <p:nvPr/>
            </p:nvSpPr>
            <p:spPr bwMode="auto">
              <a:xfrm>
                <a:off x="3808413" y="690563"/>
                <a:ext cx="131763" cy="25400"/>
              </a:xfrm>
              <a:custGeom>
                <a:avLst/>
                <a:gdLst>
                  <a:gd name="T0" fmla="*/ 240 w 249"/>
                  <a:gd name="T1" fmla="*/ 49 h 49"/>
                  <a:gd name="T2" fmla="*/ 240 w 249"/>
                  <a:gd name="T3" fmla="*/ 49 h 49"/>
                  <a:gd name="T4" fmla="*/ 238 w 249"/>
                  <a:gd name="T5" fmla="*/ 49 h 49"/>
                  <a:gd name="T6" fmla="*/ 236 w 249"/>
                  <a:gd name="T7" fmla="*/ 47 h 49"/>
                  <a:gd name="T8" fmla="*/ 236 w 249"/>
                  <a:gd name="T9" fmla="*/ 47 h 49"/>
                  <a:gd name="T10" fmla="*/ 227 w 249"/>
                  <a:gd name="T11" fmla="*/ 43 h 49"/>
                  <a:gd name="T12" fmla="*/ 218 w 249"/>
                  <a:gd name="T13" fmla="*/ 38 h 49"/>
                  <a:gd name="T14" fmla="*/ 197 w 249"/>
                  <a:gd name="T15" fmla="*/ 30 h 49"/>
                  <a:gd name="T16" fmla="*/ 173 w 249"/>
                  <a:gd name="T17" fmla="*/ 24 h 49"/>
                  <a:gd name="T18" fmla="*/ 145 w 249"/>
                  <a:gd name="T19" fmla="*/ 20 h 49"/>
                  <a:gd name="T20" fmla="*/ 130 w 249"/>
                  <a:gd name="T21" fmla="*/ 19 h 49"/>
                  <a:gd name="T22" fmla="*/ 114 w 249"/>
                  <a:gd name="T23" fmla="*/ 19 h 49"/>
                  <a:gd name="T24" fmla="*/ 99 w 249"/>
                  <a:gd name="T25" fmla="*/ 19 h 49"/>
                  <a:gd name="T26" fmla="*/ 81 w 249"/>
                  <a:gd name="T27" fmla="*/ 20 h 49"/>
                  <a:gd name="T28" fmla="*/ 65 w 249"/>
                  <a:gd name="T29" fmla="*/ 22 h 49"/>
                  <a:gd name="T30" fmla="*/ 48 w 249"/>
                  <a:gd name="T31" fmla="*/ 24 h 49"/>
                  <a:gd name="T32" fmla="*/ 29 w 249"/>
                  <a:gd name="T33" fmla="*/ 28 h 49"/>
                  <a:gd name="T34" fmla="*/ 12 w 249"/>
                  <a:gd name="T35" fmla="*/ 32 h 49"/>
                  <a:gd name="T36" fmla="*/ 12 w 249"/>
                  <a:gd name="T37" fmla="*/ 32 h 49"/>
                  <a:gd name="T38" fmla="*/ 8 w 249"/>
                  <a:gd name="T39" fmla="*/ 32 h 49"/>
                  <a:gd name="T40" fmla="*/ 5 w 249"/>
                  <a:gd name="T41" fmla="*/ 31 h 49"/>
                  <a:gd name="T42" fmla="*/ 1 w 249"/>
                  <a:gd name="T43" fmla="*/ 29 h 49"/>
                  <a:gd name="T44" fmla="*/ 0 w 249"/>
                  <a:gd name="T45" fmla="*/ 27 h 49"/>
                  <a:gd name="T46" fmla="*/ 0 w 249"/>
                  <a:gd name="T47" fmla="*/ 27 h 49"/>
                  <a:gd name="T48" fmla="*/ 0 w 249"/>
                  <a:gd name="T49" fmla="*/ 23 h 49"/>
                  <a:gd name="T50" fmla="*/ 1 w 249"/>
                  <a:gd name="T51" fmla="*/ 20 h 49"/>
                  <a:gd name="T52" fmla="*/ 4 w 249"/>
                  <a:gd name="T53" fmla="*/ 16 h 49"/>
                  <a:gd name="T54" fmla="*/ 6 w 249"/>
                  <a:gd name="T55" fmla="*/ 15 h 49"/>
                  <a:gd name="T56" fmla="*/ 6 w 249"/>
                  <a:gd name="T57" fmla="*/ 15 h 49"/>
                  <a:gd name="T58" fmla="*/ 23 w 249"/>
                  <a:gd name="T59" fmla="*/ 10 h 49"/>
                  <a:gd name="T60" fmla="*/ 40 w 249"/>
                  <a:gd name="T61" fmla="*/ 7 h 49"/>
                  <a:gd name="T62" fmla="*/ 57 w 249"/>
                  <a:gd name="T63" fmla="*/ 5 h 49"/>
                  <a:gd name="T64" fmla="*/ 73 w 249"/>
                  <a:gd name="T65" fmla="*/ 2 h 49"/>
                  <a:gd name="T66" fmla="*/ 91 w 249"/>
                  <a:gd name="T67" fmla="*/ 1 h 49"/>
                  <a:gd name="T68" fmla="*/ 107 w 249"/>
                  <a:gd name="T69" fmla="*/ 0 h 49"/>
                  <a:gd name="T70" fmla="*/ 123 w 249"/>
                  <a:gd name="T71" fmla="*/ 0 h 49"/>
                  <a:gd name="T72" fmla="*/ 139 w 249"/>
                  <a:gd name="T73" fmla="*/ 1 h 49"/>
                  <a:gd name="T74" fmla="*/ 154 w 249"/>
                  <a:gd name="T75" fmla="*/ 2 h 49"/>
                  <a:gd name="T76" fmla="*/ 169 w 249"/>
                  <a:gd name="T77" fmla="*/ 5 h 49"/>
                  <a:gd name="T78" fmla="*/ 185 w 249"/>
                  <a:gd name="T79" fmla="*/ 8 h 49"/>
                  <a:gd name="T80" fmla="*/ 198 w 249"/>
                  <a:gd name="T81" fmla="*/ 12 h 49"/>
                  <a:gd name="T82" fmla="*/ 211 w 249"/>
                  <a:gd name="T83" fmla="*/ 15 h 49"/>
                  <a:gd name="T84" fmla="*/ 224 w 249"/>
                  <a:gd name="T85" fmla="*/ 20 h 49"/>
                  <a:gd name="T86" fmla="*/ 234 w 249"/>
                  <a:gd name="T87" fmla="*/ 25 h 49"/>
                  <a:gd name="T88" fmla="*/ 246 w 249"/>
                  <a:gd name="T89" fmla="*/ 31 h 49"/>
                  <a:gd name="T90" fmla="*/ 246 w 249"/>
                  <a:gd name="T91" fmla="*/ 31 h 49"/>
                  <a:gd name="T92" fmla="*/ 248 w 249"/>
                  <a:gd name="T93" fmla="*/ 34 h 49"/>
                  <a:gd name="T94" fmla="*/ 249 w 249"/>
                  <a:gd name="T95" fmla="*/ 37 h 49"/>
                  <a:gd name="T96" fmla="*/ 249 w 249"/>
                  <a:gd name="T97" fmla="*/ 40 h 49"/>
                  <a:gd name="T98" fmla="*/ 248 w 249"/>
                  <a:gd name="T99" fmla="*/ 44 h 49"/>
                  <a:gd name="T100" fmla="*/ 248 w 249"/>
                  <a:gd name="T101" fmla="*/ 44 h 49"/>
                  <a:gd name="T102" fmla="*/ 245 w 249"/>
                  <a:gd name="T103" fmla="*/ 47 h 49"/>
                  <a:gd name="T104" fmla="*/ 240 w 249"/>
                  <a:gd name="T105" fmla="*/ 49 h 49"/>
                  <a:gd name="T106" fmla="*/ 240 w 249"/>
                  <a:gd name="T10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9" h="49">
                    <a:moveTo>
                      <a:pt x="240" y="49"/>
                    </a:moveTo>
                    <a:lnTo>
                      <a:pt x="240" y="49"/>
                    </a:lnTo>
                    <a:lnTo>
                      <a:pt x="238" y="49"/>
                    </a:lnTo>
                    <a:lnTo>
                      <a:pt x="236" y="47"/>
                    </a:lnTo>
                    <a:lnTo>
                      <a:pt x="236" y="47"/>
                    </a:lnTo>
                    <a:lnTo>
                      <a:pt x="227" y="43"/>
                    </a:lnTo>
                    <a:lnTo>
                      <a:pt x="218" y="38"/>
                    </a:lnTo>
                    <a:lnTo>
                      <a:pt x="197" y="30"/>
                    </a:lnTo>
                    <a:lnTo>
                      <a:pt x="173" y="24"/>
                    </a:lnTo>
                    <a:lnTo>
                      <a:pt x="145" y="20"/>
                    </a:lnTo>
                    <a:lnTo>
                      <a:pt x="130" y="19"/>
                    </a:lnTo>
                    <a:lnTo>
                      <a:pt x="114" y="19"/>
                    </a:lnTo>
                    <a:lnTo>
                      <a:pt x="99" y="19"/>
                    </a:lnTo>
                    <a:lnTo>
                      <a:pt x="81" y="20"/>
                    </a:lnTo>
                    <a:lnTo>
                      <a:pt x="65" y="22"/>
                    </a:lnTo>
                    <a:lnTo>
                      <a:pt x="48" y="24"/>
                    </a:lnTo>
                    <a:lnTo>
                      <a:pt x="29" y="28"/>
                    </a:lnTo>
                    <a:lnTo>
                      <a:pt x="12" y="32"/>
                    </a:lnTo>
                    <a:lnTo>
                      <a:pt x="12" y="32"/>
                    </a:lnTo>
                    <a:lnTo>
                      <a:pt x="8" y="32"/>
                    </a:lnTo>
                    <a:lnTo>
                      <a:pt x="5" y="31"/>
                    </a:lnTo>
                    <a:lnTo>
                      <a:pt x="1" y="29"/>
                    </a:lnTo>
                    <a:lnTo>
                      <a:pt x="0" y="27"/>
                    </a:lnTo>
                    <a:lnTo>
                      <a:pt x="0" y="27"/>
                    </a:lnTo>
                    <a:lnTo>
                      <a:pt x="0" y="23"/>
                    </a:lnTo>
                    <a:lnTo>
                      <a:pt x="1" y="20"/>
                    </a:lnTo>
                    <a:lnTo>
                      <a:pt x="4" y="16"/>
                    </a:lnTo>
                    <a:lnTo>
                      <a:pt x="6" y="15"/>
                    </a:lnTo>
                    <a:lnTo>
                      <a:pt x="6" y="15"/>
                    </a:lnTo>
                    <a:lnTo>
                      <a:pt x="23" y="10"/>
                    </a:lnTo>
                    <a:lnTo>
                      <a:pt x="40" y="7"/>
                    </a:lnTo>
                    <a:lnTo>
                      <a:pt x="57" y="5"/>
                    </a:lnTo>
                    <a:lnTo>
                      <a:pt x="73" y="2"/>
                    </a:lnTo>
                    <a:lnTo>
                      <a:pt x="91" y="1"/>
                    </a:lnTo>
                    <a:lnTo>
                      <a:pt x="107" y="0"/>
                    </a:lnTo>
                    <a:lnTo>
                      <a:pt x="123" y="0"/>
                    </a:lnTo>
                    <a:lnTo>
                      <a:pt x="139" y="1"/>
                    </a:lnTo>
                    <a:lnTo>
                      <a:pt x="154" y="2"/>
                    </a:lnTo>
                    <a:lnTo>
                      <a:pt x="169" y="5"/>
                    </a:lnTo>
                    <a:lnTo>
                      <a:pt x="185" y="8"/>
                    </a:lnTo>
                    <a:lnTo>
                      <a:pt x="198" y="12"/>
                    </a:lnTo>
                    <a:lnTo>
                      <a:pt x="211" y="15"/>
                    </a:lnTo>
                    <a:lnTo>
                      <a:pt x="224" y="20"/>
                    </a:lnTo>
                    <a:lnTo>
                      <a:pt x="234" y="25"/>
                    </a:lnTo>
                    <a:lnTo>
                      <a:pt x="246" y="31"/>
                    </a:lnTo>
                    <a:lnTo>
                      <a:pt x="246" y="31"/>
                    </a:lnTo>
                    <a:lnTo>
                      <a:pt x="248" y="34"/>
                    </a:lnTo>
                    <a:lnTo>
                      <a:pt x="249" y="37"/>
                    </a:lnTo>
                    <a:lnTo>
                      <a:pt x="249" y="40"/>
                    </a:lnTo>
                    <a:lnTo>
                      <a:pt x="248" y="44"/>
                    </a:lnTo>
                    <a:lnTo>
                      <a:pt x="248" y="44"/>
                    </a:lnTo>
                    <a:lnTo>
                      <a:pt x="245" y="47"/>
                    </a:lnTo>
                    <a:lnTo>
                      <a:pt x="240" y="49"/>
                    </a:lnTo>
                    <a:lnTo>
                      <a:pt x="240"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60" name="Freeform 74">
                <a:extLst>
                  <a:ext uri="{FF2B5EF4-FFF2-40B4-BE49-F238E27FC236}">
                    <a16:creationId xmlns:a16="http://schemas.microsoft.com/office/drawing/2014/main" id="{AED843AC-80C5-4BBD-A0EF-995843A8D07B}"/>
                  </a:ext>
                </a:extLst>
              </p:cNvPr>
              <p:cNvSpPr>
                <a:spLocks/>
              </p:cNvSpPr>
              <p:nvPr/>
            </p:nvSpPr>
            <p:spPr bwMode="auto">
              <a:xfrm>
                <a:off x="3808413" y="728663"/>
                <a:ext cx="131763" cy="25400"/>
              </a:xfrm>
              <a:custGeom>
                <a:avLst/>
                <a:gdLst>
                  <a:gd name="T0" fmla="*/ 240 w 249"/>
                  <a:gd name="T1" fmla="*/ 47 h 47"/>
                  <a:gd name="T2" fmla="*/ 240 w 249"/>
                  <a:gd name="T3" fmla="*/ 47 h 47"/>
                  <a:gd name="T4" fmla="*/ 238 w 249"/>
                  <a:gd name="T5" fmla="*/ 47 h 47"/>
                  <a:gd name="T6" fmla="*/ 236 w 249"/>
                  <a:gd name="T7" fmla="*/ 46 h 47"/>
                  <a:gd name="T8" fmla="*/ 236 w 249"/>
                  <a:gd name="T9" fmla="*/ 46 h 47"/>
                  <a:gd name="T10" fmla="*/ 227 w 249"/>
                  <a:gd name="T11" fmla="*/ 41 h 47"/>
                  <a:gd name="T12" fmla="*/ 218 w 249"/>
                  <a:gd name="T13" fmla="*/ 37 h 47"/>
                  <a:gd name="T14" fmla="*/ 209 w 249"/>
                  <a:gd name="T15" fmla="*/ 32 h 47"/>
                  <a:gd name="T16" fmla="*/ 197 w 249"/>
                  <a:gd name="T17" fmla="*/ 29 h 47"/>
                  <a:gd name="T18" fmla="*/ 173 w 249"/>
                  <a:gd name="T19" fmla="*/ 23 h 47"/>
                  <a:gd name="T20" fmla="*/ 145 w 249"/>
                  <a:gd name="T21" fmla="*/ 19 h 47"/>
                  <a:gd name="T22" fmla="*/ 130 w 249"/>
                  <a:gd name="T23" fmla="*/ 18 h 47"/>
                  <a:gd name="T24" fmla="*/ 115 w 249"/>
                  <a:gd name="T25" fmla="*/ 18 h 47"/>
                  <a:gd name="T26" fmla="*/ 99 w 249"/>
                  <a:gd name="T27" fmla="*/ 18 h 47"/>
                  <a:gd name="T28" fmla="*/ 83 w 249"/>
                  <a:gd name="T29" fmla="*/ 19 h 47"/>
                  <a:gd name="T30" fmla="*/ 65 w 249"/>
                  <a:gd name="T31" fmla="*/ 22 h 47"/>
                  <a:gd name="T32" fmla="*/ 48 w 249"/>
                  <a:gd name="T33" fmla="*/ 24 h 47"/>
                  <a:gd name="T34" fmla="*/ 29 w 249"/>
                  <a:gd name="T35" fmla="*/ 27 h 47"/>
                  <a:gd name="T36" fmla="*/ 12 w 249"/>
                  <a:gd name="T37" fmla="*/ 32 h 47"/>
                  <a:gd name="T38" fmla="*/ 12 w 249"/>
                  <a:gd name="T39" fmla="*/ 32 h 47"/>
                  <a:gd name="T40" fmla="*/ 7 w 249"/>
                  <a:gd name="T41" fmla="*/ 33 h 47"/>
                  <a:gd name="T42" fmla="*/ 5 w 249"/>
                  <a:gd name="T43" fmla="*/ 32 h 47"/>
                  <a:gd name="T44" fmla="*/ 1 w 249"/>
                  <a:gd name="T45" fmla="*/ 30 h 47"/>
                  <a:gd name="T46" fmla="*/ 0 w 249"/>
                  <a:gd name="T47" fmla="*/ 26 h 47"/>
                  <a:gd name="T48" fmla="*/ 0 w 249"/>
                  <a:gd name="T49" fmla="*/ 26 h 47"/>
                  <a:gd name="T50" fmla="*/ 0 w 249"/>
                  <a:gd name="T51" fmla="*/ 23 h 47"/>
                  <a:gd name="T52" fmla="*/ 0 w 249"/>
                  <a:gd name="T53" fmla="*/ 19 h 47"/>
                  <a:gd name="T54" fmla="*/ 3 w 249"/>
                  <a:gd name="T55" fmla="*/ 17 h 47"/>
                  <a:gd name="T56" fmla="*/ 6 w 249"/>
                  <a:gd name="T57" fmla="*/ 15 h 47"/>
                  <a:gd name="T58" fmla="*/ 6 w 249"/>
                  <a:gd name="T59" fmla="*/ 15 h 47"/>
                  <a:gd name="T60" fmla="*/ 23 w 249"/>
                  <a:gd name="T61" fmla="*/ 10 h 47"/>
                  <a:gd name="T62" fmla="*/ 40 w 249"/>
                  <a:gd name="T63" fmla="*/ 7 h 47"/>
                  <a:gd name="T64" fmla="*/ 57 w 249"/>
                  <a:gd name="T65" fmla="*/ 4 h 47"/>
                  <a:gd name="T66" fmla="*/ 73 w 249"/>
                  <a:gd name="T67" fmla="*/ 2 h 47"/>
                  <a:gd name="T68" fmla="*/ 107 w 249"/>
                  <a:gd name="T69" fmla="*/ 0 h 47"/>
                  <a:gd name="T70" fmla="*/ 123 w 249"/>
                  <a:gd name="T71" fmla="*/ 0 h 47"/>
                  <a:gd name="T72" fmla="*/ 139 w 249"/>
                  <a:gd name="T73" fmla="*/ 1 h 47"/>
                  <a:gd name="T74" fmla="*/ 156 w 249"/>
                  <a:gd name="T75" fmla="*/ 2 h 47"/>
                  <a:gd name="T76" fmla="*/ 171 w 249"/>
                  <a:gd name="T77" fmla="*/ 4 h 47"/>
                  <a:gd name="T78" fmla="*/ 185 w 249"/>
                  <a:gd name="T79" fmla="*/ 7 h 47"/>
                  <a:gd name="T80" fmla="*/ 198 w 249"/>
                  <a:gd name="T81" fmla="*/ 10 h 47"/>
                  <a:gd name="T82" fmla="*/ 211 w 249"/>
                  <a:gd name="T83" fmla="*/ 14 h 47"/>
                  <a:gd name="T84" fmla="*/ 224 w 249"/>
                  <a:gd name="T85" fmla="*/ 19 h 47"/>
                  <a:gd name="T86" fmla="*/ 234 w 249"/>
                  <a:gd name="T87" fmla="*/ 24 h 47"/>
                  <a:gd name="T88" fmla="*/ 245 w 249"/>
                  <a:gd name="T89" fmla="*/ 30 h 47"/>
                  <a:gd name="T90" fmla="*/ 245 w 249"/>
                  <a:gd name="T91" fmla="*/ 30 h 47"/>
                  <a:gd name="T92" fmla="*/ 248 w 249"/>
                  <a:gd name="T93" fmla="*/ 33 h 47"/>
                  <a:gd name="T94" fmla="*/ 249 w 249"/>
                  <a:gd name="T95" fmla="*/ 36 h 47"/>
                  <a:gd name="T96" fmla="*/ 249 w 249"/>
                  <a:gd name="T97" fmla="*/ 39 h 47"/>
                  <a:gd name="T98" fmla="*/ 248 w 249"/>
                  <a:gd name="T99" fmla="*/ 42 h 47"/>
                  <a:gd name="T100" fmla="*/ 248 w 249"/>
                  <a:gd name="T101" fmla="*/ 42 h 47"/>
                  <a:gd name="T102" fmla="*/ 245 w 249"/>
                  <a:gd name="T103" fmla="*/ 46 h 47"/>
                  <a:gd name="T104" fmla="*/ 240 w 249"/>
                  <a:gd name="T105" fmla="*/ 47 h 47"/>
                  <a:gd name="T106" fmla="*/ 240 w 249"/>
                  <a:gd name="T107"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9" h="47">
                    <a:moveTo>
                      <a:pt x="240" y="47"/>
                    </a:moveTo>
                    <a:lnTo>
                      <a:pt x="240" y="47"/>
                    </a:lnTo>
                    <a:lnTo>
                      <a:pt x="238" y="47"/>
                    </a:lnTo>
                    <a:lnTo>
                      <a:pt x="236" y="46"/>
                    </a:lnTo>
                    <a:lnTo>
                      <a:pt x="236" y="46"/>
                    </a:lnTo>
                    <a:lnTo>
                      <a:pt x="227" y="41"/>
                    </a:lnTo>
                    <a:lnTo>
                      <a:pt x="218" y="37"/>
                    </a:lnTo>
                    <a:lnTo>
                      <a:pt x="209" y="32"/>
                    </a:lnTo>
                    <a:lnTo>
                      <a:pt x="197" y="29"/>
                    </a:lnTo>
                    <a:lnTo>
                      <a:pt x="173" y="23"/>
                    </a:lnTo>
                    <a:lnTo>
                      <a:pt x="145" y="19"/>
                    </a:lnTo>
                    <a:lnTo>
                      <a:pt x="130" y="18"/>
                    </a:lnTo>
                    <a:lnTo>
                      <a:pt x="115" y="18"/>
                    </a:lnTo>
                    <a:lnTo>
                      <a:pt x="99" y="18"/>
                    </a:lnTo>
                    <a:lnTo>
                      <a:pt x="83" y="19"/>
                    </a:lnTo>
                    <a:lnTo>
                      <a:pt x="65" y="22"/>
                    </a:lnTo>
                    <a:lnTo>
                      <a:pt x="48" y="24"/>
                    </a:lnTo>
                    <a:lnTo>
                      <a:pt x="29" y="27"/>
                    </a:lnTo>
                    <a:lnTo>
                      <a:pt x="12" y="32"/>
                    </a:lnTo>
                    <a:lnTo>
                      <a:pt x="12" y="32"/>
                    </a:lnTo>
                    <a:lnTo>
                      <a:pt x="7" y="33"/>
                    </a:lnTo>
                    <a:lnTo>
                      <a:pt x="5" y="32"/>
                    </a:lnTo>
                    <a:lnTo>
                      <a:pt x="1" y="30"/>
                    </a:lnTo>
                    <a:lnTo>
                      <a:pt x="0" y="26"/>
                    </a:lnTo>
                    <a:lnTo>
                      <a:pt x="0" y="26"/>
                    </a:lnTo>
                    <a:lnTo>
                      <a:pt x="0" y="23"/>
                    </a:lnTo>
                    <a:lnTo>
                      <a:pt x="0" y="19"/>
                    </a:lnTo>
                    <a:lnTo>
                      <a:pt x="3" y="17"/>
                    </a:lnTo>
                    <a:lnTo>
                      <a:pt x="6" y="15"/>
                    </a:lnTo>
                    <a:lnTo>
                      <a:pt x="6" y="15"/>
                    </a:lnTo>
                    <a:lnTo>
                      <a:pt x="23" y="10"/>
                    </a:lnTo>
                    <a:lnTo>
                      <a:pt x="40" y="7"/>
                    </a:lnTo>
                    <a:lnTo>
                      <a:pt x="57" y="4"/>
                    </a:lnTo>
                    <a:lnTo>
                      <a:pt x="73" y="2"/>
                    </a:lnTo>
                    <a:lnTo>
                      <a:pt x="107" y="0"/>
                    </a:lnTo>
                    <a:lnTo>
                      <a:pt x="123" y="0"/>
                    </a:lnTo>
                    <a:lnTo>
                      <a:pt x="139" y="1"/>
                    </a:lnTo>
                    <a:lnTo>
                      <a:pt x="156" y="2"/>
                    </a:lnTo>
                    <a:lnTo>
                      <a:pt x="171" y="4"/>
                    </a:lnTo>
                    <a:lnTo>
                      <a:pt x="185" y="7"/>
                    </a:lnTo>
                    <a:lnTo>
                      <a:pt x="198" y="10"/>
                    </a:lnTo>
                    <a:lnTo>
                      <a:pt x="211" y="14"/>
                    </a:lnTo>
                    <a:lnTo>
                      <a:pt x="224" y="19"/>
                    </a:lnTo>
                    <a:lnTo>
                      <a:pt x="234" y="24"/>
                    </a:lnTo>
                    <a:lnTo>
                      <a:pt x="245" y="30"/>
                    </a:lnTo>
                    <a:lnTo>
                      <a:pt x="245" y="30"/>
                    </a:lnTo>
                    <a:lnTo>
                      <a:pt x="248" y="33"/>
                    </a:lnTo>
                    <a:lnTo>
                      <a:pt x="249" y="36"/>
                    </a:lnTo>
                    <a:lnTo>
                      <a:pt x="249" y="39"/>
                    </a:lnTo>
                    <a:lnTo>
                      <a:pt x="248" y="42"/>
                    </a:lnTo>
                    <a:lnTo>
                      <a:pt x="248" y="42"/>
                    </a:lnTo>
                    <a:lnTo>
                      <a:pt x="245" y="46"/>
                    </a:lnTo>
                    <a:lnTo>
                      <a:pt x="240" y="47"/>
                    </a:lnTo>
                    <a:lnTo>
                      <a:pt x="240"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61" name="Freeform 75">
                <a:extLst>
                  <a:ext uri="{FF2B5EF4-FFF2-40B4-BE49-F238E27FC236}">
                    <a16:creationId xmlns:a16="http://schemas.microsoft.com/office/drawing/2014/main" id="{6A595CCB-9792-40A8-B19D-207D63FE2849}"/>
                  </a:ext>
                </a:extLst>
              </p:cNvPr>
              <p:cNvSpPr>
                <a:spLocks/>
              </p:cNvSpPr>
              <p:nvPr/>
            </p:nvSpPr>
            <p:spPr bwMode="auto">
              <a:xfrm>
                <a:off x="3808413" y="765175"/>
                <a:ext cx="133350" cy="25400"/>
              </a:xfrm>
              <a:custGeom>
                <a:avLst/>
                <a:gdLst>
                  <a:gd name="T0" fmla="*/ 242 w 252"/>
                  <a:gd name="T1" fmla="*/ 48 h 48"/>
                  <a:gd name="T2" fmla="*/ 242 w 252"/>
                  <a:gd name="T3" fmla="*/ 48 h 48"/>
                  <a:gd name="T4" fmla="*/ 240 w 252"/>
                  <a:gd name="T5" fmla="*/ 48 h 48"/>
                  <a:gd name="T6" fmla="*/ 238 w 252"/>
                  <a:gd name="T7" fmla="*/ 46 h 48"/>
                  <a:gd name="T8" fmla="*/ 238 w 252"/>
                  <a:gd name="T9" fmla="*/ 46 h 48"/>
                  <a:gd name="T10" fmla="*/ 230 w 252"/>
                  <a:gd name="T11" fmla="*/ 42 h 48"/>
                  <a:gd name="T12" fmla="*/ 220 w 252"/>
                  <a:gd name="T13" fmla="*/ 37 h 48"/>
                  <a:gd name="T14" fmla="*/ 211 w 252"/>
                  <a:gd name="T15" fmla="*/ 34 h 48"/>
                  <a:gd name="T16" fmla="*/ 199 w 252"/>
                  <a:gd name="T17" fmla="*/ 29 h 48"/>
                  <a:gd name="T18" fmla="*/ 175 w 252"/>
                  <a:gd name="T19" fmla="*/ 23 h 48"/>
                  <a:gd name="T20" fmla="*/ 147 w 252"/>
                  <a:gd name="T21" fmla="*/ 20 h 48"/>
                  <a:gd name="T22" fmla="*/ 132 w 252"/>
                  <a:gd name="T23" fmla="*/ 19 h 48"/>
                  <a:gd name="T24" fmla="*/ 116 w 252"/>
                  <a:gd name="T25" fmla="*/ 19 h 48"/>
                  <a:gd name="T26" fmla="*/ 100 w 252"/>
                  <a:gd name="T27" fmla="*/ 19 h 48"/>
                  <a:gd name="T28" fmla="*/ 84 w 252"/>
                  <a:gd name="T29" fmla="*/ 20 h 48"/>
                  <a:gd name="T30" fmla="*/ 66 w 252"/>
                  <a:gd name="T31" fmla="*/ 22 h 48"/>
                  <a:gd name="T32" fmla="*/ 49 w 252"/>
                  <a:gd name="T33" fmla="*/ 25 h 48"/>
                  <a:gd name="T34" fmla="*/ 30 w 252"/>
                  <a:gd name="T35" fmla="*/ 29 h 48"/>
                  <a:gd name="T36" fmla="*/ 12 w 252"/>
                  <a:gd name="T37" fmla="*/ 34 h 48"/>
                  <a:gd name="T38" fmla="*/ 12 w 252"/>
                  <a:gd name="T39" fmla="*/ 34 h 48"/>
                  <a:gd name="T40" fmla="*/ 8 w 252"/>
                  <a:gd name="T41" fmla="*/ 34 h 48"/>
                  <a:gd name="T42" fmla="*/ 5 w 252"/>
                  <a:gd name="T43" fmla="*/ 33 h 48"/>
                  <a:gd name="T44" fmla="*/ 2 w 252"/>
                  <a:gd name="T45" fmla="*/ 30 h 48"/>
                  <a:gd name="T46" fmla="*/ 1 w 252"/>
                  <a:gd name="T47" fmla="*/ 27 h 48"/>
                  <a:gd name="T48" fmla="*/ 1 w 252"/>
                  <a:gd name="T49" fmla="*/ 27 h 48"/>
                  <a:gd name="T50" fmla="*/ 0 w 252"/>
                  <a:gd name="T51" fmla="*/ 23 h 48"/>
                  <a:gd name="T52" fmla="*/ 1 w 252"/>
                  <a:gd name="T53" fmla="*/ 20 h 48"/>
                  <a:gd name="T54" fmla="*/ 4 w 252"/>
                  <a:gd name="T55" fmla="*/ 18 h 48"/>
                  <a:gd name="T56" fmla="*/ 7 w 252"/>
                  <a:gd name="T57" fmla="*/ 15 h 48"/>
                  <a:gd name="T58" fmla="*/ 7 w 252"/>
                  <a:gd name="T59" fmla="*/ 15 h 48"/>
                  <a:gd name="T60" fmla="*/ 24 w 252"/>
                  <a:gd name="T61" fmla="*/ 12 h 48"/>
                  <a:gd name="T62" fmla="*/ 41 w 252"/>
                  <a:gd name="T63" fmla="*/ 8 h 48"/>
                  <a:gd name="T64" fmla="*/ 58 w 252"/>
                  <a:gd name="T65" fmla="*/ 5 h 48"/>
                  <a:gd name="T66" fmla="*/ 75 w 252"/>
                  <a:gd name="T67" fmla="*/ 3 h 48"/>
                  <a:gd name="T68" fmla="*/ 109 w 252"/>
                  <a:gd name="T69" fmla="*/ 0 h 48"/>
                  <a:gd name="T70" fmla="*/ 125 w 252"/>
                  <a:gd name="T71" fmla="*/ 0 h 48"/>
                  <a:gd name="T72" fmla="*/ 142 w 252"/>
                  <a:gd name="T73" fmla="*/ 1 h 48"/>
                  <a:gd name="T74" fmla="*/ 157 w 252"/>
                  <a:gd name="T75" fmla="*/ 3 h 48"/>
                  <a:gd name="T76" fmla="*/ 172 w 252"/>
                  <a:gd name="T77" fmla="*/ 5 h 48"/>
                  <a:gd name="T78" fmla="*/ 187 w 252"/>
                  <a:gd name="T79" fmla="*/ 7 h 48"/>
                  <a:gd name="T80" fmla="*/ 201 w 252"/>
                  <a:gd name="T81" fmla="*/ 11 h 48"/>
                  <a:gd name="T82" fmla="*/ 213 w 252"/>
                  <a:gd name="T83" fmla="*/ 15 h 48"/>
                  <a:gd name="T84" fmla="*/ 226 w 252"/>
                  <a:gd name="T85" fmla="*/ 20 h 48"/>
                  <a:gd name="T86" fmla="*/ 238 w 252"/>
                  <a:gd name="T87" fmla="*/ 25 h 48"/>
                  <a:gd name="T88" fmla="*/ 248 w 252"/>
                  <a:gd name="T89" fmla="*/ 30 h 48"/>
                  <a:gd name="T90" fmla="*/ 248 w 252"/>
                  <a:gd name="T91" fmla="*/ 30 h 48"/>
                  <a:gd name="T92" fmla="*/ 250 w 252"/>
                  <a:gd name="T93" fmla="*/ 34 h 48"/>
                  <a:gd name="T94" fmla="*/ 252 w 252"/>
                  <a:gd name="T95" fmla="*/ 36 h 48"/>
                  <a:gd name="T96" fmla="*/ 252 w 252"/>
                  <a:gd name="T97" fmla="*/ 41 h 48"/>
                  <a:gd name="T98" fmla="*/ 250 w 252"/>
                  <a:gd name="T99" fmla="*/ 43 h 48"/>
                  <a:gd name="T100" fmla="*/ 250 w 252"/>
                  <a:gd name="T101" fmla="*/ 43 h 48"/>
                  <a:gd name="T102" fmla="*/ 247 w 252"/>
                  <a:gd name="T103" fmla="*/ 46 h 48"/>
                  <a:gd name="T104" fmla="*/ 242 w 252"/>
                  <a:gd name="T105" fmla="*/ 48 h 48"/>
                  <a:gd name="T106" fmla="*/ 242 w 252"/>
                  <a:gd name="T107"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2" h="48">
                    <a:moveTo>
                      <a:pt x="242" y="48"/>
                    </a:moveTo>
                    <a:lnTo>
                      <a:pt x="242" y="48"/>
                    </a:lnTo>
                    <a:lnTo>
                      <a:pt x="240" y="48"/>
                    </a:lnTo>
                    <a:lnTo>
                      <a:pt x="238" y="46"/>
                    </a:lnTo>
                    <a:lnTo>
                      <a:pt x="238" y="46"/>
                    </a:lnTo>
                    <a:lnTo>
                      <a:pt x="230" y="42"/>
                    </a:lnTo>
                    <a:lnTo>
                      <a:pt x="220" y="37"/>
                    </a:lnTo>
                    <a:lnTo>
                      <a:pt x="211" y="34"/>
                    </a:lnTo>
                    <a:lnTo>
                      <a:pt x="199" y="29"/>
                    </a:lnTo>
                    <a:lnTo>
                      <a:pt x="175" y="23"/>
                    </a:lnTo>
                    <a:lnTo>
                      <a:pt x="147" y="20"/>
                    </a:lnTo>
                    <a:lnTo>
                      <a:pt x="132" y="19"/>
                    </a:lnTo>
                    <a:lnTo>
                      <a:pt x="116" y="19"/>
                    </a:lnTo>
                    <a:lnTo>
                      <a:pt x="100" y="19"/>
                    </a:lnTo>
                    <a:lnTo>
                      <a:pt x="84" y="20"/>
                    </a:lnTo>
                    <a:lnTo>
                      <a:pt x="66" y="22"/>
                    </a:lnTo>
                    <a:lnTo>
                      <a:pt x="49" y="25"/>
                    </a:lnTo>
                    <a:lnTo>
                      <a:pt x="30" y="29"/>
                    </a:lnTo>
                    <a:lnTo>
                      <a:pt x="12" y="34"/>
                    </a:lnTo>
                    <a:lnTo>
                      <a:pt x="12" y="34"/>
                    </a:lnTo>
                    <a:lnTo>
                      <a:pt x="8" y="34"/>
                    </a:lnTo>
                    <a:lnTo>
                      <a:pt x="5" y="33"/>
                    </a:lnTo>
                    <a:lnTo>
                      <a:pt x="2" y="30"/>
                    </a:lnTo>
                    <a:lnTo>
                      <a:pt x="1" y="27"/>
                    </a:lnTo>
                    <a:lnTo>
                      <a:pt x="1" y="27"/>
                    </a:lnTo>
                    <a:lnTo>
                      <a:pt x="0" y="23"/>
                    </a:lnTo>
                    <a:lnTo>
                      <a:pt x="1" y="20"/>
                    </a:lnTo>
                    <a:lnTo>
                      <a:pt x="4" y="18"/>
                    </a:lnTo>
                    <a:lnTo>
                      <a:pt x="7" y="15"/>
                    </a:lnTo>
                    <a:lnTo>
                      <a:pt x="7" y="15"/>
                    </a:lnTo>
                    <a:lnTo>
                      <a:pt x="24" y="12"/>
                    </a:lnTo>
                    <a:lnTo>
                      <a:pt x="41" y="8"/>
                    </a:lnTo>
                    <a:lnTo>
                      <a:pt x="58" y="5"/>
                    </a:lnTo>
                    <a:lnTo>
                      <a:pt x="75" y="3"/>
                    </a:lnTo>
                    <a:lnTo>
                      <a:pt x="109" y="0"/>
                    </a:lnTo>
                    <a:lnTo>
                      <a:pt x="125" y="0"/>
                    </a:lnTo>
                    <a:lnTo>
                      <a:pt x="142" y="1"/>
                    </a:lnTo>
                    <a:lnTo>
                      <a:pt x="157" y="3"/>
                    </a:lnTo>
                    <a:lnTo>
                      <a:pt x="172" y="5"/>
                    </a:lnTo>
                    <a:lnTo>
                      <a:pt x="187" y="7"/>
                    </a:lnTo>
                    <a:lnTo>
                      <a:pt x="201" y="11"/>
                    </a:lnTo>
                    <a:lnTo>
                      <a:pt x="213" y="15"/>
                    </a:lnTo>
                    <a:lnTo>
                      <a:pt x="226" y="20"/>
                    </a:lnTo>
                    <a:lnTo>
                      <a:pt x="238" y="25"/>
                    </a:lnTo>
                    <a:lnTo>
                      <a:pt x="248" y="30"/>
                    </a:lnTo>
                    <a:lnTo>
                      <a:pt x="248" y="30"/>
                    </a:lnTo>
                    <a:lnTo>
                      <a:pt x="250" y="34"/>
                    </a:lnTo>
                    <a:lnTo>
                      <a:pt x="252" y="36"/>
                    </a:lnTo>
                    <a:lnTo>
                      <a:pt x="252" y="41"/>
                    </a:lnTo>
                    <a:lnTo>
                      <a:pt x="250" y="43"/>
                    </a:lnTo>
                    <a:lnTo>
                      <a:pt x="250" y="43"/>
                    </a:lnTo>
                    <a:lnTo>
                      <a:pt x="247" y="46"/>
                    </a:lnTo>
                    <a:lnTo>
                      <a:pt x="242" y="48"/>
                    </a:lnTo>
                    <a:lnTo>
                      <a:pt x="242"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62" name="Freeform 76">
                <a:extLst>
                  <a:ext uri="{FF2B5EF4-FFF2-40B4-BE49-F238E27FC236}">
                    <a16:creationId xmlns:a16="http://schemas.microsoft.com/office/drawing/2014/main" id="{7D3E4EDB-5F7E-42FA-A540-A4EC9669F77B}"/>
                  </a:ext>
                </a:extLst>
              </p:cNvPr>
              <p:cNvSpPr>
                <a:spLocks/>
              </p:cNvSpPr>
              <p:nvPr/>
            </p:nvSpPr>
            <p:spPr bwMode="auto">
              <a:xfrm>
                <a:off x="3808413" y="803275"/>
                <a:ext cx="133350" cy="25400"/>
              </a:xfrm>
              <a:custGeom>
                <a:avLst/>
                <a:gdLst>
                  <a:gd name="T0" fmla="*/ 244 w 253"/>
                  <a:gd name="T1" fmla="*/ 48 h 48"/>
                  <a:gd name="T2" fmla="*/ 244 w 253"/>
                  <a:gd name="T3" fmla="*/ 48 h 48"/>
                  <a:gd name="T4" fmla="*/ 241 w 253"/>
                  <a:gd name="T5" fmla="*/ 47 h 48"/>
                  <a:gd name="T6" fmla="*/ 239 w 253"/>
                  <a:gd name="T7" fmla="*/ 46 h 48"/>
                  <a:gd name="T8" fmla="*/ 239 w 253"/>
                  <a:gd name="T9" fmla="*/ 46 h 48"/>
                  <a:gd name="T10" fmla="*/ 230 w 253"/>
                  <a:gd name="T11" fmla="*/ 40 h 48"/>
                  <a:gd name="T12" fmla="*/ 219 w 253"/>
                  <a:gd name="T13" fmla="*/ 36 h 48"/>
                  <a:gd name="T14" fmla="*/ 208 w 253"/>
                  <a:gd name="T15" fmla="*/ 31 h 48"/>
                  <a:gd name="T16" fmla="*/ 195 w 253"/>
                  <a:gd name="T17" fmla="*/ 28 h 48"/>
                  <a:gd name="T18" fmla="*/ 182 w 253"/>
                  <a:gd name="T19" fmla="*/ 24 h 48"/>
                  <a:gd name="T20" fmla="*/ 169 w 253"/>
                  <a:gd name="T21" fmla="*/ 22 h 48"/>
                  <a:gd name="T22" fmla="*/ 155 w 253"/>
                  <a:gd name="T23" fmla="*/ 21 h 48"/>
                  <a:gd name="T24" fmla="*/ 140 w 253"/>
                  <a:gd name="T25" fmla="*/ 19 h 48"/>
                  <a:gd name="T26" fmla="*/ 110 w 253"/>
                  <a:gd name="T27" fmla="*/ 19 h 48"/>
                  <a:gd name="T28" fmla="*/ 79 w 253"/>
                  <a:gd name="T29" fmla="*/ 22 h 48"/>
                  <a:gd name="T30" fmla="*/ 45 w 253"/>
                  <a:gd name="T31" fmla="*/ 26 h 48"/>
                  <a:gd name="T32" fmla="*/ 12 w 253"/>
                  <a:gd name="T33" fmla="*/ 34 h 48"/>
                  <a:gd name="T34" fmla="*/ 12 w 253"/>
                  <a:gd name="T35" fmla="*/ 34 h 48"/>
                  <a:gd name="T36" fmla="*/ 8 w 253"/>
                  <a:gd name="T37" fmla="*/ 36 h 48"/>
                  <a:gd name="T38" fmla="*/ 5 w 253"/>
                  <a:gd name="T39" fmla="*/ 34 h 48"/>
                  <a:gd name="T40" fmla="*/ 2 w 253"/>
                  <a:gd name="T41" fmla="*/ 32 h 48"/>
                  <a:gd name="T42" fmla="*/ 1 w 253"/>
                  <a:gd name="T43" fmla="*/ 29 h 48"/>
                  <a:gd name="T44" fmla="*/ 1 w 253"/>
                  <a:gd name="T45" fmla="*/ 29 h 48"/>
                  <a:gd name="T46" fmla="*/ 0 w 253"/>
                  <a:gd name="T47" fmla="*/ 25 h 48"/>
                  <a:gd name="T48" fmla="*/ 1 w 253"/>
                  <a:gd name="T49" fmla="*/ 22 h 48"/>
                  <a:gd name="T50" fmla="*/ 4 w 253"/>
                  <a:gd name="T51" fmla="*/ 19 h 48"/>
                  <a:gd name="T52" fmla="*/ 7 w 253"/>
                  <a:gd name="T53" fmla="*/ 17 h 48"/>
                  <a:gd name="T54" fmla="*/ 7 w 253"/>
                  <a:gd name="T55" fmla="*/ 17 h 48"/>
                  <a:gd name="T56" fmla="*/ 43 w 253"/>
                  <a:gd name="T57" fmla="*/ 9 h 48"/>
                  <a:gd name="T58" fmla="*/ 60 w 253"/>
                  <a:gd name="T59" fmla="*/ 6 h 48"/>
                  <a:gd name="T60" fmla="*/ 78 w 253"/>
                  <a:gd name="T61" fmla="*/ 3 h 48"/>
                  <a:gd name="T62" fmla="*/ 95 w 253"/>
                  <a:gd name="T63" fmla="*/ 1 h 48"/>
                  <a:gd name="T64" fmla="*/ 111 w 253"/>
                  <a:gd name="T65" fmla="*/ 1 h 48"/>
                  <a:gd name="T66" fmla="*/ 128 w 253"/>
                  <a:gd name="T67" fmla="*/ 0 h 48"/>
                  <a:gd name="T68" fmla="*/ 144 w 253"/>
                  <a:gd name="T69" fmla="*/ 1 h 48"/>
                  <a:gd name="T70" fmla="*/ 159 w 253"/>
                  <a:gd name="T71" fmla="*/ 2 h 48"/>
                  <a:gd name="T72" fmla="*/ 174 w 253"/>
                  <a:gd name="T73" fmla="*/ 4 h 48"/>
                  <a:gd name="T74" fmla="*/ 188 w 253"/>
                  <a:gd name="T75" fmla="*/ 7 h 48"/>
                  <a:gd name="T76" fmla="*/ 202 w 253"/>
                  <a:gd name="T77" fmla="*/ 10 h 48"/>
                  <a:gd name="T78" fmla="*/ 215 w 253"/>
                  <a:gd name="T79" fmla="*/ 15 h 48"/>
                  <a:gd name="T80" fmla="*/ 227 w 253"/>
                  <a:gd name="T81" fmla="*/ 19 h 48"/>
                  <a:gd name="T82" fmla="*/ 238 w 253"/>
                  <a:gd name="T83" fmla="*/ 25 h 48"/>
                  <a:gd name="T84" fmla="*/ 249 w 253"/>
                  <a:gd name="T85" fmla="*/ 31 h 48"/>
                  <a:gd name="T86" fmla="*/ 249 w 253"/>
                  <a:gd name="T87" fmla="*/ 31 h 48"/>
                  <a:gd name="T88" fmla="*/ 252 w 253"/>
                  <a:gd name="T89" fmla="*/ 33 h 48"/>
                  <a:gd name="T90" fmla="*/ 253 w 253"/>
                  <a:gd name="T91" fmla="*/ 37 h 48"/>
                  <a:gd name="T92" fmla="*/ 253 w 253"/>
                  <a:gd name="T93" fmla="*/ 40 h 48"/>
                  <a:gd name="T94" fmla="*/ 252 w 253"/>
                  <a:gd name="T95" fmla="*/ 44 h 48"/>
                  <a:gd name="T96" fmla="*/ 252 w 253"/>
                  <a:gd name="T97" fmla="*/ 44 h 48"/>
                  <a:gd name="T98" fmla="*/ 248 w 253"/>
                  <a:gd name="T99" fmla="*/ 47 h 48"/>
                  <a:gd name="T100" fmla="*/ 244 w 253"/>
                  <a:gd name="T101" fmla="*/ 48 h 48"/>
                  <a:gd name="T102" fmla="*/ 244 w 253"/>
                  <a:gd name="T10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3" h="48">
                    <a:moveTo>
                      <a:pt x="244" y="48"/>
                    </a:moveTo>
                    <a:lnTo>
                      <a:pt x="244" y="48"/>
                    </a:lnTo>
                    <a:lnTo>
                      <a:pt x="241" y="47"/>
                    </a:lnTo>
                    <a:lnTo>
                      <a:pt x="239" y="46"/>
                    </a:lnTo>
                    <a:lnTo>
                      <a:pt x="239" y="46"/>
                    </a:lnTo>
                    <a:lnTo>
                      <a:pt x="230" y="40"/>
                    </a:lnTo>
                    <a:lnTo>
                      <a:pt x="219" y="36"/>
                    </a:lnTo>
                    <a:lnTo>
                      <a:pt x="208" y="31"/>
                    </a:lnTo>
                    <a:lnTo>
                      <a:pt x="195" y="28"/>
                    </a:lnTo>
                    <a:lnTo>
                      <a:pt x="182" y="24"/>
                    </a:lnTo>
                    <a:lnTo>
                      <a:pt x="169" y="22"/>
                    </a:lnTo>
                    <a:lnTo>
                      <a:pt x="155" y="21"/>
                    </a:lnTo>
                    <a:lnTo>
                      <a:pt x="140" y="19"/>
                    </a:lnTo>
                    <a:lnTo>
                      <a:pt x="110" y="19"/>
                    </a:lnTo>
                    <a:lnTo>
                      <a:pt x="79" y="22"/>
                    </a:lnTo>
                    <a:lnTo>
                      <a:pt x="45" y="26"/>
                    </a:lnTo>
                    <a:lnTo>
                      <a:pt x="12" y="34"/>
                    </a:lnTo>
                    <a:lnTo>
                      <a:pt x="12" y="34"/>
                    </a:lnTo>
                    <a:lnTo>
                      <a:pt x="8" y="36"/>
                    </a:lnTo>
                    <a:lnTo>
                      <a:pt x="5" y="34"/>
                    </a:lnTo>
                    <a:lnTo>
                      <a:pt x="2" y="32"/>
                    </a:lnTo>
                    <a:lnTo>
                      <a:pt x="1" y="29"/>
                    </a:lnTo>
                    <a:lnTo>
                      <a:pt x="1" y="29"/>
                    </a:lnTo>
                    <a:lnTo>
                      <a:pt x="0" y="25"/>
                    </a:lnTo>
                    <a:lnTo>
                      <a:pt x="1" y="22"/>
                    </a:lnTo>
                    <a:lnTo>
                      <a:pt x="4" y="19"/>
                    </a:lnTo>
                    <a:lnTo>
                      <a:pt x="7" y="17"/>
                    </a:lnTo>
                    <a:lnTo>
                      <a:pt x="7" y="17"/>
                    </a:lnTo>
                    <a:lnTo>
                      <a:pt x="43" y="9"/>
                    </a:lnTo>
                    <a:lnTo>
                      <a:pt x="60" y="6"/>
                    </a:lnTo>
                    <a:lnTo>
                      <a:pt x="78" y="3"/>
                    </a:lnTo>
                    <a:lnTo>
                      <a:pt x="95" y="1"/>
                    </a:lnTo>
                    <a:lnTo>
                      <a:pt x="111" y="1"/>
                    </a:lnTo>
                    <a:lnTo>
                      <a:pt x="128" y="0"/>
                    </a:lnTo>
                    <a:lnTo>
                      <a:pt x="144" y="1"/>
                    </a:lnTo>
                    <a:lnTo>
                      <a:pt x="159" y="2"/>
                    </a:lnTo>
                    <a:lnTo>
                      <a:pt x="174" y="4"/>
                    </a:lnTo>
                    <a:lnTo>
                      <a:pt x="188" y="7"/>
                    </a:lnTo>
                    <a:lnTo>
                      <a:pt x="202" y="10"/>
                    </a:lnTo>
                    <a:lnTo>
                      <a:pt x="215" y="15"/>
                    </a:lnTo>
                    <a:lnTo>
                      <a:pt x="227" y="19"/>
                    </a:lnTo>
                    <a:lnTo>
                      <a:pt x="238" y="25"/>
                    </a:lnTo>
                    <a:lnTo>
                      <a:pt x="249" y="31"/>
                    </a:lnTo>
                    <a:lnTo>
                      <a:pt x="249" y="31"/>
                    </a:lnTo>
                    <a:lnTo>
                      <a:pt x="252" y="33"/>
                    </a:lnTo>
                    <a:lnTo>
                      <a:pt x="253" y="37"/>
                    </a:lnTo>
                    <a:lnTo>
                      <a:pt x="253" y="40"/>
                    </a:lnTo>
                    <a:lnTo>
                      <a:pt x="252" y="44"/>
                    </a:lnTo>
                    <a:lnTo>
                      <a:pt x="252" y="44"/>
                    </a:lnTo>
                    <a:lnTo>
                      <a:pt x="248" y="47"/>
                    </a:lnTo>
                    <a:lnTo>
                      <a:pt x="244" y="48"/>
                    </a:lnTo>
                    <a:lnTo>
                      <a:pt x="24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63" name="Freeform 77">
                <a:extLst>
                  <a:ext uri="{FF2B5EF4-FFF2-40B4-BE49-F238E27FC236}">
                    <a16:creationId xmlns:a16="http://schemas.microsoft.com/office/drawing/2014/main" id="{F9B4BF35-7CD3-4B8E-90B6-DDD26315DE4B}"/>
                  </a:ext>
                </a:extLst>
              </p:cNvPr>
              <p:cNvSpPr>
                <a:spLocks/>
              </p:cNvSpPr>
              <p:nvPr/>
            </p:nvSpPr>
            <p:spPr bwMode="auto">
              <a:xfrm>
                <a:off x="3808413" y="841375"/>
                <a:ext cx="133350" cy="25400"/>
              </a:xfrm>
              <a:custGeom>
                <a:avLst/>
                <a:gdLst>
                  <a:gd name="T0" fmla="*/ 244 w 253"/>
                  <a:gd name="T1" fmla="*/ 48 h 48"/>
                  <a:gd name="T2" fmla="*/ 244 w 253"/>
                  <a:gd name="T3" fmla="*/ 48 h 48"/>
                  <a:gd name="T4" fmla="*/ 241 w 253"/>
                  <a:gd name="T5" fmla="*/ 48 h 48"/>
                  <a:gd name="T6" fmla="*/ 239 w 253"/>
                  <a:gd name="T7" fmla="*/ 47 h 48"/>
                  <a:gd name="T8" fmla="*/ 239 w 253"/>
                  <a:gd name="T9" fmla="*/ 47 h 48"/>
                  <a:gd name="T10" fmla="*/ 230 w 253"/>
                  <a:gd name="T11" fmla="*/ 42 h 48"/>
                  <a:gd name="T12" fmla="*/ 219 w 253"/>
                  <a:gd name="T13" fmla="*/ 36 h 48"/>
                  <a:gd name="T14" fmla="*/ 208 w 253"/>
                  <a:gd name="T15" fmla="*/ 33 h 48"/>
                  <a:gd name="T16" fmla="*/ 195 w 253"/>
                  <a:gd name="T17" fmla="*/ 28 h 48"/>
                  <a:gd name="T18" fmla="*/ 181 w 253"/>
                  <a:gd name="T19" fmla="*/ 26 h 48"/>
                  <a:gd name="T20" fmla="*/ 167 w 253"/>
                  <a:gd name="T21" fmla="*/ 22 h 48"/>
                  <a:gd name="T22" fmla="*/ 152 w 253"/>
                  <a:gd name="T23" fmla="*/ 21 h 48"/>
                  <a:gd name="T24" fmla="*/ 137 w 253"/>
                  <a:gd name="T25" fmla="*/ 19 h 48"/>
                  <a:gd name="T26" fmla="*/ 121 w 253"/>
                  <a:gd name="T27" fmla="*/ 19 h 48"/>
                  <a:gd name="T28" fmla="*/ 106 w 253"/>
                  <a:gd name="T29" fmla="*/ 19 h 48"/>
                  <a:gd name="T30" fmla="*/ 89 w 253"/>
                  <a:gd name="T31" fmla="*/ 20 h 48"/>
                  <a:gd name="T32" fmla="*/ 73 w 253"/>
                  <a:gd name="T33" fmla="*/ 21 h 48"/>
                  <a:gd name="T34" fmla="*/ 58 w 253"/>
                  <a:gd name="T35" fmla="*/ 24 h 48"/>
                  <a:gd name="T36" fmla="*/ 42 w 253"/>
                  <a:gd name="T37" fmla="*/ 27 h 48"/>
                  <a:gd name="T38" fmla="*/ 28 w 253"/>
                  <a:gd name="T39" fmla="*/ 32 h 48"/>
                  <a:gd name="T40" fmla="*/ 13 w 253"/>
                  <a:gd name="T41" fmla="*/ 36 h 48"/>
                  <a:gd name="T42" fmla="*/ 13 w 253"/>
                  <a:gd name="T43" fmla="*/ 36 h 48"/>
                  <a:gd name="T44" fmla="*/ 9 w 253"/>
                  <a:gd name="T45" fmla="*/ 37 h 48"/>
                  <a:gd name="T46" fmla="*/ 6 w 253"/>
                  <a:gd name="T47" fmla="*/ 36 h 48"/>
                  <a:gd name="T48" fmla="*/ 4 w 253"/>
                  <a:gd name="T49" fmla="*/ 34 h 48"/>
                  <a:gd name="T50" fmla="*/ 1 w 253"/>
                  <a:gd name="T51" fmla="*/ 32 h 48"/>
                  <a:gd name="T52" fmla="*/ 1 w 253"/>
                  <a:gd name="T53" fmla="*/ 32 h 48"/>
                  <a:gd name="T54" fmla="*/ 0 w 253"/>
                  <a:gd name="T55" fmla="*/ 28 h 48"/>
                  <a:gd name="T56" fmla="*/ 1 w 253"/>
                  <a:gd name="T57" fmla="*/ 25 h 48"/>
                  <a:gd name="T58" fmla="*/ 4 w 253"/>
                  <a:gd name="T59" fmla="*/ 21 h 48"/>
                  <a:gd name="T60" fmla="*/ 6 w 253"/>
                  <a:gd name="T61" fmla="*/ 19 h 48"/>
                  <a:gd name="T62" fmla="*/ 6 w 253"/>
                  <a:gd name="T63" fmla="*/ 19 h 48"/>
                  <a:gd name="T64" fmla="*/ 22 w 253"/>
                  <a:gd name="T65" fmla="*/ 14 h 48"/>
                  <a:gd name="T66" fmla="*/ 38 w 253"/>
                  <a:gd name="T67" fmla="*/ 10 h 48"/>
                  <a:gd name="T68" fmla="*/ 55 w 253"/>
                  <a:gd name="T69" fmla="*/ 5 h 48"/>
                  <a:gd name="T70" fmla="*/ 72 w 253"/>
                  <a:gd name="T71" fmla="*/ 3 h 48"/>
                  <a:gd name="T72" fmla="*/ 88 w 253"/>
                  <a:gd name="T73" fmla="*/ 2 h 48"/>
                  <a:gd name="T74" fmla="*/ 106 w 253"/>
                  <a:gd name="T75" fmla="*/ 0 h 48"/>
                  <a:gd name="T76" fmla="*/ 123 w 253"/>
                  <a:gd name="T77" fmla="*/ 0 h 48"/>
                  <a:gd name="T78" fmla="*/ 139 w 253"/>
                  <a:gd name="T79" fmla="*/ 2 h 48"/>
                  <a:gd name="T80" fmla="*/ 157 w 253"/>
                  <a:gd name="T81" fmla="*/ 3 h 48"/>
                  <a:gd name="T82" fmla="*/ 172 w 253"/>
                  <a:gd name="T83" fmla="*/ 5 h 48"/>
                  <a:gd name="T84" fmla="*/ 187 w 253"/>
                  <a:gd name="T85" fmla="*/ 7 h 48"/>
                  <a:gd name="T86" fmla="*/ 202 w 253"/>
                  <a:gd name="T87" fmla="*/ 12 h 48"/>
                  <a:gd name="T88" fmla="*/ 216 w 253"/>
                  <a:gd name="T89" fmla="*/ 15 h 48"/>
                  <a:gd name="T90" fmla="*/ 227 w 253"/>
                  <a:gd name="T91" fmla="*/ 20 h 48"/>
                  <a:gd name="T92" fmla="*/ 239 w 253"/>
                  <a:gd name="T93" fmla="*/ 26 h 48"/>
                  <a:gd name="T94" fmla="*/ 249 w 253"/>
                  <a:gd name="T95" fmla="*/ 32 h 48"/>
                  <a:gd name="T96" fmla="*/ 249 w 253"/>
                  <a:gd name="T97" fmla="*/ 32 h 48"/>
                  <a:gd name="T98" fmla="*/ 252 w 253"/>
                  <a:gd name="T99" fmla="*/ 34 h 48"/>
                  <a:gd name="T100" fmla="*/ 253 w 253"/>
                  <a:gd name="T101" fmla="*/ 37 h 48"/>
                  <a:gd name="T102" fmla="*/ 253 w 253"/>
                  <a:gd name="T103" fmla="*/ 41 h 48"/>
                  <a:gd name="T104" fmla="*/ 252 w 253"/>
                  <a:gd name="T105" fmla="*/ 44 h 48"/>
                  <a:gd name="T106" fmla="*/ 252 w 253"/>
                  <a:gd name="T107" fmla="*/ 44 h 48"/>
                  <a:gd name="T108" fmla="*/ 248 w 253"/>
                  <a:gd name="T109" fmla="*/ 48 h 48"/>
                  <a:gd name="T110" fmla="*/ 244 w 253"/>
                  <a:gd name="T111" fmla="*/ 48 h 48"/>
                  <a:gd name="T112" fmla="*/ 244 w 253"/>
                  <a:gd name="T113"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3" h="48">
                    <a:moveTo>
                      <a:pt x="244" y="48"/>
                    </a:moveTo>
                    <a:lnTo>
                      <a:pt x="244" y="48"/>
                    </a:lnTo>
                    <a:lnTo>
                      <a:pt x="241" y="48"/>
                    </a:lnTo>
                    <a:lnTo>
                      <a:pt x="239" y="47"/>
                    </a:lnTo>
                    <a:lnTo>
                      <a:pt x="239" y="47"/>
                    </a:lnTo>
                    <a:lnTo>
                      <a:pt x="230" y="42"/>
                    </a:lnTo>
                    <a:lnTo>
                      <a:pt x="219" y="36"/>
                    </a:lnTo>
                    <a:lnTo>
                      <a:pt x="208" y="33"/>
                    </a:lnTo>
                    <a:lnTo>
                      <a:pt x="195" y="28"/>
                    </a:lnTo>
                    <a:lnTo>
                      <a:pt x="181" y="26"/>
                    </a:lnTo>
                    <a:lnTo>
                      <a:pt x="167" y="22"/>
                    </a:lnTo>
                    <a:lnTo>
                      <a:pt x="152" y="21"/>
                    </a:lnTo>
                    <a:lnTo>
                      <a:pt x="137" y="19"/>
                    </a:lnTo>
                    <a:lnTo>
                      <a:pt x="121" y="19"/>
                    </a:lnTo>
                    <a:lnTo>
                      <a:pt x="106" y="19"/>
                    </a:lnTo>
                    <a:lnTo>
                      <a:pt x="89" y="20"/>
                    </a:lnTo>
                    <a:lnTo>
                      <a:pt x="73" y="21"/>
                    </a:lnTo>
                    <a:lnTo>
                      <a:pt x="58" y="24"/>
                    </a:lnTo>
                    <a:lnTo>
                      <a:pt x="42" y="27"/>
                    </a:lnTo>
                    <a:lnTo>
                      <a:pt x="28" y="32"/>
                    </a:lnTo>
                    <a:lnTo>
                      <a:pt x="13" y="36"/>
                    </a:lnTo>
                    <a:lnTo>
                      <a:pt x="13" y="36"/>
                    </a:lnTo>
                    <a:lnTo>
                      <a:pt x="9" y="37"/>
                    </a:lnTo>
                    <a:lnTo>
                      <a:pt x="6" y="36"/>
                    </a:lnTo>
                    <a:lnTo>
                      <a:pt x="4" y="34"/>
                    </a:lnTo>
                    <a:lnTo>
                      <a:pt x="1" y="32"/>
                    </a:lnTo>
                    <a:lnTo>
                      <a:pt x="1" y="32"/>
                    </a:lnTo>
                    <a:lnTo>
                      <a:pt x="0" y="28"/>
                    </a:lnTo>
                    <a:lnTo>
                      <a:pt x="1" y="25"/>
                    </a:lnTo>
                    <a:lnTo>
                      <a:pt x="4" y="21"/>
                    </a:lnTo>
                    <a:lnTo>
                      <a:pt x="6" y="19"/>
                    </a:lnTo>
                    <a:lnTo>
                      <a:pt x="6" y="19"/>
                    </a:lnTo>
                    <a:lnTo>
                      <a:pt x="22" y="14"/>
                    </a:lnTo>
                    <a:lnTo>
                      <a:pt x="38" y="10"/>
                    </a:lnTo>
                    <a:lnTo>
                      <a:pt x="55" y="5"/>
                    </a:lnTo>
                    <a:lnTo>
                      <a:pt x="72" y="3"/>
                    </a:lnTo>
                    <a:lnTo>
                      <a:pt x="88" y="2"/>
                    </a:lnTo>
                    <a:lnTo>
                      <a:pt x="106" y="0"/>
                    </a:lnTo>
                    <a:lnTo>
                      <a:pt x="123" y="0"/>
                    </a:lnTo>
                    <a:lnTo>
                      <a:pt x="139" y="2"/>
                    </a:lnTo>
                    <a:lnTo>
                      <a:pt x="157" y="3"/>
                    </a:lnTo>
                    <a:lnTo>
                      <a:pt x="172" y="5"/>
                    </a:lnTo>
                    <a:lnTo>
                      <a:pt x="187" y="7"/>
                    </a:lnTo>
                    <a:lnTo>
                      <a:pt x="202" y="12"/>
                    </a:lnTo>
                    <a:lnTo>
                      <a:pt x="216" y="15"/>
                    </a:lnTo>
                    <a:lnTo>
                      <a:pt x="227" y="20"/>
                    </a:lnTo>
                    <a:lnTo>
                      <a:pt x="239" y="26"/>
                    </a:lnTo>
                    <a:lnTo>
                      <a:pt x="249" y="32"/>
                    </a:lnTo>
                    <a:lnTo>
                      <a:pt x="249" y="32"/>
                    </a:lnTo>
                    <a:lnTo>
                      <a:pt x="252" y="34"/>
                    </a:lnTo>
                    <a:lnTo>
                      <a:pt x="253" y="37"/>
                    </a:lnTo>
                    <a:lnTo>
                      <a:pt x="253" y="41"/>
                    </a:lnTo>
                    <a:lnTo>
                      <a:pt x="252" y="44"/>
                    </a:lnTo>
                    <a:lnTo>
                      <a:pt x="252" y="44"/>
                    </a:lnTo>
                    <a:lnTo>
                      <a:pt x="248" y="48"/>
                    </a:lnTo>
                    <a:lnTo>
                      <a:pt x="244" y="48"/>
                    </a:lnTo>
                    <a:lnTo>
                      <a:pt x="244"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64" name="Freeform 78">
                <a:extLst>
                  <a:ext uri="{FF2B5EF4-FFF2-40B4-BE49-F238E27FC236}">
                    <a16:creationId xmlns:a16="http://schemas.microsoft.com/office/drawing/2014/main" id="{999F4922-59CD-44F5-9A7E-53CFD10941E1}"/>
                  </a:ext>
                </a:extLst>
              </p:cNvPr>
              <p:cNvSpPr>
                <a:spLocks/>
              </p:cNvSpPr>
              <p:nvPr/>
            </p:nvSpPr>
            <p:spPr bwMode="auto">
              <a:xfrm>
                <a:off x="4000501" y="690563"/>
                <a:ext cx="134938" cy="25400"/>
              </a:xfrm>
              <a:custGeom>
                <a:avLst/>
                <a:gdLst>
                  <a:gd name="T0" fmla="*/ 9 w 253"/>
                  <a:gd name="T1" fmla="*/ 49 h 49"/>
                  <a:gd name="T2" fmla="*/ 9 w 253"/>
                  <a:gd name="T3" fmla="*/ 49 h 49"/>
                  <a:gd name="T4" fmla="*/ 5 w 253"/>
                  <a:gd name="T5" fmla="*/ 47 h 49"/>
                  <a:gd name="T6" fmla="*/ 1 w 253"/>
                  <a:gd name="T7" fmla="*/ 44 h 49"/>
                  <a:gd name="T8" fmla="*/ 1 w 253"/>
                  <a:gd name="T9" fmla="*/ 44 h 49"/>
                  <a:gd name="T10" fmla="*/ 0 w 253"/>
                  <a:gd name="T11" fmla="*/ 40 h 49"/>
                  <a:gd name="T12" fmla="*/ 0 w 253"/>
                  <a:gd name="T13" fmla="*/ 37 h 49"/>
                  <a:gd name="T14" fmla="*/ 1 w 253"/>
                  <a:gd name="T15" fmla="*/ 34 h 49"/>
                  <a:gd name="T16" fmla="*/ 4 w 253"/>
                  <a:gd name="T17" fmla="*/ 31 h 49"/>
                  <a:gd name="T18" fmla="*/ 4 w 253"/>
                  <a:gd name="T19" fmla="*/ 31 h 49"/>
                  <a:gd name="T20" fmla="*/ 15 w 253"/>
                  <a:gd name="T21" fmla="*/ 25 h 49"/>
                  <a:gd name="T22" fmla="*/ 26 w 253"/>
                  <a:gd name="T23" fmla="*/ 20 h 49"/>
                  <a:gd name="T24" fmla="*/ 38 w 253"/>
                  <a:gd name="T25" fmla="*/ 15 h 49"/>
                  <a:gd name="T26" fmla="*/ 52 w 253"/>
                  <a:gd name="T27" fmla="*/ 10 h 49"/>
                  <a:gd name="T28" fmla="*/ 66 w 253"/>
                  <a:gd name="T29" fmla="*/ 7 h 49"/>
                  <a:gd name="T30" fmla="*/ 80 w 253"/>
                  <a:gd name="T31" fmla="*/ 5 h 49"/>
                  <a:gd name="T32" fmla="*/ 96 w 253"/>
                  <a:gd name="T33" fmla="*/ 2 h 49"/>
                  <a:gd name="T34" fmla="*/ 111 w 253"/>
                  <a:gd name="T35" fmla="*/ 1 h 49"/>
                  <a:gd name="T36" fmla="*/ 128 w 253"/>
                  <a:gd name="T37" fmla="*/ 0 h 49"/>
                  <a:gd name="T38" fmla="*/ 144 w 253"/>
                  <a:gd name="T39" fmla="*/ 0 h 49"/>
                  <a:gd name="T40" fmla="*/ 161 w 253"/>
                  <a:gd name="T41" fmla="*/ 1 h 49"/>
                  <a:gd name="T42" fmla="*/ 179 w 253"/>
                  <a:gd name="T43" fmla="*/ 2 h 49"/>
                  <a:gd name="T44" fmla="*/ 195 w 253"/>
                  <a:gd name="T45" fmla="*/ 5 h 49"/>
                  <a:gd name="T46" fmla="*/ 212 w 253"/>
                  <a:gd name="T47" fmla="*/ 7 h 49"/>
                  <a:gd name="T48" fmla="*/ 230 w 253"/>
                  <a:gd name="T49" fmla="*/ 10 h 49"/>
                  <a:gd name="T50" fmla="*/ 246 w 253"/>
                  <a:gd name="T51" fmla="*/ 15 h 49"/>
                  <a:gd name="T52" fmla="*/ 246 w 253"/>
                  <a:gd name="T53" fmla="*/ 15 h 49"/>
                  <a:gd name="T54" fmla="*/ 249 w 253"/>
                  <a:gd name="T55" fmla="*/ 16 h 49"/>
                  <a:gd name="T56" fmla="*/ 252 w 253"/>
                  <a:gd name="T57" fmla="*/ 20 h 49"/>
                  <a:gd name="T58" fmla="*/ 253 w 253"/>
                  <a:gd name="T59" fmla="*/ 23 h 49"/>
                  <a:gd name="T60" fmla="*/ 253 w 253"/>
                  <a:gd name="T61" fmla="*/ 27 h 49"/>
                  <a:gd name="T62" fmla="*/ 253 w 253"/>
                  <a:gd name="T63" fmla="*/ 27 h 49"/>
                  <a:gd name="T64" fmla="*/ 250 w 253"/>
                  <a:gd name="T65" fmla="*/ 29 h 49"/>
                  <a:gd name="T66" fmla="*/ 248 w 253"/>
                  <a:gd name="T67" fmla="*/ 31 h 49"/>
                  <a:gd name="T68" fmla="*/ 245 w 253"/>
                  <a:gd name="T69" fmla="*/ 32 h 49"/>
                  <a:gd name="T70" fmla="*/ 241 w 253"/>
                  <a:gd name="T71" fmla="*/ 32 h 49"/>
                  <a:gd name="T72" fmla="*/ 241 w 253"/>
                  <a:gd name="T73" fmla="*/ 32 h 49"/>
                  <a:gd name="T74" fmla="*/ 224 w 253"/>
                  <a:gd name="T75" fmla="*/ 28 h 49"/>
                  <a:gd name="T76" fmla="*/ 206 w 253"/>
                  <a:gd name="T77" fmla="*/ 24 h 49"/>
                  <a:gd name="T78" fmla="*/ 189 w 253"/>
                  <a:gd name="T79" fmla="*/ 22 h 49"/>
                  <a:gd name="T80" fmla="*/ 172 w 253"/>
                  <a:gd name="T81" fmla="*/ 20 h 49"/>
                  <a:gd name="T82" fmla="*/ 155 w 253"/>
                  <a:gd name="T83" fmla="*/ 19 h 49"/>
                  <a:gd name="T84" fmla="*/ 139 w 253"/>
                  <a:gd name="T85" fmla="*/ 19 h 49"/>
                  <a:gd name="T86" fmla="*/ 123 w 253"/>
                  <a:gd name="T87" fmla="*/ 19 h 49"/>
                  <a:gd name="T88" fmla="*/ 108 w 253"/>
                  <a:gd name="T89" fmla="*/ 20 h 49"/>
                  <a:gd name="T90" fmla="*/ 79 w 253"/>
                  <a:gd name="T91" fmla="*/ 24 h 49"/>
                  <a:gd name="T92" fmla="*/ 53 w 253"/>
                  <a:gd name="T93" fmla="*/ 30 h 49"/>
                  <a:gd name="T94" fmla="*/ 43 w 253"/>
                  <a:gd name="T95" fmla="*/ 34 h 49"/>
                  <a:gd name="T96" fmla="*/ 31 w 253"/>
                  <a:gd name="T97" fmla="*/ 37 h 49"/>
                  <a:gd name="T98" fmla="*/ 22 w 253"/>
                  <a:gd name="T99" fmla="*/ 42 h 49"/>
                  <a:gd name="T100" fmla="*/ 14 w 253"/>
                  <a:gd name="T101" fmla="*/ 47 h 49"/>
                  <a:gd name="T102" fmla="*/ 14 w 253"/>
                  <a:gd name="T103" fmla="*/ 47 h 49"/>
                  <a:gd name="T104" fmla="*/ 12 w 253"/>
                  <a:gd name="T105" fmla="*/ 49 h 49"/>
                  <a:gd name="T106" fmla="*/ 9 w 253"/>
                  <a:gd name="T107" fmla="*/ 49 h 49"/>
                  <a:gd name="T108" fmla="*/ 9 w 253"/>
                  <a:gd name="T10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3" h="49">
                    <a:moveTo>
                      <a:pt x="9" y="49"/>
                    </a:moveTo>
                    <a:lnTo>
                      <a:pt x="9" y="49"/>
                    </a:lnTo>
                    <a:lnTo>
                      <a:pt x="5" y="47"/>
                    </a:lnTo>
                    <a:lnTo>
                      <a:pt x="1" y="44"/>
                    </a:lnTo>
                    <a:lnTo>
                      <a:pt x="1" y="44"/>
                    </a:lnTo>
                    <a:lnTo>
                      <a:pt x="0" y="40"/>
                    </a:lnTo>
                    <a:lnTo>
                      <a:pt x="0" y="37"/>
                    </a:lnTo>
                    <a:lnTo>
                      <a:pt x="1" y="34"/>
                    </a:lnTo>
                    <a:lnTo>
                      <a:pt x="4" y="31"/>
                    </a:lnTo>
                    <a:lnTo>
                      <a:pt x="4" y="31"/>
                    </a:lnTo>
                    <a:lnTo>
                      <a:pt x="15" y="25"/>
                    </a:lnTo>
                    <a:lnTo>
                      <a:pt x="26" y="20"/>
                    </a:lnTo>
                    <a:lnTo>
                      <a:pt x="38" y="15"/>
                    </a:lnTo>
                    <a:lnTo>
                      <a:pt x="52" y="10"/>
                    </a:lnTo>
                    <a:lnTo>
                      <a:pt x="66" y="7"/>
                    </a:lnTo>
                    <a:lnTo>
                      <a:pt x="80" y="5"/>
                    </a:lnTo>
                    <a:lnTo>
                      <a:pt x="96" y="2"/>
                    </a:lnTo>
                    <a:lnTo>
                      <a:pt x="111" y="1"/>
                    </a:lnTo>
                    <a:lnTo>
                      <a:pt x="128" y="0"/>
                    </a:lnTo>
                    <a:lnTo>
                      <a:pt x="144" y="0"/>
                    </a:lnTo>
                    <a:lnTo>
                      <a:pt x="161" y="1"/>
                    </a:lnTo>
                    <a:lnTo>
                      <a:pt x="179" y="2"/>
                    </a:lnTo>
                    <a:lnTo>
                      <a:pt x="195" y="5"/>
                    </a:lnTo>
                    <a:lnTo>
                      <a:pt x="212" y="7"/>
                    </a:lnTo>
                    <a:lnTo>
                      <a:pt x="230" y="10"/>
                    </a:lnTo>
                    <a:lnTo>
                      <a:pt x="246" y="15"/>
                    </a:lnTo>
                    <a:lnTo>
                      <a:pt x="246" y="15"/>
                    </a:lnTo>
                    <a:lnTo>
                      <a:pt x="249" y="16"/>
                    </a:lnTo>
                    <a:lnTo>
                      <a:pt x="252" y="20"/>
                    </a:lnTo>
                    <a:lnTo>
                      <a:pt x="253" y="23"/>
                    </a:lnTo>
                    <a:lnTo>
                      <a:pt x="253" y="27"/>
                    </a:lnTo>
                    <a:lnTo>
                      <a:pt x="253" y="27"/>
                    </a:lnTo>
                    <a:lnTo>
                      <a:pt x="250" y="29"/>
                    </a:lnTo>
                    <a:lnTo>
                      <a:pt x="248" y="31"/>
                    </a:lnTo>
                    <a:lnTo>
                      <a:pt x="245" y="32"/>
                    </a:lnTo>
                    <a:lnTo>
                      <a:pt x="241" y="32"/>
                    </a:lnTo>
                    <a:lnTo>
                      <a:pt x="241" y="32"/>
                    </a:lnTo>
                    <a:lnTo>
                      <a:pt x="224" y="28"/>
                    </a:lnTo>
                    <a:lnTo>
                      <a:pt x="206" y="24"/>
                    </a:lnTo>
                    <a:lnTo>
                      <a:pt x="189" y="22"/>
                    </a:lnTo>
                    <a:lnTo>
                      <a:pt x="172" y="20"/>
                    </a:lnTo>
                    <a:lnTo>
                      <a:pt x="155" y="19"/>
                    </a:lnTo>
                    <a:lnTo>
                      <a:pt x="139" y="19"/>
                    </a:lnTo>
                    <a:lnTo>
                      <a:pt x="123" y="19"/>
                    </a:lnTo>
                    <a:lnTo>
                      <a:pt x="108" y="20"/>
                    </a:lnTo>
                    <a:lnTo>
                      <a:pt x="79" y="24"/>
                    </a:lnTo>
                    <a:lnTo>
                      <a:pt x="53" y="30"/>
                    </a:lnTo>
                    <a:lnTo>
                      <a:pt x="43" y="34"/>
                    </a:lnTo>
                    <a:lnTo>
                      <a:pt x="31" y="37"/>
                    </a:lnTo>
                    <a:lnTo>
                      <a:pt x="22" y="42"/>
                    </a:lnTo>
                    <a:lnTo>
                      <a:pt x="14" y="47"/>
                    </a:lnTo>
                    <a:lnTo>
                      <a:pt x="14" y="47"/>
                    </a:lnTo>
                    <a:lnTo>
                      <a:pt x="12" y="49"/>
                    </a:lnTo>
                    <a:lnTo>
                      <a:pt x="9" y="49"/>
                    </a:lnTo>
                    <a:lnTo>
                      <a:pt x="9"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65" name="Freeform 79">
                <a:extLst>
                  <a:ext uri="{FF2B5EF4-FFF2-40B4-BE49-F238E27FC236}">
                    <a16:creationId xmlns:a16="http://schemas.microsoft.com/office/drawing/2014/main" id="{9C23C585-730E-4C02-B8A6-6FFFE8D3D34B}"/>
                  </a:ext>
                </a:extLst>
              </p:cNvPr>
              <p:cNvSpPr>
                <a:spLocks/>
              </p:cNvSpPr>
              <p:nvPr/>
            </p:nvSpPr>
            <p:spPr bwMode="auto">
              <a:xfrm>
                <a:off x="4000501" y="728663"/>
                <a:ext cx="134938" cy="25400"/>
              </a:xfrm>
              <a:custGeom>
                <a:avLst/>
                <a:gdLst>
                  <a:gd name="T0" fmla="*/ 9 w 253"/>
                  <a:gd name="T1" fmla="*/ 48 h 48"/>
                  <a:gd name="T2" fmla="*/ 9 w 253"/>
                  <a:gd name="T3" fmla="*/ 48 h 48"/>
                  <a:gd name="T4" fmla="*/ 5 w 253"/>
                  <a:gd name="T5" fmla="*/ 47 h 48"/>
                  <a:gd name="T6" fmla="*/ 1 w 253"/>
                  <a:gd name="T7" fmla="*/ 44 h 48"/>
                  <a:gd name="T8" fmla="*/ 1 w 253"/>
                  <a:gd name="T9" fmla="*/ 44 h 48"/>
                  <a:gd name="T10" fmla="*/ 0 w 253"/>
                  <a:gd name="T11" fmla="*/ 40 h 48"/>
                  <a:gd name="T12" fmla="*/ 0 w 253"/>
                  <a:gd name="T13" fmla="*/ 37 h 48"/>
                  <a:gd name="T14" fmla="*/ 1 w 253"/>
                  <a:gd name="T15" fmla="*/ 33 h 48"/>
                  <a:gd name="T16" fmla="*/ 5 w 253"/>
                  <a:gd name="T17" fmla="*/ 31 h 48"/>
                  <a:gd name="T18" fmla="*/ 5 w 253"/>
                  <a:gd name="T19" fmla="*/ 31 h 48"/>
                  <a:gd name="T20" fmla="*/ 15 w 253"/>
                  <a:gd name="T21" fmla="*/ 25 h 48"/>
                  <a:gd name="T22" fmla="*/ 27 w 253"/>
                  <a:gd name="T23" fmla="*/ 19 h 48"/>
                  <a:gd name="T24" fmla="*/ 38 w 253"/>
                  <a:gd name="T25" fmla="*/ 15 h 48"/>
                  <a:gd name="T26" fmla="*/ 52 w 253"/>
                  <a:gd name="T27" fmla="*/ 10 h 48"/>
                  <a:gd name="T28" fmla="*/ 66 w 253"/>
                  <a:gd name="T29" fmla="*/ 7 h 48"/>
                  <a:gd name="T30" fmla="*/ 81 w 253"/>
                  <a:gd name="T31" fmla="*/ 4 h 48"/>
                  <a:gd name="T32" fmla="*/ 96 w 253"/>
                  <a:gd name="T33" fmla="*/ 2 h 48"/>
                  <a:gd name="T34" fmla="*/ 111 w 253"/>
                  <a:gd name="T35" fmla="*/ 1 h 48"/>
                  <a:gd name="T36" fmla="*/ 128 w 253"/>
                  <a:gd name="T37" fmla="*/ 0 h 48"/>
                  <a:gd name="T38" fmla="*/ 145 w 253"/>
                  <a:gd name="T39" fmla="*/ 0 h 48"/>
                  <a:gd name="T40" fmla="*/ 161 w 253"/>
                  <a:gd name="T41" fmla="*/ 1 h 48"/>
                  <a:gd name="T42" fmla="*/ 179 w 253"/>
                  <a:gd name="T43" fmla="*/ 2 h 48"/>
                  <a:gd name="T44" fmla="*/ 195 w 253"/>
                  <a:gd name="T45" fmla="*/ 4 h 48"/>
                  <a:gd name="T46" fmla="*/ 212 w 253"/>
                  <a:gd name="T47" fmla="*/ 7 h 48"/>
                  <a:gd name="T48" fmla="*/ 230 w 253"/>
                  <a:gd name="T49" fmla="*/ 10 h 48"/>
                  <a:gd name="T50" fmla="*/ 246 w 253"/>
                  <a:gd name="T51" fmla="*/ 15 h 48"/>
                  <a:gd name="T52" fmla="*/ 246 w 253"/>
                  <a:gd name="T53" fmla="*/ 15 h 48"/>
                  <a:gd name="T54" fmla="*/ 249 w 253"/>
                  <a:gd name="T55" fmla="*/ 16 h 48"/>
                  <a:gd name="T56" fmla="*/ 252 w 253"/>
                  <a:gd name="T57" fmla="*/ 19 h 48"/>
                  <a:gd name="T58" fmla="*/ 253 w 253"/>
                  <a:gd name="T59" fmla="*/ 22 h 48"/>
                  <a:gd name="T60" fmla="*/ 253 w 253"/>
                  <a:gd name="T61" fmla="*/ 26 h 48"/>
                  <a:gd name="T62" fmla="*/ 253 w 253"/>
                  <a:gd name="T63" fmla="*/ 26 h 48"/>
                  <a:gd name="T64" fmla="*/ 250 w 253"/>
                  <a:gd name="T65" fmla="*/ 29 h 48"/>
                  <a:gd name="T66" fmla="*/ 248 w 253"/>
                  <a:gd name="T67" fmla="*/ 31 h 48"/>
                  <a:gd name="T68" fmla="*/ 245 w 253"/>
                  <a:gd name="T69" fmla="*/ 32 h 48"/>
                  <a:gd name="T70" fmla="*/ 241 w 253"/>
                  <a:gd name="T71" fmla="*/ 32 h 48"/>
                  <a:gd name="T72" fmla="*/ 241 w 253"/>
                  <a:gd name="T73" fmla="*/ 32 h 48"/>
                  <a:gd name="T74" fmla="*/ 224 w 253"/>
                  <a:gd name="T75" fmla="*/ 27 h 48"/>
                  <a:gd name="T76" fmla="*/ 206 w 253"/>
                  <a:gd name="T77" fmla="*/ 24 h 48"/>
                  <a:gd name="T78" fmla="*/ 189 w 253"/>
                  <a:gd name="T79" fmla="*/ 22 h 48"/>
                  <a:gd name="T80" fmla="*/ 172 w 253"/>
                  <a:gd name="T81" fmla="*/ 19 h 48"/>
                  <a:gd name="T82" fmla="*/ 155 w 253"/>
                  <a:gd name="T83" fmla="*/ 18 h 48"/>
                  <a:gd name="T84" fmla="*/ 139 w 253"/>
                  <a:gd name="T85" fmla="*/ 18 h 48"/>
                  <a:gd name="T86" fmla="*/ 123 w 253"/>
                  <a:gd name="T87" fmla="*/ 18 h 48"/>
                  <a:gd name="T88" fmla="*/ 108 w 253"/>
                  <a:gd name="T89" fmla="*/ 19 h 48"/>
                  <a:gd name="T90" fmla="*/ 80 w 253"/>
                  <a:gd name="T91" fmla="*/ 23 h 48"/>
                  <a:gd name="T92" fmla="*/ 55 w 253"/>
                  <a:gd name="T93" fmla="*/ 30 h 48"/>
                  <a:gd name="T94" fmla="*/ 43 w 253"/>
                  <a:gd name="T95" fmla="*/ 33 h 48"/>
                  <a:gd name="T96" fmla="*/ 33 w 253"/>
                  <a:gd name="T97" fmla="*/ 37 h 48"/>
                  <a:gd name="T98" fmla="*/ 22 w 253"/>
                  <a:gd name="T99" fmla="*/ 41 h 48"/>
                  <a:gd name="T100" fmla="*/ 14 w 253"/>
                  <a:gd name="T101" fmla="*/ 47 h 48"/>
                  <a:gd name="T102" fmla="*/ 14 w 253"/>
                  <a:gd name="T103" fmla="*/ 47 h 48"/>
                  <a:gd name="T104" fmla="*/ 12 w 253"/>
                  <a:gd name="T105" fmla="*/ 48 h 48"/>
                  <a:gd name="T106" fmla="*/ 9 w 253"/>
                  <a:gd name="T107" fmla="*/ 48 h 48"/>
                  <a:gd name="T108" fmla="*/ 9 w 253"/>
                  <a:gd name="T10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3" h="48">
                    <a:moveTo>
                      <a:pt x="9" y="48"/>
                    </a:moveTo>
                    <a:lnTo>
                      <a:pt x="9" y="48"/>
                    </a:lnTo>
                    <a:lnTo>
                      <a:pt x="5" y="47"/>
                    </a:lnTo>
                    <a:lnTo>
                      <a:pt x="1" y="44"/>
                    </a:lnTo>
                    <a:lnTo>
                      <a:pt x="1" y="44"/>
                    </a:lnTo>
                    <a:lnTo>
                      <a:pt x="0" y="40"/>
                    </a:lnTo>
                    <a:lnTo>
                      <a:pt x="0" y="37"/>
                    </a:lnTo>
                    <a:lnTo>
                      <a:pt x="1" y="33"/>
                    </a:lnTo>
                    <a:lnTo>
                      <a:pt x="5" y="31"/>
                    </a:lnTo>
                    <a:lnTo>
                      <a:pt x="5" y="31"/>
                    </a:lnTo>
                    <a:lnTo>
                      <a:pt x="15" y="25"/>
                    </a:lnTo>
                    <a:lnTo>
                      <a:pt x="27" y="19"/>
                    </a:lnTo>
                    <a:lnTo>
                      <a:pt x="38" y="15"/>
                    </a:lnTo>
                    <a:lnTo>
                      <a:pt x="52" y="10"/>
                    </a:lnTo>
                    <a:lnTo>
                      <a:pt x="66" y="7"/>
                    </a:lnTo>
                    <a:lnTo>
                      <a:pt x="81" y="4"/>
                    </a:lnTo>
                    <a:lnTo>
                      <a:pt x="96" y="2"/>
                    </a:lnTo>
                    <a:lnTo>
                      <a:pt x="111" y="1"/>
                    </a:lnTo>
                    <a:lnTo>
                      <a:pt x="128" y="0"/>
                    </a:lnTo>
                    <a:lnTo>
                      <a:pt x="145" y="0"/>
                    </a:lnTo>
                    <a:lnTo>
                      <a:pt x="161" y="1"/>
                    </a:lnTo>
                    <a:lnTo>
                      <a:pt x="179" y="2"/>
                    </a:lnTo>
                    <a:lnTo>
                      <a:pt x="195" y="4"/>
                    </a:lnTo>
                    <a:lnTo>
                      <a:pt x="212" y="7"/>
                    </a:lnTo>
                    <a:lnTo>
                      <a:pt x="230" y="10"/>
                    </a:lnTo>
                    <a:lnTo>
                      <a:pt x="246" y="15"/>
                    </a:lnTo>
                    <a:lnTo>
                      <a:pt x="246" y="15"/>
                    </a:lnTo>
                    <a:lnTo>
                      <a:pt x="249" y="16"/>
                    </a:lnTo>
                    <a:lnTo>
                      <a:pt x="252" y="19"/>
                    </a:lnTo>
                    <a:lnTo>
                      <a:pt x="253" y="22"/>
                    </a:lnTo>
                    <a:lnTo>
                      <a:pt x="253" y="26"/>
                    </a:lnTo>
                    <a:lnTo>
                      <a:pt x="253" y="26"/>
                    </a:lnTo>
                    <a:lnTo>
                      <a:pt x="250" y="29"/>
                    </a:lnTo>
                    <a:lnTo>
                      <a:pt x="248" y="31"/>
                    </a:lnTo>
                    <a:lnTo>
                      <a:pt x="245" y="32"/>
                    </a:lnTo>
                    <a:lnTo>
                      <a:pt x="241" y="32"/>
                    </a:lnTo>
                    <a:lnTo>
                      <a:pt x="241" y="32"/>
                    </a:lnTo>
                    <a:lnTo>
                      <a:pt x="224" y="27"/>
                    </a:lnTo>
                    <a:lnTo>
                      <a:pt x="206" y="24"/>
                    </a:lnTo>
                    <a:lnTo>
                      <a:pt x="189" y="22"/>
                    </a:lnTo>
                    <a:lnTo>
                      <a:pt x="172" y="19"/>
                    </a:lnTo>
                    <a:lnTo>
                      <a:pt x="155" y="18"/>
                    </a:lnTo>
                    <a:lnTo>
                      <a:pt x="139" y="18"/>
                    </a:lnTo>
                    <a:lnTo>
                      <a:pt x="123" y="18"/>
                    </a:lnTo>
                    <a:lnTo>
                      <a:pt x="108" y="19"/>
                    </a:lnTo>
                    <a:lnTo>
                      <a:pt x="80" y="23"/>
                    </a:lnTo>
                    <a:lnTo>
                      <a:pt x="55" y="30"/>
                    </a:lnTo>
                    <a:lnTo>
                      <a:pt x="43" y="33"/>
                    </a:lnTo>
                    <a:lnTo>
                      <a:pt x="33" y="37"/>
                    </a:lnTo>
                    <a:lnTo>
                      <a:pt x="22" y="41"/>
                    </a:lnTo>
                    <a:lnTo>
                      <a:pt x="14" y="47"/>
                    </a:lnTo>
                    <a:lnTo>
                      <a:pt x="14" y="47"/>
                    </a:lnTo>
                    <a:lnTo>
                      <a:pt x="12" y="48"/>
                    </a:lnTo>
                    <a:lnTo>
                      <a:pt x="9" y="48"/>
                    </a:lnTo>
                    <a:lnTo>
                      <a:pt x="9"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66" name="Freeform 80">
                <a:extLst>
                  <a:ext uri="{FF2B5EF4-FFF2-40B4-BE49-F238E27FC236}">
                    <a16:creationId xmlns:a16="http://schemas.microsoft.com/office/drawing/2014/main" id="{68A1408A-E3B9-4E1F-8AD2-A25F6A21DD7B}"/>
                  </a:ext>
                </a:extLst>
              </p:cNvPr>
              <p:cNvSpPr>
                <a:spLocks/>
              </p:cNvSpPr>
              <p:nvPr/>
            </p:nvSpPr>
            <p:spPr bwMode="auto">
              <a:xfrm>
                <a:off x="4000501" y="766763"/>
                <a:ext cx="134938" cy="25400"/>
              </a:xfrm>
              <a:custGeom>
                <a:avLst/>
                <a:gdLst>
                  <a:gd name="T0" fmla="*/ 9 w 253"/>
                  <a:gd name="T1" fmla="*/ 49 h 49"/>
                  <a:gd name="T2" fmla="*/ 9 w 253"/>
                  <a:gd name="T3" fmla="*/ 49 h 49"/>
                  <a:gd name="T4" fmla="*/ 5 w 253"/>
                  <a:gd name="T5" fmla="*/ 48 h 49"/>
                  <a:gd name="T6" fmla="*/ 1 w 253"/>
                  <a:gd name="T7" fmla="*/ 44 h 49"/>
                  <a:gd name="T8" fmla="*/ 1 w 253"/>
                  <a:gd name="T9" fmla="*/ 44 h 49"/>
                  <a:gd name="T10" fmla="*/ 0 w 253"/>
                  <a:gd name="T11" fmla="*/ 41 h 49"/>
                  <a:gd name="T12" fmla="*/ 0 w 253"/>
                  <a:gd name="T13" fmla="*/ 37 h 49"/>
                  <a:gd name="T14" fmla="*/ 1 w 253"/>
                  <a:gd name="T15" fmla="*/ 34 h 49"/>
                  <a:gd name="T16" fmla="*/ 5 w 253"/>
                  <a:gd name="T17" fmla="*/ 32 h 49"/>
                  <a:gd name="T18" fmla="*/ 5 w 253"/>
                  <a:gd name="T19" fmla="*/ 32 h 49"/>
                  <a:gd name="T20" fmla="*/ 15 w 253"/>
                  <a:gd name="T21" fmla="*/ 26 h 49"/>
                  <a:gd name="T22" fmla="*/ 27 w 253"/>
                  <a:gd name="T23" fmla="*/ 20 h 49"/>
                  <a:gd name="T24" fmla="*/ 38 w 253"/>
                  <a:gd name="T25" fmla="*/ 15 h 49"/>
                  <a:gd name="T26" fmla="*/ 52 w 253"/>
                  <a:gd name="T27" fmla="*/ 11 h 49"/>
                  <a:gd name="T28" fmla="*/ 66 w 253"/>
                  <a:gd name="T29" fmla="*/ 7 h 49"/>
                  <a:gd name="T30" fmla="*/ 81 w 253"/>
                  <a:gd name="T31" fmla="*/ 5 h 49"/>
                  <a:gd name="T32" fmla="*/ 96 w 253"/>
                  <a:gd name="T33" fmla="*/ 3 h 49"/>
                  <a:gd name="T34" fmla="*/ 111 w 253"/>
                  <a:gd name="T35" fmla="*/ 2 h 49"/>
                  <a:gd name="T36" fmla="*/ 128 w 253"/>
                  <a:gd name="T37" fmla="*/ 0 h 49"/>
                  <a:gd name="T38" fmla="*/ 145 w 253"/>
                  <a:gd name="T39" fmla="*/ 0 h 49"/>
                  <a:gd name="T40" fmla="*/ 161 w 253"/>
                  <a:gd name="T41" fmla="*/ 2 h 49"/>
                  <a:gd name="T42" fmla="*/ 179 w 253"/>
                  <a:gd name="T43" fmla="*/ 3 h 49"/>
                  <a:gd name="T44" fmla="*/ 195 w 253"/>
                  <a:gd name="T45" fmla="*/ 5 h 49"/>
                  <a:gd name="T46" fmla="*/ 212 w 253"/>
                  <a:gd name="T47" fmla="*/ 7 h 49"/>
                  <a:gd name="T48" fmla="*/ 230 w 253"/>
                  <a:gd name="T49" fmla="*/ 11 h 49"/>
                  <a:gd name="T50" fmla="*/ 246 w 253"/>
                  <a:gd name="T51" fmla="*/ 15 h 49"/>
                  <a:gd name="T52" fmla="*/ 246 w 253"/>
                  <a:gd name="T53" fmla="*/ 15 h 49"/>
                  <a:gd name="T54" fmla="*/ 249 w 253"/>
                  <a:gd name="T55" fmla="*/ 17 h 49"/>
                  <a:gd name="T56" fmla="*/ 252 w 253"/>
                  <a:gd name="T57" fmla="*/ 20 h 49"/>
                  <a:gd name="T58" fmla="*/ 253 w 253"/>
                  <a:gd name="T59" fmla="*/ 22 h 49"/>
                  <a:gd name="T60" fmla="*/ 253 w 253"/>
                  <a:gd name="T61" fmla="*/ 27 h 49"/>
                  <a:gd name="T62" fmla="*/ 253 w 253"/>
                  <a:gd name="T63" fmla="*/ 27 h 49"/>
                  <a:gd name="T64" fmla="*/ 250 w 253"/>
                  <a:gd name="T65" fmla="*/ 29 h 49"/>
                  <a:gd name="T66" fmla="*/ 248 w 253"/>
                  <a:gd name="T67" fmla="*/ 32 h 49"/>
                  <a:gd name="T68" fmla="*/ 245 w 253"/>
                  <a:gd name="T69" fmla="*/ 33 h 49"/>
                  <a:gd name="T70" fmla="*/ 241 w 253"/>
                  <a:gd name="T71" fmla="*/ 33 h 49"/>
                  <a:gd name="T72" fmla="*/ 241 w 253"/>
                  <a:gd name="T73" fmla="*/ 33 h 49"/>
                  <a:gd name="T74" fmla="*/ 224 w 253"/>
                  <a:gd name="T75" fmla="*/ 28 h 49"/>
                  <a:gd name="T76" fmla="*/ 206 w 253"/>
                  <a:gd name="T77" fmla="*/ 25 h 49"/>
                  <a:gd name="T78" fmla="*/ 189 w 253"/>
                  <a:gd name="T79" fmla="*/ 22 h 49"/>
                  <a:gd name="T80" fmla="*/ 172 w 253"/>
                  <a:gd name="T81" fmla="*/ 20 h 49"/>
                  <a:gd name="T82" fmla="*/ 155 w 253"/>
                  <a:gd name="T83" fmla="*/ 19 h 49"/>
                  <a:gd name="T84" fmla="*/ 139 w 253"/>
                  <a:gd name="T85" fmla="*/ 19 h 49"/>
                  <a:gd name="T86" fmla="*/ 123 w 253"/>
                  <a:gd name="T87" fmla="*/ 19 h 49"/>
                  <a:gd name="T88" fmla="*/ 108 w 253"/>
                  <a:gd name="T89" fmla="*/ 20 h 49"/>
                  <a:gd name="T90" fmla="*/ 80 w 253"/>
                  <a:gd name="T91" fmla="*/ 24 h 49"/>
                  <a:gd name="T92" fmla="*/ 55 w 253"/>
                  <a:gd name="T93" fmla="*/ 30 h 49"/>
                  <a:gd name="T94" fmla="*/ 43 w 253"/>
                  <a:gd name="T95" fmla="*/ 34 h 49"/>
                  <a:gd name="T96" fmla="*/ 33 w 253"/>
                  <a:gd name="T97" fmla="*/ 37 h 49"/>
                  <a:gd name="T98" fmla="*/ 22 w 253"/>
                  <a:gd name="T99" fmla="*/ 42 h 49"/>
                  <a:gd name="T100" fmla="*/ 14 w 253"/>
                  <a:gd name="T101" fmla="*/ 48 h 49"/>
                  <a:gd name="T102" fmla="*/ 14 w 253"/>
                  <a:gd name="T103" fmla="*/ 48 h 49"/>
                  <a:gd name="T104" fmla="*/ 12 w 253"/>
                  <a:gd name="T105" fmla="*/ 48 h 49"/>
                  <a:gd name="T106" fmla="*/ 9 w 253"/>
                  <a:gd name="T107" fmla="*/ 49 h 49"/>
                  <a:gd name="T108" fmla="*/ 9 w 253"/>
                  <a:gd name="T10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3" h="49">
                    <a:moveTo>
                      <a:pt x="9" y="49"/>
                    </a:moveTo>
                    <a:lnTo>
                      <a:pt x="9" y="49"/>
                    </a:lnTo>
                    <a:lnTo>
                      <a:pt x="5" y="48"/>
                    </a:lnTo>
                    <a:lnTo>
                      <a:pt x="1" y="44"/>
                    </a:lnTo>
                    <a:lnTo>
                      <a:pt x="1" y="44"/>
                    </a:lnTo>
                    <a:lnTo>
                      <a:pt x="0" y="41"/>
                    </a:lnTo>
                    <a:lnTo>
                      <a:pt x="0" y="37"/>
                    </a:lnTo>
                    <a:lnTo>
                      <a:pt x="1" y="34"/>
                    </a:lnTo>
                    <a:lnTo>
                      <a:pt x="5" y="32"/>
                    </a:lnTo>
                    <a:lnTo>
                      <a:pt x="5" y="32"/>
                    </a:lnTo>
                    <a:lnTo>
                      <a:pt x="15" y="26"/>
                    </a:lnTo>
                    <a:lnTo>
                      <a:pt x="27" y="20"/>
                    </a:lnTo>
                    <a:lnTo>
                      <a:pt x="38" y="15"/>
                    </a:lnTo>
                    <a:lnTo>
                      <a:pt x="52" y="11"/>
                    </a:lnTo>
                    <a:lnTo>
                      <a:pt x="66" y="7"/>
                    </a:lnTo>
                    <a:lnTo>
                      <a:pt x="81" y="5"/>
                    </a:lnTo>
                    <a:lnTo>
                      <a:pt x="96" y="3"/>
                    </a:lnTo>
                    <a:lnTo>
                      <a:pt x="111" y="2"/>
                    </a:lnTo>
                    <a:lnTo>
                      <a:pt x="128" y="0"/>
                    </a:lnTo>
                    <a:lnTo>
                      <a:pt x="145" y="0"/>
                    </a:lnTo>
                    <a:lnTo>
                      <a:pt x="161" y="2"/>
                    </a:lnTo>
                    <a:lnTo>
                      <a:pt x="179" y="3"/>
                    </a:lnTo>
                    <a:lnTo>
                      <a:pt x="195" y="5"/>
                    </a:lnTo>
                    <a:lnTo>
                      <a:pt x="212" y="7"/>
                    </a:lnTo>
                    <a:lnTo>
                      <a:pt x="230" y="11"/>
                    </a:lnTo>
                    <a:lnTo>
                      <a:pt x="246" y="15"/>
                    </a:lnTo>
                    <a:lnTo>
                      <a:pt x="246" y="15"/>
                    </a:lnTo>
                    <a:lnTo>
                      <a:pt x="249" y="17"/>
                    </a:lnTo>
                    <a:lnTo>
                      <a:pt x="252" y="20"/>
                    </a:lnTo>
                    <a:lnTo>
                      <a:pt x="253" y="22"/>
                    </a:lnTo>
                    <a:lnTo>
                      <a:pt x="253" y="27"/>
                    </a:lnTo>
                    <a:lnTo>
                      <a:pt x="253" y="27"/>
                    </a:lnTo>
                    <a:lnTo>
                      <a:pt x="250" y="29"/>
                    </a:lnTo>
                    <a:lnTo>
                      <a:pt x="248" y="32"/>
                    </a:lnTo>
                    <a:lnTo>
                      <a:pt x="245" y="33"/>
                    </a:lnTo>
                    <a:lnTo>
                      <a:pt x="241" y="33"/>
                    </a:lnTo>
                    <a:lnTo>
                      <a:pt x="241" y="33"/>
                    </a:lnTo>
                    <a:lnTo>
                      <a:pt x="224" y="28"/>
                    </a:lnTo>
                    <a:lnTo>
                      <a:pt x="206" y="25"/>
                    </a:lnTo>
                    <a:lnTo>
                      <a:pt x="189" y="22"/>
                    </a:lnTo>
                    <a:lnTo>
                      <a:pt x="172" y="20"/>
                    </a:lnTo>
                    <a:lnTo>
                      <a:pt x="155" y="19"/>
                    </a:lnTo>
                    <a:lnTo>
                      <a:pt x="139" y="19"/>
                    </a:lnTo>
                    <a:lnTo>
                      <a:pt x="123" y="19"/>
                    </a:lnTo>
                    <a:lnTo>
                      <a:pt x="108" y="20"/>
                    </a:lnTo>
                    <a:lnTo>
                      <a:pt x="80" y="24"/>
                    </a:lnTo>
                    <a:lnTo>
                      <a:pt x="55" y="30"/>
                    </a:lnTo>
                    <a:lnTo>
                      <a:pt x="43" y="34"/>
                    </a:lnTo>
                    <a:lnTo>
                      <a:pt x="33" y="37"/>
                    </a:lnTo>
                    <a:lnTo>
                      <a:pt x="22" y="42"/>
                    </a:lnTo>
                    <a:lnTo>
                      <a:pt x="14" y="48"/>
                    </a:lnTo>
                    <a:lnTo>
                      <a:pt x="14" y="48"/>
                    </a:lnTo>
                    <a:lnTo>
                      <a:pt x="12" y="48"/>
                    </a:lnTo>
                    <a:lnTo>
                      <a:pt x="9" y="49"/>
                    </a:lnTo>
                    <a:lnTo>
                      <a:pt x="9"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67" name="Freeform 81">
                <a:extLst>
                  <a:ext uri="{FF2B5EF4-FFF2-40B4-BE49-F238E27FC236}">
                    <a16:creationId xmlns:a16="http://schemas.microsoft.com/office/drawing/2014/main" id="{63888BD9-6F37-4ADC-8B5A-2C8ED617B266}"/>
                  </a:ext>
                </a:extLst>
              </p:cNvPr>
              <p:cNvSpPr>
                <a:spLocks/>
              </p:cNvSpPr>
              <p:nvPr/>
            </p:nvSpPr>
            <p:spPr bwMode="auto">
              <a:xfrm>
                <a:off x="4000501" y="804863"/>
                <a:ext cx="134938" cy="23813"/>
              </a:xfrm>
              <a:custGeom>
                <a:avLst/>
                <a:gdLst>
                  <a:gd name="T0" fmla="*/ 9 w 253"/>
                  <a:gd name="T1" fmla="*/ 47 h 47"/>
                  <a:gd name="T2" fmla="*/ 9 w 253"/>
                  <a:gd name="T3" fmla="*/ 47 h 47"/>
                  <a:gd name="T4" fmla="*/ 5 w 253"/>
                  <a:gd name="T5" fmla="*/ 46 h 47"/>
                  <a:gd name="T6" fmla="*/ 1 w 253"/>
                  <a:gd name="T7" fmla="*/ 43 h 47"/>
                  <a:gd name="T8" fmla="*/ 1 w 253"/>
                  <a:gd name="T9" fmla="*/ 43 h 47"/>
                  <a:gd name="T10" fmla="*/ 0 w 253"/>
                  <a:gd name="T11" fmla="*/ 39 h 47"/>
                  <a:gd name="T12" fmla="*/ 0 w 253"/>
                  <a:gd name="T13" fmla="*/ 36 h 47"/>
                  <a:gd name="T14" fmla="*/ 1 w 253"/>
                  <a:gd name="T15" fmla="*/ 32 h 47"/>
                  <a:gd name="T16" fmla="*/ 5 w 253"/>
                  <a:gd name="T17" fmla="*/ 30 h 47"/>
                  <a:gd name="T18" fmla="*/ 5 w 253"/>
                  <a:gd name="T19" fmla="*/ 30 h 47"/>
                  <a:gd name="T20" fmla="*/ 13 w 253"/>
                  <a:gd name="T21" fmla="*/ 26 h 47"/>
                  <a:gd name="T22" fmla="*/ 23 w 253"/>
                  <a:gd name="T23" fmla="*/ 21 h 47"/>
                  <a:gd name="T24" fmla="*/ 35 w 253"/>
                  <a:gd name="T25" fmla="*/ 16 h 47"/>
                  <a:gd name="T26" fmla="*/ 48 w 253"/>
                  <a:gd name="T27" fmla="*/ 12 h 47"/>
                  <a:gd name="T28" fmla="*/ 61 w 253"/>
                  <a:gd name="T29" fmla="*/ 8 h 47"/>
                  <a:gd name="T30" fmla="*/ 75 w 253"/>
                  <a:gd name="T31" fmla="*/ 6 h 47"/>
                  <a:gd name="T32" fmla="*/ 107 w 253"/>
                  <a:gd name="T33" fmla="*/ 1 h 47"/>
                  <a:gd name="T34" fmla="*/ 123 w 253"/>
                  <a:gd name="T35" fmla="*/ 0 h 47"/>
                  <a:gd name="T36" fmla="*/ 140 w 253"/>
                  <a:gd name="T37" fmla="*/ 0 h 47"/>
                  <a:gd name="T38" fmla="*/ 158 w 253"/>
                  <a:gd name="T39" fmla="*/ 0 h 47"/>
                  <a:gd name="T40" fmla="*/ 175 w 253"/>
                  <a:gd name="T41" fmla="*/ 1 h 47"/>
                  <a:gd name="T42" fmla="*/ 192 w 253"/>
                  <a:gd name="T43" fmla="*/ 4 h 47"/>
                  <a:gd name="T44" fmla="*/ 211 w 253"/>
                  <a:gd name="T45" fmla="*/ 6 h 47"/>
                  <a:gd name="T46" fmla="*/ 228 w 253"/>
                  <a:gd name="T47" fmla="*/ 9 h 47"/>
                  <a:gd name="T48" fmla="*/ 246 w 253"/>
                  <a:gd name="T49" fmla="*/ 14 h 47"/>
                  <a:gd name="T50" fmla="*/ 246 w 253"/>
                  <a:gd name="T51" fmla="*/ 14 h 47"/>
                  <a:gd name="T52" fmla="*/ 249 w 253"/>
                  <a:gd name="T53" fmla="*/ 15 h 47"/>
                  <a:gd name="T54" fmla="*/ 252 w 253"/>
                  <a:gd name="T55" fmla="*/ 17 h 47"/>
                  <a:gd name="T56" fmla="*/ 253 w 253"/>
                  <a:gd name="T57" fmla="*/ 21 h 47"/>
                  <a:gd name="T58" fmla="*/ 253 w 253"/>
                  <a:gd name="T59" fmla="*/ 24 h 47"/>
                  <a:gd name="T60" fmla="*/ 253 w 253"/>
                  <a:gd name="T61" fmla="*/ 24 h 47"/>
                  <a:gd name="T62" fmla="*/ 250 w 253"/>
                  <a:gd name="T63" fmla="*/ 28 h 47"/>
                  <a:gd name="T64" fmla="*/ 248 w 253"/>
                  <a:gd name="T65" fmla="*/ 30 h 47"/>
                  <a:gd name="T66" fmla="*/ 245 w 253"/>
                  <a:gd name="T67" fmla="*/ 31 h 47"/>
                  <a:gd name="T68" fmla="*/ 241 w 253"/>
                  <a:gd name="T69" fmla="*/ 31 h 47"/>
                  <a:gd name="T70" fmla="*/ 241 w 253"/>
                  <a:gd name="T71" fmla="*/ 31 h 47"/>
                  <a:gd name="T72" fmla="*/ 225 w 253"/>
                  <a:gd name="T73" fmla="*/ 27 h 47"/>
                  <a:gd name="T74" fmla="*/ 209 w 253"/>
                  <a:gd name="T75" fmla="*/ 24 h 47"/>
                  <a:gd name="T76" fmla="*/ 191 w 253"/>
                  <a:gd name="T77" fmla="*/ 22 h 47"/>
                  <a:gd name="T78" fmla="*/ 175 w 253"/>
                  <a:gd name="T79" fmla="*/ 20 h 47"/>
                  <a:gd name="T80" fmla="*/ 143 w 253"/>
                  <a:gd name="T81" fmla="*/ 19 h 47"/>
                  <a:gd name="T82" fmla="*/ 111 w 253"/>
                  <a:gd name="T83" fmla="*/ 20 h 47"/>
                  <a:gd name="T84" fmla="*/ 81 w 253"/>
                  <a:gd name="T85" fmla="*/ 23 h 47"/>
                  <a:gd name="T86" fmla="*/ 55 w 253"/>
                  <a:gd name="T87" fmla="*/ 29 h 47"/>
                  <a:gd name="T88" fmla="*/ 43 w 253"/>
                  <a:gd name="T89" fmla="*/ 32 h 47"/>
                  <a:gd name="T90" fmla="*/ 33 w 253"/>
                  <a:gd name="T91" fmla="*/ 37 h 47"/>
                  <a:gd name="T92" fmla="*/ 22 w 253"/>
                  <a:gd name="T93" fmla="*/ 41 h 47"/>
                  <a:gd name="T94" fmla="*/ 14 w 253"/>
                  <a:gd name="T95" fmla="*/ 45 h 47"/>
                  <a:gd name="T96" fmla="*/ 14 w 253"/>
                  <a:gd name="T97" fmla="*/ 45 h 47"/>
                  <a:gd name="T98" fmla="*/ 12 w 253"/>
                  <a:gd name="T99" fmla="*/ 46 h 47"/>
                  <a:gd name="T100" fmla="*/ 9 w 253"/>
                  <a:gd name="T101" fmla="*/ 47 h 47"/>
                  <a:gd name="T102" fmla="*/ 9 w 253"/>
                  <a:gd name="T103"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53" h="47">
                    <a:moveTo>
                      <a:pt x="9" y="47"/>
                    </a:moveTo>
                    <a:lnTo>
                      <a:pt x="9" y="47"/>
                    </a:lnTo>
                    <a:lnTo>
                      <a:pt x="5" y="46"/>
                    </a:lnTo>
                    <a:lnTo>
                      <a:pt x="1" y="43"/>
                    </a:lnTo>
                    <a:lnTo>
                      <a:pt x="1" y="43"/>
                    </a:lnTo>
                    <a:lnTo>
                      <a:pt x="0" y="39"/>
                    </a:lnTo>
                    <a:lnTo>
                      <a:pt x="0" y="36"/>
                    </a:lnTo>
                    <a:lnTo>
                      <a:pt x="1" y="32"/>
                    </a:lnTo>
                    <a:lnTo>
                      <a:pt x="5" y="30"/>
                    </a:lnTo>
                    <a:lnTo>
                      <a:pt x="5" y="30"/>
                    </a:lnTo>
                    <a:lnTo>
                      <a:pt x="13" y="26"/>
                    </a:lnTo>
                    <a:lnTo>
                      <a:pt x="23" y="21"/>
                    </a:lnTo>
                    <a:lnTo>
                      <a:pt x="35" y="16"/>
                    </a:lnTo>
                    <a:lnTo>
                      <a:pt x="48" y="12"/>
                    </a:lnTo>
                    <a:lnTo>
                      <a:pt x="61" y="8"/>
                    </a:lnTo>
                    <a:lnTo>
                      <a:pt x="75" y="6"/>
                    </a:lnTo>
                    <a:lnTo>
                      <a:pt x="107" y="1"/>
                    </a:lnTo>
                    <a:lnTo>
                      <a:pt x="123" y="0"/>
                    </a:lnTo>
                    <a:lnTo>
                      <a:pt x="140" y="0"/>
                    </a:lnTo>
                    <a:lnTo>
                      <a:pt x="158" y="0"/>
                    </a:lnTo>
                    <a:lnTo>
                      <a:pt x="175" y="1"/>
                    </a:lnTo>
                    <a:lnTo>
                      <a:pt x="192" y="4"/>
                    </a:lnTo>
                    <a:lnTo>
                      <a:pt x="211" y="6"/>
                    </a:lnTo>
                    <a:lnTo>
                      <a:pt x="228" y="9"/>
                    </a:lnTo>
                    <a:lnTo>
                      <a:pt x="246" y="14"/>
                    </a:lnTo>
                    <a:lnTo>
                      <a:pt x="246" y="14"/>
                    </a:lnTo>
                    <a:lnTo>
                      <a:pt x="249" y="15"/>
                    </a:lnTo>
                    <a:lnTo>
                      <a:pt x="252" y="17"/>
                    </a:lnTo>
                    <a:lnTo>
                      <a:pt x="253" y="21"/>
                    </a:lnTo>
                    <a:lnTo>
                      <a:pt x="253" y="24"/>
                    </a:lnTo>
                    <a:lnTo>
                      <a:pt x="253" y="24"/>
                    </a:lnTo>
                    <a:lnTo>
                      <a:pt x="250" y="28"/>
                    </a:lnTo>
                    <a:lnTo>
                      <a:pt x="248" y="30"/>
                    </a:lnTo>
                    <a:lnTo>
                      <a:pt x="245" y="31"/>
                    </a:lnTo>
                    <a:lnTo>
                      <a:pt x="241" y="31"/>
                    </a:lnTo>
                    <a:lnTo>
                      <a:pt x="241" y="31"/>
                    </a:lnTo>
                    <a:lnTo>
                      <a:pt x="225" y="27"/>
                    </a:lnTo>
                    <a:lnTo>
                      <a:pt x="209" y="24"/>
                    </a:lnTo>
                    <a:lnTo>
                      <a:pt x="191" y="22"/>
                    </a:lnTo>
                    <a:lnTo>
                      <a:pt x="175" y="20"/>
                    </a:lnTo>
                    <a:lnTo>
                      <a:pt x="143" y="19"/>
                    </a:lnTo>
                    <a:lnTo>
                      <a:pt x="111" y="20"/>
                    </a:lnTo>
                    <a:lnTo>
                      <a:pt x="81" y="23"/>
                    </a:lnTo>
                    <a:lnTo>
                      <a:pt x="55" y="29"/>
                    </a:lnTo>
                    <a:lnTo>
                      <a:pt x="43" y="32"/>
                    </a:lnTo>
                    <a:lnTo>
                      <a:pt x="33" y="37"/>
                    </a:lnTo>
                    <a:lnTo>
                      <a:pt x="22" y="41"/>
                    </a:lnTo>
                    <a:lnTo>
                      <a:pt x="14" y="45"/>
                    </a:lnTo>
                    <a:lnTo>
                      <a:pt x="14" y="45"/>
                    </a:lnTo>
                    <a:lnTo>
                      <a:pt x="12" y="46"/>
                    </a:lnTo>
                    <a:lnTo>
                      <a:pt x="9" y="47"/>
                    </a:lnTo>
                    <a:lnTo>
                      <a:pt x="9"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68" name="Freeform 82">
                <a:extLst>
                  <a:ext uri="{FF2B5EF4-FFF2-40B4-BE49-F238E27FC236}">
                    <a16:creationId xmlns:a16="http://schemas.microsoft.com/office/drawing/2014/main" id="{B89FD7BD-B4EF-4350-ACFB-39E498B15ED0}"/>
                  </a:ext>
                </a:extLst>
              </p:cNvPr>
              <p:cNvSpPr>
                <a:spLocks/>
              </p:cNvSpPr>
              <p:nvPr/>
            </p:nvSpPr>
            <p:spPr bwMode="auto">
              <a:xfrm>
                <a:off x="4000501" y="841375"/>
                <a:ext cx="134938" cy="25400"/>
              </a:xfrm>
              <a:custGeom>
                <a:avLst/>
                <a:gdLst>
                  <a:gd name="T0" fmla="*/ 9 w 253"/>
                  <a:gd name="T1" fmla="*/ 48 h 48"/>
                  <a:gd name="T2" fmla="*/ 9 w 253"/>
                  <a:gd name="T3" fmla="*/ 48 h 48"/>
                  <a:gd name="T4" fmla="*/ 5 w 253"/>
                  <a:gd name="T5" fmla="*/ 47 h 48"/>
                  <a:gd name="T6" fmla="*/ 1 w 253"/>
                  <a:gd name="T7" fmla="*/ 44 h 48"/>
                  <a:gd name="T8" fmla="*/ 1 w 253"/>
                  <a:gd name="T9" fmla="*/ 44 h 48"/>
                  <a:gd name="T10" fmla="*/ 0 w 253"/>
                  <a:gd name="T11" fmla="*/ 40 h 48"/>
                  <a:gd name="T12" fmla="*/ 0 w 253"/>
                  <a:gd name="T13" fmla="*/ 37 h 48"/>
                  <a:gd name="T14" fmla="*/ 1 w 253"/>
                  <a:gd name="T15" fmla="*/ 33 h 48"/>
                  <a:gd name="T16" fmla="*/ 5 w 253"/>
                  <a:gd name="T17" fmla="*/ 31 h 48"/>
                  <a:gd name="T18" fmla="*/ 5 w 253"/>
                  <a:gd name="T19" fmla="*/ 31 h 48"/>
                  <a:gd name="T20" fmla="*/ 15 w 253"/>
                  <a:gd name="T21" fmla="*/ 25 h 48"/>
                  <a:gd name="T22" fmla="*/ 27 w 253"/>
                  <a:gd name="T23" fmla="*/ 19 h 48"/>
                  <a:gd name="T24" fmla="*/ 39 w 253"/>
                  <a:gd name="T25" fmla="*/ 15 h 48"/>
                  <a:gd name="T26" fmla="*/ 52 w 253"/>
                  <a:gd name="T27" fmla="*/ 10 h 48"/>
                  <a:gd name="T28" fmla="*/ 66 w 253"/>
                  <a:gd name="T29" fmla="*/ 7 h 48"/>
                  <a:gd name="T30" fmla="*/ 81 w 253"/>
                  <a:gd name="T31" fmla="*/ 4 h 48"/>
                  <a:gd name="T32" fmla="*/ 96 w 253"/>
                  <a:gd name="T33" fmla="*/ 2 h 48"/>
                  <a:gd name="T34" fmla="*/ 112 w 253"/>
                  <a:gd name="T35" fmla="*/ 1 h 48"/>
                  <a:gd name="T36" fmla="*/ 129 w 253"/>
                  <a:gd name="T37" fmla="*/ 0 h 48"/>
                  <a:gd name="T38" fmla="*/ 145 w 253"/>
                  <a:gd name="T39" fmla="*/ 0 h 48"/>
                  <a:gd name="T40" fmla="*/ 161 w 253"/>
                  <a:gd name="T41" fmla="*/ 0 h 48"/>
                  <a:gd name="T42" fmla="*/ 179 w 253"/>
                  <a:gd name="T43" fmla="*/ 2 h 48"/>
                  <a:gd name="T44" fmla="*/ 196 w 253"/>
                  <a:gd name="T45" fmla="*/ 3 h 48"/>
                  <a:gd name="T46" fmla="*/ 212 w 253"/>
                  <a:gd name="T47" fmla="*/ 7 h 48"/>
                  <a:gd name="T48" fmla="*/ 230 w 253"/>
                  <a:gd name="T49" fmla="*/ 10 h 48"/>
                  <a:gd name="T50" fmla="*/ 246 w 253"/>
                  <a:gd name="T51" fmla="*/ 15 h 48"/>
                  <a:gd name="T52" fmla="*/ 246 w 253"/>
                  <a:gd name="T53" fmla="*/ 15 h 48"/>
                  <a:gd name="T54" fmla="*/ 249 w 253"/>
                  <a:gd name="T55" fmla="*/ 16 h 48"/>
                  <a:gd name="T56" fmla="*/ 252 w 253"/>
                  <a:gd name="T57" fmla="*/ 18 h 48"/>
                  <a:gd name="T58" fmla="*/ 253 w 253"/>
                  <a:gd name="T59" fmla="*/ 22 h 48"/>
                  <a:gd name="T60" fmla="*/ 253 w 253"/>
                  <a:gd name="T61" fmla="*/ 25 h 48"/>
                  <a:gd name="T62" fmla="*/ 253 w 253"/>
                  <a:gd name="T63" fmla="*/ 25 h 48"/>
                  <a:gd name="T64" fmla="*/ 250 w 253"/>
                  <a:gd name="T65" fmla="*/ 29 h 48"/>
                  <a:gd name="T66" fmla="*/ 248 w 253"/>
                  <a:gd name="T67" fmla="*/ 31 h 48"/>
                  <a:gd name="T68" fmla="*/ 245 w 253"/>
                  <a:gd name="T69" fmla="*/ 32 h 48"/>
                  <a:gd name="T70" fmla="*/ 241 w 253"/>
                  <a:gd name="T71" fmla="*/ 32 h 48"/>
                  <a:gd name="T72" fmla="*/ 241 w 253"/>
                  <a:gd name="T73" fmla="*/ 32 h 48"/>
                  <a:gd name="T74" fmla="*/ 224 w 253"/>
                  <a:gd name="T75" fmla="*/ 27 h 48"/>
                  <a:gd name="T76" fmla="*/ 206 w 253"/>
                  <a:gd name="T77" fmla="*/ 24 h 48"/>
                  <a:gd name="T78" fmla="*/ 189 w 253"/>
                  <a:gd name="T79" fmla="*/ 22 h 48"/>
                  <a:gd name="T80" fmla="*/ 172 w 253"/>
                  <a:gd name="T81" fmla="*/ 19 h 48"/>
                  <a:gd name="T82" fmla="*/ 155 w 253"/>
                  <a:gd name="T83" fmla="*/ 18 h 48"/>
                  <a:gd name="T84" fmla="*/ 139 w 253"/>
                  <a:gd name="T85" fmla="*/ 18 h 48"/>
                  <a:gd name="T86" fmla="*/ 123 w 253"/>
                  <a:gd name="T87" fmla="*/ 18 h 48"/>
                  <a:gd name="T88" fmla="*/ 108 w 253"/>
                  <a:gd name="T89" fmla="*/ 19 h 48"/>
                  <a:gd name="T90" fmla="*/ 80 w 253"/>
                  <a:gd name="T91" fmla="*/ 23 h 48"/>
                  <a:gd name="T92" fmla="*/ 55 w 253"/>
                  <a:gd name="T93" fmla="*/ 29 h 48"/>
                  <a:gd name="T94" fmla="*/ 43 w 253"/>
                  <a:gd name="T95" fmla="*/ 33 h 48"/>
                  <a:gd name="T96" fmla="*/ 33 w 253"/>
                  <a:gd name="T97" fmla="*/ 37 h 48"/>
                  <a:gd name="T98" fmla="*/ 23 w 253"/>
                  <a:gd name="T99" fmla="*/ 41 h 48"/>
                  <a:gd name="T100" fmla="*/ 14 w 253"/>
                  <a:gd name="T101" fmla="*/ 46 h 48"/>
                  <a:gd name="T102" fmla="*/ 14 w 253"/>
                  <a:gd name="T103" fmla="*/ 46 h 48"/>
                  <a:gd name="T104" fmla="*/ 12 w 253"/>
                  <a:gd name="T105" fmla="*/ 47 h 48"/>
                  <a:gd name="T106" fmla="*/ 9 w 253"/>
                  <a:gd name="T107" fmla="*/ 48 h 48"/>
                  <a:gd name="T108" fmla="*/ 9 w 253"/>
                  <a:gd name="T109"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53" h="48">
                    <a:moveTo>
                      <a:pt x="9" y="48"/>
                    </a:moveTo>
                    <a:lnTo>
                      <a:pt x="9" y="48"/>
                    </a:lnTo>
                    <a:lnTo>
                      <a:pt x="5" y="47"/>
                    </a:lnTo>
                    <a:lnTo>
                      <a:pt x="1" y="44"/>
                    </a:lnTo>
                    <a:lnTo>
                      <a:pt x="1" y="44"/>
                    </a:lnTo>
                    <a:lnTo>
                      <a:pt x="0" y="40"/>
                    </a:lnTo>
                    <a:lnTo>
                      <a:pt x="0" y="37"/>
                    </a:lnTo>
                    <a:lnTo>
                      <a:pt x="1" y="33"/>
                    </a:lnTo>
                    <a:lnTo>
                      <a:pt x="5" y="31"/>
                    </a:lnTo>
                    <a:lnTo>
                      <a:pt x="5" y="31"/>
                    </a:lnTo>
                    <a:lnTo>
                      <a:pt x="15" y="25"/>
                    </a:lnTo>
                    <a:lnTo>
                      <a:pt x="27" y="19"/>
                    </a:lnTo>
                    <a:lnTo>
                      <a:pt x="39" y="15"/>
                    </a:lnTo>
                    <a:lnTo>
                      <a:pt x="52" y="10"/>
                    </a:lnTo>
                    <a:lnTo>
                      <a:pt x="66" y="7"/>
                    </a:lnTo>
                    <a:lnTo>
                      <a:pt x="81" y="4"/>
                    </a:lnTo>
                    <a:lnTo>
                      <a:pt x="96" y="2"/>
                    </a:lnTo>
                    <a:lnTo>
                      <a:pt x="112" y="1"/>
                    </a:lnTo>
                    <a:lnTo>
                      <a:pt x="129" y="0"/>
                    </a:lnTo>
                    <a:lnTo>
                      <a:pt x="145" y="0"/>
                    </a:lnTo>
                    <a:lnTo>
                      <a:pt x="161" y="0"/>
                    </a:lnTo>
                    <a:lnTo>
                      <a:pt x="179" y="2"/>
                    </a:lnTo>
                    <a:lnTo>
                      <a:pt x="196" y="3"/>
                    </a:lnTo>
                    <a:lnTo>
                      <a:pt x="212" y="7"/>
                    </a:lnTo>
                    <a:lnTo>
                      <a:pt x="230" y="10"/>
                    </a:lnTo>
                    <a:lnTo>
                      <a:pt x="246" y="15"/>
                    </a:lnTo>
                    <a:lnTo>
                      <a:pt x="246" y="15"/>
                    </a:lnTo>
                    <a:lnTo>
                      <a:pt x="249" y="16"/>
                    </a:lnTo>
                    <a:lnTo>
                      <a:pt x="252" y="18"/>
                    </a:lnTo>
                    <a:lnTo>
                      <a:pt x="253" y="22"/>
                    </a:lnTo>
                    <a:lnTo>
                      <a:pt x="253" y="25"/>
                    </a:lnTo>
                    <a:lnTo>
                      <a:pt x="253" y="25"/>
                    </a:lnTo>
                    <a:lnTo>
                      <a:pt x="250" y="29"/>
                    </a:lnTo>
                    <a:lnTo>
                      <a:pt x="248" y="31"/>
                    </a:lnTo>
                    <a:lnTo>
                      <a:pt x="245" y="32"/>
                    </a:lnTo>
                    <a:lnTo>
                      <a:pt x="241" y="32"/>
                    </a:lnTo>
                    <a:lnTo>
                      <a:pt x="241" y="32"/>
                    </a:lnTo>
                    <a:lnTo>
                      <a:pt x="224" y="27"/>
                    </a:lnTo>
                    <a:lnTo>
                      <a:pt x="206" y="24"/>
                    </a:lnTo>
                    <a:lnTo>
                      <a:pt x="189" y="22"/>
                    </a:lnTo>
                    <a:lnTo>
                      <a:pt x="172" y="19"/>
                    </a:lnTo>
                    <a:lnTo>
                      <a:pt x="155" y="18"/>
                    </a:lnTo>
                    <a:lnTo>
                      <a:pt x="139" y="18"/>
                    </a:lnTo>
                    <a:lnTo>
                      <a:pt x="123" y="18"/>
                    </a:lnTo>
                    <a:lnTo>
                      <a:pt x="108" y="19"/>
                    </a:lnTo>
                    <a:lnTo>
                      <a:pt x="80" y="23"/>
                    </a:lnTo>
                    <a:lnTo>
                      <a:pt x="55" y="29"/>
                    </a:lnTo>
                    <a:lnTo>
                      <a:pt x="43" y="33"/>
                    </a:lnTo>
                    <a:lnTo>
                      <a:pt x="33" y="37"/>
                    </a:lnTo>
                    <a:lnTo>
                      <a:pt x="23" y="41"/>
                    </a:lnTo>
                    <a:lnTo>
                      <a:pt x="14" y="46"/>
                    </a:lnTo>
                    <a:lnTo>
                      <a:pt x="14" y="46"/>
                    </a:lnTo>
                    <a:lnTo>
                      <a:pt x="12" y="47"/>
                    </a:lnTo>
                    <a:lnTo>
                      <a:pt x="9" y="48"/>
                    </a:lnTo>
                    <a:lnTo>
                      <a:pt x="9"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469" name="Group 468">
            <a:extLst>
              <a:ext uri="{FF2B5EF4-FFF2-40B4-BE49-F238E27FC236}">
                <a16:creationId xmlns:a16="http://schemas.microsoft.com/office/drawing/2014/main" id="{0474A7DB-934A-4232-8D53-3CEC4696641E}"/>
              </a:ext>
            </a:extLst>
          </p:cNvPr>
          <p:cNvGrpSpPr/>
          <p:nvPr/>
        </p:nvGrpSpPr>
        <p:grpSpPr>
          <a:xfrm>
            <a:off x="4613483" y="4641612"/>
            <a:ext cx="612775" cy="612775"/>
            <a:chOff x="4236732" y="3032119"/>
            <a:chExt cx="612775" cy="612775"/>
          </a:xfrm>
          <a:solidFill>
            <a:srgbClr val="505050"/>
          </a:solidFill>
        </p:grpSpPr>
        <p:sp>
          <p:nvSpPr>
            <p:cNvPr id="470" name="Oval 469">
              <a:extLst>
                <a:ext uri="{FF2B5EF4-FFF2-40B4-BE49-F238E27FC236}">
                  <a16:creationId xmlns:a16="http://schemas.microsoft.com/office/drawing/2014/main" id="{3AC16DDD-40B8-4601-B64E-159606186F4C}"/>
                </a:ext>
              </a:extLst>
            </p:cNvPr>
            <p:cNvSpPr/>
            <p:nvPr/>
          </p:nvSpPr>
          <p:spPr bwMode="ltGray">
            <a:xfrm>
              <a:off x="423673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71" name="AutoShape 199">
              <a:extLst>
                <a:ext uri="{FF2B5EF4-FFF2-40B4-BE49-F238E27FC236}">
                  <a16:creationId xmlns:a16="http://schemas.microsoft.com/office/drawing/2014/main" id="{AD04BA5E-EFEC-4679-A7EB-C8410FBE9321}"/>
                </a:ext>
              </a:extLst>
            </p:cNvPr>
            <p:cNvSpPr>
              <a:spLocks noChangeAspect="1" noChangeArrowheads="1" noTextEdit="1"/>
            </p:cNvSpPr>
            <p:nvPr/>
          </p:nvSpPr>
          <p:spPr bwMode="auto">
            <a:xfrm rot="20140207">
              <a:off x="4386919" y="3142423"/>
              <a:ext cx="306896" cy="433911"/>
            </a:xfrm>
            <a:prstGeom prst="rect">
              <a:avLst/>
            </a:prstGeom>
            <a:noFill/>
            <a:ln w="9525">
              <a:noFill/>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72" name="Freeform 46">
              <a:extLst>
                <a:ext uri="{FF2B5EF4-FFF2-40B4-BE49-F238E27FC236}">
                  <a16:creationId xmlns:a16="http://schemas.microsoft.com/office/drawing/2014/main" id="{59D8C99B-7D41-4162-B387-C35BE7E3E3A7}"/>
                </a:ext>
              </a:extLst>
            </p:cNvPr>
            <p:cNvSpPr>
              <a:spLocks noEditPoints="1"/>
            </p:cNvSpPr>
            <p:nvPr/>
          </p:nvSpPr>
          <p:spPr bwMode="auto">
            <a:xfrm>
              <a:off x="4362377" y="3135779"/>
              <a:ext cx="374650" cy="377825"/>
            </a:xfrm>
            <a:custGeom>
              <a:avLst/>
              <a:gdLst>
                <a:gd name="T0" fmla="*/ 227 w 710"/>
                <a:gd name="T1" fmla="*/ 508 h 713"/>
                <a:gd name="T2" fmla="*/ 208 w 710"/>
                <a:gd name="T3" fmla="*/ 506 h 713"/>
                <a:gd name="T4" fmla="*/ 189 w 710"/>
                <a:gd name="T5" fmla="*/ 507 h 713"/>
                <a:gd name="T6" fmla="*/ 170 w 710"/>
                <a:gd name="T7" fmla="*/ 513 h 713"/>
                <a:gd name="T8" fmla="*/ 152 w 710"/>
                <a:gd name="T9" fmla="*/ 524 h 713"/>
                <a:gd name="T10" fmla="*/ 135 w 710"/>
                <a:gd name="T11" fmla="*/ 539 h 713"/>
                <a:gd name="T12" fmla="*/ 119 w 710"/>
                <a:gd name="T13" fmla="*/ 561 h 713"/>
                <a:gd name="T14" fmla="*/ 105 w 710"/>
                <a:gd name="T15" fmla="*/ 588 h 713"/>
                <a:gd name="T16" fmla="*/ 93 w 710"/>
                <a:gd name="T17" fmla="*/ 619 h 713"/>
                <a:gd name="T18" fmla="*/ 87 w 710"/>
                <a:gd name="T19" fmla="*/ 635 h 713"/>
                <a:gd name="T20" fmla="*/ 73 w 710"/>
                <a:gd name="T21" fmla="*/ 661 h 713"/>
                <a:gd name="T22" fmla="*/ 58 w 710"/>
                <a:gd name="T23" fmla="*/ 680 h 713"/>
                <a:gd name="T24" fmla="*/ 43 w 710"/>
                <a:gd name="T25" fmla="*/ 695 h 713"/>
                <a:gd name="T26" fmla="*/ 22 w 710"/>
                <a:gd name="T27" fmla="*/ 707 h 713"/>
                <a:gd name="T28" fmla="*/ 3 w 710"/>
                <a:gd name="T29" fmla="*/ 713 h 713"/>
                <a:gd name="T30" fmla="*/ 0 w 710"/>
                <a:gd name="T31" fmla="*/ 713 h 713"/>
                <a:gd name="T32" fmla="*/ 119 w 710"/>
                <a:gd name="T33" fmla="*/ 713 h 713"/>
                <a:gd name="T34" fmla="*/ 162 w 710"/>
                <a:gd name="T35" fmla="*/ 709 h 713"/>
                <a:gd name="T36" fmla="*/ 202 w 710"/>
                <a:gd name="T37" fmla="*/ 698 h 713"/>
                <a:gd name="T38" fmla="*/ 234 w 710"/>
                <a:gd name="T39" fmla="*/ 682 h 713"/>
                <a:gd name="T40" fmla="*/ 261 w 710"/>
                <a:gd name="T41" fmla="*/ 661 h 713"/>
                <a:gd name="T42" fmla="*/ 280 w 710"/>
                <a:gd name="T43" fmla="*/ 637 h 713"/>
                <a:gd name="T44" fmla="*/ 292 w 710"/>
                <a:gd name="T45" fmla="*/ 612 h 713"/>
                <a:gd name="T46" fmla="*/ 296 w 710"/>
                <a:gd name="T47" fmla="*/ 586 h 713"/>
                <a:gd name="T48" fmla="*/ 292 w 710"/>
                <a:gd name="T49" fmla="*/ 562 h 713"/>
                <a:gd name="T50" fmla="*/ 238 w 710"/>
                <a:gd name="T51" fmla="*/ 470 h 713"/>
                <a:gd name="T52" fmla="*/ 331 w 710"/>
                <a:gd name="T53" fmla="*/ 547 h 713"/>
                <a:gd name="T54" fmla="*/ 388 w 710"/>
                <a:gd name="T55" fmla="*/ 495 h 713"/>
                <a:gd name="T56" fmla="*/ 278 w 710"/>
                <a:gd name="T57" fmla="*/ 402 h 713"/>
                <a:gd name="T58" fmla="*/ 257 w 710"/>
                <a:gd name="T59" fmla="*/ 436 h 713"/>
                <a:gd name="T60" fmla="*/ 238 w 710"/>
                <a:gd name="T61" fmla="*/ 470 h 713"/>
                <a:gd name="T62" fmla="*/ 706 w 710"/>
                <a:gd name="T63" fmla="*/ 10 h 713"/>
                <a:gd name="T64" fmla="*/ 697 w 710"/>
                <a:gd name="T65" fmla="*/ 3 h 713"/>
                <a:gd name="T66" fmla="*/ 686 w 710"/>
                <a:gd name="T67" fmla="*/ 1 h 713"/>
                <a:gd name="T68" fmla="*/ 677 w 710"/>
                <a:gd name="T69" fmla="*/ 1 h 713"/>
                <a:gd name="T70" fmla="*/ 666 w 710"/>
                <a:gd name="T71" fmla="*/ 6 h 713"/>
                <a:gd name="T72" fmla="*/ 635 w 710"/>
                <a:gd name="T73" fmla="*/ 32 h 713"/>
                <a:gd name="T74" fmla="*/ 557 w 710"/>
                <a:gd name="T75" fmla="*/ 102 h 713"/>
                <a:gd name="T76" fmla="*/ 505 w 710"/>
                <a:gd name="T77" fmla="*/ 151 h 713"/>
                <a:gd name="T78" fmla="*/ 450 w 710"/>
                <a:gd name="T79" fmla="*/ 207 h 713"/>
                <a:gd name="T80" fmla="*/ 331 w 710"/>
                <a:gd name="T81" fmla="*/ 336 h 713"/>
                <a:gd name="T82" fmla="*/ 414 w 710"/>
                <a:gd name="T83" fmla="*/ 467 h 713"/>
                <a:gd name="T84" fmla="*/ 446 w 710"/>
                <a:gd name="T85" fmla="*/ 427 h 713"/>
                <a:gd name="T86" fmla="*/ 549 w 710"/>
                <a:gd name="T87" fmla="*/ 290 h 713"/>
                <a:gd name="T88" fmla="*/ 594 w 710"/>
                <a:gd name="T89" fmla="*/ 226 h 713"/>
                <a:gd name="T90" fmla="*/ 633 w 710"/>
                <a:gd name="T91" fmla="*/ 167 h 713"/>
                <a:gd name="T92" fmla="*/ 689 w 710"/>
                <a:gd name="T93" fmla="*/ 77 h 713"/>
                <a:gd name="T94" fmla="*/ 708 w 710"/>
                <a:gd name="T95" fmla="*/ 41 h 713"/>
                <a:gd name="T96" fmla="*/ 710 w 710"/>
                <a:gd name="T97" fmla="*/ 26 h 713"/>
                <a:gd name="T98" fmla="*/ 706 w 710"/>
                <a:gd name="T99" fmla="*/ 10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10" h="713">
                  <a:moveTo>
                    <a:pt x="227" y="508"/>
                  </a:moveTo>
                  <a:lnTo>
                    <a:pt x="227" y="508"/>
                  </a:lnTo>
                  <a:lnTo>
                    <a:pt x="218" y="507"/>
                  </a:lnTo>
                  <a:lnTo>
                    <a:pt x="208" y="506"/>
                  </a:lnTo>
                  <a:lnTo>
                    <a:pt x="198" y="506"/>
                  </a:lnTo>
                  <a:lnTo>
                    <a:pt x="189" y="507"/>
                  </a:lnTo>
                  <a:lnTo>
                    <a:pt x="179" y="509"/>
                  </a:lnTo>
                  <a:lnTo>
                    <a:pt x="170" y="513"/>
                  </a:lnTo>
                  <a:lnTo>
                    <a:pt x="161" y="518"/>
                  </a:lnTo>
                  <a:lnTo>
                    <a:pt x="152" y="524"/>
                  </a:lnTo>
                  <a:lnTo>
                    <a:pt x="143" y="531"/>
                  </a:lnTo>
                  <a:lnTo>
                    <a:pt x="135" y="539"/>
                  </a:lnTo>
                  <a:lnTo>
                    <a:pt x="128" y="549"/>
                  </a:lnTo>
                  <a:lnTo>
                    <a:pt x="119" y="561"/>
                  </a:lnTo>
                  <a:lnTo>
                    <a:pt x="112" y="573"/>
                  </a:lnTo>
                  <a:lnTo>
                    <a:pt x="105" y="588"/>
                  </a:lnTo>
                  <a:lnTo>
                    <a:pt x="99" y="602"/>
                  </a:lnTo>
                  <a:lnTo>
                    <a:pt x="93" y="619"/>
                  </a:lnTo>
                  <a:lnTo>
                    <a:pt x="93" y="619"/>
                  </a:lnTo>
                  <a:lnTo>
                    <a:pt x="87" y="635"/>
                  </a:lnTo>
                  <a:lnTo>
                    <a:pt x="81" y="649"/>
                  </a:lnTo>
                  <a:lnTo>
                    <a:pt x="73" y="661"/>
                  </a:lnTo>
                  <a:lnTo>
                    <a:pt x="66" y="672"/>
                  </a:lnTo>
                  <a:lnTo>
                    <a:pt x="58" y="680"/>
                  </a:lnTo>
                  <a:lnTo>
                    <a:pt x="51" y="689"/>
                  </a:lnTo>
                  <a:lnTo>
                    <a:pt x="43" y="695"/>
                  </a:lnTo>
                  <a:lnTo>
                    <a:pt x="35" y="700"/>
                  </a:lnTo>
                  <a:lnTo>
                    <a:pt x="22" y="707"/>
                  </a:lnTo>
                  <a:lnTo>
                    <a:pt x="11" y="711"/>
                  </a:lnTo>
                  <a:lnTo>
                    <a:pt x="3" y="713"/>
                  </a:lnTo>
                  <a:lnTo>
                    <a:pt x="0" y="713"/>
                  </a:lnTo>
                  <a:lnTo>
                    <a:pt x="0" y="713"/>
                  </a:lnTo>
                  <a:lnTo>
                    <a:pt x="119" y="713"/>
                  </a:lnTo>
                  <a:lnTo>
                    <a:pt x="119" y="713"/>
                  </a:lnTo>
                  <a:lnTo>
                    <a:pt x="142" y="712"/>
                  </a:lnTo>
                  <a:lnTo>
                    <a:pt x="162" y="709"/>
                  </a:lnTo>
                  <a:lnTo>
                    <a:pt x="183" y="704"/>
                  </a:lnTo>
                  <a:lnTo>
                    <a:pt x="202" y="698"/>
                  </a:lnTo>
                  <a:lnTo>
                    <a:pt x="219" y="690"/>
                  </a:lnTo>
                  <a:lnTo>
                    <a:pt x="234" y="682"/>
                  </a:lnTo>
                  <a:lnTo>
                    <a:pt x="248" y="672"/>
                  </a:lnTo>
                  <a:lnTo>
                    <a:pt x="261" y="661"/>
                  </a:lnTo>
                  <a:lnTo>
                    <a:pt x="272" y="649"/>
                  </a:lnTo>
                  <a:lnTo>
                    <a:pt x="280" y="637"/>
                  </a:lnTo>
                  <a:lnTo>
                    <a:pt x="287" y="625"/>
                  </a:lnTo>
                  <a:lnTo>
                    <a:pt x="292" y="612"/>
                  </a:lnTo>
                  <a:lnTo>
                    <a:pt x="296" y="600"/>
                  </a:lnTo>
                  <a:lnTo>
                    <a:pt x="296" y="586"/>
                  </a:lnTo>
                  <a:lnTo>
                    <a:pt x="296" y="574"/>
                  </a:lnTo>
                  <a:lnTo>
                    <a:pt x="292" y="562"/>
                  </a:lnTo>
                  <a:lnTo>
                    <a:pt x="227" y="508"/>
                  </a:lnTo>
                  <a:close/>
                  <a:moveTo>
                    <a:pt x="238" y="470"/>
                  </a:moveTo>
                  <a:lnTo>
                    <a:pt x="331" y="547"/>
                  </a:lnTo>
                  <a:lnTo>
                    <a:pt x="331" y="547"/>
                  </a:lnTo>
                  <a:lnTo>
                    <a:pt x="359" y="521"/>
                  </a:lnTo>
                  <a:lnTo>
                    <a:pt x="388" y="495"/>
                  </a:lnTo>
                  <a:lnTo>
                    <a:pt x="278" y="402"/>
                  </a:lnTo>
                  <a:lnTo>
                    <a:pt x="278" y="402"/>
                  </a:lnTo>
                  <a:lnTo>
                    <a:pt x="267" y="419"/>
                  </a:lnTo>
                  <a:lnTo>
                    <a:pt x="257" y="436"/>
                  </a:lnTo>
                  <a:lnTo>
                    <a:pt x="238" y="470"/>
                  </a:lnTo>
                  <a:lnTo>
                    <a:pt x="238" y="470"/>
                  </a:lnTo>
                  <a:close/>
                  <a:moveTo>
                    <a:pt x="706" y="10"/>
                  </a:moveTo>
                  <a:lnTo>
                    <a:pt x="706" y="10"/>
                  </a:lnTo>
                  <a:lnTo>
                    <a:pt x="702" y="7"/>
                  </a:lnTo>
                  <a:lnTo>
                    <a:pt x="697" y="3"/>
                  </a:lnTo>
                  <a:lnTo>
                    <a:pt x="692" y="2"/>
                  </a:lnTo>
                  <a:lnTo>
                    <a:pt x="686" y="1"/>
                  </a:lnTo>
                  <a:lnTo>
                    <a:pt x="682" y="0"/>
                  </a:lnTo>
                  <a:lnTo>
                    <a:pt x="677" y="1"/>
                  </a:lnTo>
                  <a:lnTo>
                    <a:pt x="671" y="3"/>
                  </a:lnTo>
                  <a:lnTo>
                    <a:pt x="666" y="6"/>
                  </a:lnTo>
                  <a:lnTo>
                    <a:pt x="666" y="6"/>
                  </a:lnTo>
                  <a:lnTo>
                    <a:pt x="635" y="32"/>
                  </a:lnTo>
                  <a:lnTo>
                    <a:pt x="600" y="62"/>
                  </a:lnTo>
                  <a:lnTo>
                    <a:pt x="557" y="102"/>
                  </a:lnTo>
                  <a:lnTo>
                    <a:pt x="557" y="102"/>
                  </a:lnTo>
                  <a:lnTo>
                    <a:pt x="505" y="151"/>
                  </a:lnTo>
                  <a:lnTo>
                    <a:pt x="450" y="207"/>
                  </a:lnTo>
                  <a:lnTo>
                    <a:pt x="450" y="207"/>
                  </a:lnTo>
                  <a:lnTo>
                    <a:pt x="377" y="285"/>
                  </a:lnTo>
                  <a:lnTo>
                    <a:pt x="331" y="336"/>
                  </a:lnTo>
                  <a:lnTo>
                    <a:pt x="298" y="372"/>
                  </a:lnTo>
                  <a:lnTo>
                    <a:pt x="414" y="467"/>
                  </a:lnTo>
                  <a:lnTo>
                    <a:pt x="414" y="467"/>
                  </a:lnTo>
                  <a:lnTo>
                    <a:pt x="446" y="427"/>
                  </a:lnTo>
                  <a:lnTo>
                    <a:pt x="487" y="373"/>
                  </a:lnTo>
                  <a:lnTo>
                    <a:pt x="549" y="290"/>
                  </a:lnTo>
                  <a:lnTo>
                    <a:pt x="549" y="290"/>
                  </a:lnTo>
                  <a:lnTo>
                    <a:pt x="594" y="226"/>
                  </a:lnTo>
                  <a:lnTo>
                    <a:pt x="633" y="167"/>
                  </a:lnTo>
                  <a:lnTo>
                    <a:pt x="633" y="167"/>
                  </a:lnTo>
                  <a:lnTo>
                    <a:pt x="665" y="116"/>
                  </a:lnTo>
                  <a:lnTo>
                    <a:pt x="689" y="77"/>
                  </a:lnTo>
                  <a:lnTo>
                    <a:pt x="708" y="41"/>
                  </a:lnTo>
                  <a:lnTo>
                    <a:pt x="708" y="41"/>
                  </a:lnTo>
                  <a:lnTo>
                    <a:pt x="710" y="33"/>
                  </a:lnTo>
                  <a:lnTo>
                    <a:pt x="710" y="26"/>
                  </a:lnTo>
                  <a:lnTo>
                    <a:pt x="709" y="18"/>
                  </a:lnTo>
                  <a:lnTo>
                    <a:pt x="706" y="10"/>
                  </a:lnTo>
                  <a:lnTo>
                    <a:pt x="706" y="1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73" name="Group 472">
            <a:extLst>
              <a:ext uri="{FF2B5EF4-FFF2-40B4-BE49-F238E27FC236}">
                <a16:creationId xmlns:a16="http://schemas.microsoft.com/office/drawing/2014/main" id="{514BD704-3620-47C1-B3C9-9255532FA31E}"/>
              </a:ext>
            </a:extLst>
          </p:cNvPr>
          <p:cNvGrpSpPr/>
          <p:nvPr/>
        </p:nvGrpSpPr>
        <p:grpSpPr>
          <a:xfrm>
            <a:off x="5446499" y="4641612"/>
            <a:ext cx="612775" cy="612775"/>
            <a:chOff x="4965517" y="3032119"/>
            <a:chExt cx="612775" cy="612775"/>
          </a:xfrm>
          <a:solidFill>
            <a:srgbClr val="505050"/>
          </a:solidFill>
        </p:grpSpPr>
        <p:sp>
          <p:nvSpPr>
            <p:cNvPr id="474" name="Oval 473">
              <a:extLst>
                <a:ext uri="{FF2B5EF4-FFF2-40B4-BE49-F238E27FC236}">
                  <a16:creationId xmlns:a16="http://schemas.microsoft.com/office/drawing/2014/main" id="{519239ED-F002-403B-BECE-D69E4F37A3E4}"/>
                </a:ext>
              </a:extLst>
            </p:cNvPr>
            <p:cNvSpPr/>
            <p:nvPr/>
          </p:nvSpPr>
          <p:spPr bwMode="ltGray">
            <a:xfrm>
              <a:off x="4965517"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75" name="AutoShape 257">
              <a:extLst>
                <a:ext uri="{FF2B5EF4-FFF2-40B4-BE49-F238E27FC236}">
                  <a16:creationId xmlns:a16="http://schemas.microsoft.com/office/drawing/2014/main" id="{1D75FB42-6CF1-4ECA-BA8B-9F65C8A25E35}"/>
                </a:ext>
              </a:extLst>
            </p:cNvPr>
            <p:cNvSpPr>
              <a:spLocks noChangeArrowheads="1"/>
            </p:cNvSpPr>
            <p:nvPr/>
          </p:nvSpPr>
          <p:spPr bwMode="auto">
            <a:xfrm rot="2192002">
              <a:off x="5091292" y="3148001"/>
              <a:ext cx="380537" cy="379855"/>
            </a:xfrm>
            <a:custGeom>
              <a:avLst/>
              <a:gdLst>
                <a:gd name="T0" fmla="*/ 0 w 21600"/>
                <a:gd name="T1" fmla="*/ 1 h 21600"/>
                <a:gd name="T2" fmla="*/ 1 w 21600"/>
                <a:gd name="T3" fmla="*/ 0 h 21600"/>
                <a:gd name="T4" fmla="*/ 0 w 21600"/>
                <a:gd name="T5" fmla="*/ 0 h 21600"/>
                <a:gd name="T6" fmla="*/ 0 w 21600"/>
                <a:gd name="T7" fmla="*/ 0 h 21600"/>
                <a:gd name="T8" fmla="*/ 0 60000 65536"/>
                <a:gd name="T9" fmla="*/ 0 60000 65536"/>
                <a:gd name="T10" fmla="*/ 0 60000 65536"/>
                <a:gd name="T11" fmla="*/ 0 60000 65536"/>
                <a:gd name="T12" fmla="*/ 15974 w 21600"/>
                <a:gd name="T13" fmla="*/ 0 h 21600"/>
                <a:gd name="T14" fmla="*/ 5626 w 21600"/>
                <a:gd name="T15" fmla="*/ 10715 h 21600"/>
              </a:gdLst>
              <a:ahLst/>
              <a:cxnLst>
                <a:cxn ang="T8">
                  <a:pos x="T0" y="T1"/>
                </a:cxn>
                <a:cxn ang="T9">
                  <a:pos x="T2" y="T3"/>
                </a:cxn>
                <a:cxn ang="T10">
                  <a:pos x="T4" y="T5"/>
                </a:cxn>
                <a:cxn ang="T11">
                  <a:pos x="T6" y="T7"/>
                </a:cxn>
              </a:cxnLst>
              <a:rect l="T12" t="T13" r="T14" b="T15"/>
              <a:pathLst>
                <a:path w="21600" h="21600">
                  <a:moveTo>
                    <a:pt x="10856" y="10715"/>
                  </a:moveTo>
                  <a:cubicBezTo>
                    <a:pt x="10885" y="10734"/>
                    <a:pt x="10902" y="10765"/>
                    <a:pt x="10902" y="10800"/>
                  </a:cubicBezTo>
                  <a:cubicBezTo>
                    <a:pt x="10902" y="10856"/>
                    <a:pt x="10856" y="10902"/>
                    <a:pt x="10800" y="10902"/>
                  </a:cubicBezTo>
                  <a:cubicBezTo>
                    <a:pt x="10743" y="10902"/>
                    <a:pt x="10698" y="10856"/>
                    <a:pt x="10698" y="10800"/>
                  </a:cubicBezTo>
                  <a:cubicBezTo>
                    <a:pt x="10697" y="10765"/>
                    <a:pt x="10714" y="10734"/>
                    <a:pt x="10743" y="10715"/>
                  </a:cubicBezTo>
                  <a:lnTo>
                    <a:pt x="4784" y="1830"/>
                  </a:lnTo>
                  <a:cubicBezTo>
                    <a:pt x="1794" y="3835"/>
                    <a:pt x="-1" y="7199"/>
                    <a:pt x="0" y="10800"/>
                  </a:cubicBezTo>
                  <a:cubicBezTo>
                    <a:pt x="0" y="16764"/>
                    <a:pt x="4835" y="21600"/>
                    <a:pt x="10800" y="21600"/>
                  </a:cubicBezTo>
                  <a:cubicBezTo>
                    <a:pt x="16764" y="21600"/>
                    <a:pt x="21600" y="16764"/>
                    <a:pt x="21600" y="10800"/>
                  </a:cubicBezTo>
                  <a:cubicBezTo>
                    <a:pt x="21600" y="7199"/>
                    <a:pt x="19805" y="3835"/>
                    <a:pt x="16815" y="1830"/>
                  </a:cubicBezTo>
                  <a:close/>
                </a:path>
              </a:pathLst>
            </a:custGeom>
            <a:solidFill>
              <a:srgbClr val="505050"/>
            </a:solidFill>
            <a:ln w="317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nvGrpSpPr>
            <p:cNvPr id="476" name="Group 248">
              <a:extLst>
                <a:ext uri="{FF2B5EF4-FFF2-40B4-BE49-F238E27FC236}">
                  <a16:creationId xmlns:a16="http://schemas.microsoft.com/office/drawing/2014/main" id="{815CC25B-C20C-4269-A2AB-84AB32D68D27}"/>
                </a:ext>
              </a:extLst>
            </p:cNvPr>
            <p:cNvGrpSpPr>
              <a:grpSpLocks/>
            </p:cNvGrpSpPr>
            <p:nvPr/>
          </p:nvGrpSpPr>
          <p:grpSpPr bwMode="auto">
            <a:xfrm rot="2883932">
              <a:off x="5227642" y="3092472"/>
              <a:ext cx="116932" cy="445188"/>
              <a:chOff x="1281" y="3862"/>
              <a:chExt cx="210" cy="1179"/>
            </a:xfrm>
            <a:grpFill/>
          </p:grpSpPr>
          <p:sp>
            <p:nvSpPr>
              <p:cNvPr id="477" name="Freeform 249">
                <a:extLst>
                  <a:ext uri="{FF2B5EF4-FFF2-40B4-BE49-F238E27FC236}">
                    <a16:creationId xmlns:a16="http://schemas.microsoft.com/office/drawing/2014/main" id="{2DD64DF2-DA40-4E6B-84D5-86A1AAEB511D}"/>
                  </a:ext>
                </a:extLst>
              </p:cNvPr>
              <p:cNvSpPr>
                <a:spLocks/>
              </p:cNvSpPr>
              <p:nvPr/>
            </p:nvSpPr>
            <p:spPr bwMode="auto">
              <a:xfrm>
                <a:off x="1281" y="3862"/>
                <a:ext cx="210" cy="1179"/>
              </a:xfrm>
              <a:custGeom>
                <a:avLst/>
                <a:gdLst>
                  <a:gd name="T0" fmla="*/ 77 w 308"/>
                  <a:gd name="T1" fmla="*/ 10 h 1718"/>
                  <a:gd name="T2" fmla="*/ 67 w 308"/>
                  <a:gd name="T3" fmla="*/ 10 h 1718"/>
                  <a:gd name="T4" fmla="*/ 5 w 308"/>
                  <a:gd name="T5" fmla="*/ 214 h 1718"/>
                  <a:gd name="T6" fmla="*/ 0 w 308"/>
                  <a:gd name="T7" fmla="*/ 259 h 1718"/>
                  <a:gd name="T8" fmla="*/ 0 w 308"/>
                  <a:gd name="T9" fmla="*/ 782 h 1718"/>
                  <a:gd name="T10" fmla="*/ 8 w 308"/>
                  <a:gd name="T11" fmla="*/ 809 h 1718"/>
                  <a:gd name="T12" fmla="*/ 136 w 308"/>
                  <a:gd name="T13" fmla="*/ 809 h 1718"/>
                  <a:gd name="T14" fmla="*/ 143 w 308"/>
                  <a:gd name="T15" fmla="*/ 782 h 1718"/>
                  <a:gd name="T16" fmla="*/ 143 w 308"/>
                  <a:gd name="T17" fmla="*/ 259 h 1718"/>
                  <a:gd name="T18" fmla="*/ 138 w 308"/>
                  <a:gd name="T19" fmla="*/ 214 h 1718"/>
                  <a:gd name="T20" fmla="*/ 77 w 308"/>
                  <a:gd name="T21" fmla="*/ 10 h 17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08"/>
                  <a:gd name="T34" fmla="*/ 0 h 1718"/>
                  <a:gd name="T35" fmla="*/ 308 w 308"/>
                  <a:gd name="T36" fmla="*/ 1718 h 17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08" h="1718">
                    <a:moveTo>
                      <a:pt x="166" y="21"/>
                    </a:moveTo>
                    <a:cubicBezTo>
                      <a:pt x="160" y="0"/>
                      <a:pt x="149" y="0"/>
                      <a:pt x="143" y="21"/>
                    </a:cubicBezTo>
                    <a:cubicBezTo>
                      <a:pt x="12" y="455"/>
                      <a:pt x="12" y="455"/>
                      <a:pt x="12" y="455"/>
                    </a:cubicBezTo>
                    <a:cubicBezTo>
                      <a:pt x="6" y="476"/>
                      <a:pt x="0" y="519"/>
                      <a:pt x="0" y="551"/>
                    </a:cubicBezTo>
                    <a:cubicBezTo>
                      <a:pt x="0" y="1661"/>
                      <a:pt x="0" y="1661"/>
                      <a:pt x="0" y="1661"/>
                    </a:cubicBezTo>
                    <a:cubicBezTo>
                      <a:pt x="0" y="1692"/>
                      <a:pt x="8" y="1718"/>
                      <a:pt x="17" y="1718"/>
                    </a:cubicBezTo>
                    <a:cubicBezTo>
                      <a:pt x="292" y="1718"/>
                      <a:pt x="292" y="1718"/>
                      <a:pt x="292" y="1718"/>
                    </a:cubicBezTo>
                    <a:cubicBezTo>
                      <a:pt x="301" y="1718"/>
                      <a:pt x="308" y="1692"/>
                      <a:pt x="308" y="1661"/>
                    </a:cubicBezTo>
                    <a:cubicBezTo>
                      <a:pt x="308" y="551"/>
                      <a:pt x="308" y="551"/>
                      <a:pt x="308" y="551"/>
                    </a:cubicBezTo>
                    <a:cubicBezTo>
                      <a:pt x="308" y="519"/>
                      <a:pt x="303" y="476"/>
                      <a:pt x="297" y="455"/>
                    </a:cubicBezTo>
                    <a:lnTo>
                      <a:pt x="166" y="21"/>
                    </a:lnTo>
                    <a:close/>
                  </a:path>
                </a:pathLst>
              </a:custGeom>
              <a:noFill/>
              <a:ln w="30163" cap="flat">
                <a:noFill/>
                <a:prstDash val="solid"/>
                <a:miter lim="800000"/>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478" name="AutoShape 250">
                <a:extLst>
                  <a:ext uri="{FF2B5EF4-FFF2-40B4-BE49-F238E27FC236}">
                    <a16:creationId xmlns:a16="http://schemas.microsoft.com/office/drawing/2014/main" id="{F0B16BB0-E704-43BB-8B0D-FF387EA98A74}"/>
                  </a:ext>
                </a:extLst>
              </p:cNvPr>
              <p:cNvSpPr>
                <a:spLocks noChangeArrowheads="1"/>
              </p:cNvSpPr>
              <p:nvPr/>
            </p:nvSpPr>
            <p:spPr bwMode="auto">
              <a:xfrm rot="10800000">
                <a:off x="1292" y="3988"/>
                <a:ext cx="188" cy="218"/>
              </a:xfrm>
              <a:custGeom>
                <a:avLst/>
                <a:gdLst>
                  <a:gd name="T0" fmla="*/ 0 w 21600"/>
                  <a:gd name="T1" fmla="*/ 0 h 21600"/>
                  <a:gd name="T2" fmla="*/ 0 w 21600"/>
                  <a:gd name="T3" fmla="*/ 0 h 21600"/>
                  <a:gd name="T4" fmla="*/ 0 w 21600"/>
                  <a:gd name="T5" fmla="*/ 0 h 21600"/>
                  <a:gd name="T6" fmla="*/ 0 w 21600"/>
                  <a:gd name="T7" fmla="*/ 0 h 21600"/>
                  <a:gd name="T8" fmla="*/ 0 60000 65536"/>
                  <a:gd name="T9" fmla="*/ 0 60000 65536"/>
                  <a:gd name="T10" fmla="*/ 0 60000 65536"/>
                  <a:gd name="T11" fmla="*/ 0 60000 65536"/>
                  <a:gd name="T12" fmla="*/ 6089 w 21600"/>
                  <a:gd name="T13" fmla="*/ 6143 h 21600"/>
                  <a:gd name="T14" fmla="*/ 15511 w 21600"/>
                  <a:gd name="T15" fmla="*/ 15457 h 21600"/>
                </a:gdLst>
                <a:ahLst/>
                <a:cxnLst>
                  <a:cxn ang="T8">
                    <a:pos x="T0" y="T1"/>
                  </a:cxn>
                  <a:cxn ang="T9">
                    <a:pos x="T2" y="T3"/>
                  </a:cxn>
                  <a:cxn ang="T10">
                    <a:pos x="T4" y="T5"/>
                  </a:cxn>
                  <a:cxn ang="T11">
                    <a:pos x="T6" y="T7"/>
                  </a:cxn>
                </a:cxnLst>
                <a:rect l="T12" t="T13" r="T14" b="T15"/>
                <a:pathLst>
                  <a:path w="21600" h="21600">
                    <a:moveTo>
                      <a:pt x="0" y="0"/>
                    </a:moveTo>
                    <a:lnTo>
                      <a:pt x="8639" y="21600"/>
                    </a:lnTo>
                    <a:lnTo>
                      <a:pt x="12961" y="21600"/>
                    </a:lnTo>
                    <a:lnTo>
                      <a:pt x="21600" y="0"/>
                    </a:lnTo>
                    <a:close/>
                  </a:path>
                </a:pathLst>
              </a:custGeom>
              <a:grp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479" name="Group 478">
            <a:extLst>
              <a:ext uri="{FF2B5EF4-FFF2-40B4-BE49-F238E27FC236}">
                <a16:creationId xmlns:a16="http://schemas.microsoft.com/office/drawing/2014/main" id="{F41DDF49-226F-4D68-9DD4-34F9552FA166}"/>
              </a:ext>
            </a:extLst>
          </p:cNvPr>
          <p:cNvGrpSpPr/>
          <p:nvPr/>
        </p:nvGrpSpPr>
        <p:grpSpPr>
          <a:xfrm>
            <a:off x="8773415" y="3133752"/>
            <a:ext cx="612775" cy="612775"/>
            <a:chOff x="1321592" y="3032119"/>
            <a:chExt cx="612775" cy="612775"/>
          </a:xfrm>
          <a:solidFill>
            <a:srgbClr val="505050"/>
          </a:solidFill>
        </p:grpSpPr>
        <p:sp>
          <p:nvSpPr>
            <p:cNvPr id="480" name="Oval 479">
              <a:extLst>
                <a:ext uri="{FF2B5EF4-FFF2-40B4-BE49-F238E27FC236}">
                  <a16:creationId xmlns:a16="http://schemas.microsoft.com/office/drawing/2014/main" id="{42B75497-4673-4F7F-B28A-113391D33C5F}"/>
                </a:ext>
              </a:extLst>
            </p:cNvPr>
            <p:cNvSpPr/>
            <p:nvPr/>
          </p:nvSpPr>
          <p:spPr bwMode="ltGray">
            <a:xfrm>
              <a:off x="132159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81" name="Freeform 22">
              <a:extLst>
                <a:ext uri="{FF2B5EF4-FFF2-40B4-BE49-F238E27FC236}">
                  <a16:creationId xmlns:a16="http://schemas.microsoft.com/office/drawing/2014/main" id="{B4BB477D-CA57-44BE-BE6C-10C4BD05BEF5}"/>
                </a:ext>
              </a:extLst>
            </p:cNvPr>
            <p:cNvSpPr>
              <a:spLocks noEditPoints="1"/>
            </p:cNvSpPr>
            <p:nvPr/>
          </p:nvSpPr>
          <p:spPr bwMode="auto">
            <a:xfrm>
              <a:off x="1432523" y="3225604"/>
              <a:ext cx="432000" cy="288000"/>
            </a:xfrm>
            <a:custGeom>
              <a:avLst/>
              <a:gdLst>
                <a:gd name="T0" fmla="*/ 954 w 956"/>
                <a:gd name="T1" fmla="*/ 220 h 611"/>
                <a:gd name="T2" fmla="*/ 944 w 956"/>
                <a:gd name="T3" fmla="*/ 213 h 611"/>
                <a:gd name="T4" fmla="*/ 15 w 956"/>
                <a:gd name="T5" fmla="*/ 0 h 611"/>
                <a:gd name="T6" fmla="*/ 2 w 956"/>
                <a:gd name="T7" fmla="*/ 8 h 611"/>
                <a:gd name="T8" fmla="*/ 0 w 956"/>
                <a:gd name="T9" fmla="*/ 18 h 611"/>
                <a:gd name="T10" fmla="*/ 492 w 956"/>
                <a:gd name="T11" fmla="*/ 605 h 611"/>
                <a:gd name="T12" fmla="*/ 497 w 956"/>
                <a:gd name="T13" fmla="*/ 609 h 611"/>
                <a:gd name="T14" fmla="*/ 504 w 956"/>
                <a:gd name="T15" fmla="*/ 611 h 611"/>
                <a:gd name="T16" fmla="*/ 951 w 956"/>
                <a:gd name="T17" fmla="*/ 242 h 611"/>
                <a:gd name="T18" fmla="*/ 955 w 956"/>
                <a:gd name="T19" fmla="*/ 234 h 611"/>
                <a:gd name="T20" fmla="*/ 956 w 956"/>
                <a:gd name="T21" fmla="*/ 224 h 611"/>
                <a:gd name="T22" fmla="*/ 489 w 956"/>
                <a:gd name="T23" fmla="*/ 487 h 611"/>
                <a:gd name="T24" fmla="*/ 494 w 956"/>
                <a:gd name="T25" fmla="*/ 479 h 611"/>
                <a:gd name="T26" fmla="*/ 492 w 956"/>
                <a:gd name="T27" fmla="*/ 468 h 611"/>
                <a:gd name="T28" fmla="*/ 478 w 956"/>
                <a:gd name="T29" fmla="*/ 465 h 611"/>
                <a:gd name="T30" fmla="*/ 390 w 956"/>
                <a:gd name="T31" fmla="*/ 433 h 611"/>
                <a:gd name="T32" fmla="*/ 410 w 956"/>
                <a:gd name="T33" fmla="*/ 414 h 611"/>
                <a:gd name="T34" fmla="*/ 409 w 956"/>
                <a:gd name="T35" fmla="*/ 399 h 611"/>
                <a:gd name="T36" fmla="*/ 400 w 956"/>
                <a:gd name="T37" fmla="*/ 394 h 611"/>
                <a:gd name="T38" fmla="*/ 372 w 956"/>
                <a:gd name="T39" fmla="*/ 412 h 611"/>
                <a:gd name="T40" fmla="*/ 351 w 956"/>
                <a:gd name="T41" fmla="*/ 324 h 611"/>
                <a:gd name="T42" fmla="*/ 356 w 956"/>
                <a:gd name="T43" fmla="*/ 311 h 611"/>
                <a:gd name="T44" fmla="*/ 350 w 956"/>
                <a:gd name="T45" fmla="*/ 304 h 611"/>
                <a:gd name="T46" fmla="*/ 336 w 956"/>
                <a:gd name="T47" fmla="*/ 305 h 611"/>
                <a:gd name="T48" fmla="*/ 270 w 956"/>
                <a:gd name="T49" fmla="*/ 256 h 611"/>
                <a:gd name="T50" fmla="*/ 275 w 956"/>
                <a:gd name="T51" fmla="*/ 246 h 611"/>
                <a:gd name="T52" fmla="*/ 271 w 956"/>
                <a:gd name="T53" fmla="*/ 237 h 611"/>
                <a:gd name="T54" fmla="*/ 257 w 956"/>
                <a:gd name="T55" fmla="*/ 233 h 611"/>
                <a:gd name="T56" fmla="*/ 183 w 956"/>
                <a:gd name="T57" fmla="*/ 187 h 611"/>
                <a:gd name="T58" fmla="*/ 218 w 956"/>
                <a:gd name="T59" fmla="*/ 157 h 611"/>
                <a:gd name="T60" fmla="*/ 216 w 956"/>
                <a:gd name="T61" fmla="*/ 145 h 611"/>
                <a:gd name="T62" fmla="*/ 209 w 956"/>
                <a:gd name="T63" fmla="*/ 140 h 611"/>
                <a:gd name="T64" fmla="*/ 168 w 956"/>
                <a:gd name="T65" fmla="*/ 170 h 611"/>
                <a:gd name="T66" fmla="*/ 507 w 956"/>
                <a:gd name="T67" fmla="*/ 570 h 611"/>
                <a:gd name="T68" fmla="*/ 516 w 956"/>
                <a:gd name="T69" fmla="*/ 418 h 611"/>
                <a:gd name="T70" fmla="*/ 526 w 956"/>
                <a:gd name="T71" fmla="*/ 421 h 611"/>
                <a:gd name="T72" fmla="*/ 537 w 956"/>
                <a:gd name="T73" fmla="*/ 418 h 611"/>
                <a:gd name="T74" fmla="*/ 684 w 956"/>
                <a:gd name="T75" fmla="*/ 293 h 611"/>
                <a:gd name="T76" fmla="*/ 686 w 956"/>
                <a:gd name="T77" fmla="*/ 280 h 611"/>
                <a:gd name="T78" fmla="*/ 682 w 956"/>
                <a:gd name="T79" fmla="*/ 272 h 611"/>
                <a:gd name="T80" fmla="*/ 380 w 956"/>
                <a:gd name="T81" fmla="*/ 211 h 611"/>
                <a:gd name="T82" fmla="*/ 370 w 956"/>
                <a:gd name="T83" fmla="*/ 212 h 611"/>
                <a:gd name="T84" fmla="*/ 362 w 956"/>
                <a:gd name="T85" fmla="*/ 219 h 611"/>
                <a:gd name="T86" fmla="*/ 362 w 956"/>
                <a:gd name="T87" fmla="*/ 234 h 611"/>
                <a:gd name="T88" fmla="*/ 633 w 956"/>
                <a:gd name="T89" fmla="*/ 294 h 611"/>
                <a:gd name="T90" fmla="*/ 633 w 956"/>
                <a:gd name="T91" fmla="*/ 294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56" h="611">
                  <a:moveTo>
                    <a:pt x="956" y="224"/>
                  </a:moveTo>
                  <a:lnTo>
                    <a:pt x="956" y="224"/>
                  </a:lnTo>
                  <a:lnTo>
                    <a:pt x="954" y="220"/>
                  </a:lnTo>
                  <a:lnTo>
                    <a:pt x="952" y="216"/>
                  </a:lnTo>
                  <a:lnTo>
                    <a:pt x="948" y="214"/>
                  </a:lnTo>
                  <a:lnTo>
                    <a:pt x="944" y="213"/>
                  </a:lnTo>
                  <a:lnTo>
                    <a:pt x="21" y="0"/>
                  </a:lnTo>
                  <a:lnTo>
                    <a:pt x="21" y="0"/>
                  </a:lnTo>
                  <a:lnTo>
                    <a:pt x="15" y="0"/>
                  </a:lnTo>
                  <a:lnTo>
                    <a:pt x="11" y="1"/>
                  </a:lnTo>
                  <a:lnTo>
                    <a:pt x="6" y="4"/>
                  </a:lnTo>
                  <a:lnTo>
                    <a:pt x="2" y="8"/>
                  </a:lnTo>
                  <a:lnTo>
                    <a:pt x="2" y="8"/>
                  </a:lnTo>
                  <a:lnTo>
                    <a:pt x="0" y="13"/>
                  </a:lnTo>
                  <a:lnTo>
                    <a:pt x="0" y="18"/>
                  </a:lnTo>
                  <a:lnTo>
                    <a:pt x="1" y="23"/>
                  </a:lnTo>
                  <a:lnTo>
                    <a:pt x="4" y="27"/>
                  </a:lnTo>
                  <a:lnTo>
                    <a:pt x="492" y="605"/>
                  </a:lnTo>
                  <a:lnTo>
                    <a:pt x="492" y="605"/>
                  </a:lnTo>
                  <a:lnTo>
                    <a:pt x="494" y="607"/>
                  </a:lnTo>
                  <a:lnTo>
                    <a:pt x="497" y="609"/>
                  </a:lnTo>
                  <a:lnTo>
                    <a:pt x="501" y="611"/>
                  </a:lnTo>
                  <a:lnTo>
                    <a:pt x="504" y="611"/>
                  </a:lnTo>
                  <a:lnTo>
                    <a:pt x="504" y="611"/>
                  </a:lnTo>
                  <a:lnTo>
                    <a:pt x="510" y="609"/>
                  </a:lnTo>
                  <a:lnTo>
                    <a:pt x="515" y="607"/>
                  </a:lnTo>
                  <a:lnTo>
                    <a:pt x="951" y="242"/>
                  </a:lnTo>
                  <a:lnTo>
                    <a:pt x="951" y="242"/>
                  </a:lnTo>
                  <a:lnTo>
                    <a:pt x="954" y="238"/>
                  </a:lnTo>
                  <a:lnTo>
                    <a:pt x="955" y="234"/>
                  </a:lnTo>
                  <a:lnTo>
                    <a:pt x="956" y="229"/>
                  </a:lnTo>
                  <a:lnTo>
                    <a:pt x="956" y="224"/>
                  </a:lnTo>
                  <a:lnTo>
                    <a:pt x="956" y="224"/>
                  </a:lnTo>
                  <a:close/>
                  <a:moveTo>
                    <a:pt x="507" y="570"/>
                  </a:moveTo>
                  <a:lnTo>
                    <a:pt x="458" y="514"/>
                  </a:lnTo>
                  <a:lnTo>
                    <a:pt x="489" y="487"/>
                  </a:lnTo>
                  <a:lnTo>
                    <a:pt x="489" y="487"/>
                  </a:lnTo>
                  <a:lnTo>
                    <a:pt x="493" y="483"/>
                  </a:lnTo>
                  <a:lnTo>
                    <a:pt x="494" y="479"/>
                  </a:lnTo>
                  <a:lnTo>
                    <a:pt x="494" y="473"/>
                  </a:lnTo>
                  <a:lnTo>
                    <a:pt x="492" y="468"/>
                  </a:lnTo>
                  <a:lnTo>
                    <a:pt x="492" y="468"/>
                  </a:lnTo>
                  <a:lnTo>
                    <a:pt x="487" y="465"/>
                  </a:lnTo>
                  <a:lnTo>
                    <a:pt x="482" y="464"/>
                  </a:lnTo>
                  <a:lnTo>
                    <a:pt x="478" y="465"/>
                  </a:lnTo>
                  <a:lnTo>
                    <a:pt x="473" y="467"/>
                  </a:lnTo>
                  <a:lnTo>
                    <a:pt x="442" y="494"/>
                  </a:lnTo>
                  <a:lnTo>
                    <a:pt x="390" y="433"/>
                  </a:lnTo>
                  <a:lnTo>
                    <a:pt x="407" y="418"/>
                  </a:lnTo>
                  <a:lnTo>
                    <a:pt x="407" y="418"/>
                  </a:lnTo>
                  <a:lnTo>
                    <a:pt x="410" y="414"/>
                  </a:lnTo>
                  <a:lnTo>
                    <a:pt x="412" y="409"/>
                  </a:lnTo>
                  <a:lnTo>
                    <a:pt x="412" y="404"/>
                  </a:lnTo>
                  <a:lnTo>
                    <a:pt x="409" y="399"/>
                  </a:lnTo>
                  <a:lnTo>
                    <a:pt x="409" y="399"/>
                  </a:lnTo>
                  <a:lnTo>
                    <a:pt x="405" y="396"/>
                  </a:lnTo>
                  <a:lnTo>
                    <a:pt x="400" y="394"/>
                  </a:lnTo>
                  <a:lnTo>
                    <a:pt x="394" y="396"/>
                  </a:lnTo>
                  <a:lnTo>
                    <a:pt x="391" y="398"/>
                  </a:lnTo>
                  <a:lnTo>
                    <a:pt x="372" y="412"/>
                  </a:lnTo>
                  <a:lnTo>
                    <a:pt x="320" y="351"/>
                  </a:lnTo>
                  <a:lnTo>
                    <a:pt x="351" y="324"/>
                  </a:lnTo>
                  <a:lnTo>
                    <a:pt x="351" y="324"/>
                  </a:lnTo>
                  <a:lnTo>
                    <a:pt x="355" y="320"/>
                  </a:lnTo>
                  <a:lnTo>
                    <a:pt x="356" y="316"/>
                  </a:lnTo>
                  <a:lnTo>
                    <a:pt x="356" y="311"/>
                  </a:lnTo>
                  <a:lnTo>
                    <a:pt x="354" y="308"/>
                  </a:lnTo>
                  <a:lnTo>
                    <a:pt x="354" y="308"/>
                  </a:lnTo>
                  <a:lnTo>
                    <a:pt x="350" y="304"/>
                  </a:lnTo>
                  <a:lnTo>
                    <a:pt x="346" y="303"/>
                  </a:lnTo>
                  <a:lnTo>
                    <a:pt x="341" y="303"/>
                  </a:lnTo>
                  <a:lnTo>
                    <a:pt x="336" y="305"/>
                  </a:lnTo>
                  <a:lnTo>
                    <a:pt x="305" y="332"/>
                  </a:lnTo>
                  <a:lnTo>
                    <a:pt x="253" y="270"/>
                  </a:lnTo>
                  <a:lnTo>
                    <a:pt x="270" y="256"/>
                  </a:lnTo>
                  <a:lnTo>
                    <a:pt x="270" y="256"/>
                  </a:lnTo>
                  <a:lnTo>
                    <a:pt x="274" y="251"/>
                  </a:lnTo>
                  <a:lnTo>
                    <a:pt x="275" y="246"/>
                  </a:lnTo>
                  <a:lnTo>
                    <a:pt x="275" y="242"/>
                  </a:lnTo>
                  <a:lnTo>
                    <a:pt x="271" y="237"/>
                  </a:lnTo>
                  <a:lnTo>
                    <a:pt x="271" y="237"/>
                  </a:lnTo>
                  <a:lnTo>
                    <a:pt x="268" y="234"/>
                  </a:lnTo>
                  <a:lnTo>
                    <a:pt x="263" y="233"/>
                  </a:lnTo>
                  <a:lnTo>
                    <a:pt x="257" y="233"/>
                  </a:lnTo>
                  <a:lnTo>
                    <a:pt x="253" y="235"/>
                  </a:lnTo>
                  <a:lnTo>
                    <a:pt x="235" y="250"/>
                  </a:lnTo>
                  <a:lnTo>
                    <a:pt x="183" y="187"/>
                  </a:lnTo>
                  <a:lnTo>
                    <a:pt x="215" y="161"/>
                  </a:lnTo>
                  <a:lnTo>
                    <a:pt x="215" y="161"/>
                  </a:lnTo>
                  <a:lnTo>
                    <a:pt x="218" y="157"/>
                  </a:lnTo>
                  <a:lnTo>
                    <a:pt x="219" y="153"/>
                  </a:lnTo>
                  <a:lnTo>
                    <a:pt x="218" y="149"/>
                  </a:lnTo>
                  <a:lnTo>
                    <a:pt x="216" y="145"/>
                  </a:lnTo>
                  <a:lnTo>
                    <a:pt x="216" y="145"/>
                  </a:lnTo>
                  <a:lnTo>
                    <a:pt x="212" y="142"/>
                  </a:lnTo>
                  <a:lnTo>
                    <a:pt x="209" y="140"/>
                  </a:lnTo>
                  <a:lnTo>
                    <a:pt x="204" y="141"/>
                  </a:lnTo>
                  <a:lnTo>
                    <a:pt x="200" y="144"/>
                  </a:lnTo>
                  <a:lnTo>
                    <a:pt x="168" y="170"/>
                  </a:lnTo>
                  <a:lnTo>
                    <a:pt x="62" y="44"/>
                  </a:lnTo>
                  <a:lnTo>
                    <a:pt x="903" y="237"/>
                  </a:lnTo>
                  <a:lnTo>
                    <a:pt x="507" y="570"/>
                  </a:lnTo>
                  <a:close/>
                  <a:moveTo>
                    <a:pt x="514" y="415"/>
                  </a:moveTo>
                  <a:lnTo>
                    <a:pt x="514" y="415"/>
                  </a:lnTo>
                  <a:lnTo>
                    <a:pt x="516" y="418"/>
                  </a:lnTo>
                  <a:lnTo>
                    <a:pt x="519" y="420"/>
                  </a:lnTo>
                  <a:lnTo>
                    <a:pt x="523" y="421"/>
                  </a:lnTo>
                  <a:lnTo>
                    <a:pt x="526" y="421"/>
                  </a:lnTo>
                  <a:lnTo>
                    <a:pt x="526" y="421"/>
                  </a:lnTo>
                  <a:lnTo>
                    <a:pt x="532" y="420"/>
                  </a:lnTo>
                  <a:lnTo>
                    <a:pt x="537" y="418"/>
                  </a:lnTo>
                  <a:lnTo>
                    <a:pt x="681" y="296"/>
                  </a:lnTo>
                  <a:lnTo>
                    <a:pt x="681" y="296"/>
                  </a:lnTo>
                  <a:lnTo>
                    <a:pt x="684" y="293"/>
                  </a:lnTo>
                  <a:lnTo>
                    <a:pt x="686" y="289"/>
                  </a:lnTo>
                  <a:lnTo>
                    <a:pt x="686" y="285"/>
                  </a:lnTo>
                  <a:lnTo>
                    <a:pt x="686" y="280"/>
                  </a:lnTo>
                  <a:lnTo>
                    <a:pt x="686" y="280"/>
                  </a:lnTo>
                  <a:lnTo>
                    <a:pt x="684" y="275"/>
                  </a:lnTo>
                  <a:lnTo>
                    <a:pt x="682" y="272"/>
                  </a:lnTo>
                  <a:lnTo>
                    <a:pt x="678" y="270"/>
                  </a:lnTo>
                  <a:lnTo>
                    <a:pt x="674" y="267"/>
                  </a:lnTo>
                  <a:lnTo>
                    <a:pt x="380" y="211"/>
                  </a:lnTo>
                  <a:lnTo>
                    <a:pt x="380" y="211"/>
                  </a:lnTo>
                  <a:lnTo>
                    <a:pt x="375" y="211"/>
                  </a:lnTo>
                  <a:lnTo>
                    <a:pt x="370" y="212"/>
                  </a:lnTo>
                  <a:lnTo>
                    <a:pt x="365" y="215"/>
                  </a:lnTo>
                  <a:lnTo>
                    <a:pt x="362" y="219"/>
                  </a:lnTo>
                  <a:lnTo>
                    <a:pt x="362" y="219"/>
                  </a:lnTo>
                  <a:lnTo>
                    <a:pt x="361" y="223"/>
                  </a:lnTo>
                  <a:lnTo>
                    <a:pt x="359" y="229"/>
                  </a:lnTo>
                  <a:lnTo>
                    <a:pt x="362" y="234"/>
                  </a:lnTo>
                  <a:lnTo>
                    <a:pt x="364" y="238"/>
                  </a:lnTo>
                  <a:lnTo>
                    <a:pt x="514" y="415"/>
                  </a:lnTo>
                  <a:close/>
                  <a:moveTo>
                    <a:pt x="633" y="294"/>
                  </a:moveTo>
                  <a:lnTo>
                    <a:pt x="529" y="381"/>
                  </a:lnTo>
                  <a:lnTo>
                    <a:pt x="420" y="252"/>
                  </a:lnTo>
                  <a:lnTo>
                    <a:pt x="633" y="2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82" name="Group 481">
            <a:extLst>
              <a:ext uri="{FF2B5EF4-FFF2-40B4-BE49-F238E27FC236}">
                <a16:creationId xmlns:a16="http://schemas.microsoft.com/office/drawing/2014/main" id="{20A175F6-A51C-46F9-8AE6-45CE41EB4D0C}"/>
              </a:ext>
            </a:extLst>
          </p:cNvPr>
          <p:cNvGrpSpPr/>
          <p:nvPr/>
        </p:nvGrpSpPr>
        <p:grpSpPr>
          <a:xfrm>
            <a:off x="9611595" y="3133752"/>
            <a:ext cx="612775" cy="612775"/>
            <a:chOff x="2050377" y="3032119"/>
            <a:chExt cx="612775" cy="612775"/>
          </a:xfrm>
          <a:solidFill>
            <a:srgbClr val="505050"/>
          </a:solidFill>
        </p:grpSpPr>
        <p:sp>
          <p:nvSpPr>
            <p:cNvPr id="483" name="Oval 482">
              <a:extLst>
                <a:ext uri="{FF2B5EF4-FFF2-40B4-BE49-F238E27FC236}">
                  <a16:creationId xmlns:a16="http://schemas.microsoft.com/office/drawing/2014/main" id="{E9804CD4-C498-4486-BE98-18FDABB2856F}"/>
                </a:ext>
              </a:extLst>
            </p:cNvPr>
            <p:cNvSpPr/>
            <p:nvPr/>
          </p:nvSpPr>
          <p:spPr bwMode="ltGray">
            <a:xfrm>
              <a:off x="2050377"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84" name="Freeform 27">
              <a:extLst>
                <a:ext uri="{FF2B5EF4-FFF2-40B4-BE49-F238E27FC236}">
                  <a16:creationId xmlns:a16="http://schemas.microsoft.com/office/drawing/2014/main" id="{09D2E394-D3F5-4485-9B14-AFEF5C402389}"/>
                </a:ext>
              </a:extLst>
            </p:cNvPr>
            <p:cNvSpPr>
              <a:spLocks noEditPoints="1"/>
            </p:cNvSpPr>
            <p:nvPr/>
          </p:nvSpPr>
          <p:spPr bwMode="auto">
            <a:xfrm>
              <a:off x="2141838" y="3110066"/>
              <a:ext cx="450850" cy="441325"/>
            </a:xfrm>
            <a:custGeom>
              <a:avLst/>
              <a:gdLst>
                <a:gd name="T0" fmla="*/ 396 w 852"/>
                <a:gd name="T1" fmla="*/ 0 h 836"/>
                <a:gd name="T2" fmla="*/ 407 w 852"/>
                <a:gd name="T3" fmla="*/ 171 h 836"/>
                <a:gd name="T4" fmla="*/ 17 w 852"/>
                <a:gd name="T5" fmla="*/ 384 h 836"/>
                <a:gd name="T6" fmla="*/ 3 w 852"/>
                <a:gd name="T7" fmla="*/ 425 h 836"/>
                <a:gd name="T8" fmla="*/ 22 w 852"/>
                <a:gd name="T9" fmla="*/ 474 h 836"/>
                <a:gd name="T10" fmla="*/ 76 w 852"/>
                <a:gd name="T11" fmla="*/ 499 h 836"/>
                <a:gd name="T12" fmla="*/ 552 w 852"/>
                <a:gd name="T13" fmla="*/ 549 h 836"/>
                <a:gd name="T14" fmla="*/ 500 w 852"/>
                <a:gd name="T15" fmla="*/ 62 h 836"/>
                <a:gd name="T16" fmla="*/ 465 w 852"/>
                <a:gd name="T17" fmla="*/ 15 h 836"/>
                <a:gd name="T18" fmla="*/ 505 w 852"/>
                <a:gd name="T19" fmla="*/ 504 h 836"/>
                <a:gd name="T20" fmla="*/ 483 w 852"/>
                <a:gd name="T21" fmla="*/ 511 h 836"/>
                <a:gd name="T22" fmla="*/ 466 w 852"/>
                <a:gd name="T23" fmla="*/ 500 h 836"/>
                <a:gd name="T24" fmla="*/ 464 w 852"/>
                <a:gd name="T25" fmla="*/ 477 h 836"/>
                <a:gd name="T26" fmla="*/ 478 w 852"/>
                <a:gd name="T27" fmla="*/ 463 h 836"/>
                <a:gd name="T28" fmla="*/ 501 w 852"/>
                <a:gd name="T29" fmla="*/ 466 h 836"/>
                <a:gd name="T30" fmla="*/ 512 w 852"/>
                <a:gd name="T31" fmla="*/ 482 h 836"/>
                <a:gd name="T32" fmla="*/ 505 w 852"/>
                <a:gd name="T33" fmla="*/ 504 h 836"/>
                <a:gd name="T34" fmla="*/ 420 w 852"/>
                <a:gd name="T35" fmla="*/ 641 h 836"/>
                <a:gd name="T36" fmla="*/ 399 w 852"/>
                <a:gd name="T37" fmla="*/ 698 h 836"/>
                <a:gd name="T38" fmla="*/ 408 w 852"/>
                <a:gd name="T39" fmla="*/ 757 h 836"/>
                <a:gd name="T40" fmla="*/ 436 w 852"/>
                <a:gd name="T41" fmla="*/ 799 h 836"/>
                <a:gd name="T42" fmla="*/ 488 w 852"/>
                <a:gd name="T43" fmla="*/ 830 h 836"/>
                <a:gd name="T44" fmla="*/ 549 w 852"/>
                <a:gd name="T45" fmla="*/ 833 h 836"/>
                <a:gd name="T46" fmla="*/ 604 w 852"/>
                <a:gd name="T47" fmla="*/ 808 h 836"/>
                <a:gd name="T48" fmla="*/ 637 w 852"/>
                <a:gd name="T49" fmla="*/ 769 h 836"/>
                <a:gd name="T50" fmla="*/ 651 w 852"/>
                <a:gd name="T51" fmla="*/ 710 h 836"/>
                <a:gd name="T52" fmla="*/ 637 w 852"/>
                <a:gd name="T53" fmla="*/ 652 h 836"/>
                <a:gd name="T54" fmla="*/ 604 w 852"/>
                <a:gd name="T55" fmla="*/ 612 h 836"/>
                <a:gd name="T56" fmla="*/ 549 w 852"/>
                <a:gd name="T57" fmla="*/ 587 h 836"/>
                <a:gd name="T58" fmla="*/ 488 w 852"/>
                <a:gd name="T59" fmla="*/ 589 h 836"/>
                <a:gd name="T60" fmla="*/ 436 w 852"/>
                <a:gd name="T61" fmla="*/ 622 h 836"/>
                <a:gd name="T62" fmla="*/ 550 w 852"/>
                <a:gd name="T63" fmla="*/ 771 h 836"/>
                <a:gd name="T64" fmla="*/ 488 w 852"/>
                <a:gd name="T65" fmla="*/ 764 h 836"/>
                <a:gd name="T66" fmla="*/ 461 w 852"/>
                <a:gd name="T67" fmla="*/ 722 h 836"/>
                <a:gd name="T68" fmla="*/ 479 w 852"/>
                <a:gd name="T69" fmla="*/ 663 h 836"/>
                <a:gd name="T70" fmla="*/ 524 w 852"/>
                <a:gd name="T71" fmla="*/ 645 h 836"/>
                <a:gd name="T72" fmla="*/ 571 w 852"/>
                <a:gd name="T73" fmla="*/ 663 h 836"/>
                <a:gd name="T74" fmla="*/ 589 w 852"/>
                <a:gd name="T75" fmla="*/ 722 h 836"/>
                <a:gd name="T76" fmla="*/ 638 w 852"/>
                <a:gd name="T77" fmla="*/ 419 h 836"/>
                <a:gd name="T78" fmla="*/ 610 w 852"/>
                <a:gd name="T79" fmla="*/ 461 h 836"/>
                <a:gd name="T80" fmla="*/ 602 w 852"/>
                <a:gd name="T81" fmla="*/ 520 h 836"/>
                <a:gd name="T82" fmla="*/ 622 w 852"/>
                <a:gd name="T83" fmla="*/ 578 h 836"/>
                <a:gd name="T84" fmla="*/ 658 w 852"/>
                <a:gd name="T85" fmla="*/ 614 h 836"/>
                <a:gd name="T86" fmla="*/ 714 w 852"/>
                <a:gd name="T87" fmla="*/ 633 h 836"/>
                <a:gd name="T88" fmla="*/ 775 w 852"/>
                <a:gd name="T89" fmla="*/ 625 h 836"/>
                <a:gd name="T90" fmla="*/ 816 w 852"/>
                <a:gd name="T91" fmla="*/ 597 h 836"/>
                <a:gd name="T92" fmla="*/ 848 w 852"/>
                <a:gd name="T93" fmla="*/ 544 h 836"/>
                <a:gd name="T94" fmla="*/ 850 w 852"/>
                <a:gd name="T95" fmla="*/ 484 h 836"/>
                <a:gd name="T96" fmla="*/ 825 w 852"/>
                <a:gd name="T97" fmla="*/ 429 h 836"/>
                <a:gd name="T98" fmla="*/ 785 w 852"/>
                <a:gd name="T99" fmla="*/ 397 h 836"/>
                <a:gd name="T100" fmla="*/ 727 w 852"/>
                <a:gd name="T101" fmla="*/ 382 h 836"/>
                <a:gd name="T102" fmla="*/ 668 w 852"/>
                <a:gd name="T103" fmla="*/ 397 h 836"/>
                <a:gd name="T104" fmla="*/ 774 w 852"/>
                <a:gd name="T105" fmla="*/ 555 h 836"/>
                <a:gd name="T106" fmla="*/ 727 w 852"/>
                <a:gd name="T107" fmla="*/ 573 h 836"/>
                <a:gd name="T108" fmla="*/ 681 w 852"/>
                <a:gd name="T109" fmla="*/ 555 h 836"/>
                <a:gd name="T110" fmla="*/ 662 w 852"/>
                <a:gd name="T111" fmla="*/ 496 h 836"/>
                <a:gd name="T112" fmla="*/ 691 w 852"/>
                <a:gd name="T113" fmla="*/ 454 h 836"/>
                <a:gd name="T114" fmla="*/ 751 w 852"/>
                <a:gd name="T115" fmla="*/ 448 h 836"/>
                <a:gd name="T116" fmla="*/ 787 w 852"/>
                <a:gd name="T117" fmla="*/ 484 h 836"/>
                <a:gd name="T118" fmla="*/ 782 w 852"/>
                <a:gd name="T119" fmla="*/ 544 h 8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2" h="836">
                  <a:moveTo>
                    <a:pt x="441" y="4"/>
                  </a:moveTo>
                  <a:lnTo>
                    <a:pt x="441" y="4"/>
                  </a:lnTo>
                  <a:lnTo>
                    <a:pt x="427" y="2"/>
                  </a:lnTo>
                  <a:lnTo>
                    <a:pt x="411" y="0"/>
                  </a:lnTo>
                  <a:lnTo>
                    <a:pt x="396" y="0"/>
                  </a:lnTo>
                  <a:lnTo>
                    <a:pt x="383" y="1"/>
                  </a:lnTo>
                  <a:lnTo>
                    <a:pt x="383" y="1"/>
                  </a:lnTo>
                  <a:lnTo>
                    <a:pt x="385" y="16"/>
                  </a:lnTo>
                  <a:lnTo>
                    <a:pt x="390" y="52"/>
                  </a:lnTo>
                  <a:lnTo>
                    <a:pt x="407" y="171"/>
                  </a:lnTo>
                  <a:lnTo>
                    <a:pt x="448" y="446"/>
                  </a:lnTo>
                  <a:lnTo>
                    <a:pt x="448" y="446"/>
                  </a:lnTo>
                  <a:lnTo>
                    <a:pt x="172" y="405"/>
                  </a:lnTo>
                  <a:lnTo>
                    <a:pt x="53" y="388"/>
                  </a:lnTo>
                  <a:lnTo>
                    <a:pt x="17" y="384"/>
                  </a:lnTo>
                  <a:lnTo>
                    <a:pt x="2" y="381"/>
                  </a:lnTo>
                  <a:lnTo>
                    <a:pt x="2" y="381"/>
                  </a:lnTo>
                  <a:lnTo>
                    <a:pt x="0" y="394"/>
                  </a:lnTo>
                  <a:lnTo>
                    <a:pt x="0" y="409"/>
                  </a:lnTo>
                  <a:lnTo>
                    <a:pt x="3" y="425"/>
                  </a:lnTo>
                  <a:lnTo>
                    <a:pt x="5" y="439"/>
                  </a:lnTo>
                  <a:lnTo>
                    <a:pt x="5" y="439"/>
                  </a:lnTo>
                  <a:lnTo>
                    <a:pt x="10" y="452"/>
                  </a:lnTo>
                  <a:lnTo>
                    <a:pt x="15" y="463"/>
                  </a:lnTo>
                  <a:lnTo>
                    <a:pt x="22" y="474"/>
                  </a:lnTo>
                  <a:lnTo>
                    <a:pt x="32" y="482"/>
                  </a:lnTo>
                  <a:lnTo>
                    <a:pt x="41" y="489"/>
                  </a:lnTo>
                  <a:lnTo>
                    <a:pt x="51" y="495"/>
                  </a:lnTo>
                  <a:lnTo>
                    <a:pt x="63" y="498"/>
                  </a:lnTo>
                  <a:lnTo>
                    <a:pt x="76" y="499"/>
                  </a:lnTo>
                  <a:lnTo>
                    <a:pt x="76" y="499"/>
                  </a:lnTo>
                  <a:lnTo>
                    <a:pt x="359" y="529"/>
                  </a:lnTo>
                  <a:lnTo>
                    <a:pt x="551" y="550"/>
                  </a:lnTo>
                  <a:lnTo>
                    <a:pt x="550" y="548"/>
                  </a:lnTo>
                  <a:lnTo>
                    <a:pt x="552" y="549"/>
                  </a:lnTo>
                  <a:lnTo>
                    <a:pt x="552" y="549"/>
                  </a:lnTo>
                  <a:lnTo>
                    <a:pt x="531" y="357"/>
                  </a:lnTo>
                  <a:lnTo>
                    <a:pt x="502" y="75"/>
                  </a:lnTo>
                  <a:lnTo>
                    <a:pt x="502" y="75"/>
                  </a:lnTo>
                  <a:lnTo>
                    <a:pt x="500" y="62"/>
                  </a:lnTo>
                  <a:lnTo>
                    <a:pt x="496" y="51"/>
                  </a:lnTo>
                  <a:lnTo>
                    <a:pt x="491" y="40"/>
                  </a:lnTo>
                  <a:lnTo>
                    <a:pt x="484" y="31"/>
                  </a:lnTo>
                  <a:lnTo>
                    <a:pt x="476" y="22"/>
                  </a:lnTo>
                  <a:lnTo>
                    <a:pt x="465" y="15"/>
                  </a:lnTo>
                  <a:lnTo>
                    <a:pt x="454" y="9"/>
                  </a:lnTo>
                  <a:lnTo>
                    <a:pt x="441" y="4"/>
                  </a:lnTo>
                  <a:lnTo>
                    <a:pt x="441" y="4"/>
                  </a:lnTo>
                  <a:close/>
                  <a:moveTo>
                    <a:pt x="505" y="504"/>
                  </a:moveTo>
                  <a:lnTo>
                    <a:pt x="505" y="504"/>
                  </a:lnTo>
                  <a:lnTo>
                    <a:pt x="501" y="507"/>
                  </a:lnTo>
                  <a:lnTo>
                    <a:pt x="496" y="510"/>
                  </a:lnTo>
                  <a:lnTo>
                    <a:pt x="492" y="511"/>
                  </a:lnTo>
                  <a:lnTo>
                    <a:pt x="487" y="511"/>
                  </a:lnTo>
                  <a:lnTo>
                    <a:pt x="483" y="511"/>
                  </a:lnTo>
                  <a:lnTo>
                    <a:pt x="478" y="510"/>
                  </a:lnTo>
                  <a:lnTo>
                    <a:pt x="473" y="507"/>
                  </a:lnTo>
                  <a:lnTo>
                    <a:pt x="470" y="504"/>
                  </a:lnTo>
                  <a:lnTo>
                    <a:pt x="470" y="504"/>
                  </a:lnTo>
                  <a:lnTo>
                    <a:pt x="466" y="500"/>
                  </a:lnTo>
                  <a:lnTo>
                    <a:pt x="464" y="496"/>
                  </a:lnTo>
                  <a:lnTo>
                    <a:pt x="463" y="491"/>
                  </a:lnTo>
                  <a:lnTo>
                    <a:pt x="462" y="486"/>
                  </a:lnTo>
                  <a:lnTo>
                    <a:pt x="463" y="482"/>
                  </a:lnTo>
                  <a:lnTo>
                    <a:pt x="464" y="477"/>
                  </a:lnTo>
                  <a:lnTo>
                    <a:pt x="466" y="473"/>
                  </a:lnTo>
                  <a:lnTo>
                    <a:pt x="470" y="469"/>
                  </a:lnTo>
                  <a:lnTo>
                    <a:pt x="470" y="469"/>
                  </a:lnTo>
                  <a:lnTo>
                    <a:pt x="473" y="466"/>
                  </a:lnTo>
                  <a:lnTo>
                    <a:pt x="478" y="463"/>
                  </a:lnTo>
                  <a:lnTo>
                    <a:pt x="483" y="462"/>
                  </a:lnTo>
                  <a:lnTo>
                    <a:pt x="487" y="462"/>
                  </a:lnTo>
                  <a:lnTo>
                    <a:pt x="492" y="462"/>
                  </a:lnTo>
                  <a:lnTo>
                    <a:pt x="496" y="463"/>
                  </a:lnTo>
                  <a:lnTo>
                    <a:pt x="501" y="466"/>
                  </a:lnTo>
                  <a:lnTo>
                    <a:pt x="505" y="469"/>
                  </a:lnTo>
                  <a:lnTo>
                    <a:pt x="505" y="469"/>
                  </a:lnTo>
                  <a:lnTo>
                    <a:pt x="508" y="473"/>
                  </a:lnTo>
                  <a:lnTo>
                    <a:pt x="510" y="477"/>
                  </a:lnTo>
                  <a:lnTo>
                    <a:pt x="512" y="482"/>
                  </a:lnTo>
                  <a:lnTo>
                    <a:pt x="512" y="486"/>
                  </a:lnTo>
                  <a:lnTo>
                    <a:pt x="512" y="491"/>
                  </a:lnTo>
                  <a:lnTo>
                    <a:pt x="510" y="496"/>
                  </a:lnTo>
                  <a:lnTo>
                    <a:pt x="508" y="500"/>
                  </a:lnTo>
                  <a:lnTo>
                    <a:pt x="505" y="504"/>
                  </a:lnTo>
                  <a:lnTo>
                    <a:pt x="505" y="504"/>
                  </a:lnTo>
                  <a:close/>
                  <a:moveTo>
                    <a:pt x="436" y="622"/>
                  </a:moveTo>
                  <a:lnTo>
                    <a:pt x="436" y="622"/>
                  </a:lnTo>
                  <a:lnTo>
                    <a:pt x="427" y="631"/>
                  </a:lnTo>
                  <a:lnTo>
                    <a:pt x="420" y="641"/>
                  </a:lnTo>
                  <a:lnTo>
                    <a:pt x="413" y="652"/>
                  </a:lnTo>
                  <a:lnTo>
                    <a:pt x="408" y="662"/>
                  </a:lnTo>
                  <a:lnTo>
                    <a:pt x="404" y="674"/>
                  </a:lnTo>
                  <a:lnTo>
                    <a:pt x="401" y="686"/>
                  </a:lnTo>
                  <a:lnTo>
                    <a:pt x="399" y="698"/>
                  </a:lnTo>
                  <a:lnTo>
                    <a:pt x="399" y="710"/>
                  </a:lnTo>
                  <a:lnTo>
                    <a:pt x="399" y="722"/>
                  </a:lnTo>
                  <a:lnTo>
                    <a:pt x="401" y="734"/>
                  </a:lnTo>
                  <a:lnTo>
                    <a:pt x="404" y="745"/>
                  </a:lnTo>
                  <a:lnTo>
                    <a:pt x="408" y="757"/>
                  </a:lnTo>
                  <a:lnTo>
                    <a:pt x="413" y="769"/>
                  </a:lnTo>
                  <a:lnTo>
                    <a:pt x="420" y="779"/>
                  </a:lnTo>
                  <a:lnTo>
                    <a:pt x="427" y="789"/>
                  </a:lnTo>
                  <a:lnTo>
                    <a:pt x="436" y="799"/>
                  </a:lnTo>
                  <a:lnTo>
                    <a:pt x="436" y="799"/>
                  </a:lnTo>
                  <a:lnTo>
                    <a:pt x="445" y="808"/>
                  </a:lnTo>
                  <a:lnTo>
                    <a:pt x="456" y="815"/>
                  </a:lnTo>
                  <a:lnTo>
                    <a:pt x="466" y="822"/>
                  </a:lnTo>
                  <a:lnTo>
                    <a:pt x="478" y="826"/>
                  </a:lnTo>
                  <a:lnTo>
                    <a:pt x="488" y="830"/>
                  </a:lnTo>
                  <a:lnTo>
                    <a:pt x="501" y="833"/>
                  </a:lnTo>
                  <a:lnTo>
                    <a:pt x="513" y="834"/>
                  </a:lnTo>
                  <a:lnTo>
                    <a:pt x="524" y="836"/>
                  </a:lnTo>
                  <a:lnTo>
                    <a:pt x="537" y="834"/>
                  </a:lnTo>
                  <a:lnTo>
                    <a:pt x="549" y="833"/>
                  </a:lnTo>
                  <a:lnTo>
                    <a:pt x="560" y="830"/>
                  </a:lnTo>
                  <a:lnTo>
                    <a:pt x="572" y="826"/>
                  </a:lnTo>
                  <a:lnTo>
                    <a:pt x="583" y="822"/>
                  </a:lnTo>
                  <a:lnTo>
                    <a:pt x="594" y="815"/>
                  </a:lnTo>
                  <a:lnTo>
                    <a:pt x="604" y="808"/>
                  </a:lnTo>
                  <a:lnTo>
                    <a:pt x="614" y="799"/>
                  </a:lnTo>
                  <a:lnTo>
                    <a:pt x="614" y="799"/>
                  </a:lnTo>
                  <a:lnTo>
                    <a:pt x="623" y="789"/>
                  </a:lnTo>
                  <a:lnTo>
                    <a:pt x="630" y="779"/>
                  </a:lnTo>
                  <a:lnTo>
                    <a:pt x="637" y="769"/>
                  </a:lnTo>
                  <a:lnTo>
                    <a:pt x="641" y="757"/>
                  </a:lnTo>
                  <a:lnTo>
                    <a:pt x="645" y="745"/>
                  </a:lnTo>
                  <a:lnTo>
                    <a:pt x="648" y="734"/>
                  </a:lnTo>
                  <a:lnTo>
                    <a:pt x="649" y="722"/>
                  </a:lnTo>
                  <a:lnTo>
                    <a:pt x="651" y="710"/>
                  </a:lnTo>
                  <a:lnTo>
                    <a:pt x="649" y="698"/>
                  </a:lnTo>
                  <a:lnTo>
                    <a:pt x="648" y="686"/>
                  </a:lnTo>
                  <a:lnTo>
                    <a:pt x="646" y="674"/>
                  </a:lnTo>
                  <a:lnTo>
                    <a:pt x="641" y="662"/>
                  </a:lnTo>
                  <a:lnTo>
                    <a:pt x="637" y="652"/>
                  </a:lnTo>
                  <a:lnTo>
                    <a:pt x="630" y="641"/>
                  </a:lnTo>
                  <a:lnTo>
                    <a:pt x="623" y="631"/>
                  </a:lnTo>
                  <a:lnTo>
                    <a:pt x="614" y="622"/>
                  </a:lnTo>
                  <a:lnTo>
                    <a:pt x="614" y="622"/>
                  </a:lnTo>
                  <a:lnTo>
                    <a:pt x="604" y="612"/>
                  </a:lnTo>
                  <a:lnTo>
                    <a:pt x="594" y="606"/>
                  </a:lnTo>
                  <a:lnTo>
                    <a:pt x="583" y="599"/>
                  </a:lnTo>
                  <a:lnTo>
                    <a:pt x="572" y="594"/>
                  </a:lnTo>
                  <a:lnTo>
                    <a:pt x="560" y="589"/>
                  </a:lnTo>
                  <a:lnTo>
                    <a:pt x="549" y="587"/>
                  </a:lnTo>
                  <a:lnTo>
                    <a:pt x="537" y="585"/>
                  </a:lnTo>
                  <a:lnTo>
                    <a:pt x="524" y="585"/>
                  </a:lnTo>
                  <a:lnTo>
                    <a:pt x="513" y="585"/>
                  </a:lnTo>
                  <a:lnTo>
                    <a:pt x="501" y="587"/>
                  </a:lnTo>
                  <a:lnTo>
                    <a:pt x="488" y="589"/>
                  </a:lnTo>
                  <a:lnTo>
                    <a:pt x="477" y="594"/>
                  </a:lnTo>
                  <a:lnTo>
                    <a:pt x="466" y="599"/>
                  </a:lnTo>
                  <a:lnTo>
                    <a:pt x="456" y="606"/>
                  </a:lnTo>
                  <a:lnTo>
                    <a:pt x="445" y="612"/>
                  </a:lnTo>
                  <a:lnTo>
                    <a:pt x="436" y="622"/>
                  </a:lnTo>
                  <a:lnTo>
                    <a:pt x="436" y="622"/>
                  </a:lnTo>
                  <a:close/>
                  <a:moveTo>
                    <a:pt x="571" y="756"/>
                  </a:moveTo>
                  <a:lnTo>
                    <a:pt x="571" y="756"/>
                  </a:lnTo>
                  <a:lnTo>
                    <a:pt x="560" y="764"/>
                  </a:lnTo>
                  <a:lnTo>
                    <a:pt x="550" y="771"/>
                  </a:lnTo>
                  <a:lnTo>
                    <a:pt x="537" y="774"/>
                  </a:lnTo>
                  <a:lnTo>
                    <a:pt x="524" y="775"/>
                  </a:lnTo>
                  <a:lnTo>
                    <a:pt x="513" y="774"/>
                  </a:lnTo>
                  <a:lnTo>
                    <a:pt x="500" y="771"/>
                  </a:lnTo>
                  <a:lnTo>
                    <a:pt x="488" y="764"/>
                  </a:lnTo>
                  <a:lnTo>
                    <a:pt x="479" y="756"/>
                  </a:lnTo>
                  <a:lnTo>
                    <a:pt x="479" y="756"/>
                  </a:lnTo>
                  <a:lnTo>
                    <a:pt x="470" y="745"/>
                  </a:lnTo>
                  <a:lnTo>
                    <a:pt x="464" y="735"/>
                  </a:lnTo>
                  <a:lnTo>
                    <a:pt x="461" y="722"/>
                  </a:lnTo>
                  <a:lnTo>
                    <a:pt x="459" y="710"/>
                  </a:lnTo>
                  <a:lnTo>
                    <a:pt x="461" y="698"/>
                  </a:lnTo>
                  <a:lnTo>
                    <a:pt x="464" y="685"/>
                  </a:lnTo>
                  <a:lnTo>
                    <a:pt x="470" y="674"/>
                  </a:lnTo>
                  <a:lnTo>
                    <a:pt x="479" y="663"/>
                  </a:lnTo>
                  <a:lnTo>
                    <a:pt x="479" y="663"/>
                  </a:lnTo>
                  <a:lnTo>
                    <a:pt x="488" y="655"/>
                  </a:lnTo>
                  <a:lnTo>
                    <a:pt x="500" y="649"/>
                  </a:lnTo>
                  <a:lnTo>
                    <a:pt x="513" y="646"/>
                  </a:lnTo>
                  <a:lnTo>
                    <a:pt x="524" y="645"/>
                  </a:lnTo>
                  <a:lnTo>
                    <a:pt x="537" y="646"/>
                  </a:lnTo>
                  <a:lnTo>
                    <a:pt x="550" y="649"/>
                  </a:lnTo>
                  <a:lnTo>
                    <a:pt x="560" y="655"/>
                  </a:lnTo>
                  <a:lnTo>
                    <a:pt x="571" y="663"/>
                  </a:lnTo>
                  <a:lnTo>
                    <a:pt x="571" y="663"/>
                  </a:lnTo>
                  <a:lnTo>
                    <a:pt x="580" y="674"/>
                  </a:lnTo>
                  <a:lnTo>
                    <a:pt x="586" y="685"/>
                  </a:lnTo>
                  <a:lnTo>
                    <a:pt x="589" y="698"/>
                  </a:lnTo>
                  <a:lnTo>
                    <a:pt x="590" y="710"/>
                  </a:lnTo>
                  <a:lnTo>
                    <a:pt x="589" y="722"/>
                  </a:lnTo>
                  <a:lnTo>
                    <a:pt x="586" y="735"/>
                  </a:lnTo>
                  <a:lnTo>
                    <a:pt x="580" y="745"/>
                  </a:lnTo>
                  <a:lnTo>
                    <a:pt x="571" y="756"/>
                  </a:lnTo>
                  <a:lnTo>
                    <a:pt x="571" y="756"/>
                  </a:lnTo>
                  <a:close/>
                  <a:moveTo>
                    <a:pt x="638" y="419"/>
                  </a:moveTo>
                  <a:lnTo>
                    <a:pt x="638" y="419"/>
                  </a:lnTo>
                  <a:lnTo>
                    <a:pt x="629" y="429"/>
                  </a:lnTo>
                  <a:lnTo>
                    <a:pt x="622" y="439"/>
                  </a:lnTo>
                  <a:lnTo>
                    <a:pt x="616" y="449"/>
                  </a:lnTo>
                  <a:lnTo>
                    <a:pt x="610" y="461"/>
                  </a:lnTo>
                  <a:lnTo>
                    <a:pt x="607" y="473"/>
                  </a:lnTo>
                  <a:lnTo>
                    <a:pt x="603" y="484"/>
                  </a:lnTo>
                  <a:lnTo>
                    <a:pt x="602" y="497"/>
                  </a:lnTo>
                  <a:lnTo>
                    <a:pt x="601" y="508"/>
                  </a:lnTo>
                  <a:lnTo>
                    <a:pt x="602" y="520"/>
                  </a:lnTo>
                  <a:lnTo>
                    <a:pt x="603" y="533"/>
                  </a:lnTo>
                  <a:lnTo>
                    <a:pt x="607" y="544"/>
                  </a:lnTo>
                  <a:lnTo>
                    <a:pt x="610" y="556"/>
                  </a:lnTo>
                  <a:lnTo>
                    <a:pt x="616" y="567"/>
                  </a:lnTo>
                  <a:lnTo>
                    <a:pt x="622" y="578"/>
                  </a:lnTo>
                  <a:lnTo>
                    <a:pt x="630" y="588"/>
                  </a:lnTo>
                  <a:lnTo>
                    <a:pt x="638" y="597"/>
                  </a:lnTo>
                  <a:lnTo>
                    <a:pt x="638" y="597"/>
                  </a:lnTo>
                  <a:lnTo>
                    <a:pt x="647" y="606"/>
                  </a:lnTo>
                  <a:lnTo>
                    <a:pt x="658" y="614"/>
                  </a:lnTo>
                  <a:lnTo>
                    <a:pt x="668" y="619"/>
                  </a:lnTo>
                  <a:lnTo>
                    <a:pt x="680" y="625"/>
                  </a:lnTo>
                  <a:lnTo>
                    <a:pt x="691" y="629"/>
                  </a:lnTo>
                  <a:lnTo>
                    <a:pt x="703" y="632"/>
                  </a:lnTo>
                  <a:lnTo>
                    <a:pt x="714" y="633"/>
                  </a:lnTo>
                  <a:lnTo>
                    <a:pt x="727" y="634"/>
                  </a:lnTo>
                  <a:lnTo>
                    <a:pt x="739" y="633"/>
                  </a:lnTo>
                  <a:lnTo>
                    <a:pt x="750" y="632"/>
                  </a:lnTo>
                  <a:lnTo>
                    <a:pt x="763" y="629"/>
                  </a:lnTo>
                  <a:lnTo>
                    <a:pt x="775" y="625"/>
                  </a:lnTo>
                  <a:lnTo>
                    <a:pt x="785" y="619"/>
                  </a:lnTo>
                  <a:lnTo>
                    <a:pt x="797" y="614"/>
                  </a:lnTo>
                  <a:lnTo>
                    <a:pt x="806" y="606"/>
                  </a:lnTo>
                  <a:lnTo>
                    <a:pt x="816" y="597"/>
                  </a:lnTo>
                  <a:lnTo>
                    <a:pt x="816" y="597"/>
                  </a:lnTo>
                  <a:lnTo>
                    <a:pt x="825" y="588"/>
                  </a:lnTo>
                  <a:lnTo>
                    <a:pt x="831" y="578"/>
                  </a:lnTo>
                  <a:lnTo>
                    <a:pt x="838" y="567"/>
                  </a:lnTo>
                  <a:lnTo>
                    <a:pt x="843" y="556"/>
                  </a:lnTo>
                  <a:lnTo>
                    <a:pt x="848" y="544"/>
                  </a:lnTo>
                  <a:lnTo>
                    <a:pt x="850" y="533"/>
                  </a:lnTo>
                  <a:lnTo>
                    <a:pt x="852" y="520"/>
                  </a:lnTo>
                  <a:lnTo>
                    <a:pt x="852" y="508"/>
                  </a:lnTo>
                  <a:lnTo>
                    <a:pt x="852" y="497"/>
                  </a:lnTo>
                  <a:lnTo>
                    <a:pt x="850" y="484"/>
                  </a:lnTo>
                  <a:lnTo>
                    <a:pt x="848" y="473"/>
                  </a:lnTo>
                  <a:lnTo>
                    <a:pt x="843" y="461"/>
                  </a:lnTo>
                  <a:lnTo>
                    <a:pt x="838" y="449"/>
                  </a:lnTo>
                  <a:lnTo>
                    <a:pt x="833" y="439"/>
                  </a:lnTo>
                  <a:lnTo>
                    <a:pt x="825" y="429"/>
                  </a:lnTo>
                  <a:lnTo>
                    <a:pt x="816" y="419"/>
                  </a:lnTo>
                  <a:lnTo>
                    <a:pt x="816" y="419"/>
                  </a:lnTo>
                  <a:lnTo>
                    <a:pt x="806" y="411"/>
                  </a:lnTo>
                  <a:lnTo>
                    <a:pt x="797" y="403"/>
                  </a:lnTo>
                  <a:lnTo>
                    <a:pt x="785" y="397"/>
                  </a:lnTo>
                  <a:lnTo>
                    <a:pt x="775" y="392"/>
                  </a:lnTo>
                  <a:lnTo>
                    <a:pt x="763" y="388"/>
                  </a:lnTo>
                  <a:lnTo>
                    <a:pt x="751" y="385"/>
                  </a:lnTo>
                  <a:lnTo>
                    <a:pt x="739" y="384"/>
                  </a:lnTo>
                  <a:lnTo>
                    <a:pt x="727" y="382"/>
                  </a:lnTo>
                  <a:lnTo>
                    <a:pt x="714" y="384"/>
                  </a:lnTo>
                  <a:lnTo>
                    <a:pt x="703" y="385"/>
                  </a:lnTo>
                  <a:lnTo>
                    <a:pt x="691" y="388"/>
                  </a:lnTo>
                  <a:lnTo>
                    <a:pt x="680" y="392"/>
                  </a:lnTo>
                  <a:lnTo>
                    <a:pt x="668" y="397"/>
                  </a:lnTo>
                  <a:lnTo>
                    <a:pt x="658" y="403"/>
                  </a:lnTo>
                  <a:lnTo>
                    <a:pt x="647" y="411"/>
                  </a:lnTo>
                  <a:lnTo>
                    <a:pt x="638" y="419"/>
                  </a:lnTo>
                  <a:lnTo>
                    <a:pt x="638" y="419"/>
                  </a:lnTo>
                  <a:close/>
                  <a:moveTo>
                    <a:pt x="774" y="555"/>
                  </a:moveTo>
                  <a:lnTo>
                    <a:pt x="774" y="555"/>
                  </a:lnTo>
                  <a:lnTo>
                    <a:pt x="763" y="563"/>
                  </a:lnTo>
                  <a:lnTo>
                    <a:pt x="751" y="569"/>
                  </a:lnTo>
                  <a:lnTo>
                    <a:pt x="740" y="572"/>
                  </a:lnTo>
                  <a:lnTo>
                    <a:pt x="727" y="573"/>
                  </a:lnTo>
                  <a:lnTo>
                    <a:pt x="714" y="572"/>
                  </a:lnTo>
                  <a:lnTo>
                    <a:pt x="703" y="569"/>
                  </a:lnTo>
                  <a:lnTo>
                    <a:pt x="691" y="563"/>
                  </a:lnTo>
                  <a:lnTo>
                    <a:pt x="681" y="555"/>
                  </a:lnTo>
                  <a:lnTo>
                    <a:pt x="681" y="555"/>
                  </a:lnTo>
                  <a:lnTo>
                    <a:pt x="673" y="544"/>
                  </a:lnTo>
                  <a:lnTo>
                    <a:pt x="667" y="533"/>
                  </a:lnTo>
                  <a:lnTo>
                    <a:pt x="662" y="521"/>
                  </a:lnTo>
                  <a:lnTo>
                    <a:pt x="661" y="508"/>
                  </a:lnTo>
                  <a:lnTo>
                    <a:pt x="662" y="496"/>
                  </a:lnTo>
                  <a:lnTo>
                    <a:pt x="667" y="484"/>
                  </a:lnTo>
                  <a:lnTo>
                    <a:pt x="673" y="473"/>
                  </a:lnTo>
                  <a:lnTo>
                    <a:pt x="681" y="462"/>
                  </a:lnTo>
                  <a:lnTo>
                    <a:pt x="681" y="462"/>
                  </a:lnTo>
                  <a:lnTo>
                    <a:pt x="691" y="454"/>
                  </a:lnTo>
                  <a:lnTo>
                    <a:pt x="703" y="448"/>
                  </a:lnTo>
                  <a:lnTo>
                    <a:pt x="714" y="445"/>
                  </a:lnTo>
                  <a:lnTo>
                    <a:pt x="727" y="444"/>
                  </a:lnTo>
                  <a:lnTo>
                    <a:pt x="740" y="445"/>
                  </a:lnTo>
                  <a:lnTo>
                    <a:pt x="751" y="448"/>
                  </a:lnTo>
                  <a:lnTo>
                    <a:pt x="763" y="454"/>
                  </a:lnTo>
                  <a:lnTo>
                    <a:pt x="774" y="462"/>
                  </a:lnTo>
                  <a:lnTo>
                    <a:pt x="774" y="462"/>
                  </a:lnTo>
                  <a:lnTo>
                    <a:pt x="782" y="473"/>
                  </a:lnTo>
                  <a:lnTo>
                    <a:pt x="787" y="484"/>
                  </a:lnTo>
                  <a:lnTo>
                    <a:pt x="791" y="496"/>
                  </a:lnTo>
                  <a:lnTo>
                    <a:pt x="792" y="508"/>
                  </a:lnTo>
                  <a:lnTo>
                    <a:pt x="791" y="521"/>
                  </a:lnTo>
                  <a:lnTo>
                    <a:pt x="787" y="533"/>
                  </a:lnTo>
                  <a:lnTo>
                    <a:pt x="782" y="544"/>
                  </a:lnTo>
                  <a:lnTo>
                    <a:pt x="774" y="555"/>
                  </a:lnTo>
                  <a:lnTo>
                    <a:pt x="774" y="5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85" name="Group 484">
            <a:extLst>
              <a:ext uri="{FF2B5EF4-FFF2-40B4-BE49-F238E27FC236}">
                <a16:creationId xmlns:a16="http://schemas.microsoft.com/office/drawing/2014/main" id="{45C83F1F-3E2A-496F-9B3B-1E56765307F4}"/>
              </a:ext>
            </a:extLst>
          </p:cNvPr>
          <p:cNvGrpSpPr/>
          <p:nvPr/>
        </p:nvGrpSpPr>
        <p:grpSpPr>
          <a:xfrm>
            <a:off x="6280712" y="3887682"/>
            <a:ext cx="612775" cy="612775"/>
            <a:chOff x="5694302" y="3032119"/>
            <a:chExt cx="612775" cy="612775"/>
          </a:xfrm>
          <a:solidFill>
            <a:srgbClr val="505050"/>
          </a:solidFill>
        </p:grpSpPr>
        <p:sp>
          <p:nvSpPr>
            <p:cNvPr id="486" name="Oval 485">
              <a:extLst>
                <a:ext uri="{FF2B5EF4-FFF2-40B4-BE49-F238E27FC236}">
                  <a16:creationId xmlns:a16="http://schemas.microsoft.com/office/drawing/2014/main" id="{38822703-582A-4322-BAEF-E57F2A35CEE1}"/>
                </a:ext>
              </a:extLst>
            </p:cNvPr>
            <p:cNvSpPr/>
            <p:nvPr/>
          </p:nvSpPr>
          <p:spPr bwMode="ltGray">
            <a:xfrm>
              <a:off x="569430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87" name="Freeform 32">
              <a:extLst>
                <a:ext uri="{FF2B5EF4-FFF2-40B4-BE49-F238E27FC236}">
                  <a16:creationId xmlns:a16="http://schemas.microsoft.com/office/drawing/2014/main" id="{7F54EB6C-4BA6-4F96-AEBE-2F504D51C758}"/>
                </a:ext>
              </a:extLst>
            </p:cNvPr>
            <p:cNvSpPr>
              <a:spLocks noEditPoints="1"/>
            </p:cNvSpPr>
            <p:nvPr/>
          </p:nvSpPr>
          <p:spPr bwMode="auto">
            <a:xfrm>
              <a:off x="5884261" y="3108366"/>
              <a:ext cx="252000" cy="468000"/>
            </a:xfrm>
            <a:custGeom>
              <a:avLst/>
              <a:gdLst>
                <a:gd name="T0" fmla="*/ 420 w 544"/>
                <a:gd name="T1" fmla="*/ 437 h 941"/>
                <a:gd name="T2" fmla="*/ 529 w 544"/>
                <a:gd name="T3" fmla="*/ 72 h 941"/>
                <a:gd name="T4" fmla="*/ 520 w 544"/>
                <a:gd name="T5" fmla="*/ 69 h 941"/>
                <a:gd name="T6" fmla="*/ 530 w 544"/>
                <a:gd name="T7" fmla="*/ 79 h 941"/>
                <a:gd name="T8" fmla="*/ 312 w 544"/>
                <a:gd name="T9" fmla="*/ 437 h 941"/>
                <a:gd name="T10" fmla="*/ 1 w 544"/>
                <a:gd name="T11" fmla="*/ 102 h 941"/>
                <a:gd name="T12" fmla="*/ 3 w 544"/>
                <a:gd name="T13" fmla="*/ 67 h 941"/>
                <a:gd name="T14" fmla="*/ 16 w 544"/>
                <a:gd name="T15" fmla="*/ 37 h 941"/>
                <a:gd name="T16" fmla="*/ 41 w 544"/>
                <a:gd name="T17" fmla="*/ 14 h 941"/>
                <a:gd name="T18" fmla="*/ 65 w 544"/>
                <a:gd name="T19" fmla="*/ 3 h 941"/>
                <a:gd name="T20" fmla="*/ 100 w 544"/>
                <a:gd name="T21" fmla="*/ 1 h 941"/>
                <a:gd name="T22" fmla="*/ 132 w 544"/>
                <a:gd name="T23" fmla="*/ 11 h 941"/>
                <a:gd name="T24" fmla="*/ 157 w 544"/>
                <a:gd name="T25" fmla="*/ 33 h 941"/>
                <a:gd name="T26" fmla="*/ 172 w 544"/>
                <a:gd name="T27" fmla="*/ 65 h 941"/>
                <a:gd name="T28" fmla="*/ 67 w 544"/>
                <a:gd name="T29" fmla="*/ 95 h 941"/>
                <a:gd name="T30" fmla="*/ 131 w 544"/>
                <a:gd name="T31" fmla="*/ 328 h 941"/>
                <a:gd name="T32" fmla="*/ 146 w 544"/>
                <a:gd name="T33" fmla="*/ 335 h 941"/>
                <a:gd name="T34" fmla="*/ 159 w 544"/>
                <a:gd name="T35" fmla="*/ 333 h 941"/>
                <a:gd name="T36" fmla="*/ 169 w 544"/>
                <a:gd name="T37" fmla="*/ 321 h 941"/>
                <a:gd name="T38" fmla="*/ 109 w 544"/>
                <a:gd name="T39" fmla="*/ 83 h 941"/>
                <a:gd name="T40" fmla="*/ 103 w 544"/>
                <a:gd name="T41" fmla="*/ 73 h 941"/>
                <a:gd name="T42" fmla="*/ 87 w 544"/>
                <a:gd name="T43" fmla="*/ 68 h 941"/>
                <a:gd name="T44" fmla="*/ 75 w 544"/>
                <a:gd name="T45" fmla="*/ 73 h 941"/>
                <a:gd name="T46" fmla="*/ 67 w 544"/>
                <a:gd name="T47" fmla="*/ 86 h 941"/>
                <a:gd name="T48" fmla="*/ 505 w 544"/>
                <a:gd name="T49" fmla="*/ 473 h 941"/>
                <a:gd name="T50" fmla="*/ 19 w 544"/>
                <a:gd name="T51" fmla="*/ 474 h 941"/>
                <a:gd name="T52" fmla="*/ 4 w 544"/>
                <a:gd name="T53" fmla="*/ 486 h 941"/>
                <a:gd name="T54" fmla="*/ 3 w 544"/>
                <a:gd name="T55" fmla="*/ 498 h 941"/>
                <a:gd name="T56" fmla="*/ 14 w 544"/>
                <a:gd name="T57" fmla="*/ 511 h 941"/>
                <a:gd name="T58" fmla="*/ 83 w 544"/>
                <a:gd name="T59" fmla="*/ 901 h 941"/>
                <a:gd name="T60" fmla="*/ 63 w 544"/>
                <a:gd name="T61" fmla="*/ 910 h 941"/>
                <a:gd name="T62" fmla="*/ 58 w 544"/>
                <a:gd name="T63" fmla="*/ 920 h 941"/>
                <a:gd name="T64" fmla="*/ 67 w 544"/>
                <a:gd name="T65" fmla="*/ 935 h 941"/>
                <a:gd name="T66" fmla="*/ 88 w 544"/>
                <a:gd name="T67" fmla="*/ 941 h 941"/>
                <a:gd name="T68" fmla="*/ 459 w 544"/>
                <a:gd name="T69" fmla="*/ 940 h 941"/>
                <a:gd name="T70" fmla="*/ 474 w 544"/>
                <a:gd name="T71" fmla="*/ 928 h 941"/>
                <a:gd name="T72" fmla="*/ 477 w 544"/>
                <a:gd name="T73" fmla="*/ 917 h 941"/>
                <a:gd name="T74" fmla="*/ 462 w 544"/>
                <a:gd name="T75" fmla="*/ 903 h 941"/>
                <a:gd name="T76" fmla="*/ 512 w 544"/>
                <a:gd name="T77" fmla="*/ 515 h 941"/>
                <a:gd name="T78" fmla="*/ 530 w 544"/>
                <a:gd name="T79" fmla="*/ 505 h 941"/>
                <a:gd name="T80" fmla="*/ 534 w 544"/>
                <a:gd name="T81" fmla="*/ 494 h 941"/>
                <a:gd name="T82" fmla="*/ 525 w 544"/>
                <a:gd name="T83" fmla="*/ 479 h 941"/>
                <a:gd name="T84" fmla="*/ 505 w 544"/>
                <a:gd name="T85" fmla="*/ 473 h 941"/>
                <a:gd name="T86" fmla="*/ 154 w 544"/>
                <a:gd name="T87" fmla="*/ 885 h 941"/>
                <a:gd name="T88" fmla="*/ 137 w 544"/>
                <a:gd name="T89" fmla="*/ 875 h 941"/>
                <a:gd name="T90" fmla="*/ 87 w 544"/>
                <a:gd name="T91" fmla="*/ 537 h 941"/>
                <a:gd name="T92" fmla="*/ 94 w 544"/>
                <a:gd name="T93" fmla="*/ 523 h 941"/>
                <a:gd name="T94" fmla="*/ 104 w 544"/>
                <a:gd name="T95" fmla="*/ 518 h 941"/>
                <a:gd name="T96" fmla="*/ 119 w 544"/>
                <a:gd name="T97" fmla="*/ 521 h 941"/>
                <a:gd name="T98" fmla="*/ 126 w 544"/>
                <a:gd name="T99" fmla="*/ 535 h 941"/>
                <a:gd name="T100" fmla="*/ 172 w 544"/>
                <a:gd name="T101" fmla="*/ 870 h 941"/>
                <a:gd name="T102" fmla="*/ 164 w 544"/>
                <a:gd name="T103" fmla="*/ 882 h 9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4" h="941">
                  <a:moveTo>
                    <a:pt x="495" y="226"/>
                  </a:moveTo>
                  <a:lnTo>
                    <a:pt x="544" y="243"/>
                  </a:lnTo>
                  <a:lnTo>
                    <a:pt x="474" y="437"/>
                  </a:lnTo>
                  <a:lnTo>
                    <a:pt x="420" y="437"/>
                  </a:lnTo>
                  <a:lnTo>
                    <a:pt x="495" y="226"/>
                  </a:lnTo>
                  <a:close/>
                  <a:moveTo>
                    <a:pt x="530" y="79"/>
                  </a:moveTo>
                  <a:lnTo>
                    <a:pt x="530" y="79"/>
                  </a:lnTo>
                  <a:lnTo>
                    <a:pt x="529" y="72"/>
                  </a:lnTo>
                  <a:lnTo>
                    <a:pt x="526" y="69"/>
                  </a:lnTo>
                  <a:lnTo>
                    <a:pt x="525" y="68"/>
                  </a:lnTo>
                  <a:lnTo>
                    <a:pt x="523" y="68"/>
                  </a:lnTo>
                  <a:lnTo>
                    <a:pt x="520" y="69"/>
                  </a:lnTo>
                  <a:lnTo>
                    <a:pt x="516" y="73"/>
                  </a:lnTo>
                  <a:lnTo>
                    <a:pt x="444" y="146"/>
                  </a:lnTo>
                  <a:lnTo>
                    <a:pt x="538" y="180"/>
                  </a:lnTo>
                  <a:lnTo>
                    <a:pt x="530" y="79"/>
                  </a:lnTo>
                  <a:close/>
                  <a:moveTo>
                    <a:pt x="367" y="437"/>
                  </a:moveTo>
                  <a:lnTo>
                    <a:pt x="448" y="208"/>
                  </a:lnTo>
                  <a:lnTo>
                    <a:pt x="400" y="192"/>
                  </a:lnTo>
                  <a:lnTo>
                    <a:pt x="312" y="437"/>
                  </a:lnTo>
                  <a:lnTo>
                    <a:pt x="367" y="437"/>
                  </a:lnTo>
                  <a:close/>
                  <a:moveTo>
                    <a:pt x="4" y="110"/>
                  </a:moveTo>
                  <a:lnTo>
                    <a:pt x="4" y="110"/>
                  </a:lnTo>
                  <a:lnTo>
                    <a:pt x="1" y="102"/>
                  </a:lnTo>
                  <a:lnTo>
                    <a:pt x="0" y="93"/>
                  </a:lnTo>
                  <a:lnTo>
                    <a:pt x="0" y="84"/>
                  </a:lnTo>
                  <a:lnTo>
                    <a:pt x="1" y="75"/>
                  </a:lnTo>
                  <a:lnTo>
                    <a:pt x="3" y="67"/>
                  </a:lnTo>
                  <a:lnTo>
                    <a:pt x="5" y="59"/>
                  </a:lnTo>
                  <a:lnTo>
                    <a:pt x="8" y="51"/>
                  </a:lnTo>
                  <a:lnTo>
                    <a:pt x="12" y="44"/>
                  </a:lnTo>
                  <a:lnTo>
                    <a:pt x="16" y="37"/>
                  </a:lnTo>
                  <a:lnTo>
                    <a:pt x="22" y="30"/>
                  </a:lnTo>
                  <a:lnTo>
                    <a:pt x="28" y="24"/>
                  </a:lnTo>
                  <a:lnTo>
                    <a:pt x="34" y="18"/>
                  </a:lnTo>
                  <a:lnTo>
                    <a:pt x="41" y="14"/>
                  </a:lnTo>
                  <a:lnTo>
                    <a:pt x="49" y="9"/>
                  </a:lnTo>
                  <a:lnTo>
                    <a:pt x="57" y="6"/>
                  </a:lnTo>
                  <a:lnTo>
                    <a:pt x="65" y="3"/>
                  </a:lnTo>
                  <a:lnTo>
                    <a:pt x="65" y="3"/>
                  </a:lnTo>
                  <a:lnTo>
                    <a:pt x="74" y="1"/>
                  </a:lnTo>
                  <a:lnTo>
                    <a:pt x="83" y="0"/>
                  </a:lnTo>
                  <a:lnTo>
                    <a:pt x="92" y="0"/>
                  </a:lnTo>
                  <a:lnTo>
                    <a:pt x="100" y="1"/>
                  </a:lnTo>
                  <a:lnTo>
                    <a:pt x="109" y="2"/>
                  </a:lnTo>
                  <a:lnTo>
                    <a:pt x="117" y="4"/>
                  </a:lnTo>
                  <a:lnTo>
                    <a:pt x="124" y="8"/>
                  </a:lnTo>
                  <a:lnTo>
                    <a:pt x="132" y="11"/>
                  </a:lnTo>
                  <a:lnTo>
                    <a:pt x="139" y="16"/>
                  </a:lnTo>
                  <a:lnTo>
                    <a:pt x="146" y="22"/>
                  </a:lnTo>
                  <a:lnTo>
                    <a:pt x="152" y="28"/>
                  </a:lnTo>
                  <a:lnTo>
                    <a:pt x="157" y="33"/>
                  </a:lnTo>
                  <a:lnTo>
                    <a:pt x="162" y="40"/>
                  </a:lnTo>
                  <a:lnTo>
                    <a:pt x="167" y="49"/>
                  </a:lnTo>
                  <a:lnTo>
                    <a:pt x="170" y="57"/>
                  </a:lnTo>
                  <a:lnTo>
                    <a:pt x="172" y="65"/>
                  </a:lnTo>
                  <a:lnTo>
                    <a:pt x="270" y="437"/>
                  </a:lnTo>
                  <a:lnTo>
                    <a:pt x="89" y="437"/>
                  </a:lnTo>
                  <a:lnTo>
                    <a:pt x="4" y="110"/>
                  </a:lnTo>
                  <a:close/>
                  <a:moveTo>
                    <a:pt x="67" y="95"/>
                  </a:moveTo>
                  <a:lnTo>
                    <a:pt x="127" y="320"/>
                  </a:lnTo>
                  <a:lnTo>
                    <a:pt x="127" y="320"/>
                  </a:lnTo>
                  <a:lnTo>
                    <a:pt x="129" y="324"/>
                  </a:lnTo>
                  <a:lnTo>
                    <a:pt x="131" y="328"/>
                  </a:lnTo>
                  <a:lnTo>
                    <a:pt x="134" y="330"/>
                  </a:lnTo>
                  <a:lnTo>
                    <a:pt x="138" y="333"/>
                  </a:lnTo>
                  <a:lnTo>
                    <a:pt x="141" y="335"/>
                  </a:lnTo>
                  <a:lnTo>
                    <a:pt x="146" y="335"/>
                  </a:lnTo>
                  <a:lnTo>
                    <a:pt x="149" y="335"/>
                  </a:lnTo>
                  <a:lnTo>
                    <a:pt x="154" y="335"/>
                  </a:lnTo>
                  <a:lnTo>
                    <a:pt x="154" y="335"/>
                  </a:lnTo>
                  <a:lnTo>
                    <a:pt x="159" y="333"/>
                  </a:lnTo>
                  <a:lnTo>
                    <a:pt x="162" y="330"/>
                  </a:lnTo>
                  <a:lnTo>
                    <a:pt x="164" y="328"/>
                  </a:lnTo>
                  <a:lnTo>
                    <a:pt x="168" y="324"/>
                  </a:lnTo>
                  <a:lnTo>
                    <a:pt x="169" y="321"/>
                  </a:lnTo>
                  <a:lnTo>
                    <a:pt x="170" y="317"/>
                  </a:lnTo>
                  <a:lnTo>
                    <a:pt x="170" y="313"/>
                  </a:lnTo>
                  <a:lnTo>
                    <a:pt x="170" y="308"/>
                  </a:lnTo>
                  <a:lnTo>
                    <a:pt x="109" y="83"/>
                  </a:lnTo>
                  <a:lnTo>
                    <a:pt x="109" y="83"/>
                  </a:lnTo>
                  <a:lnTo>
                    <a:pt x="108" y="79"/>
                  </a:lnTo>
                  <a:lnTo>
                    <a:pt x="105" y="75"/>
                  </a:lnTo>
                  <a:lnTo>
                    <a:pt x="103" y="73"/>
                  </a:lnTo>
                  <a:lnTo>
                    <a:pt x="100" y="71"/>
                  </a:lnTo>
                  <a:lnTo>
                    <a:pt x="96" y="68"/>
                  </a:lnTo>
                  <a:lnTo>
                    <a:pt x="92" y="68"/>
                  </a:lnTo>
                  <a:lnTo>
                    <a:pt x="87" y="68"/>
                  </a:lnTo>
                  <a:lnTo>
                    <a:pt x="83" y="68"/>
                  </a:lnTo>
                  <a:lnTo>
                    <a:pt x="83" y="68"/>
                  </a:lnTo>
                  <a:lnTo>
                    <a:pt x="79" y="71"/>
                  </a:lnTo>
                  <a:lnTo>
                    <a:pt x="75" y="73"/>
                  </a:lnTo>
                  <a:lnTo>
                    <a:pt x="72" y="75"/>
                  </a:lnTo>
                  <a:lnTo>
                    <a:pt x="70" y="79"/>
                  </a:lnTo>
                  <a:lnTo>
                    <a:pt x="67" y="82"/>
                  </a:lnTo>
                  <a:lnTo>
                    <a:pt x="67" y="86"/>
                  </a:lnTo>
                  <a:lnTo>
                    <a:pt x="66" y="90"/>
                  </a:lnTo>
                  <a:lnTo>
                    <a:pt x="67" y="95"/>
                  </a:lnTo>
                  <a:lnTo>
                    <a:pt x="67" y="95"/>
                  </a:lnTo>
                  <a:close/>
                  <a:moveTo>
                    <a:pt x="505" y="473"/>
                  </a:moveTo>
                  <a:lnTo>
                    <a:pt x="30" y="473"/>
                  </a:lnTo>
                  <a:lnTo>
                    <a:pt x="30" y="473"/>
                  </a:lnTo>
                  <a:lnTo>
                    <a:pt x="25" y="473"/>
                  </a:lnTo>
                  <a:lnTo>
                    <a:pt x="19" y="474"/>
                  </a:lnTo>
                  <a:lnTo>
                    <a:pt x="14" y="476"/>
                  </a:lnTo>
                  <a:lnTo>
                    <a:pt x="9" y="479"/>
                  </a:lnTo>
                  <a:lnTo>
                    <a:pt x="6" y="482"/>
                  </a:lnTo>
                  <a:lnTo>
                    <a:pt x="4" y="486"/>
                  </a:lnTo>
                  <a:lnTo>
                    <a:pt x="3" y="489"/>
                  </a:lnTo>
                  <a:lnTo>
                    <a:pt x="1" y="494"/>
                  </a:lnTo>
                  <a:lnTo>
                    <a:pt x="1" y="494"/>
                  </a:lnTo>
                  <a:lnTo>
                    <a:pt x="3" y="498"/>
                  </a:lnTo>
                  <a:lnTo>
                    <a:pt x="4" y="502"/>
                  </a:lnTo>
                  <a:lnTo>
                    <a:pt x="6" y="505"/>
                  </a:lnTo>
                  <a:lnTo>
                    <a:pt x="9" y="509"/>
                  </a:lnTo>
                  <a:lnTo>
                    <a:pt x="14" y="511"/>
                  </a:lnTo>
                  <a:lnTo>
                    <a:pt x="19" y="513"/>
                  </a:lnTo>
                  <a:lnTo>
                    <a:pt x="23" y="515"/>
                  </a:lnTo>
                  <a:lnTo>
                    <a:pt x="29" y="515"/>
                  </a:lnTo>
                  <a:lnTo>
                    <a:pt x="83" y="901"/>
                  </a:lnTo>
                  <a:lnTo>
                    <a:pt x="83" y="901"/>
                  </a:lnTo>
                  <a:lnTo>
                    <a:pt x="73" y="903"/>
                  </a:lnTo>
                  <a:lnTo>
                    <a:pt x="66" y="907"/>
                  </a:lnTo>
                  <a:lnTo>
                    <a:pt x="63" y="910"/>
                  </a:lnTo>
                  <a:lnTo>
                    <a:pt x="60" y="913"/>
                  </a:lnTo>
                  <a:lnTo>
                    <a:pt x="59" y="917"/>
                  </a:lnTo>
                  <a:lnTo>
                    <a:pt x="58" y="920"/>
                  </a:lnTo>
                  <a:lnTo>
                    <a:pt x="58" y="920"/>
                  </a:lnTo>
                  <a:lnTo>
                    <a:pt x="59" y="925"/>
                  </a:lnTo>
                  <a:lnTo>
                    <a:pt x="60" y="928"/>
                  </a:lnTo>
                  <a:lnTo>
                    <a:pt x="64" y="932"/>
                  </a:lnTo>
                  <a:lnTo>
                    <a:pt x="67" y="935"/>
                  </a:lnTo>
                  <a:lnTo>
                    <a:pt x="72" y="938"/>
                  </a:lnTo>
                  <a:lnTo>
                    <a:pt x="77" y="940"/>
                  </a:lnTo>
                  <a:lnTo>
                    <a:pt x="82" y="941"/>
                  </a:lnTo>
                  <a:lnTo>
                    <a:pt x="88" y="941"/>
                  </a:lnTo>
                  <a:lnTo>
                    <a:pt x="448" y="941"/>
                  </a:lnTo>
                  <a:lnTo>
                    <a:pt x="448" y="941"/>
                  </a:lnTo>
                  <a:lnTo>
                    <a:pt x="453" y="941"/>
                  </a:lnTo>
                  <a:lnTo>
                    <a:pt x="459" y="940"/>
                  </a:lnTo>
                  <a:lnTo>
                    <a:pt x="464" y="938"/>
                  </a:lnTo>
                  <a:lnTo>
                    <a:pt x="468" y="935"/>
                  </a:lnTo>
                  <a:lnTo>
                    <a:pt x="472" y="932"/>
                  </a:lnTo>
                  <a:lnTo>
                    <a:pt x="474" y="928"/>
                  </a:lnTo>
                  <a:lnTo>
                    <a:pt x="477" y="925"/>
                  </a:lnTo>
                  <a:lnTo>
                    <a:pt x="477" y="920"/>
                  </a:lnTo>
                  <a:lnTo>
                    <a:pt x="477" y="920"/>
                  </a:lnTo>
                  <a:lnTo>
                    <a:pt x="477" y="917"/>
                  </a:lnTo>
                  <a:lnTo>
                    <a:pt x="475" y="913"/>
                  </a:lnTo>
                  <a:lnTo>
                    <a:pt x="473" y="910"/>
                  </a:lnTo>
                  <a:lnTo>
                    <a:pt x="470" y="907"/>
                  </a:lnTo>
                  <a:lnTo>
                    <a:pt x="462" y="903"/>
                  </a:lnTo>
                  <a:lnTo>
                    <a:pt x="452" y="901"/>
                  </a:lnTo>
                  <a:lnTo>
                    <a:pt x="507" y="515"/>
                  </a:lnTo>
                  <a:lnTo>
                    <a:pt x="507" y="515"/>
                  </a:lnTo>
                  <a:lnTo>
                    <a:pt x="512" y="515"/>
                  </a:lnTo>
                  <a:lnTo>
                    <a:pt x="517" y="513"/>
                  </a:lnTo>
                  <a:lnTo>
                    <a:pt x="522" y="511"/>
                  </a:lnTo>
                  <a:lnTo>
                    <a:pt x="526" y="509"/>
                  </a:lnTo>
                  <a:lnTo>
                    <a:pt x="530" y="505"/>
                  </a:lnTo>
                  <a:lnTo>
                    <a:pt x="532" y="502"/>
                  </a:lnTo>
                  <a:lnTo>
                    <a:pt x="533" y="498"/>
                  </a:lnTo>
                  <a:lnTo>
                    <a:pt x="534" y="494"/>
                  </a:lnTo>
                  <a:lnTo>
                    <a:pt x="534" y="494"/>
                  </a:lnTo>
                  <a:lnTo>
                    <a:pt x="533" y="489"/>
                  </a:lnTo>
                  <a:lnTo>
                    <a:pt x="532" y="486"/>
                  </a:lnTo>
                  <a:lnTo>
                    <a:pt x="530" y="482"/>
                  </a:lnTo>
                  <a:lnTo>
                    <a:pt x="525" y="479"/>
                  </a:lnTo>
                  <a:lnTo>
                    <a:pt x="522" y="476"/>
                  </a:lnTo>
                  <a:lnTo>
                    <a:pt x="516" y="474"/>
                  </a:lnTo>
                  <a:lnTo>
                    <a:pt x="511" y="473"/>
                  </a:lnTo>
                  <a:lnTo>
                    <a:pt x="505" y="473"/>
                  </a:lnTo>
                  <a:lnTo>
                    <a:pt x="505" y="473"/>
                  </a:lnTo>
                  <a:close/>
                  <a:moveTo>
                    <a:pt x="156" y="884"/>
                  </a:moveTo>
                  <a:lnTo>
                    <a:pt x="156" y="884"/>
                  </a:lnTo>
                  <a:lnTo>
                    <a:pt x="154" y="885"/>
                  </a:lnTo>
                  <a:lnTo>
                    <a:pt x="154" y="885"/>
                  </a:lnTo>
                  <a:lnTo>
                    <a:pt x="147" y="884"/>
                  </a:lnTo>
                  <a:lnTo>
                    <a:pt x="141" y="880"/>
                  </a:lnTo>
                  <a:lnTo>
                    <a:pt x="137" y="875"/>
                  </a:lnTo>
                  <a:lnTo>
                    <a:pt x="134" y="868"/>
                  </a:lnTo>
                  <a:lnTo>
                    <a:pt x="87" y="541"/>
                  </a:lnTo>
                  <a:lnTo>
                    <a:pt x="87" y="541"/>
                  </a:lnTo>
                  <a:lnTo>
                    <a:pt x="87" y="537"/>
                  </a:lnTo>
                  <a:lnTo>
                    <a:pt x="88" y="533"/>
                  </a:lnTo>
                  <a:lnTo>
                    <a:pt x="89" y="530"/>
                  </a:lnTo>
                  <a:lnTo>
                    <a:pt x="92" y="526"/>
                  </a:lnTo>
                  <a:lnTo>
                    <a:pt x="94" y="523"/>
                  </a:lnTo>
                  <a:lnTo>
                    <a:pt x="96" y="520"/>
                  </a:lnTo>
                  <a:lnTo>
                    <a:pt x="101" y="519"/>
                  </a:lnTo>
                  <a:lnTo>
                    <a:pt x="104" y="518"/>
                  </a:lnTo>
                  <a:lnTo>
                    <a:pt x="104" y="518"/>
                  </a:lnTo>
                  <a:lnTo>
                    <a:pt x="108" y="518"/>
                  </a:lnTo>
                  <a:lnTo>
                    <a:pt x="112" y="518"/>
                  </a:lnTo>
                  <a:lnTo>
                    <a:pt x="116" y="520"/>
                  </a:lnTo>
                  <a:lnTo>
                    <a:pt x="119" y="521"/>
                  </a:lnTo>
                  <a:lnTo>
                    <a:pt x="122" y="525"/>
                  </a:lnTo>
                  <a:lnTo>
                    <a:pt x="124" y="527"/>
                  </a:lnTo>
                  <a:lnTo>
                    <a:pt x="126" y="531"/>
                  </a:lnTo>
                  <a:lnTo>
                    <a:pt x="126" y="535"/>
                  </a:lnTo>
                  <a:lnTo>
                    <a:pt x="174" y="862"/>
                  </a:lnTo>
                  <a:lnTo>
                    <a:pt x="174" y="862"/>
                  </a:lnTo>
                  <a:lnTo>
                    <a:pt x="174" y="866"/>
                  </a:lnTo>
                  <a:lnTo>
                    <a:pt x="172" y="870"/>
                  </a:lnTo>
                  <a:lnTo>
                    <a:pt x="171" y="874"/>
                  </a:lnTo>
                  <a:lnTo>
                    <a:pt x="170" y="877"/>
                  </a:lnTo>
                  <a:lnTo>
                    <a:pt x="167" y="880"/>
                  </a:lnTo>
                  <a:lnTo>
                    <a:pt x="164" y="882"/>
                  </a:lnTo>
                  <a:lnTo>
                    <a:pt x="161" y="884"/>
                  </a:lnTo>
                  <a:lnTo>
                    <a:pt x="156" y="884"/>
                  </a:lnTo>
                  <a:lnTo>
                    <a:pt x="156" y="8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88" name="Group 487">
            <a:extLst>
              <a:ext uri="{FF2B5EF4-FFF2-40B4-BE49-F238E27FC236}">
                <a16:creationId xmlns:a16="http://schemas.microsoft.com/office/drawing/2014/main" id="{0DDD331D-4095-453D-9EBC-61FCB4C9FB4D}"/>
              </a:ext>
            </a:extLst>
          </p:cNvPr>
          <p:cNvGrpSpPr/>
          <p:nvPr/>
        </p:nvGrpSpPr>
        <p:grpSpPr>
          <a:xfrm>
            <a:off x="3780467" y="4641612"/>
            <a:ext cx="612775" cy="612775"/>
            <a:chOff x="3507947" y="3032119"/>
            <a:chExt cx="612775" cy="612775"/>
          </a:xfrm>
          <a:solidFill>
            <a:srgbClr val="505050"/>
          </a:solidFill>
        </p:grpSpPr>
        <p:sp>
          <p:nvSpPr>
            <p:cNvPr id="489" name="Oval 488">
              <a:extLst>
                <a:ext uri="{FF2B5EF4-FFF2-40B4-BE49-F238E27FC236}">
                  <a16:creationId xmlns:a16="http://schemas.microsoft.com/office/drawing/2014/main" id="{7D16C740-CC47-4613-9AE5-892C427F1089}"/>
                </a:ext>
              </a:extLst>
            </p:cNvPr>
            <p:cNvSpPr/>
            <p:nvPr/>
          </p:nvSpPr>
          <p:spPr bwMode="ltGray">
            <a:xfrm>
              <a:off x="3507947"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90" name="Freeform 37">
              <a:extLst>
                <a:ext uri="{FF2B5EF4-FFF2-40B4-BE49-F238E27FC236}">
                  <a16:creationId xmlns:a16="http://schemas.microsoft.com/office/drawing/2014/main" id="{EEF2A791-EA29-4EC2-84E5-55FD6F7F699B}"/>
                </a:ext>
              </a:extLst>
            </p:cNvPr>
            <p:cNvSpPr>
              <a:spLocks noEditPoints="1"/>
            </p:cNvSpPr>
            <p:nvPr/>
          </p:nvSpPr>
          <p:spPr bwMode="auto">
            <a:xfrm>
              <a:off x="3622630" y="3162711"/>
              <a:ext cx="407988" cy="373063"/>
            </a:xfrm>
            <a:custGeom>
              <a:avLst/>
              <a:gdLst>
                <a:gd name="T0" fmla="*/ 737 w 773"/>
                <a:gd name="T1" fmla="*/ 261 h 706"/>
                <a:gd name="T2" fmla="*/ 661 w 773"/>
                <a:gd name="T3" fmla="*/ 148 h 706"/>
                <a:gd name="T4" fmla="*/ 561 w 773"/>
                <a:gd name="T5" fmla="*/ 69 h 706"/>
                <a:gd name="T6" fmla="*/ 456 w 773"/>
                <a:gd name="T7" fmla="*/ 34 h 706"/>
                <a:gd name="T8" fmla="*/ 374 w 773"/>
                <a:gd name="T9" fmla="*/ 44 h 706"/>
                <a:gd name="T10" fmla="*/ 311 w 773"/>
                <a:gd name="T11" fmla="*/ 110 h 706"/>
                <a:gd name="T12" fmla="*/ 321 w 773"/>
                <a:gd name="T13" fmla="*/ 231 h 706"/>
                <a:gd name="T14" fmla="*/ 389 w 773"/>
                <a:gd name="T15" fmla="*/ 363 h 706"/>
                <a:gd name="T16" fmla="*/ 445 w 773"/>
                <a:gd name="T17" fmla="*/ 370 h 706"/>
                <a:gd name="T18" fmla="*/ 500 w 773"/>
                <a:gd name="T19" fmla="*/ 412 h 706"/>
                <a:gd name="T20" fmla="*/ 525 w 773"/>
                <a:gd name="T21" fmla="*/ 515 h 706"/>
                <a:gd name="T22" fmla="*/ 537 w 773"/>
                <a:gd name="T23" fmla="*/ 574 h 706"/>
                <a:gd name="T24" fmla="*/ 514 w 773"/>
                <a:gd name="T25" fmla="*/ 605 h 706"/>
                <a:gd name="T26" fmla="*/ 445 w 773"/>
                <a:gd name="T27" fmla="*/ 592 h 706"/>
                <a:gd name="T28" fmla="*/ 333 w 773"/>
                <a:gd name="T29" fmla="*/ 527 h 706"/>
                <a:gd name="T30" fmla="*/ 309 w 773"/>
                <a:gd name="T31" fmla="*/ 442 h 706"/>
                <a:gd name="T32" fmla="*/ 209 w 773"/>
                <a:gd name="T33" fmla="*/ 370 h 706"/>
                <a:gd name="T34" fmla="*/ 156 w 773"/>
                <a:gd name="T35" fmla="*/ 352 h 706"/>
                <a:gd name="T36" fmla="*/ 158 w 773"/>
                <a:gd name="T37" fmla="*/ 435 h 706"/>
                <a:gd name="T38" fmla="*/ 234 w 773"/>
                <a:gd name="T39" fmla="*/ 573 h 706"/>
                <a:gd name="T40" fmla="*/ 328 w 773"/>
                <a:gd name="T41" fmla="*/ 655 h 706"/>
                <a:gd name="T42" fmla="*/ 426 w 773"/>
                <a:gd name="T43" fmla="*/ 698 h 706"/>
                <a:gd name="T44" fmla="*/ 552 w 773"/>
                <a:gd name="T45" fmla="*/ 699 h 706"/>
                <a:gd name="T46" fmla="*/ 670 w 773"/>
                <a:gd name="T47" fmla="*/ 645 h 706"/>
                <a:gd name="T48" fmla="*/ 742 w 773"/>
                <a:gd name="T49" fmla="*/ 559 h 706"/>
                <a:gd name="T50" fmla="*/ 773 w 773"/>
                <a:gd name="T51" fmla="*/ 434 h 706"/>
                <a:gd name="T52" fmla="*/ 493 w 773"/>
                <a:gd name="T53" fmla="*/ 210 h 706"/>
                <a:gd name="T54" fmla="*/ 434 w 773"/>
                <a:gd name="T55" fmla="*/ 231 h 706"/>
                <a:gd name="T56" fmla="*/ 400 w 773"/>
                <a:gd name="T57" fmla="*/ 187 h 706"/>
                <a:gd name="T58" fmla="*/ 429 w 773"/>
                <a:gd name="T59" fmla="*/ 139 h 706"/>
                <a:gd name="T60" fmla="*/ 484 w 773"/>
                <a:gd name="T61" fmla="*/ 148 h 706"/>
                <a:gd name="T62" fmla="*/ 493 w 773"/>
                <a:gd name="T63" fmla="*/ 210 h 706"/>
                <a:gd name="T64" fmla="*/ 572 w 773"/>
                <a:gd name="T65" fmla="*/ 229 h 706"/>
                <a:gd name="T66" fmla="*/ 624 w 773"/>
                <a:gd name="T67" fmla="*/ 247 h 706"/>
                <a:gd name="T68" fmla="*/ 626 w 773"/>
                <a:gd name="T69" fmla="*/ 303 h 706"/>
                <a:gd name="T70" fmla="*/ 567 w 773"/>
                <a:gd name="T71" fmla="*/ 324 h 706"/>
                <a:gd name="T72" fmla="*/ 533 w 773"/>
                <a:gd name="T73" fmla="*/ 280 h 706"/>
                <a:gd name="T74" fmla="*/ 668 w 773"/>
                <a:gd name="T75" fmla="*/ 476 h 706"/>
                <a:gd name="T76" fmla="*/ 605 w 773"/>
                <a:gd name="T77" fmla="*/ 485 h 706"/>
                <a:gd name="T78" fmla="*/ 582 w 773"/>
                <a:gd name="T79" fmla="*/ 435 h 706"/>
                <a:gd name="T80" fmla="*/ 619 w 773"/>
                <a:gd name="T81" fmla="*/ 394 h 706"/>
                <a:gd name="T82" fmla="*/ 671 w 773"/>
                <a:gd name="T83" fmla="*/ 413 h 706"/>
                <a:gd name="T84" fmla="*/ 674 w 773"/>
                <a:gd name="T85" fmla="*/ 467 h 706"/>
                <a:gd name="T86" fmla="*/ 3 w 773"/>
                <a:gd name="T87" fmla="*/ 18 h 706"/>
                <a:gd name="T88" fmla="*/ 30 w 773"/>
                <a:gd name="T89" fmla="*/ 0 h 706"/>
                <a:gd name="T90" fmla="*/ 84 w 773"/>
                <a:gd name="T91" fmla="*/ 41 h 706"/>
                <a:gd name="T92" fmla="*/ 285 w 773"/>
                <a:gd name="T93" fmla="*/ 228 h 706"/>
                <a:gd name="T94" fmla="*/ 362 w 773"/>
                <a:gd name="T95" fmla="*/ 356 h 706"/>
                <a:gd name="T96" fmla="*/ 262 w 773"/>
                <a:gd name="T97" fmla="*/ 385 h 706"/>
                <a:gd name="T98" fmla="*/ 164 w 773"/>
                <a:gd name="T99" fmla="*/ 267 h 706"/>
                <a:gd name="T100" fmla="*/ 5 w 773"/>
                <a:gd name="T101" fmla="*/ 42 h 706"/>
                <a:gd name="T102" fmla="*/ 375 w 773"/>
                <a:gd name="T103" fmla="*/ 391 h 706"/>
                <a:gd name="T104" fmla="*/ 429 w 773"/>
                <a:gd name="T105" fmla="*/ 390 h 706"/>
                <a:gd name="T106" fmla="*/ 478 w 773"/>
                <a:gd name="T107" fmla="*/ 425 h 706"/>
                <a:gd name="T108" fmla="*/ 496 w 773"/>
                <a:gd name="T109" fmla="*/ 493 h 706"/>
                <a:gd name="T110" fmla="*/ 510 w 773"/>
                <a:gd name="T111" fmla="*/ 575 h 706"/>
                <a:gd name="T112" fmla="*/ 488 w 773"/>
                <a:gd name="T113" fmla="*/ 581 h 706"/>
                <a:gd name="T114" fmla="*/ 357 w 773"/>
                <a:gd name="T115" fmla="*/ 516 h 706"/>
                <a:gd name="T116" fmla="*/ 332 w 773"/>
                <a:gd name="T117" fmla="*/ 449 h 7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73" h="706">
                  <a:moveTo>
                    <a:pt x="769" y="359"/>
                  </a:moveTo>
                  <a:lnTo>
                    <a:pt x="769" y="359"/>
                  </a:lnTo>
                  <a:lnTo>
                    <a:pt x="764" y="338"/>
                  </a:lnTo>
                  <a:lnTo>
                    <a:pt x="758" y="318"/>
                  </a:lnTo>
                  <a:lnTo>
                    <a:pt x="753" y="298"/>
                  </a:lnTo>
                  <a:lnTo>
                    <a:pt x="746" y="280"/>
                  </a:lnTo>
                  <a:lnTo>
                    <a:pt x="737" y="261"/>
                  </a:lnTo>
                  <a:lnTo>
                    <a:pt x="728" y="243"/>
                  </a:lnTo>
                  <a:lnTo>
                    <a:pt x="719" y="225"/>
                  </a:lnTo>
                  <a:lnTo>
                    <a:pt x="709" y="209"/>
                  </a:lnTo>
                  <a:lnTo>
                    <a:pt x="698" y="193"/>
                  </a:lnTo>
                  <a:lnTo>
                    <a:pt x="686" y="177"/>
                  </a:lnTo>
                  <a:lnTo>
                    <a:pt x="674" y="161"/>
                  </a:lnTo>
                  <a:lnTo>
                    <a:pt x="661" y="148"/>
                  </a:lnTo>
                  <a:lnTo>
                    <a:pt x="648" y="134"/>
                  </a:lnTo>
                  <a:lnTo>
                    <a:pt x="634" y="121"/>
                  </a:lnTo>
                  <a:lnTo>
                    <a:pt x="620" y="109"/>
                  </a:lnTo>
                  <a:lnTo>
                    <a:pt x="607" y="98"/>
                  </a:lnTo>
                  <a:lnTo>
                    <a:pt x="591" y="87"/>
                  </a:lnTo>
                  <a:lnTo>
                    <a:pt x="576" y="77"/>
                  </a:lnTo>
                  <a:lnTo>
                    <a:pt x="561" y="69"/>
                  </a:lnTo>
                  <a:lnTo>
                    <a:pt x="546" y="61"/>
                  </a:lnTo>
                  <a:lnTo>
                    <a:pt x="531" y="54"/>
                  </a:lnTo>
                  <a:lnTo>
                    <a:pt x="516" y="48"/>
                  </a:lnTo>
                  <a:lnTo>
                    <a:pt x="501" y="42"/>
                  </a:lnTo>
                  <a:lnTo>
                    <a:pt x="486" y="39"/>
                  </a:lnTo>
                  <a:lnTo>
                    <a:pt x="471" y="35"/>
                  </a:lnTo>
                  <a:lnTo>
                    <a:pt x="456" y="34"/>
                  </a:lnTo>
                  <a:lnTo>
                    <a:pt x="442" y="33"/>
                  </a:lnTo>
                  <a:lnTo>
                    <a:pt x="427" y="33"/>
                  </a:lnTo>
                  <a:lnTo>
                    <a:pt x="413" y="34"/>
                  </a:lnTo>
                  <a:lnTo>
                    <a:pt x="400" y="36"/>
                  </a:lnTo>
                  <a:lnTo>
                    <a:pt x="386" y="40"/>
                  </a:lnTo>
                  <a:lnTo>
                    <a:pt x="374" y="44"/>
                  </a:lnTo>
                  <a:lnTo>
                    <a:pt x="374" y="44"/>
                  </a:lnTo>
                  <a:lnTo>
                    <a:pt x="358" y="52"/>
                  </a:lnTo>
                  <a:lnTo>
                    <a:pt x="346" y="61"/>
                  </a:lnTo>
                  <a:lnTo>
                    <a:pt x="335" y="70"/>
                  </a:lnTo>
                  <a:lnTo>
                    <a:pt x="327" y="79"/>
                  </a:lnTo>
                  <a:lnTo>
                    <a:pt x="320" y="88"/>
                  </a:lnTo>
                  <a:lnTo>
                    <a:pt x="314" y="99"/>
                  </a:lnTo>
                  <a:lnTo>
                    <a:pt x="311" y="110"/>
                  </a:lnTo>
                  <a:lnTo>
                    <a:pt x="307" y="121"/>
                  </a:lnTo>
                  <a:lnTo>
                    <a:pt x="306" y="132"/>
                  </a:lnTo>
                  <a:lnTo>
                    <a:pt x="305" y="144"/>
                  </a:lnTo>
                  <a:lnTo>
                    <a:pt x="305" y="167"/>
                  </a:lnTo>
                  <a:lnTo>
                    <a:pt x="307" y="215"/>
                  </a:lnTo>
                  <a:lnTo>
                    <a:pt x="307" y="215"/>
                  </a:lnTo>
                  <a:lnTo>
                    <a:pt x="321" y="231"/>
                  </a:lnTo>
                  <a:lnTo>
                    <a:pt x="335" y="250"/>
                  </a:lnTo>
                  <a:lnTo>
                    <a:pt x="348" y="268"/>
                  </a:lnTo>
                  <a:lnTo>
                    <a:pt x="360" y="287"/>
                  </a:lnTo>
                  <a:lnTo>
                    <a:pt x="370" y="306"/>
                  </a:lnTo>
                  <a:lnTo>
                    <a:pt x="378" y="326"/>
                  </a:lnTo>
                  <a:lnTo>
                    <a:pt x="385" y="345"/>
                  </a:lnTo>
                  <a:lnTo>
                    <a:pt x="389" y="363"/>
                  </a:lnTo>
                  <a:lnTo>
                    <a:pt x="389" y="367"/>
                  </a:lnTo>
                  <a:lnTo>
                    <a:pt x="389" y="367"/>
                  </a:lnTo>
                  <a:lnTo>
                    <a:pt x="402" y="365"/>
                  </a:lnTo>
                  <a:lnTo>
                    <a:pt x="418" y="365"/>
                  </a:lnTo>
                  <a:lnTo>
                    <a:pt x="418" y="365"/>
                  </a:lnTo>
                  <a:lnTo>
                    <a:pt x="430" y="367"/>
                  </a:lnTo>
                  <a:lnTo>
                    <a:pt x="445" y="370"/>
                  </a:lnTo>
                  <a:lnTo>
                    <a:pt x="453" y="372"/>
                  </a:lnTo>
                  <a:lnTo>
                    <a:pt x="462" y="376"/>
                  </a:lnTo>
                  <a:lnTo>
                    <a:pt x="470" y="381"/>
                  </a:lnTo>
                  <a:lnTo>
                    <a:pt x="478" y="386"/>
                  </a:lnTo>
                  <a:lnTo>
                    <a:pt x="485" y="393"/>
                  </a:lnTo>
                  <a:lnTo>
                    <a:pt x="493" y="403"/>
                  </a:lnTo>
                  <a:lnTo>
                    <a:pt x="500" y="412"/>
                  </a:lnTo>
                  <a:lnTo>
                    <a:pt x="506" y="423"/>
                  </a:lnTo>
                  <a:lnTo>
                    <a:pt x="511" y="437"/>
                  </a:lnTo>
                  <a:lnTo>
                    <a:pt x="516" y="452"/>
                  </a:lnTo>
                  <a:lnTo>
                    <a:pt x="520" y="470"/>
                  </a:lnTo>
                  <a:lnTo>
                    <a:pt x="522" y="491"/>
                  </a:lnTo>
                  <a:lnTo>
                    <a:pt x="522" y="491"/>
                  </a:lnTo>
                  <a:lnTo>
                    <a:pt x="525" y="515"/>
                  </a:lnTo>
                  <a:lnTo>
                    <a:pt x="528" y="534"/>
                  </a:lnTo>
                  <a:lnTo>
                    <a:pt x="531" y="546"/>
                  </a:lnTo>
                  <a:lnTo>
                    <a:pt x="533" y="554"/>
                  </a:lnTo>
                  <a:lnTo>
                    <a:pt x="533" y="554"/>
                  </a:lnTo>
                  <a:lnTo>
                    <a:pt x="536" y="564"/>
                  </a:lnTo>
                  <a:lnTo>
                    <a:pt x="537" y="568"/>
                  </a:lnTo>
                  <a:lnTo>
                    <a:pt x="537" y="574"/>
                  </a:lnTo>
                  <a:lnTo>
                    <a:pt x="536" y="580"/>
                  </a:lnTo>
                  <a:lnTo>
                    <a:pt x="535" y="585"/>
                  </a:lnTo>
                  <a:lnTo>
                    <a:pt x="531" y="592"/>
                  </a:lnTo>
                  <a:lnTo>
                    <a:pt x="525" y="597"/>
                  </a:lnTo>
                  <a:lnTo>
                    <a:pt x="525" y="597"/>
                  </a:lnTo>
                  <a:lnTo>
                    <a:pt x="520" y="602"/>
                  </a:lnTo>
                  <a:lnTo>
                    <a:pt x="514" y="605"/>
                  </a:lnTo>
                  <a:lnTo>
                    <a:pt x="506" y="608"/>
                  </a:lnTo>
                  <a:lnTo>
                    <a:pt x="499" y="608"/>
                  </a:lnTo>
                  <a:lnTo>
                    <a:pt x="499" y="608"/>
                  </a:lnTo>
                  <a:lnTo>
                    <a:pt x="489" y="608"/>
                  </a:lnTo>
                  <a:lnTo>
                    <a:pt x="478" y="604"/>
                  </a:lnTo>
                  <a:lnTo>
                    <a:pt x="445" y="592"/>
                  </a:lnTo>
                  <a:lnTo>
                    <a:pt x="445" y="592"/>
                  </a:lnTo>
                  <a:lnTo>
                    <a:pt x="397" y="572"/>
                  </a:lnTo>
                  <a:lnTo>
                    <a:pt x="397" y="572"/>
                  </a:lnTo>
                  <a:lnTo>
                    <a:pt x="385" y="567"/>
                  </a:lnTo>
                  <a:lnTo>
                    <a:pt x="376" y="561"/>
                  </a:lnTo>
                  <a:lnTo>
                    <a:pt x="358" y="551"/>
                  </a:lnTo>
                  <a:lnTo>
                    <a:pt x="343" y="539"/>
                  </a:lnTo>
                  <a:lnTo>
                    <a:pt x="333" y="527"/>
                  </a:lnTo>
                  <a:lnTo>
                    <a:pt x="325" y="515"/>
                  </a:lnTo>
                  <a:lnTo>
                    <a:pt x="318" y="502"/>
                  </a:lnTo>
                  <a:lnTo>
                    <a:pt x="314" y="491"/>
                  </a:lnTo>
                  <a:lnTo>
                    <a:pt x="312" y="479"/>
                  </a:lnTo>
                  <a:lnTo>
                    <a:pt x="312" y="479"/>
                  </a:lnTo>
                  <a:lnTo>
                    <a:pt x="310" y="461"/>
                  </a:lnTo>
                  <a:lnTo>
                    <a:pt x="309" y="442"/>
                  </a:lnTo>
                  <a:lnTo>
                    <a:pt x="296" y="437"/>
                  </a:lnTo>
                  <a:lnTo>
                    <a:pt x="296" y="437"/>
                  </a:lnTo>
                  <a:lnTo>
                    <a:pt x="276" y="427"/>
                  </a:lnTo>
                  <a:lnTo>
                    <a:pt x="258" y="414"/>
                  </a:lnTo>
                  <a:lnTo>
                    <a:pt x="240" y="400"/>
                  </a:lnTo>
                  <a:lnTo>
                    <a:pt x="224" y="385"/>
                  </a:lnTo>
                  <a:lnTo>
                    <a:pt x="209" y="370"/>
                  </a:lnTo>
                  <a:lnTo>
                    <a:pt x="195" y="354"/>
                  </a:lnTo>
                  <a:lnTo>
                    <a:pt x="182" y="339"/>
                  </a:lnTo>
                  <a:lnTo>
                    <a:pt x="171" y="324"/>
                  </a:lnTo>
                  <a:lnTo>
                    <a:pt x="171" y="324"/>
                  </a:lnTo>
                  <a:lnTo>
                    <a:pt x="165" y="332"/>
                  </a:lnTo>
                  <a:lnTo>
                    <a:pt x="160" y="341"/>
                  </a:lnTo>
                  <a:lnTo>
                    <a:pt x="156" y="352"/>
                  </a:lnTo>
                  <a:lnTo>
                    <a:pt x="153" y="362"/>
                  </a:lnTo>
                  <a:lnTo>
                    <a:pt x="151" y="372"/>
                  </a:lnTo>
                  <a:lnTo>
                    <a:pt x="151" y="384"/>
                  </a:lnTo>
                  <a:lnTo>
                    <a:pt x="151" y="396"/>
                  </a:lnTo>
                  <a:lnTo>
                    <a:pt x="152" y="408"/>
                  </a:lnTo>
                  <a:lnTo>
                    <a:pt x="154" y="421"/>
                  </a:lnTo>
                  <a:lnTo>
                    <a:pt x="158" y="435"/>
                  </a:lnTo>
                  <a:lnTo>
                    <a:pt x="161" y="449"/>
                  </a:lnTo>
                  <a:lnTo>
                    <a:pt x="167" y="462"/>
                  </a:lnTo>
                  <a:lnTo>
                    <a:pt x="173" y="476"/>
                  </a:lnTo>
                  <a:lnTo>
                    <a:pt x="179" y="491"/>
                  </a:lnTo>
                  <a:lnTo>
                    <a:pt x="195" y="518"/>
                  </a:lnTo>
                  <a:lnTo>
                    <a:pt x="214" y="546"/>
                  </a:lnTo>
                  <a:lnTo>
                    <a:pt x="234" y="573"/>
                  </a:lnTo>
                  <a:lnTo>
                    <a:pt x="246" y="586"/>
                  </a:lnTo>
                  <a:lnTo>
                    <a:pt x="259" y="598"/>
                  </a:lnTo>
                  <a:lnTo>
                    <a:pt x="272" y="611"/>
                  </a:lnTo>
                  <a:lnTo>
                    <a:pt x="284" y="623"/>
                  </a:lnTo>
                  <a:lnTo>
                    <a:pt x="298" y="634"/>
                  </a:lnTo>
                  <a:lnTo>
                    <a:pt x="313" y="645"/>
                  </a:lnTo>
                  <a:lnTo>
                    <a:pt x="328" y="655"/>
                  </a:lnTo>
                  <a:lnTo>
                    <a:pt x="343" y="665"/>
                  </a:lnTo>
                  <a:lnTo>
                    <a:pt x="358" y="673"/>
                  </a:lnTo>
                  <a:lnTo>
                    <a:pt x="375" y="681"/>
                  </a:lnTo>
                  <a:lnTo>
                    <a:pt x="392" y="688"/>
                  </a:lnTo>
                  <a:lnTo>
                    <a:pt x="408" y="694"/>
                  </a:lnTo>
                  <a:lnTo>
                    <a:pt x="408" y="694"/>
                  </a:lnTo>
                  <a:lnTo>
                    <a:pt x="426" y="698"/>
                  </a:lnTo>
                  <a:lnTo>
                    <a:pt x="443" y="703"/>
                  </a:lnTo>
                  <a:lnTo>
                    <a:pt x="460" y="705"/>
                  </a:lnTo>
                  <a:lnTo>
                    <a:pt x="479" y="706"/>
                  </a:lnTo>
                  <a:lnTo>
                    <a:pt x="498" y="706"/>
                  </a:lnTo>
                  <a:lnTo>
                    <a:pt x="515" y="705"/>
                  </a:lnTo>
                  <a:lnTo>
                    <a:pt x="533" y="703"/>
                  </a:lnTo>
                  <a:lnTo>
                    <a:pt x="552" y="699"/>
                  </a:lnTo>
                  <a:lnTo>
                    <a:pt x="569" y="695"/>
                  </a:lnTo>
                  <a:lnTo>
                    <a:pt x="587" y="689"/>
                  </a:lnTo>
                  <a:lnTo>
                    <a:pt x="604" y="682"/>
                  </a:lnTo>
                  <a:lnTo>
                    <a:pt x="622" y="674"/>
                  </a:lnTo>
                  <a:lnTo>
                    <a:pt x="638" y="666"/>
                  </a:lnTo>
                  <a:lnTo>
                    <a:pt x="654" y="655"/>
                  </a:lnTo>
                  <a:lnTo>
                    <a:pt x="670" y="645"/>
                  </a:lnTo>
                  <a:lnTo>
                    <a:pt x="684" y="633"/>
                  </a:lnTo>
                  <a:lnTo>
                    <a:pt x="684" y="633"/>
                  </a:lnTo>
                  <a:lnTo>
                    <a:pt x="699" y="619"/>
                  </a:lnTo>
                  <a:lnTo>
                    <a:pt x="712" y="605"/>
                  </a:lnTo>
                  <a:lnTo>
                    <a:pt x="724" y="592"/>
                  </a:lnTo>
                  <a:lnTo>
                    <a:pt x="734" y="575"/>
                  </a:lnTo>
                  <a:lnTo>
                    <a:pt x="742" y="559"/>
                  </a:lnTo>
                  <a:lnTo>
                    <a:pt x="750" y="543"/>
                  </a:lnTo>
                  <a:lnTo>
                    <a:pt x="757" y="525"/>
                  </a:lnTo>
                  <a:lnTo>
                    <a:pt x="763" y="508"/>
                  </a:lnTo>
                  <a:lnTo>
                    <a:pt x="768" y="489"/>
                  </a:lnTo>
                  <a:lnTo>
                    <a:pt x="771" y="471"/>
                  </a:lnTo>
                  <a:lnTo>
                    <a:pt x="772" y="452"/>
                  </a:lnTo>
                  <a:lnTo>
                    <a:pt x="773" y="434"/>
                  </a:lnTo>
                  <a:lnTo>
                    <a:pt x="773" y="415"/>
                  </a:lnTo>
                  <a:lnTo>
                    <a:pt x="773" y="396"/>
                  </a:lnTo>
                  <a:lnTo>
                    <a:pt x="771" y="377"/>
                  </a:lnTo>
                  <a:lnTo>
                    <a:pt x="769" y="359"/>
                  </a:lnTo>
                  <a:lnTo>
                    <a:pt x="769" y="359"/>
                  </a:lnTo>
                  <a:close/>
                  <a:moveTo>
                    <a:pt x="493" y="210"/>
                  </a:moveTo>
                  <a:lnTo>
                    <a:pt x="493" y="210"/>
                  </a:lnTo>
                  <a:lnTo>
                    <a:pt x="487" y="218"/>
                  </a:lnTo>
                  <a:lnTo>
                    <a:pt x="479" y="224"/>
                  </a:lnTo>
                  <a:lnTo>
                    <a:pt x="471" y="230"/>
                  </a:lnTo>
                  <a:lnTo>
                    <a:pt x="462" y="232"/>
                  </a:lnTo>
                  <a:lnTo>
                    <a:pt x="452" y="233"/>
                  </a:lnTo>
                  <a:lnTo>
                    <a:pt x="443" y="233"/>
                  </a:lnTo>
                  <a:lnTo>
                    <a:pt x="434" y="231"/>
                  </a:lnTo>
                  <a:lnTo>
                    <a:pt x="425" y="226"/>
                  </a:lnTo>
                  <a:lnTo>
                    <a:pt x="425" y="226"/>
                  </a:lnTo>
                  <a:lnTo>
                    <a:pt x="416" y="221"/>
                  </a:lnTo>
                  <a:lnTo>
                    <a:pt x="411" y="214"/>
                  </a:lnTo>
                  <a:lnTo>
                    <a:pt x="405" y="206"/>
                  </a:lnTo>
                  <a:lnTo>
                    <a:pt x="402" y="196"/>
                  </a:lnTo>
                  <a:lnTo>
                    <a:pt x="400" y="187"/>
                  </a:lnTo>
                  <a:lnTo>
                    <a:pt x="401" y="178"/>
                  </a:lnTo>
                  <a:lnTo>
                    <a:pt x="404" y="168"/>
                  </a:lnTo>
                  <a:lnTo>
                    <a:pt x="408" y="159"/>
                  </a:lnTo>
                  <a:lnTo>
                    <a:pt x="408" y="159"/>
                  </a:lnTo>
                  <a:lnTo>
                    <a:pt x="414" y="151"/>
                  </a:lnTo>
                  <a:lnTo>
                    <a:pt x="421" y="144"/>
                  </a:lnTo>
                  <a:lnTo>
                    <a:pt x="429" y="139"/>
                  </a:lnTo>
                  <a:lnTo>
                    <a:pt x="438" y="136"/>
                  </a:lnTo>
                  <a:lnTo>
                    <a:pt x="448" y="135"/>
                  </a:lnTo>
                  <a:lnTo>
                    <a:pt x="457" y="135"/>
                  </a:lnTo>
                  <a:lnTo>
                    <a:pt x="466" y="137"/>
                  </a:lnTo>
                  <a:lnTo>
                    <a:pt x="476" y="142"/>
                  </a:lnTo>
                  <a:lnTo>
                    <a:pt x="476" y="142"/>
                  </a:lnTo>
                  <a:lnTo>
                    <a:pt x="484" y="148"/>
                  </a:lnTo>
                  <a:lnTo>
                    <a:pt x="491" y="156"/>
                  </a:lnTo>
                  <a:lnTo>
                    <a:pt x="495" y="164"/>
                  </a:lnTo>
                  <a:lnTo>
                    <a:pt x="499" y="172"/>
                  </a:lnTo>
                  <a:lnTo>
                    <a:pt x="500" y="182"/>
                  </a:lnTo>
                  <a:lnTo>
                    <a:pt x="500" y="192"/>
                  </a:lnTo>
                  <a:lnTo>
                    <a:pt x="498" y="201"/>
                  </a:lnTo>
                  <a:lnTo>
                    <a:pt x="493" y="210"/>
                  </a:lnTo>
                  <a:lnTo>
                    <a:pt x="493" y="210"/>
                  </a:lnTo>
                  <a:close/>
                  <a:moveTo>
                    <a:pt x="540" y="251"/>
                  </a:moveTo>
                  <a:lnTo>
                    <a:pt x="540" y="251"/>
                  </a:lnTo>
                  <a:lnTo>
                    <a:pt x="547" y="243"/>
                  </a:lnTo>
                  <a:lnTo>
                    <a:pt x="554" y="237"/>
                  </a:lnTo>
                  <a:lnTo>
                    <a:pt x="562" y="232"/>
                  </a:lnTo>
                  <a:lnTo>
                    <a:pt x="572" y="229"/>
                  </a:lnTo>
                  <a:lnTo>
                    <a:pt x="581" y="228"/>
                  </a:lnTo>
                  <a:lnTo>
                    <a:pt x="590" y="228"/>
                  </a:lnTo>
                  <a:lnTo>
                    <a:pt x="600" y="230"/>
                  </a:lnTo>
                  <a:lnTo>
                    <a:pt x="609" y="234"/>
                  </a:lnTo>
                  <a:lnTo>
                    <a:pt x="609" y="234"/>
                  </a:lnTo>
                  <a:lnTo>
                    <a:pt x="617" y="240"/>
                  </a:lnTo>
                  <a:lnTo>
                    <a:pt x="624" y="247"/>
                  </a:lnTo>
                  <a:lnTo>
                    <a:pt x="629" y="255"/>
                  </a:lnTo>
                  <a:lnTo>
                    <a:pt x="631" y="265"/>
                  </a:lnTo>
                  <a:lnTo>
                    <a:pt x="633" y="274"/>
                  </a:lnTo>
                  <a:lnTo>
                    <a:pt x="632" y="284"/>
                  </a:lnTo>
                  <a:lnTo>
                    <a:pt x="630" y="294"/>
                  </a:lnTo>
                  <a:lnTo>
                    <a:pt x="626" y="303"/>
                  </a:lnTo>
                  <a:lnTo>
                    <a:pt x="626" y="303"/>
                  </a:lnTo>
                  <a:lnTo>
                    <a:pt x="619" y="310"/>
                  </a:lnTo>
                  <a:lnTo>
                    <a:pt x="612" y="317"/>
                  </a:lnTo>
                  <a:lnTo>
                    <a:pt x="604" y="321"/>
                  </a:lnTo>
                  <a:lnTo>
                    <a:pt x="595" y="325"/>
                  </a:lnTo>
                  <a:lnTo>
                    <a:pt x="586" y="326"/>
                  </a:lnTo>
                  <a:lnTo>
                    <a:pt x="576" y="326"/>
                  </a:lnTo>
                  <a:lnTo>
                    <a:pt x="567" y="324"/>
                  </a:lnTo>
                  <a:lnTo>
                    <a:pt x="558" y="319"/>
                  </a:lnTo>
                  <a:lnTo>
                    <a:pt x="558" y="319"/>
                  </a:lnTo>
                  <a:lnTo>
                    <a:pt x="550" y="313"/>
                  </a:lnTo>
                  <a:lnTo>
                    <a:pt x="543" y="306"/>
                  </a:lnTo>
                  <a:lnTo>
                    <a:pt x="538" y="297"/>
                  </a:lnTo>
                  <a:lnTo>
                    <a:pt x="536" y="289"/>
                  </a:lnTo>
                  <a:lnTo>
                    <a:pt x="533" y="280"/>
                  </a:lnTo>
                  <a:lnTo>
                    <a:pt x="535" y="269"/>
                  </a:lnTo>
                  <a:lnTo>
                    <a:pt x="537" y="260"/>
                  </a:lnTo>
                  <a:lnTo>
                    <a:pt x="540" y="251"/>
                  </a:lnTo>
                  <a:lnTo>
                    <a:pt x="540" y="251"/>
                  </a:lnTo>
                  <a:close/>
                  <a:moveTo>
                    <a:pt x="674" y="467"/>
                  </a:moveTo>
                  <a:lnTo>
                    <a:pt x="674" y="467"/>
                  </a:lnTo>
                  <a:lnTo>
                    <a:pt x="668" y="476"/>
                  </a:lnTo>
                  <a:lnTo>
                    <a:pt x="660" y="483"/>
                  </a:lnTo>
                  <a:lnTo>
                    <a:pt x="652" y="487"/>
                  </a:lnTo>
                  <a:lnTo>
                    <a:pt x="642" y="491"/>
                  </a:lnTo>
                  <a:lnTo>
                    <a:pt x="633" y="492"/>
                  </a:lnTo>
                  <a:lnTo>
                    <a:pt x="624" y="492"/>
                  </a:lnTo>
                  <a:lnTo>
                    <a:pt x="615" y="489"/>
                  </a:lnTo>
                  <a:lnTo>
                    <a:pt x="605" y="485"/>
                  </a:lnTo>
                  <a:lnTo>
                    <a:pt x="605" y="485"/>
                  </a:lnTo>
                  <a:lnTo>
                    <a:pt x="597" y="479"/>
                  </a:lnTo>
                  <a:lnTo>
                    <a:pt x="590" y="472"/>
                  </a:lnTo>
                  <a:lnTo>
                    <a:pt x="586" y="463"/>
                  </a:lnTo>
                  <a:lnTo>
                    <a:pt x="583" y="455"/>
                  </a:lnTo>
                  <a:lnTo>
                    <a:pt x="581" y="445"/>
                  </a:lnTo>
                  <a:lnTo>
                    <a:pt x="582" y="435"/>
                  </a:lnTo>
                  <a:lnTo>
                    <a:pt x="584" y="426"/>
                  </a:lnTo>
                  <a:lnTo>
                    <a:pt x="588" y="416"/>
                  </a:lnTo>
                  <a:lnTo>
                    <a:pt x="588" y="416"/>
                  </a:lnTo>
                  <a:lnTo>
                    <a:pt x="595" y="408"/>
                  </a:lnTo>
                  <a:lnTo>
                    <a:pt x="602" y="403"/>
                  </a:lnTo>
                  <a:lnTo>
                    <a:pt x="610" y="398"/>
                  </a:lnTo>
                  <a:lnTo>
                    <a:pt x="619" y="394"/>
                  </a:lnTo>
                  <a:lnTo>
                    <a:pt x="629" y="393"/>
                  </a:lnTo>
                  <a:lnTo>
                    <a:pt x="638" y="393"/>
                  </a:lnTo>
                  <a:lnTo>
                    <a:pt x="647" y="396"/>
                  </a:lnTo>
                  <a:lnTo>
                    <a:pt x="656" y="400"/>
                  </a:lnTo>
                  <a:lnTo>
                    <a:pt x="656" y="400"/>
                  </a:lnTo>
                  <a:lnTo>
                    <a:pt x="664" y="406"/>
                  </a:lnTo>
                  <a:lnTo>
                    <a:pt x="671" y="413"/>
                  </a:lnTo>
                  <a:lnTo>
                    <a:pt x="676" y="421"/>
                  </a:lnTo>
                  <a:lnTo>
                    <a:pt x="680" y="430"/>
                  </a:lnTo>
                  <a:lnTo>
                    <a:pt x="681" y="440"/>
                  </a:lnTo>
                  <a:lnTo>
                    <a:pt x="680" y="449"/>
                  </a:lnTo>
                  <a:lnTo>
                    <a:pt x="677" y="459"/>
                  </a:lnTo>
                  <a:lnTo>
                    <a:pt x="674" y="467"/>
                  </a:lnTo>
                  <a:lnTo>
                    <a:pt x="674" y="467"/>
                  </a:lnTo>
                  <a:close/>
                  <a:moveTo>
                    <a:pt x="5" y="42"/>
                  </a:moveTo>
                  <a:lnTo>
                    <a:pt x="5" y="42"/>
                  </a:lnTo>
                  <a:lnTo>
                    <a:pt x="3" y="37"/>
                  </a:lnTo>
                  <a:lnTo>
                    <a:pt x="1" y="33"/>
                  </a:lnTo>
                  <a:lnTo>
                    <a:pt x="0" y="28"/>
                  </a:lnTo>
                  <a:lnTo>
                    <a:pt x="1" y="24"/>
                  </a:lnTo>
                  <a:lnTo>
                    <a:pt x="3" y="18"/>
                  </a:lnTo>
                  <a:lnTo>
                    <a:pt x="5" y="14"/>
                  </a:lnTo>
                  <a:lnTo>
                    <a:pt x="8" y="10"/>
                  </a:lnTo>
                  <a:lnTo>
                    <a:pt x="13" y="6"/>
                  </a:lnTo>
                  <a:lnTo>
                    <a:pt x="13" y="6"/>
                  </a:lnTo>
                  <a:lnTo>
                    <a:pt x="16" y="4"/>
                  </a:lnTo>
                  <a:lnTo>
                    <a:pt x="21" y="1"/>
                  </a:lnTo>
                  <a:lnTo>
                    <a:pt x="30" y="0"/>
                  </a:lnTo>
                  <a:lnTo>
                    <a:pt x="30" y="0"/>
                  </a:lnTo>
                  <a:lnTo>
                    <a:pt x="36" y="1"/>
                  </a:lnTo>
                  <a:lnTo>
                    <a:pt x="42" y="3"/>
                  </a:lnTo>
                  <a:lnTo>
                    <a:pt x="48" y="6"/>
                  </a:lnTo>
                  <a:lnTo>
                    <a:pt x="52" y="10"/>
                  </a:lnTo>
                  <a:lnTo>
                    <a:pt x="52" y="10"/>
                  </a:lnTo>
                  <a:lnTo>
                    <a:pt x="84" y="41"/>
                  </a:lnTo>
                  <a:lnTo>
                    <a:pt x="132" y="88"/>
                  </a:lnTo>
                  <a:lnTo>
                    <a:pt x="190" y="142"/>
                  </a:lnTo>
                  <a:lnTo>
                    <a:pt x="221" y="168"/>
                  </a:lnTo>
                  <a:lnTo>
                    <a:pt x="251" y="194"/>
                  </a:lnTo>
                  <a:lnTo>
                    <a:pt x="251" y="194"/>
                  </a:lnTo>
                  <a:lnTo>
                    <a:pt x="268" y="209"/>
                  </a:lnTo>
                  <a:lnTo>
                    <a:pt x="285" y="228"/>
                  </a:lnTo>
                  <a:lnTo>
                    <a:pt x="304" y="250"/>
                  </a:lnTo>
                  <a:lnTo>
                    <a:pt x="320" y="273"/>
                  </a:lnTo>
                  <a:lnTo>
                    <a:pt x="336" y="297"/>
                  </a:lnTo>
                  <a:lnTo>
                    <a:pt x="349" y="321"/>
                  </a:lnTo>
                  <a:lnTo>
                    <a:pt x="354" y="333"/>
                  </a:lnTo>
                  <a:lnTo>
                    <a:pt x="358" y="345"/>
                  </a:lnTo>
                  <a:lnTo>
                    <a:pt x="362" y="356"/>
                  </a:lnTo>
                  <a:lnTo>
                    <a:pt x="363" y="367"/>
                  </a:lnTo>
                  <a:lnTo>
                    <a:pt x="307" y="414"/>
                  </a:lnTo>
                  <a:lnTo>
                    <a:pt x="307" y="414"/>
                  </a:lnTo>
                  <a:lnTo>
                    <a:pt x="296" y="408"/>
                  </a:lnTo>
                  <a:lnTo>
                    <a:pt x="284" y="401"/>
                  </a:lnTo>
                  <a:lnTo>
                    <a:pt x="274" y="393"/>
                  </a:lnTo>
                  <a:lnTo>
                    <a:pt x="262" y="385"/>
                  </a:lnTo>
                  <a:lnTo>
                    <a:pt x="243" y="367"/>
                  </a:lnTo>
                  <a:lnTo>
                    <a:pt x="223" y="347"/>
                  </a:lnTo>
                  <a:lnTo>
                    <a:pt x="205" y="326"/>
                  </a:lnTo>
                  <a:lnTo>
                    <a:pt x="189" y="305"/>
                  </a:lnTo>
                  <a:lnTo>
                    <a:pt x="175" y="285"/>
                  </a:lnTo>
                  <a:lnTo>
                    <a:pt x="164" y="267"/>
                  </a:lnTo>
                  <a:lnTo>
                    <a:pt x="164" y="267"/>
                  </a:lnTo>
                  <a:lnTo>
                    <a:pt x="138" y="228"/>
                  </a:lnTo>
                  <a:lnTo>
                    <a:pt x="113" y="190"/>
                  </a:lnTo>
                  <a:lnTo>
                    <a:pt x="88" y="156"/>
                  </a:lnTo>
                  <a:lnTo>
                    <a:pt x="65" y="126"/>
                  </a:lnTo>
                  <a:lnTo>
                    <a:pt x="27" y="75"/>
                  </a:lnTo>
                  <a:lnTo>
                    <a:pt x="13" y="56"/>
                  </a:lnTo>
                  <a:lnTo>
                    <a:pt x="5" y="42"/>
                  </a:lnTo>
                  <a:lnTo>
                    <a:pt x="5" y="42"/>
                  </a:lnTo>
                  <a:close/>
                  <a:moveTo>
                    <a:pt x="334" y="430"/>
                  </a:moveTo>
                  <a:lnTo>
                    <a:pt x="334" y="430"/>
                  </a:lnTo>
                  <a:lnTo>
                    <a:pt x="335" y="427"/>
                  </a:lnTo>
                  <a:lnTo>
                    <a:pt x="338" y="422"/>
                  </a:lnTo>
                  <a:lnTo>
                    <a:pt x="375" y="391"/>
                  </a:lnTo>
                  <a:lnTo>
                    <a:pt x="375" y="391"/>
                  </a:lnTo>
                  <a:lnTo>
                    <a:pt x="376" y="391"/>
                  </a:lnTo>
                  <a:lnTo>
                    <a:pt x="376" y="391"/>
                  </a:lnTo>
                  <a:lnTo>
                    <a:pt x="387" y="389"/>
                  </a:lnTo>
                  <a:lnTo>
                    <a:pt x="400" y="387"/>
                  </a:lnTo>
                  <a:lnTo>
                    <a:pt x="414" y="387"/>
                  </a:lnTo>
                  <a:lnTo>
                    <a:pt x="429" y="390"/>
                  </a:lnTo>
                  <a:lnTo>
                    <a:pt x="429" y="390"/>
                  </a:lnTo>
                  <a:lnTo>
                    <a:pt x="438" y="392"/>
                  </a:lnTo>
                  <a:lnTo>
                    <a:pt x="448" y="397"/>
                  </a:lnTo>
                  <a:lnTo>
                    <a:pt x="458" y="403"/>
                  </a:lnTo>
                  <a:lnTo>
                    <a:pt x="463" y="407"/>
                  </a:lnTo>
                  <a:lnTo>
                    <a:pt x="469" y="412"/>
                  </a:lnTo>
                  <a:lnTo>
                    <a:pt x="473" y="418"/>
                  </a:lnTo>
                  <a:lnTo>
                    <a:pt x="478" y="425"/>
                  </a:lnTo>
                  <a:lnTo>
                    <a:pt x="482" y="433"/>
                  </a:lnTo>
                  <a:lnTo>
                    <a:pt x="486" y="442"/>
                  </a:lnTo>
                  <a:lnTo>
                    <a:pt x="489" y="452"/>
                  </a:lnTo>
                  <a:lnTo>
                    <a:pt x="493" y="464"/>
                  </a:lnTo>
                  <a:lnTo>
                    <a:pt x="495" y="478"/>
                  </a:lnTo>
                  <a:lnTo>
                    <a:pt x="496" y="493"/>
                  </a:lnTo>
                  <a:lnTo>
                    <a:pt x="496" y="493"/>
                  </a:lnTo>
                  <a:lnTo>
                    <a:pt x="500" y="518"/>
                  </a:lnTo>
                  <a:lnTo>
                    <a:pt x="503" y="537"/>
                  </a:lnTo>
                  <a:lnTo>
                    <a:pt x="506" y="551"/>
                  </a:lnTo>
                  <a:lnTo>
                    <a:pt x="509" y="560"/>
                  </a:lnTo>
                  <a:lnTo>
                    <a:pt x="510" y="567"/>
                  </a:lnTo>
                  <a:lnTo>
                    <a:pt x="511" y="572"/>
                  </a:lnTo>
                  <a:lnTo>
                    <a:pt x="510" y="575"/>
                  </a:lnTo>
                  <a:lnTo>
                    <a:pt x="508" y="579"/>
                  </a:lnTo>
                  <a:lnTo>
                    <a:pt x="508" y="579"/>
                  </a:lnTo>
                  <a:lnTo>
                    <a:pt x="503" y="582"/>
                  </a:lnTo>
                  <a:lnTo>
                    <a:pt x="499" y="583"/>
                  </a:lnTo>
                  <a:lnTo>
                    <a:pt x="499" y="583"/>
                  </a:lnTo>
                  <a:lnTo>
                    <a:pt x="494" y="582"/>
                  </a:lnTo>
                  <a:lnTo>
                    <a:pt x="488" y="581"/>
                  </a:lnTo>
                  <a:lnTo>
                    <a:pt x="471" y="574"/>
                  </a:lnTo>
                  <a:lnTo>
                    <a:pt x="406" y="547"/>
                  </a:lnTo>
                  <a:lnTo>
                    <a:pt x="406" y="547"/>
                  </a:lnTo>
                  <a:lnTo>
                    <a:pt x="391" y="541"/>
                  </a:lnTo>
                  <a:lnTo>
                    <a:pt x="377" y="534"/>
                  </a:lnTo>
                  <a:lnTo>
                    <a:pt x="367" y="525"/>
                  </a:lnTo>
                  <a:lnTo>
                    <a:pt x="357" y="516"/>
                  </a:lnTo>
                  <a:lnTo>
                    <a:pt x="349" y="508"/>
                  </a:lnTo>
                  <a:lnTo>
                    <a:pt x="343" y="499"/>
                  </a:lnTo>
                  <a:lnTo>
                    <a:pt x="340" y="489"/>
                  </a:lnTo>
                  <a:lnTo>
                    <a:pt x="336" y="480"/>
                  </a:lnTo>
                  <a:lnTo>
                    <a:pt x="334" y="472"/>
                  </a:lnTo>
                  <a:lnTo>
                    <a:pt x="333" y="464"/>
                  </a:lnTo>
                  <a:lnTo>
                    <a:pt x="332" y="449"/>
                  </a:lnTo>
                  <a:lnTo>
                    <a:pt x="333" y="437"/>
                  </a:lnTo>
                  <a:lnTo>
                    <a:pt x="334" y="430"/>
                  </a:lnTo>
                  <a:lnTo>
                    <a:pt x="334" y="430"/>
                  </a:lnTo>
                  <a:close/>
                </a:path>
              </a:pathLst>
            </a:custGeom>
            <a:grp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91" name="Group 490">
            <a:extLst>
              <a:ext uri="{FF2B5EF4-FFF2-40B4-BE49-F238E27FC236}">
                <a16:creationId xmlns:a16="http://schemas.microsoft.com/office/drawing/2014/main" id="{7BCCD6C2-1526-4DB6-B235-AE56E080996D}"/>
              </a:ext>
            </a:extLst>
          </p:cNvPr>
          <p:cNvGrpSpPr/>
          <p:nvPr/>
        </p:nvGrpSpPr>
        <p:grpSpPr>
          <a:xfrm>
            <a:off x="4612242" y="3887682"/>
            <a:ext cx="612775" cy="612775"/>
            <a:chOff x="4963967" y="2265179"/>
            <a:chExt cx="612775" cy="612775"/>
          </a:xfrm>
          <a:solidFill>
            <a:srgbClr val="505050"/>
          </a:solidFill>
        </p:grpSpPr>
        <p:sp>
          <p:nvSpPr>
            <p:cNvPr id="492" name="Oval 491">
              <a:extLst>
                <a:ext uri="{FF2B5EF4-FFF2-40B4-BE49-F238E27FC236}">
                  <a16:creationId xmlns:a16="http://schemas.microsoft.com/office/drawing/2014/main" id="{89B18A0C-D4E2-4CFC-BBAE-C04E2C3689D8}"/>
                </a:ext>
              </a:extLst>
            </p:cNvPr>
            <p:cNvSpPr/>
            <p:nvPr/>
          </p:nvSpPr>
          <p:spPr bwMode="ltGray">
            <a:xfrm>
              <a:off x="496396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93" name="Freeform 52">
              <a:extLst>
                <a:ext uri="{FF2B5EF4-FFF2-40B4-BE49-F238E27FC236}">
                  <a16:creationId xmlns:a16="http://schemas.microsoft.com/office/drawing/2014/main" id="{B37A206A-118D-48FC-909D-1290A19C9E87}"/>
                </a:ext>
              </a:extLst>
            </p:cNvPr>
            <p:cNvSpPr>
              <a:spLocks noEditPoints="1"/>
            </p:cNvSpPr>
            <p:nvPr/>
          </p:nvSpPr>
          <p:spPr bwMode="auto">
            <a:xfrm>
              <a:off x="5079809" y="2346750"/>
              <a:ext cx="371475" cy="468312"/>
            </a:xfrm>
            <a:custGeom>
              <a:avLst/>
              <a:gdLst>
                <a:gd name="T0" fmla="*/ 171 w 703"/>
                <a:gd name="T1" fmla="*/ 881 h 885"/>
                <a:gd name="T2" fmla="*/ 262 w 703"/>
                <a:gd name="T3" fmla="*/ 801 h 885"/>
                <a:gd name="T4" fmla="*/ 487 w 703"/>
                <a:gd name="T5" fmla="*/ 800 h 885"/>
                <a:gd name="T6" fmla="*/ 256 w 703"/>
                <a:gd name="T7" fmla="*/ 88 h 885"/>
                <a:gd name="T8" fmla="*/ 542 w 703"/>
                <a:gd name="T9" fmla="*/ 77 h 885"/>
                <a:gd name="T10" fmla="*/ 679 w 703"/>
                <a:gd name="T11" fmla="*/ 225 h 885"/>
                <a:gd name="T12" fmla="*/ 647 w 703"/>
                <a:gd name="T13" fmla="*/ 508 h 885"/>
                <a:gd name="T14" fmla="*/ 481 w 703"/>
                <a:gd name="T15" fmla="*/ 623 h 885"/>
                <a:gd name="T16" fmla="*/ 204 w 703"/>
                <a:gd name="T17" fmla="*/ 549 h 885"/>
                <a:gd name="T18" fmla="*/ 115 w 703"/>
                <a:gd name="T19" fmla="*/ 341 h 885"/>
                <a:gd name="T20" fmla="*/ 219 w 703"/>
                <a:gd name="T21" fmla="*/ 113 h 885"/>
                <a:gd name="T22" fmla="*/ 187 w 703"/>
                <a:gd name="T23" fmla="*/ 314 h 885"/>
                <a:gd name="T24" fmla="*/ 194 w 703"/>
                <a:gd name="T25" fmla="*/ 289 h 885"/>
                <a:gd name="T26" fmla="*/ 367 w 703"/>
                <a:gd name="T27" fmla="*/ 143 h 885"/>
                <a:gd name="T28" fmla="*/ 378 w 703"/>
                <a:gd name="T29" fmla="*/ 121 h 885"/>
                <a:gd name="T30" fmla="*/ 376 w 703"/>
                <a:gd name="T31" fmla="*/ 187 h 885"/>
                <a:gd name="T32" fmla="*/ 373 w 703"/>
                <a:gd name="T33" fmla="*/ 254 h 885"/>
                <a:gd name="T34" fmla="*/ 394 w 703"/>
                <a:gd name="T35" fmla="*/ 218 h 885"/>
                <a:gd name="T36" fmla="*/ 439 w 703"/>
                <a:gd name="T37" fmla="*/ 214 h 885"/>
                <a:gd name="T38" fmla="*/ 477 w 703"/>
                <a:gd name="T39" fmla="*/ 229 h 885"/>
                <a:gd name="T40" fmla="*/ 404 w 703"/>
                <a:gd name="T41" fmla="*/ 254 h 885"/>
                <a:gd name="T42" fmla="*/ 431 w 703"/>
                <a:gd name="T43" fmla="*/ 351 h 885"/>
                <a:gd name="T44" fmla="*/ 511 w 703"/>
                <a:gd name="T45" fmla="*/ 352 h 885"/>
                <a:gd name="T46" fmla="*/ 601 w 703"/>
                <a:gd name="T47" fmla="*/ 404 h 885"/>
                <a:gd name="T48" fmla="*/ 537 w 703"/>
                <a:gd name="T49" fmla="*/ 269 h 885"/>
                <a:gd name="T50" fmla="*/ 542 w 703"/>
                <a:gd name="T51" fmla="*/ 210 h 885"/>
                <a:gd name="T52" fmla="*/ 508 w 703"/>
                <a:gd name="T53" fmla="*/ 200 h 885"/>
                <a:gd name="T54" fmla="*/ 576 w 703"/>
                <a:gd name="T55" fmla="*/ 194 h 885"/>
                <a:gd name="T56" fmla="*/ 603 w 703"/>
                <a:gd name="T57" fmla="*/ 180 h 885"/>
                <a:gd name="T58" fmla="*/ 477 w 703"/>
                <a:gd name="T59" fmla="*/ 78 h 885"/>
                <a:gd name="T60" fmla="*/ 396 w 703"/>
                <a:gd name="T61" fmla="*/ 91 h 885"/>
                <a:gd name="T62" fmla="*/ 355 w 703"/>
                <a:gd name="T63" fmla="*/ 99 h 885"/>
                <a:gd name="T64" fmla="*/ 314 w 703"/>
                <a:gd name="T65" fmla="*/ 486 h 885"/>
                <a:gd name="T66" fmla="*/ 409 w 703"/>
                <a:gd name="T67" fmla="*/ 559 h 885"/>
                <a:gd name="T68" fmla="*/ 452 w 703"/>
                <a:gd name="T69" fmla="*/ 580 h 885"/>
                <a:gd name="T70" fmla="*/ 450 w 703"/>
                <a:gd name="T71" fmla="*/ 542 h 885"/>
                <a:gd name="T72" fmla="*/ 448 w 703"/>
                <a:gd name="T73" fmla="*/ 495 h 885"/>
                <a:gd name="T74" fmla="*/ 429 w 703"/>
                <a:gd name="T75" fmla="*/ 426 h 885"/>
                <a:gd name="T76" fmla="*/ 314 w 703"/>
                <a:gd name="T77" fmla="*/ 475 h 885"/>
                <a:gd name="T78" fmla="*/ 264 w 703"/>
                <a:gd name="T79" fmla="*/ 329 h 885"/>
                <a:gd name="T80" fmla="*/ 180 w 703"/>
                <a:gd name="T81" fmla="*/ 338 h 885"/>
                <a:gd name="T82" fmla="*/ 148 w 703"/>
                <a:gd name="T83" fmla="*/ 347 h 885"/>
                <a:gd name="T84" fmla="*/ 209 w 703"/>
                <a:gd name="T85" fmla="*/ 511 h 885"/>
                <a:gd name="T86" fmla="*/ 267 w 703"/>
                <a:gd name="T87" fmla="*/ 477 h 885"/>
                <a:gd name="T88" fmla="*/ 210 w 703"/>
                <a:gd name="T89" fmla="*/ 500 h 885"/>
                <a:gd name="T90" fmla="*/ 198 w 703"/>
                <a:gd name="T91" fmla="*/ 451 h 885"/>
                <a:gd name="T92" fmla="*/ 253 w 703"/>
                <a:gd name="T93" fmla="*/ 351 h 885"/>
                <a:gd name="T94" fmla="*/ 198 w 703"/>
                <a:gd name="T95" fmla="*/ 170 h 885"/>
                <a:gd name="T96" fmla="*/ 204 w 703"/>
                <a:gd name="T97" fmla="*/ 238 h 885"/>
                <a:gd name="T98" fmla="*/ 227 w 703"/>
                <a:gd name="T99" fmla="*/ 253 h 885"/>
                <a:gd name="T100" fmla="*/ 247 w 703"/>
                <a:gd name="T101" fmla="*/ 200 h 885"/>
                <a:gd name="T102" fmla="*/ 227 w 703"/>
                <a:gd name="T103" fmla="*/ 171 h 885"/>
                <a:gd name="T104" fmla="*/ 696 w 703"/>
                <a:gd name="T105" fmla="*/ 589 h 885"/>
                <a:gd name="T106" fmla="*/ 546 w 703"/>
                <a:gd name="T107" fmla="*/ 663 h 885"/>
                <a:gd name="T108" fmla="*/ 211 w 703"/>
                <a:gd name="T109" fmla="*/ 633 h 885"/>
                <a:gd name="T110" fmla="*/ 55 w 703"/>
                <a:gd name="T111" fmla="*/ 308 h 885"/>
                <a:gd name="T112" fmla="*/ 174 w 703"/>
                <a:gd name="T113" fmla="*/ 73 h 885"/>
                <a:gd name="T114" fmla="*/ 198 w 703"/>
                <a:gd name="T115" fmla="*/ 2 h 885"/>
                <a:gd name="T116" fmla="*/ 45 w 703"/>
                <a:gd name="T117" fmla="*/ 151 h 885"/>
                <a:gd name="T118" fmla="*/ 12 w 703"/>
                <a:gd name="T119" fmla="*/ 443 h 885"/>
                <a:gd name="T120" fmla="*/ 302 w 703"/>
                <a:gd name="T121" fmla="*/ 733 h 885"/>
                <a:gd name="T122" fmla="*/ 623 w 703"/>
                <a:gd name="T123" fmla="*/ 685 h 8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3" h="885">
                  <a:moveTo>
                    <a:pt x="583" y="865"/>
                  </a:moveTo>
                  <a:lnTo>
                    <a:pt x="583" y="865"/>
                  </a:lnTo>
                  <a:lnTo>
                    <a:pt x="586" y="868"/>
                  </a:lnTo>
                  <a:lnTo>
                    <a:pt x="586" y="871"/>
                  </a:lnTo>
                  <a:lnTo>
                    <a:pt x="585" y="875"/>
                  </a:lnTo>
                  <a:lnTo>
                    <a:pt x="583" y="878"/>
                  </a:lnTo>
                  <a:lnTo>
                    <a:pt x="581" y="881"/>
                  </a:lnTo>
                  <a:lnTo>
                    <a:pt x="578" y="883"/>
                  </a:lnTo>
                  <a:lnTo>
                    <a:pt x="574" y="885"/>
                  </a:lnTo>
                  <a:lnTo>
                    <a:pt x="571" y="885"/>
                  </a:lnTo>
                  <a:lnTo>
                    <a:pt x="181" y="885"/>
                  </a:lnTo>
                  <a:lnTo>
                    <a:pt x="181" y="885"/>
                  </a:lnTo>
                  <a:lnTo>
                    <a:pt x="176" y="885"/>
                  </a:lnTo>
                  <a:lnTo>
                    <a:pt x="173" y="883"/>
                  </a:lnTo>
                  <a:lnTo>
                    <a:pt x="171" y="881"/>
                  </a:lnTo>
                  <a:lnTo>
                    <a:pt x="170" y="877"/>
                  </a:lnTo>
                  <a:lnTo>
                    <a:pt x="168" y="874"/>
                  </a:lnTo>
                  <a:lnTo>
                    <a:pt x="168" y="870"/>
                  </a:lnTo>
                  <a:lnTo>
                    <a:pt x="168" y="867"/>
                  </a:lnTo>
                  <a:lnTo>
                    <a:pt x="171" y="865"/>
                  </a:lnTo>
                  <a:lnTo>
                    <a:pt x="171" y="865"/>
                  </a:lnTo>
                  <a:lnTo>
                    <a:pt x="175" y="856"/>
                  </a:lnTo>
                  <a:lnTo>
                    <a:pt x="183" y="848"/>
                  </a:lnTo>
                  <a:lnTo>
                    <a:pt x="191" y="840"/>
                  </a:lnTo>
                  <a:lnTo>
                    <a:pt x="201" y="833"/>
                  </a:lnTo>
                  <a:lnTo>
                    <a:pt x="211" y="826"/>
                  </a:lnTo>
                  <a:lnTo>
                    <a:pt x="223" y="819"/>
                  </a:lnTo>
                  <a:lnTo>
                    <a:pt x="235" y="813"/>
                  </a:lnTo>
                  <a:lnTo>
                    <a:pt x="248" y="807"/>
                  </a:lnTo>
                  <a:lnTo>
                    <a:pt x="262" y="801"/>
                  </a:lnTo>
                  <a:lnTo>
                    <a:pt x="277" y="796"/>
                  </a:lnTo>
                  <a:lnTo>
                    <a:pt x="293" y="792"/>
                  </a:lnTo>
                  <a:lnTo>
                    <a:pt x="308" y="788"/>
                  </a:lnTo>
                  <a:lnTo>
                    <a:pt x="324" y="786"/>
                  </a:lnTo>
                  <a:lnTo>
                    <a:pt x="342" y="784"/>
                  </a:lnTo>
                  <a:lnTo>
                    <a:pt x="359" y="782"/>
                  </a:lnTo>
                  <a:lnTo>
                    <a:pt x="375" y="781"/>
                  </a:lnTo>
                  <a:lnTo>
                    <a:pt x="375" y="781"/>
                  </a:lnTo>
                  <a:lnTo>
                    <a:pt x="393" y="782"/>
                  </a:lnTo>
                  <a:lnTo>
                    <a:pt x="409" y="784"/>
                  </a:lnTo>
                  <a:lnTo>
                    <a:pt x="425" y="785"/>
                  </a:lnTo>
                  <a:lnTo>
                    <a:pt x="441" y="788"/>
                  </a:lnTo>
                  <a:lnTo>
                    <a:pt x="457" y="792"/>
                  </a:lnTo>
                  <a:lnTo>
                    <a:pt x="472" y="795"/>
                  </a:lnTo>
                  <a:lnTo>
                    <a:pt x="487" y="800"/>
                  </a:lnTo>
                  <a:lnTo>
                    <a:pt x="501" y="806"/>
                  </a:lnTo>
                  <a:lnTo>
                    <a:pt x="514" y="811"/>
                  </a:lnTo>
                  <a:lnTo>
                    <a:pt x="527" y="817"/>
                  </a:lnTo>
                  <a:lnTo>
                    <a:pt x="540" y="824"/>
                  </a:lnTo>
                  <a:lnTo>
                    <a:pt x="550" y="831"/>
                  </a:lnTo>
                  <a:lnTo>
                    <a:pt x="560" y="839"/>
                  </a:lnTo>
                  <a:lnTo>
                    <a:pt x="570" y="847"/>
                  </a:lnTo>
                  <a:lnTo>
                    <a:pt x="578" y="855"/>
                  </a:lnTo>
                  <a:lnTo>
                    <a:pt x="583" y="865"/>
                  </a:lnTo>
                  <a:lnTo>
                    <a:pt x="583" y="865"/>
                  </a:lnTo>
                  <a:close/>
                  <a:moveTo>
                    <a:pt x="219" y="113"/>
                  </a:moveTo>
                  <a:lnTo>
                    <a:pt x="219" y="113"/>
                  </a:lnTo>
                  <a:lnTo>
                    <a:pt x="231" y="104"/>
                  </a:lnTo>
                  <a:lnTo>
                    <a:pt x="244" y="96"/>
                  </a:lnTo>
                  <a:lnTo>
                    <a:pt x="256" y="88"/>
                  </a:lnTo>
                  <a:lnTo>
                    <a:pt x="269" y="80"/>
                  </a:lnTo>
                  <a:lnTo>
                    <a:pt x="282" y="74"/>
                  </a:lnTo>
                  <a:lnTo>
                    <a:pt x="294" y="67"/>
                  </a:lnTo>
                  <a:lnTo>
                    <a:pt x="308" y="62"/>
                  </a:lnTo>
                  <a:lnTo>
                    <a:pt x="322" y="58"/>
                  </a:lnTo>
                  <a:lnTo>
                    <a:pt x="336" y="54"/>
                  </a:lnTo>
                  <a:lnTo>
                    <a:pt x="350" y="51"/>
                  </a:lnTo>
                  <a:lnTo>
                    <a:pt x="378" y="46"/>
                  </a:lnTo>
                  <a:lnTo>
                    <a:pt x="405" y="45"/>
                  </a:lnTo>
                  <a:lnTo>
                    <a:pt x="434" y="46"/>
                  </a:lnTo>
                  <a:lnTo>
                    <a:pt x="462" y="49"/>
                  </a:lnTo>
                  <a:lnTo>
                    <a:pt x="489" y="56"/>
                  </a:lnTo>
                  <a:lnTo>
                    <a:pt x="516" y="64"/>
                  </a:lnTo>
                  <a:lnTo>
                    <a:pt x="529" y="70"/>
                  </a:lnTo>
                  <a:lnTo>
                    <a:pt x="542" y="77"/>
                  </a:lnTo>
                  <a:lnTo>
                    <a:pt x="555" y="84"/>
                  </a:lnTo>
                  <a:lnTo>
                    <a:pt x="567" y="91"/>
                  </a:lnTo>
                  <a:lnTo>
                    <a:pt x="579" y="99"/>
                  </a:lnTo>
                  <a:lnTo>
                    <a:pt x="590" y="108"/>
                  </a:lnTo>
                  <a:lnTo>
                    <a:pt x="602" y="118"/>
                  </a:lnTo>
                  <a:lnTo>
                    <a:pt x="612" y="127"/>
                  </a:lnTo>
                  <a:lnTo>
                    <a:pt x="623" y="138"/>
                  </a:lnTo>
                  <a:lnTo>
                    <a:pt x="633" y="149"/>
                  </a:lnTo>
                  <a:lnTo>
                    <a:pt x="633" y="149"/>
                  </a:lnTo>
                  <a:lnTo>
                    <a:pt x="642" y="162"/>
                  </a:lnTo>
                  <a:lnTo>
                    <a:pt x="650" y="173"/>
                  </a:lnTo>
                  <a:lnTo>
                    <a:pt x="659" y="186"/>
                  </a:lnTo>
                  <a:lnTo>
                    <a:pt x="667" y="199"/>
                  </a:lnTo>
                  <a:lnTo>
                    <a:pt x="672" y="211"/>
                  </a:lnTo>
                  <a:lnTo>
                    <a:pt x="679" y="225"/>
                  </a:lnTo>
                  <a:lnTo>
                    <a:pt x="684" y="238"/>
                  </a:lnTo>
                  <a:lnTo>
                    <a:pt x="689" y="252"/>
                  </a:lnTo>
                  <a:lnTo>
                    <a:pt x="692" y="266"/>
                  </a:lnTo>
                  <a:lnTo>
                    <a:pt x="696" y="280"/>
                  </a:lnTo>
                  <a:lnTo>
                    <a:pt x="700" y="307"/>
                  </a:lnTo>
                  <a:lnTo>
                    <a:pt x="701" y="335"/>
                  </a:lnTo>
                  <a:lnTo>
                    <a:pt x="700" y="364"/>
                  </a:lnTo>
                  <a:lnTo>
                    <a:pt x="697" y="392"/>
                  </a:lnTo>
                  <a:lnTo>
                    <a:pt x="690" y="419"/>
                  </a:lnTo>
                  <a:lnTo>
                    <a:pt x="681" y="446"/>
                  </a:lnTo>
                  <a:lnTo>
                    <a:pt x="676" y="459"/>
                  </a:lnTo>
                  <a:lnTo>
                    <a:pt x="669" y="471"/>
                  </a:lnTo>
                  <a:lnTo>
                    <a:pt x="662" y="484"/>
                  </a:lnTo>
                  <a:lnTo>
                    <a:pt x="655" y="497"/>
                  </a:lnTo>
                  <a:lnTo>
                    <a:pt x="647" y="508"/>
                  </a:lnTo>
                  <a:lnTo>
                    <a:pt x="638" y="520"/>
                  </a:lnTo>
                  <a:lnTo>
                    <a:pt x="629" y="532"/>
                  </a:lnTo>
                  <a:lnTo>
                    <a:pt x="619" y="542"/>
                  </a:lnTo>
                  <a:lnTo>
                    <a:pt x="608" y="552"/>
                  </a:lnTo>
                  <a:lnTo>
                    <a:pt x="597" y="563"/>
                  </a:lnTo>
                  <a:lnTo>
                    <a:pt x="597" y="563"/>
                  </a:lnTo>
                  <a:lnTo>
                    <a:pt x="585" y="572"/>
                  </a:lnTo>
                  <a:lnTo>
                    <a:pt x="573" y="581"/>
                  </a:lnTo>
                  <a:lnTo>
                    <a:pt x="560" y="589"/>
                  </a:lnTo>
                  <a:lnTo>
                    <a:pt x="548" y="596"/>
                  </a:lnTo>
                  <a:lnTo>
                    <a:pt x="535" y="603"/>
                  </a:lnTo>
                  <a:lnTo>
                    <a:pt x="521" y="609"/>
                  </a:lnTo>
                  <a:lnTo>
                    <a:pt x="508" y="614"/>
                  </a:lnTo>
                  <a:lnTo>
                    <a:pt x="494" y="618"/>
                  </a:lnTo>
                  <a:lnTo>
                    <a:pt x="481" y="623"/>
                  </a:lnTo>
                  <a:lnTo>
                    <a:pt x="467" y="625"/>
                  </a:lnTo>
                  <a:lnTo>
                    <a:pt x="439" y="630"/>
                  </a:lnTo>
                  <a:lnTo>
                    <a:pt x="411" y="631"/>
                  </a:lnTo>
                  <a:lnTo>
                    <a:pt x="382" y="630"/>
                  </a:lnTo>
                  <a:lnTo>
                    <a:pt x="355" y="626"/>
                  </a:lnTo>
                  <a:lnTo>
                    <a:pt x="327" y="621"/>
                  </a:lnTo>
                  <a:lnTo>
                    <a:pt x="300" y="611"/>
                  </a:lnTo>
                  <a:lnTo>
                    <a:pt x="287" y="606"/>
                  </a:lnTo>
                  <a:lnTo>
                    <a:pt x="275" y="600"/>
                  </a:lnTo>
                  <a:lnTo>
                    <a:pt x="262" y="593"/>
                  </a:lnTo>
                  <a:lnTo>
                    <a:pt x="249" y="585"/>
                  </a:lnTo>
                  <a:lnTo>
                    <a:pt x="238" y="577"/>
                  </a:lnTo>
                  <a:lnTo>
                    <a:pt x="226" y="569"/>
                  </a:lnTo>
                  <a:lnTo>
                    <a:pt x="215" y="558"/>
                  </a:lnTo>
                  <a:lnTo>
                    <a:pt x="204" y="549"/>
                  </a:lnTo>
                  <a:lnTo>
                    <a:pt x="194" y="539"/>
                  </a:lnTo>
                  <a:lnTo>
                    <a:pt x="183" y="527"/>
                  </a:lnTo>
                  <a:lnTo>
                    <a:pt x="183" y="527"/>
                  </a:lnTo>
                  <a:lnTo>
                    <a:pt x="174" y="515"/>
                  </a:lnTo>
                  <a:lnTo>
                    <a:pt x="165" y="503"/>
                  </a:lnTo>
                  <a:lnTo>
                    <a:pt x="157" y="490"/>
                  </a:lnTo>
                  <a:lnTo>
                    <a:pt x="150" y="477"/>
                  </a:lnTo>
                  <a:lnTo>
                    <a:pt x="143" y="465"/>
                  </a:lnTo>
                  <a:lnTo>
                    <a:pt x="137" y="452"/>
                  </a:lnTo>
                  <a:lnTo>
                    <a:pt x="133" y="438"/>
                  </a:lnTo>
                  <a:lnTo>
                    <a:pt x="128" y="424"/>
                  </a:lnTo>
                  <a:lnTo>
                    <a:pt x="123" y="410"/>
                  </a:lnTo>
                  <a:lnTo>
                    <a:pt x="121" y="396"/>
                  </a:lnTo>
                  <a:lnTo>
                    <a:pt x="116" y="369"/>
                  </a:lnTo>
                  <a:lnTo>
                    <a:pt x="115" y="341"/>
                  </a:lnTo>
                  <a:lnTo>
                    <a:pt x="116" y="312"/>
                  </a:lnTo>
                  <a:lnTo>
                    <a:pt x="120" y="284"/>
                  </a:lnTo>
                  <a:lnTo>
                    <a:pt x="126" y="258"/>
                  </a:lnTo>
                  <a:lnTo>
                    <a:pt x="135" y="230"/>
                  </a:lnTo>
                  <a:lnTo>
                    <a:pt x="141" y="217"/>
                  </a:lnTo>
                  <a:lnTo>
                    <a:pt x="146" y="204"/>
                  </a:lnTo>
                  <a:lnTo>
                    <a:pt x="153" y="192"/>
                  </a:lnTo>
                  <a:lnTo>
                    <a:pt x="161" y="179"/>
                  </a:lnTo>
                  <a:lnTo>
                    <a:pt x="170" y="167"/>
                  </a:lnTo>
                  <a:lnTo>
                    <a:pt x="178" y="156"/>
                  </a:lnTo>
                  <a:lnTo>
                    <a:pt x="188" y="144"/>
                  </a:lnTo>
                  <a:lnTo>
                    <a:pt x="197" y="134"/>
                  </a:lnTo>
                  <a:lnTo>
                    <a:pt x="208" y="123"/>
                  </a:lnTo>
                  <a:lnTo>
                    <a:pt x="219" y="113"/>
                  </a:lnTo>
                  <a:lnTo>
                    <a:pt x="219" y="113"/>
                  </a:lnTo>
                  <a:close/>
                  <a:moveTo>
                    <a:pt x="142" y="308"/>
                  </a:moveTo>
                  <a:lnTo>
                    <a:pt x="142" y="308"/>
                  </a:lnTo>
                  <a:lnTo>
                    <a:pt x="146" y="306"/>
                  </a:lnTo>
                  <a:lnTo>
                    <a:pt x="153" y="305"/>
                  </a:lnTo>
                  <a:lnTo>
                    <a:pt x="153" y="305"/>
                  </a:lnTo>
                  <a:lnTo>
                    <a:pt x="157" y="305"/>
                  </a:lnTo>
                  <a:lnTo>
                    <a:pt x="159" y="306"/>
                  </a:lnTo>
                  <a:lnTo>
                    <a:pt x="165" y="310"/>
                  </a:lnTo>
                  <a:lnTo>
                    <a:pt x="165" y="310"/>
                  </a:lnTo>
                  <a:lnTo>
                    <a:pt x="168" y="315"/>
                  </a:lnTo>
                  <a:lnTo>
                    <a:pt x="171" y="321"/>
                  </a:lnTo>
                  <a:lnTo>
                    <a:pt x="171" y="321"/>
                  </a:lnTo>
                  <a:lnTo>
                    <a:pt x="182" y="317"/>
                  </a:lnTo>
                  <a:lnTo>
                    <a:pt x="182" y="317"/>
                  </a:lnTo>
                  <a:lnTo>
                    <a:pt x="187" y="314"/>
                  </a:lnTo>
                  <a:lnTo>
                    <a:pt x="190" y="312"/>
                  </a:lnTo>
                  <a:lnTo>
                    <a:pt x="190" y="312"/>
                  </a:lnTo>
                  <a:lnTo>
                    <a:pt x="189" y="310"/>
                  </a:lnTo>
                  <a:lnTo>
                    <a:pt x="183" y="303"/>
                  </a:lnTo>
                  <a:lnTo>
                    <a:pt x="183" y="303"/>
                  </a:lnTo>
                  <a:lnTo>
                    <a:pt x="182" y="300"/>
                  </a:lnTo>
                  <a:lnTo>
                    <a:pt x="182" y="298"/>
                  </a:lnTo>
                  <a:lnTo>
                    <a:pt x="182" y="298"/>
                  </a:lnTo>
                  <a:lnTo>
                    <a:pt x="183" y="296"/>
                  </a:lnTo>
                  <a:lnTo>
                    <a:pt x="186" y="295"/>
                  </a:lnTo>
                  <a:lnTo>
                    <a:pt x="186" y="295"/>
                  </a:lnTo>
                  <a:lnTo>
                    <a:pt x="190" y="293"/>
                  </a:lnTo>
                  <a:lnTo>
                    <a:pt x="194" y="291"/>
                  </a:lnTo>
                  <a:lnTo>
                    <a:pt x="194" y="291"/>
                  </a:lnTo>
                  <a:lnTo>
                    <a:pt x="194" y="289"/>
                  </a:lnTo>
                  <a:lnTo>
                    <a:pt x="194" y="289"/>
                  </a:lnTo>
                  <a:lnTo>
                    <a:pt x="180" y="291"/>
                  </a:lnTo>
                  <a:lnTo>
                    <a:pt x="166" y="293"/>
                  </a:lnTo>
                  <a:lnTo>
                    <a:pt x="153" y="298"/>
                  </a:lnTo>
                  <a:lnTo>
                    <a:pt x="142" y="304"/>
                  </a:lnTo>
                  <a:lnTo>
                    <a:pt x="142" y="304"/>
                  </a:lnTo>
                  <a:lnTo>
                    <a:pt x="142" y="308"/>
                  </a:lnTo>
                  <a:lnTo>
                    <a:pt x="142" y="308"/>
                  </a:lnTo>
                  <a:close/>
                  <a:moveTo>
                    <a:pt x="356" y="165"/>
                  </a:moveTo>
                  <a:lnTo>
                    <a:pt x="356" y="165"/>
                  </a:lnTo>
                  <a:lnTo>
                    <a:pt x="363" y="163"/>
                  </a:lnTo>
                  <a:lnTo>
                    <a:pt x="366" y="163"/>
                  </a:lnTo>
                  <a:lnTo>
                    <a:pt x="371" y="164"/>
                  </a:lnTo>
                  <a:lnTo>
                    <a:pt x="371" y="164"/>
                  </a:lnTo>
                  <a:lnTo>
                    <a:pt x="367" y="143"/>
                  </a:lnTo>
                  <a:lnTo>
                    <a:pt x="367" y="143"/>
                  </a:lnTo>
                  <a:lnTo>
                    <a:pt x="363" y="119"/>
                  </a:lnTo>
                  <a:lnTo>
                    <a:pt x="363" y="113"/>
                  </a:lnTo>
                  <a:lnTo>
                    <a:pt x="364" y="111"/>
                  </a:lnTo>
                  <a:lnTo>
                    <a:pt x="364" y="111"/>
                  </a:lnTo>
                  <a:lnTo>
                    <a:pt x="366" y="110"/>
                  </a:lnTo>
                  <a:lnTo>
                    <a:pt x="368" y="108"/>
                  </a:lnTo>
                  <a:lnTo>
                    <a:pt x="368" y="108"/>
                  </a:lnTo>
                  <a:lnTo>
                    <a:pt x="370" y="110"/>
                  </a:lnTo>
                  <a:lnTo>
                    <a:pt x="372" y="110"/>
                  </a:lnTo>
                  <a:lnTo>
                    <a:pt x="373" y="112"/>
                  </a:lnTo>
                  <a:lnTo>
                    <a:pt x="373" y="112"/>
                  </a:lnTo>
                  <a:lnTo>
                    <a:pt x="374" y="113"/>
                  </a:lnTo>
                  <a:lnTo>
                    <a:pt x="374" y="113"/>
                  </a:lnTo>
                  <a:lnTo>
                    <a:pt x="378" y="121"/>
                  </a:lnTo>
                  <a:lnTo>
                    <a:pt x="382" y="129"/>
                  </a:lnTo>
                  <a:lnTo>
                    <a:pt x="382" y="129"/>
                  </a:lnTo>
                  <a:lnTo>
                    <a:pt x="388" y="137"/>
                  </a:lnTo>
                  <a:lnTo>
                    <a:pt x="393" y="147"/>
                  </a:lnTo>
                  <a:lnTo>
                    <a:pt x="396" y="156"/>
                  </a:lnTo>
                  <a:lnTo>
                    <a:pt x="396" y="160"/>
                  </a:lnTo>
                  <a:lnTo>
                    <a:pt x="396" y="165"/>
                  </a:lnTo>
                  <a:lnTo>
                    <a:pt x="396" y="165"/>
                  </a:lnTo>
                  <a:lnTo>
                    <a:pt x="394" y="170"/>
                  </a:lnTo>
                  <a:lnTo>
                    <a:pt x="392" y="174"/>
                  </a:lnTo>
                  <a:lnTo>
                    <a:pt x="388" y="179"/>
                  </a:lnTo>
                  <a:lnTo>
                    <a:pt x="382" y="182"/>
                  </a:lnTo>
                  <a:lnTo>
                    <a:pt x="382" y="182"/>
                  </a:lnTo>
                  <a:lnTo>
                    <a:pt x="379" y="185"/>
                  </a:lnTo>
                  <a:lnTo>
                    <a:pt x="376" y="187"/>
                  </a:lnTo>
                  <a:lnTo>
                    <a:pt x="375" y="191"/>
                  </a:lnTo>
                  <a:lnTo>
                    <a:pt x="375" y="194"/>
                  </a:lnTo>
                  <a:lnTo>
                    <a:pt x="375" y="194"/>
                  </a:lnTo>
                  <a:lnTo>
                    <a:pt x="375" y="200"/>
                  </a:lnTo>
                  <a:lnTo>
                    <a:pt x="374" y="207"/>
                  </a:lnTo>
                  <a:lnTo>
                    <a:pt x="372" y="215"/>
                  </a:lnTo>
                  <a:lnTo>
                    <a:pt x="366" y="225"/>
                  </a:lnTo>
                  <a:lnTo>
                    <a:pt x="366" y="225"/>
                  </a:lnTo>
                  <a:lnTo>
                    <a:pt x="370" y="231"/>
                  </a:lnTo>
                  <a:lnTo>
                    <a:pt x="372" y="236"/>
                  </a:lnTo>
                  <a:lnTo>
                    <a:pt x="372" y="241"/>
                  </a:lnTo>
                  <a:lnTo>
                    <a:pt x="372" y="246"/>
                  </a:lnTo>
                  <a:lnTo>
                    <a:pt x="372" y="246"/>
                  </a:lnTo>
                  <a:lnTo>
                    <a:pt x="372" y="249"/>
                  </a:lnTo>
                  <a:lnTo>
                    <a:pt x="373" y="254"/>
                  </a:lnTo>
                  <a:lnTo>
                    <a:pt x="374" y="259"/>
                  </a:lnTo>
                  <a:lnTo>
                    <a:pt x="379" y="263"/>
                  </a:lnTo>
                  <a:lnTo>
                    <a:pt x="379" y="263"/>
                  </a:lnTo>
                  <a:lnTo>
                    <a:pt x="385" y="262"/>
                  </a:lnTo>
                  <a:lnTo>
                    <a:pt x="387" y="260"/>
                  </a:lnTo>
                  <a:lnTo>
                    <a:pt x="387" y="260"/>
                  </a:lnTo>
                  <a:lnTo>
                    <a:pt x="389" y="256"/>
                  </a:lnTo>
                  <a:lnTo>
                    <a:pt x="389" y="252"/>
                  </a:lnTo>
                  <a:lnTo>
                    <a:pt x="389" y="241"/>
                  </a:lnTo>
                  <a:lnTo>
                    <a:pt x="389" y="241"/>
                  </a:lnTo>
                  <a:lnTo>
                    <a:pt x="388" y="231"/>
                  </a:lnTo>
                  <a:lnTo>
                    <a:pt x="389" y="225"/>
                  </a:lnTo>
                  <a:lnTo>
                    <a:pt x="390" y="221"/>
                  </a:lnTo>
                  <a:lnTo>
                    <a:pt x="390" y="221"/>
                  </a:lnTo>
                  <a:lnTo>
                    <a:pt x="394" y="218"/>
                  </a:lnTo>
                  <a:lnTo>
                    <a:pt x="397" y="216"/>
                  </a:lnTo>
                  <a:lnTo>
                    <a:pt x="397" y="216"/>
                  </a:lnTo>
                  <a:lnTo>
                    <a:pt x="400" y="214"/>
                  </a:lnTo>
                  <a:lnTo>
                    <a:pt x="398" y="211"/>
                  </a:lnTo>
                  <a:lnTo>
                    <a:pt x="398" y="211"/>
                  </a:lnTo>
                  <a:lnTo>
                    <a:pt x="398" y="209"/>
                  </a:lnTo>
                  <a:lnTo>
                    <a:pt x="400" y="207"/>
                  </a:lnTo>
                  <a:lnTo>
                    <a:pt x="400" y="207"/>
                  </a:lnTo>
                  <a:lnTo>
                    <a:pt x="401" y="206"/>
                  </a:lnTo>
                  <a:lnTo>
                    <a:pt x="403" y="204"/>
                  </a:lnTo>
                  <a:lnTo>
                    <a:pt x="403" y="204"/>
                  </a:lnTo>
                  <a:lnTo>
                    <a:pt x="412" y="206"/>
                  </a:lnTo>
                  <a:lnTo>
                    <a:pt x="422" y="207"/>
                  </a:lnTo>
                  <a:lnTo>
                    <a:pt x="431" y="209"/>
                  </a:lnTo>
                  <a:lnTo>
                    <a:pt x="439" y="214"/>
                  </a:lnTo>
                  <a:lnTo>
                    <a:pt x="439" y="214"/>
                  </a:lnTo>
                  <a:lnTo>
                    <a:pt x="441" y="209"/>
                  </a:lnTo>
                  <a:lnTo>
                    <a:pt x="445" y="204"/>
                  </a:lnTo>
                  <a:lnTo>
                    <a:pt x="445" y="204"/>
                  </a:lnTo>
                  <a:lnTo>
                    <a:pt x="452" y="200"/>
                  </a:lnTo>
                  <a:lnTo>
                    <a:pt x="459" y="197"/>
                  </a:lnTo>
                  <a:lnTo>
                    <a:pt x="467" y="197"/>
                  </a:lnTo>
                  <a:lnTo>
                    <a:pt x="474" y="200"/>
                  </a:lnTo>
                  <a:lnTo>
                    <a:pt x="474" y="200"/>
                  </a:lnTo>
                  <a:lnTo>
                    <a:pt x="478" y="206"/>
                  </a:lnTo>
                  <a:lnTo>
                    <a:pt x="481" y="210"/>
                  </a:lnTo>
                  <a:lnTo>
                    <a:pt x="482" y="216"/>
                  </a:lnTo>
                  <a:lnTo>
                    <a:pt x="481" y="223"/>
                  </a:lnTo>
                  <a:lnTo>
                    <a:pt x="481" y="223"/>
                  </a:lnTo>
                  <a:lnTo>
                    <a:pt x="477" y="229"/>
                  </a:lnTo>
                  <a:lnTo>
                    <a:pt x="474" y="234"/>
                  </a:lnTo>
                  <a:lnTo>
                    <a:pt x="468" y="239"/>
                  </a:lnTo>
                  <a:lnTo>
                    <a:pt x="462" y="244"/>
                  </a:lnTo>
                  <a:lnTo>
                    <a:pt x="456" y="247"/>
                  </a:lnTo>
                  <a:lnTo>
                    <a:pt x="449" y="251"/>
                  </a:lnTo>
                  <a:lnTo>
                    <a:pt x="442" y="252"/>
                  </a:lnTo>
                  <a:lnTo>
                    <a:pt x="435" y="253"/>
                  </a:lnTo>
                  <a:lnTo>
                    <a:pt x="435" y="253"/>
                  </a:lnTo>
                  <a:lnTo>
                    <a:pt x="431" y="252"/>
                  </a:lnTo>
                  <a:lnTo>
                    <a:pt x="426" y="251"/>
                  </a:lnTo>
                  <a:lnTo>
                    <a:pt x="422" y="248"/>
                  </a:lnTo>
                  <a:lnTo>
                    <a:pt x="418" y="246"/>
                  </a:lnTo>
                  <a:lnTo>
                    <a:pt x="418" y="246"/>
                  </a:lnTo>
                  <a:lnTo>
                    <a:pt x="411" y="249"/>
                  </a:lnTo>
                  <a:lnTo>
                    <a:pt x="404" y="254"/>
                  </a:lnTo>
                  <a:lnTo>
                    <a:pt x="400" y="260"/>
                  </a:lnTo>
                  <a:lnTo>
                    <a:pt x="396" y="267"/>
                  </a:lnTo>
                  <a:lnTo>
                    <a:pt x="396" y="267"/>
                  </a:lnTo>
                  <a:lnTo>
                    <a:pt x="394" y="274"/>
                  </a:lnTo>
                  <a:lnTo>
                    <a:pt x="393" y="281"/>
                  </a:lnTo>
                  <a:lnTo>
                    <a:pt x="393" y="289"/>
                  </a:lnTo>
                  <a:lnTo>
                    <a:pt x="394" y="297"/>
                  </a:lnTo>
                  <a:lnTo>
                    <a:pt x="396" y="306"/>
                  </a:lnTo>
                  <a:lnTo>
                    <a:pt x="398" y="314"/>
                  </a:lnTo>
                  <a:lnTo>
                    <a:pt x="403" y="322"/>
                  </a:lnTo>
                  <a:lnTo>
                    <a:pt x="408" y="330"/>
                  </a:lnTo>
                  <a:lnTo>
                    <a:pt x="408" y="330"/>
                  </a:lnTo>
                  <a:lnTo>
                    <a:pt x="417" y="342"/>
                  </a:lnTo>
                  <a:lnTo>
                    <a:pt x="424" y="349"/>
                  </a:lnTo>
                  <a:lnTo>
                    <a:pt x="431" y="351"/>
                  </a:lnTo>
                  <a:lnTo>
                    <a:pt x="437" y="352"/>
                  </a:lnTo>
                  <a:lnTo>
                    <a:pt x="437" y="352"/>
                  </a:lnTo>
                  <a:lnTo>
                    <a:pt x="442" y="351"/>
                  </a:lnTo>
                  <a:lnTo>
                    <a:pt x="448" y="349"/>
                  </a:lnTo>
                  <a:lnTo>
                    <a:pt x="461" y="343"/>
                  </a:lnTo>
                  <a:lnTo>
                    <a:pt x="461" y="343"/>
                  </a:lnTo>
                  <a:lnTo>
                    <a:pt x="474" y="337"/>
                  </a:lnTo>
                  <a:lnTo>
                    <a:pt x="481" y="335"/>
                  </a:lnTo>
                  <a:lnTo>
                    <a:pt x="487" y="333"/>
                  </a:lnTo>
                  <a:lnTo>
                    <a:pt x="487" y="333"/>
                  </a:lnTo>
                  <a:lnTo>
                    <a:pt x="487" y="333"/>
                  </a:lnTo>
                  <a:lnTo>
                    <a:pt x="487" y="333"/>
                  </a:lnTo>
                  <a:lnTo>
                    <a:pt x="491" y="334"/>
                  </a:lnTo>
                  <a:lnTo>
                    <a:pt x="491" y="334"/>
                  </a:lnTo>
                  <a:lnTo>
                    <a:pt x="511" y="352"/>
                  </a:lnTo>
                  <a:lnTo>
                    <a:pt x="511" y="352"/>
                  </a:lnTo>
                  <a:lnTo>
                    <a:pt x="531" y="373"/>
                  </a:lnTo>
                  <a:lnTo>
                    <a:pt x="557" y="396"/>
                  </a:lnTo>
                  <a:lnTo>
                    <a:pt x="568" y="407"/>
                  </a:lnTo>
                  <a:lnTo>
                    <a:pt x="580" y="415"/>
                  </a:lnTo>
                  <a:lnTo>
                    <a:pt x="590" y="421"/>
                  </a:lnTo>
                  <a:lnTo>
                    <a:pt x="595" y="422"/>
                  </a:lnTo>
                  <a:lnTo>
                    <a:pt x="598" y="423"/>
                  </a:lnTo>
                  <a:lnTo>
                    <a:pt x="598" y="423"/>
                  </a:lnTo>
                  <a:lnTo>
                    <a:pt x="600" y="423"/>
                  </a:lnTo>
                  <a:lnTo>
                    <a:pt x="601" y="422"/>
                  </a:lnTo>
                  <a:lnTo>
                    <a:pt x="601" y="422"/>
                  </a:lnTo>
                  <a:lnTo>
                    <a:pt x="601" y="419"/>
                  </a:lnTo>
                  <a:lnTo>
                    <a:pt x="602" y="414"/>
                  </a:lnTo>
                  <a:lnTo>
                    <a:pt x="601" y="404"/>
                  </a:lnTo>
                  <a:lnTo>
                    <a:pt x="597" y="391"/>
                  </a:lnTo>
                  <a:lnTo>
                    <a:pt x="597" y="391"/>
                  </a:lnTo>
                  <a:lnTo>
                    <a:pt x="589" y="362"/>
                  </a:lnTo>
                  <a:lnTo>
                    <a:pt x="589" y="362"/>
                  </a:lnTo>
                  <a:lnTo>
                    <a:pt x="582" y="335"/>
                  </a:lnTo>
                  <a:lnTo>
                    <a:pt x="574" y="307"/>
                  </a:lnTo>
                  <a:lnTo>
                    <a:pt x="565" y="282"/>
                  </a:lnTo>
                  <a:lnTo>
                    <a:pt x="559" y="270"/>
                  </a:lnTo>
                  <a:lnTo>
                    <a:pt x="555" y="261"/>
                  </a:lnTo>
                  <a:lnTo>
                    <a:pt x="555" y="261"/>
                  </a:lnTo>
                  <a:lnTo>
                    <a:pt x="549" y="266"/>
                  </a:lnTo>
                  <a:lnTo>
                    <a:pt x="543" y="270"/>
                  </a:lnTo>
                  <a:lnTo>
                    <a:pt x="543" y="270"/>
                  </a:lnTo>
                  <a:lnTo>
                    <a:pt x="540" y="270"/>
                  </a:lnTo>
                  <a:lnTo>
                    <a:pt x="537" y="269"/>
                  </a:lnTo>
                  <a:lnTo>
                    <a:pt x="537" y="269"/>
                  </a:lnTo>
                  <a:lnTo>
                    <a:pt x="535" y="266"/>
                  </a:lnTo>
                  <a:lnTo>
                    <a:pt x="534" y="262"/>
                  </a:lnTo>
                  <a:lnTo>
                    <a:pt x="535" y="256"/>
                  </a:lnTo>
                  <a:lnTo>
                    <a:pt x="537" y="249"/>
                  </a:lnTo>
                  <a:lnTo>
                    <a:pt x="540" y="243"/>
                  </a:lnTo>
                  <a:lnTo>
                    <a:pt x="540" y="243"/>
                  </a:lnTo>
                  <a:lnTo>
                    <a:pt x="543" y="236"/>
                  </a:lnTo>
                  <a:lnTo>
                    <a:pt x="545" y="228"/>
                  </a:lnTo>
                  <a:lnTo>
                    <a:pt x="546" y="221"/>
                  </a:lnTo>
                  <a:lnTo>
                    <a:pt x="546" y="216"/>
                  </a:lnTo>
                  <a:lnTo>
                    <a:pt x="545" y="212"/>
                  </a:lnTo>
                  <a:lnTo>
                    <a:pt x="545" y="212"/>
                  </a:lnTo>
                  <a:lnTo>
                    <a:pt x="544" y="211"/>
                  </a:lnTo>
                  <a:lnTo>
                    <a:pt x="542" y="210"/>
                  </a:lnTo>
                  <a:lnTo>
                    <a:pt x="542" y="210"/>
                  </a:lnTo>
                  <a:lnTo>
                    <a:pt x="538" y="211"/>
                  </a:lnTo>
                  <a:lnTo>
                    <a:pt x="535" y="214"/>
                  </a:lnTo>
                  <a:lnTo>
                    <a:pt x="535" y="214"/>
                  </a:lnTo>
                  <a:lnTo>
                    <a:pt x="530" y="217"/>
                  </a:lnTo>
                  <a:lnTo>
                    <a:pt x="527" y="218"/>
                  </a:lnTo>
                  <a:lnTo>
                    <a:pt x="523" y="219"/>
                  </a:lnTo>
                  <a:lnTo>
                    <a:pt x="523" y="219"/>
                  </a:lnTo>
                  <a:lnTo>
                    <a:pt x="519" y="218"/>
                  </a:lnTo>
                  <a:lnTo>
                    <a:pt x="514" y="215"/>
                  </a:lnTo>
                  <a:lnTo>
                    <a:pt x="511" y="210"/>
                  </a:lnTo>
                  <a:lnTo>
                    <a:pt x="508" y="206"/>
                  </a:lnTo>
                  <a:lnTo>
                    <a:pt x="508" y="206"/>
                  </a:lnTo>
                  <a:lnTo>
                    <a:pt x="507" y="203"/>
                  </a:lnTo>
                  <a:lnTo>
                    <a:pt x="508" y="200"/>
                  </a:lnTo>
                  <a:lnTo>
                    <a:pt x="508" y="200"/>
                  </a:lnTo>
                  <a:lnTo>
                    <a:pt x="511" y="199"/>
                  </a:lnTo>
                  <a:lnTo>
                    <a:pt x="514" y="200"/>
                  </a:lnTo>
                  <a:lnTo>
                    <a:pt x="514" y="200"/>
                  </a:lnTo>
                  <a:lnTo>
                    <a:pt x="520" y="201"/>
                  </a:lnTo>
                  <a:lnTo>
                    <a:pt x="527" y="201"/>
                  </a:lnTo>
                  <a:lnTo>
                    <a:pt x="533" y="199"/>
                  </a:lnTo>
                  <a:lnTo>
                    <a:pt x="540" y="195"/>
                  </a:lnTo>
                  <a:lnTo>
                    <a:pt x="540" y="195"/>
                  </a:lnTo>
                  <a:lnTo>
                    <a:pt x="550" y="191"/>
                  </a:lnTo>
                  <a:lnTo>
                    <a:pt x="556" y="189"/>
                  </a:lnTo>
                  <a:lnTo>
                    <a:pt x="561" y="188"/>
                  </a:lnTo>
                  <a:lnTo>
                    <a:pt x="561" y="188"/>
                  </a:lnTo>
                  <a:lnTo>
                    <a:pt x="568" y="189"/>
                  </a:lnTo>
                  <a:lnTo>
                    <a:pt x="576" y="194"/>
                  </a:lnTo>
                  <a:lnTo>
                    <a:pt x="576" y="194"/>
                  </a:lnTo>
                  <a:lnTo>
                    <a:pt x="580" y="197"/>
                  </a:lnTo>
                  <a:lnTo>
                    <a:pt x="583" y="201"/>
                  </a:lnTo>
                  <a:lnTo>
                    <a:pt x="583" y="201"/>
                  </a:lnTo>
                  <a:lnTo>
                    <a:pt x="587" y="207"/>
                  </a:lnTo>
                  <a:lnTo>
                    <a:pt x="592" y="211"/>
                  </a:lnTo>
                  <a:lnTo>
                    <a:pt x="595" y="212"/>
                  </a:lnTo>
                  <a:lnTo>
                    <a:pt x="598" y="214"/>
                  </a:lnTo>
                  <a:lnTo>
                    <a:pt x="603" y="215"/>
                  </a:lnTo>
                  <a:lnTo>
                    <a:pt x="609" y="214"/>
                  </a:lnTo>
                  <a:lnTo>
                    <a:pt x="609" y="214"/>
                  </a:lnTo>
                  <a:lnTo>
                    <a:pt x="605" y="202"/>
                  </a:lnTo>
                  <a:lnTo>
                    <a:pt x="604" y="195"/>
                  </a:lnTo>
                  <a:lnTo>
                    <a:pt x="603" y="187"/>
                  </a:lnTo>
                  <a:lnTo>
                    <a:pt x="603" y="180"/>
                  </a:lnTo>
                  <a:lnTo>
                    <a:pt x="605" y="174"/>
                  </a:lnTo>
                  <a:lnTo>
                    <a:pt x="608" y="167"/>
                  </a:lnTo>
                  <a:lnTo>
                    <a:pt x="611" y="163"/>
                  </a:lnTo>
                  <a:lnTo>
                    <a:pt x="611" y="163"/>
                  </a:lnTo>
                  <a:lnTo>
                    <a:pt x="601" y="151"/>
                  </a:lnTo>
                  <a:lnTo>
                    <a:pt x="590" y="141"/>
                  </a:lnTo>
                  <a:lnTo>
                    <a:pt x="580" y="132"/>
                  </a:lnTo>
                  <a:lnTo>
                    <a:pt x="568" y="122"/>
                  </a:lnTo>
                  <a:lnTo>
                    <a:pt x="556" y="114"/>
                  </a:lnTo>
                  <a:lnTo>
                    <a:pt x="544" y="106"/>
                  </a:lnTo>
                  <a:lnTo>
                    <a:pt x="531" y="99"/>
                  </a:lnTo>
                  <a:lnTo>
                    <a:pt x="518" y="93"/>
                  </a:lnTo>
                  <a:lnTo>
                    <a:pt x="505" y="88"/>
                  </a:lnTo>
                  <a:lnTo>
                    <a:pt x="491" y="83"/>
                  </a:lnTo>
                  <a:lnTo>
                    <a:pt x="477" y="78"/>
                  </a:lnTo>
                  <a:lnTo>
                    <a:pt x="463" y="75"/>
                  </a:lnTo>
                  <a:lnTo>
                    <a:pt x="448" y="73"/>
                  </a:lnTo>
                  <a:lnTo>
                    <a:pt x="434" y="71"/>
                  </a:lnTo>
                  <a:lnTo>
                    <a:pt x="419" y="70"/>
                  </a:lnTo>
                  <a:lnTo>
                    <a:pt x="404" y="70"/>
                  </a:lnTo>
                  <a:lnTo>
                    <a:pt x="404" y="70"/>
                  </a:lnTo>
                  <a:lnTo>
                    <a:pt x="408" y="76"/>
                  </a:lnTo>
                  <a:lnTo>
                    <a:pt x="408" y="82"/>
                  </a:lnTo>
                  <a:lnTo>
                    <a:pt x="408" y="82"/>
                  </a:lnTo>
                  <a:lnTo>
                    <a:pt x="407" y="84"/>
                  </a:lnTo>
                  <a:lnTo>
                    <a:pt x="405" y="86"/>
                  </a:lnTo>
                  <a:lnTo>
                    <a:pt x="400" y="90"/>
                  </a:lnTo>
                  <a:lnTo>
                    <a:pt x="400" y="90"/>
                  </a:lnTo>
                  <a:lnTo>
                    <a:pt x="398" y="91"/>
                  </a:lnTo>
                  <a:lnTo>
                    <a:pt x="396" y="91"/>
                  </a:lnTo>
                  <a:lnTo>
                    <a:pt x="396" y="91"/>
                  </a:lnTo>
                  <a:lnTo>
                    <a:pt x="395" y="90"/>
                  </a:lnTo>
                  <a:lnTo>
                    <a:pt x="394" y="89"/>
                  </a:lnTo>
                  <a:lnTo>
                    <a:pt x="394" y="89"/>
                  </a:lnTo>
                  <a:lnTo>
                    <a:pt x="392" y="85"/>
                  </a:lnTo>
                  <a:lnTo>
                    <a:pt x="389" y="83"/>
                  </a:lnTo>
                  <a:lnTo>
                    <a:pt x="387" y="82"/>
                  </a:lnTo>
                  <a:lnTo>
                    <a:pt x="383" y="82"/>
                  </a:lnTo>
                  <a:lnTo>
                    <a:pt x="383" y="82"/>
                  </a:lnTo>
                  <a:lnTo>
                    <a:pt x="379" y="82"/>
                  </a:lnTo>
                  <a:lnTo>
                    <a:pt x="374" y="83"/>
                  </a:lnTo>
                  <a:lnTo>
                    <a:pt x="370" y="86"/>
                  </a:lnTo>
                  <a:lnTo>
                    <a:pt x="364" y="90"/>
                  </a:lnTo>
                  <a:lnTo>
                    <a:pt x="359" y="95"/>
                  </a:lnTo>
                  <a:lnTo>
                    <a:pt x="355" y="99"/>
                  </a:lnTo>
                  <a:lnTo>
                    <a:pt x="351" y="106"/>
                  </a:lnTo>
                  <a:lnTo>
                    <a:pt x="348" y="113"/>
                  </a:lnTo>
                  <a:lnTo>
                    <a:pt x="348" y="113"/>
                  </a:lnTo>
                  <a:lnTo>
                    <a:pt x="344" y="122"/>
                  </a:lnTo>
                  <a:lnTo>
                    <a:pt x="343" y="128"/>
                  </a:lnTo>
                  <a:lnTo>
                    <a:pt x="343" y="135"/>
                  </a:lnTo>
                  <a:lnTo>
                    <a:pt x="344" y="142"/>
                  </a:lnTo>
                  <a:lnTo>
                    <a:pt x="346" y="150"/>
                  </a:lnTo>
                  <a:lnTo>
                    <a:pt x="350" y="157"/>
                  </a:lnTo>
                  <a:lnTo>
                    <a:pt x="356" y="165"/>
                  </a:lnTo>
                  <a:lnTo>
                    <a:pt x="356" y="165"/>
                  </a:lnTo>
                  <a:close/>
                  <a:moveTo>
                    <a:pt x="314" y="475"/>
                  </a:moveTo>
                  <a:lnTo>
                    <a:pt x="314" y="475"/>
                  </a:lnTo>
                  <a:lnTo>
                    <a:pt x="314" y="481"/>
                  </a:lnTo>
                  <a:lnTo>
                    <a:pt x="314" y="486"/>
                  </a:lnTo>
                  <a:lnTo>
                    <a:pt x="318" y="497"/>
                  </a:lnTo>
                  <a:lnTo>
                    <a:pt x="322" y="507"/>
                  </a:lnTo>
                  <a:lnTo>
                    <a:pt x="327" y="519"/>
                  </a:lnTo>
                  <a:lnTo>
                    <a:pt x="327" y="519"/>
                  </a:lnTo>
                  <a:lnTo>
                    <a:pt x="331" y="526"/>
                  </a:lnTo>
                  <a:lnTo>
                    <a:pt x="331" y="526"/>
                  </a:lnTo>
                  <a:lnTo>
                    <a:pt x="339" y="525"/>
                  </a:lnTo>
                  <a:lnTo>
                    <a:pt x="348" y="525"/>
                  </a:lnTo>
                  <a:lnTo>
                    <a:pt x="348" y="525"/>
                  </a:lnTo>
                  <a:lnTo>
                    <a:pt x="360" y="526"/>
                  </a:lnTo>
                  <a:lnTo>
                    <a:pt x="372" y="529"/>
                  </a:lnTo>
                  <a:lnTo>
                    <a:pt x="382" y="535"/>
                  </a:lnTo>
                  <a:lnTo>
                    <a:pt x="392" y="542"/>
                  </a:lnTo>
                  <a:lnTo>
                    <a:pt x="401" y="550"/>
                  </a:lnTo>
                  <a:lnTo>
                    <a:pt x="409" y="559"/>
                  </a:lnTo>
                  <a:lnTo>
                    <a:pt x="425" y="579"/>
                  </a:lnTo>
                  <a:lnTo>
                    <a:pt x="425" y="579"/>
                  </a:lnTo>
                  <a:lnTo>
                    <a:pt x="435" y="592"/>
                  </a:lnTo>
                  <a:lnTo>
                    <a:pt x="446" y="603"/>
                  </a:lnTo>
                  <a:lnTo>
                    <a:pt x="446" y="603"/>
                  </a:lnTo>
                  <a:lnTo>
                    <a:pt x="461" y="601"/>
                  </a:lnTo>
                  <a:lnTo>
                    <a:pt x="461" y="601"/>
                  </a:lnTo>
                  <a:lnTo>
                    <a:pt x="457" y="595"/>
                  </a:lnTo>
                  <a:lnTo>
                    <a:pt x="456" y="593"/>
                  </a:lnTo>
                  <a:lnTo>
                    <a:pt x="454" y="591"/>
                  </a:lnTo>
                  <a:lnTo>
                    <a:pt x="454" y="591"/>
                  </a:lnTo>
                  <a:lnTo>
                    <a:pt x="452" y="588"/>
                  </a:lnTo>
                  <a:lnTo>
                    <a:pt x="452" y="586"/>
                  </a:lnTo>
                  <a:lnTo>
                    <a:pt x="452" y="586"/>
                  </a:lnTo>
                  <a:lnTo>
                    <a:pt x="452" y="580"/>
                  </a:lnTo>
                  <a:lnTo>
                    <a:pt x="450" y="578"/>
                  </a:lnTo>
                  <a:lnTo>
                    <a:pt x="449" y="577"/>
                  </a:lnTo>
                  <a:lnTo>
                    <a:pt x="448" y="576"/>
                  </a:lnTo>
                  <a:lnTo>
                    <a:pt x="448" y="576"/>
                  </a:lnTo>
                  <a:lnTo>
                    <a:pt x="447" y="576"/>
                  </a:lnTo>
                  <a:lnTo>
                    <a:pt x="445" y="574"/>
                  </a:lnTo>
                  <a:lnTo>
                    <a:pt x="445" y="574"/>
                  </a:lnTo>
                  <a:lnTo>
                    <a:pt x="445" y="572"/>
                  </a:lnTo>
                  <a:lnTo>
                    <a:pt x="445" y="571"/>
                  </a:lnTo>
                  <a:lnTo>
                    <a:pt x="445" y="571"/>
                  </a:lnTo>
                  <a:lnTo>
                    <a:pt x="448" y="557"/>
                  </a:lnTo>
                  <a:lnTo>
                    <a:pt x="450" y="550"/>
                  </a:lnTo>
                  <a:lnTo>
                    <a:pt x="454" y="544"/>
                  </a:lnTo>
                  <a:lnTo>
                    <a:pt x="454" y="544"/>
                  </a:lnTo>
                  <a:lnTo>
                    <a:pt x="450" y="542"/>
                  </a:lnTo>
                  <a:lnTo>
                    <a:pt x="447" y="540"/>
                  </a:lnTo>
                  <a:lnTo>
                    <a:pt x="447" y="540"/>
                  </a:lnTo>
                  <a:lnTo>
                    <a:pt x="447" y="537"/>
                  </a:lnTo>
                  <a:lnTo>
                    <a:pt x="447" y="535"/>
                  </a:lnTo>
                  <a:lnTo>
                    <a:pt x="447" y="535"/>
                  </a:lnTo>
                  <a:lnTo>
                    <a:pt x="452" y="528"/>
                  </a:lnTo>
                  <a:lnTo>
                    <a:pt x="452" y="528"/>
                  </a:lnTo>
                  <a:lnTo>
                    <a:pt x="455" y="522"/>
                  </a:lnTo>
                  <a:lnTo>
                    <a:pt x="455" y="522"/>
                  </a:lnTo>
                  <a:lnTo>
                    <a:pt x="454" y="513"/>
                  </a:lnTo>
                  <a:lnTo>
                    <a:pt x="454" y="513"/>
                  </a:lnTo>
                  <a:lnTo>
                    <a:pt x="453" y="504"/>
                  </a:lnTo>
                  <a:lnTo>
                    <a:pt x="452" y="499"/>
                  </a:lnTo>
                  <a:lnTo>
                    <a:pt x="448" y="495"/>
                  </a:lnTo>
                  <a:lnTo>
                    <a:pt x="448" y="495"/>
                  </a:lnTo>
                  <a:lnTo>
                    <a:pt x="447" y="492"/>
                  </a:lnTo>
                  <a:lnTo>
                    <a:pt x="448" y="489"/>
                  </a:lnTo>
                  <a:lnTo>
                    <a:pt x="448" y="489"/>
                  </a:lnTo>
                  <a:lnTo>
                    <a:pt x="452" y="482"/>
                  </a:lnTo>
                  <a:lnTo>
                    <a:pt x="454" y="476"/>
                  </a:lnTo>
                  <a:lnTo>
                    <a:pt x="454" y="469"/>
                  </a:lnTo>
                  <a:lnTo>
                    <a:pt x="454" y="462"/>
                  </a:lnTo>
                  <a:lnTo>
                    <a:pt x="453" y="456"/>
                  </a:lnTo>
                  <a:lnTo>
                    <a:pt x="450" y="449"/>
                  </a:lnTo>
                  <a:lnTo>
                    <a:pt x="444" y="437"/>
                  </a:lnTo>
                  <a:lnTo>
                    <a:pt x="444" y="437"/>
                  </a:lnTo>
                  <a:lnTo>
                    <a:pt x="438" y="423"/>
                  </a:lnTo>
                  <a:lnTo>
                    <a:pt x="438" y="423"/>
                  </a:lnTo>
                  <a:lnTo>
                    <a:pt x="433" y="424"/>
                  </a:lnTo>
                  <a:lnTo>
                    <a:pt x="429" y="426"/>
                  </a:lnTo>
                  <a:lnTo>
                    <a:pt x="419" y="433"/>
                  </a:lnTo>
                  <a:lnTo>
                    <a:pt x="419" y="433"/>
                  </a:lnTo>
                  <a:lnTo>
                    <a:pt x="407" y="441"/>
                  </a:lnTo>
                  <a:lnTo>
                    <a:pt x="400" y="444"/>
                  </a:lnTo>
                  <a:lnTo>
                    <a:pt x="394" y="445"/>
                  </a:lnTo>
                  <a:lnTo>
                    <a:pt x="394" y="445"/>
                  </a:lnTo>
                  <a:lnTo>
                    <a:pt x="388" y="444"/>
                  </a:lnTo>
                  <a:lnTo>
                    <a:pt x="383" y="441"/>
                  </a:lnTo>
                  <a:lnTo>
                    <a:pt x="383" y="441"/>
                  </a:lnTo>
                  <a:lnTo>
                    <a:pt x="361" y="451"/>
                  </a:lnTo>
                  <a:lnTo>
                    <a:pt x="361" y="451"/>
                  </a:lnTo>
                  <a:lnTo>
                    <a:pt x="350" y="454"/>
                  </a:lnTo>
                  <a:lnTo>
                    <a:pt x="338" y="460"/>
                  </a:lnTo>
                  <a:lnTo>
                    <a:pt x="327" y="467"/>
                  </a:lnTo>
                  <a:lnTo>
                    <a:pt x="314" y="475"/>
                  </a:lnTo>
                  <a:lnTo>
                    <a:pt x="314" y="475"/>
                  </a:lnTo>
                  <a:close/>
                  <a:moveTo>
                    <a:pt x="239" y="341"/>
                  </a:moveTo>
                  <a:lnTo>
                    <a:pt x="239" y="341"/>
                  </a:lnTo>
                  <a:lnTo>
                    <a:pt x="244" y="335"/>
                  </a:lnTo>
                  <a:lnTo>
                    <a:pt x="247" y="330"/>
                  </a:lnTo>
                  <a:lnTo>
                    <a:pt x="250" y="328"/>
                  </a:lnTo>
                  <a:lnTo>
                    <a:pt x="254" y="328"/>
                  </a:lnTo>
                  <a:lnTo>
                    <a:pt x="254" y="328"/>
                  </a:lnTo>
                  <a:lnTo>
                    <a:pt x="256" y="328"/>
                  </a:lnTo>
                  <a:lnTo>
                    <a:pt x="259" y="329"/>
                  </a:lnTo>
                  <a:lnTo>
                    <a:pt x="261" y="333"/>
                  </a:lnTo>
                  <a:lnTo>
                    <a:pt x="261" y="333"/>
                  </a:lnTo>
                  <a:lnTo>
                    <a:pt x="261" y="333"/>
                  </a:lnTo>
                  <a:lnTo>
                    <a:pt x="261" y="333"/>
                  </a:lnTo>
                  <a:lnTo>
                    <a:pt x="264" y="329"/>
                  </a:lnTo>
                  <a:lnTo>
                    <a:pt x="272" y="321"/>
                  </a:lnTo>
                  <a:lnTo>
                    <a:pt x="272" y="321"/>
                  </a:lnTo>
                  <a:lnTo>
                    <a:pt x="269" y="319"/>
                  </a:lnTo>
                  <a:lnTo>
                    <a:pt x="264" y="318"/>
                  </a:lnTo>
                  <a:lnTo>
                    <a:pt x="259" y="317"/>
                  </a:lnTo>
                  <a:lnTo>
                    <a:pt x="252" y="315"/>
                  </a:lnTo>
                  <a:lnTo>
                    <a:pt x="252" y="315"/>
                  </a:lnTo>
                  <a:lnTo>
                    <a:pt x="242" y="317"/>
                  </a:lnTo>
                  <a:lnTo>
                    <a:pt x="231" y="318"/>
                  </a:lnTo>
                  <a:lnTo>
                    <a:pt x="220" y="320"/>
                  </a:lnTo>
                  <a:lnTo>
                    <a:pt x="210" y="323"/>
                  </a:lnTo>
                  <a:lnTo>
                    <a:pt x="193" y="330"/>
                  </a:lnTo>
                  <a:lnTo>
                    <a:pt x="185" y="335"/>
                  </a:lnTo>
                  <a:lnTo>
                    <a:pt x="180" y="338"/>
                  </a:lnTo>
                  <a:lnTo>
                    <a:pt x="180" y="338"/>
                  </a:lnTo>
                  <a:lnTo>
                    <a:pt x="179" y="342"/>
                  </a:lnTo>
                  <a:lnTo>
                    <a:pt x="176" y="347"/>
                  </a:lnTo>
                  <a:lnTo>
                    <a:pt x="176" y="347"/>
                  </a:lnTo>
                  <a:lnTo>
                    <a:pt x="174" y="350"/>
                  </a:lnTo>
                  <a:lnTo>
                    <a:pt x="171" y="352"/>
                  </a:lnTo>
                  <a:lnTo>
                    <a:pt x="167" y="355"/>
                  </a:lnTo>
                  <a:lnTo>
                    <a:pt x="163" y="356"/>
                  </a:lnTo>
                  <a:lnTo>
                    <a:pt x="163" y="356"/>
                  </a:lnTo>
                  <a:lnTo>
                    <a:pt x="160" y="356"/>
                  </a:lnTo>
                  <a:lnTo>
                    <a:pt x="158" y="355"/>
                  </a:lnTo>
                  <a:lnTo>
                    <a:pt x="155" y="351"/>
                  </a:lnTo>
                  <a:lnTo>
                    <a:pt x="152" y="347"/>
                  </a:lnTo>
                  <a:lnTo>
                    <a:pt x="152" y="347"/>
                  </a:lnTo>
                  <a:lnTo>
                    <a:pt x="148" y="347"/>
                  </a:lnTo>
                  <a:lnTo>
                    <a:pt x="148" y="347"/>
                  </a:lnTo>
                  <a:lnTo>
                    <a:pt x="143" y="347"/>
                  </a:lnTo>
                  <a:lnTo>
                    <a:pt x="142" y="345"/>
                  </a:lnTo>
                  <a:lnTo>
                    <a:pt x="139" y="344"/>
                  </a:lnTo>
                  <a:lnTo>
                    <a:pt x="139" y="344"/>
                  </a:lnTo>
                  <a:lnTo>
                    <a:pt x="142" y="366"/>
                  </a:lnTo>
                  <a:lnTo>
                    <a:pt x="145" y="388"/>
                  </a:lnTo>
                  <a:lnTo>
                    <a:pt x="150" y="410"/>
                  </a:lnTo>
                  <a:lnTo>
                    <a:pt x="157" y="431"/>
                  </a:lnTo>
                  <a:lnTo>
                    <a:pt x="165" y="452"/>
                  </a:lnTo>
                  <a:lnTo>
                    <a:pt x="175" y="471"/>
                  </a:lnTo>
                  <a:lnTo>
                    <a:pt x="187" y="490"/>
                  </a:lnTo>
                  <a:lnTo>
                    <a:pt x="201" y="508"/>
                  </a:lnTo>
                  <a:lnTo>
                    <a:pt x="201" y="508"/>
                  </a:lnTo>
                  <a:lnTo>
                    <a:pt x="204" y="510"/>
                  </a:lnTo>
                  <a:lnTo>
                    <a:pt x="209" y="511"/>
                  </a:lnTo>
                  <a:lnTo>
                    <a:pt x="216" y="512"/>
                  </a:lnTo>
                  <a:lnTo>
                    <a:pt x="216" y="512"/>
                  </a:lnTo>
                  <a:lnTo>
                    <a:pt x="226" y="511"/>
                  </a:lnTo>
                  <a:lnTo>
                    <a:pt x="237" y="510"/>
                  </a:lnTo>
                  <a:lnTo>
                    <a:pt x="248" y="507"/>
                  </a:lnTo>
                  <a:lnTo>
                    <a:pt x="259" y="504"/>
                  </a:lnTo>
                  <a:lnTo>
                    <a:pt x="269" y="499"/>
                  </a:lnTo>
                  <a:lnTo>
                    <a:pt x="278" y="495"/>
                  </a:lnTo>
                  <a:lnTo>
                    <a:pt x="287" y="490"/>
                  </a:lnTo>
                  <a:lnTo>
                    <a:pt x="293" y="485"/>
                  </a:lnTo>
                  <a:lnTo>
                    <a:pt x="293" y="485"/>
                  </a:lnTo>
                  <a:lnTo>
                    <a:pt x="286" y="485"/>
                  </a:lnTo>
                  <a:lnTo>
                    <a:pt x="279" y="483"/>
                  </a:lnTo>
                  <a:lnTo>
                    <a:pt x="272" y="481"/>
                  </a:lnTo>
                  <a:lnTo>
                    <a:pt x="267" y="477"/>
                  </a:lnTo>
                  <a:lnTo>
                    <a:pt x="267" y="477"/>
                  </a:lnTo>
                  <a:lnTo>
                    <a:pt x="261" y="474"/>
                  </a:lnTo>
                  <a:lnTo>
                    <a:pt x="256" y="473"/>
                  </a:lnTo>
                  <a:lnTo>
                    <a:pt x="256" y="473"/>
                  </a:lnTo>
                  <a:lnTo>
                    <a:pt x="256" y="473"/>
                  </a:lnTo>
                  <a:lnTo>
                    <a:pt x="256" y="473"/>
                  </a:lnTo>
                  <a:lnTo>
                    <a:pt x="252" y="474"/>
                  </a:lnTo>
                  <a:lnTo>
                    <a:pt x="247" y="475"/>
                  </a:lnTo>
                  <a:lnTo>
                    <a:pt x="238" y="482"/>
                  </a:lnTo>
                  <a:lnTo>
                    <a:pt x="228" y="490"/>
                  </a:lnTo>
                  <a:lnTo>
                    <a:pt x="223" y="497"/>
                  </a:lnTo>
                  <a:lnTo>
                    <a:pt x="223" y="497"/>
                  </a:lnTo>
                  <a:lnTo>
                    <a:pt x="219" y="499"/>
                  </a:lnTo>
                  <a:lnTo>
                    <a:pt x="216" y="500"/>
                  </a:lnTo>
                  <a:lnTo>
                    <a:pt x="210" y="500"/>
                  </a:lnTo>
                  <a:lnTo>
                    <a:pt x="203" y="498"/>
                  </a:lnTo>
                  <a:lnTo>
                    <a:pt x="203" y="498"/>
                  </a:lnTo>
                  <a:lnTo>
                    <a:pt x="198" y="495"/>
                  </a:lnTo>
                  <a:lnTo>
                    <a:pt x="194" y="490"/>
                  </a:lnTo>
                  <a:lnTo>
                    <a:pt x="190" y="483"/>
                  </a:lnTo>
                  <a:lnTo>
                    <a:pt x="189" y="477"/>
                  </a:lnTo>
                  <a:lnTo>
                    <a:pt x="189" y="477"/>
                  </a:lnTo>
                  <a:lnTo>
                    <a:pt x="188" y="470"/>
                  </a:lnTo>
                  <a:lnTo>
                    <a:pt x="188" y="463"/>
                  </a:lnTo>
                  <a:lnTo>
                    <a:pt x="190" y="458"/>
                  </a:lnTo>
                  <a:lnTo>
                    <a:pt x="194" y="452"/>
                  </a:lnTo>
                  <a:lnTo>
                    <a:pt x="194" y="452"/>
                  </a:lnTo>
                  <a:lnTo>
                    <a:pt x="195" y="452"/>
                  </a:lnTo>
                  <a:lnTo>
                    <a:pt x="195" y="452"/>
                  </a:lnTo>
                  <a:lnTo>
                    <a:pt x="198" y="451"/>
                  </a:lnTo>
                  <a:lnTo>
                    <a:pt x="204" y="451"/>
                  </a:lnTo>
                  <a:lnTo>
                    <a:pt x="218" y="453"/>
                  </a:lnTo>
                  <a:lnTo>
                    <a:pt x="218" y="453"/>
                  </a:lnTo>
                  <a:lnTo>
                    <a:pt x="232" y="455"/>
                  </a:lnTo>
                  <a:lnTo>
                    <a:pt x="232" y="455"/>
                  </a:lnTo>
                  <a:lnTo>
                    <a:pt x="232" y="445"/>
                  </a:lnTo>
                  <a:lnTo>
                    <a:pt x="231" y="433"/>
                  </a:lnTo>
                  <a:lnTo>
                    <a:pt x="231" y="433"/>
                  </a:lnTo>
                  <a:lnTo>
                    <a:pt x="230" y="415"/>
                  </a:lnTo>
                  <a:lnTo>
                    <a:pt x="230" y="404"/>
                  </a:lnTo>
                  <a:lnTo>
                    <a:pt x="231" y="394"/>
                  </a:lnTo>
                  <a:lnTo>
                    <a:pt x="233" y="384"/>
                  </a:lnTo>
                  <a:lnTo>
                    <a:pt x="237" y="373"/>
                  </a:lnTo>
                  <a:lnTo>
                    <a:pt x="244" y="362"/>
                  </a:lnTo>
                  <a:lnTo>
                    <a:pt x="253" y="351"/>
                  </a:lnTo>
                  <a:lnTo>
                    <a:pt x="253" y="351"/>
                  </a:lnTo>
                  <a:lnTo>
                    <a:pt x="253" y="351"/>
                  </a:lnTo>
                  <a:lnTo>
                    <a:pt x="253" y="351"/>
                  </a:lnTo>
                  <a:lnTo>
                    <a:pt x="248" y="351"/>
                  </a:lnTo>
                  <a:lnTo>
                    <a:pt x="248" y="351"/>
                  </a:lnTo>
                  <a:lnTo>
                    <a:pt x="245" y="350"/>
                  </a:lnTo>
                  <a:lnTo>
                    <a:pt x="241" y="349"/>
                  </a:lnTo>
                  <a:lnTo>
                    <a:pt x="240" y="348"/>
                  </a:lnTo>
                  <a:lnTo>
                    <a:pt x="238" y="345"/>
                  </a:lnTo>
                  <a:lnTo>
                    <a:pt x="238" y="345"/>
                  </a:lnTo>
                  <a:lnTo>
                    <a:pt x="238" y="343"/>
                  </a:lnTo>
                  <a:lnTo>
                    <a:pt x="239" y="341"/>
                  </a:lnTo>
                  <a:lnTo>
                    <a:pt x="239" y="341"/>
                  </a:lnTo>
                  <a:close/>
                  <a:moveTo>
                    <a:pt x="198" y="170"/>
                  </a:moveTo>
                  <a:lnTo>
                    <a:pt x="198" y="170"/>
                  </a:lnTo>
                  <a:lnTo>
                    <a:pt x="189" y="184"/>
                  </a:lnTo>
                  <a:lnTo>
                    <a:pt x="180" y="196"/>
                  </a:lnTo>
                  <a:lnTo>
                    <a:pt x="172" y="210"/>
                  </a:lnTo>
                  <a:lnTo>
                    <a:pt x="165" y="225"/>
                  </a:lnTo>
                  <a:lnTo>
                    <a:pt x="165" y="225"/>
                  </a:lnTo>
                  <a:lnTo>
                    <a:pt x="170" y="224"/>
                  </a:lnTo>
                  <a:lnTo>
                    <a:pt x="174" y="224"/>
                  </a:lnTo>
                  <a:lnTo>
                    <a:pt x="185" y="226"/>
                  </a:lnTo>
                  <a:lnTo>
                    <a:pt x="193" y="231"/>
                  </a:lnTo>
                  <a:lnTo>
                    <a:pt x="197" y="234"/>
                  </a:lnTo>
                  <a:lnTo>
                    <a:pt x="201" y="238"/>
                  </a:lnTo>
                  <a:lnTo>
                    <a:pt x="201" y="238"/>
                  </a:lnTo>
                  <a:lnTo>
                    <a:pt x="202" y="240"/>
                  </a:lnTo>
                  <a:lnTo>
                    <a:pt x="202" y="240"/>
                  </a:lnTo>
                  <a:lnTo>
                    <a:pt x="204" y="238"/>
                  </a:lnTo>
                  <a:lnTo>
                    <a:pt x="204" y="238"/>
                  </a:lnTo>
                  <a:lnTo>
                    <a:pt x="208" y="237"/>
                  </a:lnTo>
                  <a:lnTo>
                    <a:pt x="211" y="236"/>
                  </a:lnTo>
                  <a:lnTo>
                    <a:pt x="211" y="236"/>
                  </a:lnTo>
                  <a:lnTo>
                    <a:pt x="215" y="236"/>
                  </a:lnTo>
                  <a:lnTo>
                    <a:pt x="215" y="236"/>
                  </a:lnTo>
                  <a:lnTo>
                    <a:pt x="217" y="238"/>
                  </a:lnTo>
                  <a:lnTo>
                    <a:pt x="217" y="238"/>
                  </a:lnTo>
                  <a:lnTo>
                    <a:pt x="218" y="244"/>
                  </a:lnTo>
                  <a:lnTo>
                    <a:pt x="217" y="248"/>
                  </a:lnTo>
                  <a:lnTo>
                    <a:pt x="217" y="248"/>
                  </a:lnTo>
                  <a:lnTo>
                    <a:pt x="217" y="249"/>
                  </a:lnTo>
                  <a:lnTo>
                    <a:pt x="217" y="249"/>
                  </a:lnTo>
                  <a:lnTo>
                    <a:pt x="222" y="252"/>
                  </a:lnTo>
                  <a:lnTo>
                    <a:pt x="227" y="253"/>
                  </a:lnTo>
                  <a:lnTo>
                    <a:pt x="232" y="254"/>
                  </a:lnTo>
                  <a:lnTo>
                    <a:pt x="237" y="254"/>
                  </a:lnTo>
                  <a:lnTo>
                    <a:pt x="242" y="253"/>
                  </a:lnTo>
                  <a:lnTo>
                    <a:pt x="247" y="251"/>
                  </a:lnTo>
                  <a:lnTo>
                    <a:pt x="252" y="248"/>
                  </a:lnTo>
                  <a:lnTo>
                    <a:pt x="257" y="245"/>
                  </a:lnTo>
                  <a:lnTo>
                    <a:pt x="257" y="245"/>
                  </a:lnTo>
                  <a:lnTo>
                    <a:pt x="253" y="237"/>
                  </a:lnTo>
                  <a:lnTo>
                    <a:pt x="250" y="230"/>
                  </a:lnTo>
                  <a:lnTo>
                    <a:pt x="249" y="223"/>
                  </a:lnTo>
                  <a:lnTo>
                    <a:pt x="248" y="216"/>
                  </a:lnTo>
                  <a:lnTo>
                    <a:pt x="248" y="216"/>
                  </a:lnTo>
                  <a:lnTo>
                    <a:pt x="247" y="203"/>
                  </a:lnTo>
                  <a:lnTo>
                    <a:pt x="247" y="203"/>
                  </a:lnTo>
                  <a:lnTo>
                    <a:pt x="247" y="200"/>
                  </a:lnTo>
                  <a:lnTo>
                    <a:pt x="248" y="196"/>
                  </a:lnTo>
                  <a:lnTo>
                    <a:pt x="252" y="192"/>
                  </a:lnTo>
                  <a:lnTo>
                    <a:pt x="252" y="192"/>
                  </a:lnTo>
                  <a:lnTo>
                    <a:pt x="255" y="188"/>
                  </a:lnTo>
                  <a:lnTo>
                    <a:pt x="255" y="185"/>
                  </a:lnTo>
                  <a:lnTo>
                    <a:pt x="255" y="181"/>
                  </a:lnTo>
                  <a:lnTo>
                    <a:pt x="255" y="181"/>
                  </a:lnTo>
                  <a:lnTo>
                    <a:pt x="253" y="180"/>
                  </a:lnTo>
                  <a:lnTo>
                    <a:pt x="249" y="180"/>
                  </a:lnTo>
                  <a:lnTo>
                    <a:pt x="249" y="180"/>
                  </a:lnTo>
                  <a:lnTo>
                    <a:pt x="245" y="180"/>
                  </a:lnTo>
                  <a:lnTo>
                    <a:pt x="239" y="179"/>
                  </a:lnTo>
                  <a:lnTo>
                    <a:pt x="233" y="177"/>
                  </a:lnTo>
                  <a:lnTo>
                    <a:pt x="227" y="171"/>
                  </a:lnTo>
                  <a:lnTo>
                    <a:pt x="227" y="171"/>
                  </a:lnTo>
                  <a:lnTo>
                    <a:pt x="225" y="169"/>
                  </a:lnTo>
                  <a:lnTo>
                    <a:pt x="223" y="167"/>
                  </a:lnTo>
                  <a:lnTo>
                    <a:pt x="223" y="167"/>
                  </a:lnTo>
                  <a:lnTo>
                    <a:pt x="219" y="169"/>
                  </a:lnTo>
                  <a:lnTo>
                    <a:pt x="215" y="172"/>
                  </a:lnTo>
                  <a:lnTo>
                    <a:pt x="210" y="174"/>
                  </a:lnTo>
                  <a:lnTo>
                    <a:pt x="210" y="174"/>
                  </a:lnTo>
                  <a:lnTo>
                    <a:pt x="208" y="174"/>
                  </a:lnTo>
                  <a:lnTo>
                    <a:pt x="207" y="174"/>
                  </a:lnTo>
                  <a:lnTo>
                    <a:pt x="207" y="174"/>
                  </a:lnTo>
                  <a:lnTo>
                    <a:pt x="201" y="171"/>
                  </a:lnTo>
                  <a:lnTo>
                    <a:pt x="201" y="171"/>
                  </a:lnTo>
                  <a:lnTo>
                    <a:pt x="198" y="170"/>
                  </a:lnTo>
                  <a:lnTo>
                    <a:pt x="198" y="170"/>
                  </a:lnTo>
                  <a:close/>
                  <a:moveTo>
                    <a:pt x="696" y="589"/>
                  </a:moveTo>
                  <a:lnTo>
                    <a:pt x="696" y="589"/>
                  </a:lnTo>
                  <a:lnTo>
                    <a:pt x="691" y="586"/>
                  </a:lnTo>
                  <a:lnTo>
                    <a:pt x="686" y="584"/>
                  </a:lnTo>
                  <a:lnTo>
                    <a:pt x="682" y="581"/>
                  </a:lnTo>
                  <a:lnTo>
                    <a:pt x="676" y="581"/>
                  </a:lnTo>
                  <a:lnTo>
                    <a:pt x="671" y="581"/>
                  </a:lnTo>
                  <a:lnTo>
                    <a:pt x="666" y="584"/>
                  </a:lnTo>
                  <a:lnTo>
                    <a:pt x="661" y="586"/>
                  </a:lnTo>
                  <a:lnTo>
                    <a:pt x="657" y="589"/>
                  </a:lnTo>
                  <a:lnTo>
                    <a:pt x="657" y="589"/>
                  </a:lnTo>
                  <a:lnTo>
                    <a:pt x="637" y="607"/>
                  </a:lnTo>
                  <a:lnTo>
                    <a:pt x="616" y="624"/>
                  </a:lnTo>
                  <a:lnTo>
                    <a:pt x="594" y="639"/>
                  </a:lnTo>
                  <a:lnTo>
                    <a:pt x="571" y="652"/>
                  </a:lnTo>
                  <a:lnTo>
                    <a:pt x="546" y="663"/>
                  </a:lnTo>
                  <a:lnTo>
                    <a:pt x="521" y="674"/>
                  </a:lnTo>
                  <a:lnTo>
                    <a:pt x="496" y="681"/>
                  </a:lnTo>
                  <a:lnTo>
                    <a:pt x="469" y="686"/>
                  </a:lnTo>
                  <a:lnTo>
                    <a:pt x="469" y="686"/>
                  </a:lnTo>
                  <a:lnTo>
                    <a:pt x="446" y="690"/>
                  </a:lnTo>
                  <a:lnTo>
                    <a:pt x="423" y="692"/>
                  </a:lnTo>
                  <a:lnTo>
                    <a:pt x="400" y="692"/>
                  </a:lnTo>
                  <a:lnTo>
                    <a:pt x="376" y="691"/>
                  </a:lnTo>
                  <a:lnTo>
                    <a:pt x="376" y="691"/>
                  </a:lnTo>
                  <a:lnTo>
                    <a:pt x="346" y="688"/>
                  </a:lnTo>
                  <a:lnTo>
                    <a:pt x="316" y="681"/>
                  </a:lnTo>
                  <a:lnTo>
                    <a:pt x="289" y="673"/>
                  </a:lnTo>
                  <a:lnTo>
                    <a:pt x="262" y="661"/>
                  </a:lnTo>
                  <a:lnTo>
                    <a:pt x="235" y="648"/>
                  </a:lnTo>
                  <a:lnTo>
                    <a:pt x="211" y="633"/>
                  </a:lnTo>
                  <a:lnTo>
                    <a:pt x="188" y="617"/>
                  </a:lnTo>
                  <a:lnTo>
                    <a:pt x="166" y="599"/>
                  </a:lnTo>
                  <a:lnTo>
                    <a:pt x="146" y="578"/>
                  </a:lnTo>
                  <a:lnTo>
                    <a:pt x="128" y="556"/>
                  </a:lnTo>
                  <a:lnTo>
                    <a:pt x="112" y="533"/>
                  </a:lnTo>
                  <a:lnTo>
                    <a:pt x="97" y="508"/>
                  </a:lnTo>
                  <a:lnTo>
                    <a:pt x="84" y="483"/>
                  </a:lnTo>
                  <a:lnTo>
                    <a:pt x="74" y="456"/>
                  </a:lnTo>
                  <a:lnTo>
                    <a:pt x="64" y="429"/>
                  </a:lnTo>
                  <a:lnTo>
                    <a:pt x="59" y="401"/>
                  </a:lnTo>
                  <a:lnTo>
                    <a:pt x="59" y="401"/>
                  </a:lnTo>
                  <a:lnTo>
                    <a:pt x="55" y="378"/>
                  </a:lnTo>
                  <a:lnTo>
                    <a:pt x="54" y="355"/>
                  </a:lnTo>
                  <a:lnTo>
                    <a:pt x="54" y="332"/>
                  </a:lnTo>
                  <a:lnTo>
                    <a:pt x="55" y="308"/>
                  </a:lnTo>
                  <a:lnTo>
                    <a:pt x="55" y="308"/>
                  </a:lnTo>
                  <a:lnTo>
                    <a:pt x="57" y="288"/>
                  </a:lnTo>
                  <a:lnTo>
                    <a:pt x="61" y="268"/>
                  </a:lnTo>
                  <a:lnTo>
                    <a:pt x="64" y="248"/>
                  </a:lnTo>
                  <a:lnTo>
                    <a:pt x="70" y="230"/>
                  </a:lnTo>
                  <a:lnTo>
                    <a:pt x="77" y="211"/>
                  </a:lnTo>
                  <a:lnTo>
                    <a:pt x="84" y="194"/>
                  </a:lnTo>
                  <a:lnTo>
                    <a:pt x="92" y="177"/>
                  </a:lnTo>
                  <a:lnTo>
                    <a:pt x="101" y="159"/>
                  </a:lnTo>
                  <a:lnTo>
                    <a:pt x="112" y="143"/>
                  </a:lnTo>
                  <a:lnTo>
                    <a:pt x="123" y="128"/>
                  </a:lnTo>
                  <a:lnTo>
                    <a:pt x="135" y="113"/>
                  </a:lnTo>
                  <a:lnTo>
                    <a:pt x="148" y="99"/>
                  </a:lnTo>
                  <a:lnTo>
                    <a:pt x="160" y="85"/>
                  </a:lnTo>
                  <a:lnTo>
                    <a:pt x="174" y="73"/>
                  </a:lnTo>
                  <a:lnTo>
                    <a:pt x="189" y="61"/>
                  </a:lnTo>
                  <a:lnTo>
                    <a:pt x="204" y="49"/>
                  </a:lnTo>
                  <a:lnTo>
                    <a:pt x="204" y="49"/>
                  </a:lnTo>
                  <a:lnTo>
                    <a:pt x="208" y="46"/>
                  </a:lnTo>
                  <a:lnTo>
                    <a:pt x="211" y="41"/>
                  </a:lnTo>
                  <a:lnTo>
                    <a:pt x="213" y="37"/>
                  </a:lnTo>
                  <a:lnTo>
                    <a:pt x="215" y="32"/>
                  </a:lnTo>
                  <a:lnTo>
                    <a:pt x="216" y="26"/>
                  </a:lnTo>
                  <a:lnTo>
                    <a:pt x="215" y="22"/>
                  </a:lnTo>
                  <a:lnTo>
                    <a:pt x="213" y="16"/>
                  </a:lnTo>
                  <a:lnTo>
                    <a:pt x="210" y="11"/>
                  </a:lnTo>
                  <a:lnTo>
                    <a:pt x="210" y="11"/>
                  </a:lnTo>
                  <a:lnTo>
                    <a:pt x="207" y="8"/>
                  </a:lnTo>
                  <a:lnTo>
                    <a:pt x="203" y="4"/>
                  </a:lnTo>
                  <a:lnTo>
                    <a:pt x="198" y="2"/>
                  </a:lnTo>
                  <a:lnTo>
                    <a:pt x="193" y="1"/>
                  </a:lnTo>
                  <a:lnTo>
                    <a:pt x="188" y="0"/>
                  </a:lnTo>
                  <a:lnTo>
                    <a:pt x="182" y="1"/>
                  </a:lnTo>
                  <a:lnTo>
                    <a:pt x="178" y="2"/>
                  </a:lnTo>
                  <a:lnTo>
                    <a:pt x="173" y="6"/>
                  </a:lnTo>
                  <a:lnTo>
                    <a:pt x="173" y="6"/>
                  </a:lnTo>
                  <a:lnTo>
                    <a:pt x="156" y="18"/>
                  </a:lnTo>
                  <a:lnTo>
                    <a:pt x="138" y="32"/>
                  </a:lnTo>
                  <a:lnTo>
                    <a:pt x="122" y="47"/>
                  </a:lnTo>
                  <a:lnTo>
                    <a:pt x="107" y="62"/>
                  </a:lnTo>
                  <a:lnTo>
                    <a:pt x="93" y="78"/>
                  </a:lnTo>
                  <a:lnTo>
                    <a:pt x="79" y="96"/>
                  </a:lnTo>
                  <a:lnTo>
                    <a:pt x="67" y="114"/>
                  </a:lnTo>
                  <a:lnTo>
                    <a:pt x="55" y="133"/>
                  </a:lnTo>
                  <a:lnTo>
                    <a:pt x="45" y="151"/>
                  </a:lnTo>
                  <a:lnTo>
                    <a:pt x="34" y="172"/>
                  </a:lnTo>
                  <a:lnTo>
                    <a:pt x="26" y="192"/>
                  </a:lnTo>
                  <a:lnTo>
                    <a:pt x="19" y="214"/>
                  </a:lnTo>
                  <a:lnTo>
                    <a:pt x="12" y="236"/>
                  </a:lnTo>
                  <a:lnTo>
                    <a:pt x="8" y="258"/>
                  </a:lnTo>
                  <a:lnTo>
                    <a:pt x="3" y="280"/>
                  </a:lnTo>
                  <a:lnTo>
                    <a:pt x="1" y="303"/>
                  </a:lnTo>
                  <a:lnTo>
                    <a:pt x="1" y="303"/>
                  </a:lnTo>
                  <a:lnTo>
                    <a:pt x="0" y="330"/>
                  </a:lnTo>
                  <a:lnTo>
                    <a:pt x="0" y="357"/>
                  </a:lnTo>
                  <a:lnTo>
                    <a:pt x="2" y="384"/>
                  </a:lnTo>
                  <a:lnTo>
                    <a:pt x="5" y="410"/>
                  </a:lnTo>
                  <a:lnTo>
                    <a:pt x="5" y="410"/>
                  </a:lnTo>
                  <a:lnTo>
                    <a:pt x="9" y="426"/>
                  </a:lnTo>
                  <a:lnTo>
                    <a:pt x="12" y="443"/>
                  </a:lnTo>
                  <a:lnTo>
                    <a:pt x="23" y="475"/>
                  </a:lnTo>
                  <a:lnTo>
                    <a:pt x="34" y="505"/>
                  </a:lnTo>
                  <a:lnTo>
                    <a:pt x="49" y="535"/>
                  </a:lnTo>
                  <a:lnTo>
                    <a:pt x="67" y="563"/>
                  </a:lnTo>
                  <a:lnTo>
                    <a:pt x="85" y="589"/>
                  </a:lnTo>
                  <a:lnTo>
                    <a:pt x="106" y="615"/>
                  </a:lnTo>
                  <a:lnTo>
                    <a:pt x="129" y="638"/>
                  </a:lnTo>
                  <a:lnTo>
                    <a:pt x="155" y="659"/>
                  </a:lnTo>
                  <a:lnTo>
                    <a:pt x="181" y="678"/>
                  </a:lnTo>
                  <a:lnTo>
                    <a:pt x="210" y="696"/>
                  </a:lnTo>
                  <a:lnTo>
                    <a:pt x="239" y="711"/>
                  </a:lnTo>
                  <a:lnTo>
                    <a:pt x="255" y="718"/>
                  </a:lnTo>
                  <a:lnTo>
                    <a:pt x="270" y="723"/>
                  </a:lnTo>
                  <a:lnTo>
                    <a:pt x="286" y="728"/>
                  </a:lnTo>
                  <a:lnTo>
                    <a:pt x="302" y="733"/>
                  </a:lnTo>
                  <a:lnTo>
                    <a:pt x="320" y="737"/>
                  </a:lnTo>
                  <a:lnTo>
                    <a:pt x="337" y="741"/>
                  </a:lnTo>
                  <a:lnTo>
                    <a:pt x="355" y="743"/>
                  </a:lnTo>
                  <a:lnTo>
                    <a:pt x="372" y="745"/>
                  </a:lnTo>
                  <a:lnTo>
                    <a:pt x="372" y="745"/>
                  </a:lnTo>
                  <a:lnTo>
                    <a:pt x="398" y="747"/>
                  </a:lnTo>
                  <a:lnTo>
                    <a:pt x="425" y="747"/>
                  </a:lnTo>
                  <a:lnTo>
                    <a:pt x="452" y="744"/>
                  </a:lnTo>
                  <a:lnTo>
                    <a:pt x="478" y="741"/>
                  </a:lnTo>
                  <a:lnTo>
                    <a:pt x="478" y="741"/>
                  </a:lnTo>
                  <a:lnTo>
                    <a:pt x="509" y="734"/>
                  </a:lnTo>
                  <a:lnTo>
                    <a:pt x="538" y="725"/>
                  </a:lnTo>
                  <a:lnTo>
                    <a:pt x="568" y="713"/>
                  </a:lnTo>
                  <a:lnTo>
                    <a:pt x="596" y="700"/>
                  </a:lnTo>
                  <a:lnTo>
                    <a:pt x="623" y="685"/>
                  </a:lnTo>
                  <a:lnTo>
                    <a:pt x="648" y="668"/>
                  </a:lnTo>
                  <a:lnTo>
                    <a:pt x="672" y="648"/>
                  </a:lnTo>
                  <a:lnTo>
                    <a:pt x="696" y="628"/>
                  </a:lnTo>
                  <a:lnTo>
                    <a:pt x="696" y="628"/>
                  </a:lnTo>
                  <a:lnTo>
                    <a:pt x="699" y="623"/>
                  </a:lnTo>
                  <a:lnTo>
                    <a:pt x="701" y="618"/>
                  </a:lnTo>
                  <a:lnTo>
                    <a:pt x="703" y="614"/>
                  </a:lnTo>
                  <a:lnTo>
                    <a:pt x="703" y="608"/>
                  </a:lnTo>
                  <a:lnTo>
                    <a:pt x="703" y="603"/>
                  </a:lnTo>
                  <a:lnTo>
                    <a:pt x="701" y="599"/>
                  </a:lnTo>
                  <a:lnTo>
                    <a:pt x="699" y="594"/>
                  </a:lnTo>
                  <a:lnTo>
                    <a:pt x="696" y="589"/>
                  </a:lnTo>
                  <a:lnTo>
                    <a:pt x="696"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94" name="Group 493">
            <a:extLst>
              <a:ext uri="{FF2B5EF4-FFF2-40B4-BE49-F238E27FC236}">
                <a16:creationId xmlns:a16="http://schemas.microsoft.com/office/drawing/2014/main" id="{7B2934EA-BB99-4968-87E7-98D1C4964226}"/>
              </a:ext>
            </a:extLst>
          </p:cNvPr>
          <p:cNvGrpSpPr/>
          <p:nvPr/>
        </p:nvGrpSpPr>
        <p:grpSpPr>
          <a:xfrm>
            <a:off x="5446477" y="3887682"/>
            <a:ext cx="612775" cy="612775"/>
            <a:chOff x="5692752" y="2265179"/>
            <a:chExt cx="612775" cy="612775"/>
          </a:xfrm>
          <a:solidFill>
            <a:srgbClr val="505050"/>
          </a:solidFill>
        </p:grpSpPr>
        <p:sp>
          <p:nvSpPr>
            <p:cNvPr id="495" name="Oval 494">
              <a:extLst>
                <a:ext uri="{FF2B5EF4-FFF2-40B4-BE49-F238E27FC236}">
                  <a16:creationId xmlns:a16="http://schemas.microsoft.com/office/drawing/2014/main" id="{049A1CDC-4918-433A-B94A-A9968B1C8472}"/>
                </a:ext>
              </a:extLst>
            </p:cNvPr>
            <p:cNvSpPr/>
            <p:nvPr/>
          </p:nvSpPr>
          <p:spPr bwMode="ltGray">
            <a:xfrm>
              <a:off x="5692752"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96" name="Freeform 47">
              <a:extLst>
                <a:ext uri="{FF2B5EF4-FFF2-40B4-BE49-F238E27FC236}">
                  <a16:creationId xmlns:a16="http://schemas.microsoft.com/office/drawing/2014/main" id="{B7317860-8E3F-4F6B-BDB9-4B82097809D7}"/>
                </a:ext>
              </a:extLst>
            </p:cNvPr>
            <p:cNvSpPr>
              <a:spLocks noEditPoints="1"/>
            </p:cNvSpPr>
            <p:nvPr/>
          </p:nvSpPr>
          <p:spPr bwMode="auto">
            <a:xfrm>
              <a:off x="5849876" y="2338811"/>
              <a:ext cx="301625" cy="461963"/>
            </a:xfrm>
            <a:custGeom>
              <a:avLst/>
              <a:gdLst>
                <a:gd name="T0" fmla="*/ 229 w 571"/>
                <a:gd name="T1" fmla="*/ 15 h 874"/>
                <a:gd name="T2" fmla="*/ 297 w 571"/>
                <a:gd name="T3" fmla="*/ 12 h 874"/>
                <a:gd name="T4" fmla="*/ 289 w 571"/>
                <a:gd name="T5" fmla="*/ 41 h 874"/>
                <a:gd name="T6" fmla="*/ 222 w 571"/>
                <a:gd name="T7" fmla="*/ 45 h 874"/>
                <a:gd name="T8" fmla="*/ 342 w 571"/>
                <a:gd name="T9" fmla="*/ 496 h 874"/>
                <a:gd name="T10" fmla="*/ 335 w 571"/>
                <a:gd name="T11" fmla="*/ 516 h 874"/>
                <a:gd name="T12" fmla="*/ 356 w 571"/>
                <a:gd name="T13" fmla="*/ 529 h 874"/>
                <a:gd name="T14" fmla="*/ 461 w 571"/>
                <a:gd name="T15" fmla="*/ 495 h 874"/>
                <a:gd name="T16" fmla="*/ 471 w 571"/>
                <a:gd name="T17" fmla="*/ 473 h 874"/>
                <a:gd name="T18" fmla="*/ 455 w 571"/>
                <a:gd name="T19" fmla="*/ 460 h 874"/>
                <a:gd name="T20" fmla="*/ 571 w 571"/>
                <a:gd name="T21" fmla="*/ 640 h 874"/>
                <a:gd name="T22" fmla="*/ 529 w 571"/>
                <a:gd name="T23" fmla="*/ 655 h 874"/>
                <a:gd name="T24" fmla="*/ 448 w 571"/>
                <a:gd name="T25" fmla="*/ 732 h 874"/>
                <a:gd name="T26" fmla="*/ 430 w 571"/>
                <a:gd name="T27" fmla="*/ 783 h 874"/>
                <a:gd name="T28" fmla="*/ 499 w 571"/>
                <a:gd name="T29" fmla="*/ 836 h 874"/>
                <a:gd name="T30" fmla="*/ 496 w 571"/>
                <a:gd name="T31" fmla="*/ 863 h 874"/>
                <a:gd name="T32" fmla="*/ 106 w 571"/>
                <a:gd name="T33" fmla="*/ 874 h 874"/>
                <a:gd name="T34" fmla="*/ 85 w 571"/>
                <a:gd name="T35" fmla="*/ 862 h 874"/>
                <a:gd name="T36" fmla="*/ 82 w 571"/>
                <a:gd name="T37" fmla="*/ 836 h 874"/>
                <a:gd name="T38" fmla="*/ 140 w 571"/>
                <a:gd name="T39" fmla="*/ 790 h 874"/>
                <a:gd name="T40" fmla="*/ 111 w 571"/>
                <a:gd name="T41" fmla="*/ 729 h 874"/>
                <a:gd name="T42" fmla="*/ 29 w 571"/>
                <a:gd name="T43" fmla="*/ 633 h 874"/>
                <a:gd name="T44" fmla="*/ 0 w 571"/>
                <a:gd name="T45" fmla="*/ 518 h 874"/>
                <a:gd name="T46" fmla="*/ 16 w 571"/>
                <a:gd name="T47" fmla="*/ 404 h 874"/>
                <a:gd name="T48" fmla="*/ 97 w 571"/>
                <a:gd name="T49" fmla="*/ 284 h 874"/>
                <a:gd name="T50" fmla="*/ 241 w 571"/>
                <a:gd name="T51" fmla="*/ 210 h 874"/>
                <a:gd name="T52" fmla="*/ 214 w 571"/>
                <a:gd name="T53" fmla="*/ 94 h 874"/>
                <a:gd name="T54" fmla="*/ 315 w 571"/>
                <a:gd name="T55" fmla="*/ 55 h 874"/>
                <a:gd name="T56" fmla="*/ 344 w 571"/>
                <a:gd name="T57" fmla="*/ 63 h 874"/>
                <a:gd name="T58" fmla="*/ 452 w 571"/>
                <a:gd name="T59" fmla="*/ 411 h 874"/>
                <a:gd name="T60" fmla="*/ 433 w 571"/>
                <a:gd name="T61" fmla="*/ 434 h 874"/>
                <a:gd name="T62" fmla="*/ 328 w 571"/>
                <a:gd name="T63" fmla="*/ 458 h 874"/>
                <a:gd name="T64" fmla="*/ 274 w 571"/>
                <a:gd name="T65" fmla="*/ 309 h 874"/>
                <a:gd name="T66" fmla="*/ 186 w 571"/>
                <a:gd name="T67" fmla="*/ 343 h 874"/>
                <a:gd name="T68" fmla="*/ 120 w 571"/>
                <a:gd name="T69" fmla="*/ 420 h 874"/>
                <a:gd name="T70" fmla="*/ 105 w 571"/>
                <a:gd name="T71" fmla="*/ 506 h 874"/>
                <a:gd name="T72" fmla="*/ 142 w 571"/>
                <a:gd name="T73" fmla="*/ 608 h 874"/>
                <a:gd name="T74" fmla="*/ 216 w 571"/>
                <a:gd name="T75" fmla="*/ 671 h 874"/>
                <a:gd name="T76" fmla="*/ 288 w 571"/>
                <a:gd name="T77" fmla="*/ 680 h 874"/>
                <a:gd name="T78" fmla="*/ 345 w 571"/>
                <a:gd name="T79" fmla="*/ 655 h 874"/>
                <a:gd name="T80" fmla="*/ 303 w 571"/>
                <a:gd name="T81" fmla="*/ 640 h 874"/>
                <a:gd name="T82" fmla="*/ 318 w 571"/>
                <a:gd name="T83" fmla="*/ 608 h 874"/>
                <a:gd name="T84" fmla="*/ 571 w 571"/>
                <a:gd name="T85" fmla="*/ 623 h 874"/>
                <a:gd name="T86" fmla="*/ 367 w 571"/>
                <a:gd name="T87" fmla="*/ 346 h 874"/>
                <a:gd name="T88" fmla="*/ 380 w 571"/>
                <a:gd name="T89" fmla="*/ 349 h 874"/>
                <a:gd name="T90" fmla="*/ 336 w 571"/>
                <a:gd name="T91" fmla="*/ 153 h 874"/>
                <a:gd name="T92" fmla="*/ 314 w 571"/>
                <a:gd name="T93" fmla="*/ 146 h 874"/>
                <a:gd name="T94" fmla="*/ 312 w 571"/>
                <a:gd name="T95" fmla="*/ 751 h 874"/>
                <a:gd name="T96" fmla="*/ 269 w 571"/>
                <a:gd name="T97" fmla="*/ 743 h 874"/>
                <a:gd name="T98" fmla="*/ 245 w 571"/>
                <a:gd name="T99" fmla="*/ 772 h 874"/>
                <a:gd name="T100" fmla="*/ 255 w 571"/>
                <a:gd name="T101" fmla="*/ 807 h 874"/>
                <a:gd name="T102" fmla="*/ 298 w 571"/>
                <a:gd name="T103" fmla="*/ 816 h 874"/>
                <a:gd name="T104" fmla="*/ 322 w 571"/>
                <a:gd name="T105" fmla="*/ 787 h 874"/>
                <a:gd name="T106" fmla="*/ 312 w 571"/>
                <a:gd name="T107" fmla="*/ 751 h 8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1" h="874">
                  <a:moveTo>
                    <a:pt x="218" y="36"/>
                  </a:moveTo>
                  <a:lnTo>
                    <a:pt x="218" y="36"/>
                  </a:lnTo>
                  <a:lnTo>
                    <a:pt x="218" y="29"/>
                  </a:lnTo>
                  <a:lnTo>
                    <a:pt x="219" y="23"/>
                  </a:lnTo>
                  <a:lnTo>
                    <a:pt x="223" y="19"/>
                  </a:lnTo>
                  <a:lnTo>
                    <a:pt x="229" y="15"/>
                  </a:lnTo>
                  <a:lnTo>
                    <a:pt x="277" y="1"/>
                  </a:lnTo>
                  <a:lnTo>
                    <a:pt x="277" y="1"/>
                  </a:lnTo>
                  <a:lnTo>
                    <a:pt x="283" y="0"/>
                  </a:lnTo>
                  <a:lnTo>
                    <a:pt x="289" y="3"/>
                  </a:lnTo>
                  <a:lnTo>
                    <a:pt x="293" y="6"/>
                  </a:lnTo>
                  <a:lnTo>
                    <a:pt x="297" y="12"/>
                  </a:lnTo>
                  <a:lnTo>
                    <a:pt x="300" y="21"/>
                  </a:lnTo>
                  <a:lnTo>
                    <a:pt x="300" y="21"/>
                  </a:lnTo>
                  <a:lnTo>
                    <a:pt x="300" y="27"/>
                  </a:lnTo>
                  <a:lnTo>
                    <a:pt x="299" y="33"/>
                  </a:lnTo>
                  <a:lnTo>
                    <a:pt x="294" y="39"/>
                  </a:lnTo>
                  <a:lnTo>
                    <a:pt x="289" y="41"/>
                  </a:lnTo>
                  <a:lnTo>
                    <a:pt x="241" y="56"/>
                  </a:lnTo>
                  <a:lnTo>
                    <a:pt x="241" y="56"/>
                  </a:lnTo>
                  <a:lnTo>
                    <a:pt x="236" y="57"/>
                  </a:lnTo>
                  <a:lnTo>
                    <a:pt x="230" y="55"/>
                  </a:lnTo>
                  <a:lnTo>
                    <a:pt x="224" y="51"/>
                  </a:lnTo>
                  <a:lnTo>
                    <a:pt x="222" y="45"/>
                  </a:lnTo>
                  <a:lnTo>
                    <a:pt x="218" y="36"/>
                  </a:lnTo>
                  <a:close/>
                  <a:moveTo>
                    <a:pt x="355" y="488"/>
                  </a:moveTo>
                  <a:lnTo>
                    <a:pt x="355" y="488"/>
                  </a:lnTo>
                  <a:lnTo>
                    <a:pt x="350" y="491"/>
                  </a:lnTo>
                  <a:lnTo>
                    <a:pt x="345" y="493"/>
                  </a:lnTo>
                  <a:lnTo>
                    <a:pt x="342" y="496"/>
                  </a:lnTo>
                  <a:lnTo>
                    <a:pt x="338" y="500"/>
                  </a:lnTo>
                  <a:lnTo>
                    <a:pt x="336" y="503"/>
                  </a:lnTo>
                  <a:lnTo>
                    <a:pt x="335" y="508"/>
                  </a:lnTo>
                  <a:lnTo>
                    <a:pt x="335" y="511"/>
                  </a:lnTo>
                  <a:lnTo>
                    <a:pt x="335" y="516"/>
                  </a:lnTo>
                  <a:lnTo>
                    <a:pt x="335" y="516"/>
                  </a:lnTo>
                  <a:lnTo>
                    <a:pt x="337" y="520"/>
                  </a:lnTo>
                  <a:lnTo>
                    <a:pt x="340" y="522"/>
                  </a:lnTo>
                  <a:lnTo>
                    <a:pt x="343" y="525"/>
                  </a:lnTo>
                  <a:lnTo>
                    <a:pt x="347" y="527"/>
                  </a:lnTo>
                  <a:lnTo>
                    <a:pt x="351" y="528"/>
                  </a:lnTo>
                  <a:lnTo>
                    <a:pt x="356" y="529"/>
                  </a:lnTo>
                  <a:lnTo>
                    <a:pt x="362" y="528"/>
                  </a:lnTo>
                  <a:lnTo>
                    <a:pt x="366" y="527"/>
                  </a:lnTo>
                  <a:lnTo>
                    <a:pt x="452" y="500"/>
                  </a:lnTo>
                  <a:lnTo>
                    <a:pt x="452" y="500"/>
                  </a:lnTo>
                  <a:lnTo>
                    <a:pt x="458" y="498"/>
                  </a:lnTo>
                  <a:lnTo>
                    <a:pt x="461" y="495"/>
                  </a:lnTo>
                  <a:lnTo>
                    <a:pt x="466" y="492"/>
                  </a:lnTo>
                  <a:lnTo>
                    <a:pt x="468" y="488"/>
                  </a:lnTo>
                  <a:lnTo>
                    <a:pt x="470" y="485"/>
                  </a:lnTo>
                  <a:lnTo>
                    <a:pt x="471" y="481"/>
                  </a:lnTo>
                  <a:lnTo>
                    <a:pt x="473" y="477"/>
                  </a:lnTo>
                  <a:lnTo>
                    <a:pt x="471" y="473"/>
                  </a:lnTo>
                  <a:lnTo>
                    <a:pt x="471" y="473"/>
                  </a:lnTo>
                  <a:lnTo>
                    <a:pt x="470" y="470"/>
                  </a:lnTo>
                  <a:lnTo>
                    <a:pt x="468" y="466"/>
                  </a:lnTo>
                  <a:lnTo>
                    <a:pt x="464" y="464"/>
                  </a:lnTo>
                  <a:lnTo>
                    <a:pt x="460" y="462"/>
                  </a:lnTo>
                  <a:lnTo>
                    <a:pt x="455" y="460"/>
                  </a:lnTo>
                  <a:lnTo>
                    <a:pt x="451" y="460"/>
                  </a:lnTo>
                  <a:lnTo>
                    <a:pt x="446" y="460"/>
                  </a:lnTo>
                  <a:lnTo>
                    <a:pt x="440" y="462"/>
                  </a:lnTo>
                  <a:lnTo>
                    <a:pt x="355" y="488"/>
                  </a:lnTo>
                  <a:close/>
                  <a:moveTo>
                    <a:pt x="571" y="623"/>
                  </a:moveTo>
                  <a:lnTo>
                    <a:pt x="571" y="640"/>
                  </a:lnTo>
                  <a:lnTo>
                    <a:pt x="571" y="640"/>
                  </a:lnTo>
                  <a:lnTo>
                    <a:pt x="570" y="646"/>
                  </a:lnTo>
                  <a:lnTo>
                    <a:pt x="567" y="651"/>
                  </a:lnTo>
                  <a:lnTo>
                    <a:pt x="563" y="654"/>
                  </a:lnTo>
                  <a:lnTo>
                    <a:pt x="557" y="655"/>
                  </a:lnTo>
                  <a:lnTo>
                    <a:pt x="529" y="655"/>
                  </a:lnTo>
                  <a:lnTo>
                    <a:pt x="529" y="655"/>
                  </a:lnTo>
                  <a:lnTo>
                    <a:pt x="516" y="670"/>
                  </a:lnTo>
                  <a:lnTo>
                    <a:pt x="503" y="687"/>
                  </a:lnTo>
                  <a:lnTo>
                    <a:pt x="485" y="703"/>
                  </a:lnTo>
                  <a:lnTo>
                    <a:pt x="467" y="718"/>
                  </a:lnTo>
                  <a:lnTo>
                    <a:pt x="448" y="732"/>
                  </a:lnTo>
                  <a:lnTo>
                    <a:pt x="427" y="746"/>
                  </a:lnTo>
                  <a:lnTo>
                    <a:pt x="408" y="757"/>
                  </a:lnTo>
                  <a:lnTo>
                    <a:pt x="388" y="768"/>
                  </a:lnTo>
                  <a:lnTo>
                    <a:pt x="388" y="768"/>
                  </a:lnTo>
                  <a:lnTo>
                    <a:pt x="409" y="773"/>
                  </a:lnTo>
                  <a:lnTo>
                    <a:pt x="430" y="783"/>
                  </a:lnTo>
                  <a:lnTo>
                    <a:pt x="449" y="792"/>
                  </a:lnTo>
                  <a:lnTo>
                    <a:pt x="467" y="804"/>
                  </a:lnTo>
                  <a:lnTo>
                    <a:pt x="481" y="814"/>
                  </a:lnTo>
                  <a:lnTo>
                    <a:pt x="492" y="826"/>
                  </a:lnTo>
                  <a:lnTo>
                    <a:pt x="496" y="830"/>
                  </a:lnTo>
                  <a:lnTo>
                    <a:pt x="499" y="836"/>
                  </a:lnTo>
                  <a:lnTo>
                    <a:pt x="500" y="841"/>
                  </a:lnTo>
                  <a:lnTo>
                    <a:pt x="501" y="845"/>
                  </a:lnTo>
                  <a:lnTo>
                    <a:pt x="501" y="845"/>
                  </a:lnTo>
                  <a:lnTo>
                    <a:pt x="500" y="851"/>
                  </a:lnTo>
                  <a:lnTo>
                    <a:pt x="499" y="857"/>
                  </a:lnTo>
                  <a:lnTo>
                    <a:pt x="496" y="863"/>
                  </a:lnTo>
                  <a:lnTo>
                    <a:pt x="492" y="866"/>
                  </a:lnTo>
                  <a:lnTo>
                    <a:pt x="489" y="870"/>
                  </a:lnTo>
                  <a:lnTo>
                    <a:pt x="484" y="872"/>
                  </a:lnTo>
                  <a:lnTo>
                    <a:pt x="479" y="873"/>
                  </a:lnTo>
                  <a:lnTo>
                    <a:pt x="476" y="874"/>
                  </a:lnTo>
                  <a:lnTo>
                    <a:pt x="106" y="874"/>
                  </a:lnTo>
                  <a:lnTo>
                    <a:pt x="106" y="874"/>
                  </a:lnTo>
                  <a:lnTo>
                    <a:pt x="100" y="873"/>
                  </a:lnTo>
                  <a:lnTo>
                    <a:pt x="96" y="872"/>
                  </a:lnTo>
                  <a:lnTo>
                    <a:pt x="91" y="870"/>
                  </a:lnTo>
                  <a:lnTo>
                    <a:pt x="88" y="866"/>
                  </a:lnTo>
                  <a:lnTo>
                    <a:pt x="85" y="862"/>
                  </a:lnTo>
                  <a:lnTo>
                    <a:pt x="83" y="857"/>
                  </a:lnTo>
                  <a:lnTo>
                    <a:pt x="81" y="851"/>
                  </a:lnTo>
                  <a:lnTo>
                    <a:pt x="81" y="845"/>
                  </a:lnTo>
                  <a:lnTo>
                    <a:pt x="81" y="845"/>
                  </a:lnTo>
                  <a:lnTo>
                    <a:pt x="81" y="841"/>
                  </a:lnTo>
                  <a:lnTo>
                    <a:pt x="82" y="836"/>
                  </a:lnTo>
                  <a:lnTo>
                    <a:pt x="85" y="831"/>
                  </a:lnTo>
                  <a:lnTo>
                    <a:pt x="88" y="827"/>
                  </a:lnTo>
                  <a:lnTo>
                    <a:pt x="97" y="817"/>
                  </a:lnTo>
                  <a:lnTo>
                    <a:pt x="108" y="808"/>
                  </a:lnTo>
                  <a:lnTo>
                    <a:pt x="122" y="799"/>
                  </a:lnTo>
                  <a:lnTo>
                    <a:pt x="140" y="790"/>
                  </a:lnTo>
                  <a:lnTo>
                    <a:pt x="157" y="782"/>
                  </a:lnTo>
                  <a:lnTo>
                    <a:pt x="177" y="773"/>
                  </a:lnTo>
                  <a:lnTo>
                    <a:pt x="177" y="773"/>
                  </a:lnTo>
                  <a:lnTo>
                    <a:pt x="152" y="760"/>
                  </a:lnTo>
                  <a:lnTo>
                    <a:pt x="130" y="744"/>
                  </a:lnTo>
                  <a:lnTo>
                    <a:pt x="111" y="729"/>
                  </a:lnTo>
                  <a:lnTo>
                    <a:pt x="92" y="714"/>
                  </a:lnTo>
                  <a:lnTo>
                    <a:pt x="76" y="699"/>
                  </a:lnTo>
                  <a:lnTo>
                    <a:pt x="62" y="683"/>
                  </a:lnTo>
                  <a:lnTo>
                    <a:pt x="49" y="667"/>
                  </a:lnTo>
                  <a:lnTo>
                    <a:pt x="38" y="651"/>
                  </a:lnTo>
                  <a:lnTo>
                    <a:pt x="29" y="633"/>
                  </a:lnTo>
                  <a:lnTo>
                    <a:pt x="20" y="616"/>
                  </a:lnTo>
                  <a:lnTo>
                    <a:pt x="14" y="597"/>
                  </a:lnTo>
                  <a:lnTo>
                    <a:pt x="9" y="579"/>
                  </a:lnTo>
                  <a:lnTo>
                    <a:pt x="4" y="559"/>
                  </a:lnTo>
                  <a:lnTo>
                    <a:pt x="2" y="539"/>
                  </a:lnTo>
                  <a:lnTo>
                    <a:pt x="0" y="518"/>
                  </a:lnTo>
                  <a:lnTo>
                    <a:pt x="0" y="496"/>
                  </a:lnTo>
                  <a:lnTo>
                    <a:pt x="0" y="496"/>
                  </a:lnTo>
                  <a:lnTo>
                    <a:pt x="1" y="473"/>
                  </a:lnTo>
                  <a:lnTo>
                    <a:pt x="4" y="449"/>
                  </a:lnTo>
                  <a:lnTo>
                    <a:pt x="9" y="426"/>
                  </a:lnTo>
                  <a:lnTo>
                    <a:pt x="16" y="404"/>
                  </a:lnTo>
                  <a:lnTo>
                    <a:pt x="25" y="382"/>
                  </a:lnTo>
                  <a:lnTo>
                    <a:pt x="36" y="360"/>
                  </a:lnTo>
                  <a:lnTo>
                    <a:pt x="48" y="340"/>
                  </a:lnTo>
                  <a:lnTo>
                    <a:pt x="63" y="320"/>
                  </a:lnTo>
                  <a:lnTo>
                    <a:pt x="79" y="302"/>
                  </a:lnTo>
                  <a:lnTo>
                    <a:pt x="97" y="284"/>
                  </a:lnTo>
                  <a:lnTo>
                    <a:pt x="116" y="268"/>
                  </a:lnTo>
                  <a:lnTo>
                    <a:pt x="138" y="254"/>
                  </a:lnTo>
                  <a:lnTo>
                    <a:pt x="162" y="240"/>
                  </a:lnTo>
                  <a:lnTo>
                    <a:pt x="187" y="229"/>
                  </a:lnTo>
                  <a:lnTo>
                    <a:pt x="212" y="218"/>
                  </a:lnTo>
                  <a:lnTo>
                    <a:pt x="241" y="210"/>
                  </a:lnTo>
                  <a:lnTo>
                    <a:pt x="212" y="115"/>
                  </a:lnTo>
                  <a:lnTo>
                    <a:pt x="212" y="115"/>
                  </a:lnTo>
                  <a:lnTo>
                    <a:pt x="211" y="109"/>
                  </a:lnTo>
                  <a:lnTo>
                    <a:pt x="211" y="105"/>
                  </a:lnTo>
                  <a:lnTo>
                    <a:pt x="212" y="99"/>
                  </a:lnTo>
                  <a:lnTo>
                    <a:pt x="214" y="94"/>
                  </a:lnTo>
                  <a:lnTo>
                    <a:pt x="217" y="90"/>
                  </a:lnTo>
                  <a:lnTo>
                    <a:pt x="220" y="86"/>
                  </a:lnTo>
                  <a:lnTo>
                    <a:pt x="225" y="84"/>
                  </a:lnTo>
                  <a:lnTo>
                    <a:pt x="230" y="81"/>
                  </a:lnTo>
                  <a:lnTo>
                    <a:pt x="315" y="55"/>
                  </a:lnTo>
                  <a:lnTo>
                    <a:pt x="315" y="55"/>
                  </a:lnTo>
                  <a:lnTo>
                    <a:pt x="321" y="54"/>
                  </a:lnTo>
                  <a:lnTo>
                    <a:pt x="326" y="54"/>
                  </a:lnTo>
                  <a:lnTo>
                    <a:pt x="331" y="55"/>
                  </a:lnTo>
                  <a:lnTo>
                    <a:pt x="336" y="56"/>
                  </a:lnTo>
                  <a:lnTo>
                    <a:pt x="340" y="59"/>
                  </a:lnTo>
                  <a:lnTo>
                    <a:pt x="344" y="63"/>
                  </a:lnTo>
                  <a:lnTo>
                    <a:pt x="347" y="68"/>
                  </a:lnTo>
                  <a:lnTo>
                    <a:pt x="349" y="72"/>
                  </a:lnTo>
                  <a:lnTo>
                    <a:pt x="451" y="400"/>
                  </a:lnTo>
                  <a:lnTo>
                    <a:pt x="451" y="400"/>
                  </a:lnTo>
                  <a:lnTo>
                    <a:pt x="452" y="405"/>
                  </a:lnTo>
                  <a:lnTo>
                    <a:pt x="452" y="411"/>
                  </a:lnTo>
                  <a:lnTo>
                    <a:pt x="451" y="415"/>
                  </a:lnTo>
                  <a:lnTo>
                    <a:pt x="449" y="420"/>
                  </a:lnTo>
                  <a:lnTo>
                    <a:pt x="446" y="425"/>
                  </a:lnTo>
                  <a:lnTo>
                    <a:pt x="442" y="428"/>
                  </a:lnTo>
                  <a:lnTo>
                    <a:pt x="438" y="431"/>
                  </a:lnTo>
                  <a:lnTo>
                    <a:pt x="433" y="434"/>
                  </a:lnTo>
                  <a:lnTo>
                    <a:pt x="348" y="460"/>
                  </a:lnTo>
                  <a:lnTo>
                    <a:pt x="348" y="460"/>
                  </a:lnTo>
                  <a:lnTo>
                    <a:pt x="343" y="462"/>
                  </a:lnTo>
                  <a:lnTo>
                    <a:pt x="337" y="462"/>
                  </a:lnTo>
                  <a:lnTo>
                    <a:pt x="333" y="460"/>
                  </a:lnTo>
                  <a:lnTo>
                    <a:pt x="328" y="458"/>
                  </a:lnTo>
                  <a:lnTo>
                    <a:pt x="323" y="456"/>
                  </a:lnTo>
                  <a:lnTo>
                    <a:pt x="320" y="452"/>
                  </a:lnTo>
                  <a:lnTo>
                    <a:pt x="316" y="448"/>
                  </a:lnTo>
                  <a:lnTo>
                    <a:pt x="314" y="443"/>
                  </a:lnTo>
                  <a:lnTo>
                    <a:pt x="274" y="309"/>
                  </a:lnTo>
                  <a:lnTo>
                    <a:pt x="274" y="309"/>
                  </a:lnTo>
                  <a:lnTo>
                    <a:pt x="259" y="311"/>
                  </a:lnTo>
                  <a:lnTo>
                    <a:pt x="244" y="314"/>
                  </a:lnTo>
                  <a:lnTo>
                    <a:pt x="230" y="320"/>
                  </a:lnTo>
                  <a:lnTo>
                    <a:pt x="215" y="327"/>
                  </a:lnTo>
                  <a:lnTo>
                    <a:pt x="200" y="334"/>
                  </a:lnTo>
                  <a:lnTo>
                    <a:pt x="186" y="343"/>
                  </a:lnTo>
                  <a:lnTo>
                    <a:pt x="173" y="354"/>
                  </a:lnTo>
                  <a:lnTo>
                    <a:pt x="160" y="365"/>
                  </a:lnTo>
                  <a:lnTo>
                    <a:pt x="148" y="377"/>
                  </a:lnTo>
                  <a:lnTo>
                    <a:pt x="137" y="391"/>
                  </a:lnTo>
                  <a:lnTo>
                    <a:pt x="128" y="405"/>
                  </a:lnTo>
                  <a:lnTo>
                    <a:pt x="120" y="420"/>
                  </a:lnTo>
                  <a:lnTo>
                    <a:pt x="113" y="435"/>
                  </a:lnTo>
                  <a:lnTo>
                    <a:pt x="108" y="452"/>
                  </a:lnTo>
                  <a:lnTo>
                    <a:pt x="105" y="469"/>
                  </a:lnTo>
                  <a:lnTo>
                    <a:pt x="105" y="487"/>
                  </a:lnTo>
                  <a:lnTo>
                    <a:pt x="105" y="487"/>
                  </a:lnTo>
                  <a:lnTo>
                    <a:pt x="105" y="506"/>
                  </a:lnTo>
                  <a:lnTo>
                    <a:pt x="107" y="524"/>
                  </a:lnTo>
                  <a:lnTo>
                    <a:pt x="112" y="542"/>
                  </a:lnTo>
                  <a:lnTo>
                    <a:pt x="118" y="560"/>
                  </a:lnTo>
                  <a:lnTo>
                    <a:pt x="125" y="576"/>
                  </a:lnTo>
                  <a:lnTo>
                    <a:pt x="133" y="593"/>
                  </a:lnTo>
                  <a:lnTo>
                    <a:pt x="142" y="608"/>
                  </a:lnTo>
                  <a:lnTo>
                    <a:pt x="152" y="622"/>
                  </a:lnTo>
                  <a:lnTo>
                    <a:pt x="163" y="634"/>
                  </a:lnTo>
                  <a:lnTo>
                    <a:pt x="175" y="646"/>
                  </a:lnTo>
                  <a:lnTo>
                    <a:pt x="188" y="656"/>
                  </a:lnTo>
                  <a:lnTo>
                    <a:pt x="202" y="664"/>
                  </a:lnTo>
                  <a:lnTo>
                    <a:pt x="216" y="671"/>
                  </a:lnTo>
                  <a:lnTo>
                    <a:pt x="230" y="677"/>
                  </a:lnTo>
                  <a:lnTo>
                    <a:pt x="245" y="681"/>
                  </a:lnTo>
                  <a:lnTo>
                    <a:pt x="260" y="681"/>
                  </a:lnTo>
                  <a:lnTo>
                    <a:pt x="260" y="681"/>
                  </a:lnTo>
                  <a:lnTo>
                    <a:pt x="275" y="681"/>
                  </a:lnTo>
                  <a:lnTo>
                    <a:pt x="288" y="680"/>
                  </a:lnTo>
                  <a:lnTo>
                    <a:pt x="299" y="677"/>
                  </a:lnTo>
                  <a:lnTo>
                    <a:pt x="311" y="674"/>
                  </a:lnTo>
                  <a:lnTo>
                    <a:pt x="321" y="670"/>
                  </a:lnTo>
                  <a:lnTo>
                    <a:pt x="330" y="666"/>
                  </a:lnTo>
                  <a:lnTo>
                    <a:pt x="338" y="660"/>
                  </a:lnTo>
                  <a:lnTo>
                    <a:pt x="345" y="655"/>
                  </a:lnTo>
                  <a:lnTo>
                    <a:pt x="318" y="655"/>
                  </a:lnTo>
                  <a:lnTo>
                    <a:pt x="318" y="655"/>
                  </a:lnTo>
                  <a:lnTo>
                    <a:pt x="312" y="654"/>
                  </a:lnTo>
                  <a:lnTo>
                    <a:pt x="307" y="651"/>
                  </a:lnTo>
                  <a:lnTo>
                    <a:pt x="304" y="646"/>
                  </a:lnTo>
                  <a:lnTo>
                    <a:pt x="303" y="640"/>
                  </a:lnTo>
                  <a:lnTo>
                    <a:pt x="303" y="623"/>
                  </a:lnTo>
                  <a:lnTo>
                    <a:pt x="303" y="623"/>
                  </a:lnTo>
                  <a:lnTo>
                    <a:pt x="304" y="617"/>
                  </a:lnTo>
                  <a:lnTo>
                    <a:pt x="307" y="612"/>
                  </a:lnTo>
                  <a:lnTo>
                    <a:pt x="312" y="609"/>
                  </a:lnTo>
                  <a:lnTo>
                    <a:pt x="318" y="608"/>
                  </a:lnTo>
                  <a:lnTo>
                    <a:pt x="557" y="608"/>
                  </a:lnTo>
                  <a:lnTo>
                    <a:pt x="557" y="608"/>
                  </a:lnTo>
                  <a:lnTo>
                    <a:pt x="563" y="609"/>
                  </a:lnTo>
                  <a:lnTo>
                    <a:pt x="567" y="612"/>
                  </a:lnTo>
                  <a:lnTo>
                    <a:pt x="570" y="617"/>
                  </a:lnTo>
                  <a:lnTo>
                    <a:pt x="571" y="623"/>
                  </a:lnTo>
                  <a:lnTo>
                    <a:pt x="571" y="623"/>
                  </a:lnTo>
                  <a:close/>
                  <a:moveTo>
                    <a:pt x="311" y="161"/>
                  </a:moveTo>
                  <a:lnTo>
                    <a:pt x="364" y="340"/>
                  </a:lnTo>
                  <a:lnTo>
                    <a:pt x="364" y="340"/>
                  </a:lnTo>
                  <a:lnTo>
                    <a:pt x="365" y="343"/>
                  </a:lnTo>
                  <a:lnTo>
                    <a:pt x="367" y="346"/>
                  </a:lnTo>
                  <a:lnTo>
                    <a:pt x="370" y="348"/>
                  </a:lnTo>
                  <a:lnTo>
                    <a:pt x="373" y="349"/>
                  </a:lnTo>
                  <a:lnTo>
                    <a:pt x="373" y="349"/>
                  </a:lnTo>
                  <a:lnTo>
                    <a:pt x="377" y="349"/>
                  </a:lnTo>
                  <a:lnTo>
                    <a:pt x="380" y="349"/>
                  </a:lnTo>
                  <a:lnTo>
                    <a:pt x="380" y="349"/>
                  </a:lnTo>
                  <a:lnTo>
                    <a:pt x="385" y="347"/>
                  </a:lnTo>
                  <a:lnTo>
                    <a:pt x="388" y="342"/>
                  </a:lnTo>
                  <a:lnTo>
                    <a:pt x="389" y="338"/>
                  </a:lnTo>
                  <a:lnTo>
                    <a:pt x="389" y="333"/>
                  </a:lnTo>
                  <a:lnTo>
                    <a:pt x="336" y="153"/>
                  </a:lnTo>
                  <a:lnTo>
                    <a:pt x="336" y="153"/>
                  </a:lnTo>
                  <a:lnTo>
                    <a:pt x="334" y="149"/>
                  </a:lnTo>
                  <a:lnTo>
                    <a:pt x="329" y="145"/>
                  </a:lnTo>
                  <a:lnTo>
                    <a:pt x="325" y="144"/>
                  </a:lnTo>
                  <a:lnTo>
                    <a:pt x="319" y="144"/>
                  </a:lnTo>
                  <a:lnTo>
                    <a:pt x="319" y="144"/>
                  </a:lnTo>
                  <a:lnTo>
                    <a:pt x="314" y="146"/>
                  </a:lnTo>
                  <a:lnTo>
                    <a:pt x="312" y="151"/>
                  </a:lnTo>
                  <a:lnTo>
                    <a:pt x="310" y="156"/>
                  </a:lnTo>
                  <a:lnTo>
                    <a:pt x="311" y="161"/>
                  </a:lnTo>
                  <a:lnTo>
                    <a:pt x="311" y="161"/>
                  </a:lnTo>
                  <a:close/>
                  <a:moveTo>
                    <a:pt x="312" y="751"/>
                  </a:moveTo>
                  <a:lnTo>
                    <a:pt x="312" y="751"/>
                  </a:lnTo>
                  <a:lnTo>
                    <a:pt x="305" y="747"/>
                  </a:lnTo>
                  <a:lnTo>
                    <a:pt x="298" y="743"/>
                  </a:lnTo>
                  <a:lnTo>
                    <a:pt x="291" y="741"/>
                  </a:lnTo>
                  <a:lnTo>
                    <a:pt x="283" y="740"/>
                  </a:lnTo>
                  <a:lnTo>
                    <a:pt x="276" y="741"/>
                  </a:lnTo>
                  <a:lnTo>
                    <a:pt x="269" y="743"/>
                  </a:lnTo>
                  <a:lnTo>
                    <a:pt x="262" y="747"/>
                  </a:lnTo>
                  <a:lnTo>
                    <a:pt x="255" y="751"/>
                  </a:lnTo>
                  <a:lnTo>
                    <a:pt x="255" y="751"/>
                  </a:lnTo>
                  <a:lnTo>
                    <a:pt x="251" y="757"/>
                  </a:lnTo>
                  <a:lnTo>
                    <a:pt x="247" y="764"/>
                  </a:lnTo>
                  <a:lnTo>
                    <a:pt x="245" y="772"/>
                  </a:lnTo>
                  <a:lnTo>
                    <a:pt x="244" y="779"/>
                  </a:lnTo>
                  <a:lnTo>
                    <a:pt x="245" y="787"/>
                  </a:lnTo>
                  <a:lnTo>
                    <a:pt x="247" y="794"/>
                  </a:lnTo>
                  <a:lnTo>
                    <a:pt x="251" y="801"/>
                  </a:lnTo>
                  <a:lnTo>
                    <a:pt x="255" y="807"/>
                  </a:lnTo>
                  <a:lnTo>
                    <a:pt x="255" y="807"/>
                  </a:lnTo>
                  <a:lnTo>
                    <a:pt x="262" y="813"/>
                  </a:lnTo>
                  <a:lnTo>
                    <a:pt x="269" y="816"/>
                  </a:lnTo>
                  <a:lnTo>
                    <a:pt x="276" y="819"/>
                  </a:lnTo>
                  <a:lnTo>
                    <a:pt x="283" y="819"/>
                  </a:lnTo>
                  <a:lnTo>
                    <a:pt x="291" y="819"/>
                  </a:lnTo>
                  <a:lnTo>
                    <a:pt x="298" y="816"/>
                  </a:lnTo>
                  <a:lnTo>
                    <a:pt x="305" y="813"/>
                  </a:lnTo>
                  <a:lnTo>
                    <a:pt x="312" y="807"/>
                  </a:lnTo>
                  <a:lnTo>
                    <a:pt x="312" y="807"/>
                  </a:lnTo>
                  <a:lnTo>
                    <a:pt x="316" y="801"/>
                  </a:lnTo>
                  <a:lnTo>
                    <a:pt x="320" y="794"/>
                  </a:lnTo>
                  <a:lnTo>
                    <a:pt x="322" y="787"/>
                  </a:lnTo>
                  <a:lnTo>
                    <a:pt x="323" y="779"/>
                  </a:lnTo>
                  <a:lnTo>
                    <a:pt x="322" y="772"/>
                  </a:lnTo>
                  <a:lnTo>
                    <a:pt x="320" y="764"/>
                  </a:lnTo>
                  <a:lnTo>
                    <a:pt x="316" y="757"/>
                  </a:lnTo>
                  <a:lnTo>
                    <a:pt x="312" y="751"/>
                  </a:lnTo>
                  <a:lnTo>
                    <a:pt x="312" y="7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497" name="Group 496">
            <a:extLst>
              <a:ext uri="{FF2B5EF4-FFF2-40B4-BE49-F238E27FC236}">
                <a16:creationId xmlns:a16="http://schemas.microsoft.com/office/drawing/2014/main" id="{D76F5DF9-0DB3-42DF-A6BD-6E8D0B0EB2AF}"/>
              </a:ext>
            </a:extLst>
          </p:cNvPr>
          <p:cNvGrpSpPr/>
          <p:nvPr/>
        </p:nvGrpSpPr>
        <p:grpSpPr>
          <a:xfrm>
            <a:off x="2114396" y="4641612"/>
            <a:ext cx="613589" cy="615826"/>
            <a:chOff x="2779162" y="3032119"/>
            <a:chExt cx="613589" cy="615826"/>
          </a:xfrm>
          <a:solidFill>
            <a:srgbClr val="505050"/>
          </a:solidFill>
        </p:grpSpPr>
        <p:sp>
          <p:nvSpPr>
            <p:cNvPr id="498" name="Oval 497">
              <a:extLst>
                <a:ext uri="{FF2B5EF4-FFF2-40B4-BE49-F238E27FC236}">
                  <a16:creationId xmlns:a16="http://schemas.microsoft.com/office/drawing/2014/main" id="{4A00A0A5-6D00-40ED-87EB-CF8B836ADCA5}"/>
                </a:ext>
              </a:extLst>
            </p:cNvPr>
            <p:cNvSpPr/>
            <p:nvPr/>
          </p:nvSpPr>
          <p:spPr bwMode="ltGray">
            <a:xfrm>
              <a:off x="2779162"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499" name="Oval 498">
              <a:extLst>
                <a:ext uri="{FF2B5EF4-FFF2-40B4-BE49-F238E27FC236}">
                  <a16:creationId xmlns:a16="http://schemas.microsoft.com/office/drawing/2014/main" id="{B013E46F-38DC-4AEA-8E45-60884D34DE15}"/>
                </a:ext>
              </a:extLst>
            </p:cNvPr>
            <p:cNvSpPr/>
            <p:nvPr/>
          </p:nvSpPr>
          <p:spPr bwMode="ltGray">
            <a:xfrm>
              <a:off x="2779976" y="3035170"/>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500" name="Group 306">
              <a:extLst>
                <a:ext uri="{FF2B5EF4-FFF2-40B4-BE49-F238E27FC236}">
                  <a16:creationId xmlns:a16="http://schemas.microsoft.com/office/drawing/2014/main" id="{DDDF1919-A10C-4607-9DD2-64DF8E3175AF}"/>
                </a:ext>
              </a:extLst>
            </p:cNvPr>
            <p:cNvGrpSpPr>
              <a:grpSpLocks/>
            </p:cNvGrpSpPr>
            <p:nvPr/>
          </p:nvGrpSpPr>
          <p:grpSpPr bwMode="auto">
            <a:xfrm>
              <a:off x="2852758" y="3240973"/>
              <a:ext cx="468501" cy="257262"/>
              <a:chOff x="1492" y="4451"/>
              <a:chExt cx="685" cy="376"/>
            </a:xfrm>
            <a:grpFill/>
          </p:grpSpPr>
          <p:sp>
            <p:nvSpPr>
              <p:cNvPr id="501" name="AutoShape 307">
                <a:extLst>
                  <a:ext uri="{FF2B5EF4-FFF2-40B4-BE49-F238E27FC236}">
                    <a16:creationId xmlns:a16="http://schemas.microsoft.com/office/drawing/2014/main" id="{51A28B75-32EB-44EC-A563-31CAF83C4967}"/>
                  </a:ext>
                </a:extLst>
              </p:cNvPr>
              <p:cNvSpPr>
                <a:spLocks noChangeArrowheads="1"/>
              </p:cNvSpPr>
              <p:nvPr/>
            </p:nvSpPr>
            <p:spPr bwMode="auto">
              <a:xfrm rot="4597590">
                <a:off x="1547" y="4650"/>
                <a:ext cx="172" cy="18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40 w 21600"/>
                  <a:gd name="T25" fmla="*/ 3222 h 21600"/>
                  <a:gd name="T26" fmla="*/ 18460 w 21600"/>
                  <a:gd name="T27" fmla="*/ 18378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368" y="10800"/>
                    </a:moveTo>
                    <a:cubicBezTo>
                      <a:pt x="3368" y="14905"/>
                      <a:pt x="6695" y="18232"/>
                      <a:pt x="10800" y="18232"/>
                    </a:cubicBezTo>
                    <a:cubicBezTo>
                      <a:pt x="14905" y="18232"/>
                      <a:pt x="18232" y="14905"/>
                      <a:pt x="18232" y="10800"/>
                    </a:cubicBezTo>
                    <a:cubicBezTo>
                      <a:pt x="18232" y="6695"/>
                      <a:pt x="14905" y="3368"/>
                      <a:pt x="10800" y="3368"/>
                    </a:cubicBezTo>
                    <a:cubicBezTo>
                      <a:pt x="6695" y="3368"/>
                      <a:pt x="3368" y="6695"/>
                      <a:pt x="3368" y="10800"/>
                    </a:cubicBezTo>
                    <a:close/>
                  </a:path>
                </a:pathLst>
              </a:custGeom>
              <a:grpFill/>
              <a:ln w="952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02" name="AutoShape 308">
                <a:extLst>
                  <a:ext uri="{FF2B5EF4-FFF2-40B4-BE49-F238E27FC236}">
                    <a16:creationId xmlns:a16="http://schemas.microsoft.com/office/drawing/2014/main" id="{EEADD970-145A-4D26-A15C-DACD4A91318D}"/>
                  </a:ext>
                </a:extLst>
              </p:cNvPr>
              <p:cNvSpPr>
                <a:spLocks noChangeArrowheads="1"/>
              </p:cNvSpPr>
              <p:nvPr/>
            </p:nvSpPr>
            <p:spPr bwMode="auto">
              <a:xfrm rot="4597590" flipH="1">
                <a:off x="1497" y="4446"/>
                <a:ext cx="172" cy="181"/>
              </a:xfrm>
              <a:custGeom>
                <a:avLst/>
                <a:gdLst>
                  <a:gd name="T0" fmla="*/ 0 w 21600"/>
                  <a:gd name="T1" fmla="*/ 0 h 21600"/>
                  <a:gd name="T2" fmla="*/ 0 w 21600"/>
                  <a:gd name="T3" fmla="*/ 0 h 21600"/>
                  <a:gd name="T4" fmla="*/ 0 w 21600"/>
                  <a:gd name="T5" fmla="*/ 0 h 21600"/>
                  <a:gd name="T6" fmla="*/ 0 w 21600"/>
                  <a:gd name="T7" fmla="*/ 0 h 21600"/>
                  <a:gd name="T8" fmla="*/ 0 w 21600"/>
                  <a:gd name="T9" fmla="*/ 0 h 21600"/>
                  <a:gd name="T10" fmla="*/ 0 w 21600"/>
                  <a:gd name="T11" fmla="*/ 0 h 21600"/>
                  <a:gd name="T12" fmla="*/ 0 w 21600"/>
                  <a:gd name="T13" fmla="*/ 0 h 21600"/>
                  <a:gd name="T14" fmla="*/ 0 w 21600"/>
                  <a:gd name="T15" fmla="*/ 0 h 21600"/>
                  <a:gd name="T16" fmla="*/ 0 60000 65536"/>
                  <a:gd name="T17" fmla="*/ 0 60000 65536"/>
                  <a:gd name="T18" fmla="*/ 0 60000 65536"/>
                  <a:gd name="T19" fmla="*/ 0 60000 65536"/>
                  <a:gd name="T20" fmla="*/ 0 60000 65536"/>
                  <a:gd name="T21" fmla="*/ 0 60000 65536"/>
                  <a:gd name="T22" fmla="*/ 0 60000 65536"/>
                  <a:gd name="T23" fmla="*/ 0 60000 65536"/>
                  <a:gd name="T24" fmla="*/ 3140 w 21600"/>
                  <a:gd name="T25" fmla="*/ 3222 h 21600"/>
                  <a:gd name="T26" fmla="*/ 18460 w 21600"/>
                  <a:gd name="T27" fmla="*/ 18378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3368" y="10800"/>
                    </a:moveTo>
                    <a:cubicBezTo>
                      <a:pt x="3368" y="14905"/>
                      <a:pt x="6695" y="18232"/>
                      <a:pt x="10800" y="18232"/>
                    </a:cubicBezTo>
                    <a:cubicBezTo>
                      <a:pt x="14905" y="18232"/>
                      <a:pt x="18232" y="14905"/>
                      <a:pt x="18232" y="10800"/>
                    </a:cubicBezTo>
                    <a:cubicBezTo>
                      <a:pt x="18232" y="6695"/>
                      <a:pt x="14905" y="3368"/>
                      <a:pt x="10800" y="3368"/>
                    </a:cubicBezTo>
                    <a:cubicBezTo>
                      <a:pt x="6695" y="3368"/>
                      <a:pt x="3368" y="6695"/>
                      <a:pt x="3368" y="10800"/>
                    </a:cubicBezTo>
                    <a:close/>
                  </a:path>
                </a:pathLst>
              </a:custGeom>
              <a:grpFill/>
              <a:ln w="9525">
                <a:noFill/>
                <a:round/>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03" name="AutoShape 309">
                <a:extLst>
                  <a:ext uri="{FF2B5EF4-FFF2-40B4-BE49-F238E27FC236}">
                    <a16:creationId xmlns:a16="http://schemas.microsoft.com/office/drawing/2014/main" id="{C4B941AA-4D21-438E-8C2A-8E89463905D3}"/>
                  </a:ext>
                </a:extLst>
              </p:cNvPr>
              <p:cNvSpPr>
                <a:spLocks noChangeArrowheads="1"/>
              </p:cNvSpPr>
              <p:nvPr/>
            </p:nvSpPr>
            <p:spPr bwMode="auto">
              <a:xfrm rot="3624975">
                <a:off x="1867" y="4293"/>
                <a:ext cx="67" cy="519"/>
              </a:xfrm>
              <a:prstGeom prst="rtTriangle">
                <a:avLst/>
              </a:prstGeom>
              <a:grp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sp>
            <p:nvSpPr>
              <p:cNvPr id="504" name="AutoShape 310">
                <a:extLst>
                  <a:ext uri="{FF2B5EF4-FFF2-40B4-BE49-F238E27FC236}">
                    <a16:creationId xmlns:a16="http://schemas.microsoft.com/office/drawing/2014/main" id="{EE1D46BE-BDB1-44D1-8A80-31266A645C1F}"/>
                  </a:ext>
                </a:extLst>
              </p:cNvPr>
              <p:cNvSpPr>
                <a:spLocks noChangeArrowheads="1"/>
              </p:cNvSpPr>
              <p:nvPr/>
            </p:nvSpPr>
            <p:spPr bwMode="auto">
              <a:xfrm rot="5570205" flipH="1">
                <a:off x="1884" y="4315"/>
                <a:ext cx="67" cy="519"/>
              </a:xfrm>
              <a:prstGeom prst="rtTriangle">
                <a:avLst/>
              </a:prstGeom>
              <a:grpFill/>
              <a:ln w="9525">
                <a:noFill/>
                <a:miter lim="800000"/>
                <a:headEnd/>
                <a:tailEnd/>
              </a:ln>
            </p:spPr>
            <p:txBody>
              <a:bodyPr wrap="none" anchor="ct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Times New Roman"/>
                </a:endParaRPr>
              </a:p>
            </p:txBody>
          </p:sp>
        </p:grpSp>
      </p:grpSp>
      <p:grpSp>
        <p:nvGrpSpPr>
          <p:cNvPr id="505" name="Group 504">
            <a:extLst>
              <a:ext uri="{FF2B5EF4-FFF2-40B4-BE49-F238E27FC236}">
                <a16:creationId xmlns:a16="http://schemas.microsoft.com/office/drawing/2014/main" id="{B6EBEE4D-4581-40A4-AE96-AA04D47442B6}"/>
              </a:ext>
            </a:extLst>
          </p:cNvPr>
          <p:cNvGrpSpPr/>
          <p:nvPr/>
        </p:nvGrpSpPr>
        <p:grpSpPr>
          <a:xfrm>
            <a:off x="7097047" y="3133752"/>
            <a:ext cx="612775" cy="612775"/>
            <a:chOff x="6421537" y="2265179"/>
            <a:chExt cx="612775" cy="612775"/>
          </a:xfrm>
          <a:solidFill>
            <a:srgbClr val="505050"/>
          </a:solidFill>
        </p:grpSpPr>
        <p:sp>
          <p:nvSpPr>
            <p:cNvPr id="506" name="Oval 505">
              <a:extLst>
                <a:ext uri="{FF2B5EF4-FFF2-40B4-BE49-F238E27FC236}">
                  <a16:creationId xmlns:a16="http://schemas.microsoft.com/office/drawing/2014/main" id="{4C185C51-0B63-4B00-B590-2C83C4AB5B9F}"/>
                </a:ext>
              </a:extLst>
            </p:cNvPr>
            <p:cNvSpPr/>
            <p:nvPr/>
          </p:nvSpPr>
          <p:spPr bwMode="ltGray">
            <a:xfrm>
              <a:off x="6421537" y="226517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sp>
          <p:nvSpPr>
            <p:cNvPr id="507" name="Freeform 295">
              <a:extLst>
                <a:ext uri="{FF2B5EF4-FFF2-40B4-BE49-F238E27FC236}">
                  <a16:creationId xmlns:a16="http://schemas.microsoft.com/office/drawing/2014/main" id="{F486E64F-529B-4987-A8F0-20DC875CFACC}"/>
                </a:ext>
              </a:extLst>
            </p:cNvPr>
            <p:cNvSpPr>
              <a:spLocks/>
            </p:cNvSpPr>
            <p:nvPr/>
          </p:nvSpPr>
          <p:spPr bwMode="auto">
            <a:xfrm>
              <a:off x="6552265" y="2372138"/>
              <a:ext cx="306603" cy="366183"/>
            </a:xfrm>
            <a:custGeom>
              <a:avLst/>
              <a:gdLst>
                <a:gd name="T0" fmla="*/ 38955978 w 13526"/>
                <a:gd name="T1" fmla="*/ 29558550 h 16157"/>
                <a:gd name="T2" fmla="*/ 38496543 w 13526"/>
                <a:gd name="T3" fmla="*/ 30737076 h 16157"/>
                <a:gd name="T4" fmla="*/ 37699051 w 13526"/>
                <a:gd name="T5" fmla="*/ 31823159 h 16157"/>
                <a:gd name="T6" fmla="*/ 36557695 w 13526"/>
                <a:gd name="T7" fmla="*/ 32828410 h 16157"/>
                <a:gd name="T8" fmla="*/ 35153429 w 13526"/>
                <a:gd name="T9" fmla="*/ 33700749 h 16157"/>
                <a:gd name="T10" fmla="*/ 33792489 w 13526"/>
                <a:gd name="T11" fmla="*/ 34333331 h 16157"/>
                <a:gd name="T12" fmla="*/ 32419991 w 13526"/>
                <a:gd name="T13" fmla="*/ 34801290 h 16157"/>
                <a:gd name="T14" fmla="*/ 31030131 w 13526"/>
                <a:gd name="T15" fmla="*/ 35101672 h 16157"/>
                <a:gd name="T16" fmla="*/ 29631617 w 13526"/>
                <a:gd name="T17" fmla="*/ 35234584 h 16157"/>
                <a:gd name="T18" fmla="*/ 28444033 w 13526"/>
                <a:gd name="T19" fmla="*/ 35220127 h 16157"/>
                <a:gd name="T20" fmla="*/ 27392278 w 13526"/>
                <a:gd name="T21" fmla="*/ 35110379 h 16157"/>
                <a:gd name="T22" fmla="*/ 26395413 w 13526"/>
                <a:gd name="T23" fmla="*/ 34919691 h 16157"/>
                <a:gd name="T24" fmla="*/ 25464987 w 13526"/>
                <a:gd name="T25" fmla="*/ 34636615 h 16157"/>
                <a:gd name="T26" fmla="*/ 24554826 w 13526"/>
                <a:gd name="T27" fmla="*/ 34258248 h 16157"/>
                <a:gd name="T28" fmla="*/ 23604136 w 13526"/>
                <a:gd name="T29" fmla="*/ 33674736 h 16157"/>
                <a:gd name="T30" fmla="*/ 22893348 w 13526"/>
                <a:gd name="T31" fmla="*/ 32995934 h 16157"/>
                <a:gd name="T32" fmla="*/ 22422357 w 13526"/>
                <a:gd name="T33" fmla="*/ 32213135 h 16157"/>
                <a:gd name="T34" fmla="*/ 22191215 w 13526"/>
                <a:gd name="T35" fmla="*/ 31329241 h 16157"/>
                <a:gd name="T36" fmla="*/ 22231638 w 13526"/>
                <a:gd name="T37" fmla="*/ 30237352 h 16157"/>
                <a:gd name="T38" fmla="*/ 22621730 w 13526"/>
                <a:gd name="T39" fmla="*/ 29119505 h 16157"/>
                <a:gd name="T40" fmla="*/ 23378799 w 13526"/>
                <a:gd name="T41" fmla="*/ 28102746 h 16157"/>
                <a:gd name="T42" fmla="*/ 24496987 w 13526"/>
                <a:gd name="T43" fmla="*/ 27189937 h 16157"/>
                <a:gd name="T44" fmla="*/ 25979304 w 13526"/>
                <a:gd name="T45" fmla="*/ 26372472 h 16157"/>
                <a:gd name="T46" fmla="*/ 27322935 w 13526"/>
                <a:gd name="T47" fmla="*/ 25817875 h 16157"/>
                <a:gd name="T48" fmla="*/ 28672326 w 13526"/>
                <a:gd name="T49" fmla="*/ 25396136 h 16157"/>
                <a:gd name="T50" fmla="*/ 30033266 w 13526"/>
                <a:gd name="T51" fmla="*/ 25113060 h 16157"/>
                <a:gd name="T52" fmla="*/ 31402861 w 13526"/>
                <a:gd name="T53" fmla="*/ 24965744 h 16157"/>
                <a:gd name="T54" fmla="*/ 33015208 w 13526"/>
                <a:gd name="T55" fmla="*/ 24968646 h 16157"/>
                <a:gd name="T56" fmla="*/ 34303903 w 13526"/>
                <a:gd name="T57" fmla="*/ 25115962 h 16157"/>
                <a:gd name="T58" fmla="*/ 35144721 w 13526"/>
                <a:gd name="T59" fmla="*/ 25297943 h 16157"/>
                <a:gd name="T60" fmla="*/ 35936462 w 13526"/>
                <a:gd name="T61" fmla="*/ 25549256 h 16157"/>
                <a:gd name="T62" fmla="*/ 16698323 w 13526"/>
                <a:gd name="T63" fmla="*/ 40147974 h 16157"/>
                <a:gd name="T64" fmla="*/ 16435359 w 13526"/>
                <a:gd name="T65" fmla="*/ 41366970 h 16157"/>
                <a:gd name="T66" fmla="*/ 15845894 w 13526"/>
                <a:gd name="T67" fmla="*/ 42505025 h 16157"/>
                <a:gd name="T68" fmla="*/ 14921274 w 13526"/>
                <a:gd name="T69" fmla="*/ 43568052 h 16157"/>
                <a:gd name="T70" fmla="*/ 13661441 w 13526"/>
                <a:gd name="T71" fmla="*/ 44553041 h 16157"/>
                <a:gd name="T72" fmla="*/ 12280289 w 13526"/>
                <a:gd name="T73" fmla="*/ 45350244 h 16157"/>
                <a:gd name="T74" fmla="*/ 10930906 w 13526"/>
                <a:gd name="T75" fmla="*/ 45945311 h 16157"/>
                <a:gd name="T76" fmla="*/ 9572868 w 13526"/>
                <a:gd name="T77" fmla="*/ 46361246 h 16157"/>
                <a:gd name="T78" fmla="*/ 8206122 w 13526"/>
                <a:gd name="T79" fmla="*/ 46606808 h 16157"/>
                <a:gd name="T80" fmla="*/ 6865392 w 13526"/>
                <a:gd name="T81" fmla="*/ 46670335 h 16157"/>
                <a:gd name="T82" fmla="*/ 5793432 w 13526"/>
                <a:gd name="T83" fmla="*/ 46615461 h 16157"/>
                <a:gd name="T84" fmla="*/ 4779204 w 13526"/>
                <a:gd name="T85" fmla="*/ 46471047 h 16157"/>
                <a:gd name="T86" fmla="*/ 3817010 w 13526"/>
                <a:gd name="T87" fmla="*/ 46242845 h 16157"/>
                <a:gd name="T88" fmla="*/ 2909698 w 13526"/>
                <a:gd name="T89" fmla="*/ 45925103 h 16157"/>
                <a:gd name="T90" fmla="*/ 1947503 w 13526"/>
                <a:gd name="T91" fmla="*/ 45460046 h 16157"/>
                <a:gd name="T92" fmla="*/ 1097977 w 13526"/>
                <a:gd name="T93" fmla="*/ 44847672 h 16157"/>
                <a:gd name="T94" fmla="*/ 488300 w 13526"/>
                <a:gd name="T95" fmla="*/ 44122649 h 16157"/>
                <a:gd name="T96" fmla="*/ 124225 w 13526"/>
                <a:gd name="T97" fmla="*/ 43287824 h 16157"/>
                <a:gd name="T98" fmla="*/ 0 w 13526"/>
                <a:gd name="T99" fmla="*/ 42346154 h 16157"/>
                <a:gd name="T100" fmla="*/ 182011 w 13526"/>
                <a:gd name="T101" fmla="*/ 41184988 h 16157"/>
                <a:gd name="T102" fmla="*/ 722345 w 13526"/>
                <a:gd name="T103" fmla="*/ 40122015 h 16157"/>
                <a:gd name="T104" fmla="*/ 1629656 w 13526"/>
                <a:gd name="T105" fmla="*/ 39148528 h 16157"/>
                <a:gd name="T106" fmla="*/ 2889486 w 13526"/>
                <a:gd name="T107" fmla="*/ 38264633 h 16157"/>
                <a:gd name="T108" fmla="*/ 4348689 w 13526"/>
                <a:gd name="T109" fmla="*/ 37545415 h 16157"/>
                <a:gd name="T110" fmla="*/ 5695170 w 13526"/>
                <a:gd name="T111" fmla="*/ 37048594 h 16157"/>
                <a:gd name="T112" fmla="*/ 7050307 w 13526"/>
                <a:gd name="T113" fmla="*/ 36684631 h 16157"/>
                <a:gd name="T114" fmla="*/ 8414150 w 13526"/>
                <a:gd name="T115" fmla="*/ 36459331 h 16157"/>
                <a:gd name="T116" fmla="*/ 9789550 w 13526"/>
                <a:gd name="T117" fmla="*/ 36372640 h 16157"/>
                <a:gd name="T118" fmla="*/ 11531928 w 13526"/>
                <a:gd name="T119" fmla="*/ 36465082 h 16157"/>
                <a:gd name="T120" fmla="*/ 13176043 w 13526"/>
                <a:gd name="T121" fmla="*/ 36805934 h 161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3526"/>
                <a:gd name="T184" fmla="*/ 0 h 16157"/>
                <a:gd name="T185" fmla="*/ 13526 w 13526"/>
                <a:gd name="T186" fmla="*/ 16157 h 161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3526" h="16157">
                  <a:moveTo>
                    <a:pt x="13526" y="9859"/>
                  </a:moveTo>
                  <a:lnTo>
                    <a:pt x="13525" y="9923"/>
                  </a:lnTo>
                  <a:lnTo>
                    <a:pt x="13521" y="9987"/>
                  </a:lnTo>
                  <a:lnTo>
                    <a:pt x="13515" y="10048"/>
                  </a:lnTo>
                  <a:lnTo>
                    <a:pt x="13507" y="10110"/>
                  </a:lnTo>
                  <a:lnTo>
                    <a:pt x="13495" y="10172"/>
                  </a:lnTo>
                  <a:lnTo>
                    <a:pt x="13482" y="10233"/>
                  </a:lnTo>
                  <a:lnTo>
                    <a:pt x="13467" y="10292"/>
                  </a:lnTo>
                  <a:lnTo>
                    <a:pt x="13449" y="10352"/>
                  </a:lnTo>
                  <a:lnTo>
                    <a:pt x="13429" y="10411"/>
                  </a:lnTo>
                  <a:lnTo>
                    <a:pt x="13405" y="10470"/>
                  </a:lnTo>
                  <a:lnTo>
                    <a:pt x="13380" y="10527"/>
                  </a:lnTo>
                  <a:lnTo>
                    <a:pt x="13353" y="10584"/>
                  </a:lnTo>
                  <a:lnTo>
                    <a:pt x="13323" y="10641"/>
                  </a:lnTo>
                  <a:lnTo>
                    <a:pt x="13291" y="10696"/>
                  </a:lnTo>
                  <a:lnTo>
                    <a:pt x="13255" y="10751"/>
                  </a:lnTo>
                  <a:lnTo>
                    <a:pt x="13219" y="10806"/>
                  </a:lnTo>
                  <a:lnTo>
                    <a:pt x="13179" y="10859"/>
                  </a:lnTo>
                  <a:lnTo>
                    <a:pt x="13137" y="10913"/>
                  </a:lnTo>
                  <a:lnTo>
                    <a:pt x="13093" y="10966"/>
                  </a:lnTo>
                  <a:lnTo>
                    <a:pt x="13047" y="11017"/>
                  </a:lnTo>
                  <a:lnTo>
                    <a:pt x="12997" y="11069"/>
                  </a:lnTo>
                  <a:lnTo>
                    <a:pt x="12945" y="11120"/>
                  </a:lnTo>
                  <a:lnTo>
                    <a:pt x="12891" y="11170"/>
                  </a:lnTo>
                  <a:lnTo>
                    <a:pt x="12836" y="11220"/>
                  </a:lnTo>
                  <a:lnTo>
                    <a:pt x="12777" y="11268"/>
                  </a:lnTo>
                  <a:lnTo>
                    <a:pt x="12716" y="11317"/>
                  </a:lnTo>
                  <a:lnTo>
                    <a:pt x="12652" y="11365"/>
                  </a:lnTo>
                  <a:lnTo>
                    <a:pt x="12587" y="11412"/>
                  </a:lnTo>
                  <a:lnTo>
                    <a:pt x="12519" y="11459"/>
                  </a:lnTo>
                  <a:lnTo>
                    <a:pt x="12449" y="11504"/>
                  </a:lnTo>
                  <a:lnTo>
                    <a:pt x="12376" y="11549"/>
                  </a:lnTo>
                  <a:lnTo>
                    <a:pt x="12301" y="11593"/>
                  </a:lnTo>
                  <a:lnTo>
                    <a:pt x="12234" y="11631"/>
                  </a:lnTo>
                  <a:lnTo>
                    <a:pt x="12166" y="11667"/>
                  </a:lnTo>
                  <a:lnTo>
                    <a:pt x="12099" y="11702"/>
                  </a:lnTo>
                  <a:lnTo>
                    <a:pt x="12032" y="11735"/>
                  </a:lnTo>
                  <a:lnTo>
                    <a:pt x="11964" y="11769"/>
                  </a:lnTo>
                  <a:lnTo>
                    <a:pt x="11898" y="11800"/>
                  </a:lnTo>
                  <a:lnTo>
                    <a:pt x="11830" y="11829"/>
                  </a:lnTo>
                  <a:lnTo>
                    <a:pt x="11763" y="11859"/>
                  </a:lnTo>
                  <a:lnTo>
                    <a:pt x="11695" y="11886"/>
                  </a:lnTo>
                  <a:lnTo>
                    <a:pt x="11627" y="11913"/>
                  </a:lnTo>
                  <a:lnTo>
                    <a:pt x="11559" y="11939"/>
                  </a:lnTo>
                  <a:lnTo>
                    <a:pt x="11492" y="11963"/>
                  </a:lnTo>
                  <a:lnTo>
                    <a:pt x="11423" y="11986"/>
                  </a:lnTo>
                  <a:lnTo>
                    <a:pt x="11355" y="12008"/>
                  </a:lnTo>
                  <a:lnTo>
                    <a:pt x="11288" y="12029"/>
                  </a:lnTo>
                  <a:lnTo>
                    <a:pt x="11220" y="12048"/>
                  </a:lnTo>
                  <a:lnTo>
                    <a:pt x="11151" y="12066"/>
                  </a:lnTo>
                  <a:lnTo>
                    <a:pt x="11083" y="12084"/>
                  </a:lnTo>
                  <a:lnTo>
                    <a:pt x="11014" y="12100"/>
                  </a:lnTo>
                  <a:lnTo>
                    <a:pt x="10946" y="12115"/>
                  </a:lnTo>
                  <a:lnTo>
                    <a:pt x="10877" y="12128"/>
                  </a:lnTo>
                  <a:lnTo>
                    <a:pt x="10808" y="12141"/>
                  </a:lnTo>
                  <a:lnTo>
                    <a:pt x="10739" y="12152"/>
                  </a:lnTo>
                  <a:lnTo>
                    <a:pt x="10671" y="12162"/>
                  </a:lnTo>
                  <a:lnTo>
                    <a:pt x="10602" y="12172"/>
                  </a:lnTo>
                  <a:lnTo>
                    <a:pt x="10533" y="12179"/>
                  </a:lnTo>
                  <a:lnTo>
                    <a:pt x="10464" y="12186"/>
                  </a:lnTo>
                  <a:lnTo>
                    <a:pt x="10394" y="12191"/>
                  </a:lnTo>
                  <a:lnTo>
                    <a:pt x="10325" y="12195"/>
                  </a:lnTo>
                  <a:lnTo>
                    <a:pt x="10255" y="12198"/>
                  </a:lnTo>
                  <a:lnTo>
                    <a:pt x="10185" y="12200"/>
                  </a:lnTo>
                  <a:lnTo>
                    <a:pt x="10115" y="12200"/>
                  </a:lnTo>
                  <a:lnTo>
                    <a:pt x="10061" y="12200"/>
                  </a:lnTo>
                  <a:lnTo>
                    <a:pt x="10006" y="12199"/>
                  </a:lnTo>
                  <a:lnTo>
                    <a:pt x="9951" y="12197"/>
                  </a:lnTo>
                  <a:lnTo>
                    <a:pt x="9897" y="12195"/>
                  </a:lnTo>
                  <a:lnTo>
                    <a:pt x="9844" y="12193"/>
                  </a:lnTo>
                  <a:lnTo>
                    <a:pt x="9790" y="12189"/>
                  </a:lnTo>
                  <a:lnTo>
                    <a:pt x="9737" y="12185"/>
                  </a:lnTo>
                  <a:lnTo>
                    <a:pt x="9685" y="12180"/>
                  </a:lnTo>
                  <a:lnTo>
                    <a:pt x="9633" y="12175"/>
                  </a:lnTo>
                  <a:lnTo>
                    <a:pt x="9581" y="12169"/>
                  </a:lnTo>
                  <a:lnTo>
                    <a:pt x="9531" y="12162"/>
                  </a:lnTo>
                  <a:lnTo>
                    <a:pt x="9480" y="12155"/>
                  </a:lnTo>
                  <a:lnTo>
                    <a:pt x="9429" y="12147"/>
                  </a:lnTo>
                  <a:lnTo>
                    <a:pt x="9380" y="12139"/>
                  </a:lnTo>
                  <a:lnTo>
                    <a:pt x="9330" y="12130"/>
                  </a:lnTo>
                  <a:lnTo>
                    <a:pt x="9280" y="12121"/>
                  </a:lnTo>
                  <a:lnTo>
                    <a:pt x="9232" y="12111"/>
                  </a:lnTo>
                  <a:lnTo>
                    <a:pt x="9184" y="12100"/>
                  </a:lnTo>
                  <a:lnTo>
                    <a:pt x="9135" y="12089"/>
                  </a:lnTo>
                  <a:lnTo>
                    <a:pt x="9089" y="12076"/>
                  </a:lnTo>
                  <a:lnTo>
                    <a:pt x="9041" y="12063"/>
                  </a:lnTo>
                  <a:lnTo>
                    <a:pt x="8995" y="12050"/>
                  </a:lnTo>
                  <a:lnTo>
                    <a:pt x="8949" y="12037"/>
                  </a:lnTo>
                  <a:lnTo>
                    <a:pt x="8903" y="12022"/>
                  </a:lnTo>
                  <a:lnTo>
                    <a:pt x="8858" y="12008"/>
                  </a:lnTo>
                  <a:lnTo>
                    <a:pt x="8813" y="11991"/>
                  </a:lnTo>
                  <a:lnTo>
                    <a:pt x="8769" y="11975"/>
                  </a:lnTo>
                  <a:lnTo>
                    <a:pt x="8724" y="11959"/>
                  </a:lnTo>
                  <a:lnTo>
                    <a:pt x="8681" y="11941"/>
                  </a:lnTo>
                  <a:lnTo>
                    <a:pt x="8638" y="11924"/>
                  </a:lnTo>
                  <a:lnTo>
                    <a:pt x="8594" y="11904"/>
                  </a:lnTo>
                  <a:lnTo>
                    <a:pt x="8553" y="11885"/>
                  </a:lnTo>
                  <a:lnTo>
                    <a:pt x="8498" y="11860"/>
                  </a:lnTo>
                  <a:lnTo>
                    <a:pt x="8446" y="11833"/>
                  </a:lnTo>
                  <a:lnTo>
                    <a:pt x="8396" y="11806"/>
                  </a:lnTo>
                  <a:lnTo>
                    <a:pt x="8347" y="11778"/>
                  </a:lnTo>
                  <a:lnTo>
                    <a:pt x="8300" y="11749"/>
                  </a:lnTo>
                  <a:lnTo>
                    <a:pt x="8255" y="11720"/>
                  </a:lnTo>
                  <a:lnTo>
                    <a:pt x="8210" y="11690"/>
                  </a:lnTo>
                  <a:lnTo>
                    <a:pt x="8169" y="11658"/>
                  </a:lnTo>
                  <a:lnTo>
                    <a:pt x="8128" y="11627"/>
                  </a:lnTo>
                  <a:lnTo>
                    <a:pt x="8090" y="11595"/>
                  </a:lnTo>
                  <a:lnTo>
                    <a:pt x="8053" y="11562"/>
                  </a:lnTo>
                  <a:lnTo>
                    <a:pt x="8018" y="11529"/>
                  </a:lnTo>
                  <a:lnTo>
                    <a:pt x="7984" y="11494"/>
                  </a:lnTo>
                  <a:lnTo>
                    <a:pt x="7952" y="11459"/>
                  </a:lnTo>
                  <a:lnTo>
                    <a:pt x="7923" y="11423"/>
                  </a:lnTo>
                  <a:lnTo>
                    <a:pt x="7894" y="11387"/>
                  </a:lnTo>
                  <a:lnTo>
                    <a:pt x="7867" y="11349"/>
                  </a:lnTo>
                  <a:lnTo>
                    <a:pt x="7843" y="11312"/>
                  </a:lnTo>
                  <a:lnTo>
                    <a:pt x="7819" y="11272"/>
                  </a:lnTo>
                  <a:lnTo>
                    <a:pt x="7797" y="11233"/>
                  </a:lnTo>
                  <a:lnTo>
                    <a:pt x="7778" y="11194"/>
                  </a:lnTo>
                  <a:lnTo>
                    <a:pt x="7760" y="11152"/>
                  </a:lnTo>
                  <a:lnTo>
                    <a:pt x="7743" y="11110"/>
                  </a:lnTo>
                  <a:lnTo>
                    <a:pt x="7728" y="11068"/>
                  </a:lnTo>
                  <a:lnTo>
                    <a:pt x="7716" y="11025"/>
                  </a:lnTo>
                  <a:lnTo>
                    <a:pt x="7704" y="10982"/>
                  </a:lnTo>
                  <a:lnTo>
                    <a:pt x="7695" y="10937"/>
                  </a:lnTo>
                  <a:lnTo>
                    <a:pt x="7687" y="10892"/>
                  </a:lnTo>
                  <a:lnTo>
                    <a:pt x="7680" y="10846"/>
                  </a:lnTo>
                  <a:lnTo>
                    <a:pt x="7676" y="10800"/>
                  </a:lnTo>
                  <a:lnTo>
                    <a:pt x="7674" y="10752"/>
                  </a:lnTo>
                  <a:lnTo>
                    <a:pt x="7673" y="10703"/>
                  </a:lnTo>
                  <a:lnTo>
                    <a:pt x="7674" y="10644"/>
                  </a:lnTo>
                  <a:lnTo>
                    <a:pt x="7678" y="10584"/>
                  </a:lnTo>
                  <a:lnTo>
                    <a:pt x="7685" y="10525"/>
                  </a:lnTo>
                  <a:lnTo>
                    <a:pt x="7694" y="10468"/>
                  </a:lnTo>
                  <a:lnTo>
                    <a:pt x="7706" y="10410"/>
                  </a:lnTo>
                  <a:lnTo>
                    <a:pt x="7720" y="10353"/>
                  </a:lnTo>
                  <a:lnTo>
                    <a:pt x="7736" y="10297"/>
                  </a:lnTo>
                  <a:lnTo>
                    <a:pt x="7755" y="10243"/>
                  </a:lnTo>
                  <a:lnTo>
                    <a:pt x="7778" y="10188"/>
                  </a:lnTo>
                  <a:lnTo>
                    <a:pt x="7802" y="10134"/>
                  </a:lnTo>
                  <a:lnTo>
                    <a:pt x="7829" y="10081"/>
                  </a:lnTo>
                  <a:lnTo>
                    <a:pt x="7859" y="10029"/>
                  </a:lnTo>
                  <a:lnTo>
                    <a:pt x="7891" y="9978"/>
                  </a:lnTo>
                  <a:lnTo>
                    <a:pt x="7926" y="9926"/>
                  </a:lnTo>
                  <a:lnTo>
                    <a:pt x="7963" y="9876"/>
                  </a:lnTo>
                  <a:lnTo>
                    <a:pt x="8004" y="9827"/>
                  </a:lnTo>
                  <a:lnTo>
                    <a:pt x="8046" y="9777"/>
                  </a:lnTo>
                  <a:lnTo>
                    <a:pt x="8091" y="9729"/>
                  </a:lnTo>
                  <a:lnTo>
                    <a:pt x="8138" y="9682"/>
                  </a:lnTo>
                  <a:lnTo>
                    <a:pt x="8189" y="9635"/>
                  </a:lnTo>
                  <a:lnTo>
                    <a:pt x="8242" y="9589"/>
                  </a:lnTo>
                  <a:lnTo>
                    <a:pt x="8297" y="9544"/>
                  </a:lnTo>
                  <a:lnTo>
                    <a:pt x="8354" y="9500"/>
                  </a:lnTo>
                  <a:lnTo>
                    <a:pt x="8415" y="9455"/>
                  </a:lnTo>
                  <a:lnTo>
                    <a:pt x="8478" y="9413"/>
                  </a:lnTo>
                  <a:lnTo>
                    <a:pt x="8544" y="9370"/>
                  </a:lnTo>
                  <a:lnTo>
                    <a:pt x="8612" y="9328"/>
                  </a:lnTo>
                  <a:lnTo>
                    <a:pt x="8683" y="9287"/>
                  </a:lnTo>
                  <a:lnTo>
                    <a:pt x="8756" y="9246"/>
                  </a:lnTo>
                  <a:lnTo>
                    <a:pt x="8832" y="9207"/>
                  </a:lnTo>
                  <a:lnTo>
                    <a:pt x="8910" y="9169"/>
                  </a:lnTo>
                  <a:lnTo>
                    <a:pt x="8991" y="9130"/>
                  </a:lnTo>
                  <a:lnTo>
                    <a:pt x="9056" y="9100"/>
                  </a:lnTo>
                  <a:lnTo>
                    <a:pt x="9123" y="9070"/>
                  </a:lnTo>
                  <a:lnTo>
                    <a:pt x="9189" y="9042"/>
                  </a:lnTo>
                  <a:lnTo>
                    <a:pt x="9256" y="9014"/>
                  </a:lnTo>
                  <a:lnTo>
                    <a:pt x="9322" y="8987"/>
                  </a:lnTo>
                  <a:lnTo>
                    <a:pt x="9389" y="8962"/>
                  </a:lnTo>
                  <a:lnTo>
                    <a:pt x="9456" y="8938"/>
                  </a:lnTo>
                  <a:lnTo>
                    <a:pt x="9522" y="8913"/>
                  </a:lnTo>
                  <a:lnTo>
                    <a:pt x="9588" y="8891"/>
                  </a:lnTo>
                  <a:lnTo>
                    <a:pt x="9655" y="8869"/>
                  </a:lnTo>
                  <a:lnTo>
                    <a:pt x="9722" y="8849"/>
                  </a:lnTo>
                  <a:lnTo>
                    <a:pt x="9789" y="8828"/>
                  </a:lnTo>
                  <a:lnTo>
                    <a:pt x="9856" y="8810"/>
                  </a:lnTo>
                  <a:lnTo>
                    <a:pt x="9923" y="8792"/>
                  </a:lnTo>
                  <a:lnTo>
                    <a:pt x="9990" y="8775"/>
                  </a:lnTo>
                  <a:lnTo>
                    <a:pt x="10056" y="8758"/>
                  </a:lnTo>
                  <a:lnTo>
                    <a:pt x="10124" y="8744"/>
                  </a:lnTo>
                  <a:lnTo>
                    <a:pt x="10191" y="8730"/>
                  </a:lnTo>
                  <a:lnTo>
                    <a:pt x="10258" y="8717"/>
                  </a:lnTo>
                  <a:lnTo>
                    <a:pt x="10326" y="8705"/>
                  </a:lnTo>
                  <a:lnTo>
                    <a:pt x="10394" y="8694"/>
                  </a:lnTo>
                  <a:lnTo>
                    <a:pt x="10461" y="8684"/>
                  </a:lnTo>
                  <a:lnTo>
                    <a:pt x="10529" y="8674"/>
                  </a:lnTo>
                  <a:lnTo>
                    <a:pt x="10597" y="8666"/>
                  </a:lnTo>
                  <a:lnTo>
                    <a:pt x="10664" y="8659"/>
                  </a:lnTo>
                  <a:lnTo>
                    <a:pt x="10732" y="8652"/>
                  </a:lnTo>
                  <a:lnTo>
                    <a:pt x="10800" y="8647"/>
                  </a:lnTo>
                  <a:lnTo>
                    <a:pt x="10868" y="8643"/>
                  </a:lnTo>
                  <a:lnTo>
                    <a:pt x="10936" y="8639"/>
                  </a:lnTo>
                  <a:lnTo>
                    <a:pt x="11004" y="8637"/>
                  </a:lnTo>
                  <a:lnTo>
                    <a:pt x="11073" y="8636"/>
                  </a:lnTo>
                  <a:lnTo>
                    <a:pt x="11141" y="8635"/>
                  </a:lnTo>
                  <a:lnTo>
                    <a:pt x="11237" y="8636"/>
                  </a:lnTo>
                  <a:lnTo>
                    <a:pt x="11332" y="8639"/>
                  </a:lnTo>
                  <a:lnTo>
                    <a:pt x="11426" y="8644"/>
                  </a:lnTo>
                  <a:lnTo>
                    <a:pt x="11519" y="8650"/>
                  </a:lnTo>
                  <a:lnTo>
                    <a:pt x="11564" y="8654"/>
                  </a:lnTo>
                  <a:lnTo>
                    <a:pt x="11609" y="8658"/>
                  </a:lnTo>
                  <a:lnTo>
                    <a:pt x="11653" y="8663"/>
                  </a:lnTo>
                  <a:lnTo>
                    <a:pt x="11698" y="8669"/>
                  </a:lnTo>
                  <a:lnTo>
                    <a:pt x="11786" y="8682"/>
                  </a:lnTo>
                  <a:lnTo>
                    <a:pt x="11872" y="8695"/>
                  </a:lnTo>
                  <a:lnTo>
                    <a:pt x="11915" y="8703"/>
                  </a:lnTo>
                  <a:lnTo>
                    <a:pt x="11957" y="8711"/>
                  </a:lnTo>
                  <a:lnTo>
                    <a:pt x="11999" y="8720"/>
                  </a:lnTo>
                  <a:lnTo>
                    <a:pt x="12041" y="8729"/>
                  </a:lnTo>
                  <a:lnTo>
                    <a:pt x="12082" y="8738"/>
                  </a:lnTo>
                  <a:lnTo>
                    <a:pt x="12122" y="8748"/>
                  </a:lnTo>
                  <a:lnTo>
                    <a:pt x="12163" y="8758"/>
                  </a:lnTo>
                  <a:lnTo>
                    <a:pt x="12204" y="8770"/>
                  </a:lnTo>
                  <a:lnTo>
                    <a:pt x="12243" y="8781"/>
                  </a:lnTo>
                  <a:lnTo>
                    <a:pt x="12283" y="8793"/>
                  </a:lnTo>
                  <a:lnTo>
                    <a:pt x="12322" y="8805"/>
                  </a:lnTo>
                  <a:lnTo>
                    <a:pt x="12361" y="8817"/>
                  </a:lnTo>
                  <a:lnTo>
                    <a:pt x="12399" y="8830"/>
                  </a:lnTo>
                  <a:lnTo>
                    <a:pt x="12437" y="8845"/>
                  </a:lnTo>
                  <a:lnTo>
                    <a:pt x="12474" y="8859"/>
                  </a:lnTo>
                  <a:lnTo>
                    <a:pt x="12512" y="8873"/>
                  </a:lnTo>
                  <a:lnTo>
                    <a:pt x="12512" y="3835"/>
                  </a:lnTo>
                  <a:lnTo>
                    <a:pt x="5784" y="6812"/>
                  </a:lnTo>
                  <a:lnTo>
                    <a:pt x="5784" y="13773"/>
                  </a:lnTo>
                  <a:lnTo>
                    <a:pt x="5783" y="13837"/>
                  </a:lnTo>
                  <a:lnTo>
                    <a:pt x="5779" y="13899"/>
                  </a:lnTo>
                  <a:lnTo>
                    <a:pt x="5774" y="13961"/>
                  </a:lnTo>
                  <a:lnTo>
                    <a:pt x="5764" y="14022"/>
                  </a:lnTo>
                  <a:lnTo>
                    <a:pt x="5754" y="14083"/>
                  </a:lnTo>
                  <a:lnTo>
                    <a:pt x="5741" y="14144"/>
                  </a:lnTo>
                  <a:lnTo>
                    <a:pt x="5726" y="14204"/>
                  </a:lnTo>
                  <a:lnTo>
                    <a:pt x="5709" y="14262"/>
                  </a:lnTo>
                  <a:lnTo>
                    <a:pt x="5688" y="14321"/>
                  </a:lnTo>
                  <a:lnTo>
                    <a:pt x="5666" y="14379"/>
                  </a:lnTo>
                  <a:lnTo>
                    <a:pt x="5642" y="14437"/>
                  </a:lnTo>
                  <a:lnTo>
                    <a:pt x="5615" y="14493"/>
                  </a:lnTo>
                  <a:lnTo>
                    <a:pt x="5586" y="14550"/>
                  </a:lnTo>
                  <a:lnTo>
                    <a:pt x="5554" y="14606"/>
                  </a:lnTo>
                  <a:lnTo>
                    <a:pt x="5520" y="14660"/>
                  </a:lnTo>
                  <a:lnTo>
                    <a:pt x="5484" y="14715"/>
                  </a:lnTo>
                  <a:lnTo>
                    <a:pt x="5445" y="14770"/>
                  </a:lnTo>
                  <a:lnTo>
                    <a:pt x="5404" y="14823"/>
                  </a:lnTo>
                  <a:lnTo>
                    <a:pt x="5360" y="14876"/>
                  </a:lnTo>
                  <a:lnTo>
                    <a:pt x="5315" y="14929"/>
                  </a:lnTo>
                  <a:lnTo>
                    <a:pt x="5267" y="14980"/>
                  </a:lnTo>
                  <a:lnTo>
                    <a:pt x="5216" y="15032"/>
                  </a:lnTo>
                  <a:lnTo>
                    <a:pt x="5164" y="15083"/>
                  </a:lnTo>
                  <a:lnTo>
                    <a:pt x="5108" y="15133"/>
                  </a:lnTo>
                  <a:lnTo>
                    <a:pt x="5050" y="15183"/>
                  </a:lnTo>
                  <a:lnTo>
                    <a:pt x="4990" y="15232"/>
                  </a:lnTo>
                  <a:lnTo>
                    <a:pt x="4929" y="15281"/>
                  </a:lnTo>
                  <a:lnTo>
                    <a:pt x="4864" y="15329"/>
                  </a:lnTo>
                  <a:lnTo>
                    <a:pt x="4797" y="15376"/>
                  </a:lnTo>
                  <a:lnTo>
                    <a:pt x="4728" y="15424"/>
                  </a:lnTo>
                  <a:lnTo>
                    <a:pt x="4656" y="15470"/>
                  </a:lnTo>
                  <a:lnTo>
                    <a:pt x="4582" y="15516"/>
                  </a:lnTo>
                  <a:lnTo>
                    <a:pt x="4515" y="15555"/>
                  </a:lnTo>
                  <a:lnTo>
                    <a:pt x="4449" y="15593"/>
                  </a:lnTo>
                  <a:lnTo>
                    <a:pt x="4382" y="15630"/>
                  </a:lnTo>
                  <a:lnTo>
                    <a:pt x="4317" y="15666"/>
                  </a:lnTo>
                  <a:lnTo>
                    <a:pt x="4250" y="15700"/>
                  </a:lnTo>
                  <a:lnTo>
                    <a:pt x="4184" y="15734"/>
                  </a:lnTo>
                  <a:lnTo>
                    <a:pt x="4117" y="15765"/>
                  </a:lnTo>
                  <a:lnTo>
                    <a:pt x="4050" y="15795"/>
                  </a:lnTo>
                  <a:lnTo>
                    <a:pt x="3983" y="15826"/>
                  </a:lnTo>
                  <a:lnTo>
                    <a:pt x="3916" y="15853"/>
                  </a:lnTo>
                  <a:lnTo>
                    <a:pt x="3849" y="15880"/>
                  </a:lnTo>
                  <a:lnTo>
                    <a:pt x="3783" y="15906"/>
                  </a:lnTo>
                  <a:lnTo>
                    <a:pt x="3716" y="15930"/>
                  </a:lnTo>
                  <a:lnTo>
                    <a:pt x="3649" y="15953"/>
                  </a:lnTo>
                  <a:lnTo>
                    <a:pt x="3582" y="15976"/>
                  </a:lnTo>
                  <a:lnTo>
                    <a:pt x="3515" y="15996"/>
                  </a:lnTo>
                  <a:lnTo>
                    <a:pt x="3448" y="16015"/>
                  </a:lnTo>
                  <a:lnTo>
                    <a:pt x="3380" y="16033"/>
                  </a:lnTo>
                  <a:lnTo>
                    <a:pt x="3313" y="16050"/>
                  </a:lnTo>
                  <a:lnTo>
                    <a:pt x="3246" y="16067"/>
                  </a:lnTo>
                  <a:lnTo>
                    <a:pt x="3179" y="16081"/>
                  </a:lnTo>
                  <a:lnTo>
                    <a:pt x="3111" y="16094"/>
                  </a:lnTo>
                  <a:lnTo>
                    <a:pt x="3043" y="16106"/>
                  </a:lnTo>
                  <a:lnTo>
                    <a:pt x="2976" y="16116"/>
                  </a:lnTo>
                  <a:lnTo>
                    <a:pt x="2908" y="16126"/>
                  </a:lnTo>
                  <a:lnTo>
                    <a:pt x="2840" y="16135"/>
                  </a:lnTo>
                  <a:lnTo>
                    <a:pt x="2772" y="16141"/>
                  </a:lnTo>
                  <a:lnTo>
                    <a:pt x="2704" y="16147"/>
                  </a:lnTo>
                  <a:lnTo>
                    <a:pt x="2636" y="16151"/>
                  </a:lnTo>
                  <a:lnTo>
                    <a:pt x="2568" y="16154"/>
                  </a:lnTo>
                  <a:lnTo>
                    <a:pt x="2500" y="16156"/>
                  </a:lnTo>
                  <a:lnTo>
                    <a:pt x="2431" y="16157"/>
                  </a:lnTo>
                  <a:lnTo>
                    <a:pt x="2376" y="16157"/>
                  </a:lnTo>
                  <a:lnTo>
                    <a:pt x="2323" y="16156"/>
                  </a:lnTo>
                  <a:lnTo>
                    <a:pt x="2269" y="16154"/>
                  </a:lnTo>
                  <a:lnTo>
                    <a:pt x="2215" y="16152"/>
                  </a:lnTo>
                  <a:lnTo>
                    <a:pt x="2162" y="16150"/>
                  </a:lnTo>
                  <a:lnTo>
                    <a:pt x="2110" y="16146"/>
                  </a:lnTo>
                  <a:lnTo>
                    <a:pt x="2057" y="16142"/>
                  </a:lnTo>
                  <a:lnTo>
                    <a:pt x="2005" y="16138"/>
                  </a:lnTo>
                  <a:lnTo>
                    <a:pt x="1954" y="16132"/>
                  </a:lnTo>
                  <a:lnTo>
                    <a:pt x="1903" y="16126"/>
                  </a:lnTo>
                  <a:lnTo>
                    <a:pt x="1852" y="16120"/>
                  </a:lnTo>
                  <a:lnTo>
                    <a:pt x="1802" y="16113"/>
                  </a:lnTo>
                  <a:lnTo>
                    <a:pt x="1752" y="16105"/>
                  </a:lnTo>
                  <a:lnTo>
                    <a:pt x="1702" y="16097"/>
                  </a:lnTo>
                  <a:lnTo>
                    <a:pt x="1654" y="16088"/>
                  </a:lnTo>
                  <a:lnTo>
                    <a:pt x="1605" y="16079"/>
                  </a:lnTo>
                  <a:lnTo>
                    <a:pt x="1557" y="16069"/>
                  </a:lnTo>
                  <a:lnTo>
                    <a:pt x="1509" y="16058"/>
                  </a:lnTo>
                  <a:lnTo>
                    <a:pt x="1461" y="16046"/>
                  </a:lnTo>
                  <a:lnTo>
                    <a:pt x="1414" y="16034"/>
                  </a:lnTo>
                  <a:lnTo>
                    <a:pt x="1367" y="16022"/>
                  </a:lnTo>
                  <a:lnTo>
                    <a:pt x="1321" y="16009"/>
                  </a:lnTo>
                  <a:lnTo>
                    <a:pt x="1275" y="15995"/>
                  </a:lnTo>
                  <a:lnTo>
                    <a:pt x="1229" y="15981"/>
                  </a:lnTo>
                  <a:lnTo>
                    <a:pt x="1185" y="15965"/>
                  </a:lnTo>
                  <a:lnTo>
                    <a:pt x="1140" y="15949"/>
                  </a:lnTo>
                  <a:lnTo>
                    <a:pt x="1096" y="15933"/>
                  </a:lnTo>
                  <a:lnTo>
                    <a:pt x="1051" y="15916"/>
                  </a:lnTo>
                  <a:lnTo>
                    <a:pt x="1007" y="15899"/>
                  </a:lnTo>
                  <a:lnTo>
                    <a:pt x="965" y="15880"/>
                  </a:lnTo>
                  <a:lnTo>
                    <a:pt x="922" y="15861"/>
                  </a:lnTo>
                  <a:lnTo>
                    <a:pt x="880" y="15842"/>
                  </a:lnTo>
                  <a:lnTo>
                    <a:pt x="826" y="15818"/>
                  </a:lnTo>
                  <a:lnTo>
                    <a:pt x="773" y="15791"/>
                  </a:lnTo>
                  <a:lnTo>
                    <a:pt x="723" y="15765"/>
                  </a:lnTo>
                  <a:lnTo>
                    <a:pt x="674" y="15738"/>
                  </a:lnTo>
                  <a:lnTo>
                    <a:pt x="627" y="15710"/>
                  </a:lnTo>
                  <a:lnTo>
                    <a:pt x="582" y="15681"/>
                  </a:lnTo>
                  <a:lnTo>
                    <a:pt x="538" y="15652"/>
                  </a:lnTo>
                  <a:lnTo>
                    <a:pt x="496" y="15621"/>
                  </a:lnTo>
                  <a:lnTo>
                    <a:pt x="455" y="15590"/>
                  </a:lnTo>
                  <a:lnTo>
                    <a:pt x="417" y="15558"/>
                  </a:lnTo>
                  <a:lnTo>
                    <a:pt x="380" y="15526"/>
                  </a:lnTo>
                  <a:lnTo>
                    <a:pt x="345" y="15493"/>
                  </a:lnTo>
                  <a:lnTo>
                    <a:pt x="311" y="15458"/>
                  </a:lnTo>
                  <a:lnTo>
                    <a:pt x="280" y="15423"/>
                  </a:lnTo>
                  <a:lnTo>
                    <a:pt x="249" y="15387"/>
                  </a:lnTo>
                  <a:lnTo>
                    <a:pt x="221" y="15351"/>
                  </a:lnTo>
                  <a:lnTo>
                    <a:pt x="195" y="15313"/>
                  </a:lnTo>
                  <a:lnTo>
                    <a:pt x="169" y="15275"/>
                  </a:lnTo>
                  <a:lnTo>
                    <a:pt x="146" y="15236"/>
                  </a:lnTo>
                  <a:lnTo>
                    <a:pt x="125" y="15196"/>
                  </a:lnTo>
                  <a:lnTo>
                    <a:pt x="105" y="15156"/>
                  </a:lnTo>
                  <a:lnTo>
                    <a:pt x="86" y="15115"/>
                  </a:lnTo>
                  <a:lnTo>
                    <a:pt x="70" y="15072"/>
                  </a:lnTo>
                  <a:lnTo>
                    <a:pt x="56" y="15030"/>
                  </a:lnTo>
                  <a:lnTo>
                    <a:pt x="43" y="14986"/>
                  </a:lnTo>
                  <a:lnTo>
                    <a:pt x="32" y="14942"/>
                  </a:lnTo>
                  <a:lnTo>
                    <a:pt x="22" y="14897"/>
                  </a:lnTo>
                  <a:lnTo>
                    <a:pt x="14" y="14851"/>
                  </a:lnTo>
                  <a:lnTo>
                    <a:pt x="8" y="14804"/>
                  </a:lnTo>
                  <a:lnTo>
                    <a:pt x="3" y="14758"/>
                  </a:lnTo>
                  <a:lnTo>
                    <a:pt x="1" y="14709"/>
                  </a:lnTo>
                  <a:lnTo>
                    <a:pt x="0" y="14660"/>
                  </a:lnTo>
                  <a:lnTo>
                    <a:pt x="1" y="14601"/>
                  </a:lnTo>
                  <a:lnTo>
                    <a:pt x="5" y="14542"/>
                  </a:lnTo>
                  <a:lnTo>
                    <a:pt x="11" y="14484"/>
                  </a:lnTo>
                  <a:lnTo>
                    <a:pt x="20" y="14426"/>
                  </a:lnTo>
                  <a:lnTo>
                    <a:pt x="33" y="14370"/>
                  </a:lnTo>
                  <a:lnTo>
                    <a:pt x="46" y="14314"/>
                  </a:lnTo>
                  <a:lnTo>
                    <a:pt x="63" y="14258"/>
                  </a:lnTo>
                  <a:lnTo>
                    <a:pt x="82" y="14204"/>
                  </a:lnTo>
                  <a:lnTo>
                    <a:pt x="104" y="14150"/>
                  </a:lnTo>
                  <a:lnTo>
                    <a:pt x="128" y="14096"/>
                  </a:lnTo>
                  <a:lnTo>
                    <a:pt x="155" y="14044"/>
                  </a:lnTo>
                  <a:lnTo>
                    <a:pt x="185" y="13992"/>
                  </a:lnTo>
                  <a:lnTo>
                    <a:pt x="216" y="13940"/>
                  </a:lnTo>
                  <a:lnTo>
                    <a:pt x="250" y="13890"/>
                  </a:lnTo>
                  <a:lnTo>
                    <a:pt x="288" y="13839"/>
                  </a:lnTo>
                  <a:lnTo>
                    <a:pt x="327" y="13790"/>
                  </a:lnTo>
                  <a:lnTo>
                    <a:pt x="370" y="13741"/>
                  </a:lnTo>
                  <a:lnTo>
                    <a:pt x="415" y="13693"/>
                  </a:lnTo>
                  <a:lnTo>
                    <a:pt x="461" y="13646"/>
                  </a:lnTo>
                  <a:lnTo>
                    <a:pt x="511" y="13599"/>
                  </a:lnTo>
                  <a:lnTo>
                    <a:pt x="564" y="13553"/>
                  </a:lnTo>
                  <a:lnTo>
                    <a:pt x="618" y="13507"/>
                  </a:lnTo>
                  <a:lnTo>
                    <a:pt x="676" y="13463"/>
                  </a:lnTo>
                  <a:lnTo>
                    <a:pt x="736" y="13418"/>
                  </a:lnTo>
                  <a:lnTo>
                    <a:pt x="799" y="13374"/>
                  </a:lnTo>
                  <a:lnTo>
                    <a:pt x="863" y="13331"/>
                  </a:lnTo>
                  <a:lnTo>
                    <a:pt x="930" y="13289"/>
                  </a:lnTo>
                  <a:lnTo>
                    <a:pt x="1000" y="13247"/>
                  </a:lnTo>
                  <a:lnTo>
                    <a:pt x="1073" y="13206"/>
                  </a:lnTo>
                  <a:lnTo>
                    <a:pt x="1148" y="13166"/>
                  </a:lnTo>
                  <a:lnTo>
                    <a:pt x="1226" y="13126"/>
                  </a:lnTo>
                  <a:lnTo>
                    <a:pt x="1306" y="13087"/>
                  </a:lnTo>
                  <a:lnTo>
                    <a:pt x="1372" y="13057"/>
                  </a:lnTo>
                  <a:lnTo>
                    <a:pt x="1438" y="13027"/>
                  </a:lnTo>
                  <a:lnTo>
                    <a:pt x="1505" y="12998"/>
                  </a:lnTo>
                  <a:lnTo>
                    <a:pt x="1572" y="12970"/>
                  </a:lnTo>
                  <a:lnTo>
                    <a:pt x="1638" y="12944"/>
                  </a:lnTo>
                  <a:lnTo>
                    <a:pt x="1704" y="12919"/>
                  </a:lnTo>
                  <a:lnTo>
                    <a:pt x="1770" y="12894"/>
                  </a:lnTo>
                  <a:lnTo>
                    <a:pt x="1837" y="12870"/>
                  </a:lnTo>
                  <a:lnTo>
                    <a:pt x="1904" y="12848"/>
                  </a:lnTo>
                  <a:lnTo>
                    <a:pt x="1971" y="12826"/>
                  </a:lnTo>
                  <a:lnTo>
                    <a:pt x="2038" y="12805"/>
                  </a:lnTo>
                  <a:lnTo>
                    <a:pt x="2105" y="12785"/>
                  </a:lnTo>
                  <a:lnTo>
                    <a:pt x="2172" y="12766"/>
                  </a:lnTo>
                  <a:lnTo>
                    <a:pt x="2238" y="12749"/>
                  </a:lnTo>
                  <a:lnTo>
                    <a:pt x="2305" y="12732"/>
                  </a:lnTo>
                  <a:lnTo>
                    <a:pt x="2372" y="12715"/>
                  </a:lnTo>
                  <a:lnTo>
                    <a:pt x="2440" y="12700"/>
                  </a:lnTo>
                  <a:lnTo>
                    <a:pt x="2507" y="12687"/>
                  </a:lnTo>
                  <a:lnTo>
                    <a:pt x="2574" y="12674"/>
                  </a:lnTo>
                  <a:lnTo>
                    <a:pt x="2642" y="12662"/>
                  </a:lnTo>
                  <a:lnTo>
                    <a:pt x="2709" y="12651"/>
                  </a:lnTo>
                  <a:lnTo>
                    <a:pt x="2776" y="12640"/>
                  </a:lnTo>
                  <a:lnTo>
                    <a:pt x="2844" y="12631"/>
                  </a:lnTo>
                  <a:lnTo>
                    <a:pt x="2912" y="12622"/>
                  </a:lnTo>
                  <a:lnTo>
                    <a:pt x="2980" y="12615"/>
                  </a:lnTo>
                  <a:lnTo>
                    <a:pt x="3048" y="12609"/>
                  </a:lnTo>
                  <a:lnTo>
                    <a:pt x="3116" y="12604"/>
                  </a:lnTo>
                  <a:lnTo>
                    <a:pt x="3184" y="12599"/>
                  </a:lnTo>
                  <a:lnTo>
                    <a:pt x="3252" y="12596"/>
                  </a:lnTo>
                  <a:lnTo>
                    <a:pt x="3320" y="12594"/>
                  </a:lnTo>
                  <a:lnTo>
                    <a:pt x="3388" y="12592"/>
                  </a:lnTo>
                  <a:lnTo>
                    <a:pt x="3456" y="12592"/>
                  </a:lnTo>
                  <a:lnTo>
                    <a:pt x="3549" y="12593"/>
                  </a:lnTo>
                  <a:lnTo>
                    <a:pt x="3640" y="12595"/>
                  </a:lnTo>
                  <a:lnTo>
                    <a:pt x="3730" y="12600"/>
                  </a:lnTo>
                  <a:lnTo>
                    <a:pt x="3818" y="12606"/>
                  </a:lnTo>
                  <a:lnTo>
                    <a:pt x="3905" y="12614"/>
                  </a:lnTo>
                  <a:lnTo>
                    <a:pt x="3991" y="12624"/>
                  </a:lnTo>
                  <a:lnTo>
                    <a:pt x="4076" y="12635"/>
                  </a:lnTo>
                  <a:lnTo>
                    <a:pt x="4160" y="12648"/>
                  </a:lnTo>
                  <a:lnTo>
                    <a:pt x="4242" y="12664"/>
                  </a:lnTo>
                  <a:lnTo>
                    <a:pt x="4324" y="12681"/>
                  </a:lnTo>
                  <a:lnTo>
                    <a:pt x="4403" y="12699"/>
                  </a:lnTo>
                  <a:lnTo>
                    <a:pt x="4482" y="12719"/>
                  </a:lnTo>
                  <a:lnTo>
                    <a:pt x="4560" y="12742"/>
                  </a:lnTo>
                  <a:lnTo>
                    <a:pt x="4636" y="12765"/>
                  </a:lnTo>
                  <a:lnTo>
                    <a:pt x="4711" y="12791"/>
                  </a:lnTo>
                  <a:lnTo>
                    <a:pt x="4786" y="12818"/>
                  </a:lnTo>
                  <a:lnTo>
                    <a:pt x="4786" y="3846"/>
                  </a:lnTo>
                  <a:lnTo>
                    <a:pt x="13526" y="0"/>
                  </a:lnTo>
                  <a:lnTo>
                    <a:pt x="13526" y="9859"/>
                  </a:lnTo>
                </a:path>
              </a:pathLst>
            </a:custGeom>
            <a:grpFill/>
            <a:ln w="3175">
              <a:solidFill>
                <a:sysClr val="window" lastClr="FFFFFF"/>
              </a:solidFill>
              <a:prstDash val="solid"/>
              <a:round/>
              <a:headEnd/>
              <a:tailEnd/>
            </a:ln>
          </p:spPr>
          <p:txBody>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nvGrpSpPr>
          <p:cNvPr id="508" name="Group 507">
            <a:extLst>
              <a:ext uri="{FF2B5EF4-FFF2-40B4-BE49-F238E27FC236}">
                <a16:creationId xmlns:a16="http://schemas.microsoft.com/office/drawing/2014/main" id="{99D6BC98-023A-44D4-A22B-7DD291CB5750}"/>
              </a:ext>
            </a:extLst>
          </p:cNvPr>
          <p:cNvGrpSpPr/>
          <p:nvPr/>
        </p:nvGrpSpPr>
        <p:grpSpPr>
          <a:xfrm>
            <a:off x="7114947" y="3887682"/>
            <a:ext cx="612775" cy="612775"/>
            <a:chOff x="6423087" y="3032119"/>
            <a:chExt cx="612775" cy="612775"/>
          </a:xfrm>
          <a:solidFill>
            <a:srgbClr val="505050"/>
          </a:solidFill>
        </p:grpSpPr>
        <p:sp>
          <p:nvSpPr>
            <p:cNvPr id="509" name="Oval 508">
              <a:extLst>
                <a:ext uri="{FF2B5EF4-FFF2-40B4-BE49-F238E27FC236}">
                  <a16:creationId xmlns:a16="http://schemas.microsoft.com/office/drawing/2014/main" id="{8E1C828C-762B-4C01-B39A-A15FE6BBCE38}"/>
                </a:ext>
              </a:extLst>
            </p:cNvPr>
            <p:cNvSpPr/>
            <p:nvPr/>
          </p:nvSpPr>
          <p:spPr bwMode="ltGray">
            <a:xfrm>
              <a:off x="6423087" y="3032119"/>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510" name="Group 5">
              <a:extLst>
                <a:ext uri="{FF2B5EF4-FFF2-40B4-BE49-F238E27FC236}">
                  <a16:creationId xmlns:a16="http://schemas.microsoft.com/office/drawing/2014/main" id="{E70FABDF-DFE5-48CE-B7EA-E294E3809482}"/>
                </a:ext>
              </a:extLst>
            </p:cNvPr>
            <p:cNvGrpSpPr>
              <a:grpSpLocks noChangeAspect="1"/>
            </p:cNvGrpSpPr>
            <p:nvPr/>
          </p:nvGrpSpPr>
          <p:grpSpPr bwMode="auto">
            <a:xfrm rot="2354353">
              <a:off x="6670352" y="3087698"/>
              <a:ext cx="118243" cy="508614"/>
              <a:chOff x="1859" y="427"/>
              <a:chExt cx="566" cy="2762"/>
            </a:xfrm>
            <a:grpFill/>
          </p:grpSpPr>
          <p:sp>
            <p:nvSpPr>
              <p:cNvPr id="511" name="Freeform 13">
                <a:extLst>
                  <a:ext uri="{FF2B5EF4-FFF2-40B4-BE49-F238E27FC236}">
                    <a16:creationId xmlns:a16="http://schemas.microsoft.com/office/drawing/2014/main" id="{9FF53AA7-2C27-42B9-9388-F71C74978F03}"/>
                  </a:ext>
                </a:extLst>
              </p:cNvPr>
              <p:cNvSpPr>
                <a:spLocks/>
              </p:cNvSpPr>
              <p:nvPr/>
            </p:nvSpPr>
            <p:spPr bwMode="auto">
              <a:xfrm>
                <a:off x="1859" y="2389"/>
                <a:ext cx="404" cy="800"/>
              </a:xfrm>
              <a:custGeom>
                <a:avLst/>
                <a:gdLst>
                  <a:gd name="T0" fmla="*/ 210 w 404"/>
                  <a:gd name="T1" fmla="*/ 270 h 800"/>
                  <a:gd name="T2" fmla="*/ 220 w 404"/>
                  <a:gd name="T3" fmla="*/ 272 h 800"/>
                  <a:gd name="T4" fmla="*/ 236 w 404"/>
                  <a:gd name="T5" fmla="*/ 280 h 800"/>
                  <a:gd name="T6" fmla="*/ 248 w 404"/>
                  <a:gd name="T7" fmla="*/ 292 h 800"/>
                  <a:gd name="T8" fmla="*/ 256 w 404"/>
                  <a:gd name="T9" fmla="*/ 308 h 800"/>
                  <a:gd name="T10" fmla="*/ 256 w 404"/>
                  <a:gd name="T11" fmla="*/ 316 h 800"/>
                  <a:gd name="T12" fmla="*/ 252 w 404"/>
                  <a:gd name="T13" fmla="*/ 334 h 800"/>
                  <a:gd name="T14" fmla="*/ 240 w 404"/>
                  <a:gd name="T15" fmla="*/ 350 h 800"/>
                  <a:gd name="T16" fmla="*/ 224 w 404"/>
                  <a:gd name="T17" fmla="*/ 360 h 800"/>
                  <a:gd name="T18" fmla="*/ 202 w 404"/>
                  <a:gd name="T19" fmla="*/ 364 h 800"/>
                  <a:gd name="T20" fmla="*/ 192 w 404"/>
                  <a:gd name="T21" fmla="*/ 362 h 800"/>
                  <a:gd name="T22" fmla="*/ 172 w 404"/>
                  <a:gd name="T23" fmla="*/ 356 h 800"/>
                  <a:gd name="T24" fmla="*/ 156 w 404"/>
                  <a:gd name="T25" fmla="*/ 342 h 800"/>
                  <a:gd name="T26" fmla="*/ 148 w 404"/>
                  <a:gd name="T27" fmla="*/ 326 h 800"/>
                  <a:gd name="T28" fmla="*/ 148 w 404"/>
                  <a:gd name="T29" fmla="*/ 316 h 800"/>
                  <a:gd name="T30" fmla="*/ 150 w 404"/>
                  <a:gd name="T31" fmla="*/ 300 h 800"/>
                  <a:gd name="T32" fmla="*/ 160 w 404"/>
                  <a:gd name="T33" fmla="*/ 286 h 800"/>
                  <a:gd name="T34" fmla="*/ 174 w 404"/>
                  <a:gd name="T35" fmla="*/ 276 h 800"/>
                  <a:gd name="T36" fmla="*/ 192 w 404"/>
                  <a:gd name="T37" fmla="*/ 270 h 800"/>
                  <a:gd name="T38" fmla="*/ 54 w 404"/>
                  <a:gd name="T39" fmla="*/ 2 h 800"/>
                  <a:gd name="T40" fmla="*/ 0 w 404"/>
                  <a:gd name="T41" fmla="*/ 418 h 800"/>
                  <a:gd name="T42" fmla="*/ 34 w 404"/>
                  <a:gd name="T43" fmla="*/ 442 h 800"/>
                  <a:gd name="T44" fmla="*/ 66 w 404"/>
                  <a:gd name="T45" fmla="*/ 476 h 800"/>
                  <a:gd name="T46" fmla="*/ 94 w 404"/>
                  <a:gd name="T47" fmla="*/ 514 h 800"/>
                  <a:gd name="T48" fmla="*/ 118 w 404"/>
                  <a:gd name="T49" fmla="*/ 562 h 800"/>
                  <a:gd name="T50" fmla="*/ 138 w 404"/>
                  <a:gd name="T51" fmla="*/ 612 h 800"/>
                  <a:gd name="T52" fmla="*/ 154 w 404"/>
                  <a:gd name="T53" fmla="*/ 670 h 800"/>
                  <a:gd name="T54" fmla="*/ 162 w 404"/>
                  <a:gd name="T55" fmla="*/ 730 h 800"/>
                  <a:gd name="T56" fmla="*/ 166 w 404"/>
                  <a:gd name="T57" fmla="*/ 794 h 800"/>
                  <a:gd name="T58" fmla="*/ 166 w 404"/>
                  <a:gd name="T59" fmla="*/ 800 h 800"/>
                  <a:gd name="T60" fmla="*/ 244 w 404"/>
                  <a:gd name="T61" fmla="*/ 800 h 800"/>
                  <a:gd name="T62" fmla="*/ 244 w 404"/>
                  <a:gd name="T63" fmla="*/ 794 h 800"/>
                  <a:gd name="T64" fmla="*/ 246 w 404"/>
                  <a:gd name="T65" fmla="*/ 730 h 800"/>
                  <a:gd name="T66" fmla="*/ 254 w 404"/>
                  <a:gd name="T67" fmla="*/ 668 h 800"/>
                  <a:gd name="T68" fmla="*/ 268 w 404"/>
                  <a:gd name="T69" fmla="*/ 612 h 800"/>
                  <a:gd name="T70" fmla="*/ 288 w 404"/>
                  <a:gd name="T71" fmla="*/ 560 h 800"/>
                  <a:gd name="T72" fmla="*/ 312 w 404"/>
                  <a:gd name="T73" fmla="*/ 514 h 800"/>
                  <a:gd name="T74" fmla="*/ 340 w 404"/>
                  <a:gd name="T75" fmla="*/ 474 h 800"/>
                  <a:gd name="T76" fmla="*/ 370 w 404"/>
                  <a:gd name="T77" fmla="*/ 440 h 800"/>
                  <a:gd name="T78" fmla="*/ 404 w 404"/>
                  <a:gd name="T79" fmla="*/ 416 h 800"/>
                  <a:gd name="T80" fmla="*/ 208 w 404"/>
                  <a:gd name="T81" fmla="*/ 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04" h="800">
                    <a:moveTo>
                      <a:pt x="208" y="0"/>
                    </a:moveTo>
                    <a:lnTo>
                      <a:pt x="210" y="270"/>
                    </a:lnTo>
                    <a:lnTo>
                      <a:pt x="210" y="270"/>
                    </a:lnTo>
                    <a:lnTo>
                      <a:pt x="220" y="272"/>
                    </a:lnTo>
                    <a:lnTo>
                      <a:pt x="228" y="276"/>
                    </a:lnTo>
                    <a:lnTo>
                      <a:pt x="236" y="280"/>
                    </a:lnTo>
                    <a:lnTo>
                      <a:pt x="242" y="286"/>
                    </a:lnTo>
                    <a:lnTo>
                      <a:pt x="248" y="292"/>
                    </a:lnTo>
                    <a:lnTo>
                      <a:pt x="252" y="300"/>
                    </a:lnTo>
                    <a:lnTo>
                      <a:pt x="256" y="308"/>
                    </a:lnTo>
                    <a:lnTo>
                      <a:pt x="256" y="316"/>
                    </a:lnTo>
                    <a:lnTo>
                      <a:pt x="256" y="316"/>
                    </a:lnTo>
                    <a:lnTo>
                      <a:pt x="256" y="326"/>
                    </a:lnTo>
                    <a:lnTo>
                      <a:pt x="252" y="334"/>
                    </a:lnTo>
                    <a:lnTo>
                      <a:pt x="246" y="342"/>
                    </a:lnTo>
                    <a:lnTo>
                      <a:pt x="240" y="350"/>
                    </a:lnTo>
                    <a:lnTo>
                      <a:pt x="232" y="356"/>
                    </a:lnTo>
                    <a:lnTo>
                      <a:pt x="224" y="360"/>
                    </a:lnTo>
                    <a:lnTo>
                      <a:pt x="212" y="362"/>
                    </a:lnTo>
                    <a:lnTo>
                      <a:pt x="202" y="364"/>
                    </a:lnTo>
                    <a:lnTo>
                      <a:pt x="202" y="364"/>
                    </a:lnTo>
                    <a:lnTo>
                      <a:pt x="192" y="362"/>
                    </a:lnTo>
                    <a:lnTo>
                      <a:pt x="180" y="360"/>
                    </a:lnTo>
                    <a:lnTo>
                      <a:pt x="172" y="356"/>
                    </a:lnTo>
                    <a:lnTo>
                      <a:pt x="164" y="350"/>
                    </a:lnTo>
                    <a:lnTo>
                      <a:pt x="156" y="342"/>
                    </a:lnTo>
                    <a:lnTo>
                      <a:pt x="152" y="336"/>
                    </a:lnTo>
                    <a:lnTo>
                      <a:pt x="148" y="326"/>
                    </a:lnTo>
                    <a:lnTo>
                      <a:pt x="148" y="316"/>
                    </a:lnTo>
                    <a:lnTo>
                      <a:pt x="148" y="316"/>
                    </a:lnTo>
                    <a:lnTo>
                      <a:pt x="148" y="308"/>
                    </a:lnTo>
                    <a:lnTo>
                      <a:pt x="150" y="300"/>
                    </a:lnTo>
                    <a:lnTo>
                      <a:pt x="154" y="294"/>
                    </a:lnTo>
                    <a:lnTo>
                      <a:pt x="160" y="286"/>
                    </a:lnTo>
                    <a:lnTo>
                      <a:pt x="166" y="280"/>
                    </a:lnTo>
                    <a:lnTo>
                      <a:pt x="174" y="276"/>
                    </a:lnTo>
                    <a:lnTo>
                      <a:pt x="182" y="272"/>
                    </a:lnTo>
                    <a:lnTo>
                      <a:pt x="192" y="270"/>
                    </a:lnTo>
                    <a:lnTo>
                      <a:pt x="190" y="0"/>
                    </a:lnTo>
                    <a:lnTo>
                      <a:pt x="54" y="2"/>
                    </a:lnTo>
                    <a:lnTo>
                      <a:pt x="0" y="418"/>
                    </a:lnTo>
                    <a:lnTo>
                      <a:pt x="0" y="418"/>
                    </a:lnTo>
                    <a:lnTo>
                      <a:pt x="18" y="430"/>
                    </a:lnTo>
                    <a:lnTo>
                      <a:pt x="34" y="442"/>
                    </a:lnTo>
                    <a:lnTo>
                      <a:pt x="50" y="458"/>
                    </a:lnTo>
                    <a:lnTo>
                      <a:pt x="66" y="476"/>
                    </a:lnTo>
                    <a:lnTo>
                      <a:pt x="80" y="494"/>
                    </a:lnTo>
                    <a:lnTo>
                      <a:pt x="94" y="514"/>
                    </a:lnTo>
                    <a:lnTo>
                      <a:pt x="106" y="538"/>
                    </a:lnTo>
                    <a:lnTo>
                      <a:pt x="118" y="562"/>
                    </a:lnTo>
                    <a:lnTo>
                      <a:pt x="130" y="586"/>
                    </a:lnTo>
                    <a:lnTo>
                      <a:pt x="138" y="612"/>
                    </a:lnTo>
                    <a:lnTo>
                      <a:pt x="146" y="640"/>
                    </a:lnTo>
                    <a:lnTo>
                      <a:pt x="154" y="670"/>
                    </a:lnTo>
                    <a:lnTo>
                      <a:pt x="158" y="700"/>
                    </a:lnTo>
                    <a:lnTo>
                      <a:pt x="162" y="730"/>
                    </a:lnTo>
                    <a:lnTo>
                      <a:pt x="166" y="762"/>
                    </a:lnTo>
                    <a:lnTo>
                      <a:pt x="166" y="794"/>
                    </a:lnTo>
                    <a:lnTo>
                      <a:pt x="166" y="794"/>
                    </a:lnTo>
                    <a:lnTo>
                      <a:pt x="166" y="800"/>
                    </a:lnTo>
                    <a:lnTo>
                      <a:pt x="244" y="800"/>
                    </a:lnTo>
                    <a:lnTo>
                      <a:pt x="244" y="800"/>
                    </a:lnTo>
                    <a:lnTo>
                      <a:pt x="244" y="794"/>
                    </a:lnTo>
                    <a:lnTo>
                      <a:pt x="244" y="794"/>
                    </a:lnTo>
                    <a:lnTo>
                      <a:pt x="244" y="762"/>
                    </a:lnTo>
                    <a:lnTo>
                      <a:pt x="246" y="730"/>
                    </a:lnTo>
                    <a:lnTo>
                      <a:pt x="250" y="698"/>
                    </a:lnTo>
                    <a:lnTo>
                      <a:pt x="254" y="668"/>
                    </a:lnTo>
                    <a:lnTo>
                      <a:pt x="260" y="640"/>
                    </a:lnTo>
                    <a:lnTo>
                      <a:pt x="268" y="612"/>
                    </a:lnTo>
                    <a:lnTo>
                      <a:pt x="278" y="586"/>
                    </a:lnTo>
                    <a:lnTo>
                      <a:pt x="288" y="560"/>
                    </a:lnTo>
                    <a:lnTo>
                      <a:pt x="300" y="536"/>
                    </a:lnTo>
                    <a:lnTo>
                      <a:pt x="312" y="514"/>
                    </a:lnTo>
                    <a:lnTo>
                      <a:pt x="324" y="492"/>
                    </a:lnTo>
                    <a:lnTo>
                      <a:pt x="340" y="474"/>
                    </a:lnTo>
                    <a:lnTo>
                      <a:pt x="354" y="456"/>
                    </a:lnTo>
                    <a:lnTo>
                      <a:pt x="370" y="440"/>
                    </a:lnTo>
                    <a:lnTo>
                      <a:pt x="388" y="426"/>
                    </a:lnTo>
                    <a:lnTo>
                      <a:pt x="404" y="416"/>
                    </a:lnTo>
                    <a:lnTo>
                      <a:pt x="344" y="0"/>
                    </a:lnTo>
                    <a:lnTo>
                      <a:pt x="2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12" name="Freeform 14">
                <a:extLst>
                  <a:ext uri="{FF2B5EF4-FFF2-40B4-BE49-F238E27FC236}">
                    <a16:creationId xmlns:a16="http://schemas.microsoft.com/office/drawing/2014/main" id="{67B6D2A6-0A37-406E-9507-4C0DF9747F88}"/>
                  </a:ext>
                </a:extLst>
              </p:cNvPr>
              <p:cNvSpPr>
                <a:spLocks noEditPoints="1"/>
              </p:cNvSpPr>
              <p:nvPr/>
            </p:nvSpPr>
            <p:spPr bwMode="auto">
              <a:xfrm>
                <a:off x="1863" y="427"/>
                <a:ext cx="562" cy="1900"/>
              </a:xfrm>
              <a:custGeom>
                <a:avLst/>
                <a:gdLst>
                  <a:gd name="T0" fmla="*/ 554 w 562"/>
                  <a:gd name="T1" fmla="*/ 644 h 1900"/>
                  <a:gd name="T2" fmla="*/ 526 w 562"/>
                  <a:gd name="T3" fmla="*/ 618 h 1900"/>
                  <a:gd name="T4" fmla="*/ 518 w 562"/>
                  <a:gd name="T5" fmla="*/ 614 h 1900"/>
                  <a:gd name="T6" fmla="*/ 480 w 562"/>
                  <a:gd name="T7" fmla="*/ 610 h 1900"/>
                  <a:gd name="T8" fmla="*/ 450 w 562"/>
                  <a:gd name="T9" fmla="*/ 636 h 1900"/>
                  <a:gd name="T10" fmla="*/ 444 w 562"/>
                  <a:gd name="T11" fmla="*/ 666 h 1900"/>
                  <a:gd name="T12" fmla="*/ 458 w 562"/>
                  <a:gd name="T13" fmla="*/ 698 h 1900"/>
                  <a:gd name="T14" fmla="*/ 488 w 562"/>
                  <a:gd name="T15" fmla="*/ 714 h 1900"/>
                  <a:gd name="T16" fmla="*/ 478 w 562"/>
                  <a:gd name="T17" fmla="*/ 728 h 1900"/>
                  <a:gd name="T18" fmla="*/ 444 w 562"/>
                  <a:gd name="T19" fmla="*/ 744 h 1900"/>
                  <a:gd name="T20" fmla="*/ 416 w 562"/>
                  <a:gd name="T21" fmla="*/ 738 h 1900"/>
                  <a:gd name="T22" fmla="*/ 390 w 562"/>
                  <a:gd name="T23" fmla="*/ 708 h 1900"/>
                  <a:gd name="T24" fmla="*/ 392 w 562"/>
                  <a:gd name="T25" fmla="*/ 638 h 1900"/>
                  <a:gd name="T26" fmla="*/ 426 w 562"/>
                  <a:gd name="T27" fmla="*/ 546 h 1900"/>
                  <a:gd name="T28" fmla="*/ 488 w 562"/>
                  <a:gd name="T29" fmla="*/ 426 h 1900"/>
                  <a:gd name="T30" fmla="*/ 542 w 562"/>
                  <a:gd name="T31" fmla="*/ 314 h 1900"/>
                  <a:gd name="T32" fmla="*/ 548 w 562"/>
                  <a:gd name="T33" fmla="*/ 250 h 1900"/>
                  <a:gd name="T34" fmla="*/ 528 w 562"/>
                  <a:gd name="T35" fmla="*/ 192 h 1900"/>
                  <a:gd name="T36" fmla="*/ 480 w 562"/>
                  <a:gd name="T37" fmla="*/ 146 h 1900"/>
                  <a:gd name="T38" fmla="*/ 394 w 562"/>
                  <a:gd name="T39" fmla="*/ 118 h 1900"/>
                  <a:gd name="T40" fmla="*/ 328 w 562"/>
                  <a:gd name="T41" fmla="*/ 120 h 1900"/>
                  <a:gd name="T42" fmla="*/ 274 w 562"/>
                  <a:gd name="T43" fmla="*/ 138 h 1900"/>
                  <a:gd name="T44" fmla="*/ 230 w 562"/>
                  <a:gd name="T45" fmla="*/ 36 h 1900"/>
                  <a:gd name="T46" fmla="*/ 184 w 562"/>
                  <a:gd name="T47" fmla="*/ 0 h 1900"/>
                  <a:gd name="T48" fmla="*/ 154 w 562"/>
                  <a:gd name="T49" fmla="*/ 16 h 1900"/>
                  <a:gd name="T50" fmla="*/ 118 w 562"/>
                  <a:gd name="T51" fmla="*/ 76 h 1900"/>
                  <a:gd name="T52" fmla="*/ 64 w 562"/>
                  <a:gd name="T53" fmla="*/ 280 h 1900"/>
                  <a:gd name="T54" fmla="*/ 18 w 562"/>
                  <a:gd name="T55" fmla="*/ 642 h 1900"/>
                  <a:gd name="T56" fmla="*/ 0 w 562"/>
                  <a:gd name="T57" fmla="*/ 1100 h 1900"/>
                  <a:gd name="T58" fmla="*/ 2 w 562"/>
                  <a:gd name="T59" fmla="*/ 1596 h 1900"/>
                  <a:gd name="T60" fmla="*/ 28 w 562"/>
                  <a:gd name="T61" fmla="*/ 1900 h 1900"/>
                  <a:gd name="T62" fmla="*/ 382 w 562"/>
                  <a:gd name="T63" fmla="*/ 1744 h 1900"/>
                  <a:gd name="T64" fmla="*/ 384 w 562"/>
                  <a:gd name="T65" fmla="*/ 1222 h 1900"/>
                  <a:gd name="T66" fmla="*/ 376 w 562"/>
                  <a:gd name="T67" fmla="*/ 882 h 1900"/>
                  <a:gd name="T68" fmla="*/ 406 w 562"/>
                  <a:gd name="T69" fmla="*/ 800 h 1900"/>
                  <a:gd name="T70" fmla="*/ 448 w 562"/>
                  <a:gd name="T71" fmla="*/ 806 h 1900"/>
                  <a:gd name="T72" fmla="*/ 462 w 562"/>
                  <a:gd name="T73" fmla="*/ 804 h 1900"/>
                  <a:gd name="T74" fmla="*/ 516 w 562"/>
                  <a:gd name="T75" fmla="*/ 774 h 1900"/>
                  <a:gd name="T76" fmla="*/ 554 w 562"/>
                  <a:gd name="T77" fmla="*/ 718 h 1900"/>
                  <a:gd name="T78" fmla="*/ 562 w 562"/>
                  <a:gd name="T79" fmla="*/ 672 h 1900"/>
                  <a:gd name="T80" fmla="*/ 350 w 562"/>
                  <a:gd name="T81" fmla="*/ 570 h 1900"/>
                  <a:gd name="T82" fmla="*/ 308 w 562"/>
                  <a:gd name="T83" fmla="*/ 274 h 1900"/>
                  <a:gd name="T84" fmla="*/ 320 w 562"/>
                  <a:gd name="T85" fmla="*/ 184 h 1900"/>
                  <a:gd name="T86" fmla="*/ 370 w 562"/>
                  <a:gd name="T87" fmla="*/ 178 h 1900"/>
                  <a:gd name="T88" fmla="*/ 436 w 562"/>
                  <a:gd name="T89" fmla="*/ 190 h 1900"/>
                  <a:gd name="T90" fmla="*/ 470 w 562"/>
                  <a:gd name="T91" fmla="*/ 214 h 1900"/>
                  <a:gd name="T92" fmla="*/ 488 w 562"/>
                  <a:gd name="T93" fmla="*/ 256 h 1900"/>
                  <a:gd name="T94" fmla="*/ 484 w 562"/>
                  <a:gd name="T95" fmla="*/ 298 h 1900"/>
                  <a:gd name="T96" fmla="*/ 410 w 562"/>
                  <a:gd name="T97" fmla="*/ 442 h 1900"/>
                  <a:gd name="T98" fmla="*/ 356 w 562"/>
                  <a:gd name="T99" fmla="*/ 554 h 19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62" h="1900">
                    <a:moveTo>
                      <a:pt x="562" y="672"/>
                    </a:moveTo>
                    <a:lnTo>
                      <a:pt x="562" y="672"/>
                    </a:lnTo>
                    <a:lnTo>
                      <a:pt x="560" y="658"/>
                    </a:lnTo>
                    <a:lnTo>
                      <a:pt x="554" y="644"/>
                    </a:lnTo>
                    <a:lnTo>
                      <a:pt x="546" y="632"/>
                    </a:lnTo>
                    <a:lnTo>
                      <a:pt x="534" y="622"/>
                    </a:lnTo>
                    <a:lnTo>
                      <a:pt x="534" y="622"/>
                    </a:lnTo>
                    <a:lnTo>
                      <a:pt x="526" y="618"/>
                    </a:lnTo>
                    <a:lnTo>
                      <a:pt x="518" y="614"/>
                    </a:lnTo>
                    <a:lnTo>
                      <a:pt x="518" y="614"/>
                    </a:lnTo>
                    <a:lnTo>
                      <a:pt x="518" y="614"/>
                    </a:lnTo>
                    <a:lnTo>
                      <a:pt x="518" y="614"/>
                    </a:lnTo>
                    <a:lnTo>
                      <a:pt x="504" y="610"/>
                    </a:lnTo>
                    <a:lnTo>
                      <a:pt x="490" y="608"/>
                    </a:lnTo>
                    <a:lnTo>
                      <a:pt x="490" y="608"/>
                    </a:lnTo>
                    <a:lnTo>
                      <a:pt x="480" y="610"/>
                    </a:lnTo>
                    <a:lnTo>
                      <a:pt x="470" y="614"/>
                    </a:lnTo>
                    <a:lnTo>
                      <a:pt x="462" y="620"/>
                    </a:lnTo>
                    <a:lnTo>
                      <a:pt x="454" y="628"/>
                    </a:lnTo>
                    <a:lnTo>
                      <a:pt x="450" y="636"/>
                    </a:lnTo>
                    <a:lnTo>
                      <a:pt x="446" y="646"/>
                    </a:lnTo>
                    <a:lnTo>
                      <a:pt x="444" y="656"/>
                    </a:lnTo>
                    <a:lnTo>
                      <a:pt x="444" y="666"/>
                    </a:lnTo>
                    <a:lnTo>
                      <a:pt x="444" y="666"/>
                    </a:lnTo>
                    <a:lnTo>
                      <a:pt x="444" y="676"/>
                    </a:lnTo>
                    <a:lnTo>
                      <a:pt x="448" y="684"/>
                    </a:lnTo>
                    <a:lnTo>
                      <a:pt x="452" y="692"/>
                    </a:lnTo>
                    <a:lnTo>
                      <a:pt x="458" y="698"/>
                    </a:lnTo>
                    <a:lnTo>
                      <a:pt x="464" y="704"/>
                    </a:lnTo>
                    <a:lnTo>
                      <a:pt x="472" y="710"/>
                    </a:lnTo>
                    <a:lnTo>
                      <a:pt x="480" y="712"/>
                    </a:lnTo>
                    <a:lnTo>
                      <a:pt x="488" y="714"/>
                    </a:lnTo>
                    <a:lnTo>
                      <a:pt x="488" y="714"/>
                    </a:lnTo>
                    <a:lnTo>
                      <a:pt x="484" y="720"/>
                    </a:lnTo>
                    <a:lnTo>
                      <a:pt x="484" y="720"/>
                    </a:lnTo>
                    <a:lnTo>
                      <a:pt x="478" y="728"/>
                    </a:lnTo>
                    <a:lnTo>
                      <a:pt x="470" y="734"/>
                    </a:lnTo>
                    <a:lnTo>
                      <a:pt x="462" y="738"/>
                    </a:lnTo>
                    <a:lnTo>
                      <a:pt x="454" y="742"/>
                    </a:lnTo>
                    <a:lnTo>
                      <a:pt x="444" y="744"/>
                    </a:lnTo>
                    <a:lnTo>
                      <a:pt x="434" y="744"/>
                    </a:lnTo>
                    <a:lnTo>
                      <a:pt x="426" y="742"/>
                    </a:lnTo>
                    <a:lnTo>
                      <a:pt x="416" y="738"/>
                    </a:lnTo>
                    <a:lnTo>
                      <a:pt x="416" y="738"/>
                    </a:lnTo>
                    <a:lnTo>
                      <a:pt x="406" y="732"/>
                    </a:lnTo>
                    <a:lnTo>
                      <a:pt x="398" y="726"/>
                    </a:lnTo>
                    <a:lnTo>
                      <a:pt x="394" y="716"/>
                    </a:lnTo>
                    <a:lnTo>
                      <a:pt x="390" y="708"/>
                    </a:lnTo>
                    <a:lnTo>
                      <a:pt x="386" y="696"/>
                    </a:lnTo>
                    <a:lnTo>
                      <a:pt x="386" y="686"/>
                    </a:lnTo>
                    <a:lnTo>
                      <a:pt x="386" y="662"/>
                    </a:lnTo>
                    <a:lnTo>
                      <a:pt x="392" y="638"/>
                    </a:lnTo>
                    <a:lnTo>
                      <a:pt x="398" y="616"/>
                    </a:lnTo>
                    <a:lnTo>
                      <a:pt x="412" y="576"/>
                    </a:lnTo>
                    <a:lnTo>
                      <a:pt x="412" y="576"/>
                    </a:lnTo>
                    <a:lnTo>
                      <a:pt x="426" y="546"/>
                    </a:lnTo>
                    <a:lnTo>
                      <a:pt x="438" y="518"/>
                    </a:lnTo>
                    <a:lnTo>
                      <a:pt x="462" y="470"/>
                    </a:lnTo>
                    <a:lnTo>
                      <a:pt x="462" y="470"/>
                    </a:lnTo>
                    <a:lnTo>
                      <a:pt x="488" y="426"/>
                    </a:lnTo>
                    <a:lnTo>
                      <a:pt x="504" y="400"/>
                    </a:lnTo>
                    <a:lnTo>
                      <a:pt x="518" y="372"/>
                    </a:lnTo>
                    <a:lnTo>
                      <a:pt x="532" y="344"/>
                    </a:lnTo>
                    <a:lnTo>
                      <a:pt x="542" y="314"/>
                    </a:lnTo>
                    <a:lnTo>
                      <a:pt x="546" y="298"/>
                    </a:lnTo>
                    <a:lnTo>
                      <a:pt x="548" y="282"/>
                    </a:lnTo>
                    <a:lnTo>
                      <a:pt x="548" y="266"/>
                    </a:lnTo>
                    <a:lnTo>
                      <a:pt x="548" y="250"/>
                    </a:lnTo>
                    <a:lnTo>
                      <a:pt x="548" y="250"/>
                    </a:lnTo>
                    <a:lnTo>
                      <a:pt x="544" y="230"/>
                    </a:lnTo>
                    <a:lnTo>
                      <a:pt x="538" y="212"/>
                    </a:lnTo>
                    <a:lnTo>
                      <a:pt x="528" y="192"/>
                    </a:lnTo>
                    <a:lnTo>
                      <a:pt x="516" y="176"/>
                    </a:lnTo>
                    <a:lnTo>
                      <a:pt x="516" y="176"/>
                    </a:lnTo>
                    <a:lnTo>
                      <a:pt x="498" y="158"/>
                    </a:lnTo>
                    <a:lnTo>
                      <a:pt x="480" y="146"/>
                    </a:lnTo>
                    <a:lnTo>
                      <a:pt x="460" y="134"/>
                    </a:lnTo>
                    <a:lnTo>
                      <a:pt x="438" y="126"/>
                    </a:lnTo>
                    <a:lnTo>
                      <a:pt x="416" y="122"/>
                    </a:lnTo>
                    <a:lnTo>
                      <a:pt x="394" y="118"/>
                    </a:lnTo>
                    <a:lnTo>
                      <a:pt x="370" y="118"/>
                    </a:lnTo>
                    <a:lnTo>
                      <a:pt x="346" y="118"/>
                    </a:lnTo>
                    <a:lnTo>
                      <a:pt x="346" y="118"/>
                    </a:lnTo>
                    <a:lnTo>
                      <a:pt x="328" y="120"/>
                    </a:lnTo>
                    <a:lnTo>
                      <a:pt x="310" y="126"/>
                    </a:lnTo>
                    <a:lnTo>
                      <a:pt x="292" y="130"/>
                    </a:lnTo>
                    <a:lnTo>
                      <a:pt x="274" y="138"/>
                    </a:lnTo>
                    <a:lnTo>
                      <a:pt x="274" y="138"/>
                    </a:lnTo>
                    <a:lnTo>
                      <a:pt x="264" y="106"/>
                    </a:lnTo>
                    <a:lnTo>
                      <a:pt x="252" y="80"/>
                    </a:lnTo>
                    <a:lnTo>
                      <a:pt x="242" y="56"/>
                    </a:lnTo>
                    <a:lnTo>
                      <a:pt x="230" y="36"/>
                    </a:lnTo>
                    <a:lnTo>
                      <a:pt x="220" y="22"/>
                    </a:lnTo>
                    <a:lnTo>
                      <a:pt x="208" y="10"/>
                    </a:lnTo>
                    <a:lnTo>
                      <a:pt x="196" y="4"/>
                    </a:lnTo>
                    <a:lnTo>
                      <a:pt x="184" y="0"/>
                    </a:lnTo>
                    <a:lnTo>
                      <a:pt x="184" y="0"/>
                    </a:lnTo>
                    <a:lnTo>
                      <a:pt x="174" y="2"/>
                    </a:lnTo>
                    <a:lnTo>
                      <a:pt x="164" y="8"/>
                    </a:lnTo>
                    <a:lnTo>
                      <a:pt x="154" y="16"/>
                    </a:lnTo>
                    <a:lnTo>
                      <a:pt x="146" y="26"/>
                    </a:lnTo>
                    <a:lnTo>
                      <a:pt x="136" y="40"/>
                    </a:lnTo>
                    <a:lnTo>
                      <a:pt x="126" y="56"/>
                    </a:lnTo>
                    <a:lnTo>
                      <a:pt x="118" y="76"/>
                    </a:lnTo>
                    <a:lnTo>
                      <a:pt x="110" y="98"/>
                    </a:lnTo>
                    <a:lnTo>
                      <a:pt x="92" y="150"/>
                    </a:lnTo>
                    <a:lnTo>
                      <a:pt x="78" y="210"/>
                    </a:lnTo>
                    <a:lnTo>
                      <a:pt x="64" y="280"/>
                    </a:lnTo>
                    <a:lnTo>
                      <a:pt x="50" y="360"/>
                    </a:lnTo>
                    <a:lnTo>
                      <a:pt x="38" y="446"/>
                    </a:lnTo>
                    <a:lnTo>
                      <a:pt x="28" y="540"/>
                    </a:lnTo>
                    <a:lnTo>
                      <a:pt x="18" y="642"/>
                    </a:lnTo>
                    <a:lnTo>
                      <a:pt x="12" y="748"/>
                    </a:lnTo>
                    <a:lnTo>
                      <a:pt x="6" y="860"/>
                    </a:lnTo>
                    <a:lnTo>
                      <a:pt x="2" y="978"/>
                    </a:lnTo>
                    <a:lnTo>
                      <a:pt x="0" y="1100"/>
                    </a:lnTo>
                    <a:lnTo>
                      <a:pt x="0" y="1224"/>
                    </a:lnTo>
                    <a:lnTo>
                      <a:pt x="0" y="1224"/>
                    </a:lnTo>
                    <a:lnTo>
                      <a:pt x="0" y="1428"/>
                    </a:lnTo>
                    <a:lnTo>
                      <a:pt x="2" y="1596"/>
                    </a:lnTo>
                    <a:lnTo>
                      <a:pt x="6" y="1672"/>
                    </a:lnTo>
                    <a:lnTo>
                      <a:pt x="10" y="1746"/>
                    </a:lnTo>
                    <a:lnTo>
                      <a:pt x="18" y="1822"/>
                    </a:lnTo>
                    <a:lnTo>
                      <a:pt x="28" y="1900"/>
                    </a:lnTo>
                    <a:lnTo>
                      <a:pt x="366" y="1896"/>
                    </a:lnTo>
                    <a:lnTo>
                      <a:pt x="366" y="1896"/>
                    </a:lnTo>
                    <a:lnTo>
                      <a:pt x="376" y="1818"/>
                    </a:lnTo>
                    <a:lnTo>
                      <a:pt x="382" y="1744"/>
                    </a:lnTo>
                    <a:lnTo>
                      <a:pt x="386" y="1670"/>
                    </a:lnTo>
                    <a:lnTo>
                      <a:pt x="386" y="1594"/>
                    </a:lnTo>
                    <a:lnTo>
                      <a:pt x="386" y="1426"/>
                    </a:lnTo>
                    <a:lnTo>
                      <a:pt x="384" y="1222"/>
                    </a:lnTo>
                    <a:lnTo>
                      <a:pt x="384" y="1222"/>
                    </a:lnTo>
                    <a:lnTo>
                      <a:pt x="384" y="1104"/>
                    </a:lnTo>
                    <a:lnTo>
                      <a:pt x="380" y="992"/>
                    </a:lnTo>
                    <a:lnTo>
                      <a:pt x="376" y="882"/>
                    </a:lnTo>
                    <a:lnTo>
                      <a:pt x="368" y="776"/>
                    </a:lnTo>
                    <a:lnTo>
                      <a:pt x="368" y="776"/>
                    </a:lnTo>
                    <a:lnTo>
                      <a:pt x="386" y="790"/>
                    </a:lnTo>
                    <a:lnTo>
                      <a:pt x="406" y="800"/>
                    </a:lnTo>
                    <a:lnTo>
                      <a:pt x="416" y="804"/>
                    </a:lnTo>
                    <a:lnTo>
                      <a:pt x="426" y="806"/>
                    </a:lnTo>
                    <a:lnTo>
                      <a:pt x="436" y="806"/>
                    </a:lnTo>
                    <a:lnTo>
                      <a:pt x="448" y="806"/>
                    </a:lnTo>
                    <a:lnTo>
                      <a:pt x="448" y="806"/>
                    </a:lnTo>
                    <a:lnTo>
                      <a:pt x="448" y="806"/>
                    </a:lnTo>
                    <a:lnTo>
                      <a:pt x="448" y="806"/>
                    </a:lnTo>
                    <a:lnTo>
                      <a:pt x="462" y="804"/>
                    </a:lnTo>
                    <a:lnTo>
                      <a:pt x="474" y="800"/>
                    </a:lnTo>
                    <a:lnTo>
                      <a:pt x="486" y="796"/>
                    </a:lnTo>
                    <a:lnTo>
                      <a:pt x="496" y="790"/>
                    </a:lnTo>
                    <a:lnTo>
                      <a:pt x="516" y="774"/>
                    </a:lnTo>
                    <a:lnTo>
                      <a:pt x="532" y="758"/>
                    </a:lnTo>
                    <a:lnTo>
                      <a:pt x="532" y="758"/>
                    </a:lnTo>
                    <a:lnTo>
                      <a:pt x="544" y="738"/>
                    </a:lnTo>
                    <a:lnTo>
                      <a:pt x="554" y="718"/>
                    </a:lnTo>
                    <a:lnTo>
                      <a:pt x="558" y="706"/>
                    </a:lnTo>
                    <a:lnTo>
                      <a:pt x="560" y="696"/>
                    </a:lnTo>
                    <a:lnTo>
                      <a:pt x="562" y="684"/>
                    </a:lnTo>
                    <a:lnTo>
                      <a:pt x="562" y="672"/>
                    </a:lnTo>
                    <a:lnTo>
                      <a:pt x="562" y="672"/>
                    </a:lnTo>
                    <a:close/>
                    <a:moveTo>
                      <a:pt x="356" y="554"/>
                    </a:moveTo>
                    <a:lnTo>
                      <a:pt x="356" y="554"/>
                    </a:lnTo>
                    <a:lnTo>
                      <a:pt x="350" y="570"/>
                    </a:lnTo>
                    <a:lnTo>
                      <a:pt x="350" y="570"/>
                    </a:lnTo>
                    <a:lnTo>
                      <a:pt x="338" y="462"/>
                    </a:lnTo>
                    <a:lnTo>
                      <a:pt x="324" y="364"/>
                    </a:lnTo>
                    <a:lnTo>
                      <a:pt x="308" y="274"/>
                    </a:lnTo>
                    <a:lnTo>
                      <a:pt x="290" y="196"/>
                    </a:lnTo>
                    <a:lnTo>
                      <a:pt x="290" y="196"/>
                    </a:lnTo>
                    <a:lnTo>
                      <a:pt x="304" y="190"/>
                    </a:lnTo>
                    <a:lnTo>
                      <a:pt x="320" y="184"/>
                    </a:lnTo>
                    <a:lnTo>
                      <a:pt x="336" y="180"/>
                    </a:lnTo>
                    <a:lnTo>
                      <a:pt x="354" y="178"/>
                    </a:lnTo>
                    <a:lnTo>
                      <a:pt x="354" y="178"/>
                    </a:lnTo>
                    <a:lnTo>
                      <a:pt x="370" y="178"/>
                    </a:lnTo>
                    <a:lnTo>
                      <a:pt x="388" y="178"/>
                    </a:lnTo>
                    <a:lnTo>
                      <a:pt x="404" y="180"/>
                    </a:lnTo>
                    <a:lnTo>
                      <a:pt x="420" y="184"/>
                    </a:lnTo>
                    <a:lnTo>
                      <a:pt x="436" y="190"/>
                    </a:lnTo>
                    <a:lnTo>
                      <a:pt x="448" y="196"/>
                    </a:lnTo>
                    <a:lnTo>
                      <a:pt x="460" y="206"/>
                    </a:lnTo>
                    <a:lnTo>
                      <a:pt x="470" y="214"/>
                    </a:lnTo>
                    <a:lnTo>
                      <a:pt x="470" y="214"/>
                    </a:lnTo>
                    <a:lnTo>
                      <a:pt x="478" y="224"/>
                    </a:lnTo>
                    <a:lnTo>
                      <a:pt x="482" y="234"/>
                    </a:lnTo>
                    <a:lnTo>
                      <a:pt x="486" y="246"/>
                    </a:lnTo>
                    <a:lnTo>
                      <a:pt x="488" y="256"/>
                    </a:lnTo>
                    <a:lnTo>
                      <a:pt x="488" y="256"/>
                    </a:lnTo>
                    <a:lnTo>
                      <a:pt x="488" y="266"/>
                    </a:lnTo>
                    <a:lnTo>
                      <a:pt x="488" y="276"/>
                    </a:lnTo>
                    <a:lnTo>
                      <a:pt x="484" y="298"/>
                    </a:lnTo>
                    <a:lnTo>
                      <a:pt x="476" y="322"/>
                    </a:lnTo>
                    <a:lnTo>
                      <a:pt x="464" y="346"/>
                    </a:lnTo>
                    <a:lnTo>
                      <a:pt x="438" y="396"/>
                    </a:lnTo>
                    <a:lnTo>
                      <a:pt x="410" y="442"/>
                    </a:lnTo>
                    <a:lnTo>
                      <a:pt x="410" y="442"/>
                    </a:lnTo>
                    <a:lnTo>
                      <a:pt x="384" y="492"/>
                    </a:lnTo>
                    <a:lnTo>
                      <a:pt x="370" y="522"/>
                    </a:lnTo>
                    <a:lnTo>
                      <a:pt x="356" y="554"/>
                    </a:lnTo>
                    <a:lnTo>
                      <a:pt x="356" y="5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513" name="Group 512">
            <a:extLst>
              <a:ext uri="{FF2B5EF4-FFF2-40B4-BE49-F238E27FC236}">
                <a16:creationId xmlns:a16="http://schemas.microsoft.com/office/drawing/2014/main" id="{FF4C9356-9E50-49CB-AA1A-168758BA4483}"/>
              </a:ext>
            </a:extLst>
          </p:cNvPr>
          <p:cNvGrpSpPr/>
          <p:nvPr/>
        </p:nvGrpSpPr>
        <p:grpSpPr>
          <a:xfrm>
            <a:off x="6279515" y="4641612"/>
            <a:ext cx="612775" cy="612775"/>
            <a:chOff x="2141637" y="3781158"/>
            <a:chExt cx="612775" cy="612775"/>
          </a:xfrm>
          <a:solidFill>
            <a:srgbClr val="505050"/>
          </a:solidFill>
        </p:grpSpPr>
        <p:sp>
          <p:nvSpPr>
            <p:cNvPr id="514" name="Oval 513">
              <a:extLst>
                <a:ext uri="{FF2B5EF4-FFF2-40B4-BE49-F238E27FC236}">
                  <a16:creationId xmlns:a16="http://schemas.microsoft.com/office/drawing/2014/main" id="{30BC459A-046C-4EB7-B00D-0701DF057D14}"/>
                </a:ext>
              </a:extLst>
            </p:cNvPr>
            <p:cNvSpPr/>
            <p:nvPr/>
          </p:nvSpPr>
          <p:spPr bwMode="ltGray">
            <a:xfrm>
              <a:off x="2141637" y="3781158"/>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515" name="Group 514">
              <a:extLst>
                <a:ext uri="{FF2B5EF4-FFF2-40B4-BE49-F238E27FC236}">
                  <a16:creationId xmlns:a16="http://schemas.microsoft.com/office/drawing/2014/main" id="{F9C0A617-78D9-401A-83B2-F08F31B5DB52}"/>
                </a:ext>
              </a:extLst>
            </p:cNvPr>
            <p:cNvGrpSpPr/>
            <p:nvPr/>
          </p:nvGrpSpPr>
          <p:grpSpPr>
            <a:xfrm>
              <a:off x="2261143" y="3921564"/>
              <a:ext cx="381547" cy="351095"/>
              <a:chOff x="592138" y="538163"/>
              <a:chExt cx="676275" cy="622300"/>
            </a:xfrm>
            <a:grpFill/>
          </p:grpSpPr>
          <p:sp>
            <p:nvSpPr>
              <p:cNvPr id="516" name="Rectangle 7">
                <a:extLst>
                  <a:ext uri="{FF2B5EF4-FFF2-40B4-BE49-F238E27FC236}">
                    <a16:creationId xmlns:a16="http://schemas.microsoft.com/office/drawing/2014/main" id="{B3B5DC67-AA5B-4087-B494-985B73422F9D}"/>
                  </a:ext>
                </a:extLst>
              </p:cNvPr>
              <p:cNvSpPr>
                <a:spLocks noChangeArrowheads="1"/>
              </p:cNvSpPr>
              <p:nvPr/>
            </p:nvSpPr>
            <p:spPr bwMode="auto">
              <a:xfrm>
                <a:off x="919163" y="541338"/>
                <a:ext cx="57150" cy="6159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17" name="Line 8">
                <a:extLst>
                  <a:ext uri="{FF2B5EF4-FFF2-40B4-BE49-F238E27FC236}">
                    <a16:creationId xmlns:a16="http://schemas.microsoft.com/office/drawing/2014/main" id="{2CA64337-1C6F-48FE-A895-549F9C578E3C}"/>
                  </a:ext>
                </a:extLst>
              </p:cNvPr>
              <p:cNvSpPr>
                <a:spLocks noChangeShapeType="1"/>
              </p:cNvSpPr>
              <p:nvPr/>
            </p:nvSpPr>
            <p:spPr bwMode="auto">
              <a:xfrm>
                <a:off x="947738" y="84931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18" name="Line 9">
                <a:extLst>
                  <a:ext uri="{FF2B5EF4-FFF2-40B4-BE49-F238E27FC236}">
                    <a16:creationId xmlns:a16="http://schemas.microsoft.com/office/drawing/2014/main" id="{F03DC6A8-5470-4FB0-AEEE-C24198E0145A}"/>
                  </a:ext>
                </a:extLst>
              </p:cNvPr>
              <p:cNvSpPr>
                <a:spLocks noChangeShapeType="1"/>
              </p:cNvSpPr>
              <p:nvPr/>
            </p:nvSpPr>
            <p:spPr bwMode="auto">
              <a:xfrm>
                <a:off x="947738" y="84931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19" name="Freeform 10">
                <a:extLst>
                  <a:ext uri="{FF2B5EF4-FFF2-40B4-BE49-F238E27FC236}">
                    <a16:creationId xmlns:a16="http://schemas.microsoft.com/office/drawing/2014/main" id="{B096D092-CF43-46D1-AF1E-774D909DBFDA}"/>
                  </a:ext>
                </a:extLst>
              </p:cNvPr>
              <p:cNvSpPr>
                <a:spLocks/>
              </p:cNvSpPr>
              <p:nvPr/>
            </p:nvSpPr>
            <p:spPr bwMode="auto">
              <a:xfrm>
                <a:off x="687388" y="538163"/>
                <a:ext cx="98425" cy="101600"/>
              </a:xfrm>
              <a:custGeom>
                <a:avLst/>
                <a:gdLst>
                  <a:gd name="T0" fmla="*/ 30 w 62"/>
                  <a:gd name="T1" fmla="*/ 64 h 64"/>
                  <a:gd name="T2" fmla="*/ 30 w 62"/>
                  <a:gd name="T3" fmla="*/ 64 h 64"/>
                  <a:gd name="T4" fmla="*/ 38 w 62"/>
                  <a:gd name="T5" fmla="*/ 62 h 64"/>
                  <a:gd name="T6" fmla="*/ 44 w 62"/>
                  <a:gd name="T7" fmla="*/ 60 h 64"/>
                  <a:gd name="T8" fmla="*/ 54 w 62"/>
                  <a:gd name="T9" fmla="*/ 54 h 64"/>
                  <a:gd name="T10" fmla="*/ 60 w 62"/>
                  <a:gd name="T11" fmla="*/ 44 h 64"/>
                  <a:gd name="T12" fmla="*/ 62 w 62"/>
                  <a:gd name="T13" fmla="*/ 38 h 64"/>
                  <a:gd name="T14" fmla="*/ 62 w 62"/>
                  <a:gd name="T15" fmla="*/ 32 h 64"/>
                  <a:gd name="T16" fmla="*/ 62 w 62"/>
                  <a:gd name="T17" fmla="*/ 32 h 64"/>
                  <a:gd name="T18" fmla="*/ 62 w 62"/>
                  <a:gd name="T19" fmla="*/ 24 h 64"/>
                  <a:gd name="T20" fmla="*/ 60 w 62"/>
                  <a:gd name="T21" fmla="*/ 18 h 64"/>
                  <a:gd name="T22" fmla="*/ 54 w 62"/>
                  <a:gd name="T23" fmla="*/ 8 h 64"/>
                  <a:gd name="T24" fmla="*/ 44 w 62"/>
                  <a:gd name="T25" fmla="*/ 2 h 64"/>
                  <a:gd name="T26" fmla="*/ 38 w 62"/>
                  <a:gd name="T27" fmla="*/ 0 h 64"/>
                  <a:gd name="T28" fmla="*/ 30 w 62"/>
                  <a:gd name="T29" fmla="*/ 0 h 64"/>
                  <a:gd name="T30" fmla="*/ 30 w 62"/>
                  <a:gd name="T31" fmla="*/ 0 h 64"/>
                  <a:gd name="T32" fmla="*/ 24 w 62"/>
                  <a:gd name="T33" fmla="*/ 0 h 64"/>
                  <a:gd name="T34" fmla="*/ 18 w 62"/>
                  <a:gd name="T35" fmla="*/ 2 h 64"/>
                  <a:gd name="T36" fmla="*/ 8 w 62"/>
                  <a:gd name="T37" fmla="*/ 8 h 64"/>
                  <a:gd name="T38" fmla="*/ 2 w 62"/>
                  <a:gd name="T39" fmla="*/ 18 h 64"/>
                  <a:gd name="T40" fmla="*/ 0 w 62"/>
                  <a:gd name="T41" fmla="*/ 24 h 64"/>
                  <a:gd name="T42" fmla="*/ 0 w 62"/>
                  <a:gd name="T43" fmla="*/ 32 h 64"/>
                  <a:gd name="T44" fmla="*/ 0 w 62"/>
                  <a:gd name="T45" fmla="*/ 32 h 64"/>
                  <a:gd name="T46" fmla="*/ 0 w 62"/>
                  <a:gd name="T47" fmla="*/ 38 h 64"/>
                  <a:gd name="T48" fmla="*/ 2 w 62"/>
                  <a:gd name="T49" fmla="*/ 44 h 64"/>
                  <a:gd name="T50" fmla="*/ 8 w 62"/>
                  <a:gd name="T51" fmla="*/ 54 h 64"/>
                  <a:gd name="T52" fmla="*/ 18 w 62"/>
                  <a:gd name="T53" fmla="*/ 60 h 64"/>
                  <a:gd name="T54" fmla="*/ 24 w 62"/>
                  <a:gd name="T55" fmla="*/ 62 h 64"/>
                  <a:gd name="T56" fmla="*/ 30 w 62"/>
                  <a:gd name="T57" fmla="*/ 64 h 64"/>
                  <a:gd name="T58" fmla="*/ 30 w 62"/>
                  <a:gd name="T5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2" h="64">
                    <a:moveTo>
                      <a:pt x="30" y="64"/>
                    </a:moveTo>
                    <a:lnTo>
                      <a:pt x="30" y="64"/>
                    </a:lnTo>
                    <a:lnTo>
                      <a:pt x="38" y="62"/>
                    </a:lnTo>
                    <a:lnTo>
                      <a:pt x="44" y="60"/>
                    </a:lnTo>
                    <a:lnTo>
                      <a:pt x="54" y="54"/>
                    </a:lnTo>
                    <a:lnTo>
                      <a:pt x="60" y="44"/>
                    </a:lnTo>
                    <a:lnTo>
                      <a:pt x="62" y="38"/>
                    </a:lnTo>
                    <a:lnTo>
                      <a:pt x="62" y="32"/>
                    </a:lnTo>
                    <a:lnTo>
                      <a:pt x="62" y="32"/>
                    </a:lnTo>
                    <a:lnTo>
                      <a:pt x="62" y="24"/>
                    </a:lnTo>
                    <a:lnTo>
                      <a:pt x="60" y="18"/>
                    </a:lnTo>
                    <a:lnTo>
                      <a:pt x="54" y="8"/>
                    </a:lnTo>
                    <a:lnTo>
                      <a:pt x="44" y="2"/>
                    </a:lnTo>
                    <a:lnTo>
                      <a:pt x="38" y="0"/>
                    </a:lnTo>
                    <a:lnTo>
                      <a:pt x="30" y="0"/>
                    </a:lnTo>
                    <a:lnTo>
                      <a:pt x="30" y="0"/>
                    </a:lnTo>
                    <a:lnTo>
                      <a:pt x="24" y="0"/>
                    </a:lnTo>
                    <a:lnTo>
                      <a:pt x="18" y="2"/>
                    </a:lnTo>
                    <a:lnTo>
                      <a:pt x="8" y="8"/>
                    </a:lnTo>
                    <a:lnTo>
                      <a:pt x="2" y="18"/>
                    </a:lnTo>
                    <a:lnTo>
                      <a:pt x="0" y="24"/>
                    </a:lnTo>
                    <a:lnTo>
                      <a:pt x="0" y="32"/>
                    </a:lnTo>
                    <a:lnTo>
                      <a:pt x="0" y="32"/>
                    </a:lnTo>
                    <a:lnTo>
                      <a:pt x="0" y="38"/>
                    </a:lnTo>
                    <a:lnTo>
                      <a:pt x="2" y="44"/>
                    </a:lnTo>
                    <a:lnTo>
                      <a:pt x="8" y="54"/>
                    </a:lnTo>
                    <a:lnTo>
                      <a:pt x="18" y="60"/>
                    </a:lnTo>
                    <a:lnTo>
                      <a:pt x="24" y="62"/>
                    </a:lnTo>
                    <a:lnTo>
                      <a:pt x="30" y="64"/>
                    </a:lnTo>
                    <a:lnTo>
                      <a:pt x="30"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20" name="Line 11">
                <a:extLst>
                  <a:ext uri="{FF2B5EF4-FFF2-40B4-BE49-F238E27FC236}">
                    <a16:creationId xmlns:a16="http://schemas.microsoft.com/office/drawing/2014/main" id="{2B60F631-2D16-46D9-AC10-D86DB4C92284}"/>
                  </a:ext>
                </a:extLst>
              </p:cNvPr>
              <p:cNvSpPr>
                <a:spLocks noChangeShapeType="1"/>
              </p:cNvSpPr>
              <p:nvPr/>
            </p:nvSpPr>
            <p:spPr bwMode="auto">
              <a:xfrm>
                <a:off x="735013" y="5889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21" name="Line 12">
                <a:extLst>
                  <a:ext uri="{FF2B5EF4-FFF2-40B4-BE49-F238E27FC236}">
                    <a16:creationId xmlns:a16="http://schemas.microsoft.com/office/drawing/2014/main" id="{DC9CCB3D-C55B-4EFE-824A-5AFED4C30D70}"/>
                  </a:ext>
                </a:extLst>
              </p:cNvPr>
              <p:cNvSpPr>
                <a:spLocks noChangeShapeType="1"/>
              </p:cNvSpPr>
              <p:nvPr/>
            </p:nvSpPr>
            <p:spPr bwMode="auto">
              <a:xfrm>
                <a:off x="735013" y="5889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22" name="Freeform 13">
                <a:extLst>
                  <a:ext uri="{FF2B5EF4-FFF2-40B4-BE49-F238E27FC236}">
                    <a16:creationId xmlns:a16="http://schemas.microsoft.com/office/drawing/2014/main" id="{F9D1F645-6F79-4DFA-8854-F18D0D225A4F}"/>
                  </a:ext>
                </a:extLst>
              </p:cNvPr>
              <p:cNvSpPr>
                <a:spLocks/>
              </p:cNvSpPr>
              <p:nvPr/>
            </p:nvSpPr>
            <p:spPr bwMode="auto">
              <a:xfrm>
                <a:off x="592138" y="652463"/>
                <a:ext cx="285750" cy="508000"/>
              </a:xfrm>
              <a:custGeom>
                <a:avLst/>
                <a:gdLst>
                  <a:gd name="T0" fmla="*/ 86 w 180"/>
                  <a:gd name="T1" fmla="*/ 304 h 320"/>
                  <a:gd name="T2" fmla="*/ 84 w 180"/>
                  <a:gd name="T3" fmla="*/ 310 h 320"/>
                  <a:gd name="T4" fmla="*/ 76 w 180"/>
                  <a:gd name="T5" fmla="*/ 318 h 320"/>
                  <a:gd name="T6" fmla="*/ 66 w 180"/>
                  <a:gd name="T7" fmla="*/ 318 h 320"/>
                  <a:gd name="T8" fmla="*/ 58 w 180"/>
                  <a:gd name="T9" fmla="*/ 310 h 320"/>
                  <a:gd name="T10" fmla="*/ 56 w 180"/>
                  <a:gd name="T11" fmla="*/ 192 h 320"/>
                  <a:gd name="T12" fmla="*/ 58 w 180"/>
                  <a:gd name="T13" fmla="*/ 46 h 320"/>
                  <a:gd name="T14" fmla="*/ 28 w 180"/>
                  <a:gd name="T15" fmla="*/ 130 h 320"/>
                  <a:gd name="T16" fmla="*/ 24 w 180"/>
                  <a:gd name="T17" fmla="*/ 136 h 320"/>
                  <a:gd name="T18" fmla="*/ 14 w 180"/>
                  <a:gd name="T19" fmla="*/ 140 h 320"/>
                  <a:gd name="T20" fmla="*/ 6 w 180"/>
                  <a:gd name="T21" fmla="*/ 136 h 320"/>
                  <a:gd name="T22" fmla="*/ 0 w 180"/>
                  <a:gd name="T23" fmla="*/ 128 h 320"/>
                  <a:gd name="T24" fmla="*/ 30 w 180"/>
                  <a:gd name="T25" fmla="*/ 30 h 320"/>
                  <a:gd name="T26" fmla="*/ 34 w 180"/>
                  <a:gd name="T27" fmla="*/ 20 h 320"/>
                  <a:gd name="T28" fmla="*/ 46 w 180"/>
                  <a:gd name="T29" fmla="*/ 6 h 320"/>
                  <a:gd name="T30" fmla="*/ 60 w 180"/>
                  <a:gd name="T31" fmla="*/ 0 h 320"/>
                  <a:gd name="T32" fmla="*/ 90 w 180"/>
                  <a:gd name="T33" fmla="*/ 0 h 320"/>
                  <a:gd name="T34" fmla="*/ 112 w 180"/>
                  <a:gd name="T35" fmla="*/ 0 h 320"/>
                  <a:gd name="T36" fmla="*/ 120 w 180"/>
                  <a:gd name="T37" fmla="*/ 0 h 320"/>
                  <a:gd name="T38" fmla="*/ 134 w 180"/>
                  <a:gd name="T39" fmla="*/ 6 h 320"/>
                  <a:gd name="T40" fmla="*/ 148 w 180"/>
                  <a:gd name="T41" fmla="*/ 20 h 320"/>
                  <a:gd name="T42" fmla="*/ 180 w 180"/>
                  <a:gd name="T43" fmla="*/ 120 h 320"/>
                  <a:gd name="T44" fmla="*/ 180 w 180"/>
                  <a:gd name="T45" fmla="*/ 128 h 320"/>
                  <a:gd name="T46" fmla="*/ 176 w 180"/>
                  <a:gd name="T47" fmla="*/ 138 h 320"/>
                  <a:gd name="T48" fmla="*/ 166 w 180"/>
                  <a:gd name="T49" fmla="*/ 140 h 320"/>
                  <a:gd name="T50" fmla="*/ 158 w 180"/>
                  <a:gd name="T51" fmla="*/ 136 h 320"/>
                  <a:gd name="T52" fmla="*/ 130 w 180"/>
                  <a:gd name="T53" fmla="*/ 46 h 320"/>
                  <a:gd name="T54" fmla="*/ 166 w 180"/>
                  <a:gd name="T55" fmla="*/ 192 h 320"/>
                  <a:gd name="T56" fmla="*/ 126 w 180"/>
                  <a:gd name="T57" fmla="*/ 304 h 320"/>
                  <a:gd name="T58" fmla="*/ 124 w 180"/>
                  <a:gd name="T59" fmla="*/ 310 h 320"/>
                  <a:gd name="T60" fmla="*/ 116 w 180"/>
                  <a:gd name="T61" fmla="*/ 318 h 320"/>
                  <a:gd name="T62" fmla="*/ 104 w 180"/>
                  <a:gd name="T63" fmla="*/ 318 h 320"/>
                  <a:gd name="T64" fmla="*/ 96 w 180"/>
                  <a:gd name="T65" fmla="*/ 310 h 320"/>
                  <a:gd name="T66" fmla="*/ 96 w 180"/>
                  <a:gd name="T67" fmla="*/ 1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0" h="320">
                    <a:moveTo>
                      <a:pt x="86" y="192"/>
                    </a:moveTo>
                    <a:lnTo>
                      <a:pt x="86" y="304"/>
                    </a:lnTo>
                    <a:lnTo>
                      <a:pt x="86" y="304"/>
                    </a:lnTo>
                    <a:lnTo>
                      <a:pt x="84" y="310"/>
                    </a:lnTo>
                    <a:lnTo>
                      <a:pt x="82" y="316"/>
                    </a:lnTo>
                    <a:lnTo>
                      <a:pt x="76" y="318"/>
                    </a:lnTo>
                    <a:lnTo>
                      <a:pt x="72" y="320"/>
                    </a:lnTo>
                    <a:lnTo>
                      <a:pt x="66" y="318"/>
                    </a:lnTo>
                    <a:lnTo>
                      <a:pt x="60" y="316"/>
                    </a:lnTo>
                    <a:lnTo>
                      <a:pt x="58" y="310"/>
                    </a:lnTo>
                    <a:lnTo>
                      <a:pt x="56" y="304"/>
                    </a:lnTo>
                    <a:lnTo>
                      <a:pt x="56" y="192"/>
                    </a:lnTo>
                    <a:lnTo>
                      <a:pt x="16" y="192"/>
                    </a:lnTo>
                    <a:lnTo>
                      <a:pt x="58" y="46"/>
                    </a:lnTo>
                    <a:lnTo>
                      <a:pt x="52" y="46"/>
                    </a:lnTo>
                    <a:lnTo>
                      <a:pt x="28" y="130"/>
                    </a:lnTo>
                    <a:lnTo>
                      <a:pt x="28" y="130"/>
                    </a:lnTo>
                    <a:lnTo>
                      <a:pt x="24" y="136"/>
                    </a:lnTo>
                    <a:lnTo>
                      <a:pt x="20" y="138"/>
                    </a:lnTo>
                    <a:lnTo>
                      <a:pt x="14" y="140"/>
                    </a:lnTo>
                    <a:lnTo>
                      <a:pt x="10" y="140"/>
                    </a:lnTo>
                    <a:lnTo>
                      <a:pt x="6" y="136"/>
                    </a:lnTo>
                    <a:lnTo>
                      <a:pt x="2" y="132"/>
                    </a:lnTo>
                    <a:lnTo>
                      <a:pt x="0" y="128"/>
                    </a:lnTo>
                    <a:lnTo>
                      <a:pt x="2" y="120"/>
                    </a:lnTo>
                    <a:lnTo>
                      <a:pt x="30" y="30"/>
                    </a:lnTo>
                    <a:lnTo>
                      <a:pt x="30" y="30"/>
                    </a:lnTo>
                    <a:lnTo>
                      <a:pt x="34" y="20"/>
                    </a:lnTo>
                    <a:lnTo>
                      <a:pt x="42" y="10"/>
                    </a:lnTo>
                    <a:lnTo>
                      <a:pt x="46" y="6"/>
                    </a:lnTo>
                    <a:lnTo>
                      <a:pt x="54" y="4"/>
                    </a:lnTo>
                    <a:lnTo>
                      <a:pt x="60" y="0"/>
                    </a:lnTo>
                    <a:lnTo>
                      <a:pt x="68" y="0"/>
                    </a:lnTo>
                    <a:lnTo>
                      <a:pt x="90" y="0"/>
                    </a:lnTo>
                    <a:lnTo>
                      <a:pt x="90" y="0"/>
                    </a:lnTo>
                    <a:lnTo>
                      <a:pt x="112" y="0"/>
                    </a:lnTo>
                    <a:lnTo>
                      <a:pt x="112" y="0"/>
                    </a:lnTo>
                    <a:lnTo>
                      <a:pt x="120" y="0"/>
                    </a:lnTo>
                    <a:lnTo>
                      <a:pt x="128" y="4"/>
                    </a:lnTo>
                    <a:lnTo>
                      <a:pt x="134" y="6"/>
                    </a:lnTo>
                    <a:lnTo>
                      <a:pt x="140" y="10"/>
                    </a:lnTo>
                    <a:lnTo>
                      <a:pt x="148" y="20"/>
                    </a:lnTo>
                    <a:lnTo>
                      <a:pt x="152" y="30"/>
                    </a:lnTo>
                    <a:lnTo>
                      <a:pt x="180" y="120"/>
                    </a:lnTo>
                    <a:lnTo>
                      <a:pt x="180" y="120"/>
                    </a:lnTo>
                    <a:lnTo>
                      <a:pt x="180" y="128"/>
                    </a:lnTo>
                    <a:lnTo>
                      <a:pt x="180" y="132"/>
                    </a:lnTo>
                    <a:lnTo>
                      <a:pt x="176" y="138"/>
                    </a:lnTo>
                    <a:lnTo>
                      <a:pt x="172" y="140"/>
                    </a:lnTo>
                    <a:lnTo>
                      <a:pt x="166" y="140"/>
                    </a:lnTo>
                    <a:lnTo>
                      <a:pt x="162" y="138"/>
                    </a:lnTo>
                    <a:lnTo>
                      <a:pt x="158" y="136"/>
                    </a:lnTo>
                    <a:lnTo>
                      <a:pt x="154" y="130"/>
                    </a:lnTo>
                    <a:lnTo>
                      <a:pt x="130" y="46"/>
                    </a:lnTo>
                    <a:lnTo>
                      <a:pt x="122" y="46"/>
                    </a:lnTo>
                    <a:lnTo>
                      <a:pt x="166" y="192"/>
                    </a:lnTo>
                    <a:lnTo>
                      <a:pt x="126" y="192"/>
                    </a:lnTo>
                    <a:lnTo>
                      <a:pt x="126" y="304"/>
                    </a:lnTo>
                    <a:lnTo>
                      <a:pt x="126" y="304"/>
                    </a:lnTo>
                    <a:lnTo>
                      <a:pt x="124" y="310"/>
                    </a:lnTo>
                    <a:lnTo>
                      <a:pt x="120" y="316"/>
                    </a:lnTo>
                    <a:lnTo>
                      <a:pt x="116" y="318"/>
                    </a:lnTo>
                    <a:lnTo>
                      <a:pt x="110" y="320"/>
                    </a:lnTo>
                    <a:lnTo>
                      <a:pt x="104" y="318"/>
                    </a:lnTo>
                    <a:lnTo>
                      <a:pt x="100" y="316"/>
                    </a:lnTo>
                    <a:lnTo>
                      <a:pt x="96" y="310"/>
                    </a:lnTo>
                    <a:lnTo>
                      <a:pt x="96" y="304"/>
                    </a:lnTo>
                    <a:lnTo>
                      <a:pt x="96" y="192"/>
                    </a:lnTo>
                    <a:lnTo>
                      <a:pt x="86" y="1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23" name="Freeform 14">
                <a:extLst>
                  <a:ext uri="{FF2B5EF4-FFF2-40B4-BE49-F238E27FC236}">
                    <a16:creationId xmlns:a16="http://schemas.microsoft.com/office/drawing/2014/main" id="{4DF09B74-26B0-4AB4-BFF2-EDD99D1557EA}"/>
                  </a:ext>
                </a:extLst>
              </p:cNvPr>
              <p:cNvSpPr>
                <a:spLocks/>
              </p:cNvSpPr>
              <p:nvPr/>
            </p:nvSpPr>
            <p:spPr bwMode="auto">
              <a:xfrm>
                <a:off x="1033463" y="652463"/>
                <a:ext cx="234950" cy="504825"/>
              </a:xfrm>
              <a:custGeom>
                <a:avLst/>
                <a:gdLst>
                  <a:gd name="T0" fmla="*/ 40 w 148"/>
                  <a:gd name="T1" fmla="*/ 0 h 318"/>
                  <a:gd name="T2" fmla="*/ 24 w 148"/>
                  <a:gd name="T3" fmla="*/ 4 h 318"/>
                  <a:gd name="T4" fmla="*/ 12 w 148"/>
                  <a:gd name="T5" fmla="*/ 12 h 318"/>
                  <a:gd name="T6" fmla="*/ 4 w 148"/>
                  <a:gd name="T7" fmla="*/ 26 h 318"/>
                  <a:gd name="T8" fmla="*/ 0 w 148"/>
                  <a:gd name="T9" fmla="*/ 42 h 318"/>
                  <a:gd name="T10" fmla="*/ 0 w 148"/>
                  <a:gd name="T11" fmla="*/ 140 h 318"/>
                  <a:gd name="T12" fmla="*/ 4 w 148"/>
                  <a:gd name="T13" fmla="*/ 150 h 318"/>
                  <a:gd name="T14" fmla="*/ 14 w 148"/>
                  <a:gd name="T15" fmla="*/ 154 h 318"/>
                  <a:gd name="T16" fmla="*/ 24 w 148"/>
                  <a:gd name="T17" fmla="*/ 150 h 318"/>
                  <a:gd name="T18" fmla="*/ 28 w 148"/>
                  <a:gd name="T19" fmla="*/ 140 h 318"/>
                  <a:gd name="T20" fmla="*/ 34 w 148"/>
                  <a:gd name="T21" fmla="*/ 50 h 318"/>
                  <a:gd name="T22" fmla="*/ 34 w 148"/>
                  <a:gd name="T23" fmla="*/ 300 h 318"/>
                  <a:gd name="T24" fmla="*/ 40 w 148"/>
                  <a:gd name="T25" fmla="*/ 314 h 318"/>
                  <a:gd name="T26" fmla="*/ 52 w 148"/>
                  <a:gd name="T27" fmla="*/ 318 h 318"/>
                  <a:gd name="T28" fmla="*/ 66 w 148"/>
                  <a:gd name="T29" fmla="*/ 314 h 318"/>
                  <a:gd name="T30" fmla="*/ 72 w 148"/>
                  <a:gd name="T31" fmla="*/ 300 h 318"/>
                  <a:gd name="T32" fmla="*/ 78 w 148"/>
                  <a:gd name="T33" fmla="*/ 154 h 318"/>
                  <a:gd name="T34" fmla="*/ 78 w 148"/>
                  <a:gd name="T35" fmla="*/ 300 h 318"/>
                  <a:gd name="T36" fmla="*/ 84 w 148"/>
                  <a:gd name="T37" fmla="*/ 314 h 318"/>
                  <a:gd name="T38" fmla="*/ 96 w 148"/>
                  <a:gd name="T39" fmla="*/ 318 h 318"/>
                  <a:gd name="T40" fmla="*/ 108 w 148"/>
                  <a:gd name="T41" fmla="*/ 314 h 318"/>
                  <a:gd name="T42" fmla="*/ 114 w 148"/>
                  <a:gd name="T43" fmla="*/ 300 h 318"/>
                  <a:gd name="T44" fmla="*/ 120 w 148"/>
                  <a:gd name="T45" fmla="*/ 50 h 318"/>
                  <a:gd name="T46" fmla="*/ 120 w 148"/>
                  <a:gd name="T47" fmla="*/ 140 h 318"/>
                  <a:gd name="T48" fmla="*/ 126 w 148"/>
                  <a:gd name="T49" fmla="*/ 150 h 318"/>
                  <a:gd name="T50" fmla="*/ 134 w 148"/>
                  <a:gd name="T51" fmla="*/ 154 h 318"/>
                  <a:gd name="T52" fmla="*/ 144 w 148"/>
                  <a:gd name="T53" fmla="*/ 150 h 318"/>
                  <a:gd name="T54" fmla="*/ 148 w 148"/>
                  <a:gd name="T55" fmla="*/ 140 h 318"/>
                  <a:gd name="T56" fmla="*/ 148 w 148"/>
                  <a:gd name="T57" fmla="*/ 42 h 318"/>
                  <a:gd name="T58" fmla="*/ 146 w 148"/>
                  <a:gd name="T59" fmla="*/ 26 h 318"/>
                  <a:gd name="T60" fmla="*/ 138 w 148"/>
                  <a:gd name="T61" fmla="*/ 14 h 318"/>
                  <a:gd name="T62" fmla="*/ 124 w 148"/>
                  <a:gd name="T63" fmla="*/ 4 h 318"/>
                  <a:gd name="T64" fmla="*/ 108 w 148"/>
                  <a:gd name="T65" fmla="*/ 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318">
                    <a:moveTo>
                      <a:pt x="40" y="0"/>
                    </a:moveTo>
                    <a:lnTo>
                      <a:pt x="40" y="0"/>
                    </a:lnTo>
                    <a:lnTo>
                      <a:pt x="32" y="0"/>
                    </a:lnTo>
                    <a:lnTo>
                      <a:pt x="24" y="4"/>
                    </a:lnTo>
                    <a:lnTo>
                      <a:pt x="18" y="8"/>
                    </a:lnTo>
                    <a:lnTo>
                      <a:pt x="12" y="12"/>
                    </a:lnTo>
                    <a:lnTo>
                      <a:pt x="6" y="18"/>
                    </a:lnTo>
                    <a:lnTo>
                      <a:pt x="4" y="26"/>
                    </a:lnTo>
                    <a:lnTo>
                      <a:pt x="0" y="34"/>
                    </a:lnTo>
                    <a:lnTo>
                      <a:pt x="0" y="42"/>
                    </a:lnTo>
                    <a:lnTo>
                      <a:pt x="0" y="140"/>
                    </a:lnTo>
                    <a:lnTo>
                      <a:pt x="0" y="140"/>
                    </a:lnTo>
                    <a:lnTo>
                      <a:pt x="2" y="146"/>
                    </a:lnTo>
                    <a:lnTo>
                      <a:pt x="4" y="150"/>
                    </a:lnTo>
                    <a:lnTo>
                      <a:pt x="8" y="154"/>
                    </a:lnTo>
                    <a:lnTo>
                      <a:pt x="14" y="154"/>
                    </a:lnTo>
                    <a:lnTo>
                      <a:pt x="18" y="154"/>
                    </a:lnTo>
                    <a:lnTo>
                      <a:pt x="24" y="150"/>
                    </a:lnTo>
                    <a:lnTo>
                      <a:pt x="26" y="146"/>
                    </a:lnTo>
                    <a:lnTo>
                      <a:pt x="28" y="140"/>
                    </a:lnTo>
                    <a:lnTo>
                      <a:pt x="28" y="50"/>
                    </a:lnTo>
                    <a:lnTo>
                      <a:pt x="34" y="50"/>
                    </a:lnTo>
                    <a:lnTo>
                      <a:pt x="34" y="300"/>
                    </a:lnTo>
                    <a:lnTo>
                      <a:pt x="34" y="300"/>
                    </a:lnTo>
                    <a:lnTo>
                      <a:pt x="36" y="308"/>
                    </a:lnTo>
                    <a:lnTo>
                      <a:pt x="40" y="314"/>
                    </a:lnTo>
                    <a:lnTo>
                      <a:pt x="46" y="318"/>
                    </a:lnTo>
                    <a:lnTo>
                      <a:pt x="52" y="318"/>
                    </a:lnTo>
                    <a:lnTo>
                      <a:pt x="60" y="318"/>
                    </a:lnTo>
                    <a:lnTo>
                      <a:pt x="66" y="314"/>
                    </a:lnTo>
                    <a:lnTo>
                      <a:pt x="70" y="308"/>
                    </a:lnTo>
                    <a:lnTo>
                      <a:pt x="72" y="300"/>
                    </a:lnTo>
                    <a:lnTo>
                      <a:pt x="72" y="154"/>
                    </a:lnTo>
                    <a:lnTo>
                      <a:pt x="78" y="154"/>
                    </a:lnTo>
                    <a:lnTo>
                      <a:pt x="78" y="300"/>
                    </a:lnTo>
                    <a:lnTo>
                      <a:pt x="78" y="300"/>
                    </a:lnTo>
                    <a:lnTo>
                      <a:pt x="78" y="308"/>
                    </a:lnTo>
                    <a:lnTo>
                      <a:pt x="84" y="314"/>
                    </a:lnTo>
                    <a:lnTo>
                      <a:pt x="90" y="318"/>
                    </a:lnTo>
                    <a:lnTo>
                      <a:pt x="96" y="318"/>
                    </a:lnTo>
                    <a:lnTo>
                      <a:pt x="102" y="318"/>
                    </a:lnTo>
                    <a:lnTo>
                      <a:pt x="108" y="314"/>
                    </a:lnTo>
                    <a:lnTo>
                      <a:pt x="112" y="308"/>
                    </a:lnTo>
                    <a:lnTo>
                      <a:pt x="114" y="300"/>
                    </a:lnTo>
                    <a:lnTo>
                      <a:pt x="114" y="50"/>
                    </a:lnTo>
                    <a:lnTo>
                      <a:pt x="120" y="50"/>
                    </a:lnTo>
                    <a:lnTo>
                      <a:pt x="120" y="140"/>
                    </a:lnTo>
                    <a:lnTo>
                      <a:pt x="120" y="140"/>
                    </a:lnTo>
                    <a:lnTo>
                      <a:pt x="122" y="146"/>
                    </a:lnTo>
                    <a:lnTo>
                      <a:pt x="126" y="150"/>
                    </a:lnTo>
                    <a:lnTo>
                      <a:pt x="130" y="154"/>
                    </a:lnTo>
                    <a:lnTo>
                      <a:pt x="134" y="154"/>
                    </a:lnTo>
                    <a:lnTo>
                      <a:pt x="140" y="154"/>
                    </a:lnTo>
                    <a:lnTo>
                      <a:pt x="144" y="150"/>
                    </a:lnTo>
                    <a:lnTo>
                      <a:pt x="148" y="146"/>
                    </a:lnTo>
                    <a:lnTo>
                      <a:pt x="148" y="140"/>
                    </a:lnTo>
                    <a:lnTo>
                      <a:pt x="148" y="42"/>
                    </a:lnTo>
                    <a:lnTo>
                      <a:pt x="148" y="42"/>
                    </a:lnTo>
                    <a:lnTo>
                      <a:pt x="148" y="34"/>
                    </a:lnTo>
                    <a:lnTo>
                      <a:pt x="146" y="26"/>
                    </a:lnTo>
                    <a:lnTo>
                      <a:pt x="142" y="20"/>
                    </a:lnTo>
                    <a:lnTo>
                      <a:pt x="138" y="14"/>
                    </a:lnTo>
                    <a:lnTo>
                      <a:pt x="132" y="8"/>
                    </a:lnTo>
                    <a:lnTo>
                      <a:pt x="124" y="4"/>
                    </a:lnTo>
                    <a:lnTo>
                      <a:pt x="116" y="0"/>
                    </a:lnTo>
                    <a:lnTo>
                      <a:pt x="108" y="0"/>
                    </a:lnTo>
                    <a:lnTo>
                      <a:pt x="4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24" name="Freeform 15">
                <a:extLst>
                  <a:ext uri="{FF2B5EF4-FFF2-40B4-BE49-F238E27FC236}">
                    <a16:creationId xmlns:a16="http://schemas.microsoft.com/office/drawing/2014/main" id="{18EC50E1-52AC-4C64-A537-C327D5DEA827}"/>
                  </a:ext>
                </a:extLst>
              </p:cNvPr>
              <p:cNvSpPr>
                <a:spLocks/>
              </p:cNvSpPr>
              <p:nvPr/>
            </p:nvSpPr>
            <p:spPr bwMode="auto">
              <a:xfrm>
                <a:off x="1100138" y="538163"/>
                <a:ext cx="101600" cy="101600"/>
              </a:xfrm>
              <a:custGeom>
                <a:avLst/>
                <a:gdLst>
                  <a:gd name="T0" fmla="*/ 32 w 64"/>
                  <a:gd name="T1" fmla="*/ 64 h 64"/>
                  <a:gd name="T2" fmla="*/ 32 w 64"/>
                  <a:gd name="T3" fmla="*/ 64 h 64"/>
                  <a:gd name="T4" fmla="*/ 38 w 64"/>
                  <a:gd name="T5" fmla="*/ 62 h 64"/>
                  <a:gd name="T6" fmla="*/ 44 w 64"/>
                  <a:gd name="T7" fmla="*/ 60 h 64"/>
                  <a:gd name="T8" fmla="*/ 54 w 64"/>
                  <a:gd name="T9" fmla="*/ 54 h 64"/>
                  <a:gd name="T10" fmla="*/ 62 w 64"/>
                  <a:gd name="T11" fmla="*/ 44 h 64"/>
                  <a:gd name="T12" fmla="*/ 64 w 64"/>
                  <a:gd name="T13" fmla="*/ 38 h 64"/>
                  <a:gd name="T14" fmla="*/ 64 w 64"/>
                  <a:gd name="T15" fmla="*/ 32 h 64"/>
                  <a:gd name="T16" fmla="*/ 64 w 64"/>
                  <a:gd name="T17" fmla="*/ 32 h 64"/>
                  <a:gd name="T18" fmla="*/ 64 w 64"/>
                  <a:gd name="T19" fmla="*/ 24 h 64"/>
                  <a:gd name="T20" fmla="*/ 62 w 64"/>
                  <a:gd name="T21" fmla="*/ 18 h 64"/>
                  <a:gd name="T22" fmla="*/ 54 w 64"/>
                  <a:gd name="T23" fmla="*/ 8 h 64"/>
                  <a:gd name="T24" fmla="*/ 44 w 64"/>
                  <a:gd name="T25" fmla="*/ 2 h 64"/>
                  <a:gd name="T26" fmla="*/ 38 w 64"/>
                  <a:gd name="T27" fmla="*/ 0 h 64"/>
                  <a:gd name="T28" fmla="*/ 32 w 64"/>
                  <a:gd name="T29" fmla="*/ 0 h 64"/>
                  <a:gd name="T30" fmla="*/ 32 w 64"/>
                  <a:gd name="T31" fmla="*/ 0 h 64"/>
                  <a:gd name="T32" fmla="*/ 26 w 64"/>
                  <a:gd name="T33" fmla="*/ 0 h 64"/>
                  <a:gd name="T34" fmla="*/ 20 w 64"/>
                  <a:gd name="T35" fmla="*/ 2 h 64"/>
                  <a:gd name="T36" fmla="*/ 10 w 64"/>
                  <a:gd name="T37" fmla="*/ 8 h 64"/>
                  <a:gd name="T38" fmla="*/ 2 w 64"/>
                  <a:gd name="T39" fmla="*/ 18 h 64"/>
                  <a:gd name="T40" fmla="*/ 0 w 64"/>
                  <a:gd name="T41" fmla="*/ 24 h 64"/>
                  <a:gd name="T42" fmla="*/ 0 w 64"/>
                  <a:gd name="T43" fmla="*/ 32 h 64"/>
                  <a:gd name="T44" fmla="*/ 0 w 64"/>
                  <a:gd name="T45" fmla="*/ 32 h 64"/>
                  <a:gd name="T46" fmla="*/ 0 w 64"/>
                  <a:gd name="T47" fmla="*/ 38 h 64"/>
                  <a:gd name="T48" fmla="*/ 2 w 64"/>
                  <a:gd name="T49" fmla="*/ 44 h 64"/>
                  <a:gd name="T50" fmla="*/ 10 w 64"/>
                  <a:gd name="T51" fmla="*/ 54 h 64"/>
                  <a:gd name="T52" fmla="*/ 20 w 64"/>
                  <a:gd name="T53" fmla="*/ 60 h 64"/>
                  <a:gd name="T54" fmla="*/ 26 w 64"/>
                  <a:gd name="T55" fmla="*/ 62 h 64"/>
                  <a:gd name="T56" fmla="*/ 32 w 64"/>
                  <a:gd name="T57" fmla="*/ 64 h 64"/>
                  <a:gd name="T58" fmla="*/ 32 w 64"/>
                  <a:gd name="T59"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64" h="64">
                    <a:moveTo>
                      <a:pt x="32" y="64"/>
                    </a:moveTo>
                    <a:lnTo>
                      <a:pt x="32" y="64"/>
                    </a:lnTo>
                    <a:lnTo>
                      <a:pt x="38" y="62"/>
                    </a:lnTo>
                    <a:lnTo>
                      <a:pt x="44" y="60"/>
                    </a:lnTo>
                    <a:lnTo>
                      <a:pt x="54" y="54"/>
                    </a:lnTo>
                    <a:lnTo>
                      <a:pt x="62" y="44"/>
                    </a:lnTo>
                    <a:lnTo>
                      <a:pt x="64" y="38"/>
                    </a:lnTo>
                    <a:lnTo>
                      <a:pt x="64" y="32"/>
                    </a:lnTo>
                    <a:lnTo>
                      <a:pt x="64" y="32"/>
                    </a:lnTo>
                    <a:lnTo>
                      <a:pt x="64" y="24"/>
                    </a:lnTo>
                    <a:lnTo>
                      <a:pt x="62" y="18"/>
                    </a:lnTo>
                    <a:lnTo>
                      <a:pt x="54" y="8"/>
                    </a:lnTo>
                    <a:lnTo>
                      <a:pt x="44" y="2"/>
                    </a:lnTo>
                    <a:lnTo>
                      <a:pt x="38" y="0"/>
                    </a:lnTo>
                    <a:lnTo>
                      <a:pt x="32" y="0"/>
                    </a:lnTo>
                    <a:lnTo>
                      <a:pt x="32" y="0"/>
                    </a:lnTo>
                    <a:lnTo>
                      <a:pt x="26" y="0"/>
                    </a:lnTo>
                    <a:lnTo>
                      <a:pt x="20" y="2"/>
                    </a:lnTo>
                    <a:lnTo>
                      <a:pt x="10" y="8"/>
                    </a:lnTo>
                    <a:lnTo>
                      <a:pt x="2" y="18"/>
                    </a:lnTo>
                    <a:lnTo>
                      <a:pt x="0" y="24"/>
                    </a:lnTo>
                    <a:lnTo>
                      <a:pt x="0" y="32"/>
                    </a:lnTo>
                    <a:lnTo>
                      <a:pt x="0" y="32"/>
                    </a:lnTo>
                    <a:lnTo>
                      <a:pt x="0" y="38"/>
                    </a:lnTo>
                    <a:lnTo>
                      <a:pt x="2" y="44"/>
                    </a:lnTo>
                    <a:lnTo>
                      <a:pt x="10" y="54"/>
                    </a:lnTo>
                    <a:lnTo>
                      <a:pt x="20" y="60"/>
                    </a:lnTo>
                    <a:lnTo>
                      <a:pt x="26" y="62"/>
                    </a:lnTo>
                    <a:lnTo>
                      <a:pt x="32" y="64"/>
                    </a:lnTo>
                    <a:lnTo>
                      <a:pt x="32"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25" name="Line 16">
                <a:extLst>
                  <a:ext uri="{FF2B5EF4-FFF2-40B4-BE49-F238E27FC236}">
                    <a16:creationId xmlns:a16="http://schemas.microsoft.com/office/drawing/2014/main" id="{4E2DCC78-F1CA-48F9-BEEE-CFA4076E2F65}"/>
                  </a:ext>
                </a:extLst>
              </p:cNvPr>
              <p:cNvSpPr>
                <a:spLocks noChangeShapeType="1"/>
              </p:cNvSpPr>
              <p:nvPr/>
            </p:nvSpPr>
            <p:spPr bwMode="auto">
              <a:xfrm>
                <a:off x="1150938" y="5889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26" name="Line 17">
                <a:extLst>
                  <a:ext uri="{FF2B5EF4-FFF2-40B4-BE49-F238E27FC236}">
                    <a16:creationId xmlns:a16="http://schemas.microsoft.com/office/drawing/2014/main" id="{8B2FCB6A-E994-486A-A1CF-7DB7AE376F3C}"/>
                  </a:ext>
                </a:extLst>
              </p:cNvPr>
              <p:cNvSpPr>
                <a:spLocks noChangeShapeType="1"/>
              </p:cNvSpPr>
              <p:nvPr/>
            </p:nvSpPr>
            <p:spPr bwMode="auto">
              <a:xfrm>
                <a:off x="1150938" y="58896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527" name="Group 526">
            <a:extLst>
              <a:ext uri="{FF2B5EF4-FFF2-40B4-BE49-F238E27FC236}">
                <a16:creationId xmlns:a16="http://schemas.microsoft.com/office/drawing/2014/main" id="{BF50F26A-DEDF-40A5-94EE-A03F5B54D1F0}"/>
              </a:ext>
            </a:extLst>
          </p:cNvPr>
          <p:cNvGrpSpPr/>
          <p:nvPr/>
        </p:nvGrpSpPr>
        <p:grpSpPr>
          <a:xfrm>
            <a:off x="7112531" y="4641612"/>
            <a:ext cx="612775" cy="612775"/>
            <a:chOff x="2860543" y="3781158"/>
            <a:chExt cx="612775" cy="612775"/>
          </a:xfrm>
          <a:solidFill>
            <a:srgbClr val="505050"/>
          </a:solidFill>
        </p:grpSpPr>
        <p:sp>
          <p:nvSpPr>
            <p:cNvPr id="528" name="Oval 527">
              <a:extLst>
                <a:ext uri="{FF2B5EF4-FFF2-40B4-BE49-F238E27FC236}">
                  <a16:creationId xmlns:a16="http://schemas.microsoft.com/office/drawing/2014/main" id="{153BF5F1-9491-41E5-AE7D-B0D9203AA380}"/>
                </a:ext>
              </a:extLst>
            </p:cNvPr>
            <p:cNvSpPr/>
            <p:nvPr/>
          </p:nvSpPr>
          <p:spPr bwMode="ltGray">
            <a:xfrm>
              <a:off x="2860543" y="3781158"/>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529" name="Group 528">
              <a:extLst>
                <a:ext uri="{FF2B5EF4-FFF2-40B4-BE49-F238E27FC236}">
                  <a16:creationId xmlns:a16="http://schemas.microsoft.com/office/drawing/2014/main" id="{A613D569-7375-4674-A4D0-E6E8FD28A24A}"/>
                </a:ext>
              </a:extLst>
            </p:cNvPr>
            <p:cNvGrpSpPr/>
            <p:nvPr/>
          </p:nvGrpSpPr>
          <p:grpSpPr>
            <a:xfrm>
              <a:off x="3078512" y="3847874"/>
              <a:ext cx="183931" cy="473525"/>
              <a:chOff x="1817688" y="465138"/>
              <a:chExt cx="298450" cy="768350"/>
            </a:xfrm>
            <a:grpFill/>
          </p:grpSpPr>
          <p:sp>
            <p:nvSpPr>
              <p:cNvPr id="530" name="Freeform 18">
                <a:extLst>
                  <a:ext uri="{FF2B5EF4-FFF2-40B4-BE49-F238E27FC236}">
                    <a16:creationId xmlns:a16="http://schemas.microsoft.com/office/drawing/2014/main" id="{3FE41269-FDE7-4417-A1AD-10B0B6F871EE}"/>
                  </a:ext>
                </a:extLst>
              </p:cNvPr>
              <p:cNvSpPr>
                <a:spLocks/>
              </p:cNvSpPr>
              <p:nvPr/>
            </p:nvSpPr>
            <p:spPr bwMode="auto">
              <a:xfrm>
                <a:off x="1903413" y="465138"/>
                <a:ext cx="127000" cy="127000"/>
              </a:xfrm>
              <a:custGeom>
                <a:avLst/>
                <a:gdLst>
                  <a:gd name="T0" fmla="*/ 40 w 80"/>
                  <a:gd name="T1" fmla="*/ 80 h 80"/>
                  <a:gd name="T2" fmla="*/ 40 w 80"/>
                  <a:gd name="T3" fmla="*/ 80 h 80"/>
                  <a:gd name="T4" fmla="*/ 48 w 80"/>
                  <a:gd name="T5" fmla="*/ 78 h 80"/>
                  <a:gd name="T6" fmla="*/ 56 w 80"/>
                  <a:gd name="T7" fmla="*/ 76 h 80"/>
                  <a:gd name="T8" fmla="*/ 62 w 80"/>
                  <a:gd name="T9" fmla="*/ 72 h 80"/>
                  <a:gd name="T10" fmla="*/ 68 w 80"/>
                  <a:gd name="T11" fmla="*/ 68 h 80"/>
                  <a:gd name="T12" fmla="*/ 72 w 80"/>
                  <a:gd name="T13" fmla="*/ 62 h 80"/>
                  <a:gd name="T14" fmla="*/ 76 w 80"/>
                  <a:gd name="T15" fmla="*/ 56 h 80"/>
                  <a:gd name="T16" fmla="*/ 78 w 80"/>
                  <a:gd name="T17" fmla="*/ 48 h 80"/>
                  <a:gd name="T18" fmla="*/ 80 w 80"/>
                  <a:gd name="T19" fmla="*/ 40 h 80"/>
                  <a:gd name="T20" fmla="*/ 80 w 80"/>
                  <a:gd name="T21" fmla="*/ 40 h 80"/>
                  <a:gd name="T22" fmla="*/ 78 w 80"/>
                  <a:gd name="T23" fmla="*/ 32 h 80"/>
                  <a:gd name="T24" fmla="*/ 76 w 80"/>
                  <a:gd name="T25" fmla="*/ 24 h 80"/>
                  <a:gd name="T26" fmla="*/ 72 w 80"/>
                  <a:gd name="T27" fmla="*/ 18 h 80"/>
                  <a:gd name="T28" fmla="*/ 68 w 80"/>
                  <a:gd name="T29" fmla="*/ 12 h 80"/>
                  <a:gd name="T30" fmla="*/ 62 w 80"/>
                  <a:gd name="T31" fmla="*/ 6 h 80"/>
                  <a:gd name="T32" fmla="*/ 56 w 80"/>
                  <a:gd name="T33" fmla="*/ 2 h 80"/>
                  <a:gd name="T34" fmla="*/ 48 w 80"/>
                  <a:gd name="T35" fmla="*/ 0 h 80"/>
                  <a:gd name="T36" fmla="*/ 40 w 80"/>
                  <a:gd name="T37" fmla="*/ 0 h 80"/>
                  <a:gd name="T38" fmla="*/ 40 w 80"/>
                  <a:gd name="T39" fmla="*/ 0 h 80"/>
                  <a:gd name="T40" fmla="*/ 32 w 80"/>
                  <a:gd name="T41" fmla="*/ 0 h 80"/>
                  <a:gd name="T42" fmla="*/ 24 w 80"/>
                  <a:gd name="T43" fmla="*/ 2 h 80"/>
                  <a:gd name="T44" fmla="*/ 16 w 80"/>
                  <a:gd name="T45" fmla="*/ 6 h 80"/>
                  <a:gd name="T46" fmla="*/ 12 w 80"/>
                  <a:gd name="T47" fmla="*/ 12 h 80"/>
                  <a:gd name="T48" fmla="*/ 6 w 80"/>
                  <a:gd name="T49" fmla="*/ 18 h 80"/>
                  <a:gd name="T50" fmla="*/ 2 w 80"/>
                  <a:gd name="T51" fmla="*/ 24 h 80"/>
                  <a:gd name="T52" fmla="*/ 0 w 80"/>
                  <a:gd name="T53" fmla="*/ 32 h 80"/>
                  <a:gd name="T54" fmla="*/ 0 w 80"/>
                  <a:gd name="T55" fmla="*/ 40 h 80"/>
                  <a:gd name="T56" fmla="*/ 0 w 80"/>
                  <a:gd name="T57" fmla="*/ 40 h 80"/>
                  <a:gd name="T58" fmla="*/ 0 w 80"/>
                  <a:gd name="T59" fmla="*/ 48 h 80"/>
                  <a:gd name="T60" fmla="*/ 2 w 80"/>
                  <a:gd name="T61" fmla="*/ 56 h 80"/>
                  <a:gd name="T62" fmla="*/ 6 w 80"/>
                  <a:gd name="T63" fmla="*/ 62 h 80"/>
                  <a:gd name="T64" fmla="*/ 12 w 80"/>
                  <a:gd name="T65" fmla="*/ 68 h 80"/>
                  <a:gd name="T66" fmla="*/ 16 w 80"/>
                  <a:gd name="T67" fmla="*/ 72 h 80"/>
                  <a:gd name="T68" fmla="*/ 24 w 80"/>
                  <a:gd name="T69" fmla="*/ 76 h 80"/>
                  <a:gd name="T70" fmla="*/ 32 w 80"/>
                  <a:gd name="T71" fmla="*/ 78 h 80"/>
                  <a:gd name="T72" fmla="*/ 40 w 80"/>
                  <a:gd name="T73" fmla="*/ 80 h 80"/>
                  <a:gd name="T74" fmla="*/ 40 w 80"/>
                  <a:gd name="T7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80">
                    <a:moveTo>
                      <a:pt x="40" y="80"/>
                    </a:moveTo>
                    <a:lnTo>
                      <a:pt x="40" y="80"/>
                    </a:lnTo>
                    <a:lnTo>
                      <a:pt x="48" y="78"/>
                    </a:lnTo>
                    <a:lnTo>
                      <a:pt x="56" y="76"/>
                    </a:lnTo>
                    <a:lnTo>
                      <a:pt x="62" y="72"/>
                    </a:lnTo>
                    <a:lnTo>
                      <a:pt x="68" y="68"/>
                    </a:lnTo>
                    <a:lnTo>
                      <a:pt x="72" y="62"/>
                    </a:lnTo>
                    <a:lnTo>
                      <a:pt x="76" y="56"/>
                    </a:lnTo>
                    <a:lnTo>
                      <a:pt x="78" y="48"/>
                    </a:lnTo>
                    <a:lnTo>
                      <a:pt x="80" y="40"/>
                    </a:lnTo>
                    <a:lnTo>
                      <a:pt x="80" y="40"/>
                    </a:lnTo>
                    <a:lnTo>
                      <a:pt x="78" y="32"/>
                    </a:lnTo>
                    <a:lnTo>
                      <a:pt x="76" y="24"/>
                    </a:lnTo>
                    <a:lnTo>
                      <a:pt x="72" y="18"/>
                    </a:lnTo>
                    <a:lnTo>
                      <a:pt x="68" y="12"/>
                    </a:lnTo>
                    <a:lnTo>
                      <a:pt x="62" y="6"/>
                    </a:lnTo>
                    <a:lnTo>
                      <a:pt x="56" y="2"/>
                    </a:lnTo>
                    <a:lnTo>
                      <a:pt x="48" y="0"/>
                    </a:lnTo>
                    <a:lnTo>
                      <a:pt x="40" y="0"/>
                    </a:lnTo>
                    <a:lnTo>
                      <a:pt x="40" y="0"/>
                    </a:lnTo>
                    <a:lnTo>
                      <a:pt x="32" y="0"/>
                    </a:lnTo>
                    <a:lnTo>
                      <a:pt x="24" y="2"/>
                    </a:lnTo>
                    <a:lnTo>
                      <a:pt x="16" y="6"/>
                    </a:lnTo>
                    <a:lnTo>
                      <a:pt x="12" y="12"/>
                    </a:lnTo>
                    <a:lnTo>
                      <a:pt x="6" y="18"/>
                    </a:lnTo>
                    <a:lnTo>
                      <a:pt x="2" y="24"/>
                    </a:lnTo>
                    <a:lnTo>
                      <a:pt x="0" y="32"/>
                    </a:lnTo>
                    <a:lnTo>
                      <a:pt x="0" y="40"/>
                    </a:lnTo>
                    <a:lnTo>
                      <a:pt x="0" y="40"/>
                    </a:lnTo>
                    <a:lnTo>
                      <a:pt x="0" y="48"/>
                    </a:lnTo>
                    <a:lnTo>
                      <a:pt x="2" y="56"/>
                    </a:lnTo>
                    <a:lnTo>
                      <a:pt x="6" y="62"/>
                    </a:lnTo>
                    <a:lnTo>
                      <a:pt x="12" y="68"/>
                    </a:lnTo>
                    <a:lnTo>
                      <a:pt x="16" y="72"/>
                    </a:lnTo>
                    <a:lnTo>
                      <a:pt x="24" y="76"/>
                    </a:lnTo>
                    <a:lnTo>
                      <a:pt x="32" y="78"/>
                    </a:lnTo>
                    <a:lnTo>
                      <a:pt x="40" y="80"/>
                    </a:lnTo>
                    <a:lnTo>
                      <a:pt x="40"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31" name="Line 19">
                <a:extLst>
                  <a:ext uri="{FF2B5EF4-FFF2-40B4-BE49-F238E27FC236}">
                    <a16:creationId xmlns:a16="http://schemas.microsoft.com/office/drawing/2014/main" id="{DB5B5603-64CB-4B95-866C-3BE1EBB09778}"/>
                  </a:ext>
                </a:extLst>
              </p:cNvPr>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32" name="Line 20">
                <a:extLst>
                  <a:ext uri="{FF2B5EF4-FFF2-40B4-BE49-F238E27FC236}">
                    <a16:creationId xmlns:a16="http://schemas.microsoft.com/office/drawing/2014/main" id="{D53A2804-3A69-46F3-8766-D5ED07F3D85D}"/>
                  </a:ext>
                </a:extLst>
              </p:cNvPr>
              <p:cNvSpPr>
                <a:spLocks noChangeShapeType="1"/>
              </p:cNvSpPr>
              <p:nvPr/>
            </p:nvSpPr>
            <p:spPr bwMode="auto">
              <a:xfrm>
                <a:off x="19669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33" name="Freeform 21">
                <a:extLst>
                  <a:ext uri="{FF2B5EF4-FFF2-40B4-BE49-F238E27FC236}">
                    <a16:creationId xmlns:a16="http://schemas.microsoft.com/office/drawing/2014/main" id="{1CDABB97-8BE6-4521-8802-32441865E8B0}"/>
                  </a:ext>
                </a:extLst>
              </p:cNvPr>
              <p:cNvSpPr>
                <a:spLocks/>
              </p:cNvSpPr>
              <p:nvPr/>
            </p:nvSpPr>
            <p:spPr bwMode="auto">
              <a:xfrm>
                <a:off x="1817688" y="604838"/>
                <a:ext cx="298450" cy="628650"/>
              </a:xfrm>
              <a:custGeom>
                <a:avLst/>
                <a:gdLst>
                  <a:gd name="T0" fmla="*/ 50 w 188"/>
                  <a:gd name="T1" fmla="*/ 0 h 396"/>
                  <a:gd name="T2" fmla="*/ 30 w 188"/>
                  <a:gd name="T3" fmla="*/ 4 h 396"/>
                  <a:gd name="T4" fmla="*/ 14 w 188"/>
                  <a:gd name="T5" fmla="*/ 16 h 396"/>
                  <a:gd name="T6" fmla="*/ 4 w 188"/>
                  <a:gd name="T7" fmla="*/ 32 h 396"/>
                  <a:gd name="T8" fmla="*/ 0 w 188"/>
                  <a:gd name="T9" fmla="*/ 52 h 396"/>
                  <a:gd name="T10" fmla="*/ 0 w 188"/>
                  <a:gd name="T11" fmla="*/ 176 h 396"/>
                  <a:gd name="T12" fmla="*/ 4 w 188"/>
                  <a:gd name="T13" fmla="*/ 190 h 396"/>
                  <a:gd name="T14" fmla="*/ 16 w 188"/>
                  <a:gd name="T15" fmla="*/ 194 h 396"/>
                  <a:gd name="T16" fmla="*/ 28 w 188"/>
                  <a:gd name="T17" fmla="*/ 190 h 396"/>
                  <a:gd name="T18" fmla="*/ 34 w 188"/>
                  <a:gd name="T19" fmla="*/ 176 h 396"/>
                  <a:gd name="T20" fmla="*/ 42 w 188"/>
                  <a:gd name="T21" fmla="*/ 64 h 396"/>
                  <a:gd name="T22" fmla="*/ 42 w 188"/>
                  <a:gd name="T23" fmla="*/ 372 h 396"/>
                  <a:gd name="T24" fmla="*/ 50 w 188"/>
                  <a:gd name="T25" fmla="*/ 390 h 396"/>
                  <a:gd name="T26" fmla="*/ 66 w 188"/>
                  <a:gd name="T27" fmla="*/ 396 h 396"/>
                  <a:gd name="T28" fmla="*/ 82 w 188"/>
                  <a:gd name="T29" fmla="*/ 388 h 396"/>
                  <a:gd name="T30" fmla="*/ 90 w 188"/>
                  <a:gd name="T31" fmla="*/ 372 h 396"/>
                  <a:gd name="T32" fmla="*/ 98 w 188"/>
                  <a:gd name="T33" fmla="*/ 192 h 396"/>
                  <a:gd name="T34" fmla="*/ 98 w 188"/>
                  <a:gd name="T35" fmla="*/ 372 h 396"/>
                  <a:gd name="T36" fmla="*/ 104 w 188"/>
                  <a:gd name="T37" fmla="*/ 388 h 396"/>
                  <a:gd name="T38" fmla="*/ 120 w 188"/>
                  <a:gd name="T39" fmla="*/ 396 h 396"/>
                  <a:gd name="T40" fmla="*/ 136 w 188"/>
                  <a:gd name="T41" fmla="*/ 390 h 396"/>
                  <a:gd name="T42" fmla="*/ 144 w 188"/>
                  <a:gd name="T43" fmla="*/ 372 h 396"/>
                  <a:gd name="T44" fmla="*/ 152 w 188"/>
                  <a:gd name="T45" fmla="*/ 64 h 396"/>
                  <a:gd name="T46" fmla="*/ 152 w 188"/>
                  <a:gd name="T47" fmla="*/ 176 h 396"/>
                  <a:gd name="T48" fmla="*/ 158 w 188"/>
                  <a:gd name="T49" fmla="*/ 190 h 396"/>
                  <a:gd name="T50" fmla="*/ 170 w 188"/>
                  <a:gd name="T51" fmla="*/ 194 h 396"/>
                  <a:gd name="T52" fmla="*/ 182 w 188"/>
                  <a:gd name="T53" fmla="*/ 190 h 396"/>
                  <a:gd name="T54" fmla="*/ 188 w 188"/>
                  <a:gd name="T55" fmla="*/ 176 h 396"/>
                  <a:gd name="T56" fmla="*/ 188 w 188"/>
                  <a:gd name="T57" fmla="*/ 54 h 396"/>
                  <a:gd name="T58" fmla="*/ 184 w 188"/>
                  <a:gd name="T59" fmla="*/ 34 h 396"/>
                  <a:gd name="T60" fmla="*/ 172 w 188"/>
                  <a:gd name="T61" fmla="*/ 18 h 396"/>
                  <a:gd name="T62" fmla="*/ 156 w 188"/>
                  <a:gd name="T63" fmla="*/ 6 h 396"/>
                  <a:gd name="T64" fmla="*/ 136 w 188"/>
                  <a:gd name="T65" fmla="*/ 0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 h="396">
                    <a:moveTo>
                      <a:pt x="50" y="0"/>
                    </a:moveTo>
                    <a:lnTo>
                      <a:pt x="50" y="0"/>
                    </a:lnTo>
                    <a:lnTo>
                      <a:pt x="40" y="2"/>
                    </a:lnTo>
                    <a:lnTo>
                      <a:pt x="30" y="4"/>
                    </a:lnTo>
                    <a:lnTo>
                      <a:pt x="22" y="10"/>
                    </a:lnTo>
                    <a:lnTo>
                      <a:pt x="14" y="16"/>
                    </a:lnTo>
                    <a:lnTo>
                      <a:pt x="8" y="24"/>
                    </a:lnTo>
                    <a:lnTo>
                      <a:pt x="4" y="32"/>
                    </a:lnTo>
                    <a:lnTo>
                      <a:pt x="0" y="42"/>
                    </a:lnTo>
                    <a:lnTo>
                      <a:pt x="0" y="52"/>
                    </a:lnTo>
                    <a:lnTo>
                      <a:pt x="0" y="176"/>
                    </a:lnTo>
                    <a:lnTo>
                      <a:pt x="0" y="176"/>
                    </a:lnTo>
                    <a:lnTo>
                      <a:pt x="0" y="184"/>
                    </a:lnTo>
                    <a:lnTo>
                      <a:pt x="4" y="190"/>
                    </a:lnTo>
                    <a:lnTo>
                      <a:pt x="10" y="192"/>
                    </a:lnTo>
                    <a:lnTo>
                      <a:pt x="16" y="194"/>
                    </a:lnTo>
                    <a:lnTo>
                      <a:pt x="24" y="192"/>
                    </a:lnTo>
                    <a:lnTo>
                      <a:pt x="28" y="190"/>
                    </a:lnTo>
                    <a:lnTo>
                      <a:pt x="32" y="184"/>
                    </a:lnTo>
                    <a:lnTo>
                      <a:pt x="34" y="176"/>
                    </a:lnTo>
                    <a:lnTo>
                      <a:pt x="34" y="64"/>
                    </a:lnTo>
                    <a:lnTo>
                      <a:pt x="42" y="64"/>
                    </a:lnTo>
                    <a:lnTo>
                      <a:pt x="42" y="372"/>
                    </a:lnTo>
                    <a:lnTo>
                      <a:pt x="42" y="372"/>
                    </a:lnTo>
                    <a:lnTo>
                      <a:pt x="44" y="382"/>
                    </a:lnTo>
                    <a:lnTo>
                      <a:pt x="50" y="390"/>
                    </a:lnTo>
                    <a:lnTo>
                      <a:pt x="58" y="394"/>
                    </a:lnTo>
                    <a:lnTo>
                      <a:pt x="66" y="396"/>
                    </a:lnTo>
                    <a:lnTo>
                      <a:pt x="74" y="394"/>
                    </a:lnTo>
                    <a:lnTo>
                      <a:pt x="82" y="388"/>
                    </a:lnTo>
                    <a:lnTo>
                      <a:pt x="88" y="382"/>
                    </a:lnTo>
                    <a:lnTo>
                      <a:pt x="90" y="372"/>
                    </a:lnTo>
                    <a:lnTo>
                      <a:pt x="90" y="192"/>
                    </a:lnTo>
                    <a:lnTo>
                      <a:pt x="98" y="192"/>
                    </a:lnTo>
                    <a:lnTo>
                      <a:pt x="98" y="372"/>
                    </a:lnTo>
                    <a:lnTo>
                      <a:pt x="98" y="372"/>
                    </a:lnTo>
                    <a:lnTo>
                      <a:pt x="100" y="382"/>
                    </a:lnTo>
                    <a:lnTo>
                      <a:pt x="104" y="388"/>
                    </a:lnTo>
                    <a:lnTo>
                      <a:pt x="112" y="394"/>
                    </a:lnTo>
                    <a:lnTo>
                      <a:pt x="120" y="396"/>
                    </a:lnTo>
                    <a:lnTo>
                      <a:pt x="130" y="394"/>
                    </a:lnTo>
                    <a:lnTo>
                      <a:pt x="136" y="390"/>
                    </a:lnTo>
                    <a:lnTo>
                      <a:pt x="142" y="382"/>
                    </a:lnTo>
                    <a:lnTo>
                      <a:pt x="144" y="372"/>
                    </a:lnTo>
                    <a:lnTo>
                      <a:pt x="144" y="64"/>
                    </a:lnTo>
                    <a:lnTo>
                      <a:pt x="152" y="64"/>
                    </a:lnTo>
                    <a:lnTo>
                      <a:pt x="152" y="176"/>
                    </a:lnTo>
                    <a:lnTo>
                      <a:pt x="152" y="176"/>
                    </a:lnTo>
                    <a:lnTo>
                      <a:pt x="154" y="184"/>
                    </a:lnTo>
                    <a:lnTo>
                      <a:pt x="158" y="190"/>
                    </a:lnTo>
                    <a:lnTo>
                      <a:pt x="164" y="192"/>
                    </a:lnTo>
                    <a:lnTo>
                      <a:pt x="170" y="194"/>
                    </a:lnTo>
                    <a:lnTo>
                      <a:pt x="176" y="192"/>
                    </a:lnTo>
                    <a:lnTo>
                      <a:pt x="182" y="190"/>
                    </a:lnTo>
                    <a:lnTo>
                      <a:pt x="186" y="184"/>
                    </a:lnTo>
                    <a:lnTo>
                      <a:pt x="188" y="176"/>
                    </a:lnTo>
                    <a:lnTo>
                      <a:pt x="188" y="54"/>
                    </a:lnTo>
                    <a:lnTo>
                      <a:pt x="188" y="54"/>
                    </a:lnTo>
                    <a:lnTo>
                      <a:pt x="186" y="44"/>
                    </a:lnTo>
                    <a:lnTo>
                      <a:pt x="184" y="34"/>
                    </a:lnTo>
                    <a:lnTo>
                      <a:pt x="178" y="24"/>
                    </a:lnTo>
                    <a:lnTo>
                      <a:pt x="172" y="18"/>
                    </a:lnTo>
                    <a:lnTo>
                      <a:pt x="166" y="10"/>
                    </a:lnTo>
                    <a:lnTo>
                      <a:pt x="156" y="6"/>
                    </a:lnTo>
                    <a:lnTo>
                      <a:pt x="146" y="2"/>
                    </a:lnTo>
                    <a:lnTo>
                      <a:pt x="136" y="0"/>
                    </a:lnTo>
                    <a:lnTo>
                      <a:pt x="5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534" name="Group 533">
            <a:extLst>
              <a:ext uri="{FF2B5EF4-FFF2-40B4-BE49-F238E27FC236}">
                <a16:creationId xmlns:a16="http://schemas.microsoft.com/office/drawing/2014/main" id="{630DA3DA-7AB9-45C6-9518-E26BD2CC8B8A}"/>
              </a:ext>
            </a:extLst>
          </p:cNvPr>
          <p:cNvGrpSpPr/>
          <p:nvPr/>
        </p:nvGrpSpPr>
        <p:grpSpPr>
          <a:xfrm>
            <a:off x="7945547" y="4641612"/>
            <a:ext cx="612775" cy="612775"/>
            <a:chOff x="3579449" y="3781158"/>
            <a:chExt cx="612775" cy="612775"/>
          </a:xfrm>
          <a:solidFill>
            <a:srgbClr val="505050"/>
          </a:solidFill>
        </p:grpSpPr>
        <p:sp>
          <p:nvSpPr>
            <p:cNvPr id="535" name="Oval 534">
              <a:extLst>
                <a:ext uri="{FF2B5EF4-FFF2-40B4-BE49-F238E27FC236}">
                  <a16:creationId xmlns:a16="http://schemas.microsoft.com/office/drawing/2014/main" id="{CEB088BF-5F98-46DF-B124-4AB71A7E9D92}"/>
                </a:ext>
              </a:extLst>
            </p:cNvPr>
            <p:cNvSpPr/>
            <p:nvPr/>
          </p:nvSpPr>
          <p:spPr bwMode="ltGray">
            <a:xfrm>
              <a:off x="3579449" y="3781158"/>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536" name="Group 535">
              <a:extLst>
                <a:ext uri="{FF2B5EF4-FFF2-40B4-BE49-F238E27FC236}">
                  <a16:creationId xmlns:a16="http://schemas.microsoft.com/office/drawing/2014/main" id="{6D0A0EC9-D70C-453B-AE7E-825D17BB473A}"/>
                </a:ext>
              </a:extLst>
            </p:cNvPr>
            <p:cNvGrpSpPr/>
            <p:nvPr/>
          </p:nvGrpSpPr>
          <p:grpSpPr>
            <a:xfrm>
              <a:off x="3772017" y="3841811"/>
              <a:ext cx="217195" cy="471567"/>
              <a:chOff x="2830513" y="465138"/>
              <a:chExt cx="352425" cy="765175"/>
            </a:xfrm>
            <a:grpFill/>
          </p:grpSpPr>
          <p:sp>
            <p:nvSpPr>
              <p:cNvPr id="537" name="Freeform 22">
                <a:extLst>
                  <a:ext uri="{FF2B5EF4-FFF2-40B4-BE49-F238E27FC236}">
                    <a16:creationId xmlns:a16="http://schemas.microsoft.com/office/drawing/2014/main" id="{8F28C42C-8979-41B9-AFA8-8CA3CF2C9C66}"/>
                  </a:ext>
                </a:extLst>
              </p:cNvPr>
              <p:cNvSpPr>
                <a:spLocks/>
              </p:cNvSpPr>
              <p:nvPr/>
            </p:nvSpPr>
            <p:spPr bwMode="auto">
              <a:xfrm>
                <a:off x="2944813" y="465138"/>
                <a:ext cx="123825" cy="123825"/>
              </a:xfrm>
              <a:custGeom>
                <a:avLst/>
                <a:gdLst>
                  <a:gd name="T0" fmla="*/ 40 w 78"/>
                  <a:gd name="T1" fmla="*/ 78 h 78"/>
                  <a:gd name="T2" fmla="*/ 40 w 78"/>
                  <a:gd name="T3" fmla="*/ 78 h 78"/>
                  <a:gd name="T4" fmla="*/ 48 w 78"/>
                  <a:gd name="T5" fmla="*/ 78 h 78"/>
                  <a:gd name="T6" fmla="*/ 54 w 78"/>
                  <a:gd name="T7" fmla="*/ 76 h 78"/>
                  <a:gd name="T8" fmla="*/ 62 w 78"/>
                  <a:gd name="T9" fmla="*/ 72 h 78"/>
                  <a:gd name="T10" fmla="*/ 66 w 78"/>
                  <a:gd name="T11" fmla="*/ 68 h 78"/>
                  <a:gd name="T12" fmla="*/ 72 w 78"/>
                  <a:gd name="T13" fmla="*/ 62 h 78"/>
                  <a:gd name="T14" fmla="*/ 76 w 78"/>
                  <a:gd name="T15" fmla="*/ 54 h 78"/>
                  <a:gd name="T16" fmla="*/ 78 w 78"/>
                  <a:gd name="T17" fmla="*/ 48 h 78"/>
                  <a:gd name="T18" fmla="*/ 78 w 78"/>
                  <a:gd name="T19" fmla="*/ 40 h 78"/>
                  <a:gd name="T20" fmla="*/ 78 w 78"/>
                  <a:gd name="T21" fmla="*/ 40 h 78"/>
                  <a:gd name="T22" fmla="*/ 78 w 78"/>
                  <a:gd name="T23" fmla="*/ 32 h 78"/>
                  <a:gd name="T24" fmla="*/ 76 w 78"/>
                  <a:gd name="T25" fmla="*/ 24 h 78"/>
                  <a:gd name="T26" fmla="*/ 72 w 78"/>
                  <a:gd name="T27" fmla="*/ 18 h 78"/>
                  <a:gd name="T28" fmla="*/ 66 w 78"/>
                  <a:gd name="T29" fmla="*/ 12 h 78"/>
                  <a:gd name="T30" fmla="*/ 62 w 78"/>
                  <a:gd name="T31" fmla="*/ 6 h 78"/>
                  <a:gd name="T32" fmla="*/ 54 w 78"/>
                  <a:gd name="T33" fmla="*/ 4 h 78"/>
                  <a:gd name="T34" fmla="*/ 48 w 78"/>
                  <a:gd name="T35" fmla="*/ 0 h 78"/>
                  <a:gd name="T36" fmla="*/ 40 w 78"/>
                  <a:gd name="T37" fmla="*/ 0 h 78"/>
                  <a:gd name="T38" fmla="*/ 40 w 78"/>
                  <a:gd name="T39" fmla="*/ 0 h 78"/>
                  <a:gd name="T40" fmla="*/ 32 w 78"/>
                  <a:gd name="T41" fmla="*/ 0 h 78"/>
                  <a:gd name="T42" fmla="*/ 24 w 78"/>
                  <a:gd name="T43" fmla="*/ 4 h 78"/>
                  <a:gd name="T44" fmla="*/ 18 w 78"/>
                  <a:gd name="T45" fmla="*/ 6 h 78"/>
                  <a:gd name="T46" fmla="*/ 12 w 78"/>
                  <a:gd name="T47" fmla="*/ 12 h 78"/>
                  <a:gd name="T48" fmla="*/ 6 w 78"/>
                  <a:gd name="T49" fmla="*/ 18 h 78"/>
                  <a:gd name="T50" fmla="*/ 2 w 78"/>
                  <a:gd name="T51" fmla="*/ 24 h 78"/>
                  <a:gd name="T52" fmla="*/ 0 w 78"/>
                  <a:gd name="T53" fmla="*/ 32 h 78"/>
                  <a:gd name="T54" fmla="*/ 0 w 78"/>
                  <a:gd name="T55" fmla="*/ 40 h 78"/>
                  <a:gd name="T56" fmla="*/ 0 w 78"/>
                  <a:gd name="T57" fmla="*/ 40 h 78"/>
                  <a:gd name="T58" fmla="*/ 0 w 78"/>
                  <a:gd name="T59" fmla="*/ 48 h 78"/>
                  <a:gd name="T60" fmla="*/ 2 w 78"/>
                  <a:gd name="T61" fmla="*/ 54 h 78"/>
                  <a:gd name="T62" fmla="*/ 6 w 78"/>
                  <a:gd name="T63" fmla="*/ 62 h 78"/>
                  <a:gd name="T64" fmla="*/ 12 w 78"/>
                  <a:gd name="T65" fmla="*/ 68 h 78"/>
                  <a:gd name="T66" fmla="*/ 18 w 78"/>
                  <a:gd name="T67" fmla="*/ 72 h 78"/>
                  <a:gd name="T68" fmla="*/ 24 w 78"/>
                  <a:gd name="T69" fmla="*/ 76 h 78"/>
                  <a:gd name="T70" fmla="*/ 32 w 78"/>
                  <a:gd name="T71" fmla="*/ 78 h 78"/>
                  <a:gd name="T72" fmla="*/ 40 w 78"/>
                  <a:gd name="T73" fmla="*/ 78 h 78"/>
                  <a:gd name="T74" fmla="*/ 40 w 78"/>
                  <a:gd name="T7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40" y="78"/>
                    </a:moveTo>
                    <a:lnTo>
                      <a:pt x="40" y="78"/>
                    </a:lnTo>
                    <a:lnTo>
                      <a:pt x="48" y="78"/>
                    </a:lnTo>
                    <a:lnTo>
                      <a:pt x="54" y="76"/>
                    </a:lnTo>
                    <a:lnTo>
                      <a:pt x="62" y="72"/>
                    </a:lnTo>
                    <a:lnTo>
                      <a:pt x="66" y="68"/>
                    </a:lnTo>
                    <a:lnTo>
                      <a:pt x="72" y="62"/>
                    </a:lnTo>
                    <a:lnTo>
                      <a:pt x="76" y="54"/>
                    </a:lnTo>
                    <a:lnTo>
                      <a:pt x="78" y="48"/>
                    </a:lnTo>
                    <a:lnTo>
                      <a:pt x="78" y="40"/>
                    </a:lnTo>
                    <a:lnTo>
                      <a:pt x="78" y="40"/>
                    </a:lnTo>
                    <a:lnTo>
                      <a:pt x="78" y="32"/>
                    </a:lnTo>
                    <a:lnTo>
                      <a:pt x="76" y="24"/>
                    </a:lnTo>
                    <a:lnTo>
                      <a:pt x="72" y="18"/>
                    </a:lnTo>
                    <a:lnTo>
                      <a:pt x="66" y="12"/>
                    </a:lnTo>
                    <a:lnTo>
                      <a:pt x="62" y="6"/>
                    </a:lnTo>
                    <a:lnTo>
                      <a:pt x="54" y="4"/>
                    </a:lnTo>
                    <a:lnTo>
                      <a:pt x="48" y="0"/>
                    </a:lnTo>
                    <a:lnTo>
                      <a:pt x="40" y="0"/>
                    </a:lnTo>
                    <a:lnTo>
                      <a:pt x="40" y="0"/>
                    </a:lnTo>
                    <a:lnTo>
                      <a:pt x="32" y="0"/>
                    </a:lnTo>
                    <a:lnTo>
                      <a:pt x="24" y="4"/>
                    </a:lnTo>
                    <a:lnTo>
                      <a:pt x="18" y="6"/>
                    </a:lnTo>
                    <a:lnTo>
                      <a:pt x="12" y="12"/>
                    </a:lnTo>
                    <a:lnTo>
                      <a:pt x="6" y="18"/>
                    </a:lnTo>
                    <a:lnTo>
                      <a:pt x="2" y="24"/>
                    </a:lnTo>
                    <a:lnTo>
                      <a:pt x="0" y="32"/>
                    </a:lnTo>
                    <a:lnTo>
                      <a:pt x="0" y="40"/>
                    </a:lnTo>
                    <a:lnTo>
                      <a:pt x="0" y="40"/>
                    </a:lnTo>
                    <a:lnTo>
                      <a:pt x="0" y="48"/>
                    </a:lnTo>
                    <a:lnTo>
                      <a:pt x="2" y="54"/>
                    </a:lnTo>
                    <a:lnTo>
                      <a:pt x="6" y="62"/>
                    </a:lnTo>
                    <a:lnTo>
                      <a:pt x="12" y="68"/>
                    </a:lnTo>
                    <a:lnTo>
                      <a:pt x="18" y="72"/>
                    </a:lnTo>
                    <a:lnTo>
                      <a:pt x="24" y="76"/>
                    </a:lnTo>
                    <a:lnTo>
                      <a:pt x="32" y="78"/>
                    </a:lnTo>
                    <a:lnTo>
                      <a:pt x="40" y="78"/>
                    </a:lnTo>
                    <a:lnTo>
                      <a:pt x="40"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38" name="Line 23">
                <a:extLst>
                  <a:ext uri="{FF2B5EF4-FFF2-40B4-BE49-F238E27FC236}">
                    <a16:creationId xmlns:a16="http://schemas.microsoft.com/office/drawing/2014/main" id="{440FB701-4A85-4CCA-87B1-2AE7D2C75D5D}"/>
                  </a:ext>
                </a:extLst>
              </p:cNvPr>
              <p:cNvSpPr>
                <a:spLocks noChangeShapeType="1"/>
              </p:cNvSpPr>
              <p:nvPr/>
            </p:nvSpPr>
            <p:spPr bwMode="auto">
              <a:xfrm>
                <a:off x="30083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39" name="Line 24">
                <a:extLst>
                  <a:ext uri="{FF2B5EF4-FFF2-40B4-BE49-F238E27FC236}">
                    <a16:creationId xmlns:a16="http://schemas.microsoft.com/office/drawing/2014/main" id="{695CD453-86FC-4319-AD44-34F46D139142}"/>
                  </a:ext>
                </a:extLst>
              </p:cNvPr>
              <p:cNvSpPr>
                <a:spLocks noChangeShapeType="1"/>
              </p:cNvSpPr>
              <p:nvPr/>
            </p:nvSpPr>
            <p:spPr bwMode="auto">
              <a:xfrm>
                <a:off x="3008313" y="528638"/>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40" name="Freeform 25">
                <a:extLst>
                  <a:ext uri="{FF2B5EF4-FFF2-40B4-BE49-F238E27FC236}">
                    <a16:creationId xmlns:a16="http://schemas.microsoft.com/office/drawing/2014/main" id="{44D0236A-96A3-45D0-83A3-372C727A29FE}"/>
                  </a:ext>
                </a:extLst>
              </p:cNvPr>
              <p:cNvSpPr>
                <a:spLocks/>
              </p:cNvSpPr>
              <p:nvPr/>
            </p:nvSpPr>
            <p:spPr bwMode="auto">
              <a:xfrm>
                <a:off x="2830513" y="604838"/>
                <a:ext cx="352425" cy="625475"/>
              </a:xfrm>
              <a:custGeom>
                <a:avLst/>
                <a:gdLst>
                  <a:gd name="T0" fmla="*/ 106 w 222"/>
                  <a:gd name="T1" fmla="*/ 376 h 394"/>
                  <a:gd name="T2" fmla="*/ 104 w 222"/>
                  <a:gd name="T3" fmla="*/ 384 h 394"/>
                  <a:gd name="T4" fmla="*/ 94 w 222"/>
                  <a:gd name="T5" fmla="*/ 394 h 394"/>
                  <a:gd name="T6" fmla="*/ 80 w 222"/>
                  <a:gd name="T7" fmla="*/ 394 h 394"/>
                  <a:gd name="T8" fmla="*/ 70 w 222"/>
                  <a:gd name="T9" fmla="*/ 384 h 394"/>
                  <a:gd name="T10" fmla="*/ 68 w 222"/>
                  <a:gd name="T11" fmla="*/ 240 h 394"/>
                  <a:gd name="T12" fmla="*/ 72 w 222"/>
                  <a:gd name="T13" fmla="*/ 56 h 394"/>
                  <a:gd name="T14" fmla="*/ 32 w 222"/>
                  <a:gd name="T15" fmla="*/ 160 h 394"/>
                  <a:gd name="T16" fmla="*/ 28 w 222"/>
                  <a:gd name="T17" fmla="*/ 168 h 394"/>
                  <a:gd name="T18" fmla="*/ 18 w 222"/>
                  <a:gd name="T19" fmla="*/ 174 h 394"/>
                  <a:gd name="T20" fmla="*/ 6 w 222"/>
                  <a:gd name="T21" fmla="*/ 170 h 394"/>
                  <a:gd name="T22" fmla="*/ 0 w 222"/>
                  <a:gd name="T23" fmla="*/ 158 h 394"/>
                  <a:gd name="T24" fmla="*/ 36 w 222"/>
                  <a:gd name="T25" fmla="*/ 36 h 394"/>
                  <a:gd name="T26" fmla="*/ 40 w 222"/>
                  <a:gd name="T27" fmla="*/ 26 h 394"/>
                  <a:gd name="T28" fmla="*/ 56 w 222"/>
                  <a:gd name="T29" fmla="*/ 8 h 394"/>
                  <a:gd name="T30" fmla="*/ 74 w 222"/>
                  <a:gd name="T31" fmla="*/ 2 h 394"/>
                  <a:gd name="T32" fmla="*/ 110 w 222"/>
                  <a:gd name="T33" fmla="*/ 0 h 394"/>
                  <a:gd name="T34" fmla="*/ 138 w 222"/>
                  <a:gd name="T35" fmla="*/ 0 h 394"/>
                  <a:gd name="T36" fmla="*/ 148 w 222"/>
                  <a:gd name="T37" fmla="*/ 2 h 394"/>
                  <a:gd name="T38" fmla="*/ 164 w 222"/>
                  <a:gd name="T39" fmla="*/ 8 h 394"/>
                  <a:gd name="T40" fmla="*/ 180 w 222"/>
                  <a:gd name="T41" fmla="*/ 26 h 394"/>
                  <a:gd name="T42" fmla="*/ 220 w 222"/>
                  <a:gd name="T43" fmla="*/ 150 h 394"/>
                  <a:gd name="T44" fmla="*/ 222 w 222"/>
                  <a:gd name="T45" fmla="*/ 158 h 394"/>
                  <a:gd name="T46" fmla="*/ 216 w 222"/>
                  <a:gd name="T47" fmla="*/ 170 h 394"/>
                  <a:gd name="T48" fmla="*/ 204 w 222"/>
                  <a:gd name="T49" fmla="*/ 174 h 394"/>
                  <a:gd name="T50" fmla="*/ 194 w 222"/>
                  <a:gd name="T51" fmla="*/ 168 h 394"/>
                  <a:gd name="T52" fmla="*/ 158 w 222"/>
                  <a:gd name="T53" fmla="*/ 56 h 394"/>
                  <a:gd name="T54" fmla="*/ 204 w 222"/>
                  <a:gd name="T55" fmla="*/ 240 h 394"/>
                  <a:gd name="T56" fmla="*/ 154 w 222"/>
                  <a:gd name="T57" fmla="*/ 376 h 394"/>
                  <a:gd name="T58" fmla="*/ 152 w 222"/>
                  <a:gd name="T59" fmla="*/ 384 h 394"/>
                  <a:gd name="T60" fmla="*/ 142 w 222"/>
                  <a:gd name="T61" fmla="*/ 394 h 394"/>
                  <a:gd name="T62" fmla="*/ 128 w 222"/>
                  <a:gd name="T63" fmla="*/ 394 h 394"/>
                  <a:gd name="T64" fmla="*/ 118 w 222"/>
                  <a:gd name="T65" fmla="*/ 384 h 394"/>
                  <a:gd name="T66" fmla="*/ 116 w 222"/>
                  <a:gd name="T67" fmla="*/ 240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22" h="394">
                    <a:moveTo>
                      <a:pt x="106" y="240"/>
                    </a:moveTo>
                    <a:lnTo>
                      <a:pt x="106" y="376"/>
                    </a:lnTo>
                    <a:lnTo>
                      <a:pt x="106" y="376"/>
                    </a:lnTo>
                    <a:lnTo>
                      <a:pt x="104" y="384"/>
                    </a:lnTo>
                    <a:lnTo>
                      <a:pt x="100" y="390"/>
                    </a:lnTo>
                    <a:lnTo>
                      <a:pt x="94" y="394"/>
                    </a:lnTo>
                    <a:lnTo>
                      <a:pt x="86" y="394"/>
                    </a:lnTo>
                    <a:lnTo>
                      <a:pt x="80" y="394"/>
                    </a:lnTo>
                    <a:lnTo>
                      <a:pt x="74" y="390"/>
                    </a:lnTo>
                    <a:lnTo>
                      <a:pt x="70" y="384"/>
                    </a:lnTo>
                    <a:lnTo>
                      <a:pt x="68" y="376"/>
                    </a:lnTo>
                    <a:lnTo>
                      <a:pt x="68" y="240"/>
                    </a:lnTo>
                    <a:lnTo>
                      <a:pt x="18" y="240"/>
                    </a:lnTo>
                    <a:lnTo>
                      <a:pt x="72" y="56"/>
                    </a:lnTo>
                    <a:lnTo>
                      <a:pt x="64" y="56"/>
                    </a:lnTo>
                    <a:lnTo>
                      <a:pt x="32" y="160"/>
                    </a:lnTo>
                    <a:lnTo>
                      <a:pt x="32" y="160"/>
                    </a:lnTo>
                    <a:lnTo>
                      <a:pt x="28" y="168"/>
                    </a:lnTo>
                    <a:lnTo>
                      <a:pt x="24" y="172"/>
                    </a:lnTo>
                    <a:lnTo>
                      <a:pt x="18" y="174"/>
                    </a:lnTo>
                    <a:lnTo>
                      <a:pt x="12" y="172"/>
                    </a:lnTo>
                    <a:lnTo>
                      <a:pt x="6" y="170"/>
                    </a:lnTo>
                    <a:lnTo>
                      <a:pt x="2" y="164"/>
                    </a:lnTo>
                    <a:lnTo>
                      <a:pt x="0" y="158"/>
                    </a:lnTo>
                    <a:lnTo>
                      <a:pt x="0" y="150"/>
                    </a:lnTo>
                    <a:lnTo>
                      <a:pt x="36" y="36"/>
                    </a:lnTo>
                    <a:lnTo>
                      <a:pt x="36" y="36"/>
                    </a:lnTo>
                    <a:lnTo>
                      <a:pt x="40" y="26"/>
                    </a:lnTo>
                    <a:lnTo>
                      <a:pt x="50" y="14"/>
                    </a:lnTo>
                    <a:lnTo>
                      <a:pt x="56" y="8"/>
                    </a:lnTo>
                    <a:lnTo>
                      <a:pt x="64" y="4"/>
                    </a:lnTo>
                    <a:lnTo>
                      <a:pt x="74" y="2"/>
                    </a:lnTo>
                    <a:lnTo>
                      <a:pt x="84" y="0"/>
                    </a:lnTo>
                    <a:lnTo>
                      <a:pt x="110" y="0"/>
                    </a:lnTo>
                    <a:lnTo>
                      <a:pt x="110" y="0"/>
                    </a:lnTo>
                    <a:lnTo>
                      <a:pt x="138" y="0"/>
                    </a:lnTo>
                    <a:lnTo>
                      <a:pt x="138" y="0"/>
                    </a:lnTo>
                    <a:lnTo>
                      <a:pt x="148" y="2"/>
                    </a:lnTo>
                    <a:lnTo>
                      <a:pt x="156" y="4"/>
                    </a:lnTo>
                    <a:lnTo>
                      <a:pt x="164" y="8"/>
                    </a:lnTo>
                    <a:lnTo>
                      <a:pt x="170" y="14"/>
                    </a:lnTo>
                    <a:lnTo>
                      <a:pt x="180" y="26"/>
                    </a:lnTo>
                    <a:lnTo>
                      <a:pt x="186" y="36"/>
                    </a:lnTo>
                    <a:lnTo>
                      <a:pt x="220" y="150"/>
                    </a:lnTo>
                    <a:lnTo>
                      <a:pt x="220" y="150"/>
                    </a:lnTo>
                    <a:lnTo>
                      <a:pt x="222" y="158"/>
                    </a:lnTo>
                    <a:lnTo>
                      <a:pt x="220" y="164"/>
                    </a:lnTo>
                    <a:lnTo>
                      <a:pt x="216" y="170"/>
                    </a:lnTo>
                    <a:lnTo>
                      <a:pt x="210" y="172"/>
                    </a:lnTo>
                    <a:lnTo>
                      <a:pt x="204" y="174"/>
                    </a:lnTo>
                    <a:lnTo>
                      <a:pt x="198" y="172"/>
                    </a:lnTo>
                    <a:lnTo>
                      <a:pt x="194" y="168"/>
                    </a:lnTo>
                    <a:lnTo>
                      <a:pt x="190" y="160"/>
                    </a:lnTo>
                    <a:lnTo>
                      <a:pt x="158" y="56"/>
                    </a:lnTo>
                    <a:lnTo>
                      <a:pt x="150" y="56"/>
                    </a:lnTo>
                    <a:lnTo>
                      <a:pt x="204" y="240"/>
                    </a:lnTo>
                    <a:lnTo>
                      <a:pt x="154" y="240"/>
                    </a:lnTo>
                    <a:lnTo>
                      <a:pt x="154" y="376"/>
                    </a:lnTo>
                    <a:lnTo>
                      <a:pt x="154" y="376"/>
                    </a:lnTo>
                    <a:lnTo>
                      <a:pt x="152" y="384"/>
                    </a:lnTo>
                    <a:lnTo>
                      <a:pt x="148" y="390"/>
                    </a:lnTo>
                    <a:lnTo>
                      <a:pt x="142" y="394"/>
                    </a:lnTo>
                    <a:lnTo>
                      <a:pt x="134" y="394"/>
                    </a:lnTo>
                    <a:lnTo>
                      <a:pt x="128" y="394"/>
                    </a:lnTo>
                    <a:lnTo>
                      <a:pt x="122" y="390"/>
                    </a:lnTo>
                    <a:lnTo>
                      <a:pt x="118" y="384"/>
                    </a:lnTo>
                    <a:lnTo>
                      <a:pt x="116" y="376"/>
                    </a:lnTo>
                    <a:lnTo>
                      <a:pt x="116" y="240"/>
                    </a:lnTo>
                    <a:lnTo>
                      <a:pt x="106" y="2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541" name="Group 540">
            <a:extLst>
              <a:ext uri="{FF2B5EF4-FFF2-40B4-BE49-F238E27FC236}">
                <a16:creationId xmlns:a16="http://schemas.microsoft.com/office/drawing/2014/main" id="{0065D24A-6920-4F0F-8BD9-2FC16E136A03}"/>
              </a:ext>
            </a:extLst>
          </p:cNvPr>
          <p:cNvGrpSpPr/>
          <p:nvPr/>
        </p:nvGrpSpPr>
        <p:grpSpPr>
          <a:xfrm>
            <a:off x="8778563" y="4641612"/>
            <a:ext cx="612775" cy="612775"/>
            <a:chOff x="4298355" y="3781158"/>
            <a:chExt cx="612775" cy="612775"/>
          </a:xfrm>
          <a:solidFill>
            <a:srgbClr val="505050"/>
          </a:solidFill>
        </p:grpSpPr>
        <p:sp>
          <p:nvSpPr>
            <p:cNvPr id="542" name="Oval 541">
              <a:extLst>
                <a:ext uri="{FF2B5EF4-FFF2-40B4-BE49-F238E27FC236}">
                  <a16:creationId xmlns:a16="http://schemas.microsoft.com/office/drawing/2014/main" id="{55092E85-D721-4E4F-9782-17FDE1830389}"/>
                </a:ext>
              </a:extLst>
            </p:cNvPr>
            <p:cNvSpPr/>
            <p:nvPr/>
          </p:nvSpPr>
          <p:spPr bwMode="ltGray">
            <a:xfrm>
              <a:off x="4298355" y="3781158"/>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543" name="Group 542">
              <a:extLst>
                <a:ext uri="{FF2B5EF4-FFF2-40B4-BE49-F238E27FC236}">
                  <a16:creationId xmlns:a16="http://schemas.microsoft.com/office/drawing/2014/main" id="{639B7859-D290-490D-9FF1-AB84B5FD7B1A}"/>
                </a:ext>
              </a:extLst>
            </p:cNvPr>
            <p:cNvGrpSpPr/>
            <p:nvPr/>
          </p:nvGrpSpPr>
          <p:grpSpPr>
            <a:xfrm>
              <a:off x="4426639" y="3860904"/>
              <a:ext cx="397148" cy="447052"/>
              <a:chOff x="3757613" y="506413"/>
              <a:chExt cx="606425" cy="682625"/>
            </a:xfrm>
            <a:grpFill/>
          </p:grpSpPr>
          <p:sp>
            <p:nvSpPr>
              <p:cNvPr id="544" name="Freeform 26">
                <a:extLst>
                  <a:ext uri="{FF2B5EF4-FFF2-40B4-BE49-F238E27FC236}">
                    <a16:creationId xmlns:a16="http://schemas.microsoft.com/office/drawing/2014/main" id="{D1C155FE-AFCB-4D50-B740-BC8D26BE29FE}"/>
                  </a:ext>
                </a:extLst>
              </p:cNvPr>
              <p:cNvSpPr>
                <a:spLocks/>
              </p:cNvSpPr>
              <p:nvPr/>
            </p:nvSpPr>
            <p:spPr bwMode="auto">
              <a:xfrm>
                <a:off x="3757613" y="760413"/>
                <a:ext cx="438150" cy="428625"/>
              </a:xfrm>
              <a:custGeom>
                <a:avLst/>
                <a:gdLst>
                  <a:gd name="T0" fmla="*/ 72 w 276"/>
                  <a:gd name="T1" fmla="*/ 0 h 270"/>
                  <a:gd name="T2" fmla="*/ 42 w 276"/>
                  <a:gd name="T3" fmla="*/ 22 h 270"/>
                  <a:gd name="T4" fmla="*/ 18 w 276"/>
                  <a:gd name="T5" fmla="*/ 52 h 270"/>
                  <a:gd name="T6" fmla="*/ 4 w 276"/>
                  <a:gd name="T7" fmla="*/ 88 h 270"/>
                  <a:gd name="T8" fmla="*/ 0 w 276"/>
                  <a:gd name="T9" fmla="*/ 126 h 270"/>
                  <a:gd name="T10" fmla="*/ 0 w 276"/>
                  <a:gd name="T11" fmla="*/ 142 h 270"/>
                  <a:gd name="T12" fmla="*/ 6 w 276"/>
                  <a:gd name="T13" fmla="*/ 170 h 270"/>
                  <a:gd name="T14" fmla="*/ 16 w 276"/>
                  <a:gd name="T15" fmla="*/ 194 h 270"/>
                  <a:gd name="T16" fmla="*/ 32 w 276"/>
                  <a:gd name="T17" fmla="*/ 218 h 270"/>
                  <a:gd name="T18" fmla="*/ 52 w 276"/>
                  <a:gd name="T19" fmla="*/ 236 h 270"/>
                  <a:gd name="T20" fmla="*/ 74 w 276"/>
                  <a:gd name="T21" fmla="*/ 252 h 270"/>
                  <a:gd name="T22" fmla="*/ 100 w 276"/>
                  <a:gd name="T23" fmla="*/ 264 h 270"/>
                  <a:gd name="T24" fmla="*/ 128 w 276"/>
                  <a:gd name="T25" fmla="*/ 268 h 270"/>
                  <a:gd name="T26" fmla="*/ 142 w 276"/>
                  <a:gd name="T27" fmla="*/ 270 h 270"/>
                  <a:gd name="T28" fmla="*/ 186 w 276"/>
                  <a:gd name="T29" fmla="*/ 262 h 270"/>
                  <a:gd name="T30" fmla="*/ 224 w 276"/>
                  <a:gd name="T31" fmla="*/ 244 h 270"/>
                  <a:gd name="T32" fmla="*/ 254 w 276"/>
                  <a:gd name="T33" fmla="*/ 214 h 270"/>
                  <a:gd name="T34" fmla="*/ 276 w 276"/>
                  <a:gd name="T35" fmla="*/ 178 h 270"/>
                  <a:gd name="T36" fmla="*/ 252 w 276"/>
                  <a:gd name="T37" fmla="*/ 140 h 270"/>
                  <a:gd name="T38" fmla="*/ 240 w 276"/>
                  <a:gd name="T39" fmla="*/ 178 h 270"/>
                  <a:gd name="T40" fmla="*/ 216 w 276"/>
                  <a:gd name="T41" fmla="*/ 208 h 270"/>
                  <a:gd name="T42" fmla="*/ 182 w 276"/>
                  <a:gd name="T43" fmla="*/ 230 h 270"/>
                  <a:gd name="T44" fmla="*/ 142 w 276"/>
                  <a:gd name="T45" fmla="*/ 236 h 270"/>
                  <a:gd name="T46" fmla="*/ 120 w 276"/>
                  <a:gd name="T47" fmla="*/ 234 h 270"/>
                  <a:gd name="T48" fmla="*/ 80 w 276"/>
                  <a:gd name="T49" fmla="*/ 218 h 270"/>
                  <a:gd name="T50" fmla="*/ 50 w 276"/>
                  <a:gd name="T51" fmla="*/ 188 h 270"/>
                  <a:gd name="T52" fmla="*/ 34 w 276"/>
                  <a:gd name="T53" fmla="*/ 148 h 270"/>
                  <a:gd name="T54" fmla="*/ 32 w 276"/>
                  <a:gd name="T55" fmla="*/ 126 h 270"/>
                  <a:gd name="T56" fmla="*/ 34 w 276"/>
                  <a:gd name="T57" fmla="*/ 102 h 270"/>
                  <a:gd name="T58" fmla="*/ 44 w 276"/>
                  <a:gd name="T59" fmla="*/ 78 h 270"/>
                  <a:gd name="T60" fmla="*/ 56 w 276"/>
                  <a:gd name="T61" fmla="*/ 58 h 270"/>
                  <a:gd name="T62" fmla="*/ 72 w 276"/>
                  <a:gd name="T63" fmla="*/ 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6" h="270">
                    <a:moveTo>
                      <a:pt x="72" y="0"/>
                    </a:moveTo>
                    <a:lnTo>
                      <a:pt x="72" y="0"/>
                    </a:lnTo>
                    <a:lnTo>
                      <a:pt x="56" y="10"/>
                    </a:lnTo>
                    <a:lnTo>
                      <a:pt x="42" y="22"/>
                    </a:lnTo>
                    <a:lnTo>
                      <a:pt x="30" y="36"/>
                    </a:lnTo>
                    <a:lnTo>
                      <a:pt x="18" y="52"/>
                    </a:lnTo>
                    <a:lnTo>
                      <a:pt x="10" y="70"/>
                    </a:lnTo>
                    <a:lnTo>
                      <a:pt x="4" y="88"/>
                    </a:lnTo>
                    <a:lnTo>
                      <a:pt x="0" y="106"/>
                    </a:lnTo>
                    <a:lnTo>
                      <a:pt x="0" y="126"/>
                    </a:lnTo>
                    <a:lnTo>
                      <a:pt x="0" y="126"/>
                    </a:lnTo>
                    <a:lnTo>
                      <a:pt x="0" y="142"/>
                    </a:lnTo>
                    <a:lnTo>
                      <a:pt x="2" y="156"/>
                    </a:lnTo>
                    <a:lnTo>
                      <a:pt x="6" y="170"/>
                    </a:lnTo>
                    <a:lnTo>
                      <a:pt x="10" y="182"/>
                    </a:lnTo>
                    <a:lnTo>
                      <a:pt x="16" y="194"/>
                    </a:lnTo>
                    <a:lnTo>
                      <a:pt x="24" y="206"/>
                    </a:lnTo>
                    <a:lnTo>
                      <a:pt x="32" y="218"/>
                    </a:lnTo>
                    <a:lnTo>
                      <a:pt x="42" y="228"/>
                    </a:lnTo>
                    <a:lnTo>
                      <a:pt x="52" y="236"/>
                    </a:lnTo>
                    <a:lnTo>
                      <a:pt x="62" y="246"/>
                    </a:lnTo>
                    <a:lnTo>
                      <a:pt x="74" y="252"/>
                    </a:lnTo>
                    <a:lnTo>
                      <a:pt x="86" y="258"/>
                    </a:lnTo>
                    <a:lnTo>
                      <a:pt x="100" y="264"/>
                    </a:lnTo>
                    <a:lnTo>
                      <a:pt x="114" y="266"/>
                    </a:lnTo>
                    <a:lnTo>
                      <a:pt x="128" y="268"/>
                    </a:lnTo>
                    <a:lnTo>
                      <a:pt x="142" y="270"/>
                    </a:lnTo>
                    <a:lnTo>
                      <a:pt x="142" y="270"/>
                    </a:lnTo>
                    <a:lnTo>
                      <a:pt x="164" y="268"/>
                    </a:lnTo>
                    <a:lnTo>
                      <a:pt x="186" y="262"/>
                    </a:lnTo>
                    <a:lnTo>
                      <a:pt x="206" y="254"/>
                    </a:lnTo>
                    <a:lnTo>
                      <a:pt x="224" y="244"/>
                    </a:lnTo>
                    <a:lnTo>
                      <a:pt x="240" y="230"/>
                    </a:lnTo>
                    <a:lnTo>
                      <a:pt x="254" y="214"/>
                    </a:lnTo>
                    <a:lnTo>
                      <a:pt x="266" y="196"/>
                    </a:lnTo>
                    <a:lnTo>
                      <a:pt x="276" y="178"/>
                    </a:lnTo>
                    <a:lnTo>
                      <a:pt x="252" y="140"/>
                    </a:lnTo>
                    <a:lnTo>
                      <a:pt x="252" y="140"/>
                    </a:lnTo>
                    <a:lnTo>
                      <a:pt x="248" y="160"/>
                    </a:lnTo>
                    <a:lnTo>
                      <a:pt x="240" y="178"/>
                    </a:lnTo>
                    <a:lnTo>
                      <a:pt x="230" y="194"/>
                    </a:lnTo>
                    <a:lnTo>
                      <a:pt x="216" y="208"/>
                    </a:lnTo>
                    <a:lnTo>
                      <a:pt x="200" y="220"/>
                    </a:lnTo>
                    <a:lnTo>
                      <a:pt x="182" y="230"/>
                    </a:lnTo>
                    <a:lnTo>
                      <a:pt x="162" y="236"/>
                    </a:lnTo>
                    <a:lnTo>
                      <a:pt x="142" y="236"/>
                    </a:lnTo>
                    <a:lnTo>
                      <a:pt x="142" y="236"/>
                    </a:lnTo>
                    <a:lnTo>
                      <a:pt x="120" y="234"/>
                    </a:lnTo>
                    <a:lnTo>
                      <a:pt x="100" y="228"/>
                    </a:lnTo>
                    <a:lnTo>
                      <a:pt x="80" y="218"/>
                    </a:lnTo>
                    <a:lnTo>
                      <a:pt x="64" y="204"/>
                    </a:lnTo>
                    <a:lnTo>
                      <a:pt x="50" y="188"/>
                    </a:lnTo>
                    <a:lnTo>
                      <a:pt x="40" y="170"/>
                    </a:lnTo>
                    <a:lnTo>
                      <a:pt x="34" y="148"/>
                    </a:lnTo>
                    <a:lnTo>
                      <a:pt x="32" y="126"/>
                    </a:lnTo>
                    <a:lnTo>
                      <a:pt x="32" y="126"/>
                    </a:lnTo>
                    <a:lnTo>
                      <a:pt x="32" y="114"/>
                    </a:lnTo>
                    <a:lnTo>
                      <a:pt x="34" y="102"/>
                    </a:lnTo>
                    <a:lnTo>
                      <a:pt x="38" y="90"/>
                    </a:lnTo>
                    <a:lnTo>
                      <a:pt x="44" y="78"/>
                    </a:lnTo>
                    <a:lnTo>
                      <a:pt x="50" y="68"/>
                    </a:lnTo>
                    <a:lnTo>
                      <a:pt x="56" y="58"/>
                    </a:lnTo>
                    <a:lnTo>
                      <a:pt x="74" y="42"/>
                    </a:lnTo>
                    <a:lnTo>
                      <a:pt x="7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45" name="Freeform 27">
                <a:extLst>
                  <a:ext uri="{FF2B5EF4-FFF2-40B4-BE49-F238E27FC236}">
                    <a16:creationId xmlns:a16="http://schemas.microsoft.com/office/drawing/2014/main" id="{7A9E1954-7A80-410B-A425-FEC4172E5002}"/>
                  </a:ext>
                </a:extLst>
              </p:cNvPr>
              <p:cNvSpPr>
                <a:spLocks/>
              </p:cNvSpPr>
              <p:nvPr/>
            </p:nvSpPr>
            <p:spPr bwMode="auto">
              <a:xfrm>
                <a:off x="3884613" y="506413"/>
                <a:ext cx="123825" cy="123825"/>
              </a:xfrm>
              <a:custGeom>
                <a:avLst/>
                <a:gdLst>
                  <a:gd name="T0" fmla="*/ 38 w 78"/>
                  <a:gd name="T1" fmla="*/ 78 h 78"/>
                  <a:gd name="T2" fmla="*/ 38 w 78"/>
                  <a:gd name="T3" fmla="*/ 78 h 78"/>
                  <a:gd name="T4" fmla="*/ 46 w 78"/>
                  <a:gd name="T5" fmla="*/ 78 h 78"/>
                  <a:gd name="T6" fmla="*/ 54 w 78"/>
                  <a:gd name="T7" fmla="*/ 74 h 78"/>
                  <a:gd name="T8" fmla="*/ 60 w 78"/>
                  <a:gd name="T9" fmla="*/ 72 h 78"/>
                  <a:gd name="T10" fmla="*/ 66 w 78"/>
                  <a:gd name="T11" fmla="*/ 66 h 78"/>
                  <a:gd name="T12" fmla="*/ 70 w 78"/>
                  <a:gd name="T13" fmla="*/ 60 h 78"/>
                  <a:gd name="T14" fmla="*/ 74 w 78"/>
                  <a:gd name="T15" fmla="*/ 54 h 78"/>
                  <a:gd name="T16" fmla="*/ 76 w 78"/>
                  <a:gd name="T17" fmla="*/ 48 h 78"/>
                  <a:gd name="T18" fmla="*/ 78 w 78"/>
                  <a:gd name="T19" fmla="*/ 40 h 78"/>
                  <a:gd name="T20" fmla="*/ 78 w 78"/>
                  <a:gd name="T21" fmla="*/ 40 h 78"/>
                  <a:gd name="T22" fmla="*/ 76 w 78"/>
                  <a:gd name="T23" fmla="*/ 32 h 78"/>
                  <a:gd name="T24" fmla="*/ 74 w 78"/>
                  <a:gd name="T25" fmla="*/ 24 h 78"/>
                  <a:gd name="T26" fmla="*/ 70 w 78"/>
                  <a:gd name="T27" fmla="*/ 18 h 78"/>
                  <a:gd name="T28" fmla="*/ 66 w 78"/>
                  <a:gd name="T29" fmla="*/ 12 h 78"/>
                  <a:gd name="T30" fmla="*/ 60 w 78"/>
                  <a:gd name="T31" fmla="*/ 8 h 78"/>
                  <a:gd name="T32" fmla="*/ 54 w 78"/>
                  <a:gd name="T33" fmla="*/ 4 h 78"/>
                  <a:gd name="T34" fmla="*/ 46 w 78"/>
                  <a:gd name="T35" fmla="*/ 2 h 78"/>
                  <a:gd name="T36" fmla="*/ 38 w 78"/>
                  <a:gd name="T37" fmla="*/ 0 h 78"/>
                  <a:gd name="T38" fmla="*/ 38 w 78"/>
                  <a:gd name="T39" fmla="*/ 0 h 78"/>
                  <a:gd name="T40" fmla="*/ 32 w 78"/>
                  <a:gd name="T41" fmla="*/ 2 h 78"/>
                  <a:gd name="T42" fmla="*/ 24 w 78"/>
                  <a:gd name="T43" fmla="*/ 4 h 78"/>
                  <a:gd name="T44" fmla="*/ 18 w 78"/>
                  <a:gd name="T45" fmla="*/ 8 h 78"/>
                  <a:gd name="T46" fmla="*/ 12 w 78"/>
                  <a:gd name="T47" fmla="*/ 12 h 78"/>
                  <a:gd name="T48" fmla="*/ 6 w 78"/>
                  <a:gd name="T49" fmla="*/ 18 h 78"/>
                  <a:gd name="T50" fmla="*/ 4 w 78"/>
                  <a:gd name="T51" fmla="*/ 24 h 78"/>
                  <a:gd name="T52" fmla="*/ 2 w 78"/>
                  <a:gd name="T53" fmla="*/ 32 h 78"/>
                  <a:gd name="T54" fmla="*/ 0 w 78"/>
                  <a:gd name="T55" fmla="*/ 40 h 78"/>
                  <a:gd name="T56" fmla="*/ 0 w 78"/>
                  <a:gd name="T57" fmla="*/ 40 h 78"/>
                  <a:gd name="T58" fmla="*/ 2 w 78"/>
                  <a:gd name="T59" fmla="*/ 48 h 78"/>
                  <a:gd name="T60" fmla="*/ 4 w 78"/>
                  <a:gd name="T61" fmla="*/ 54 h 78"/>
                  <a:gd name="T62" fmla="*/ 6 w 78"/>
                  <a:gd name="T63" fmla="*/ 60 h 78"/>
                  <a:gd name="T64" fmla="*/ 12 w 78"/>
                  <a:gd name="T65" fmla="*/ 66 h 78"/>
                  <a:gd name="T66" fmla="*/ 18 w 78"/>
                  <a:gd name="T67" fmla="*/ 72 h 78"/>
                  <a:gd name="T68" fmla="*/ 24 w 78"/>
                  <a:gd name="T69" fmla="*/ 74 h 78"/>
                  <a:gd name="T70" fmla="*/ 32 w 78"/>
                  <a:gd name="T71" fmla="*/ 78 h 78"/>
                  <a:gd name="T72" fmla="*/ 38 w 78"/>
                  <a:gd name="T73" fmla="*/ 78 h 78"/>
                  <a:gd name="T74" fmla="*/ 38 w 78"/>
                  <a:gd name="T7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78">
                    <a:moveTo>
                      <a:pt x="38" y="78"/>
                    </a:moveTo>
                    <a:lnTo>
                      <a:pt x="38" y="78"/>
                    </a:lnTo>
                    <a:lnTo>
                      <a:pt x="46" y="78"/>
                    </a:lnTo>
                    <a:lnTo>
                      <a:pt x="54" y="74"/>
                    </a:lnTo>
                    <a:lnTo>
                      <a:pt x="60" y="72"/>
                    </a:lnTo>
                    <a:lnTo>
                      <a:pt x="66" y="66"/>
                    </a:lnTo>
                    <a:lnTo>
                      <a:pt x="70" y="60"/>
                    </a:lnTo>
                    <a:lnTo>
                      <a:pt x="74" y="54"/>
                    </a:lnTo>
                    <a:lnTo>
                      <a:pt x="76" y="48"/>
                    </a:lnTo>
                    <a:lnTo>
                      <a:pt x="78" y="40"/>
                    </a:lnTo>
                    <a:lnTo>
                      <a:pt x="78" y="40"/>
                    </a:lnTo>
                    <a:lnTo>
                      <a:pt x="76" y="32"/>
                    </a:lnTo>
                    <a:lnTo>
                      <a:pt x="74" y="24"/>
                    </a:lnTo>
                    <a:lnTo>
                      <a:pt x="70" y="18"/>
                    </a:lnTo>
                    <a:lnTo>
                      <a:pt x="66" y="12"/>
                    </a:lnTo>
                    <a:lnTo>
                      <a:pt x="60" y="8"/>
                    </a:lnTo>
                    <a:lnTo>
                      <a:pt x="54" y="4"/>
                    </a:lnTo>
                    <a:lnTo>
                      <a:pt x="46" y="2"/>
                    </a:lnTo>
                    <a:lnTo>
                      <a:pt x="38" y="0"/>
                    </a:lnTo>
                    <a:lnTo>
                      <a:pt x="38" y="0"/>
                    </a:lnTo>
                    <a:lnTo>
                      <a:pt x="32" y="2"/>
                    </a:lnTo>
                    <a:lnTo>
                      <a:pt x="24" y="4"/>
                    </a:lnTo>
                    <a:lnTo>
                      <a:pt x="18" y="8"/>
                    </a:lnTo>
                    <a:lnTo>
                      <a:pt x="12" y="12"/>
                    </a:lnTo>
                    <a:lnTo>
                      <a:pt x="6" y="18"/>
                    </a:lnTo>
                    <a:lnTo>
                      <a:pt x="4" y="24"/>
                    </a:lnTo>
                    <a:lnTo>
                      <a:pt x="2" y="32"/>
                    </a:lnTo>
                    <a:lnTo>
                      <a:pt x="0" y="40"/>
                    </a:lnTo>
                    <a:lnTo>
                      <a:pt x="0" y="40"/>
                    </a:lnTo>
                    <a:lnTo>
                      <a:pt x="2" y="48"/>
                    </a:lnTo>
                    <a:lnTo>
                      <a:pt x="4" y="54"/>
                    </a:lnTo>
                    <a:lnTo>
                      <a:pt x="6" y="60"/>
                    </a:lnTo>
                    <a:lnTo>
                      <a:pt x="12" y="66"/>
                    </a:lnTo>
                    <a:lnTo>
                      <a:pt x="18" y="72"/>
                    </a:lnTo>
                    <a:lnTo>
                      <a:pt x="24" y="74"/>
                    </a:lnTo>
                    <a:lnTo>
                      <a:pt x="32" y="78"/>
                    </a:lnTo>
                    <a:lnTo>
                      <a:pt x="38" y="78"/>
                    </a:lnTo>
                    <a:lnTo>
                      <a:pt x="38" y="7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46" name="Freeform 28">
                <a:extLst>
                  <a:ext uri="{FF2B5EF4-FFF2-40B4-BE49-F238E27FC236}">
                    <a16:creationId xmlns:a16="http://schemas.microsoft.com/office/drawing/2014/main" id="{AAD66797-935B-4E3F-8BE6-E9200A7757BB}"/>
                  </a:ext>
                </a:extLst>
              </p:cNvPr>
              <p:cNvSpPr>
                <a:spLocks/>
              </p:cNvSpPr>
              <p:nvPr/>
            </p:nvSpPr>
            <p:spPr bwMode="auto">
              <a:xfrm>
                <a:off x="3887788" y="636588"/>
                <a:ext cx="476250" cy="460375"/>
              </a:xfrm>
              <a:custGeom>
                <a:avLst/>
                <a:gdLst>
                  <a:gd name="T0" fmla="*/ 78 w 300"/>
                  <a:gd name="T1" fmla="*/ 38 h 290"/>
                  <a:gd name="T2" fmla="*/ 76 w 300"/>
                  <a:gd name="T3" fmla="*/ 24 h 290"/>
                  <a:gd name="T4" fmla="*/ 66 w 300"/>
                  <a:gd name="T5" fmla="*/ 12 h 290"/>
                  <a:gd name="T6" fmla="*/ 54 w 300"/>
                  <a:gd name="T7" fmla="*/ 4 h 290"/>
                  <a:gd name="T8" fmla="*/ 40 w 300"/>
                  <a:gd name="T9" fmla="*/ 0 h 290"/>
                  <a:gd name="T10" fmla="*/ 32 w 300"/>
                  <a:gd name="T11" fmla="*/ 2 h 290"/>
                  <a:gd name="T12" fmla="*/ 18 w 300"/>
                  <a:gd name="T13" fmla="*/ 6 h 290"/>
                  <a:gd name="T14" fmla="*/ 8 w 300"/>
                  <a:gd name="T15" fmla="*/ 18 h 290"/>
                  <a:gd name="T16" fmla="*/ 2 w 300"/>
                  <a:gd name="T17" fmla="*/ 32 h 290"/>
                  <a:gd name="T18" fmla="*/ 8 w 300"/>
                  <a:gd name="T19" fmla="*/ 150 h 290"/>
                  <a:gd name="T20" fmla="*/ 8 w 300"/>
                  <a:gd name="T21" fmla="*/ 156 h 290"/>
                  <a:gd name="T22" fmla="*/ 14 w 300"/>
                  <a:gd name="T23" fmla="*/ 170 h 290"/>
                  <a:gd name="T24" fmla="*/ 26 w 300"/>
                  <a:gd name="T25" fmla="*/ 182 h 290"/>
                  <a:gd name="T26" fmla="*/ 38 w 300"/>
                  <a:gd name="T27" fmla="*/ 186 h 290"/>
                  <a:gd name="T28" fmla="*/ 168 w 300"/>
                  <a:gd name="T29" fmla="*/ 188 h 290"/>
                  <a:gd name="T30" fmla="*/ 296 w 300"/>
                  <a:gd name="T31" fmla="*/ 250 h 290"/>
                  <a:gd name="T32" fmla="*/ 300 w 300"/>
                  <a:gd name="T33" fmla="*/ 244 h 290"/>
                  <a:gd name="T34" fmla="*/ 300 w 300"/>
                  <a:gd name="T35" fmla="*/ 230 h 290"/>
                  <a:gd name="T36" fmla="*/ 296 w 300"/>
                  <a:gd name="T37" fmla="*/ 224 h 290"/>
                  <a:gd name="T38" fmla="*/ 282 w 300"/>
                  <a:gd name="T39" fmla="*/ 220 h 290"/>
                  <a:gd name="T40" fmla="*/ 270 w 300"/>
                  <a:gd name="T41" fmla="*/ 224 h 290"/>
                  <a:gd name="T42" fmla="*/ 196 w 300"/>
                  <a:gd name="T43" fmla="*/ 142 h 290"/>
                  <a:gd name="T44" fmla="*/ 190 w 300"/>
                  <a:gd name="T45" fmla="*/ 134 h 290"/>
                  <a:gd name="T46" fmla="*/ 174 w 300"/>
                  <a:gd name="T47" fmla="*/ 128 h 290"/>
                  <a:gd name="T48" fmla="*/ 82 w 300"/>
                  <a:gd name="T49" fmla="*/ 126 h 290"/>
                  <a:gd name="T50" fmla="*/ 148 w 300"/>
                  <a:gd name="T51" fmla="*/ 110 h 290"/>
                  <a:gd name="T52" fmla="*/ 156 w 300"/>
                  <a:gd name="T53" fmla="*/ 108 h 290"/>
                  <a:gd name="T54" fmla="*/ 164 w 300"/>
                  <a:gd name="T55" fmla="*/ 98 h 290"/>
                  <a:gd name="T56" fmla="*/ 166 w 300"/>
                  <a:gd name="T57" fmla="*/ 90 h 290"/>
                  <a:gd name="T58" fmla="*/ 160 w 300"/>
                  <a:gd name="T59" fmla="*/ 78 h 290"/>
                  <a:gd name="T60" fmla="*/ 148 w 300"/>
                  <a:gd name="T61" fmla="*/ 72 h 290"/>
                  <a:gd name="T62" fmla="*/ 78 w 300"/>
                  <a:gd name="T63" fmla="*/ 38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00" h="290">
                    <a:moveTo>
                      <a:pt x="78" y="38"/>
                    </a:moveTo>
                    <a:lnTo>
                      <a:pt x="78" y="38"/>
                    </a:lnTo>
                    <a:lnTo>
                      <a:pt x="78" y="32"/>
                    </a:lnTo>
                    <a:lnTo>
                      <a:pt x="76" y="24"/>
                    </a:lnTo>
                    <a:lnTo>
                      <a:pt x="72" y="18"/>
                    </a:lnTo>
                    <a:lnTo>
                      <a:pt x="66" y="12"/>
                    </a:lnTo>
                    <a:lnTo>
                      <a:pt x="62" y="6"/>
                    </a:lnTo>
                    <a:lnTo>
                      <a:pt x="54" y="4"/>
                    </a:lnTo>
                    <a:lnTo>
                      <a:pt x="48" y="2"/>
                    </a:lnTo>
                    <a:lnTo>
                      <a:pt x="40" y="0"/>
                    </a:lnTo>
                    <a:lnTo>
                      <a:pt x="40" y="0"/>
                    </a:lnTo>
                    <a:lnTo>
                      <a:pt x="32" y="2"/>
                    </a:lnTo>
                    <a:lnTo>
                      <a:pt x="24" y="4"/>
                    </a:lnTo>
                    <a:lnTo>
                      <a:pt x="18" y="6"/>
                    </a:lnTo>
                    <a:lnTo>
                      <a:pt x="12" y="12"/>
                    </a:lnTo>
                    <a:lnTo>
                      <a:pt x="8" y="18"/>
                    </a:lnTo>
                    <a:lnTo>
                      <a:pt x="4" y="24"/>
                    </a:lnTo>
                    <a:lnTo>
                      <a:pt x="2" y="32"/>
                    </a:lnTo>
                    <a:lnTo>
                      <a:pt x="0" y="38"/>
                    </a:lnTo>
                    <a:lnTo>
                      <a:pt x="8" y="150"/>
                    </a:lnTo>
                    <a:lnTo>
                      <a:pt x="8" y="150"/>
                    </a:lnTo>
                    <a:lnTo>
                      <a:pt x="8" y="156"/>
                    </a:lnTo>
                    <a:lnTo>
                      <a:pt x="12" y="164"/>
                    </a:lnTo>
                    <a:lnTo>
                      <a:pt x="14" y="170"/>
                    </a:lnTo>
                    <a:lnTo>
                      <a:pt x="20" y="176"/>
                    </a:lnTo>
                    <a:lnTo>
                      <a:pt x="26" y="182"/>
                    </a:lnTo>
                    <a:lnTo>
                      <a:pt x="32" y="184"/>
                    </a:lnTo>
                    <a:lnTo>
                      <a:pt x="38" y="186"/>
                    </a:lnTo>
                    <a:lnTo>
                      <a:pt x="46" y="188"/>
                    </a:lnTo>
                    <a:lnTo>
                      <a:pt x="168" y="188"/>
                    </a:lnTo>
                    <a:lnTo>
                      <a:pt x="232" y="290"/>
                    </a:lnTo>
                    <a:lnTo>
                      <a:pt x="296" y="250"/>
                    </a:lnTo>
                    <a:lnTo>
                      <a:pt x="296" y="250"/>
                    </a:lnTo>
                    <a:lnTo>
                      <a:pt x="300" y="244"/>
                    </a:lnTo>
                    <a:lnTo>
                      <a:pt x="300" y="238"/>
                    </a:lnTo>
                    <a:lnTo>
                      <a:pt x="300" y="230"/>
                    </a:lnTo>
                    <a:lnTo>
                      <a:pt x="296" y="224"/>
                    </a:lnTo>
                    <a:lnTo>
                      <a:pt x="296" y="224"/>
                    </a:lnTo>
                    <a:lnTo>
                      <a:pt x="290" y="220"/>
                    </a:lnTo>
                    <a:lnTo>
                      <a:pt x="282" y="220"/>
                    </a:lnTo>
                    <a:lnTo>
                      <a:pt x="276" y="220"/>
                    </a:lnTo>
                    <a:lnTo>
                      <a:pt x="270" y="224"/>
                    </a:lnTo>
                    <a:lnTo>
                      <a:pt x="254" y="236"/>
                    </a:lnTo>
                    <a:lnTo>
                      <a:pt x="196" y="142"/>
                    </a:lnTo>
                    <a:lnTo>
                      <a:pt x="196" y="142"/>
                    </a:lnTo>
                    <a:lnTo>
                      <a:pt x="190" y="134"/>
                    </a:lnTo>
                    <a:lnTo>
                      <a:pt x="182" y="130"/>
                    </a:lnTo>
                    <a:lnTo>
                      <a:pt x="174" y="128"/>
                    </a:lnTo>
                    <a:lnTo>
                      <a:pt x="166" y="126"/>
                    </a:lnTo>
                    <a:lnTo>
                      <a:pt x="82" y="126"/>
                    </a:lnTo>
                    <a:lnTo>
                      <a:pt x="82" y="110"/>
                    </a:lnTo>
                    <a:lnTo>
                      <a:pt x="148" y="110"/>
                    </a:lnTo>
                    <a:lnTo>
                      <a:pt x="148" y="110"/>
                    </a:lnTo>
                    <a:lnTo>
                      <a:pt x="156" y="108"/>
                    </a:lnTo>
                    <a:lnTo>
                      <a:pt x="160" y="104"/>
                    </a:lnTo>
                    <a:lnTo>
                      <a:pt x="164" y="98"/>
                    </a:lnTo>
                    <a:lnTo>
                      <a:pt x="166" y="90"/>
                    </a:lnTo>
                    <a:lnTo>
                      <a:pt x="166" y="90"/>
                    </a:lnTo>
                    <a:lnTo>
                      <a:pt x="164" y="84"/>
                    </a:lnTo>
                    <a:lnTo>
                      <a:pt x="160" y="78"/>
                    </a:lnTo>
                    <a:lnTo>
                      <a:pt x="156" y="74"/>
                    </a:lnTo>
                    <a:lnTo>
                      <a:pt x="148" y="72"/>
                    </a:lnTo>
                    <a:lnTo>
                      <a:pt x="80" y="72"/>
                    </a:lnTo>
                    <a:lnTo>
                      <a:pt x="78"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47" name="Line 29">
                <a:extLst>
                  <a:ext uri="{FF2B5EF4-FFF2-40B4-BE49-F238E27FC236}">
                    <a16:creationId xmlns:a16="http://schemas.microsoft.com/office/drawing/2014/main" id="{FDCF4DFF-63CA-48A2-A09A-E2643897FE36}"/>
                  </a:ext>
                </a:extLst>
              </p:cNvPr>
              <p:cNvSpPr>
                <a:spLocks noChangeShapeType="1"/>
              </p:cNvSpPr>
              <p:nvPr/>
            </p:nvSpPr>
            <p:spPr bwMode="auto">
              <a:xfrm>
                <a:off x="4198938" y="86201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48" name="Line 30">
                <a:extLst>
                  <a:ext uri="{FF2B5EF4-FFF2-40B4-BE49-F238E27FC236}">
                    <a16:creationId xmlns:a16="http://schemas.microsoft.com/office/drawing/2014/main" id="{B0A90441-C75E-4AD0-A997-71B00CD13D77}"/>
                  </a:ext>
                </a:extLst>
              </p:cNvPr>
              <p:cNvSpPr>
                <a:spLocks noChangeShapeType="1"/>
              </p:cNvSpPr>
              <p:nvPr/>
            </p:nvSpPr>
            <p:spPr bwMode="auto">
              <a:xfrm>
                <a:off x="4198938" y="862013"/>
                <a:ext cx="0" cy="0"/>
              </a:xfrm>
              <a:prstGeom prst="lin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grpSp>
        <p:nvGrpSpPr>
          <p:cNvPr id="549" name="Group 548">
            <a:extLst>
              <a:ext uri="{FF2B5EF4-FFF2-40B4-BE49-F238E27FC236}">
                <a16:creationId xmlns:a16="http://schemas.microsoft.com/office/drawing/2014/main" id="{0C10C8BA-AE52-48BF-BCF7-D4EE150B13FE}"/>
              </a:ext>
            </a:extLst>
          </p:cNvPr>
          <p:cNvGrpSpPr/>
          <p:nvPr/>
        </p:nvGrpSpPr>
        <p:grpSpPr>
          <a:xfrm>
            <a:off x="9611577" y="4641612"/>
            <a:ext cx="612775" cy="612775"/>
            <a:chOff x="5017261" y="3781158"/>
            <a:chExt cx="612775" cy="612775"/>
          </a:xfrm>
          <a:solidFill>
            <a:srgbClr val="505050"/>
          </a:solidFill>
        </p:grpSpPr>
        <p:sp>
          <p:nvSpPr>
            <p:cNvPr id="550" name="Oval 549">
              <a:extLst>
                <a:ext uri="{FF2B5EF4-FFF2-40B4-BE49-F238E27FC236}">
                  <a16:creationId xmlns:a16="http://schemas.microsoft.com/office/drawing/2014/main" id="{BB481FFA-AE87-47A4-A262-67F6A1CAF02D}"/>
                </a:ext>
              </a:extLst>
            </p:cNvPr>
            <p:cNvSpPr/>
            <p:nvPr/>
          </p:nvSpPr>
          <p:spPr bwMode="ltGray">
            <a:xfrm>
              <a:off x="5017261" y="3781158"/>
              <a:ext cx="612775" cy="612775"/>
            </a:xfrm>
            <a:prstGeom prst="ellipse">
              <a:avLst/>
            </a:prstGeom>
            <a:noFill/>
            <a:ln w="317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err="1">
                <a:ln>
                  <a:noFill/>
                </a:ln>
                <a:solidFill>
                  <a:prstClr val="white"/>
                </a:solidFill>
                <a:effectLst/>
                <a:uLnTx/>
                <a:uFillTx/>
                <a:latin typeface="Georgia" pitchFamily="18" charset="0"/>
                <a:ea typeface="+mn-ea"/>
                <a:cs typeface="+mn-cs"/>
              </a:endParaRPr>
            </a:p>
          </p:txBody>
        </p:sp>
        <p:grpSp>
          <p:nvGrpSpPr>
            <p:cNvPr id="551" name="Group 550">
              <a:extLst>
                <a:ext uri="{FF2B5EF4-FFF2-40B4-BE49-F238E27FC236}">
                  <a16:creationId xmlns:a16="http://schemas.microsoft.com/office/drawing/2014/main" id="{A51DE7DA-E4F6-43B1-B37D-97EE06A1B8BA}"/>
                </a:ext>
              </a:extLst>
            </p:cNvPr>
            <p:cNvGrpSpPr/>
            <p:nvPr/>
          </p:nvGrpSpPr>
          <p:grpSpPr>
            <a:xfrm>
              <a:off x="5128641" y="3887353"/>
              <a:ext cx="424213" cy="359377"/>
              <a:chOff x="3675063" y="1573213"/>
              <a:chExt cx="727075" cy="615950"/>
            </a:xfrm>
            <a:grpFill/>
          </p:grpSpPr>
          <p:sp>
            <p:nvSpPr>
              <p:cNvPr id="552" name="Freeform 60">
                <a:extLst>
                  <a:ext uri="{FF2B5EF4-FFF2-40B4-BE49-F238E27FC236}">
                    <a16:creationId xmlns:a16="http://schemas.microsoft.com/office/drawing/2014/main" id="{3236FD4F-F4B7-42C1-B6EF-0DB443BB0CD1}"/>
                  </a:ext>
                </a:extLst>
              </p:cNvPr>
              <p:cNvSpPr>
                <a:spLocks/>
              </p:cNvSpPr>
              <p:nvPr/>
            </p:nvSpPr>
            <p:spPr bwMode="auto">
              <a:xfrm>
                <a:off x="3776663" y="1855788"/>
                <a:ext cx="177800" cy="333375"/>
              </a:xfrm>
              <a:custGeom>
                <a:avLst/>
                <a:gdLst>
                  <a:gd name="T0" fmla="*/ 34 w 112"/>
                  <a:gd name="T1" fmla="*/ 80 h 210"/>
                  <a:gd name="T2" fmla="*/ 34 w 112"/>
                  <a:gd name="T3" fmla="*/ 80 h 210"/>
                  <a:gd name="T4" fmla="*/ 22 w 112"/>
                  <a:gd name="T5" fmla="*/ 54 h 210"/>
                  <a:gd name="T6" fmla="*/ 106 w 112"/>
                  <a:gd name="T7" fmla="*/ 0 h 210"/>
                  <a:gd name="T8" fmla="*/ 98 w 112"/>
                  <a:gd name="T9" fmla="*/ 106 h 210"/>
                  <a:gd name="T10" fmla="*/ 112 w 112"/>
                  <a:gd name="T11" fmla="*/ 176 h 210"/>
                  <a:gd name="T12" fmla="*/ 112 w 112"/>
                  <a:gd name="T13" fmla="*/ 176 h 210"/>
                  <a:gd name="T14" fmla="*/ 112 w 112"/>
                  <a:gd name="T15" fmla="*/ 182 h 210"/>
                  <a:gd name="T16" fmla="*/ 106 w 112"/>
                  <a:gd name="T17" fmla="*/ 200 h 210"/>
                  <a:gd name="T18" fmla="*/ 106 w 112"/>
                  <a:gd name="T19" fmla="*/ 200 h 210"/>
                  <a:gd name="T20" fmla="*/ 104 w 112"/>
                  <a:gd name="T21" fmla="*/ 204 h 210"/>
                  <a:gd name="T22" fmla="*/ 100 w 112"/>
                  <a:gd name="T23" fmla="*/ 208 h 210"/>
                  <a:gd name="T24" fmla="*/ 96 w 112"/>
                  <a:gd name="T25" fmla="*/ 210 h 210"/>
                  <a:gd name="T26" fmla="*/ 90 w 112"/>
                  <a:gd name="T27" fmla="*/ 210 h 210"/>
                  <a:gd name="T28" fmla="*/ 80 w 112"/>
                  <a:gd name="T29" fmla="*/ 210 h 210"/>
                  <a:gd name="T30" fmla="*/ 88 w 112"/>
                  <a:gd name="T31" fmla="*/ 176 h 210"/>
                  <a:gd name="T32" fmla="*/ 72 w 112"/>
                  <a:gd name="T33" fmla="*/ 102 h 210"/>
                  <a:gd name="T34" fmla="*/ 72 w 112"/>
                  <a:gd name="T35" fmla="*/ 102 h 210"/>
                  <a:gd name="T36" fmla="*/ 56 w 112"/>
                  <a:gd name="T37" fmla="*/ 96 h 210"/>
                  <a:gd name="T38" fmla="*/ 30 w 112"/>
                  <a:gd name="T39" fmla="*/ 200 h 210"/>
                  <a:gd name="T40" fmla="*/ 30 w 112"/>
                  <a:gd name="T41" fmla="*/ 200 h 210"/>
                  <a:gd name="T42" fmla="*/ 26 w 112"/>
                  <a:gd name="T43" fmla="*/ 204 h 210"/>
                  <a:gd name="T44" fmla="*/ 22 w 112"/>
                  <a:gd name="T45" fmla="*/ 208 h 210"/>
                  <a:gd name="T46" fmla="*/ 18 w 112"/>
                  <a:gd name="T47" fmla="*/ 210 h 210"/>
                  <a:gd name="T48" fmla="*/ 12 w 112"/>
                  <a:gd name="T49" fmla="*/ 210 h 210"/>
                  <a:gd name="T50" fmla="*/ 0 w 112"/>
                  <a:gd name="T51" fmla="*/ 210 h 210"/>
                  <a:gd name="T52" fmla="*/ 0 w 112"/>
                  <a:gd name="T53" fmla="*/ 210 h 210"/>
                  <a:gd name="T54" fmla="*/ 34 w 112"/>
                  <a:gd name="T55" fmla="*/ 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210">
                    <a:moveTo>
                      <a:pt x="34" y="80"/>
                    </a:moveTo>
                    <a:lnTo>
                      <a:pt x="34" y="80"/>
                    </a:lnTo>
                    <a:lnTo>
                      <a:pt x="22" y="54"/>
                    </a:lnTo>
                    <a:lnTo>
                      <a:pt x="106" y="0"/>
                    </a:lnTo>
                    <a:lnTo>
                      <a:pt x="98" y="106"/>
                    </a:lnTo>
                    <a:lnTo>
                      <a:pt x="112" y="176"/>
                    </a:lnTo>
                    <a:lnTo>
                      <a:pt x="112" y="176"/>
                    </a:lnTo>
                    <a:lnTo>
                      <a:pt x="112" y="182"/>
                    </a:lnTo>
                    <a:lnTo>
                      <a:pt x="106" y="200"/>
                    </a:lnTo>
                    <a:lnTo>
                      <a:pt x="106" y="200"/>
                    </a:lnTo>
                    <a:lnTo>
                      <a:pt x="104" y="204"/>
                    </a:lnTo>
                    <a:lnTo>
                      <a:pt x="100" y="208"/>
                    </a:lnTo>
                    <a:lnTo>
                      <a:pt x="96" y="210"/>
                    </a:lnTo>
                    <a:lnTo>
                      <a:pt x="90" y="210"/>
                    </a:lnTo>
                    <a:lnTo>
                      <a:pt x="80" y="210"/>
                    </a:lnTo>
                    <a:lnTo>
                      <a:pt x="88" y="176"/>
                    </a:lnTo>
                    <a:lnTo>
                      <a:pt x="72" y="102"/>
                    </a:lnTo>
                    <a:lnTo>
                      <a:pt x="72" y="102"/>
                    </a:lnTo>
                    <a:lnTo>
                      <a:pt x="56" y="96"/>
                    </a:lnTo>
                    <a:lnTo>
                      <a:pt x="30" y="200"/>
                    </a:lnTo>
                    <a:lnTo>
                      <a:pt x="30" y="200"/>
                    </a:lnTo>
                    <a:lnTo>
                      <a:pt x="26" y="204"/>
                    </a:lnTo>
                    <a:lnTo>
                      <a:pt x="22" y="208"/>
                    </a:lnTo>
                    <a:lnTo>
                      <a:pt x="18" y="210"/>
                    </a:lnTo>
                    <a:lnTo>
                      <a:pt x="12" y="210"/>
                    </a:lnTo>
                    <a:lnTo>
                      <a:pt x="0" y="210"/>
                    </a:lnTo>
                    <a:lnTo>
                      <a:pt x="0" y="210"/>
                    </a:lnTo>
                    <a:lnTo>
                      <a:pt x="34" y="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53" name="Freeform 61">
                <a:extLst>
                  <a:ext uri="{FF2B5EF4-FFF2-40B4-BE49-F238E27FC236}">
                    <a16:creationId xmlns:a16="http://schemas.microsoft.com/office/drawing/2014/main" id="{874D3383-E92B-4A02-BB04-8528C66A2A27}"/>
                  </a:ext>
                </a:extLst>
              </p:cNvPr>
              <p:cNvSpPr>
                <a:spLocks/>
              </p:cNvSpPr>
              <p:nvPr/>
            </p:nvSpPr>
            <p:spPr bwMode="auto">
              <a:xfrm>
                <a:off x="3776663" y="1855788"/>
                <a:ext cx="177800" cy="333375"/>
              </a:xfrm>
              <a:custGeom>
                <a:avLst/>
                <a:gdLst>
                  <a:gd name="T0" fmla="*/ 34 w 112"/>
                  <a:gd name="T1" fmla="*/ 80 h 210"/>
                  <a:gd name="T2" fmla="*/ 34 w 112"/>
                  <a:gd name="T3" fmla="*/ 80 h 210"/>
                  <a:gd name="T4" fmla="*/ 22 w 112"/>
                  <a:gd name="T5" fmla="*/ 54 h 210"/>
                  <a:gd name="T6" fmla="*/ 106 w 112"/>
                  <a:gd name="T7" fmla="*/ 0 h 210"/>
                  <a:gd name="T8" fmla="*/ 98 w 112"/>
                  <a:gd name="T9" fmla="*/ 106 h 210"/>
                  <a:gd name="T10" fmla="*/ 112 w 112"/>
                  <a:gd name="T11" fmla="*/ 176 h 210"/>
                  <a:gd name="T12" fmla="*/ 112 w 112"/>
                  <a:gd name="T13" fmla="*/ 176 h 210"/>
                  <a:gd name="T14" fmla="*/ 112 w 112"/>
                  <a:gd name="T15" fmla="*/ 182 h 210"/>
                  <a:gd name="T16" fmla="*/ 106 w 112"/>
                  <a:gd name="T17" fmla="*/ 200 h 210"/>
                  <a:gd name="T18" fmla="*/ 106 w 112"/>
                  <a:gd name="T19" fmla="*/ 200 h 210"/>
                  <a:gd name="T20" fmla="*/ 104 w 112"/>
                  <a:gd name="T21" fmla="*/ 204 h 210"/>
                  <a:gd name="T22" fmla="*/ 100 w 112"/>
                  <a:gd name="T23" fmla="*/ 208 h 210"/>
                  <a:gd name="T24" fmla="*/ 96 w 112"/>
                  <a:gd name="T25" fmla="*/ 210 h 210"/>
                  <a:gd name="T26" fmla="*/ 90 w 112"/>
                  <a:gd name="T27" fmla="*/ 210 h 210"/>
                  <a:gd name="T28" fmla="*/ 80 w 112"/>
                  <a:gd name="T29" fmla="*/ 210 h 210"/>
                  <a:gd name="T30" fmla="*/ 88 w 112"/>
                  <a:gd name="T31" fmla="*/ 176 h 210"/>
                  <a:gd name="T32" fmla="*/ 72 w 112"/>
                  <a:gd name="T33" fmla="*/ 102 h 210"/>
                  <a:gd name="T34" fmla="*/ 72 w 112"/>
                  <a:gd name="T35" fmla="*/ 102 h 210"/>
                  <a:gd name="T36" fmla="*/ 56 w 112"/>
                  <a:gd name="T37" fmla="*/ 96 h 210"/>
                  <a:gd name="T38" fmla="*/ 30 w 112"/>
                  <a:gd name="T39" fmla="*/ 200 h 210"/>
                  <a:gd name="T40" fmla="*/ 30 w 112"/>
                  <a:gd name="T41" fmla="*/ 200 h 210"/>
                  <a:gd name="T42" fmla="*/ 26 w 112"/>
                  <a:gd name="T43" fmla="*/ 204 h 210"/>
                  <a:gd name="T44" fmla="*/ 22 w 112"/>
                  <a:gd name="T45" fmla="*/ 208 h 210"/>
                  <a:gd name="T46" fmla="*/ 18 w 112"/>
                  <a:gd name="T47" fmla="*/ 210 h 210"/>
                  <a:gd name="T48" fmla="*/ 12 w 112"/>
                  <a:gd name="T49" fmla="*/ 210 h 210"/>
                  <a:gd name="T50" fmla="*/ 0 w 112"/>
                  <a:gd name="T51" fmla="*/ 210 h 210"/>
                  <a:gd name="T52" fmla="*/ 0 w 112"/>
                  <a:gd name="T53" fmla="*/ 210 h 210"/>
                  <a:gd name="T54" fmla="*/ 34 w 112"/>
                  <a:gd name="T55" fmla="*/ 8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210">
                    <a:moveTo>
                      <a:pt x="34" y="80"/>
                    </a:moveTo>
                    <a:lnTo>
                      <a:pt x="34" y="80"/>
                    </a:lnTo>
                    <a:lnTo>
                      <a:pt x="22" y="54"/>
                    </a:lnTo>
                    <a:lnTo>
                      <a:pt x="106" y="0"/>
                    </a:lnTo>
                    <a:lnTo>
                      <a:pt x="98" y="106"/>
                    </a:lnTo>
                    <a:lnTo>
                      <a:pt x="112" y="176"/>
                    </a:lnTo>
                    <a:lnTo>
                      <a:pt x="112" y="176"/>
                    </a:lnTo>
                    <a:lnTo>
                      <a:pt x="112" y="182"/>
                    </a:lnTo>
                    <a:lnTo>
                      <a:pt x="106" y="200"/>
                    </a:lnTo>
                    <a:lnTo>
                      <a:pt x="106" y="200"/>
                    </a:lnTo>
                    <a:lnTo>
                      <a:pt x="104" y="204"/>
                    </a:lnTo>
                    <a:lnTo>
                      <a:pt x="100" y="208"/>
                    </a:lnTo>
                    <a:lnTo>
                      <a:pt x="96" y="210"/>
                    </a:lnTo>
                    <a:lnTo>
                      <a:pt x="90" y="210"/>
                    </a:lnTo>
                    <a:lnTo>
                      <a:pt x="80" y="210"/>
                    </a:lnTo>
                    <a:lnTo>
                      <a:pt x="88" y="176"/>
                    </a:lnTo>
                    <a:lnTo>
                      <a:pt x="72" y="102"/>
                    </a:lnTo>
                    <a:lnTo>
                      <a:pt x="72" y="102"/>
                    </a:lnTo>
                    <a:lnTo>
                      <a:pt x="56" y="96"/>
                    </a:lnTo>
                    <a:lnTo>
                      <a:pt x="30" y="200"/>
                    </a:lnTo>
                    <a:lnTo>
                      <a:pt x="30" y="200"/>
                    </a:lnTo>
                    <a:lnTo>
                      <a:pt x="26" y="204"/>
                    </a:lnTo>
                    <a:lnTo>
                      <a:pt x="22" y="208"/>
                    </a:lnTo>
                    <a:lnTo>
                      <a:pt x="18" y="210"/>
                    </a:lnTo>
                    <a:lnTo>
                      <a:pt x="12" y="210"/>
                    </a:lnTo>
                    <a:lnTo>
                      <a:pt x="0" y="210"/>
                    </a:lnTo>
                    <a:lnTo>
                      <a:pt x="0" y="210"/>
                    </a:lnTo>
                    <a:lnTo>
                      <a:pt x="34" y="8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54" name="Freeform 62">
                <a:extLst>
                  <a:ext uri="{FF2B5EF4-FFF2-40B4-BE49-F238E27FC236}">
                    <a16:creationId xmlns:a16="http://schemas.microsoft.com/office/drawing/2014/main" id="{D5E7496E-B19B-48B5-9DDE-595D25803574}"/>
                  </a:ext>
                </a:extLst>
              </p:cNvPr>
              <p:cNvSpPr>
                <a:spLocks/>
              </p:cNvSpPr>
              <p:nvPr/>
            </p:nvSpPr>
            <p:spPr bwMode="auto">
              <a:xfrm>
                <a:off x="3967163" y="1741488"/>
                <a:ext cx="434975" cy="447675"/>
              </a:xfrm>
              <a:custGeom>
                <a:avLst/>
                <a:gdLst>
                  <a:gd name="T0" fmla="*/ 8 w 274"/>
                  <a:gd name="T1" fmla="*/ 74 h 282"/>
                  <a:gd name="T2" fmla="*/ 136 w 274"/>
                  <a:gd name="T3" fmla="*/ 74 h 282"/>
                  <a:gd name="T4" fmla="*/ 160 w 274"/>
                  <a:gd name="T5" fmla="*/ 68 h 282"/>
                  <a:gd name="T6" fmla="*/ 194 w 274"/>
                  <a:gd name="T7" fmla="*/ 54 h 282"/>
                  <a:gd name="T8" fmla="*/ 232 w 274"/>
                  <a:gd name="T9" fmla="*/ 32 h 282"/>
                  <a:gd name="T10" fmla="*/ 272 w 274"/>
                  <a:gd name="T11" fmla="*/ 0 h 282"/>
                  <a:gd name="T12" fmla="*/ 274 w 274"/>
                  <a:gd name="T13" fmla="*/ 2 h 282"/>
                  <a:gd name="T14" fmla="*/ 270 w 274"/>
                  <a:gd name="T15" fmla="*/ 12 h 282"/>
                  <a:gd name="T16" fmla="*/ 248 w 274"/>
                  <a:gd name="T17" fmla="*/ 38 h 282"/>
                  <a:gd name="T18" fmla="*/ 214 w 274"/>
                  <a:gd name="T19" fmla="*/ 66 h 282"/>
                  <a:gd name="T20" fmla="*/ 178 w 274"/>
                  <a:gd name="T21" fmla="*/ 82 h 282"/>
                  <a:gd name="T22" fmla="*/ 184 w 274"/>
                  <a:gd name="T23" fmla="*/ 88 h 282"/>
                  <a:gd name="T24" fmla="*/ 196 w 274"/>
                  <a:gd name="T25" fmla="*/ 110 h 282"/>
                  <a:gd name="T26" fmla="*/ 196 w 274"/>
                  <a:gd name="T27" fmla="*/ 110 h 282"/>
                  <a:gd name="T28" fmla="*/ 208 w 274"/>
                  <a:gd name="T29" fmla="*/ 172 h 282"/>
                  <a:gd name="T30" fmla="*/ 232 w 274"/>
                  <a:gd name="T31" fmla="*/ 190 h 282"/>
                  <a:gd name="T32" fmla="*/ 240 w 274"/>
                  <a:gd name="T33" fmla="*/ 198 h 282"/>
                  <a:gd name="T34" fmla="*/ 240 w 274"/>
                  <a:gd name="T35" fmla="*/ 198 h 282"/>
                  <a:gd name="T36" fmla="*/ 240 w 274"/>
                  <a:gd name="T37" fmla="*/ 204 h 282"/>
                  <a:gd name="T38" fmla="*/ 244 w 274"/>
                  <a:gd name="T39" fmla="*/ 252 h 282"/>
                  <a:gd name="T40" fmla="*/ 242 w 274"/>
                  <a:gd name="T41" fmla="*/ 258 h 282"/>
                  <a:gd name="T42" fmla="*/ 236 w 274"/>
                  <a:gd name="T43" fmla="*/ 274 h 282"/>
                  <a:gd name="T44" fmla="*/ 230 w 274"/>
                  <a:gd name="T45" fmla="*/ 280 h 282"/>
                  <a:gd name="T46" fmla="*/ 210 w 274"/>
                  <a:gd name="T47" fmla="*/ 282 h 282"/>
                  <a:gd name="T48" fmla="*/ 220 w 274"/>
                  <a:gd name="T49" fmla="*/ 212 h 282"/>
                  <a:gd name="T50" fmla="*/ 182 w 274"/>
                  <a:gd name="T51" fmla="*/ 214 h 282"/>
                  <a:gd name="T52" fmla="*/ 180 w 274"/>
                  <a:gd name="T53" fmla="*/ 220 h 282"/>
                  <a:gd name="T54" fmla="*/ 166 w 274"/>
                  <a:gd name="T55" fmla="*/ 274 h 282"/>
                  <a:gd name="T56" fmla="*/ 160 w 274"/>
                  <a:gd name="T57" fmla="*/ 280 h 282"/>
                  <a:gd name="T58" fmla="*/ 152 w 274"/>
                  <a:gd name="T59" fmla="*/ 282 h 282"/>
                  <a:gd name="T60" fmla="*/ 158 w 274"/>
                  <a:gd name="T61" fmla="*/ 218 h 282"/>
                  <a:gd name="T62" fmla="*/ 116 w 274"/>
                  <a:gd name="T63" fmla="*/ 164 h 282"/>
                  <a:gd name="T64" fmla="*/ 8 w 274"/>
                  <a:gd name="T65" fmla="*/ 74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4" h="282">
                    <a:moveTo>
                      <a:pt x="8" y="74"/>
                    </a:moveTo>
                    <a:lnTo>
                      <a:pt x="8" y="74"/>
                    </a:lnTo>
                    <a:lnTo>
                      <a:pt x="136" y="74"/>
                    </a:lnTo>
                    <a:lnTo>
                      <a:pt x="136" y="74"/>
                    </a:lnTo>
                    <a:lnTo>
                      <a:pt x="146" y="72"/>
                    </a:lnTo>
                    <a:lnTo>
                      <a:pt x="160" y="68"/>
                    </a:lnTo>
                    <a:lnTo>
                      <a:pt x="176" y="62"/>
                    </a:lnTo>
                    <a:lnTo>
                      <a:pt x="194" y="54"/>
                    </a:lnTo>
                    <a:lnTo>
                      <a:pt x="214" y="44"/>
                    </a:lnTo>
                    <a:lnTo>
                      <a:pt x="232" y="32"/>
                    </a:lnTo>
                    <a:lnTo>
                      <a:pt x="252" y="18"/>
                    </a:lnTo>
                    <a:lnTo>
                      <a:pt x="272" y="0"/>
                    </a:lnTo>
                    <a:lnTo>
                      <a:pt x="272" y="0"/>
                    </a:lnTo>
                    <a:lnTo>
                      <a:pt x="274" y="2"/>
                    </a:lnTo>
                    <a:lnTo>
                      <a:pt x="274" y="4"/>
                    </a:lnTo>
                    <a:lnTo>
                      <a:pt x="270" y="12"/>
                    </a:lnTo>
                    <a:lnTo>
                      <a:pt x="260" y="24"/>
                    </a:lnTo>
                    <a:lnTo>
                      <a:pt x="248" y="38"/>
                    </a:lnTo>
                    <a:lnTo>
                      <a:pt x="232" y="52"/>
                    </a:lnTo>
                    <a:lnTo>
                      <a:pt x="214" y="66"/>
                    </a:lnTo>
                    <a:lnTo>
                      <a:pt x="196" y="76"/>
                    </a:lnTo>
                    <a:lnTo>
                      <a:pt x="178" y="82"/>
                    </a:lnTo>
                    <a:lnTo>
                      <a:pt x="178" y="82"/>
                    </a:lnTo>
                    <a:lnTo>
                      <a:pt x="184" y="88"/>
                    </a:lnTo>
                    <a:lnTo>
                      <a:pt x="190" y="94"/>
                    </a:lnTo>
                    <a:lnTo>
                      <a:pt x="196" y="110"/>
                    </a:lnTo>
                    <a:lnTo>
                      <a:pt x="196" y="110"/>
                    </a:lnTo>
                    <a:lnTo>
                      <a:pt x="196" y="110"/>
                    </a:lnTo>
                    <a:lnTo>
                      <a:pt x="196" y="116"/>
                    </a:lnTo>
                    <a:lnTo>
                      <a:pt x="208" y="172"/>
                    </a:lnTo>
                    <a:lnTo>
                      <a:pt x="232" y="190"/>
                    </a:lnTo>
                    <a:lnTo>
                      <a:pt x="232" y="190"/>
                    </a:lnTo>
                    <a:lnTo>
                      <a:pt x="236" y="194"/>
                    </a:lnTo>
                    <a:lnTo>
                      <a:pt x="240" y="198"/>
                    </a:lnTo>
                    <a:lnTo>
                      <a:pt x="240" y="198"/>
                    </a:lnTo>
                    <a:lnTo>
                      <a:pt x="240" y="198"/>
                    </a:lnTo>
                    <a:lnTo>
                      <a:pt x="240" y="198"/>
                    </a:lnTo>
                    <a:lnTo>
                      <a:pt x="240" y="204"/>
                    </a:lnTo>
                    <a:lnTo>
                      <a:pt x="240" y="204"/>
                    </a:lnTo>
                    <a:lnTo>
                      <a:pt x="244" y="252"/>
                    </a:lnTo>
                    <a:lnTo>
                      <a:pt x="244" y="252"/>
                    </a:lnTo>
                    <a:lnTo>
                      <a:pt x="242" y="258"/>
                    </a:lnTo>
                    <a:lnTo>
                      <a:pt x="236" y="274"/>
                    </a:lnTo>
                    <a:lnTo>
                      <a:pt x="236" y="274"/>
                    </a:lnTo>
                    <a:lnTo>
                      <a:pt x="234" y="278"/>
                    </a:lnTo>
                    <a:lnTo>
                      <a:pt x="230" y="280"/>
                    </a:lnTo>
                    <a:lnTo>
                      <a:pt x="222" y="282"/>
                    </a:lnTo>
                    <a:lnTo>
                      <a:pt x="210" y="282"/>
                    </a:lnTo>
                    <a:lnTo>
                      <a:pt x="222" y="250"/>
                    </a:lnTo>
                    <a:lnTo>
                      <a:pt x="220" y="212"/>
                    </a:lnTo>
                    <a:lnTo>
                      <a:pt x="180" y="184"/>
                    </a:lnTo>
                    <a:lnTo>
                      <a:pt x="182" y="214"/>
                    </a:lnTo>
                    <a:lnTo>
                      <a:pt x="182" y="214"/>
                    </a:lnTo>
                    <a:lnTo>
                      <a:pt x="180" y="220"/>
                    </a:lnTo>
                    <a:lnTo>
                      <a:pt x="166" y="274"/>
                    </a:lnTo>
                    <a:lnTo>
                      <a:pt x="166" y="274"/>
                    </a:lnTo>
                    <a:lnTo>
                      <a:pt x="164" y="278"/>
                    </a:lnTo>
                    <a:lnTo>
                      <a:pt x="160" y="280"/>
                    </a:lnTo>
                    <a:lnTo>
                      <a:pt x="156" y="282"/>
                    </a:lnTo>
                    <a:lnTo>
                      <a:pt x="152" y="282"/>
                    </a:lnTo>
                    <a:lnTo>
                      <a:pt x="140" y="282"/>
                    </a:lnTo>
                    <a:lnTo>
                      <a:pt x="158" y="218"/>
                    </a:lnTo>
                    <a:lnTo>
                      <a:pt x="116" y="164"/>
                    </a:lnTo>
                    <a:lnTo>
                      <a:pt x="116" y="164"/>
                    </a:lnTo>
                    <a:lnTo>
                      <a:pt x="0" y="178"/>
                    </a:lnTo>
                    <a:lnTo>
                      <a:pt x="8" y="7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55" name="Freeform 63">
                <a:extLst>
                  <a:ext uri="{FF2B5EF4-FFF2-40B4-BE49-F238E27FC236}">
                    <a16:creationId xmlns:a16="http://schemas.microsoft.com/office/drawing/2014/main" id="{1F72604F-2400-4F50-A3F3-A9A8670602BF}"/>
                  </a:ext>
                </a:extLst>
              </p:cNvPr>
              <p:cNvSpPr>
                <a:spLocks/>
              </p:cNvSpPr>
              <p:nvPr/>
            </p:nvSpPr>
            <p:spPr bwMode="auto">
              <a:xfrm>
                <a:off x="3948113" y="1573213"/>
                <a:ext cx="177800" cy="269875"/>
              </a:xfrm>
              <a:custGeom>
                <a:avLst/>
                <a:gdLst>
                  <a:gd name="T0" fmla="*/ 0 w 112"/>
                  <a:gd name="T1" fmla="*/ 160 h 170"/>
                  <a:gd name="T2" fmla="*/ 16 w 112"/>
                  <a:gd name="T3" fmla="*/ 170 h 170"/>
                  <a:gd name="T4" fmla="*/ 112 w 112"/>
                  <a:gd name="T5" fmla="*/ 0 h 170"/>
                  <a:gd name="T6" fmla="*/ 92 w 112"/>
                  <a:gd name="T7" fmla="*/ 0 h 170"/>
                  <a:gd name="T8" fmla="*/ 0 w 112"/>
                  <a:gd name="T9" fmla="*/ 160 h 170"/>
                </a:gdLst>
                <a:ahLst/>
                <a:cxnLst>
                  <a:cxn ang="0">
                    <a:pos x="T0" y="T1"/>
                  </a:cxn>
                  <a:cxn ang="0">
                    <a:pos x="T2" y="T3"/>
                  </a:cxn>
                  <a:cxn ang="0">
                    <a:pos x="T4" y="T5"/>
                  </a:cxn>
                  <a:cxn ang="0">
                    <a:pos x="T6" y="T7"/>
                  </a:cxn>
                  <a:cxn ang="0">
                    <a:pos x="T8" y="T9"/>
                  </a:cxn>
                </a:cxnLst>
                <a:rect l="0" t="0" r="r" b="b"/>
                <a:pathLst>
                  <a:path w="112" h="170">
                    <a:moveTo>
                      <a:pt x="0" y="160"/>
                    </a:moveTo>
                    <a:lnTo>
                      <a:pt x="16" y="170"/>
                    </a:lnTo>
                    <a:lnTo>
                      <a:pt x="112" y="0"/>
                    </a:lnTo>
                    <a:lnTo>
                      <a:pt x="92" y="0"/>
                    </a:lnTo>
                    <a:lnTo>
                      <a:pt x="0" y="1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56" name="Freeform 64">
                <a:extLst>
                  <a:ext uri="{FF2B5EF4-FFF2-40B4-BE49-F238E27FC236}">
                    <a16:creationId xmlns:a16="http://schemas.microsoft.com/office/drawing/2014/main" id="{76FAAD15-A8D7-4647-86DB-95A68A147AE2}"/>
                  </a:ext>
                </a:extLst>
              </p:cNvPr>
              <p:cNvSpPr>
                <a:spLocks/>
              </p:cNvSpPr>
              <p:nvPr/>
            </p:nvSpPr>
            <p:spPr bwMode="auto">
              <a:xfrm>
                <a:off x="3675063" y="1725613"/>
                <a:ext cx="234950" cy="190500"/>
              </a:xfrm>
              <a:custGeom>
                <a:avLst/>
                <a:gdLst>
                  <a:gd name="T0" fmla="*/ 0 w 148"/>
                  <a:gd name="T1" fmla="*/ 54 h 120"/>
                  <a:gd name="T2" fmla="*/ 0 w 148"/>
                  <a:gd name="T3" fmla="*/ 54 h 120"/>
                  <a:gd name="T4" fmla="*/ 0 w 148"/>
                  <a:gd name="T5" fmla="*/ 50 h 120"/>
                  <a:gd name="T6" fmla="*/ 4 w 148"/>
                  <a:gd name="T7" fmla="*/ 46 h 120"/>
                  <a:gd name="T8" fmla="*/ 14 w 148"/>
                  <a:gd name="T9" fmla="*/ 40 h 120"/>
                  <a:gd name="T10" fmla="*/ 32 w 148"/>
                  <a:gd name="T11" fmla="*/ 32 h 120"/>
                  <a:gd name="T12" fmla="*/ 32 w 148"/>
                  <a:gd name="T13" fmla="*/ 32 h 120"/>
                  <a:gd name="T14" fmla="*/ 32 w 148"/>
                  <a:gd name="T15" fmla="*/ 26 h 120"/>
                  <a:gd name="T16" fmla="*/ 34 w 148"/>
                  <a:gd name="T17" fmla="*/ 20 h 120"/>
                  <a:gd name="T18" fmla="*/ 42 w 148"/>
                  <a:gd name="T19" fmla="*/ 10 h 120"/>
                  <a:gd name="T20" fmla="*/ 52 w 148"/>
                  <a:gd name="T21" fmla="*/ 2 h 120"/>
                  <a:gd name="T22" fmla="*/ 58 w 148"/>
                  <a:gd name="T23" fmla="*/ 0 h 120"/>
                  <a:gd name="T24" fmla="*/ 64 w 148"/>
                  <a:gd name="T25" fmla="*/ 0 h 120"/>
                  <a:gd name="T26" fmla="*/ 64 w 148"/>
                  <a:gd name="T27" fmla="*/ 0 h 120"/>
                  <a:gd name="T28" fmla="*/ 76 w 148"/>
                  <a:gd name="T29" fmla="*/ 2 h 120"/>
                  <a:gd name="T30" fmla="*/ 82 w 148"/>
                  <a:gd name="T31" fmla="*/ 4 h 120"/>
                  <a:gd name="T32" fmla="*/ 86 w 148"/>
                  <a:gd name="T33" fmla="*/ 8 h 120"/>
                  <a:gd name="T34" fmla="*/ 86 w 148"/>
                  <a:gd name="T35" fmla="*/ 8 h 120"/>
                  <a:gd name="T36" fmla="*/ 148 w 148"/>
                  <a:gd name="T37" fmla="*/ 76 h 120"/>
                  <a:gd name="T38" fmla="*/ 78 w 148"/>
                  <a:gd name="T39" fmla="*/ 120 h 120"/>
                  <a:gd name="T40" fmla="*/ 52 w 148"/>
                  <a:gd name="T41" fmla="*/ 66 h 120"/>
                  <a:gd name="T42" fmla="*/ 52 w 148"/>
                  <a:gd name="T43" fmla="*/ 66 h 120"/>
                  <a:gd name="T44" fmla="*/ 32 w 148"/>
                  <a:gd name="T45" fmla="*/ 66 h 120"/>
                  <a:gd name="T46" fmla="*/ 10 w 148"/>
                  <a:gd name="T47" fmla="*/ 66 h 120"/>
                  <a:gd name="T48" fmla="*/ 10 w 148"/>
                  <a:gd name="T49" fmla="*/ 66 h 120"/>
                  <a:gd name="T50" fmla="*/ 6 w 148"/>
                  <a:gd name="T51" fmla="*/ 64 h 120"/>
                  <a:gd name="T52" fmla="*/ 4 w 148"/>
                  <a:gd name="T53" fmla="*/ 62 h 120"/>
                  <a:gd name="T54" fmla="*/ 0 w 148"/>
                  <a:gd name="T55" fmla="*/ 5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8" h="120">
                    <a:moveTo>
                      <a:pt x="0" y="54"/>
                    </a:moveTo>
                    <a:lnTo>
                      <a:pt x="0" y="54"/>
                    </a:lnTo>
                    <a:lnTo>
                      <a:pt x="0" y="50"/>
                    </a:lnTo>
                    <a:lnTo>
                      <a:pt x="4" y="46"/>
                    </a:lnTo>
                    <a:lnTo>
                      <a:pt x="14" y="40"/>
                    </a:lnTo>
                    <a:lnTo>
                      <a:pt x="32" y="32"/>
                    </a:lnTo>
                    <a:lnTo>
                      <a:pt x="32" y="32"/>
                    </a:lnTo>
                    <a:lnTo>
                      <a:pt x="32" y="26"/>
                    </a:lnTo>
                    <a:lnTo>
                      <a:pt x="34" y="20"/>
                    </a:lnTo>
                    <a:lnTo>
                      <a:pt x="42" y="10"/>
                    </a:lnTo>
                    <a:lnTo>
                      <a:pt x="52" y="2"/>
                    </a:lnTo>
                    <a:lnTo>
                      <a:pt x="58" y="0"/>
                    </a:lnTo>
                    <a:lnTo>
                      <a:pt x="64" y="0"/>
                    </a:lnTo>
                    <a:lnTo>
                      <a:pt x="64" y="0"/>
                    </a:lnTo>
                    <a:lnTo>
                      <a:pt x="76" y="2"/>
                    </a:lnTo>
                    <a:lnTo>
                      <a:pt x="82" y="4"/>
                    </a:lnTo>
                    <a:lnTo>
                      <a:pt x="86" y="8"/>
                    </a:lnTo>
                    <a:lnTo>
                      <a:pt x="86" y="8"/>
                    </a:lnTo>
                    <a:lnTo>
                      <a:pt x="148" y="76"/>
                    </a:lnTo>
                    <a:lnTo>
                      <a:pt x="78" y="120"/>
                    </a:lnTo>
                    <a:lnTo>
                      <a:pt x="52" y="66"/>
                    </a:lnTo>
                    <a:lnTo>
                      <a:pt x="52" y="66"/>
                    </a:lnTo>
                    <a:lnTo>
                      <a:pt x="32" y="66"/>
                    </a:lnTo>
                    <a:lnTo>
                      <a:pt x="10" y="66"/>
                    </a:lnTo>
                    <a:lnTo>
                      <a:pt x="10" y="66"/>
                    </a:lnTo>
                    <a:lnTo>
                      <a:pt x="6" y="64"/>
                    </a:lnTo>
                    <a:lnTo>
                      <a:pt x="4" y="62"/>
                    </a:lnTo>
                    <a:lnTo>
                      <a:pt x="0"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sp>
            <p:nvSpPr>
              <p:cNvPr id="557" name="Freeform 65">
                <a:extLst>
                  <a:ext uri="{FF2B5EF4-FFF2-40B4-BE49-F238E27FC236}">
                    <a16:creationId xmlns:a16="http://schemas.microsoft.com/office/drawing/2014/main" id="{FA2B9E73-0360-4C38-8B64-50196A59AE41}"/>
                  </a:ext>
                </a:extLst>
              </p:cNvPr>
              <p:cNvSpPr>
                <a:spLocks/>
              </p:cNvSpPr>
              <p:nvPr/>
            </p:nvSpPr>
            <p:spPr bwMode="auto">
              <a:xfrm>
                <a:off x="3675063" y="1725613"/>
                <a:ext cx="234950" cy="190500"/>
              </a:xfrm>
              <a:custGeom>
                <a:avLst/>
                <a:gdLst>
                  <a:gd name="T0" fmla="*/ 0 w 148"/>
                  <a:gd name="T1" fmla="*/ 54 h 120"/>
                  <a:gd name="T2" fmla="*/ 0 w 148"/>
                  <a:gd name="T3" fmla="*/ 54 h 120"/>
                  <a:gd name="T4" fmla="*/ 0 w 148"/>
                  <a:gd name="T5" fmla="*/ 50 h 120"/>
                  <a:gd name="T6" fmla="*/ 4 w 148"/>
                  <a:gd name="T7" fmla="*/ 46 h 120"/>
                  <a:gd name="T8" fmla="*/ 14 w 148"/>
                  <a:gd name="T9" fmla="*/ 40 h 120"/>
                  <a:gd name="T10" fmla="*/ 32 w 148"/>
                  <a:gd name="T11" fmla="*/ 32 h 120"/>
                  <a:gd name="T12" fmla="*/ 32 w 148"/>
                  <a:gd name="T13" fmla="*/ 32 h 120"/>
                  <a:gd name="T14" fmla="*/ 32 w 148"/>
                  <a:gd name="T15" fmla="*/ 26 h 120"/>
                  <a:gd name="T16" fmla="*/ 34 w 148"/>
                  <a:gd name="T17" fmla="*/ 20 h 120"/>
                  <a:gd name="T18" fmla="*/ 42 w 148"/>
                  <a:gd name="T19" fmla="*/ 10 h 120"/>
                  <a:gd name="T20" fmla="*/ 52 w 148"/>
                  <a:gd name="T21" fmla="*/ 2 h 120"/>
                  <a:gd name="T22" fmla="*/ 58 w 148"/>
                  <a:gd name="T23" fmla="*/ 0 h 120"/>
                  <a:gd name="T24" fmla="*/ 64 w 148"/>
                  <a:gd name="T25" fmla="*/ 0 h 120"/>
                  <a:gd name="T26" fmla="*/ 64 w 148"/>
                  <a:gd name="T27" fmla="*/ 0 h 120"/>
                  <a:gd name="T28" fmla="*/ 76 w 148"/>
                  <a:gd name="T29" fmla="*/ 2 h 120"/>
                  <a:gd name="T30" fmla="*/ 82 w 148"/>
                  <a:gd name="T31" fmla="*/ 4 h 120"/>
                  <a:gd name="T32" fmla="*/ 86 w 148"/>
                  <a:gd name="T33" fmla="*/ 8 h 120"/>
                  <a:gd name="T34" fmla="*/ 86 w 148"/>
                  <a:gd name="T35" fmla="*/ 8 h 120"/>
                  <a:gd name="T36" fmla="*/ 148 w 148"/>
                  <a:gd name="T37" fmla="*/ 76 h 120"/>
                  <a:gd name="T38" fmla="*/ 78 w 148"/>
                  <a:gd name="T39" fmla="*/ 120 h 120"/>
                  <a:gd name="T40" fmla="*/ 52 w 148"/>
                  <a:gd name="T41" fmla="*/ 66 h 120"/>
                  <a:gd name="T42" fmla="*/ 52 w 148"/>
                  <a:gd name="T43" fmla="*/ 66 h 120"/>
                  <a:gd name="T44" fmla="*/ 32 w 148"/>
                  <a:gd name="T45" fmla="*/ 66 h 120"/>
                  <a:gd name="T46" fmla="*/ 10 w 148"/>
                  <a:gd name="T47" fmla="*/ 66 h 120"/>
                  <a:gd name="T48" fmla="*/ 10 w 148"/>
                  <a:gd name="T49" fmla="*/ 66 h 120"/>
                  <a:gd name="T50" fmla="*/ 6 w 148"/>
                  <a:gd name="T51" fmla="*/ 64 h 120"/>
                  <a:gd name="T52" fmla="*/ 4 w 148"/>
                  <a:gd name="T53" fmla="*/ 62 h 120"/>
                  <a:gd name="T54" fmla="*/ 0 w 148"/>
                  <a:gd name="T55" fmla="*/ 5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8" h="120">
                    <a:moveTo>
                      <a:pt x="0" y="54"/>
                    </a:moveTo>
                    <a:lnTo>
                      <a:pt x="0" y="54"/>
                    </a:lnTo>
                    <a:lnTo>
                      <a:pt x="0" y="50"/>
                    </a:lnTo>
                    <a:lnTo>
                      <a:pt x="4" y="46"/>
                    </a:lnTo>
                    <a:lnTo>
                      <a:pt x="14" y="40"/>
                    </a:lnTo>
                    <a:lnTo>
                      <a:pt x="32" y="32"/>
                    </a:lnTo>
                    <a:lnTo>
                      <a:pt x="32" y="32"/>
                    </a:lnTo>
                    <a:lnTo>
                      <a:pt x="32" y="26"/>
                    </a:lnTo>
                    <a:lnTo>
                      <a:pt x="34" y="20"/>
                    </a:lnTo>
                    <a:lnTo>
                      <a:pt x="42" y="10"/>
                    </a:lnTo>
                    <a:lnTo>
                      <a:pt x="52" y="2"/>
                    </a:lnTo>
                    <a:lnTo>
                      <a:pt x="58" y="0"/>
                    </a:lnTo>
                    <a:lnTo>
                      <a:pt x="64" y="0"/>
                    </a:lnTo>
                    <a:lnTo>
                      <a:pt x="64" y="0"/>
                    </a:lnTo>
                    <a:lnTo>
                      <a:pt x="76" y="2"/>
                    </a:lnTo>
                    <a:lnTo>
                      <a:pt x="82" y="4"/>
                    </a:lnTo>
                    <a:lnTo>
                      <a:pt x="86" y="8"/>
                    </a:lnTo>
                    <a:lnTo>
                      <a:pt x="86" y="8"/>
                    </a:lnTo>
                    <a:lnTo>
                      <a:pt x="148" y="76"/>
                    </a:lnTo>
                    <a:lnTo>
                      <a:pt x="78" y="120"/>
                    </a:lnTo>
                    <a:lnTo>
                      <a:pt x="52" y="66"/>
                    </a:lnTo>
                    <a:lnTo>
                      <a:pt x="52" y="66"/>
                    </a:lnTo>
                    <a:lnTo>
                      <a:pt x="32" y="66"/>
                    </a:lnTo>
                    <a:lnTo>
                      <a:pt x="10" y="66"/>
                    </a:lnTo>
                    <a:lnTo>
                      <a:pt x="10" y="66"/>
                    </a:lnTo>
                    <a:lnTo>
                      <a:pt x="6" y="64"/>
                    </a:lnTo>
                    <a:lnTo>
                      <a:pt x="4" y="62"/>
                    </a:lnTo>
                    <a:lnTo>
                      <a:pt x="0" y="54"/>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505050"/>
                  </a:solidFill>
                  <a:effectLst/>
                  <a:uLnTx/>
                  <a:uFillTx/>
                  <a:latin typeface="Times New Roman"/>
                </a:endParaRPr>
              </a:p>
            </p:txBody>
          </p:sp>
        </p:grpSp>
      </p:grpSp>
      <p:sp>
        <p:nvSpPr>
          <p:cNvPr id="202" name="TextBox 201">
            <a:extLst>
              <a:ext uri="{FF2B5EF4-FFF2-40B4-BE49-F238E27FC236}">
                <a16:creationId xmlns:a16="http://schemas.microsoft.com/office/drawing/2014/main" id="{079E0013-F6EC-457D-B629-9DC84D4FDB09}"/>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ssorted Icons</a:t>
            </a:r>
          </a:p>
        </p:txBody>
      </p:sp>
    </p:spTree>
    <p:extLst>
      <p:ext uri="{BB962C8B-B14F-4D97-AF65-F5344CB8AC3E}">
        <p14:creationId xmlns:p14="http://schemas.microsoft.com/office/powerpoint/2010/main" val="3563324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70"/>
        <p:cNvGrpSpPr/>
        <p:nvPr/>
      </p:nvGrpSpPr>
      <p:grpSpPr>
        <a:xfrm>
          <a:off x="0" y="0"/>
          <a:ext cx="0" cy="0"/>
          <a:chOff x="0" y="0"/>
          <a:chExt cx="0" cy="0"/>
        </a:xfrm>
      </p:grpSpPr>
      <p:sp>
        <p:nvSpPr>
          <p:cNvPr id="26" name="Google Shape;972;p20">
            <a:extLst>
              <a:ext uri="{FF2B5EF4-FFF2-40B4-BE49-F238E27FC236}">
                <a16:creationId xmlns:a16="http://schemas.microsoft.com/office/drawing/2014/main" id="{D956A7DE-B79E-4D6B-8E6C-61AB46289AA9}"/>
              </a:ext>
            </a:extLst>
          </p:cNvPr>
          <p:cNvSpPr/>
          <p:nvPr/>
        </p:nvSpPr>
        <p:spPr>
          <a:xfrm rot="16200000">
            <a:off x="4024435" y="3543667"/>
            <a:ext cx="3897504" cy="102464"/>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Segoe UI Semilight" panose="020B0402040204020203" pitchFamily="34" charset="0"/>
              <a:ea typeface="Quattrocento Sans"/>
              <a:cs typeface="Segoe UI Semilight" panose="020B0402040204020203" pitchFamily="34" charset="0"/>
              <a:sym typeface="Quattrocento Sans"/>
            </a:endParaRPr>
          </a:p>
        </p:txBody>
      </p:sp>
      <p:sp>
        <p:nvSpPr>
          <p:cNvPr id="28" name="Google Shape;972;p20">
            <a:extLst>
              <a:ext uri="{FF2B5EF4-FFF2-40B4-BE49-F238E27FC236}">
                <a16:creationId xmlns:a16="http://schemas.microsoft.com/office/drawing/2014/main" id="{FD1F50F9-6594-467F-B1B8-789D9481EB67}"/>
              </a:ext>
            </a:extLst>
          </p:cNvPr>
          <p:cNvSpPr/>
          <p:nvPr/>
        </p:nvSpPr>
        <p:spPr>
          <a:xfrm rot="16200000">
            <a:off x="799458" y="3527402"/>
            <a:ext cx="3897504" cy="102464"/>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Segoe UI Semilight" panose="020B0402040204020203" pitchFamily="34" charset="0"/>
              <a:ea typeface="Quattrocento Sans"/>
              <a:cs typeface="Segoe UI Semilight" panose="020B0402040204020203" pitchFamily="34" charset="0"/>
              <a:sym typeface="Quattrocento Sans"/>
            </a:endParaRPr>
          </a:p>
        </p:txBody>
      </p:sp>
      <p:sp>
        <p:nvSpPr>
          <p:cNvPr id="27" name="Google Shape;972;p20">
            <a:extLst>
              <a:ext uri="{FF2B5EF4-FFF2-40B4-BE49-F238E27FC236}">
                <a16:creationId xmlns:a16="http://schemas.microsoft.com/office/drawing/2014/main" id="{3793ABC7-EA5E-4997-A2FE-5B47CD8E0274}"/>
              </a:ext>
            </a:extLst>
          </p:cNvPr>
          <p:cNvSpPr/>
          <p:nvPr/>
        </p:nvSpPr>
        <p:spPr>
          <a:xfrm rot="16200000">
            <a:off x="3778543" y="3527402"/>
            <a:ext cx="3897504" cy="102464"/>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Segoe UI Semilight" panose="020B0402040204020203" pitchFamily="34" charset="0"/>
              <a:ea typeface="Quattrocento Sans"/>
              <a:cs typeface="Segoe UI Semilight" panose="020B0402040204020203" pitchFamily="34" charset="0"/>
              <a:sym typeface="Quattrocento Sans"/>
            </a:endParaRPr>
          </a:p>
        </p:txBody>
      </p:sp>
      <p:sp>
        <p:nvSpPr>
          <p:cNvPr id="972" name="Google Shape;972;p20"/>
          <p:cNvSpPr/>
          <p:nvPr/>
        </p:nvSpPr>
        <p:spPr>
          <a:xfrm rot="16200000">
            <a:off x="6993983" y="3543668"/>
            <a:ext cx="3897504" cy="102464"/>
          </a:xfrm>
          <a:prstGeom prst="roundRect">
            <a:avLst>
              <a:gd name="adj" fmla="val 0"/>
            </a:avLst>
          </a:prstGeom>
          <a:solidFill>
            <a:srgbClr val="D9D9D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Segoe UI Semilight" panose="020B0402040204020203" pitchFamily="34" charset="0"/>
              <a:ea typeface="Quattrocento Sans"/>
              <a:cs typeface="Segoe UI Semilight" panose="020B0402040204020203" pitchFamily="34" charset="0"/>
              <a:sym typeface="Quattrocento Sans"/>
            </a:endParaRPr>
          </a:p>
        </p:txBody>
      </p:sp>
      <p:sp>
        <p:nvSpPr>
          <p:cNvPr id="974" name="Google Shape;974;p20"/>
          <p:cNvSpPr/>
          <p:nvPr/>
        </p:nvSpPr>
        <p:spPr>
          <a:xfrm>
            <a:off x="5925581" y="1648554"/>
            <a:ext cx="3068516" cy="405198"/>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Segoe UI Semilight" panose="020B0402040204020203" pitchFamily="34" charset="0"/>
              <a:ea typeface="Quattrocento Sans"/>
              <a:cs typeface="Segoe UI Semilight" panose="020B0402040204020203" pitchFamily="34" charset="0"/>
              <a:sym typeface="Quattrocento Sans"/>
            </a:endParaRPr>
          </a:p>
        </p:txBody>
      </p:sp>
      <p:sp>
        <p:nvSpPr>
          <p:cNvPr id="981" name="Google Shape;981;p20"/>
          <p:cNvSpPr/>
          <p:nvPr/>
        </p:nvSpPr>
        <p:spPr>
          <a:xfrm>
            <a:off x="2713954" y="1642075"/>
            <a:ext cx="3070368" cy="3897503"/>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Segoe UI Semilight" panose="020B0402040204020203" pitchFamily="34" charset="0"/>
              <a:ea typeface="Quattrocento Sans"/>
              <a:cs typeface="Segoe UI Semilight" panose="020B0402040204020203" pitchFamily="34" charset="0"/>
              <a:sym typeface="Quattrocento Sans"/>
            </a:endParaRPr>
          </a:p>
        </p:txBody>
      </p:sp>
      <p:sp>
        <p:nvSpPr>
          <p:cNvPr id="980" name="Google Shape;980;p20"/>
          <p:cNvSpPr/>
          <p:nvPr/>
        </p:nvSpPr>
        <p:spPr>
          <a:xfrm>
            <a:off x="2696978" y="1629882"/>
            <a:ext cx="3081700" cy="405198"/>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Segoe UI Semilight" panose="020B0402040204020203" pitchFamily="34" charset="0"/>
              <a:ea typeface="Quattrocento Sans"/>
              <a:cs typeface="Segoe UI Semilight" panose="020B0402040204020203" pitchFamily="34" charset="0"/>
              <a:sym typeface="Quattrocento Sans"/>
            </a:endParaRPr>
          </a:p>
        </p:txBody>
      </p:sp>
      <p:sp>
        <p:nvSpPr>
          <p:cNvPr id="983" name="Google Shape;983;p20"/>
          <p:cNvSpPr txBox="1"/>
          <p:nvPr/>
        </p:nvSpPr>
        <p:spPr>
          <a:xfrm>
            <a:off x="3530550" y="1646148"/>
            <a:ext cx="1534714" cy="369332"/>
          </a:xfrm>
          <a:prstGeom prst="rect">
            <a:avLst/>
          </a:prstGeom>
          <a:noFill/>
          <a:ln>
            <a:noFill/>
          </a:ln>
        </p:spPr>
        <p:txBody>
          <a:bodyPr spcFirstLastPara="1" wrap="square" lIns="91425" tIns="45700" rIns="91425" bIns="45700" anchor="t" anchorCtr="0">
            <a:spAutoFit/>
          </a:bodyPr>
          <a:lstStyle/>
          <a:p>
            <a:pPr algn="ctr">
              <a:buClr>
                <a:srgbClr val="000000"/>
              </a:buClr>
              <a:defRPr/>
            </a:pPr>
            <a:r>
              <a:rPr lang="en-US" b="1" kern="0" dirty="0">
                <a:solidFill>
                  <a:srgbClr val="FFFFFF"/>
                </a:solidFill>
                <a:latin typeface="Segoe UI Semilight"/>
                <a:cs typeface="Segoe UI Semilight"/>
              </a:rPr>
              <a:t>Site Selection</a:t>
            </a:r>
            <a:endParaRPr lang="en-US" b="1" i="0" u="none" strike="noStrike" kern="0" cap="none" spc="0" normalizeH="0" baseline="0" noProof="0" dirty="0">
              <a:ln>
                <a:noFill/>
              </a:ln>
              <a:solidFill>
                <a:srgbClr val="FFFFFF"/>
              </a:solidFill>
              <a:effectLst/>
              <a:uLnTx/>
              <a:uFillTx/>
              <a:latin typeface="Segoe UI Semilight"/>
              <a:cs typeface="Segoe UI Semilight"/>
            </a:endParaRPr>
          </a:p>
        </p:txBody>
      </p:sp>
      <p:sp>
        <p:nvSpPr>
          <p:cNvPr id="985" name="Google Shape;985;p20"/>
          <p:cNvSpPr txBox="1"/>
          <p:nvPr/>
        </p:nvSpPr>
        <p:spPr>
          <a:xfrm>
            <a:off x="2986261" y="2104941"/>
            <a:ext cx="2613749" cy="2553904"/>
          </a:xfrm>
          <a:prstGeom prst="rect">
            <a:avLst/>
          </a:prstGeom>
          <a:noFill/>
          <a:ln>
            <a:noFill/>
          </a:ln>
        </p:spPr>
        <p:txBody>
          <a:bodyPr spcFirstLastPara="1" wrap="square" lIns="0" tIns="0" rIns="0" bIns="0" anchor="t" anchorCtr="0">
            <a:spAutoFit/>
          </a:bodyPr>
          <a:lstStyle/>
          <a:p>
            <a:pPr marL="285750" indent="-285750">
              <a:spcAft>
                <a:spcPts val="600"/>
              </a:spcAft>
              <a:buFont typeface="Arial"/>
              <a:buChar char="•"/>
              <a:defRPr/>
            </a:pPr>
            <a:r>
              <a:rPr lang="en-US" sz="1600" dirty="0">
                <a:cs typeface="Segoe UI Semilight"/>
              </a:rPr>
              <a:t>Efficient operations</a:t>
            </a:r>
          </a:p>
          <a:p>
            <a:pPr marL="742950" lvl="1" indent="-285750">
              <a:spcAft>
                <a:spcPts val="600"/>
              </a:spcAft>
              <a:buFont typeface="Arial"/>
              <a:buChar char="•"/>
              <a:defRPr/>
            </a:pPr>
            <a:r>
              <a:rPr lang="en-US" sz="1600" dirty="0">
                <a:solidFill>
                  <a:srgbClr val="000000"/>
                </a:solidFill>
                <a:latin typeface="Segoe UI Semilight"/>
                <a:ea typeface="Quattrocento Sans"/>
                <a:cs typeface="Segoe UI Semilight"/>
              </a:rPr>
              <a:t>Location – Proximity to other parts of business as well as closer to end consumers</a:t>
            </a:r>
            <a:endParaRPr lang="en-US" sz="1600" dirty="0">
              <a:solidFill>
                <a:srgbClr val="000000"/>
              </a:solidFill>
              <a:latin typeface="Segoe UI Semilight" panose="020B0402040204020203" pitchFamily="34" charset="0"/>
              <a:ea typeface="Quattrocento Sans"/>
              <a:cs typeface="Segoe UI Semilight" panose="020B0402040204020203" pitchFamily="34" charset="0"/>
            </a:endParaRPr>
          </a:p>
          <a:p>
            <a:pPr marL="285750" indent="-285750">
              <a:spcAft>
                <a:spcPts val="600"/>
              </a:spcAft>
              <a:buFont typeface="Arial"/>
              <a:buChar char="•"/>
              <a:defRPr/>
            </a:pPr>
            <a:r>
              <a:rPr lang="en-US" sz="1600" dirty="0">
                <a:solidFill>
                  <a:srgbClr val="000000"/>
                </a:solidFill>
                <a:latin typeface="Segoe UI Semilight"/>
                <a:ea typeface="Quattrocento Sans"/>
                <a:cs typeface="Segoe UI Semilight"/>
              </a:rPr>
              <a:t>Future growth opportunities</a:t>
            </a:r>
            <a:endParaRPr lang="en-US" sz="1600">
              <a:solidFill>
                <a:srgbClr val="000000"/>
              </a:solidFill>
              <a:latin typeface="Segoe UI Semilight" panose="020B0402040204020203" pitchFamily="34" charset="0"/>
              <a:ea typeface="Quattrocento Sans"/>
              <a:cs typeface="Segoe UI Semilight" panose="020B0402040204020203" pitchFamily="34" charset="0"/>
            </a:endParaRPr>
          </a:p>
          <a:p>
            <a:pPr marL="285750" indent="-184150">
              <a:lnSpc>
                <a:spcPct val="81250"/>
              </a:lnSpc>
              <a:spcBef>
                <a:spcPts val="600"/>
              </a:spcBef>
              <a:spcAft>
                <a:spcPts val="600"/>
              </a:spcAft>
              <a:buClr>
                <a:srgbClr val="575757"/>
              </a:buClr>
              <a:buSzPts val="1600"/>
              <a:defRPr/>
            </a:pPr>
            <a:endParaRPr lang="en-US" sz="1600" kern="0">
              <a:solidFill>
                <a:srgbClr val="000000"/>
              </a:solidFill>
              <a:latin typeface="Segoe UI Semilight" panose="020B0402040204020203" pitchFamily="34" charset="0"/>
              <a:ea typeface="Quattrocento Sans"/>
              <a:cs typeface="Segoe UI Semilight" panose="020B0402040204020203" pitchFamily="34" charset="0"/>
            </a:endParaRPr>
          </a:p>
        </p:txBody>
      </p:sp>
      <p:sp>
        <p:nvSpPr>
          <p:cNvPr id="988" name="Google Shape;988;p20"/>
          <p:cNvSpPr/>
          <p:nvPr/>
        </p:nvSpPr>
        <p:spPr>
          <a:xfrm>
            <a:off x="2696979" y="5466592"/>
            <a:ext cx="6296597" cy="535394"/>
          </a:xfrm>
          <a:prstGeom prst="roundRect">
            <a:avLst>
              <a:gd name="adj" fmla="val 0"/>
            </a:avLst>
          </a:prstGeom>
          <a:solidFill>
            <a:srgbClr val="A80532"/>
          </a:solidFill>
          <a:ln>
            <a:noFill/>
          </a:ln>
        </p:spPr>
        <p:txBody>
          <a:bodyPr spcFirstLastPara="1" wrap="square" lIns="91425" tIns="45700" rIns="91425" bIns="45700" anchor="ctr" anchorCtr="0">
            <a:noAutofit/>
          </a:bodyPr>
          <a:lstStyle/>
          <a:p>
            <a:pPr algn="ctr">
              <a:buClr>
                <a:srgbClr val="000000"/>
              </a:buClr>
              <a:defRPr/>
            </a:pPr>
            <a:endParaRPr lang="en-US" sz="1600" b="1" i="0" u="none" strike="noStrike" kern="0" cap="none" spc="0" normalizeH="0" baseline="0" noProof="0" dirty="0">
              <a:ln>
                <a:noFill/>
              </a:ln>
              <a:solidFill>
                <a:srgbClr val="FFFFFF"/>
              </a:solidFill>
              <a:effectLst/>
              <a:uLnTx/>
              <a:uFillTx/>
              <a:latin typeface="Segoe UI Semilight" panose="020B0402040204020203" pitchFamily="34" charset="0"/>
              <a:cs typeface="Segoe UI Semilight" panose="020B0402040204020203" pitchFamily="34" charset="0"/>
            </a:endParaRPr>
          </a:p>
        </p:txBody>
      </p:sp>
      <p:sp>
        <p:nvSpPr>
          <p:cNvPr id="989" name="Google Shape;989;p20"/>
          <p:cNvSpPr/>
          <p:nvPr/>
        </p:nvSpPr>
        <p:spPr>
          <a:xfrm>
            <a:off x="5924655" y="1639296"/>
            <a:ext cx="3070368" cy="3897503"/>
          </a:xfrm>
          <a:prstGeom prst="rect">
            <a:avLst/>
          </a:prstGeom>
          <a:no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0" sz="1800" b="0" i="0" u="none" strike="noStrike" kern="0" cap="none" spc="0" normalizeH="0" baseline="0" noProof="0">
              <a:ln>
                <a:noFill/>
              </a:ln>
              <a:solidFill>
                <a:srgbClr val="FFFFFF"/>
              </a:solidFill>
              <a:effectLst/>
              <a:uLnTx/>
              <a:uFillTx/>
              <a:latin typeface="Segoe UI Semilight" panose="020B0402040204020203" pitchFamily="34" charset="0"/>
              <a:ea typeface="Quattrocento Sans"/>
              <a:cs typeface="Segoe UI Semilight" panose="020B0402040204020203" pitchFamily="34" charset="0"/>
              <a:sym typeface="Quattrocento Sans"/>
            </a:endParaRPr>
          </a:p>
        </p:txBody>
      </p:sp>
      <p:sp>
        <p:nvSpPr>
          <p:cNvPr id="991" name="Google Shape;991;p20"/>
          <p:cNvSpPr txBox="1"/>
          <p:nvPr/>
        </p:nvSpPr>
        <p:spPr>
          <a:xfrm>
            <a:off x="6014107" y="1648394"/>
            <a:ext cx="3021084" cy="369291"/>
          </a:xfrm>
          <a:prstGeom prst="rect">
            <a:avLst/>
          </a:prstGeom>
          <a:noFill/>
          <a:ln>
            <a:noFill/>
          </a:ln>
        </p:spPr>
        <p:txBody>
          <a:bodyPr spcFirstLastPara="1" wrap="square" lIns="91425" tIns="45700" rIns="91425" bIns="45700" anchor="t" anchorCtr="0">
            <a:spAutoFit/>
          </a:bodyPr>
          <a:lstStyle/>
          <a:p>
            <a:pPr algn="ctr">
              <a:defRPr/>
            </a:pPr>
            <a:r>
              <a:rPr lang="en-US" b="1" kern="0" dirty="0">
                <a:solidFill>
                  <a:srgbClr val="FFFFFF"/>
                </a:solidFill>
                <a:latin typeface="Segoe UI Semilight"/>
                <a:cs typeface="Segoe UI Semilight"/>
                <a:sym typeface="Quattrocento Sans"/>
              </a:rPr>
              <a:t>Workforce Development</a:t>
            </a:r>
            <a:endParaRPr lang="en-US" dirty="0"/>
          </a:p>
        </p:txBody>
      </p:sp>
      <p:sp>
        <p:nvSpPr>
          <p:cNvPr id="992" name="Google Shape;992;p20"/>
          <p:cNvSpPr txBox="1"/>
          <p:nvPr/>
        </p:nvSpPr>
        <p:spPr>
          <a:xfrm>
            <a:off x="6202547" y="2106387"/>
            <a:ext cx="2563301" cy="3046347"/>
          </a:xfrm>
          <a:prstGeom prst="rect">
            <a:avLst/>
          </a:prstGeom>
          <a:noFill/>
          <a:ln>
            <a:noFill/>
          </a:ln>
        </p:spPr>
        <p:txBody>
          <a:bodyPr spcFirstLastPara="1" wrap="square" lIns="0" tIns="0" rIns="0" bIns="0" anchor="t" anchorCtr="0">
            <a:spAutoFit/>
          </a:bodyPr>
          <a:lstStyle/>
          <a:p>
            <a:pPr marL="285750" indent="-285750">
              <a:spcAft>
                <a:spcPts val="600"/>
              </a:spcAft>
              <a:buFont typeface="Arial" panose="020B0604020202020204" pitchFamily="34" charset="0"/>
              <a:buChar char="•"/>
              <a:defRPr/>
            </a:pPr>
            <a:r>
              <a:rPr lang="en-US" sz="1600" dirty="0">
                <a:solidFill>
                  <a:srgbClr val="000000"/>
                </a:solidFill>
                <a:ea typeface="+mn-lt"/>
                <a:cs typeface="+mn-lt"/>
              </a:rPr>
              <a:t>Innovate workforce training program by creating partnerships with Unions</a:t>
            </a:r>
            <a:endParaRPr lang="en-US" sz="1600" dirty="0">
              <a:solidFill>
                <a:srgbClr val="000000"/>
              </a:solidFill>
              <a:latin typeface="Segoe UI Semilight" panose="020B0402040204020203" pitchFamily="34" charset="0"/>
              <a:ea typeface="Quattrocento Sans"/>
              <a:cs typeface="Segoe UI Semilight" panose="020B0402040204020203" pitchFamily="34" charset="0"/>
            </a:endParaRPr>
          </a:p>
          <a:p>
            <a:pPr marL="285750" indent="-285750">
              <a:spcAft>
                <a:spcPts val="600"/>
              </a:spcAft>
              <a:buFont typeface="Arial" panose="020B0604020202020204" pitchFamily="34" charset="0"/>
              <a:buChar char="•"/>
              <a:defRPr/>
            </a:pPr>
            <a:r>
              <a:rPr lang="en-US" sz="1600" dirty="0">
                <a:solidFill>
                  <a:srgbClr val="000000"/>
                </a:solidFill>
                <a:latin typeface="Segoe UI Semilight"/>
                <a:ea typeface="Quattrocento Sans"/>
                <a:cs typeface="Segoe UI Semilight"/>
              </a:rPr>
              <a:t>Developed to enhance diversity and inclusion in green manufacturing by giving jobs specifically to underprivileged groups</a:t>
            </a:r>
            <a:endParaRPr lang="en-US" sz="1600" dirty="0">
              <a:solidFill>
                <a:srgbClr val="000000"/>
              </a:solidFill>
              <a:latin typeface="Segoe UI Semilight" panose="020B0402040204020203" pitchFamily="34" charset="0"/>
              <a:ea typeface="Quattrocento Sans"/>
              <a:cs typeface="Segoe UI Semilight" panose="020B0402040204020203" pitchFamily="34" charset="0"/>
            </a:endParaRPr>
          </a:p>
          <a:p>
            <a:pPr marL="285750" indent="-285750">
              <a:spcAft>
                <a:spcPts val="600"/>
              </a:spcAft>
              <a:buFont typeface="Arial" panose="020B0604020202020204" pitchFamily="34" charset="0"/>
              <a:buChar char="•"/>
              <a:defRPr/>
            </a:pPr>
            <a:endParaRPr lang="en-US" sz="1600">
              <a:solidFill>
                <a:srgbClr val="000000"/>
              </a:solidFill>
              <a:latin typeface="Segoe UI Semilight" panose="020B0402040204020203" pitchFamily="34" charset="0"/>
              <a:ea typeface="Quattrocento Sans"/>
              <a:cs typeface="Segoe UI Semilight" panose="020B0402040204020203" pitchFamily="34" charset="0"/>
            </a:endParaRPr>
          </a:p>
          <a:p>
            <a:pPr marL="285750" indent="-184150">
              <a:lnSpc>
                <a:spcPct val="81250"/>
              </a:lnSpc>
              <a:spcBef>
                <a:spcPts val="600"/>
              </a:spcBef>
              <a:spcAft>
                <a:spcPts val="600"/>
              </a:spcAft>
              <a:buClr>
                <a:srgbClr val="575757"/>
              </a:buClr>
              <a:buSzPts val="1600"/>
              <a:defRPr/>
            </a:pPr>
            <a:endParaRPr lang="en-US" sz="1600" kern="0">
              <a:solidFill>
                <a:srgbClr val="000000"/>
              </a:solidFill>
              <a:latin typeface="Segoe UI Semilight" panose="020B0402040204020203" pitchFamily="34" charset="0"/>
              <a:ea typeface="Quattrocento Sans"/>
              <a:cs typeface="Segoe UI Semilight" panose="020B0402040204020203" pitchFamily="34" charset="0"/>
            </a:endParaRPr>
          </a:p>
        </p:txBody>
      </p:sp>
      <p:sp>
        <p:nvSpPr>
          <p:cNvPr id="30" name="TextBox 29">
            <a:extLst>
              <a:ext uri="{FF2B5EF4-FFF2-40B4-BE49-F238E27FC236}">
                <a16:creationId xmlns:a16="http://schemas.microsoft.com/office/drawing/2014/main" id="{266DB3D7-60CE-4123-ADA8-4FD298AAB2E8}"/>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dirty="0">
                <a:solidFill>
                  <a:srgbClr val="000000"/>
                </a:solidFill>
                <a:latin typeface="Segoe UI Semibold"/>
                <a:ea typeface="Verdana"/>
                <a:cs typeface="Segoe UI Semibold"/>
              </a:rPr>
              <a:t>Topic Overview</a:t>
            </a: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DF6477E6-8090-4F20-9C11-DD7E47562FD2}"/>
              </a:ext>
            </a:extLst>
          </p:cNvPr>
          <p:cNvSpPr/>
          <p:nvPr/>
        </p:nvSpPr>
        <p:spPr>
          <a:xfrm>
            <a:off x="1285575" y="1499735"/>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Introduction</a:t>
            </a:r>
          </a:p>
        </p:txBody>
      </p:sp>
      <p:sp>
        <p:nvSpPr>
          <p:cNvPr id="17" name="Rectangle 16">
            <a:extLst>
              <a:ext uri="{FF2B5EF4-FFF2-40B4-BE49-F238E27FC236}">
                <a16:creationId xmlns:a16="http://schemas.microsoft.com/office/drawing/2014/main" id="{F4D087CE-A955-4B14-A81B-7525861FAED4}"/>
              </a:ext>
            </a:extLst>
          </p:cNvPr>
          <p:cNvSpPr/>
          <p:nvPr/>
        </p:nvSpPr>
        <p:spPr>
          <a:xfrm>
            <a:off x="1285575" y="2843429"/>
            <a:ext cx="5282421" cy="460793"/>
          </a:xfrm>
          <a:prstGeom prst="rect">
            <a:avLst/>
          </a:prstGeom>
          <a:solidFill>
            <a:srgbClr val="A8053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en-US" dirty="0">
                <a:ea typeface="+mn-lt"/>
                <a:cs typeface="+mn-lt"/>
              </a:rPr>
              <a:t>Proterra</a:t>
            </a:r>
            <a:endParaRPr lang="en-US" dirty="0"/>
          </a:p>
        </p:txBody>
      </p:sp>
      <p:sp>
        <p:nvSpPr>
          <p:cNvPr id="19" name="Rectangle 18">
            <a:extLst>
              <a:ext uri="{FF2B5EF4-FFF2-40B4-BE49-F238E27FC236}">
                <a16:creationId xmlns:a16="http://schemas.microsoft.com/office/drawing/2014/main" id="{16E5DDE6-FD6D-41D1-8A4E-D02F0FF4F673}"/>
              </a:ext>
            </a:extLst>
          </p:cNvPr>
          <p:cNvSpPr/>
          <p:nvPr/>
        </p:nvSpPr>
        <p:spPr>
          <a:xfrm>
            <a:off x="1285575" y="2173411"/>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Topic overview</a:t>
            </a:r>
          </a:p>
        </p:txBody>
      </p:sp>
      <p:sp>
        <p:nvSpPr>
          <p:cNvPr id="20" name="Rectangle 19">
            <a:extLst>
              <a:ext uri="{FF2B5EF4-FFF2-40B4-BE49-F238E27FC236}">
                <a16:creationId xmlns:a16="http://schemas.microsoft.com/office/drawing/2014/main" id="{54B5C667-19A2-454C-8D82-1F484DC682EF}"/>
              </a:ext>
            </a:extLst>
          </p:cNvPr>
          <p:cNvSpPr/>
          <p:nvPr/>
        </p:nvSpPr>
        <p:spPr>
          <a:xfrm>
            <a:off x="1285575" y="3545328"/>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Live Model Demo &amp; Notable Results</a:t>
            </a:r>
          </a:p>
        </p:txBody>
      </p:sp>
      <p:sp>
        <p:nvSpPr>
          <p:cNvPr id="21" name="Rectangle 20">
            <a:extLst>
              <a:ext uri="{FF2B5EF4-FFF2-40B4-BE49-F238E27FC236}">
                <a16:creationId xmlns:a16="http://schemas.microsoft.com/office/drawing/2014/main" id="{B7301DAF-868E-4B07-A172-0091653222F8}"/>
              </a:ext>
            </a:extLst>
          </p:cNvPr>
          <p:cNvSpPr/>
          <p:nvPr/>
        </p:nvSpPr>
        <p:spPr>
          <a:xfrm>
            <a:off x="1285574" y="4247226"/>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Conclusion</a:t>
            </a:r>
          </a:p>
        </p:txBody>
      </p:sp>
      <p:sp>
        <p:nvSpPr>
          <p:cNvPr id="22" name="Rectangle 21">
            <a:extLst>
              <a:ext uri="{FF2B5EF4-FFF2-40B4-BE49-F238E27FC236}">
                <a16:creationId xmlns:a16="http://schemas.microsoft.com/office/drawing/2014/main" id="{483437C9-65F5-40C4-8409-5546DCBF69B8}"/>
              </a:ext>
            </a:extLst>
          </p:cNvPr>
          <p:cNvSpPr/>
          <p:nvPr/>
        </p:nvSpPr>
        <p:spPr>
          <a:xfrm>
            <a:off x="1285573" y="4958532"/>
            <a:ext cx="5282421" cy="460793"/>
          </a:xfrm>
          <a:prstGeom prst="rect">
            <a:avLst/>
          </a:prstGeom>
          <a:solidFill>
            <a:srgbClr val="D9D9D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a:solidFill>
                  <a:srgbClr val="000000"/>
                </a:solidFill>
                <a:latin typeface="Segoe UI Light" panose="020B0502040204020203" pitchFamily="34" charset="0"/>
                <a:cs typeface="Segoe UI Light" panose="020B0502040204020203" pitchFamily="34" charset="0"/>
              </a:rPr>
              <a:t>Q&amp;A</a:t>
            </a:r>
          </a:p>
        </p:txBody>
      </p:sp>
      <p:sp>
        <p:nvSpPr>
          <p:cNvPr id="13" name="TextBox 12">
            <a:extLst>
              <a:ext uri="{FF2B5EF4-FFF2-40B4-BE49-F238E27FC236}">
                <a16:creationId xmlns:a16="http://schemas.microsoft.com/office/drawing/2014/main" id="{09DF5F6F-ED43-4B2F-B6A6-6EAC99FD22D6}"/>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rgbClr val="000000"/>
                </a:solidFill>
                <a:latin typeface="Segoe UI Semibold" panose="020B0702040204020203" pitchFamily="34" charset="0"/>
                <a:ea typeface="Verdana" panose="020B0604030504040204" pitchFamily="34" charset="0"/>
                <a:cs typeface="Segoe UI Semibold" panose="020B0702040204020203" pitchFamily="34" charset="0"/>
              </a:rPr>
              <a:t>Agenda</a:t>
            </a:r>
          </a:p>
        </p:txBody>
      </p:sp>
    </p:spTree>
    <p:extLst>
      <p:ext uri="{BB962C8B-B14F-4D97-AF65-F5344CB8AC3E}">
        <p14:creationId xmlns:p14="http://schemas.microsoft.com/office/powerpoint/2010/main" val="91322238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2B815E8-1DF7-4D36-B0C2-F0A0B51D7E2E}"/>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2800" kern="0" dirty="0">
                <a:solidFill>
                  <a:srgbClr val="000000"/>
                </a:solidFill>
                <a:latin typeface="Segoe UI Semibold"/>
                <a:cs typeface="Segoe UI Semibold"/>
                <a:sym typeface="Quattrocento Sans"/>
              </a:rPr>
              <a:t>Proterra</a:t>
            </a:r>
            <a:endParaRPr lang="en-US" dirty="0"/>
          </a:p>
        </p:txBody>
      </p:sp>
      <p:sp>
        <p:nvSpPr>
          <p:cNvPr id="9" name="TextBox 8">
            <a:extLst>
              <a:ext uri="{FF2B5EF4-FFF2-40B4-BE49-F238E27FC236}">
                <a16:creationId xmlns:a16="http://schemas.microsoft.com/office/drawing/2014/main" id="{05309671-7FB5-FC47-4A51-5D71E472AB38}"/>
              </a:ext>
            </a:extLst>
          </p:cNvPr>
          <p:cNvSpPr txBox="1"/>
          <p:nvPr/>
        </p:nvSpPr>
        <p:spPr>
          <a:xfrm>
            <a:off x="844216" y="1315453"/>
            <a:ext cx="10293014" cy="415498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buFont typeface="Arial"/>
              <a:buChar char="•"/>
            </a:pPr>
            <a:r>
              <a:rPr lang="en-US" sz="2400" dirty="0">
                <a:latin typeface="Segoe UI Semilight"/>
                <a:cs typeface="Arial"/>
              </a:rPr>
              <a:t>Founded in 2004 in California, and has remained an innovative electric EV battery manufacturer</a:t>
            </a:r>
            <a:endParaRPr lang="en-US" dirty="0" err="1"/>
          </a:p>
          <a:p>
            <a:pPr>
              <a:buChar char="•"/>
            </a:pPr>
            <a:endParaRPr lang="en-US" sz="2400">
              <a:latin typeface="Segoe UI Semilight"/>
              <a:ea typeface="Arial"/>
              <a:cs typeface="Arial"/>
            </a:endParaRPr>
          </a:p>
          <a:p>
            <a:pPr>
              <a:buFont typeface="Arial"/>
              <a:buChar char="•"/>
            </a:pPr>
            <a:r>
              <a:rPr lang="en-US" sz="2400" dirty="0">
                <a:latin typeface="Segoe UI Semilight"/>
                <a:cs typeface="Arial"/>
              </a:rPr>
              <a:t>Creates batteries for both consumer and commercial vehicles</a:t>
            </a:r>
            <a:endParaRPr lang="en-US" dirty="0"/>
          </a:p>
          <a:p>
            <a:pPr lvl="1">
              <a:buFont typeface="Arial"/>
              <a:buChar char="•"/>
            </a:pPr>
            <a:r>
              <a:rPr lang="en-US" sz="2400" dirty="0">
                <a:latin typeface="Segoe UI Semilight"/>
                <a:ea typeface="Arial"/>
                <a:cs typeface="Arial"/>
              </a:rPr>
              <a:t>Cars, transit bus, electric school bus, delivery truck, shuttles</a:t>
            </a:r>
          </a:p>
          <a:p>
            <a:pPr>
              <a:buChar char="•"/>
            </a:pPr>
            <a:endParaRPr lang="en-US" sz="2400">
              <a:latin typeface="Segoe UI Semilight"/>
              <a:ea typeface="Arial"/>
              <a:cs typeface="Arial"/>
            </a:endParaRPr>
          </a:p>
          <a:p>
            <a:pPr>
              <a:buChar char="•"/>
            </a:pPr>
            <a:r>
              <a:rPr lang="en-US" sz="2400" dirty="0">
                <a:latin typeface="Segoe UI Semilight"/>
                <a:ea typeface="Arial"/>
                <a:cs typeface="Arial"/>
              </a:rPr>
              <a:t>Focused on reducing emissions and lowering operating costs for businesses</a:t>
            </a:r>
          </a:p>
          <a:p>
            <a:pPr>
              <a:buChar char="•"/>
            </a:pPr>
            <a:endParaRPr lang="en-US" sz="2400" dirty="0">
              <a:latin typeface="Segoe UI Semilight"/>
              <a:ea typeface="Arial"/>
              <a:cs typeface="Arial"/>
            </a:endParaRPr>
          </a:p>
          <a:p>
            <a:pPr>
              <a:buChar char="•"/>
            </a:pPr>
            <a:r>
              <a:rPr lang="en-US" sz="2400" dirty="0">
                <a:cs typeface="Arial"/>
              </a:rPr>
              <a:t>Currently building a manufacturing plant in South Carolina</a:t>
            </a:r>
          </a:p>
          <a:p>
            <a:pPr>
              <a:buChar char="•"/>
            </a:pPr>
            <a:endParaRPr lang="en-US" sz="2400">
              <a:cs typeface="Arial"/>
            </a:endParaRPr>
          </a:p>
          <a:p>
            <a:endParaRPr lang="en-US" sz="2400" dirty="0">
              <a:cs typeface="Arial"/>
            </a:endParaRPr>
          </a:p>
        </p:txBody>
      </p:sp>
    </p:spTree>
    <p:extLst>
      <p:ext uri="{BB962C8B-B14F-4D97-AF65-F5344CB8AC3E}">
        <p14:creationId xmlns:p14="http://schemas.microsoft.com/office/powerpoint/2010/main" val="1792675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DD742445-6D40-4532-9AB6-A3E7D128998C}"/>
              </a:ext>
            </a:extLst>
          </p:cNvPr>
          <p:cNvSpPr/>
          <p:nvPr/>
        </p:nvSpPr>
        <p:spPr>
          <a:xfrm>
            <a:off x="2330157" y="2100078"/>
            <a:ext cx="1530220" cy="153022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val 2">
            <a:extLst>
              <a:ext uri="{FF2B5EF4-FFF2-40B4-BE49-F238E27FC236}">
                <a16:creationId xmlns:a16="http://schemas.microsoft.com/office/drawing/2014/main" id="{BDFA340D-BB48-49D9-BE36-346DEEF244F0}"/>
              </a:ext>
            </a:extLst>
          </p:cNvPr>
          <p:cNvSpPr/>
          <p:nvPr/>
        </p:nvSpPr>
        <p:spPr>
          <a:xfrm>
            <a:off x="7941312" y="2071855"/>
            <a:ext cx="1530220" cy="15302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Oval 4">
            <a:extLst>
              <a:ext uri="{FF2B5EF4-FFF2-40B4-BE49-F238E27FC236}">
                <a16:creationId xmlns:a16="http://schemas.microsoft.com/office/drawing/2014/main" id="{388CF82D-CBDA-47EC-9124-739FF7C0F828}"/>
              </a:ext>
            </a:extLst>
          </p:cNvPr>
          <p:cNvSpPr/>
          <p:nvPr/>
        </p:nvSpPr>
        <p:spPr>
          <a:xfrm>
            <a:off x="5160098" y="2100078"/>
            <a:ext cx="1530220" cy="1530220"/>
          </a:xfrm>
          <a:prstGeom prst="ellips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extBox 17">
            <a:extLst>
              <a:ext uri="{FF2B5EF4-FFF2-40B4-BE49-F238E27FC236}">
                <a16:creationId xmlns:a16="http://schemas.microsoft.com/office/drawing/2014/main" id="{57E5D393-07D5-4961-8CAE-F52C5E7B0571}"/>
              </a:ext>
            </a:extLst>
          </p:cNvPr>
          <p:cNvSpPr txBox="1"/>
          <p:nvPr/>
        </p:nvSpPr>
        <p:spPr>
          <a:xfrm>
            <a:off x="2133830" y="3863181"/>
            <a:ext cx="1912776" cy="1338828"/>
          </a:xfrm>
          <a:prstGeom prst="rect">
            <a:avLst/>
          </a:prstGeom>
          <a:noFill/>
        </p:spPr>
        <p:txBody>
          <a:bodyPr wrap="square" lIns="91440" tIns="45720" rIns="91440" bIns="45720" rtlCol="0" anchor="t">
            <a:spAutoFit/>
          </a:bodyPr>
          <a:lstStyle/>
          <a:p>
            <a:pPr algn="ctr">
              <a:spcAft>
                <a:spcPts val="600"/>
              </a:spcAft>
            </a:pPr>
            <a:r>
              <a:rPr lang="en-US" sz="3600" dirty="0">
                <a:solidFill>
                  <a:schemeClr val="bg2"/>
                </a:solidFill>
                <a:latin typeface="+mj-lt"/>
              </a:rPr>
              <a:t>200</a:t>
            </a:r>
          </a:p>
          <a:p>
            <a:pPr algn="ctr">
              <a:spcAft>
                <a:spcPts val="600"/>
              </a:spcAft>
            </a:pPr>
            <a:r>
              <a:rPr lang="en-US" sz="2000" dirty="0">
                <a:solidFill>
                  <a:srgbClr val="000000"/>
                </a:solidFill>
                <a:latin typeface="Segoe UI Semilight"/>
                <a:cs typeface="Segoe UI Semilight"/>
              </a:rPr>
              <a:t>Minimum new jobs</a:t>
            </a:r>
          </a:p>
        </p:txBody>
      </p:sp>
      <p:sp>
        <p:nvSpPr>
          <p:cNvPr id="19" name="TextBox 18">
            <a:extLst>
              <a:ext uri="{FF2B5EF4-FFF2-40B4-BE49-F238E27FC236}">
                <a16:creationId xmlns:a16="http://schemas.microsoft.com/office/drawing/2014/main" id="{6C9857F2-5095-418A-B21A-566A6CE2C700}"/>
              </a:ext>
            </a:extLst>
          </p:cNvPr>
          <p:cNvSpPr txBox="1"/>
          <p:nvPr/>
        </p:nvSpPr>
        <p:spPr>
          <a:xfrm>
            <a:off x="4987634" y="3762732"/>
            <a:ext cx="1912776" cy="1892826"/>
          </a:xfrm>
          <a:prstGeom prst="rect">
            <a:avLst/>
          </a:prstGeom>
          <a:noFill/>
        </p:spPr>
        <p:txBody>
          <a:bodyPr wrap="square" lIns="91440" tIns="45720" rIns="91440" bIns="45720" rtlCol="0" anchor="t">
            <a:spAutoFit/>
          </a:bodyPr>
          <a:lstStyle/>
          <a:p>
            <a:pPr algn="ctr">
              <a:spcAft>
                <a:spcPts val="600"/>
              </a:spcAft>
            </a:pPr>
            <a:r>
              <a:rPr lang="en-US" sz="3600" dirty="0">
                <a:solidFill>
                  <a:schemeClr val="accent1"/>
                </a:solidFill>
                <a:latin typeface="Segoe UI Semibold"/>
                <a:cs typeface="Segoe UI Semibold"/>
              </a:rPr>
              <a:t>$76 million</a:t>
            </a:r>
          </a:p>
          <a:p>
            <a:pPr algn="ctr">
              <a:spcAft>
                <a:spcPts val="600"/>
              </a:spcAft>
            </a:pPr>
            <a:r>
              <a:rPr lang="en-US" sz="2000" dirty="0">
                <a:solidFill>
                  <a:srgbClr val="000000"/>
                </a:solidFill>
                <a:latin typeface="Segoe UI Semilight"/>
                <a:cs typeface="Segoe UI Semilight"/>
              </a:rPr>
              <a:t>Minimum investment</a:t>
            </a:r>
          </a:p>
        </p:txBody>
      </p:sp>
      <p:sp>
        <p:nvSpPr>
          <p:cNvPr id="21" name="TextBox 20">
            <a:extLst>
              <a:ext uri="{FF2B5EF4-FFF2-40B4-BE49-F238E27FC236}">
                <a16:creationId xmlns:a16="http://schemas.microsoft.com/office/drawing/2014/main" id="{333764D8-F57C-46EC-8813-026E880B1EBA}"/>
              </a:ext>
            </a:extLst>
          </p:cNvPr>
          <p:cNvSpPr txBox="1"/>
          <p:nvPr/>
        </p:nvSpPr>
        <p:spPr>
          <a:xfrm>
            <a:off x="7750034" y="3759699"/>
            <a:ext cx="1912776" cy="2339102"/>
          </a:xfrm>
          <a:prstGeom prst="rect">
            <a:avLst/>
          </a:prstGeom>
          <a:noFill/>
        </p:spPr>
        <p:txBody>
          <a:bodyPr wrap="square" lIns="91440" tIns="45720" rIns="91440" bIns="45720" rtlCol="0" anchor="t">
            <a:spAutoFit/>
          </a:bodyPr>
          <a:lstStyle/>
          <a:p>
            <a:pPr algn="ctr">
              <a:spcAft>
                <a:spcPts val="600"/>
              </a:spcAft>
            </a:pPr>
            <a:r>
              <a:rPr lang="en-US" sz="2800" dirty="0">
                <a:latin typeface="+mj-lt"/>
                <a:cs typeface="Segoe UI Semibold"/>
              </a:rPr>
              <a:t>Multiple</a:t>
            </a:r>
          </a:p>
          <a:p>
            <a:pPr algn="ctr">
              <a:spcAft>
                <a:spcPts val="600"/>
              </a:spcAft>
            </a:pPr>
            <a:r>
              <a:rPr lang="en-US" sz="2800" dirty="0">
                <a:latin typeface="+mj-lt"/>
                <a:cs typeface="Segoe UI Semibold"/>
              </a:rPr>
              <a:t>Gigawatts</a:t>
            </a:r>
            <a:endParaRPr lang="en-US" dirty="0"/>
          </a:p>
          <a:p>
            <a:pPr algn="ctr">
              <a:spcAft>
                <a:spcPts val="600"/>
              </a:spcAft>
            </a:pPr>
            <a:r>
              <a:rPr lang="en-US" sz="2000" dirty="0"/>
              <a:t>Annual production capacity of batteries</a:t>
            </a:r>
            <a:endParaRPr lang="en-US" dirty="0"/>
          </a:p>
        </p:txBody>
      </p:sp>
      <p:sp>
        <p:nvSpPr>
          <p:cNvPr id="22" name="TextBox 21">
            <a:extLst>
              <a:ext uri="{FF2B5EF4-FFF2-40B4-BE49-F238E27FC236}">
                <a16:creationId xmlns:a16="http://schemas.microsoft.com/office/drawing/2014/main" id="{E7CF822C-A0B3-4CDC-9C78-4B60CFD87688}"/>
              </a:ext>
            </a:extLst>
          </p:cNvPr>
          <p:cNvSpPr txBox="1"/>
          <p:nvPr/>
        </p:nvSpPr>
        <p:spPr>
          <a:xfrm>
            <a:off x="440536" y="296637"/>
            <a:ext cx="931306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lang="en-US" sz="2800" kern="0" dirty="0">
                <a:solidFill>
                  <a:srgbClr val="000000"/>
                </a:solidFill>
                <a:latin typeface="Segoe UI Semibold"/>
                <a:cs typeface="Segoe UI Semibold"/>
                <a:sym typeface="Quattrocento Sans"/>
              </a:rPr>
              <a:t>New facility in Greer, South Carolina</a:t>
            </a:r>
            <a:endParaRPr lang="en-US" dirty="0"/>
          </a:p>
        </p:txBody>
      </p:sp>
      <p:sp>
        <p:nvSpPr>
          <p:cNvPr id="10" name="Freeform 4851">
            <a:extLst>
              <a:ext uri="{FF2B5EF4-FFF2-40B4-BE49-F238E27FC236}">
                <a16:creationId xmlns:a16="http://schemas.microsoft.com/office/drawing/2014/main" id="{A131F6EF-0899-AA8F-9415-FDD6D157CAFB}"/>
              </a:ext>
            </a:extLst>
          </p:cNvPr>
          <p:cNvSpPr>
            <a:spLocks noEditPoints="1"/>
          </p:cNvSpPr>
          <p:nvPr/>
        </p:nvSpPr>
        <p:spPr bwMode="auto">
          <a:xfrm>
            <a:off x="2787712" y="2485933"/>
            <a:ext cx="600886" cy="706392"/>
          </a:xfrm>
          <a:custGeom>
            <a:avLst/>
            <a:gdLst>
              <a:gd name="T0" fmla="*/ 248 w 360"/>
              <a:gd name="T1" fmla="*/ 8 h 380"/>
              <a:gd name="T2" fmla="*/ 274 w 360"/>
              <a:gd name="T3" fmla="*/ 0 h 380"/>
              <a:gd name="T4" fmla="*/ 298 w 360"/>
              <a:gd name="T5" fmla="*/ 28 h 380"/>
              <a:gd name="T6" fmla="*/ 280 w 360"/>
              <a:gd name="T7" fmla="*/ 56 h 380"/>
              <a:gd name="T8" fmla="*/ 258 w 360"/>
              <a:gd name="T9" fmla="*/ 56 h 380"/>
              <a:gd name="T10" fmla="*/ 240 w 360"/>
              <a:gd name="T11" fmla="*/ 28 h 380"/>
              <a:gd name="T12" fmla="*/ 344 w 360"/>
              <a:gd name="T13" fmla="*/ 88 h 380"/>
              <a:gd name="T14" fmla="*/ 288 w 360"/>
              <a:gd name="T15" fmla="*/ 68 h 380"/>
              <a:gd name="T16" fmla="*/ 214 w 360"/>
              <a:gd name="T17" fmla="*/ 70 h 380"/>
              <a:gd name="T18" fmla="*/ 194 w 360"/>
              <a:gd name="T19" fmla="*/ 90 h 380"/>
              <a:gd name="T20" fmla="*/ 224 w 360"/>
              <a:gd name="T21" fmla="*/ 114 h 380"/>
              <a:gd name="T22" fmla="*/ 248 w 360"/>
              <a:gd name="T23" fmla="*/ 166 h 380"/>
              <a:gd name="T24" fmla="*/ 234 w 360"/>
              <a:gd name="T25" fmla="*/ 208 h 380"/>
              <a:gd name="T26" fmla="*/ 278 w 360"/>
              <a:gd name="T27" fmla="*/ 214 h 380"/>
              <a:gd name="T28" fmla="*/ 310 w 360"/>
              <a:gd name="T29" fmla="*/ 244 h 380"/>
              <a:gd name="T30" fmla="*/ 332 w 360"/>
              <a:gd name="T31" fmla="*/ 200 h 380"/>
              <a:gd name="T32" fmla="*/ 348 w 360"/>
              <a:gd name="T33" fmla="*/ 208 h 380"/>
              <a:gd name="T34" fmla="*/ 360 w 360"/>
              <a:gd name="T35" fmla="*/ 190 h 380"/>
              <a:gd name="T36" fmla="*/ 102 w 360"/>
              <a:gd name="T37" fmla="*/ 56 h 380"/>
              <a:gd name="T38" fmla="*/ 120 w 360"/>
              <a:gd name="T39" fmla="*/ 28 h 380"/>
              <a:gd name="T40" fmla="*/ 98 w 360"/>
              <a:gd name="T41" fmla="*/ 0 h 380"/>
              <a:gd name="T42" fmla="*/ 70 w 360"/>
              <a:gd name="T43" fmla="*/ 8 h 380"/>
              <a:gd name="T44" fmla="*/ 62 w 360"/>
              <a:gd name="T45" fmla="*/ 34 h 380"/>
              <a:gd name="T46" fmla="*/ 92 w 360"/>
              <a:gd name="T47" fmla="*/ 58 h 380"/>
              <a:gd name="T48" fmla="*/ 50 w 360"/>
              <a:gd name="T49" fmla="*/ 244 h 380"/>
              <a:gd name="T50" fmla="*/ 74 w 360"/>
              <a:gd name="T51" fmla="*/ 218 h 380"/>
              <a:gd name="T52" fmla="*/ 126 w 360"/>
              <a:gd name="T53" fmla="*/ 208 h 380"/>
              <a:gd name="T54" fmla="*/ 112 w 360"/>
              <a:gd name="T55" fmla="*/ 166 h 380"/>
              <a:gd name="T56" fmla="*/ 128 w 360"/>
              <a:gd name="T57" fmla="*/ 122 h 380"/>
              <a:gd name="T58" fmla="*/ 166 w 360"/>
              <a:gd name="T59" fmla="*/ 90 h 380"/>
              <a:gd name="T60" fmla="*/ 154 w 360"/>
              <a:gd name="T61" fmla="*/ 74 h 380"/>
              <a:gd name="T62" fmla="*/ 72 w 360"/>
              <a:gd name="T63" fmla="*/ 68 h 380"/>
              <a:gd name="T64" fmla="*/ 20 w 360"/>
              <a:gd name="T65" fmla="*/ 80 h 380"/>
              <a:gd name="T66" fmla="*/ 0 w 360"/>
              <a:gd name="T67" fmla="*/ 190 h 380"/>
              <a:gd name="T68" fmla="*/ 12 w 360"/>
              <a:gd name="T69" fmla="*/ 208 h 380"/>
              <a:gd name="T70" fmla="*/ 28 w 360"/>
              <a:gd name="T71" fmla="*/ 200 h 380"/>
              <a:gd name="T72" fmla="*/ 170 w 360"/>
              <a:gd name="T73" fmla="*/ 118 h 380"/>
              <a:gd name="T74" fmla="*/ 136 w 360"/>
              <a:gd name="T75" fmla="*/ 146 h 380"/>
              <a:gd name="T76" fmla="*/ 136 w 360"/>
              <a:gd name="T77" fmla="*/ 184 h 380"/>
              <a:gd name="T78" fmla="*/ 170 w 360"/>
              <a:gd name="T79" fmla="*/ 214 h 380"/>
              <a:gd name="T80" fmla="*/ 208 w 360"/>
              <a:gd name="T81" fmla="*/ 206 h 380"/>
              <a:gd name="T82" fmla="*/ 228 w 360"/>
              <a:gd name="T83" fmla="*/ 166 h 380"/>
              <a:gd name="T84" fmla="*/ 214 w 360"/>
              <a:gd name="T85" fmla="*/ 132 h 380"/>
              <a:gd name="T86" fmla="*/ 296 w 360"/>
              <a:gd name="T87" fmla="*/ 260 h 380"/>
              <a:gd name="T88" fmla="*/ 288 w 360"/>
              <a:gd name="T89" fmla="*/ 246 h 380"/>
              <a:gd name="T90" fmla="*/ 180 w 360"/>
              <a:gd name="T91" fmla="*/ 278 h 380"/>
              <a:gd name="T92" fmla="*/ 82 w 360"/>
              <a:gd name="T93" fmla="*/ 236 h 380"/>
              <a:gd name="T94" fmla="*/ 64 w 360"/>
              <a:gd name="T95" fmla="*/ 260 h 380"/>
              <a:gd name="T96" fmla="*/ 106 w 360"/>
              <a:gd name="T97" fmla="*/ 304 h 380"/>
              <a:gd name="T98" fmla="*/ 146 w 360"/>
              <a:gd name="T99" fmla="*/ 378 h 380"/>
              <a:gd name="T100" fmla="*/ 214 w 360"/>
              <a:gd name="T101" fmla="*/ 378 h 380"/>
              <a:gd name="T102" fmla="*/ 264 w 360"/>
              <a:gd name="T103" fmla="*/ 362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60" h="380">
                <a:moveTo>
                  <a:pt x="240" y="28"/>
                </a:moveTo>
                <a:lnTo>
                  <a:pt x="240" y="28"/>
                </a:lnTo>
                <a:lnTo>
                  <a:pt x="240" y="22"/>
                </a:lnTo>
                <a:lnTo>
                  <a:pt x="242" y="18"/>
                </a:lnTo>
                <a:lnTo>
                  <a:pt x="248" y="8"/>
                </a:lnTo>
                <a:lnTo>
                  <a:pt x="258" y="2"/>
                </a:lnTo>
                <a:lnTo>
                  <a:pt x="262" y="0"/>
                </a:lnTo>
                <a:lnTo>
                  <a:pt x="268" y="0"/>
                </a:lnTo>
                <a:lnTo>
                  <a:pt x="268" y="0"/>
                </a:lnTo>
                <a:lnTo>
                  <a:pt x="274" y="0"/>
                </a:lnTo>
                <a:lnTo>
                  <a:pt x="280" y="2"/>
                </a:lnTo>
                <a:lnTo>
                  <a:pt x="290" y="8"/>
                </a:lnTo>
                <a:lnTo>
                  <a:pt x="296" y="18"/>
                </a:lnTo>
                <a:lnTo>
                  <a:pt x="298" y="22"/>
                </a:lnTo>
                <a:lnTo>
                  <a:pt x="298" y="28"/>
                </a:lnTo>
                <a:lnTo>
                  <a:pt x="298" y="28"/>
                </a:lnTo>
                <a:lnTo>
                  <a:pt x="298" y="34"/>
                </a:lnTo>
                <a:lnTo>
                  <a:pt x="296" y="40"/>
                </a:lnTo>
                <a:lnTo>
                  <a:pt x="290" y="50"/>
                </a:lnTo>
                <a:lnTo>
                  <a:pt x="280" y="56"/>
                </a:lnTo>
                <a:lnTo>
                  <a:pt x="274" y="58"/>
                </a:lnTo>
                <a:lnTo>
                  <a:pt x="268" y="58"/>
                </a:lnTo>
                <a:lnTo>
                  <a:pt x="268" y="58"/>
                </a:lnTo>
                <a:lnTo>
                  <a:pt x="262" y="58"/>
                </a:lnTo>
                <a:lnTo>
                  <a:pt x="258" y="56"/>
                </a:lnTo>
                <a:lnTo>
                  <a:pt x="248" y="50"/>
                </a:lnTo>
                <a:lnTo>
                  <a:pt x="242" y="40"/>
                </a:lnTo>
                <a:lnTo>
                  <a:pt x="240" y="34"/>
                </a:lnTo>
                <a:lnTo>
                  <a:pt x="240" y="28"/>
                </a:lnTo>
                <a:lnTo>
                  <a:pt x="240" y="28"/>
                </a:lnTo>
                <a:close/>
                <a:moveTo>
                  <a:pt x="360" y="190"/>
                </a:moveTo>
                <a:lnTo>
                  <a:pt x="344" y="90"/>
                </a:lnTo>
                <a:lnTo>
                  <a:pt x="344" y="90"/>
                </a:lnTo>
                <a:lnTo>
                  <a:pt x="344" y="88"/>
                </a:lnTo>
                <a:lnTo>
                  <a:pt x="344" y="88"/>
                </a:lnTo>
                <a:lnTo>
                  <a:pt x="340" y="80"/>
                </a:lnTo>
                <a:lnTo>
                  <a:pt x="332" y="74"/>
                </a:lnTo>
                <a:lnTo>
                  <a:pt x="324" y="70"/>
                </a:lnTo>
                <a:lnTo>
                  <a:pt x="314" y="68"/>
                </a:lnTo>
                <a:lnTo>
                  <a:pt x="288" y="68"/>
                </a:lnTo>
                <a:lnTo>
                  <a:pt x="270" y="102"/>
                </a:lnTo>
                <a:lnTo>
                  <a:pt x="250" y="68"/>
                </a:lnTo>
                <a:lnTo>
                  <a:pt x="222" y="68"/>
                </a:lnTo>
                <a:lnTo>
                  <a:pt x="222" y="68"/>
                </a:lnTo>
                <a:lnTo>
                  <a:pt x="214" y="70"/>
                </a:lnTo>
                <a:lnTo>
                  <a:pt x="206" y="74"/>
                </a:lnTo>
                <a:lnTo>
                  <a:pt x="198" y="80"/>
                </a:lnTo>
                <a:lnTo>
                  <a:pt x="194" y="88"/>
                </a:lnTo>
                <a:lnTo>
                  <a:pt x="194" y="88"/>
                </a:lnTo>
                <a:lnTo>
                  <a:pt x="194" y="90"/>
                </a:lnTo>
                <a:lnTo>
                  <a:pt x="192" y="98"/>
                </a:lnTo>
                <a:lnTo>
                  <a:pt x="192" y="98"/>
                </a:lnTo>
                <a:lnTo>
                  <a:pt x="204" y="102"/>
                </a:lnTo>
                <a:lnTo>
                  <a:pt x="214" y="106"/>
                </a:lnTo>
                <a:lnTo>
                  <a:pt x="224" y="114"/>
                </a:lnTo>
                <a:lnTo>
                  <a:pt x="232" y="122"/>
                </a:lnTo>
                <a:lnTo>
                  <a:pt x="240" y="132"/>
                </a:lnTo>
                <a:lnTo>
                  <a:pt x="244" y="142"/>
                </a:lnTo>
                <a:lnTo>
                  <a:pt x="248" y="154"/>
                </a:lnTo>
                <a:lnTo>
                  <a:pt x="248" y="166"/>
                </a:lnTo>
                <a:lnTo>
                  <a:pt x="248" y="166"/>
                </a:lnTo>
                <a:lnTo>
                  <a:pt x="248" y="178"/>
                </a:lnTo>
                <a:lnTo>
                  <a:pt x="246" y="188"/>
                </a:lnTo>
                <a:lnTo>
                  <a:pt x="240" y="198"/>
                </a:lnTo>
                <a:lnTo>
                  <a:pt x="234" y="208"/>
                </a:lnTo>
                <a:lnTo>
                  <a:pt x="250" y="208"/>
                </a:lnTo>
                <a:lnTo>
                  <a:pt x="250" y="208"/>
                </a:lnTo>
                <a:lnTo>
                  <a:pt x="260" y="208"/>
                </a:lnTo>
                <a:lnTo>
                  <a:pt x="270" y="210"/>
                </a:lnTo>
                <a:lnTo>
                  <a:pt x="278" y="214"/>
                </a:lnTo>
                <a:lnTo>
                  <a:pt x="286" y="218"/>
                </a:lnTo>
                <a:lnTo>
                  <a:pt x="294" y="222"/>
                </a:lnTo>
                <a:lnTo>
                  <a:pt x="300" y="228"/>
                </a:lnTo>
                <a:lnTo>
                  <a:pt x="306" y="236"/>
                </a:lnTo>
                <a:lnTo>
                  <a:pt x="310" y="244"/>
                </a:lnTo>
                <a:lnTo>
                  <a:pt x="308" y="118"/>
                </a:lnTo>
                <a:lnTo>
                  <a:pt x="318" y="118"/>
                </a:lnTo>
                <a:lnTo>
                  <a:pt x="330" y="196"/>
                </a:lnTo>
                <a:lnTo>
                  <a:pt x="330" y="196"/>
                </a:lnTo>
                <a:lnTo>
                  <a:pt x="332" y="200"/>
                </a:lnTo>
                <a:lnTo>
                  <a:pt x="336" y="204"/>
                </a:lnTo>
                <a:lnTo>
                  <a:pt x="340" y="208"/>
                </a:lnTo>
                <a:lnTo>
                  <a:pt x="346" y="208"/>
                </a:lnTo>
                <a:lnTo>
                  <a:pt x="346" y="208"/>
                </a:lnTo>
                <a:lnTo>
                  <a:pt x="348" y="208"/>
                </a:lnTo>
                <a:lnTo>
                  <a:pt x="348" y="208"/>
                </a:lnTo>
                <a:lnTo>
                  <a:pt x="354" y="206"/>
                </a:lnTo>
                <a:lnTo>
                  <a:pt x="358" y="202"/>
                </a:lnTo>
                <a:lnTo>
                  <a:pt x="360" y="196"/>
                </a:lnTo>
                <a:lnTo>
                  <a:pt x="360" y="190"/>
                </a:lnTo>
                <a:lnTo>
                  <a:pt x="360" y="190"/>
                </a:lnTo>
                <a:close/>
                <a:moveTo>
                  <a:pt x="92" y="58"/>
                </a:moveTo>
                <a:lnTo>
                  <a:pt x="92" y="58"/>
                </a:lnTo>
                <a:lnTo>
                  <a:pt x="98" y="58"/>
                </a:lnTo>
                <a:lnTo>
                  <a:pt x="102" y="56"/>
                </a:lnTo>
                <a:lnTo>
                  <a:pt x="112" y="50"/>
                </a:lnTo>
                <a:lnTo>
                  <a:pt x="118" y="40"/>
                </a:lnTo>
                <a:lnTo>
                  <a:pt x="120" y="34"/>
                </a:lnTo>
                <a:lnTo>
                  <a:pt x="120" y="28"/>
                </a:lnTo>
                <a:lnTo>
                  <a:pt x="120" y="28"/>
                </a:lnTo>
                <a:lnTo>
                  <a:pt x="120" y="22"/>
                </a:lnTo>
                <a:lnTo>
                  <a:pt x="118" y="18"/>
                </a:lnTo>
                <a:lnTo>
                  <a:pt x="112" y="8"/>
                </a:lnTo>
                <a:lnTo>
                  <a:pt x="102" y="2"/>
                </a:lnTo>
                <a:lnTo>
                  <a:pt x="98" y="0"/>
                </a:lnTo>
                <a:lnTo>
                  <a:pt x="92" y="0"/>
                </a:lnTo>
                <a:lnTo>
                  <a:pt x="92" y="0"/>
                </a:lnTo>
                <a:lnTo>
                  <a:pt x="86" y="0"/>
                </a:lnTo>
                <a:lnTo>
                  <a:pt x="80" y="2"/>
                </a:lnTo>
                <a:lnTo>
                  <a:pt x="70" y="8"/>
                </a:lnTo>
                <a:lnTo>
                  <a:pt x="64" y="18"/>
                </a:lnTo>
                <a:lnTo>
                  <a:pt x="62" y="22"/>
                </a:lnTo>
                <a:lnTo>
                  <a:pt x="62" y="28"/>
                </a:lnTo>
                <a:lnTo>
                  <a:pt x="62" y="28"/>
                </a:lnTo>
                <a:lnTo>
                  <a:pt x="62" y="34"/>
                </a:lnTo>
                <a:lnTo>
                  <a:pt x="64" y="40"/>
                </a:lnTo>
                <a:lnTo>
                  <a:pt x="70" y="50"/>
                </a:lnTo>
                <a:lnTo>
                  <a:pt x="80" y="56"/>
                </a:lnTo>
                <a:lnTo>
                  <a:pt x="86" y="58"/>
                </a:lnTo>
                <a:lnTo>
                  <a:pt x="92" y="58"/>
                </a:lnTo>
                <a:lnTo>
                  <a:pt x="92" y="58"/>
                </a:lnTo>
                <a:close/>
                <a:moveTo>
                  <a:pt x="30" y="196"/>
                </a:moveTo>
                <a:lnTo>
                  <a:pt x="42" y="118"/>
                </a:lnTo>
                <a:lnTo>
                  <a:pt x="52" y="118"/>
                </a:lnTo>
                <a:lnTo>
                  <a:pt x="50" y="244"/>
                </a:lnTo>
                <a:lnTo>
                  <a:pt x="50" y="244"/>
                </a:lnTo>
                <a:lnTo>
                  <a:pt x="54" y="236"/>
                </a:lnTo>
                <a:lnTo>
                  <a:pt x="60" y="228"/>
                </a:lnTo>
                <a:lnTo>
                  <a:pt x="66" y="222"/>
                </a:lnTo>
                <a:lnTo>
                  <a:pt x="74" y="218"/>
                </a:lnTo>
                <a:lnTo>
                  <a:pt x="82" y="214"/>
                </a:lnTo>
                <a:lnTo>
                  <a:pt x="90" y="210"/>
                </a:lnTo>
                <a:lnTo>
                  <a:pt x="100" y="208"/>
                </a:lnTo>
                <a:lnTo>
                  <a:pt x="110" y="208"/>
                </a:lnTo>
                <a:lnTo>
                  <a:pt x="126" y="208"/>
                </a:lnTo>
                <a:lnTo>
                  <a:pt x="126" y="208"/>
                </a:lnTo>
                <a:lnTo>
                  <a:pt x="120" y="198"/>
                </a:lnTo>
                <a:lnTo>
                  <a:pt x="114" y="188"/>
                </a:lnTo>
                <a:lnTo>
                  <a:pt x="112" y="178"/>
                </a:lnTo>
                <a:lnTo>
                  <a:pt x="112" y="166"/>
                </a:lnTo>
                <a:lnTo>
                  <a:pt x="112" y="166"/>
                </a:lnTo>
                <a:lnTo>
                  <a:pt x="112" y="154"/>
                </a:lnTo>
                <a:lnTo>
                  <a:pt x="116" y="142"/>
                </a:lnTo>
                <a:lnTo>
                  <a:pt x="120" y="132"/>
                </a:lnTo>
                <a:lnTo>
                  <a:pt x="128" y="122"/>
                </a:lnTo>
                <a:lnTo>
                  <a:pt x="136" y="114"/>
                </a:lnTo>
                <a:lnTo>
                  <a:pt x="146" y="106"/>
                </a:lnTo>
                <a:lnTo>
                  <a:pt x="156" y="102"/>
                </a:lnTo>
                <a:lnTo>
                  <a:pt x="168" y="98"/>
                </a:lnTo>
                <a:lnTo>
                  <a:pt x="166" y="90"/>
                </a:lnTo>
                <a:lnTo>
                  <a:pt x="166" y="90"/>
                </a:lnTo>
                <a:lnTo>
                  <a:pt x="166" y="88"/>
                </a:lnTo>
                <a:lnTo>
                  <a:pt x="166" y="88"/>
                </a:lnTo>
                <a:lnTo>
                  <a:pt x="162" y="80"/>
                </a:lnTo>
                <a:lnTo>
                  <a:pt x="154" y="74"/>
                </a:lnTo>
                <a:lnTo>
                  <a:pt x="146" y="70"/>
                </a:lnTo>
                <a:lnTo>
                  <a:pt x="138" y="68"/>
                </a:lnTo>
                <a:lnTo>
                  <a:pt x="110" y="68"/>
                </a:lnTo>
                <a:lnTo>
                  <a:pt x="90" y="102"/>
                </a:lnTo>
                <a:lnTo>
                  <a:pt x="72" y="68"/>
                </a:lnTo>
                <a:lnTo>
                  <a:pt x="46" y="68"/>
                </a:lnTo>
                <a:lnTo>
                  <a:pt x="46" y="68"/>
                </a:lnTo>
                <a:lnTo>
                  <a:pt x="36" y="70"/>
                </a:lnTo>
                <a:lnTo>
                  <a:pt x="28" y="74"/>
                </a:lnTo>
                <a:lnTo>
                  <a:pt x="20" y="80"/>
                </a:lnTo>
                <a:lnTo>
                  <a:pt x="16" y="88"/>
                </a:lnTo>
                <a:lnTo>
                  <a:pt x="16" y="88"/>
                </a:lnTo>
                <a:lnTo>
                  <a:pt x="16" y="90"/>
                </a:lnTo>
                <a:lnTo>
                  <a:pt x="0" y="190"/>
                </a:lnTo>
                <a:lnTo>
                  <a:pt x="0" y="190"/>
                </a:lnTo>
                <a:lnTo>
                  <a:pt x="0" y="196"/>
                </a:lnTo>
                <a:lnTo>
                  <a:pt x="2" y="202"/>
                </a:lnTo>
                <a:lnTo>
                  <a:pt x="6" y="206"/>
                </a:lnTo>
                <a:lnTo>
                  <a:pt x="12" y="208"/>
                </a:lnTo>
                <a:lnTo>
                  <a:pt x="12" y="208"/>
                </a:lnTo>
                <a:lnTo>
                  <a:pt x="14" y="208"/>
                </a:lnTo>
                <a:lnTo>
                  <a:pt x="14" y="208"/>
                </a:lnTo>
                <a:lnTo>
                  <a:pt x="20" y="208"/>
                </a:lnTo>
                <a:lnTo>
                  <a:pt x="24" y="204"/>
                </a:lnTo>
                <a:lnTo>
                  <a:pt x="28" y="200"/>
                </a:lnTo>
                <a:lnTo>
                  <a:pt x="30" y="196"/>
                </a:lnTo>
                <a:lnTo>
                  <a:pt x="30" y="196"/>
                </a:lnTo>
                <a:close/>
                <a:moveTo>
                  <a:pt x="180" y="118"/>
                </a:moveTo>
                <a:lnTo>
                  <a:pt x="180" y="118"/>
                </a:lnTo>
                <a:lnTo>
                  <a:pt x="170" y="118"/>
                </a:lnTo>
                <a:lnTo>
                  <a:pt x="162" y="120"/>
                </a:lnTo>
                <a:lnTo>
                  <a:pt x="152" y="126"/>
                </a:lnTo>
                <a:lnTo>
                  <a:pt x="146" y="132"/>
                </a:lnTo>
                <a:lnTo>
                  <a:pt x="140" y="138"/>
                </a:lnTo>
                <a:lnTo>
                  <a:pt x="136" y="146"/>
                </a:lnTo>
                <a:lnTo>
                  <a:pt x="132" y="156"/>
                </a:lnTo>
                <a:lnTo>
                  <a:pt x="132" y="166"/>
                </a:lnTo>
                <a:lnTo>
                  <a:pt x="132" y="166"/>
                </a:lnTo>
                <a:lnTo>
                  <a:pt x="132" y="176"/>
                </a:lnTo>
                <a:lnTo>
                  <a:pt x="136" y="184"/>
                </a:lnTo>
                <a:lnTo>
                  <a:pt x="140" y="194"/>
                </a:lnTo>
                <a:lnTo>
                  <a:pt x="146" y="200"/>
                </a:lnTo>
                <a:lnTo>
                  <a:pt x="152" y="206"/>
                </a:lnTo>
                <a:lnTo>
                  <a:pt x="162" y="210"/>
                </a:lnTo>
                <a:lnTo>
                  <a:pt x="170" y="214"/>
                </a:lnTo>
                <a:lnTo>
                  <a:pt x="180" y="214"/>
                </a:lnTo>
                <a:lnTo>
                  <a:pt x="180" y="214"/>
                </a:lnTo>
                <a:lnTo>
                  <a:pt x="190" y="214"/>
                </a:lnTo>
                <a:lnTo>
                  <a:pt x="200" y="210"/>
                </a:lnTo>
                <a:lnTo>
                  <a:pt x="208" y="206"/>
                </a:lnTo>
                <a:lnTo>
                  <a:pt x="214" y="200"/>
                </a:lnTo>
                <a:lnTo>
                  <a:pt x="220" y="194"/>
                </a:lnTo>
                <a:lnTo>
                  <a:pt x="224" y="184"/>
                </a:lnTo>
                <a:lnTo>
                  <a:pt x="228" y="176"/>
                </a:lnTo>
                <a:lnTo>
                  <a:pt x="228" y="166"/>
                </a:lnTo>
                <a:lnTo>
                  <a:pt x="228" y="166"/>
                </a:lnTo>
                <a:lnTo>
                  <a:pt x="228" y="156"/>
                </a:lnTo>
                <a:lnTo>
                  <a:pt x="224" y="146"/>
                </a:lnTo>
                <a:lnTo>
                  <a:pt x="220" y="138"/>
                </a:lnTo>
                <a:lnTo>
                  <a:pt x="214" y="132"/>
                </a:lnTo>
                <a:lnTo>
                  <a:pt x="208" y="126"/>
                </a:lnTo>
                <a:lnTo>
                  <a:pt x="200" y="120"/>
                </a:lnTo>
                <a:lnTo>
                  <a:pt x="190" y="118"/>
                </a:lnTo>
                <a:lnTo>
                  <a:pt x="180" y="118"/>
                </a:lnTo>
                <a:close/>
                <a:moveTo>
                  <a:pt x="296" y="260"/>
                </a:moveTo>
                <a:lnTo>
                  <a:pt x="296" y="260"/>
                </a:lnTo>
                <a:lnTo>
                  <a:pt x="294" y="258"/>
                </a:lnTo>
                <a:lnTo>
                  <a:pt x="294" y="258"/>
                </a:lnTo>
                <a:lnTo>
                  <a:pt x="292" y="252"/>
                </a:lnTo>
                <a:lnTo>
                  <a:pt x="288" y="246"/>
                </a:lnTo>
                <a:lnTo>
                  <a:pt x="278" y="236"/>
                </a:lnTo>
                <a:lnTo>
                  <a:pt x="266" y="230"/>
                </a:lnTo>
                <a:lnTo>
                  <a:pt x="250" y="228"/>
                </a:lnTo>
                <a:lnTo>
                  <a:pt x="210" y="228"/>
                </a:lnTo>
                <a:lnTo>
                  <a:pt x="180" y="278"/>
                </a:lnTo>
                <a:lnTo>
                  <a:pt x="150" y="228"/>
                </a:lnTo>
                <a:lnTo>
                  <a:pt x="110" y="228"/>
                </a:lnTo>
                <a:lnTo>
                  <a:pt x="110" y="228"/>
                </a:lnTo>
                <a:lnTo>
                  <a:pt x="94" y="230"/>
                </a:lnTo>
                <a:lnTo>
                  <a:pt x="82" y="236"/>
                </a:lnTo>
                <a:lnTo>
                  <a:pt x="72" y="246"/>
                </a:lnTo>
                <a:lnTo>
                  <a:pt x="68" y="252"/>
                </a:lnTo>
                <a:lnTo>
                  <a:pt x="66" y="258"/>
                </a:lnTo>
                <a:lnTo>
                  <a:pt x="66" y="258"/>
                </a:lnTo>
                <a:lnTo>
                  <a:pt x="64" y="260"/>
                </a:lnTo>
                <a:lnTo>
                  <a:pt x="52" y="336"/>
                </a:lnTo>
                <a:lnTo>
                  <a:pt x="52" y="336"/>
                </a:lnTo>
                <a:lnTo>
                  <a:pt x="72" y="352"/>
                </a:lnTo>
                <a:lnTo>
                  <a:pt x="96" y="362"/>
                </a:lnTo>
                <a:lnTo>
                  <a:pt x="106" y="304"/>
                </a:lnTo>
                <a:lnTo>
                  <a:pt x="118" y="304"/>
                </a:lnTo>
                <a:lnTo>
                  <a:pt x="114" y="370"/>
                </a:lnTo>
                <a:lnTo>
                  <a:pt x="114" y="370"/>
                </a:lnTo>
                <a:lnTo>
                  <a:pt x="130" y="374"/>
                </a:lnTo>
                <a:lnTo>
                  <a:pt x="146" y="378"/>
                </a:lnTo>
                <a:lnTo>
                  <a:pt x="162" y="380"/>
                </a:lnTo>
                <a:lnTo>
                  <a:pt x="180" y="380"/>
                </a:lnTo>
                <a:lnTo>
                  <a:pt x="180" y="380"/>
                </a:lnTo>
                <a:lnTo>
                  <a:pt x="196" y="380"/>
                </a:lnTo>
                <a:lnTo>
                  <a:pt x="214" y="378"/>
                </a:lnTo>
                <a:lnTo>
                  <a:pt x="230" y="374"/>
                </a:lnTo>
                <a:lnTo>
                  <a:pt x="246" y="370"/>
                </a:lnTo>
                <a:lnTo>
                  <a:pt x="242" y="304"/>
                </a:lnTo>
                <a:lnTo>
                  <a:pt x="254" y="304"/>
                </a:lnTo>
                <a:lnTo>
                  <a:pt x="264" y="362"/>
                </a:lnTo>
                <a:lnTo>
                  <a:pt x="264" y="362"/>
                </a:lnTo>
                <a:lnTo>
                  <a:pt x="288" y="350"/>
                </a:lnTo>
                <a:lnTo>
                  <a:pt x="308" y="336"/>
                </a:lnTo>
                <a:lnTo>
                  <a:pt x="296" y="26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sp>
        <p:nvSpPr>
          <p:cNvPr id="28" name="Freeform 4803">
            <a:extLst>
              <a:ext uri="{FF2B5EF4-FFF2-40B4-BE49-F238E27FC236}">
                <a16:creationId xmlns:a16="http://schemas.microsoft.com/office/drawing/2014/main" id="{4CC39769-7F76-3C39-2B31-D4A5C22E08BC}"/>
              </a:ext>
            </a:extLst>
          </p:cNvPr>
          <p:cNvSpPr>
            <a:spLocks noEditPoints="1"/>
          </p:cNvSpPr>
          <p:nvPr/>
        </p:nvSpPr>
        <p:spPr bwMode="auto">
          <a:xfrm>
            <a:off x="5593422" y="2602822"/>
            <a:ext cx="563433" cy="475337"/>
          </a:xfrm>
          <a:custGeom>
            <a:avLst/>
            <a:gdLst>
              <a:gd name="T0" fmla="*/ 372 w 376"/>
              <a:gd name="T1" fmla="*/ 98 h 274"/>
              <a:gd name="T2" fmla="*/ 344 w 376"/>
              <a:gd name="T3" fmla="*/ 74 h 274"/>
              <a:gd name="T4" fmla="*/ 334 w 376"/>
              <a:gd name="T5" fmla="*/ 68 h 274"/>
              <a:gd name="T6" fmla="*/ 254 w 376"/>
              <a:gd name="T7" fmla="*/ 80 h 274"/>
              <a:gd name="T8" fmla="*/ 210 w 376"/>
              <a:gd name="T9" fmla="*/ 68 h 274"/>
              <a:gd name="T10" fmla="*/ 6 w 376"/>
              <a:gd name="T11" fmla="*/ 136 h 274"/>
              <a:gd name="T12" fmla="*/ 4 w 376"/>
              <a:gd name="T13" fmla="*/ 170 h 274"/>
              <a:gd name="T14" fmla="*/ 30 w 376"/>
              <a:gd name="T15" fmla="*/ 194 h 274"/>
              <a:gd name="T16" fmla="*/ 4 w 376"/>
              <a:gd name="T17" fmla="*/ 220 h 274"/>
              <a:gd name="T18" fmla="*/ 198 w 376"/>
              <a:gd name="T19" fmla="*/ 250 h 274"/>
              <a:gd name="T20" fmla="*/ 272 w 376"/>
              <a:gd name="T21" fmla="*/ 274 h 274"/>
              <a:gd name="T22" fmla="*/ 346 w 376"/>
              <a:gd name="T23" fmla="*/ 246 h 274"/>
              <a:gd name="T24" fmla="*/ 322 w 376"/>
              <a:gd name="T25" fmla="*/ 252 h 274"/>
              <a:gd name="T26" fmla="*/ 220 w 376"/>
              <a:gd name="T27" fmla="*/ 252 h 274"/>
              <a:gd name="T28" fmla="*/ 196 w 376"/>
              <a:gd name="T29" fmla="*/ 232 h 274"/>
              <a:gd name="T30" fmla="*/ 148 w 376"/>
              <a:gd name="T31" fmla="*/ 234 h 274"/>
              <a:gd name="T32" fmla="*/ 200 w 376"/>
              <a:gd name="T33" fmla="*/ 220 h 274"/>
              <a:gd name="T34" fmla="*/ 300 w 376"/>
              <a:gd name="T35" fmla="*/ 236 h 274"/>
              <a:gd name="T36" fmla="*/ 346 w 376"/>
              <a:gd name="T37" fmla="*/ 196 h 274"/>
              <a:gd name="T38" fmla="*/ 308 w 376"/>
              <a:gd name="T39" fmla="*/ 220 h 274"/>
              <a:gd name="T40" fmla="*/ 210 w 376"/>
              <a:gd name="T41" fmla="*/ 210 h 274"/>
              <a:gd name="T42" fmla="*/ 196 w 376"/>
              <a:gd name="T43" fmla="*/ 196 h 274"/>
              <a:gd name="T44" fmla="*/ 150 w 376"/>
              <a:gd name="T45" fmla="*/ 200 h 274"/>
              <a:gd name="T46" fmla="*/ 202 w 376"/>
              <a:gd name="T47" fmla="*/ 184 h 274"/>
              <a:gd name="T48" fmla="*/ 318 w 376"/>
              <a:gd name="T49" fmla="*/ 196 h 274"/>
              <a:gd name="T50" fmla="*/ 374 w 376"/>
              <a:gd name="T51" fmla="*/ 162 h 274"/>
              <a:gd name="T52" fmla="*/ 374 w 376"/>
              <a:gd name="T53" fmla="*/ 130 h 274"/>
              <a:gd name="T54" fmla="*/ 248 w 376"/>
              <a:gd name="T55" fmla="*/ 94 h 274"/>
              <a:gd name="T56" fmla="*/ 342 w 376"/>
              <a:gd name="T57" fmla="*/ 78 h 274"/>
              <a:gd name="T58" fmla="*/ 334 w 376"/>
              <a:gd name="T59" fmla="*/ 104 h 274"/>
              <a:gd name="T60" fmla="*/ 238 w 376"/>
              <a:gd name="T61" fmla="*/ 114 h 274"/>
              <a:gd name="T62" fmla="*/ 200 w 376"/>
              <a:gd name="T63" fmla="*/ 96 h 274"/>
              <a:gd name="T64" fmla="*/ 202 w 376"/>
              <a:gd name="T65" fmla="*/ 114 h 274"/>
              <a:gd name="T66" fmla="*/ 294 w 376"/>
              <a:gd name="T67" fmla="*/ 130 h 274"/>
              <a:gd name="T68" fmla="*/ 346 w 376"/>
              <a:gd name="T69" fmla="*/ 124 h 274"/>
              <a:gd name="T70" fmla="*/ 338 w 376"/>
              <a:gd name="T71" fmla="*/ 136 h 274"/>
              <a:gd name="T72" fmla="*/ 272 w 376"/>
              <a:gd name="T73" fmla="*/ 152 h 274"/>
              <a:gd name="T74" fmla="*/ 214 w 376"/>
              <a:gd name="T75" fmla="*/ 142 h 274"/>
              <a:gd name="T76" fmla="*/ 198 w 376"/>
              <a:gd name="T77" fmla="*/ 118 h 274"/>
              <a:gd name="T78" fmla="*/ 134 w 376"/>
              <a:gd name="T79" fmla="*/ 150 h 274"/>
              <a:gd name="T80" fmla="*/ 100 w 376"/>
              <a:gd name="T81" fmla="*/ 136 h 274"/>
              <a:gd name="T82" fmla="*/ 158 w 376"/>
              <a:gd name="T83" fmla="*/ 128 h 274"/>
              <a:gd name="T84" fmla="*/ 162 w 376"/>
              <a:gd name="T85" fmla="*/ 144 h 274"/>
              <a:gd name="T86" fmla="*/ 346 w 376"/>
              <a:gd name="T87" fmla="*/ 162 h 274"/>
              <a:gd name="T88" fmla="*/ 342 w 376"/>
              <a:gd name="T89" fmla="*/ 168 h 274"/>
              <a:gd name="T90" fmla="*/ 322 w 376"/>
              <a:gd name="T91" fmla="*/ 180 h 274"/>
              <a:gd name="T92" fmla="*/ 220 w 376"/>
              <a:gd name="T93" fmla="*/ 180 h 274"/>
              <a:gd name="T94" fmla="*/ 200 w 376"/>
              <a:gd name="T95" fmla="*/ 168 h 274"/>
              <a:gd name="T96" fmla="*/ 198 w 376"/>
              <a:gd name="T97" fmla="*/ 154 h 274"/>
              <a:gd name="T98" fmla="*/ 272 w 376"/>
              <a:gd name="T99" fmla="*/ 166 h 274"/>
              <a:gd name="T100" fmla="*/ 346 w 376"/>
              <a:gd name="T101" fmla="*/ 160 h 274"/>
              <a:gd name="T102" fmla="*/ 196 w 376"/>
              <a:gd name="T103" fmla="*/ 28 h 274"/>
              <a:gd name="T104" fmla="*/ 272 w 376"/>
              <a:gd name="T105" fmla="*/ 0 h 274"/>
              <a:gd name="T106" fmla="*/ 344 w 376"/>
              <a:gd name="T107" fmla="*/ 24 h 274"/>
              <a:gd name="T108" fmla="*/ 322 w 376"/>
              <a:gd name="T109" fmla="*/ 50 h 274"/>
              <a:gd name="T110" fmla="*/ 220 w 376"/>
              <a:gd name="T111" fmla="*/ 5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76" h="274">
                <a:moveTo>
                  <a:pt x="376" y="126"/>
                </a:moveTo>
                <a:lnTo>
                  <a:pt x="376" y="126"/>
                </a:lnTo>
                <a:lnTo>
                  <a:pt x="374" y="122"/>
                </a:lnTo>
                <a:lnTo>
                  <a:pt x="370" y="120"/>
                </a:lnTo>
                <a:lnTo>
                  <a:pt x="346" y="110"/>
                </a:lnTo>
                <a:lnTo>
                  <a:pt x="372" y="98"/>
                </a:lnTo>
                <a:lnTo>
                  <a:pt x="372" y="98"/>
                </a:lnTo>
                <a:lnTo>
                  <a:pt x="376" y="96"/>
                </a:lnTo>
                <a:lnTo>
                  <a:pt x="376" y="92"/>
                </a:lnTo>
                <a:lnTo>
                  <a:pt x="376" y="92"/>
                </a:lnTo>
                <a:lnTo>
                  <a:pt x="376" y="86"/>
                </a:lnTo>
                <a:lnTo>
                  <a:pt x="372" y="84"/>
                </a:lnTo>
                <a:lnTo>
                  <a:pt x="344" y="74"/>
                </a:lnTo>
                <a:lnTo>
                  <a:pt x="344" y="74"/>
                </a:lnTo>
                <a:lnTo>
                  <a:pt x="346" y="70"/>
                </a:lnTo>
                <a:lnTo>
                  <a:pt x="346" y="66"/>
                </a:lnTo>
                <a:lnTo>
                  <a:pt x="346" y="52"/>
                </a:lnTo>
                <a:lnTo>
                  <a:pt x="346" y="52"/>
                </a:lnTo>
                <a:lnTo>
                  <a:pt x="346" y="56"/>
                </a:lnTo>
                <a:lnTo>
                  <a:pt x="344" y="60"/>
                </a:lnTo>
                <a:lnTo>
                  <a:pt x="334" y="68"/>
                </a:lnTo>
                <a:lnTo>
                  <a:pt x="334" y="68"/>
                </a:lnTo>
                <a:lnTo>
                  <a:pt x="322" y="72"/>
                </a:lnTo>
                <a:lnTo>
                  <a:pt x="308" y="76"/>
                </a:lnTo>
                <a:lnTo>
                  <a:pt x="290" y="80"/>
                </a:lnTo>
                <a:lnTo>
                  <a:pt x="272" y="80"/>
                </a:lnTo>
                <a:lnTo>
                  <a:pt x="272" y="80"/>
                </a:lnTo>
                <a:lnTo>
                  <a:pt x="254" y="80"/>
                </a:lnTo>
                <a:lnTo>
                  <a:pt x="238" y="78"/>
                </a:lnTo>
                <a:lnTo>
                  <a:pt x="226" y="74"/>
                </a:lnTo>
                <a:lnTo>
                  <a:pt x="214" y="70"/>
                </a:lnTo>
                <a:lnTo>
                  <a:pt x="214" y="70"/>
                </a:lnTo>
                <a:lnTo>
                  <a:pt x="214" y="70"/>
                </a:lnTo>
                <a:lnTo>
                  <a:pt x="210" y="68"/>
                </a:lnTo>
                <a:lnTo>
                  <a:pt x="210" y="68"/>
                </a:lnTo>
                <a:lnTo>
                  <a:pt x="200" y="60"/>
                </a:lnTo>
                <a:lnTo>
                  <a:pt x="198" y="56"/>
                </a:lnTo>
                <a:lnTo>
                  <a:pt x="196" y="52"/>
                </a:lnTo>
                <a:lnTo>
                  <a:pt x="196" y="52"/>
                </a:lnTo>
                <a:lnTo>
                  <a:pt x="198" y="46"/>
                </a:lnTo>
                <a:lnTo>
                  <a:pt x="6" y="136"/>
                </a:lnTo>
                <a:lnTo>
                  <a:pt x="6" y="136"/>
                </a:lnTo>
                <a:lnTo>
                  <a:pt x="2" y="138"/>
                </a:lnTo>
                <a:lnTo>
                  <a:pt x="2" y="142"/>
                </a:lnTo>
                <a:lnTo>
                  <a:pt x="2" y="142"/>
                </a:lnTo>
                <a:lnTo>
                  <a:pt x="2" y="148"/>
                </a:lnTo>
                <a:lnTo>
                  <a:pt x="6" y="150"/>
                </a:lnTo>
                <a:lnTo>
                  <a:pt x="30" y="158"/>
                </a:lnTo>
                <a:lnTo>
                  <a:pt x="4" y="170"/>
                </a:lnTo>
                <a:lnTo>
                  <a:pt x="4" y="170"/>
                </a:lnTo>
                <a:lnTo>
                  <a:pt x="2" y="174"/>
                </a:lnTo>
                <a:lnTo>
                  <a:pt x="0" y="178"/>
                </a:lnTo>
                <a:lnTo>
                  <a:pt x="0" y="178"/>
                </a:lnTo>
                <a:lnTo>
                  <a:pt x="2" y="182"/>
                </a:lnTo>
                <a:lnTo>
                  <a:pt x="6" y="184"/>
                </a:lnTo>
                <a:lnTo>
                  <a:pt x="30" y="194"/>
                </a:lnTo>
                <a:lnTo>
                  <a:pt x="4" y="206"/>
                </a:lnTo>
                <a:lnTo>
                  <a:pt x="4" y="206"/>
                </a:lnTo>
                <a:lnTo>
                  <a:pt x="0" y="208"/>
                </a:lnTo>
                <a:lnTo>
                  <a:pt x="0" y="212"/>
                </a:lnTo>
                <a:lnTo>
                  <a:pt x="0" y="212"/>
                </a:lnTo>
                <a:lnTo>
                  <a:pt x="0" y="218"/>
                </a:lnTo>
                <a:lnTo>
                  <a:pt x="4" y="220"/>
                </a:lnTo>
                <a:lnTo>
                  <a:pt x="148" y="270"/>
                </a:lnTo>
                <a:lnTo>
                  <a:pt x="148" y="270"/>
                </a:lnTo>
                <a:lnTo>
                  <a:pt x="150" y="270"/>
                </a:lnTo>
                <a:lnTo>
                  <a:pt x="150" y="270"/>
                </a:lnTo>
                <a:lnTo>
                  <a:pt x="154" y="270"/>
                </a:lnTo>
                <a:lnTo>
                  <a:pt x="198" y="250"/>
                </a:lnTo>
                <a:lnTo>
                  <a:pt x="198" y="250"/>
                </a:lnTo>
                <a:lnTo>
                  <a:pt x="200" y="254"/>
                </a:lnTo>
                <a:lnTo>
                  <a:pt x="206" y="258"/>
                </a:lnTo>
                <a:lnTo>
                  <a:pt x="212" y="264"/>
                </a:lnTo>
                <a:lnTo>
                  <a:pt x="222" y="266"/>
                </a:lnTo>
                <a:lnTo>
                  <a:pt x="244" y="272"/>
                </a:lnTo>
                <a:lnTo>
                  <a:pt x="272" y="274"/>
                </a:lnTo>
                <a:lnTo>
                  <a:pt x="272" y="274"/>
                </a:lnTo>
                <a:lnTo>
                  <a:pt x="300" y="272"/>
                </a:lnTo>
                <a:lnTo>
                  <a:pt x="314" y="270"/>
                </a:lnTo>
                <a:lnTo>
                  <a:pt x="324" y="266"/>
                </a:lnTo>
                <a:lnTo>
                  <a:pt x="334" y="262"/>
                </a:lnTo>
                <a:lnTo>
                  <a:pt x="340" y="256"/>
                </a:lnTo>
                <a:lnTo>
                  <a:pt x="344" y="252"/>
                </a:lnTo>
                <a:lnTo>
                  <a:pt x="346" y="246"/>
                </a:lnTo>
                <a:lnTo>
                  <a:pt x="346" y="230"/>
                </a:lnTo>
                <a:lnTo>
                  <a:pt x="346" y="230"/>
                </a:lnTo>
                <a:lnTo>
                  <a:pt x="346" y="236"/>
                </a:lnTo>
                <a:lnTo>
                  <a:pt x="344" y="240"/>
                </a:lnTo>
                <a:lnTo>
                  <a:pt x="334" y="246"/>
                </a:lnTo>
                <a:lnTo>
                  <a:pt x="334" y="246"/>
                </a:lnTo>
                <a:lnTo>
                  <a:pt x="322" y="252"/>
                </a:lnTo>
                <a:lnTo>
                  <a:pt x="308" y="256"/>
                </a:lnTo>
                <a:lnTo>
                  <a:pt x="290" y="258"/>
                </a:lnTo>
                <a:lnTo>
                  <a:pt x="272" y="260"/>
                </a:lnTo>
                <a:lnTo>
                  <a:pt x="272" y="260"/>
                </a:lnTo>
                <a:lnTo>
                  <a:pt x="252" y="258"/>
                </a:lnTo>
                <a:lnTo>
                  <a:pt x="236" y="256"/>
                </a:lnTo>
                <a:lnTo>
                  <a:pt x="220" y="252"/>
                </a:lnTo>
                <a:lnTo>
                  <a:pt x="210" y="246"/>
                </a:lnTo>
                <a:lnTo>
                  <a:pt x="210" y="246"/>
                </a:lnTo>
                <a:lnTo>
                  <a:pt x="206" y="244"/>
                </a:lnTo>
                <a:lnTo>
                  <a:pt x="206" y="244"/>
                </a:lnTo>
                <a:lnTo>
                  <a:pt x="206" y="244"/>
                </a:lnTo>
                <a:lnTo>
                  <a:pt x="200" y="238"/>
                </a:lnTo>
                <a:lnTo>
                  <a:pt x="196" y="232"/>
                </a:lnTo>
                <a:lnTo>
                  <a:pt x="196" y="232"/>
                </a:lnTo>
                <a:lnTo>
                  <a:pt x="196" y="230"/>
                </a:lnTo>
                <a:lnTo>
                  <a:pt x="196" y="232"/>
                </a:lnTo>
                <a:lnTo>
                  <a:pt x="150" y="254"/>
                </a:lnTo>
                <a:lnTo>
                  <a:pt x="28" y="212"/>
                </a:lnTo>
                <a:lnTo>
                  <a:pt x="52" y="200"/>
                </a:lnTo>
                <a:lnTo>
                  <a:pt x="148" y="234"/>
                </a:lnTo>
                <a:lnTo>
                  <a:pt x="148" y="234"/>
                </a:lnTo>
                <a:lnTo>
                  <a:pt x="152" y="234"/>
                </a:lnTo>
                <a:lnTo>
                  <a:pt x="152" y="234"/>
                </a:lnTo>
                <a:lnTo>
                  <a:pt x="154" y="234"/>
                </a:lnTo>
                <a:lnTo>
                  <a:pt x="198" y="214"/>
                </a:lnTo>
                <a:lnTo>
                  <a:pt x="198" y="214"/>
                </a:lnTo>
                <a:lnTo>
                  <a:pt x="200" y="220"/>
                </a:lnTo>
                <a:lnTo>
                  <a:pt x="206" y="224"/>
                </a:lnTo>
                <a:lnTo>
                  <a:pt x="214" y="228"/>
                </a:lnTo>
                <a:lnTo>
                  <a:pt x="222" y="232"/>
                </a:lnTo>
                <a:lnTo>
                  <a:pt x="246" y="236"/>
                </a:lnTo>
                <a:lnTo>
                  <a:pt x="272" y="238"/>
                </a:lnTo>
                <a:lnTo>
                  <a:pt x="272" y="238"/>
                </a:lnTo>
                <a:lnTo>
                  <a:pt x="300" y="236"/>
                </a:lnTo>
                <a:lnTo>
                  <a:pt x="314" y="234"/>
                </a:lnTo>
                <a:lnTo>
                  <a:pt x="324" y="230"/>
                </a:lnTo>
                <a:lnTo>
                  <a:pt x="334" y="226"/>
                </a:lnTo>
                <a:lnTo>
                  <a:pt x="340" y="220"/>
                </a:lnTo>
                <a:lnTo>
                  <a:pt x="344" y="216"/>
                </a:lnTo>
                <a:lnTo>
                  <a:pt x="346" y="210"/>
                </a:lnTo>
                <a:lnTo>
                  <a:pt x="346" y="196"/>
                </a:lnTo>
                <a:lnTo>
                  <a:pt x="346" y="196"/>
                </a:lnTo>
                <a:lnTo>
                  <a:pt x="346" y="200"/>
                </a:lnTo>
                <a:lnTo>
                  <a:pt x="344" y="204"/>
                </a:lnTo>
                <a:lnTo>
                  <a:pt x="334" y="210"/>
                </a:lnTo>
                <a:lnTo>
                  <a:pt x="334" y="210"/>
                </a:lnTo>
                <a:lnTo>
                  <a:pt x="322" y="216"/>
                </a:lnTo>
                <a:lnTo>
                  <a:pt x="308" y="220"/>
                </a:lnTo>
                <a:lnTo>
                  <a:pt x="290" y="222"/>
                </a:lnTo>
                <a:lnTo>
                  <a:pt x="272" y="224"/>
                </a:lnTo>
                <a:lnTo>
                  <a:pt x="272" y="224"/>
                </a:lnTo>
                <a:lnTo>
                  <a:pt x="252" y="222"/>
                </a:lnTo>
                <a:lnTo>
                  <a:pt x="236" y="220"/>
                </a:lnTo>
                <a:lnTo>
                  <a:pt x="220" y="216"/>
                </a:lnTo>
                <a:lnTo>
                  <a:pt x="210" y="210"/>
                </a:lnTo>
                <a:lnTo>
                  <a:pt x="210" y="210"/>
                </a:lnTo>
                <a:lnTo>
                  <a:pt x="208" y="210"/>
                </a:lnTo>
                <a:lnTo>
                  <a:pt x="208" y="210"/>
                </a:lnTo>
                <a:lnTo>
                  <a:pt x="200" y="204"/>
                </a:lnTo>
                <a:lnTo>
                  <a:pt x="198" y="198"/>
                </a:lnTo>
                <a:lnTo>
                  <a:pt x="198" y="198"/>
                </a:lnTo>
                <a:lnTo>
                  <a:pt x="196" y="196"/>
                </a:lnTo>
                <a:lnTo>
                  <a:pt x="196" y="198"/>
                </a:lnTo>
                <a:lnTo>
                  <a:pt x="152" y="218"/>
                </a:lnTo>
                <a:lnTo>
                  <a:pt x="72" y="192"/>
                </a:lnTo>
                <a:lnTo>
                  <a:pt x="50" y="184"/>
                </a:lnTo>
                <a:lnTo>
                  <a:pt x="28" y="176"/>
                </a:lnTo>
                <a:lnTo>
                  <a:pt x="52" y="166"/>
                </a:lnTo>
                <a:lnTo>
                  <a:pt x="150" y="200"/>
                </a:lnTo>
                <a:lnTo>
                  <a:pt x="150" y="200"/>
                </a:lnTo>
                <a:lnTo>
                  <a:pt x="152" y="200"/>
                </a:lnTo>
                <a:lnTo>
                  <a:pt x="152" y="200"/>
                </a:lnTo>
                <a:lnTo>
                  <a:pt x="156" y="200"/>
                </a:lnTo>
                <a:lnTo>
                  <a:pt x="198" y="180"/>
                </a:lnTo>
                <a:lnTo>
                  <a:pt x="198" y="180"/>
                </a:lnTo>
                <a:lnTo>
                  <a:pt x="202" y="184"/>
                </a:lnTo>
                <a:lnTo>
                  <a:pt x="208" y="188"/>
                </a:lnTo>
                <a:lnTo>
                  <a:pt x="224" y="196"/>
                </a:lnTo>
                <a:lnTo>
                  <a:pt x="246" y="200"/>
                </a:lnTo>
                <a:lnTo>
                  <a:pt x="272" y="202"/>
                </a:lnTo>
                <a:lnTo>
                  <a:pt x="272" y="202"/>
                </a:lnTo>
                <a:lnTo>
                  <a:pt x="296" y="200"/>
                </a:lnTo>
                <a:lnTo>
                  <a:pt x="318" y="196"/>
                </a:lnTo>
                <a:lnTo>
                  <a:pt x="334" y="190"/>
                </a:lnTo>
                <a:lnTo>
                  <a:pt x="340" y="186"/>
                </a:lnTo>
                <a:lnTo>
                  <a:pt x="344" y="180"/>
                </a:lnTo>
                <a:lnTo>
                  <a:pt x="370" y="168"/>
                </a:lnTo>
                <a:lnTo>
                  <a:pt x="370" y="168"/>
                </a:lnTo>
                <a:lnTo>
                  <a:pt x="374" y="166"/>
                </a:lnTo>
                <a:lnTo>
                  <a:pt x="374" y="162"/>
                </a:lnTo>
                <a:lnTo>
                  <a:pt x="374" y="162"/>
                </a:lnTo>
                <a:lnTo>
                  <a:pt x="374" y="156"/>
                </a:lnTo>
                <a:lnTo>
                  <a:pt x="370" y="154"/>
                </a:lnTo>
                <a:lnTo>
                  <a:pt x="346" y="146"/>
                </a:lnTo>
                <a:lnTo>
                  <a:pt x="372" y="134"/>
                </a:lnTo>
                <a:lnTo>
                  <a:pt x="372" y="134"/>
                </a:lnTo>
                <a:lnTo>
                  <a:pt x="374" y="130"/>
                </a:lnTo>
                <a:lnTo>
                  <a:pt x="376" y="126"/>
                </a:lnTo>
                <a:lnTo>
                  <a:pt x="376" y="126"/>
                </a:lnTo>
                <a:close/>
                <a:moveTo>
                  <a:pt x="202" y="78"/>
                </a:moveTo>
                <a:lnTo>
                  <a:pt x="202" y="78"/>
                </a:lnTo>
                <a:lnTo>
                  <a:pt x="214" y="84"/>
                </a:lnTo>
                <a:lnTo>
                  <a:pt x="230" y="90"/>
                </a:lnTo>
                <a:lnTo>
                  <a:pt x="248" y="94"/>
                </a:lnTo>
                <a:lnTo>
                  <a:pt x="272" y="96"/>
                </a:lnTo>
                <a:lnTo>
                  <a:pt x="272" y="96"/>
                </a:lnTo>
                <a:lnTo>
                  <a:pt x="294" y="94"/>
                </a:lnTo>
                <a:lnTo>
                  <a:pt x="314" y="90"/>
                </a:lnTo>
                <a:lnTo>
                  <a:pt x="330" y="84"/>
                </a:lnTo>
                <a:lnTo>
                  <a:pt x="342" y="78"/>
                </a:lnTo>
                <a:lnTo>
                  <a:pt x="342" y="78"/>
                </a:lnTo>
                <a:lnTo>
                  <a:pt x="346" y="82"/>
                </a:lnTo>
                <a:lnTo>
                  <a:pt x="346" y="88"/>
                </a:lnTo>
                <a:lnTo>
                  <a:pt x="346" y="88"/>
                </a:lnTo>
                <a:lnTo>
                  <a:pt x="346" y="92"/>
                </a:lnTo>
                <a:lnTo>
                  <a:pt x="344" y="96"/>
                </a:lnTo>
                <a:lnTo>
                  <a:pt x="334" y="104"/>
                </a:lnTo>
                <a:lnTo>
                  <a:pt x="334" y="104"/>
                </a:lnTo>
                <a:lnTo>
                  <a:pt x="322" y="108"/>
                </a:lnTo>
                <a:lnTo>
                  <a:pt x="308" y="112"/>
                </a:lnTo>
                <a:lnTo>
                  <a:pt x="290" y="116"/>
                </a:lnTo>
                <a:lnTo>
                  <a:pt x="272" y="116"/>
                </a:lnTo>
                <a:lnTo>
                  <a:pt x="272" y="116"/>
                </a:lnTo>
                <a:lnTo>
                  <a:pt x="254" y="116"/>
                </a:lnTo>
                <a:lnTo>
                  <a:pt x="238" y="114"/>
                </a:lnTo>
                <a:lnTo>
                  <a:pt x="226" y="110"/>
                </a:lnTo>
                <a:lnTo>
                  <a:pt x="214" y="106"/>
                </a:lnTo>
                <a:lnTo>
                  <a:pt x="214" y="106"/>
                </a:lnTo>
                <a:lnTo>
                  <a:pt x="214" y="106"/>
                </a:lnTo>
                <a:lnTo>
                  <a:pt x="210" y="104"/>
                </a:lnTo>
                <a:lnTo>
                  <a:pt x="210" y="104"/>
                </a:lnTo>
                <a:lnTo>
                  <a:pt x="200" y="96"/>
                </a:lnTo>
                <a:lnTo>
                  <a:pt x="198" y="92"/>
                </a:lnTo>
                <a:lnTo>
                  <a:pt x="196" y="88"/>
                </a:lnTo>
                <a:lnTo>
                  <a:pt x="196" y="88"/>
                </a:lnTo>
                <a:lnTo>
                  <a:pt x="198" y="82"/>
                </a:lnTo>
                <a:lnTo>
                  <a:pt x="202" y="78"/>
                </a:lnTo>
                <a:lnTo>
                  <a:pt x="202" y="78"/>
                </a:lnTo>
                <a:close/>
                <a:moveTo>
                  <a:pt x="202" y="114"/>
                </a:moveTo>
                <a:lnTo>
                  <a:pt x="202" y="114"/>
                </a:lnTo>
                <a:lnTo>
                  <a:pt x="214" y="120"/>
                </a:lnTo>
                <a:lnTo>
                  <a:pt x="230" y="126"/>
                </a:lnTo>
                <a:lnTo>
                  <a:pt x="248" y="130"/>
                </a:lnTo>
                <a:lnTo>
                  <a:pt x="272" y="130"/>
                </a:lnTo>
                <a:lnTo>
                  <a:pt x="272" y="130"/>
                </a:lnTo>
                <a:lnTo>
                  <a:pt x="294" y="130"/>
                </a:lnTo>
                <a:lnTo>
                  <a:pt x="314" y="126"/>
                </a:lnTo>
                <a:lnTo>
                  <a:pt x="330" y="120"/>
                </a:lnTo>
                <a:lnTo>
                  <a:pt x="342" y="114"/>
                </a:lnTo>
                <a:lnTo>
                  <a:pt x="342" y="114"/>
                </a:lnTo>
                <a:lnTo>
                  <a:pt x="346" y="118"/>
                </a:lnTo>
                <a:lnTo>
                  <a:pt x="346" y="124"/>
                </a:lnTo>
                <a:lnTo>
                  <a:pt x="346" y="124"/>
                </a:lnTo>
                <a:lnTo>
                  <a:pt x="346" y="128"/>
                </a:lnTo>
                <a:lnTo>
                  <a:pt x="346" y="128"/>
                </a:lnTo>
                <a:lnTo>
                  <a:pt x="342" y="132"/>
                </a:lnTo>
                <a:lnTo>
                  <a:pt x="342" y="132"/>
                </a:lnTo>
                <a:lnTo>
                  <a:pt x="340" y="134"/>
                </a:lnTo>
                <a:lnTo>
                  <a:pt x="340" y="134"/>
                </a:lnTo>
                <a:lnTo>
                  <a:pt x="338" y="136"/>
                </a:lnTo>
                <a:lnTo>
                  <a:pt x="338" y="136"/>
                </a:lnTo>
                <a:lnTo>
                  <a:pt x="334" y="140"/>
                </a:lnTo>
                <a:lnTo>
                  <a:pt x="334" y="140"/>
                </a:lnTo>
                <a:lnTo>
                  <a:pt x="322" y="144"/>
                </a:lnTo>
                <a:lnTo>
                  <a:pt x="308" y="148"/>
                </a:lnTo>
                <a:lnTo>
                  <a:pt x="290" y="150"/>
                </a:lnTo>
                <a:lnTo>
                  <a:pt x="272" y="152"/>
                </a:lnTo>
                <a:lnTo>
                  <a:pt x="272" y="152"/>
                </a:lnTo>
                <a:lnTo>
                  <a:pt x="254" y="152"/>
                </a:lnTo>
                <a:lnTo>
                  <a:pt x="238" y="148"/>
                </a:lnTo>
                <a:lnTo>
                  <a:pt x="226" y="146"/>
                </a:lnTo>
                <a:lnTo>
                  <a:pt x="214" y="142"/>
                </a:lnTo>
                <a:lnTo>
                  <a:pt x="214" y="142"/>
                </a:lnTo>
                <a:lnTo>
                  <a:pt x="214" y="142"/>
                </a:lnTo>
                <a:lnTo>
                  <a:pt x="210" y="140"/>
                </a:lnTo>
                <a:lnTo>
                  <a:pt x="210" y="140"/>
                </a:lnTo>
                <a:lnTo>
                  <a:pt x="200" y="132"/>
                </a:lnTo>
                <a:lnTo>
                  <a:pt x="198" y="128"/>
                </a:lnTo>
                <a:lnTo>
                  <a:pt x="196" y="124"/>
                </a:lnTo>
                <a:lnTo>
                  <a:pt x="196" y="124"/>
                </a:lnTo>
                <a:lnTo>
                  <a:pt x="198" y="118"/>
                </a:lnTo>
                <a:lnTo>
                  <a:pt x="202" y="114"/>
                </a:lnTo>
                <a:lnTo>
                  <a:pt x="202" y="114"/>
                </a:lnTo>
                <a:close/>
                <a:moveTo>
                  <a:pt x="162" y="144"/>
                </a:moveTo>
                <a:lnTo>
                  <a:pt x="162" y="144"/>
                </a:lnTo>
                <a:lnTo>
                  <a:pt x="150" y="150"/>
                </a:lnTo>
                <a:lnTo>
                  <a:pt x="134" y="150"/>
                </a:lnTo>
                <a:lnTo>
                  <a:pt x="134" y="150"/>
                </a:lnTo>
                <a:lnTo>
                  <a:pt x="116" y="150"/>
                </a:lnTo>
                <a:lnTo>
                  <a:pt x="104" y="144"/>
                </a:lnTo>
                <a:lnTo>
                  <a:pt x="104" y="144"/>
                </a:lnTo>
                <a:lnTo>
                  <a:pt x="100" y="142"/>
                </a:lnTo>
                <a:lnTo>
                  <a:pt x="98" y="138"/>
                </a:lnTo>
                <a:lnTo>
                  <a:pt x="98" y="138"/>
                </a:lnTo>
                <a:lnTo>
                  <a:pt x="100" y="136"/>
                </a:lnTo>
                <a:lnTo>
                  <a:pt x="102" y="132"/>
                </a:lnTo>
                <a:lnTo>
                  <a:pt x="110" y="128"/>
                </a:lnTo>
                <a:lnTo>
                  <a:pt x="120" y="126"/>
                </a:lnTo>
                <a:lnTo>
                  <a:pt x="134" y="124"/>
                </a:lnTo>
                <a:lnTo>
                  <a:pt x="134" y="124"/>
                </a:lnTo>
                <a:lnTo>
                  <a:pt x="148" y="126"/>
                </a:lnTo>
                <a:lnTo>
                  <a:pt x="158" y="128"/>
                </a:lnTo>
                <a:lnTo>
                  <a:pt x="166" y="132"/>
                </a:lnTo>
                <a:lnTo>
                  <a:pt x="168" y="136"/>
                </a:lnTo>
                <a:lnTo>
                  <a:pt x="168" y="138"/>
                </a:lnTo>
                <a:lnTo>
                  <a:pt x="168" y="138"/>
                </a:lnTo>
                <a:lnTo>
                  <a:pt x="166" y="142"/>
                </a:lnTo>
                <a:lnTo>
                  <a:pt x="162" y="144"/>
                </a:lnTo>
                <a:lnTo>
                  <a:pt x="162" y="144"/>
                </a:lnTo>
                <a:close/>
                <a:moveTo>
                  <a:pt x="346" y="160"/>
                </a:moveTo>
                <a:lnTo>
                  <a:pt x="346" y="160"/>
                </a:lnTo>
                <a:lnTo>
                  <a:pt x="346" y="162"/>
                </a:lnTo>
                <a:lnTo>
                  <a:pt x="346" y="162"/>
                </a:lnTo>
                <a:lnTo>
                  <a:pt x="346" y="162"/>
                </a:lnTo>
                <a:lnTo>
                  <a:pt x="346" y="162"/>
                </a:lnTo>
                <a:lnTo>
                  <a:pt x="346" y="162"/>
                </a:lnTo>
                <a:lnTo>
                  <a:pt x="346" y="162"/>
                </a:lnTo>
                <a:lnTo>
                  <a:pt x="344" y="166"/>
                </a:lnTo>
                <a:lnTo>
                  <a:pt x="344" y="166"/>
                </a:lnTo>
                <a:lnTo>
                  <a:pt x="344" y="166"/>
                </a:lnTo>
                <a:lnTo>
                  <a:pt x="344" y="166"/>
                </a:lnTo>
                <a:lnTo>
                  <a:pt x="342" y="168"/>
                </a:lnTo>
                <a:lnTo>
                  <a:pt x="342" y="168"/>
                </a:lnTo>
                <a:lnTo>
                  <a:pt x="340" y="170"/>
                </a:lnTo>
                <a:lnTo>
                  <a:pt x="340" y="170"/>
                </a:lnTo>
                <a:lnTo>
                  <a:pt x="338" y="172"/>
                </a:lnTo>
                <a:lnTo>
                  <a:pt x="338" y="172"/>
                </a:lnTo>
                <a:lnTo>
                  <a:pt x="334" y="174"/>
                </a:lnTo>
                <a:lnTo>
                  <a:pt x="334" y="174"/>
                </a:lnTo>
                <a:lnTo>
                  <a:pt x="322" y="180"/>
                </a:lnTo>
                <a:lnTo>
                  <a:pt x="308" y="184"/>
                </a:lnTo>
                <a:lnTo>
                  <a:pt x="290" y="186"/>
                </a:lnTo>
                <a:lnTo>
                  <a:pt x="272" y="188"/>
                </a:lnTo>
                <a:lnTo>
                  <a:pt x="272" y="188"/>
                </a:lnTo>
                <a:lnTo>
                  <a:pt x="252" y="186"/>
                </a:lnTo>
                <a:lnTo>
                  <a:pt x="236" y="184"/>
                </a:lnTo>
                <a:lnTo>
                  <a:pt x="220" y="180"/>
                </a:lnTo>
                <a:lnTo>
                  <a:pt x="210" y="174"/>
                </a:lnTo>
                <a:lnTo>
                  <a:pt x="210" y="174"/>
                </a:lnTo>
                <a:lnTo>
                  <a:pt x="208" y="174"/>
                </a:lnTo>
                <a:lnTo>
                  <a:pt x="208" y="174"/>
                </a:lnTo>
                <a:lnTo>
                  <a:pt x="208" y="174"/>
                </a:lnTo>
                <a:lnTo>
                  <a:pt x="200" y="168"/>
                </a:lnTo>
                <a:lnTo>
                  <a:pt x="200" y="168"/>
                </a:lnTo>
                <a:lnTo>
                  <a:pt x="200" y="166"/>
                </a:lnTo>
                <a:lnTo>
                  <a:pt x="200" y="166"/>
                </a:lnTo>
                <a:lnTo>
                  <a:pt x="198" y="164"/>
                </a:lnTo>
                <a:lnTo>
                  <a:pt x="198" y="164"/>
                </a:lnTo>
                <a:lnTo>
                  <a:pt x="196" y="160"/>
                </a:lnTo>
                <a:lnTo>
                  <a:pt x="196" y="160"/>
                </a:lnTo>
                <a:lnTo>
                  <a:pt x="198" y="154"/>
                </a:lnTo>
                <a:lnTo>
                  <a:pt x="202" y="148"/>
                </a:lnTo>
                <a:lnTo>
                  <a:pt x="202" y="148"/>
                </a:lnTo>
                <a:lnTo>
                  <a:pt x="214" y="156"/>
                </a:lnTo>
                <a:lnTo>
                  <a:pt x="230" y="162"/>
                </a:lnTo>
                <a:lnTo>
                  <a:pt x="248" y="166"/>
                </a:lnTo>
                <a:lnTo>
                  <a:pt x="272" y="166"/>
                </a:lnTo>
                <a:lnTo>
                  <a:pt x="272" y="166"/>
                </a:lnTo>
                <a:lnTo>
                  <a:pt x="294" y="166"/>
                </a:lnTo>
                <a:lnTo>
                  <a:pt x="314" y="162"/>
                </a:lnTo>
                <a:lnTo>
                  <a:pt x="330" y="156"/>
                </a:lnTo>
                <a:lnTo>
                  <a:pt x="342" y="148"/>
                </a:lnTo>
                <a:lnTo>
                  <a:pt x="342" y="148"/>
                </a:lnTo>
                <a:lnTo>
                  <a:pt x="346" y="154"/>
                </a:lnTo>
                <a:lnTo>
                  <a:pt x="346" y="160"/>
                </a:lnTo>
                <a:lnTo>
                  <a:pt x="346" y="160"/>
                </a:lnTo>
                <a:close/>
                <a:moveTo>
                  <a:pt x="346" y="128"/>
                </a:moveTo>
                <a:lnTo>
                  <a:pt x="346" y="128"/>
                </a:lnTo>
                <a:lnTo>
                  <a:pt x="348" y="128"/>
                </a:lnTo>
                <a:lnTo>
                  <a:pt x="346" y="128"/>
                </a:lnTo>
                <a:close/>
                <a:moveTo>
                  <a:pt x="196" y="28"/>
                </a:moveTo>
                <a:lnTo>
                  <a:pt x="196" y="28"/>
                </a:lnTo>
                <a:lnTo>
                  <a:pt x="198" y="24"/>
                </a:lnTo>
                <a:lnTo>
                  <a:pt x="202" y="18"/>
                </a:lnTo>
                <a:lnTo>
                  <a:pt x="210" y="14"/>
                </a:lnTo>
                <a:lnTo>
                  <a:pt x="218" y="8"/>
                </a:lnTo>
                <a:lnTo>
                  <a:pt x="230" y="6"/>
                </a:lnTo>
                <a:lnTo>
                  <a:pt x="242" y="2"/>
                </a:lnTo>
                <a:lnTo>
                  <a:pt x="272" y="0"/>
                </a:lnTo>
                <a:lnTo>
                  <a:pt x="272" y="0"/>
                </a:lnTo>
                <a:lnTo>
                  <a:pt x="300" y="2"/>
                </a:lnTo>
                <a:lnTo>
                  <a:pt x="314" y="6"/>
                </a:lnTo>
                <a:lnTo>
                  <a:pt x="324" y="8"/>
                </a:lnTo>
                <a:lnTo>
                  <a:pt x="334" y="14"/>
                </a:lnTo>
                <a:lnTo>
                  <a:pt x="340" y="18"/>
                </a:lnTo>
                <a:lnTo>
                  <a:pt x="344" y="24"/>
                </a:lnTo>
                <a:lnTo>
                  <a:pt x="346" y="28"/>
                </a:lnTo>
                <a:lnTo>
                  <a:pt x="346" y="28"/>
                </a:lnTo>
                <a:lnTo>
                  <a:pt x="346" y="34"/>
                </a:lnTo>
                <a:lnTo>
                  <a:pt x="344" y="38"/>
                </a:lnTo>
                <a:lnTo>
                  <a:pt x="334" y="44"/>
                </a:lnTo>
                <a:lnTo>
                  <a:pt x="334" y="44"/>
                </a:lnTo>
                <a:lnTo>
                  <a:pt x="322" y="50"/>
                </a:lnTo>
                <a:lnTo>
                  <a:pt x="308" y="54"/>
                </a:lnTo>
                <a:lnTo>
                  <a:pt x="290" y="56"/>
                </a:lnTo>
                <a:lnTo>
                  <a:pt x="272" y="58"/>
                </a:lnTo>
                <a:lnTo>
                  <a:pt x="272" y="58"/>
                </a:lnTo>
                <a:lnTo>
                  <a:pt x="252" y="56"/>
                </a:lnTo>
                <a:lnTo>
                  <a:pt x="236" y="54"/>
                </a:lnTo>
                <a:lnTo>
                  <a:pt x="220" y="50"/>
                </a:lnTo>
                <a:lnTo>
                  <a:pt x="210" y="44"/>
                </a:lnTo>
                <a:lnTo>
                  <a:pt x="210" y="44"/>
                </a:lnTo>
                <a:lnTo>
                  <a:pt x="200" y="38"/>
                </a:lnTo>
                <a:lnTo>
                  <a:pt x="198" y="34"/>
                </a:lnTo>
                <a:lnTo>
                  <a:pt x="196" y="28"/>
                </a:lnTo>
                <a:lnTo>
                  <a:pt x="196" y="28"/>
                </a:lnTo>
                <a:close/>
              </a:path>
            </a:pathLst>
          </a:custGeom>
          <a:solidFill>
            <a:srgbClr val="505050"/>
          </a:solidFill>
          <a:ln>
            <a:solidFill>
              <a:srgbClr val="505050"/>
            </a:solidFill>
          </a:ln>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sp>
        <p:nvSpPr>
          <p:cNvPr id="30" name="Freeform 4850">
            <a:extLst>
              <a:ext uri="{FF2B5EF4-FFF2-40B4-BE49-F238E27FC236}">
                <a16:creationId xmlns:a16="http://schemas.microsoft.com/office/drawing/2014/main" id="{5CA1EF4B-0003-039D-86B9-44F94B233CC5}"/>
              </a:ext>
            </a:extLst>
          </p:cNvPr>
          <p:cNvSpPr>
            <a:spLocks noEditPoints="1"/>
          </p:cNvSpPr>
          <p:nvPr/>
        </p:nvSpPr>
        <p:spPr bwMode="auto">
          <a:xfrm>
            <a:off x="8349044" y="2410840"/>
            <a:ext cx="719908" cy="744974"/>
          </a:xfrm>
          <a:custGeom>
            <a:avLst/>
            <a:gdLst>
              <a:gd name="T0" fmla="*/ 228 w 402"/>
              <a:gd name="T1" fmla="*/ 272 h 408"/>
              <a:gd name="T2" fmla="*/ 234 w 402"/>
              <a:gd name="T3" fmla="*/ 270 h 408"/>
              <a:gd name="T4" fmla="*/ 238 w 402"/>
              <a:gd name="T5" fmla="*/ 264 h 408"/>
              <a:gd name="T6" fmla="*/ 238 w 402"/>
              <a:gd name="T7" fmla="*/ 258 h 408"/>
              <a:gd name="T8" fmla="*/ 238 w 402"/>
              <a:gd name="T9" fmla="*/ 14 h 408"/>
              <a:gd name="T10" fmla="*/ 238 w 402"/>
              <a:gd name="T11" fmla="*/ 10 h 408"/>
              <a:gd name="T12" fmla="*/ 236 w 402"/>
              <a:gd name="T13" fmla="*/ 2 h 408"/>
              <a:gd name="T14" fmla="*/ 234 w 402"/>
              <a:gd name="T15" fmla="*/ 0 h 408"/>
              <a:gd name="T16" fmla="*/ 226 w 402"/>
              <a:gd name="T17" fmla="*/ 0 h 408"/>
              <a:gd name="T18" fmla="*/ 220 w 402"/>
              <a:gd name="T19" fmla="*/ 4 h 408"/>
              <a:gd name="T20" fmla="*/ 10 w 402"/>
              <a:gd name="T21" fmla="*/ 126 h 408"/>
              <a:gd name="T22" fmla="*/ 6 w 402"/>
              <a:gd name="T23" fmla="*/ 126 h 408"/>
              <a:gd name="T24" fmla="*/ 0 w 402"/>
              <a:gd name="T25" fmla="*/ 132 h 408"/>
              <a:gd name="T26" fmla="*/ 0 w 402"/>
              <a:gd name="T27" fmla="*/ 136 h 408"/>
              <a:gd name="T28" fmla="*/ 2 w 402"/>
              <a:gd name="T29" fmla="*/ 142 h 408"/>
              <a:gd name="T30" fmla="*/ 10 w 402"/>
              <a:gd name="T31" fmla="*/ 146 h 408"/>
              <a:gd name="T32" fmla="*/ 220 w 402"/>
              <a:gd name="T33" fmla="*/ 268 h 408"/>
              <a:gd name="T34" fmla="*/ 224 w 402"/>
              <a:gd name="T35" fmla="*/ 270 h 408"/>
              <a:gd name="T36" fmla="*/ 228 w 402"/>
              <a:gd name="T37" fmla="*/ 272 h 408"/>
              <a:gd name="T38" fmla="*/ 166 w 402"/>
              <a:gd name="T39" fmla="*/ 146 h 408"/>
              <a:gd name="T40" fmla="*/ 156 w 402"/>
              <a:gd name="T41" fmla="*/ 150 h 408"/>
              <a:gd name="T42" fmla="*/ 144 w 402"/>
              <a:gd name="T43" fmla="*/ 146 h 408"/>
              <a:gd name="T44" fmla="*/ 142 w 402"/>
              <a:gd name="T45" fmla="*/ 142 h 408"/>
              <a:gd name="T46" fmla="*/ 142 w 402"/>
              <a:gd name="T47" fmla="*/ 130 h 408"/>
              <a:gd name="T48" fmla="*/ 144 w 402"/>
              <a:gd name="T49" fmla="*/ 124 h 408"/>
              <a:gd name="T50" fmla="*/ 156 w 402"/>
              <a:gd name="T51" fmla="*/ 120 h 408"/>
              <a:gd name="T52" fmla="*/ 166 w 402"/>
              <a:gd name="T53" fmla="*/ 124 h 408"/>
              <a:gd name="T54" fmla="*/ 170 w 402"/>
              <a:gd name="T55" fmla="*/ 130 h 408"/>
              <a:gd name="T56" fmla="*/ 170 w 402"/>
              <a:gd name="T57" fmla="*/ 142 h 408"/>
              <a:gd name="T58" fmla="*/ 166 w 402"/>
              <a:gd name="T59" fmla="*/ 146 h 408"/>
              <a:gd name="T60" fmla="*/ 144 w 402"/>
              <a:gd name="T61" fmla="*/ 184 h 408"/>
              <a:gd name="T62" fmla="*/ 180 w 402"/>
              <a:gd name="T63" fmla="*/ 408 h 408"/>
              <a:gd name="T64" fmla="*/ 156 w 402"/>
              <a:gd name="T65" fmla="*/ 404 h 408"/>
              <a:gd name="T66" fmla="*/ 132 w 402"/>
              <a:gd name="T67" fmla="*/ 398 h 408"/>
              <a:gd name="T68" fmla="*/ 392 w 402"/>
              <a:gd name="T69" fmla="*/ 196 h 408"/>
              <a:gd name="T70" fmla="*/ 402 w 402"/>
              <a:gd name="T71" fmla="*/ 188 h 408"/>
              <a:gd name="T72" fmla="*/ 402 w 402"/>
              <a:gd name="T73" fmla="*/ 184 h 408"/>
              <a:gd name="T74" fmla="*/ 398 w 402"/>
              <a:gd name="T75" fmla="*/ 178 h 408"/>
              <a:gd name="T76" fmla="*/ 314 w 402"/>
              <a:gd name="T77" fmla="*/ 144 h 408"/>
              <a:gd name="T78" fmla="*/ 282 w 402"/>
              <a:gd name="T79" fmla="*/ 62 h 408"/>
              <a:gd name="T80" fmla="*/ 278 w 402"/>
              <a:gd name="T81" fmla="*/ 58 h 408"/>
              <a:gd name="T82" fmla="*/ 270 w 402"/>
              <a:gd name="T83" fmla="*/ 56 h 408"/>
              <a:gd name="T84" fmla="*/ 266 w 402"/>
              <a:gd name="T85" fmla="*/ 58 h 408"/>
              <a:gd name="T86" fmla="*/ 262 w 402"/>
              <a:gd name="T87" fmla="*/ 64 h 408"/>
              <a:gd name="T88" fmla="*/ 278 w 402"/>
              <a:gd name="T89" fmla="*/ 154 h 408"/>
              <a:gd name="T90" fmla="*/ 244 w 402"/>
              <a:gd name="T91" fmla="*/ 230 h 408"/>
              <a:gd name="T92" fmla="*/ 390 w 402"/>
              <a:gd name="T93" fmla="*/ 196 h 408"/>
              <a:gd name="T94" fmla="*/ 392 w 402"/>
              <a:gd name="T95" fmla="*/ 196 h 408"/>
              <a:gd name="T96" fmla="*/ 306 w 402"/>
              <a:gd name="T97" fmla="*/ 168 h 408"/>
              <a:gd name="T98" fmla="*/ 302 w 402"/>
              <a:gd name="T99" fmla="*/ 172 h 408"/>
              <a:gd name="T100" fmla="*/ 294 w 402"/>
              <a:gd name="T101" fmla="*/ 172 h 408"/>
              <a:gd name="T102" fmla="*/ 290 w 402"/>
              <a:gd name="T103" fmla="*/ 168 h 408"/>
              <a:gd name="T104" fmla="*/ 286 w 402"/>
              <a:gd name="T105" fmla="*/ 160 h 408"/>
              <a:gd name="T106" fmla="*/ 290 w 402"/>
              <a:gd name="T107" fmla="*/ 152 h 408"/>
              <a:gd name="T108" fmla="*/ 294 w 402"/>
              <a:gd name="T109" fmla="*/ 150 h 408"/>
              <a:gd name="T110" fmla="*/ 302 w 402"/>
              <a:gd name="T111" fmla="*/ 150 h 408"/>
              <a:gd name="T112" fmla="*/ 306 w 402"/>
              <a:gd name="T113" fmla="*/ 152 h 408"/>
              <a:gd name="T114" fmla="*/ 310 w 402"/>
              <a:gd name="T115" fmla="*/ 160 h 408"/>
              <a:gd name="T116" fmla="*/ 306 w 402"/>
              <a:gd name="T117" fmla="*/ 168 h 408"/>
              <a:gd name="T118" fmla="*/ 286 w 402"/>
              <a:gd name="T119" fmla="*/ 208 h 408"/>
              <a:gd name="T120" fmla="*/ 310 w 402"/>
              <a:gd name="T121" fmla="*/ 192 h 408"/>
              <a:gd name="T122" fmla="*/ 318 w 402"/>
              <a:gd name="T123" fmla="*/ 366 h 408"/>
              <a:gd name="T124" fmla="*/ 276 w 402"/>
              <a:gd name="T125" fmla="*/ 39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08">
                <a:moveTo>
                  <a:pt x="228" y="272"/>
                </a:moveTo>
                <a:lnTo>
                  <a:pt x="228" y="272"/>
                </a:lnTo>
                <a:lnTo>
                  <a:pt x="234" y="270"/>
                </a:lnTo>
                <a:lnTo>
                  <a:pt x="234" y="270"/>
                </a:lnTo>
                <a:lnTo>
                  <a:pt x="236" y="268"/>
                </a:lnTo>
                <a:lnTo>
                  <a:pt x="238" y="264"/>
                </a:lnTo>
                <a:lnTo>
                  <a:pt x="238" y="260"/>
                </a:lnTo>
                <a:lnTo>
                  <a:pt x="238" y="258"/>
                </a:lnTo>
                <a:lnTo>
                  <a:pt x="182" y="136"/>
                </a:lnTo>
                <a:lnTo>
                  <a:pt x="238" y="14"/>
                </a:lnTo>
                <a:lnTo>
                  <a:pt x="238" y="14"/>
                </a:lnTo>
                <a:lnTo>
                  <a:pt x="238" y="10"/>
                </a:lnTo>
                <a:lnTo>
                  <a:pt x="238" y="6"/>
                </a:lnTo>
                <a:lnTo>
                  <a:pt x="236" y="2"/>
                </a:lnTo>
                <a:lnTo>
                  <a:pt x="234" y="0"/>
                </a:lnTo>
                <a:lnTo>
                  <a:pt x="234" y="0"/>
                </a:lnTo>
                <a:lnTo>
                  <a:pt x="230" y="0"/>
                </a:lnTo>
                <a:lnTo>
                  <a:pt x="226" y="0"/>
                </a:lnTo>
                <a:lnTo>
                  <a:pt x="222" y="0"/>
                </a:lnTo>
                <a:lnTo>
                  <a:pt x="220" y="4"/>
                </a:lnTo>
                <a:lnTo>
                  <a:pt x="142" y="112"/>
                </a:lnTo>
                <a:lnTo>
                  <a:pt x="10" y="126"/>
                </a:lnTo>
                <a:lnTo>
                  <a:pt x="10" y="126"/>
                </a:lnTo>
                <a:lnTo>
                  <a:pt x="6" y="126"/>
                </a:lnTo>
                <a:lnTo>
                  <a:pt x="2" y="128"/>
                </a:lnTo>
                <a:lnTo>
                  <a:pt x="0" y="132"/>
                </a:lnTo>
                <a:lnTo>
                  <a:pt x="0" y="136"/>
                </a:lnTo>
                <a:lnTo>
                  <a:pt x="0" y="136"/>
                </a:lnTo>
                <a:lnTo>
                  <a:pt x="0" y="140"/>
                </a:lnTo>
                <a:lnTo>
                  <a:pt x="2" y="142"/>
                </a:lnTo>
                <a:lnTo>
                  <a:pt x="6" y="144"/>
                </a:lnTo>
                <a:lnTo>
                  <a:pt x="10" y="146"/>
                </a:lnTo>
                <a:lnTo>
                  <a:pt x="142" y="158"/>
                </a:lnTo>
                <a:lnTo>
                  <a:pt x="220" y="268"/>
                </a:lnTo>
                <a:lnTo>
                  <a:pt x="220" y="268"/>
                </a:lnTo>
                <a:lnTo>
                  <a:pt x="224" y="270"/>
                </a:lnTo>
                <a:lnTo>
                  <a:pt x="228" y="272"/>
                </a:lnTo>
                <a:lnTo>
                  <a:pt x="228" y="272"/>
                </a:lnTo>
                <a:close/>
                <a:moveTo>
                  <a:pt x="166" y="146"/>
                </a:moveTo>
                <a:lnTo>
                  <a:pt x="166" y="146"/>
                </a:lnTo>
                <a:lnTo>
                  <a:pt x="162" y="150"/>
                </a:lnTo>
                <a:lnTo>
                  <a:pt x="156" y="150"/>
                </a:lnTo>
                <a:lnTo>
                  <a:pt x="150" y="150"/>
                </a:lnTo>
                <a:lnTo>
                  <a:pt x="144" y="146"/>
                </a:lnTo>
                <a:lnTo>
                  <a:pt x="144" y="146"/>
                </a:lnTo>
                <a:lnTo>
                  <a:pt x="142" y="142"/>
                </a:lnTo>
                <a:lnTo>
                  <a:pt x="140" y="136"/>
                </a:lnTo>
                <a:lnTo>
                  <a:pt x="142" y="130"/>
                </a:lnTo>
                <a:lnTo>
                  <a:pt x="144" y="124"/>
                </a:lnTo>
                <a:lnTo>
                  <a:pt x="144" y="124"/>
                </a:lnTo>
                <a:lnTo>
                  <a:pt x="150" y="122"/>
                </a:lnTo>
                <a:lnTo>
                  <a:pt x="156" y="120"/>
                </a:lnTo>
                <a:lnTo>
                  <a:pt x="162" y="122"/>
                </a:lnTo>
                <a:lnTo>
                  <a:pt x="166" y="124"/>
                </a:lnTo>
                <a:lnTo>
                  <a:pt x="166" y="124"/>
                </a:lnTo>
                <a:lnTo>
                  <a:pt x="170" y="130"/>
                </a:lnTo>
                <a:lnTo>
                  <a:pt x="172" y="136"/>
                </a:lnTo>
                <a:lnTo>
                  <a:pt x="170" y="142"/>
                </a:lnTo>
                <a:lnTo>
                  <a:pt x="166" y="146"/>
                </a:lnTo>
                <a:lnTo>
                  <a:pt x="166" y="146"/>
                </a:lnTo>
                <a:close/>
                <a:moveTo>
                  <a:pt x="132" y="398"/>
                </a:moveTo>
                <a:lnTo>
                  <a:pt x="144" y="184"/>
                </a:lnTo>
                <a:lnTo>
                  <a:pt x="170" y="222"/>
                </a:lnTo>
                <a:lnTo>
                  <a:pt x="180" y="408"/>
                </a:lnTo>
                <a:lnTo>
                  <a:pt x="180" y="408"/>
                </a:lnTo>
                <a:lnTo>
                  <a:pt x="156" y="404"/>
                </a:lnTo>
                <a:lnTo>
                  <a:pt x="132" y="398"/>
                </a:lnTo>
                <a:lnTo>
                  <a:pt x="132" y="398"/>
                </a:lnTo>
                <a:close/>
                <a:moveTo>
                  <a:pt x="392" y="196"/>
                </a:moveTo>
                <a:lnTo>
                  <a:pt x="392" y="196"/>
                </a:lnTo>
                <a:lnTo>
                  <a:pt x="398" y="194"/>
                </a:lnTo>
                <a:lnTo>
                  <a:pt x="402" y="188"/>
                </a:lnTo>
                <a:lnTo>
                  <a:pt x="402" y="188"/>
                </a:lnTo>
                <a:lnTo>
                  <a:pt x="402" y="184"/>
                </a:lnTo>
                <a:lnTo>
                  <a:pt x="400" y="180"/>
                </a:lnTo>
                <a:lnTo>
                  <a:pt x="398" y="178"/>
                </a:lnTo>
                <a:lnTo>
                  <a:pt x="396" y="176"/>
                </a:lnTo>
                <a:lnTo>
                  <a:pt x="314" y="144"/>
                </a:lnTo>
                <a:lnTo>
                  <a:pt x="282" y="62"/>
                </a:lnTo>
                <a:lnTo>
                  <a:pt x="282" y="62"/>
                </a:lnTo>
                <a:lnTo>
                  <a:pt x="280" y="60"/>
                </a:lnTo>
                <a:lnTo>
                  <a:pt x="278" y="58"/>
                </a:lnTo>
                <a:lnTo>
                  <a:pt x="274" y="56"/>
                </a:lnTo>
                <a:lnTo>
                  <a:pt x="270" y="56"/>
                </a:lnTo>
                <a:lnTo>
                  <a:pt x="270" y="56"/>
                </a:lnTo>
                <a:lnTo>
                  <a:pt x="266" y="58"/>
                </a:lnTo>
                <a:lnTo>
                  <a:pt x="264" y="60"/>
                </a:lnTo>
                <a:lnTo>
                  <a:pt x="262" y="64"/>
                </a:lnTo>
                <a:lnTo>
                  <a:pt x="262" y="68"/>
                </a:lnTo>
                <a:lnTo>
                  <a:pt x="278" y="154"/>
                </a:lnTo>
                <a:lnTo>
                  <a:pt x="234" y="208"/>
                </a:lnTo>
                <a:lnTo>
                  <a:pt x="244" y="230"/>
                </a:lnTo>
                <a:lnTo>
                  <a:pt x="304" y="180"/>
                </a:lnTo>
                <a:lnTo>
                  <a:pt x="390" y="196"/>
                </a:lnTo>
                <a:lnTo>
                  <a:pt x="390" y="196"/>
                </a:lnTo>
                <a:lnTo>
                  <a:pt x="392" y="196"/>
                </a:lnTo>
                <a:lnTo>
                  <a:pt x="392" y="196"/>
                </a:lnTo>
                <a:close/>
                <a:moveTo>
                  <a:pt x="306" y="168"/>
                </a:moveTo>
                <a:lnTo>
                  <a:pt x="306" y="168"/>
                </a:lnTo>
                <a:lnTo>
                  <a:pt x="302" y="172"/>
                </a:lnTo>
                <a:lnTo>
                  <a:pt x="298" y="172"/>
                </a:lnTo>
                <a:lnTo>
                  <a:pt x="294" y="172"/>
                </a:lnTo>
                <a:lnTo>
                  <a:pt x="290" y="168"/>
                </a:lnTo>
                <a:lnTo>
                  <a:pt x="290" y="168"/>
                </a:lnTo>
                <a:lnTo>
                  <a:pt x="288" y="164"/>
                </a:lnTo>
                <a:lnTo>
                  <a:pt x="286" y="160"/>
                </a:lnTo>
                <a:lnTo>
                  <a:pt x="288" y="156"/>
                </a:lnTo>
                <a:lnTo>
                  <a:pt x="290" y="152"/>
                </a:lnTo>
                <a:lnTo>
                  <a:pt x="290" y="152"/>
                </a:lnTo>
                <a:lnTo>
                  <a:pt x="294" y="150"/>
                </a:lnTo>
                <a:lnTo>
                  <a:pt x="298" y="148"/>
                </a:lnTo>
                <a:lnTo>
                  <a:pt x="302" y="150"/>
                </a:lnTo>
                <a:lnTo>
                  <a:pt x="306" y="152"/>
                </a:lnTo>
                <a:lnTo>
                  <a:pt x="306" y="152"/>
                </a:lnTo>
                <a:lnTo>
                  <a:pt x="310" y="156"/>
                </a:lnTo>
                <a:lnTo>
                  <a:pt x="310" y="160"/>
                </a:lnTo>
                <a:lnTo>
                  <a:pt x="310" y="164"/>
                </a:lnTo>
                <a:lnTo>
                  <a:pt x="306" y="168"/>
                </a:lnTo>
                <a:lnTo>
                  <a:pt x="306" y="168"/>
                </a:lnTo>
                <a:close/>
                <a:moveTo>
                  <a:pt x="286" y="208"/>
                </a:moveTo>
                <a:lnTo>
                  <a:pt x="306" y="192"/>
                </a:lnTo>
                <a:lnTo>
                  <a:pt x="310" y="192"/>
                </a:lnTo>
                <a:lnTo>
                  <a:pt x="318" y="366"/>
                </a:lnTo>
                <a:lnTo>
                  <a:pt x="318" y="366"/>
                </a:lnTo>
                <a:lnTo>
                  <a:pt x="298" y="380"/>
                </a:lnTo>
                <a:lnTo>
                  <a:pt x="276" y="390"/>
                </a:lnTo>
                <a:lnTo>
                  <a:pt x="286" y="208"/>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8191" tIns="39095" rIns="78191" bIns="39095" numCol="1" anchor="t" anchorCtr="0" compatLnSpc="1">
            <a:prstTxWarp prst="textNoShape">
              <a:avLst/>
            </a:prstTxWarp>
          </a:bodyPr>
          <a:lstStyle/>
          <a:p>
            <a:endParaRPr lang="en-GB" sz="1539">
              <a:solidFill>
                <a:srgbClr val="000000"/>
              </a:solidFill>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17094042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B1EFC31F-1D93-4547-823A-46A4DB6ED80A}"/>
              </a:ext>
            </a:extLst>
          </p:cNvPr>
          <p:cNvGrpSpPr/>
          <p:nvPr/>
        </p:nvGrpSpPr>
        <p:grpSpPr>
          <a:xfrm>
            <a:off x="4526435" y="1732215"/>
            <a:ext cx="6633808" cy="4339542"/>
            <a:chOff x="1622425" y="1860550"/>
            <a:chExt cx="5921375" cy="3873500"/>
          </a:xfrm>
          <a:solidFill>
            <a:srgbClr val="D9D9D9"/>
          </a:solidFill>
        </p:grpSpPr>
        <p:sp>
          <p:nvSpPr>
            <p:cNvPr id="3" name="Freeform 4">
              <a:extLst>
                <a:ext uri="{FF2B5EF4-FFF2-40B4-BE49-F238E27FC236}">
                  <a16:creationId xmlns:a16="http://schemas.microsoft.com/office/drawing/2014/main" id="{904C90DF-16FC-40CB-B4BA-173129988D3C}"/>
                </a:ext>
              </a:extLst>
            </p:cNvPr>
            <p:cNvSpPr>
              <a:spLocks/>
            </p:cNvSpPr>
            <p:nvPr/>
          </p:nvSpPr>
          <p:spPr bwMode="auto">
            <a:xfrm>
              <a:off x="7105650" y="1860550"/>
              <a:ext cx="438150" cy="717550"/>
            </a:xfrm>
            <a:custGeom>
              <a:avLst/>
              <a:gdLst>
                <a:gd name="T0" fmla="*/ 74 w 230"/>
                <a:gd name="T1" fmla="*/ 12 h 377"/>
                <a:gd name="T2" fmla="*/ 28 w 230"/>
                <a:gd name="T3" fmla="*/ 81 h 377"/>
                <a:gd name="T4" fmla="*/ 49 w 230"/>
                <a:gd name="T5" fmla="*/ 107 h 377"/>
                <a:gd name="T6" fmla="*/ 28 w 230"/>
                <a:gd name="T7" fmla="*/ 139 h 377"/>
                <a:gd name="T8" fmla="*/ 41 w 230"/>
                <a:gd name="T9" fmla="*/ 149 h 377"/>
                <a:gd name="T10" fmla="*/ 31 w 230"/>
                <a:gd name="T11" fmla="*/ 171 h 377"/>
                <a:gd name="T12" fmla="*/ 31 w 230"/>
                <a:gd name="T13" fmla="*/ 206 h 377"/>
                <a:gd name="T14" fmla="*/ 0 w 230"/>
                <a:gd name="T15" fmla="*/ 219 h 377"/>
                <a:gd name="T16" fmla="*/ 13 w 230"/>
                <a:gd name="T17" fmla="*/ 229 h 377"/>
                <a:gd name="T18" fmla="*/ 79 w 230"/>
                <a:gd name="T19" fmla="*/ 361 h 377"/>
                <a:gd name="T20" fmla="*/ 131 w 230"/>
                <a:gd name="T21" fmla="*/ 377 h 377"/>
                <a:gd name="T22" fmla="*/ 128 w 230"/>
                <a:gd name="T23" fmla="*/ 350 h 377"/>
                <a:gd name="T24" fmla="*/ 154 w 230"/>
                <a:gd name="T25" fmla="*/ 329 h 377"/>
                <a:gd name="T26" fmla="*/ 144 w 230"/>
                <a:gd name="T27" fmla="*/ 307 h 377"/>
                <a:gd name="T28" fmla="*/ 210 w 230"/>
                <a:gd name="T29" fmla="*/ 280 h 377"/>
                <a:gd name="T30" fmla="*/ 212 w 230"/>
                <a:gd name="T31" fmla="*/ 243 h 377"/>
                <a:gd name="T32" fmla="*/ 250 w 230"/>
                <a:gd name="T33" fmla="*/ 241 h 377"/>
                <a:gd name="T34" fmla="*/ 280 w 230"/>
                <a:gd name="T35" fmla="*/ 213 h 377"/>
                <a:gd name="T36" fmla="*/ 316 w 230"/>
                <a:gd name="T37" fmla="*/ 194 h 377"/>
                <a:gd name="T38" fmla="*/ 316 w 230"/>
                <a:gd name="T39" fmla="*/ 171 h 377"/>
                <a:gd name="T40" fmla="*/ 266 w 230"/>
                <a:gd name="T41" fmla="*/ 163 h 377"/>
                <a:gd name="T42" fmla="*/ 257 w 230"/>
                <a:gd name="T43" fmla="*/ 138 h 377"/>
                <a:gd name="T44" fmla="*/ 207 w 230"/>
                <a:gd name="T45" fmla="*/ 134 h 377"/>
                <a:gd name="T46" fmla="*/ 168 w 230"/>
                <a:gd name="T47" fmla="*/ 22 h 377"/>
                <a:gd name="T48" fmla="*/ 148 w 230"/>
                <a:gd name="T49" fmla="*/ 0 h 377"/>
                <a:gd name="T50" fmla="*/ 99 w 230"/>
                <a:gd name="T51" fmla="*/ 9 h 377"/>
                <a:gd name="T52" fmla="*/ 90 w 230"/>
                <a:gd name="T53" fmla="*/ 20 h 377"/>
                <a:gd name="T54" fmla="*/ 74 w 230"/>
                <a:gd name="T55" fmla="*/ 12 h 37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30"/>
                <a:gd name="T85" fmla="*/ 0 h 377"/>
                <a:gd name="T86" fmla="*/ 230 w 230"/>
                <a:gd name="T87" fmla="*/ 377 h 37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30" h="377">
                  <a:moveTo>
                    <a:pt x="54" y="12"/>
                  </a:moveTo>
                  <a:lnTo>
                    <a:pt x="20" y="81"/>
                  </a:lnTo>
                  <a:lnTo>
                    <a:pt x="36" y="107"/>
                  </a:lnTo>
                  <a:lnTo>
                    <a:pt x="20" y="139"/>
                  </a:lnTo>
                  <a:lnTo>
                    <a:pt x="30" y="149"/>
                  </a:lnTo>
                  <a:lnTo>
                    <a:pt x="23" y="171"/>
                  </a:lnTo>
                  <a:lnTo>
                    <a:pt x="23" y="206"/>
                  </a:lnTo>
                  <a:lnTo>
                    <a:pt x="0" y="219"/>
                  </a:lnTo>
                  <a:lnTo>
                    <a:pt x="9" y="229"/>
                  </a:lnTo>
                  <a:lnTo>
                    <a:pt x="57" y="361"/>
                  </a:lnTo>
                  <a:lnTo>
                    <a:pt x="95" y="377"/>
                  </a:lnTo>
                  <a:lnTo>
                    <a:pt x="93" y="350"/>
                  </a:lnTo>
                  <a:lnTo>
                    <a:pt x="112" y="329"/>
                  </a:lnTo>
                  <a:lnTo>
                    <a:pt x="105" y="307"/>
                  </a:lnTo>
                  <a:lnTo>
                    <a:pt x="152" y="280"/>
                  </a:lnTo>
                  <a:lnTo>
                    <a:pt x="154" y="243"/>
                  </a:lnTo>
                  <a:lnTo>
                    <a:pt x="182" y="241"/>
                  </a:lnTo>
                  <a:lnTo>
                    <a:pt x="204" y="213"/>
                  </a:lnTo>
                  <a:lnTo>
                    <a:pt x="230" y="194"/>
                  </a:lnTo>
                  <a:lnTo>
                    <a:pt x="230" y="171"/>
                  </a:lnTo>
                  <a:lnTo>
                    <a:pt x="194" y="163"/>
                  </a:lnTo>
                  <a:lnTo>
                    <a:pt x="187" y="138"/>
                  </a:lnTo>
                  <a:lnTo>
                    <a:pt x="151" y="134"/>
                  </a:lnTo>
                  <a:lnTo>
                    <a:pt x="122" y="22"/>
                  </a:lnTo>
                  <a:lnTo>
                    <a:pt x="108" y="0"/>
                  </a:lnTo>
                  <a:lnTo>
                    <a:pt x="72" y="9"/>
                  </a:lnTo>
                  <a:lnTo>
                    <a:pt x="66" y="20"/>
                  </a:lnTo>
                  <a:lnTo>
                    <a:pt x="54" y="12"/>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 name="Freeform 5">
              <a:extLst>
                <a:ext uri="{FF2B5EF4-FFF2-40B4-BE49-F238E27FC236}">
                  <a16:creationId xmlns:a16="http://schemas.microsoft.com/office/drawing/2014/main" id="{F68AED6C-2970-4618-A550-408582952F37}"/>
                </a:ext>
              </a:extLst>
            </p:cNvPr>
            <p:cNvSpPr>
              <a:spLocks/>
            </p:cNvSpPr>
            <p:nvPr/>
          </p:nvSpPr>
          <p:spPr bwMode="auto">
            <a:xfrm>
              <a:off x="3427413" y="4129088"/>
              <a:ext cx="1611312" cy="1604962"/>
            </a:xfrm>
            <a:custGeom>
              <a:avLst/>
              <a:gdLst>
                <a:gd name="T0" fmla="*/ 337 w 846"/>
                <a:gd name="T1" fmla="*/ 0 h 842"/>
                <a:gd name="T2" fmla="*/ 594 w 846"/>
                <a:gd name="T3" fmla="*/ 7 h 842"/>
                <a:gd name="T4" fmla="*/ 594 w 846"/>
                <a:gd name="T5" fmla="*/ 160 h 842"/>
                <a:gd name="T6" fmla="*/ 724 w 846"/>
                <a:gd name="T7" fmla="*/ 202 h 842"/>
                <a:gd name="T8" fmla="*/ 761 w 846"/>
                <a:gd name="T9" fmla="*/ 188 h 842"/>
                <a:gd name="T10" fmla="*/ 847 w 846"/>
                <a:gd name="T11" fmla="*/ 221 h 842"/>
                <a:gd name="T12" fmla="*/ 897 w 846"/>
                <a:gd name="T13" fmla="*/ 219 h 842"/>
                <a:gd name="T14" fmla="*/ 996 w 846"/>
                <a:gd name="T15" fmla="*/ 186 h 842"/>
                <a:gd name="T16" fmla="*/ 1054 w 846"/>
                <a:gd name="T17" fmla="*/ 218 h 842"/>
                <a:gd name="T18" fmla="*/ 1103 w 846"/>
                <a:gd name="T19" fmla="*/ 226 h 842"/>
                <a:gd name="T20" fmla="*/ 1103 w 846"/>
                <a:gd name="T21" fmla="*/ 350 h 842"/>
                <a:gd name="T22" fmla="*/ 1163 w 846"/>
                <a:gd name="T23" fmla="*/ 428 h 842"/>
                <a:gd name="T24" fmla="*/ 1149 w 846"/>
                <a:gd name="T25" fmla="*/ 534 h 842"/>
                <a:gd name="T26" fmla="*/ 1086 w 846"/>
                <a:gd name="T27" fmla="*/ 576 h 842"/>
                <a:gd name="T28" fmla="*/ 1073 w 846"/>
                <a:gd name="T29" fmla="*/ 537 h 842"/>
                <a:gd name="T30" fmla="*/ 1054 w 846"/>
                <a:gd name="T31" fmla="*/ 555 h 842"/>
                <a:gd name="T32" fmla="*/ 1068 w 846"/>
                <a:gd name="T33" fmla="*/ 580 h 842"/>
                <a:gd name="T34" fmla="*/ 955 w 846"/>
                <a:gd name="T35" fmla="*/ 643 h 842"/>
                <a:gd name="T36" fmla="*/ 927 w 846"/>
                <a:gd name="T37" fmla="*/ 647 h 842"/>
                <a:gd name="T38" fmla="*/ 868 w 846"/>
                <a:gd name="T39" fmla="*/ 678 h 842"/>
                <a:gd name="T40" fmla="*/ 868 w 846"/>
                <a:gd name="T41" fmla="*/ 696 h 842"/>
                <a:gd name="T42" fmla="*/ 850 w 846"/>
                <a:gd name="T43" fmla="*/ 700 h 842"/>
                <a:gd name="T44" fmla="*/ 864 w 846"/>
                <a:gd name="T45" fmla="*/ 721 h 842"/>
                <a:gd name="T46" fmla="*/ 833 w 846"/>
                <a:gd name="T47" fmla="*/ 752 h 842"/>
                <a:gd name="T48" fmla="*/ 850 w 846"/>
                <a:gd name="T49" fmla="*/ 798 h 842"/>
                <a:gd name="T50" fmla="*/ 868 w 846"/>
                <a:gd name="T51" fmla="*/ 814 h 842"/>
                <a:gd name="T52" fmla="*/ 864 w 846"/>
                <a:gd name="T53" fmla="*/ 842 h 842"/>
                <a:gd name="T54" fmla="*/ 819 w 846"/>
                <a:gd name="T55" fmla="*/ 842 h 842"/>
                <a:gd name="T56" fmla="*/ 780 w 846"/>
                <a:gd name="T57" fmla="*/ 828 h 842"/>
                <a:gd name="T58" fmla="*/ 751 w 846"/>
                <a:gd name="T59" fmla="*/ 831 h 842"/>
                <a:gd name="T60" fmla="*/ 662 w 846"/>
                <a:gd name="T61" fmla="*/ 807 h 842"/>
                <a:gd name="T62" fmla="*/ 620 w 846"/>
                <a:gd name="T63" fmla="*/ 710 h 842"/>
                <a:gd name="T64" fmla="*/ 558 w 846"/>
                <a:gd name="T65" fmla="*/ 664 h 842"/>
                <a:gd name="T66" fmla="*/ 501 w 846"/>
                <a:gd name="T67" fmla="*/ 580 h 842"/>
                <a:gd name="T68" fmla="*/ 477 w 846"/>
                <a:gd name="T69" fmla="*/ 571 h 842"/>
                <a:gd name="T70" fmla="*/ 447 w 846"/>
                <a:gd name="T71" fmla="*/ 550 h 842"/>
                <a:gd name="T72" fmla="*/ 417 w 846"/>
                <a:gd name="T73" fmla="*/ 550 h 842"/>
                <a:gd name="T74" fmla="*/ 374 w 846"/>
                <a:gd name="T75" fmla="*/ 543 h 842"/>
                <a:gd name="T76" fmla="*/ 341 w 846"/>
                <a:gd name="T77" fmla="*/ 550 h 842"/>
                <a:gd name="T78" fmla="*/ 319 w 846"/>
                <a:gd name="T79" fmla="*/ 593 h 842"/>
                <a:gd name="T80" fmla="*/ 285 w 846"/>
                <a:gd name="T81" fmla="*/ 600 h 842"/>
                <a:gd name="T82" fmla="*/ 211 w 846"/>
                <a:gd name="T83" fmla="*/ 567 h 842"/>
                <a:gd name="T84" fmla="*/ 167 w 846"/>
                <a:gd name="T85" fmla="*/ 527 h 842"/>
                <a:gd name="T86" fmla="*/ 159 w 846"/>
                <a:gd name="T87" fmla="*/ 479 h 842"/>
                <a:gd name="T88" fmla="*/ 128 w 846"/>
                <a:gd name="T89" fmla="*/ 446 h 842"/>
                <a:gd name="T90" fmla="*/ 53 w 846"/>
                <a:gd name="T91" fmla="*/ 400 h 842"/>
                <a:gd name="T92" fmla="*/ 0 w 846"/>
                <a:gd name="T93" fmla="*/ 352 h 842"/>
                <a:gd name="T94" fmla="*/ 0 w 846"/>
                <a:gd name="T95" fmla="*/ 332 h 842"/>
                <a:gd name="T96" fmla="*/ 176 w 846"/>
                <a:gd name="T97" fmla="*/ 333 h 842"/>
                <a:gd name="T98" fmla="*/ 319 w 846"/>
                <a:gd name="T99" fmla="*/ 342 h 842"/>
                <a:gd name="T100" fmla="*/ 337 w 846"/>
                <a:gd name="T101" fmla="*/ 0 h 8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46"/>
                <a:gd name="T154" fmla="*/ 0 h 842"/>
                <a:gd name="T155" fmla="*/ 846 w 846"/>
                <a:gd name="T156" fmla="*/ 842 h 8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46" h="842">
                  <a:moveTo>
                    <a:pt x="245" y="0"/>
                  </a:moveTo>
                  <a:lnTo>
                    <a:pt x="432" y="7"/>
                  </a:lnTo>
                  <a:lnTo>
                    <a:pt x="432" y="160"/>
                  </a:lnTo>
                  <a:lnTo>
                    <a:pt x="527" y="202"/>
                  </a:lnTo>
                  <a:lnTo>
                    <a:pt x="553" y="188"/>
                  </a:lnTo>
                  <a:lnTo>
                    <a:pt x="616" y="221"/>
                  </a:lnTo>
                  <a:lnTo>
                    <a:pt x="653" y="219"/>
                  </a:lnTo>
                  <a:lnTo>
                    <a:pt x="725" y="186"/>
                  </a:lnTo>
                  <a:lnTo>
                    <a:pt x="767" y="218"/>
                  </a:lnTo>
                  <a:lnTo>
                    <a:pt x="803" y="226"/>
                  </a:lnTo>
                  <a:lnTo>
                    <a:pt x="803" y="350"/>
                  </a:lnTo>
                  <a:lnTo>
                    <a:pt x="846" y="428"/>
                  </a:lnTo>
                  <a:lnTo>
                    <a:pt x="836" y="534"/>
                  </a:lnTo>
                  <a:lnTo>
                    <a:pt x="790" y="576"/>
                  </a:lnTo>
                  <a:lnTo>
                    <a:pt x="780" y="537"/>
                  </a:lnTo>
                  <a:lnTo>
                    <a:pt x="767" y="555"/>
                  </a:lnTo>
                  <a:lnTo>
                    <a:pt x="777" y="580"/>
                  </a:lnTo>
                  <a:lnTo>
                    <a:pt x="695" y="643"/>
                  </a:lnTo>
                  <a:lnTo>
                    <a:pt x="675" y="647"/>
                  </a:lnTo>
                  <a:lnTo>
                    <a:pt x="632" y="678"/>
                  </a:lnTo>
                  <a:lnTo>
                    <a:pt x="632" y="696"/>
                  </a:lnTo>
                  <a:lnTo>
                    <a:pt x="619" y="700"/>
                  </a:lnTo>
                  <a:lnTo>
                    <a:pt x="629" y="721"/>
                  </a:lnTo>
                  <a:lnTo>
                    <a:pt x="606" y="752"/>
                  </a:lnTo>
                  <a:lnTo>
                    <a:pt x="619" y="798"/>
                  </a:lnTo>
                  <a:lnTo>
                    <a:pt x="632" y="814"/>
                  </a:lnTo>
                  <a:lnTo>
                    <a:pt x="629" y="842"/>
                  </a:lnTo>
                  <a:lnTo>
                    <a:pt x="596" y="842"/>
                  </a:lnTo>
                  <a:lnTo>
                    <a:pt x="567" y="828"/>
                  </a:lnTo>
                  <a:lnTo>
                    <a:pt x="547" y="831"/>
                  </a:lnTo>
                  <a:lnTo>
                    <a:pt x="481" y="807"/>
                  </a:lnTo>
                  <a:lnTo>
                    <a:pt x="452" y="710"/>
                  </a:lnTo>
                  <a:lnTo>
                    <a:pt x="406" y="664"/>
                  </a:lnTo>
                  <a:lnTo>
                    <a:pt x="365" y="580"/>
                  </a:lnTo>
                  <a:lnTo>
                    <a:pt x="347" y="571"/>
                  </a:lnTo>
                  <a:lnTo>
                    <a:pt x="325" y="550"/>
                  </a:lnTo>
                  <a:lnTo>
                    <a:pt x="304" y="550"/>
                  </a:lnTo>
                  <a:lnTo>
                    <a:pt x="272" y="543"/>
                  </a:lnTo>
                  <a:lnTo>
                    <a:pt x="248" y="550"/>
                  </a:lnTo>
                  <a:lnTo>
                    <a:pt x="232" y="593"/>
                  </a:lnTo>
                  <a:lnTo>
                    <a:pt x="207" y="600"/>
                  </a:lnTo>
                  <a:lnTo>
                    <a:pt x="153" y="567"/>
                  </a:lnTo>
                  <a:lnTo>
                    <a:pt x="121" y="527"/>
                  </a:lnTo>
                  <a:lnTo>
                    <a:pt x="116" y="479"/>
                  </a:lnTo>
                  <a:lnTo>
                    <a:pt x="93" y="446"/>
                  </a:lnTo>
                  <a:lnTo>
                    <a:pt x="39" y="400"/>
                  </a:lnTo>
                  <a:lnTo>
                    <a:pt x="0" y="352"/>
                  </a:lnTo>
                  <a:lnTo>
                    <a:pt x="0" y="332"/>
                  </a:lnTo>
                  <a:lnTo>
                    <a:pt x="128" y="333"/>
                  </a:lnTo>
                  <a:lnTo>
                    <a:pt x="232" y="342"/>
                  </a:lnTo>
                  <a:lnTo>
                    <a:pt x="245"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5" name="Freeform 6">
              <a:extLst>
                <a:ext uri="{FF2B5EF4-FFF2-40B4-BE49-F238E27FC236}">
                  <a16:creationId xmlns:a16="http://schemas.microsoft.com/office/drawing/2014/main" id="{9760D106-CAED-4393-8C0D-5FC6645DD144}"/>
                </a:ext>
              </a:extLst>
            </p:cNvPr>
            <p:cNvSpPr>
              <a:spLocks/>
            </p:cNvSpPr>
            <p:nvPr/>
          </p:nvSpPr>
          <p:spPr bwMode="auto">
            <a:xfrm>
              <a:off x="4870450" y="4062413"/>
              <a:ext cx="560388" cy="561975"/>
            </a:xfrm>
            <a:custGeom>
              <a:avLst/>
              <a:gdLst>
                <a:gd name="T0" fmla="*/ 0 w 294"/>
                <a:gd name="T1" fmla="*/ 27 h 295"/>
                <a:gd name="T2" fmla="*/ 162 w 294"/>
                <a:gd name="T3" fmla="*/ 12 h 295"/>
                <a:gd name="T4" fmla="*/ 359 w 294"/>
                <a:gd name="T5" fmla="*/ 0 h 295"/>
                <a:gd name="T6" fmla="*/ 348 w 294"/>
                <a:gd name="T7" fmla="*/ 39 h 295"/>
                <a:gd name="T8" fmla="*/ 392 w 294"/>
                <a:gd name="T9" fmla="*/ 30 h 295"/>
                <a:gd name="T10" fmla="*/ 407 w 294"/>
                <a:gd name="T11" fmla="*/ 56 h 295"/>
                <a:gd name="T12" fmla="*/ 362 w 294"/>
                <a:gd name="T13" fmla="*/ 80 h 295"/>
                <a:gd name="T14" fmla="*/ 373 w 294"/>
                <a:gd name="T15" fmla="*/ 121 h 295"/>
                <a:gd name="T16" fmla="*/ 327 w 294"/>
                <a:gd name="T17" fmla="*/ 189 h 295"/>
                <a:gd name="T18" fmla="*/ 291 w 294"/>
                <a:gd name="T19" fmla="*/ 231 h 295"/>
                <a:gd name="T20" fmla="*/ 310 w 294"/>
                <a:gd name="T21" fmla="*/ 285 h 295"/>
                <a:gd name="T22" fmla="*/ 60 w 294"/>
                <a:gd name="T23" fmla="*/ 295 h 295"/>
                <a:gd name="T24" fmla="*/ 59 w 294"/>
                <a:gd name="T25" fmla="*/ 262 h 295"/>
                <a:gd name="T26" fmla="*/ 10 w 294"/>
                <a:gd name="T27" fmla="*/ 255 h 295"/>
                <a:gd name="T28" fmla="*/ 10 w 294"/>
                <a:gd name="T29" fmla="*/ 80 h 295"/>
                <a:gd name="T30" fmla="*/ 0 w 294"/>
                <a:gd name="T31" fmla="*/ 27 h 29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94"/>
                <a:gd name="T49" fmla="*/ 0 h 295"/>
                <a:gd name="T50" fmla="*/ 294 w 294"/>
                <a:gd name="T51" fmla="*/ 295 h 29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94" h="295">
                  <a:moveTo>
                    <a:pt x="0" y="27"/>
                  </a:moveTo>
                  <a:lnTo>
                    <a:pt x="116" y="12"/>
                  </a:lnTo>
                  <a:lnTo>
                    <a:pt x="259" y="0"/>
                  </a:lnTo>
                  <a:lnTo>
                    <a:pt x="252" y="39"/>
                  </a:lnTo>
                  <a:lnTo>
                    <a:pt x="283" y="30"/>
                  </a:lnTo>
                  <a:lnTo>
                    <a:pt x="294" y="56"/>
                  </a:lnTo>
                  <a:lnTo>
                    <a:pt x="262" y="80"/>
                  </a:lnTo>
                  <a:lnTo>
                    <a:pt x="269" y="121"/>
                  </a:lnTo>
                  <a:lnTo>
                    <a:pt x="235" y="189"/>
                  </a:lnTo>
                  <a:lnTo>
                    <a:pt x="210" y="231"/>
                  </a:lnTo>
                  <a:lnTo>
                    <a:pt x="224" y="285"/>
                  </a:lnTo>
                  <a:lnTo>
                    <a:pt x="43" y="295"/>
                  </a:lnTo>
                  <a:lnTo>
                    <a:pt x="42" y="262"/>
                  </a:lnTo>
                  <a:lnTo>
                    <a:pt x="6" y="255"/>
                  </a:lnTo>
                  <a:lnTo>
                    <a:pt x="6" y="80"/>
                  </a:lnTo>
                  <a:lnTo>
                    <a:pt x="0" y="27"/>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6" name="Freeform 7">
              <a:extLst>
                <a:ext uri="{FF2B5EF4-FFF2-40B4-BE49-F238E27FC236}">
                  <a16:creationId xmlns:a16="http://schemas.microsoft.com/office/drawing/2014/main" id="{BCED7DD6-1A64-4405-BDAC-E44485912114}"/>
                </a:ext>
              </a:extLst>
            </p:cNvPr>
            <p:cNvSpPr>
              <a:spLocks/>
            </p:cNvSpPr>
            <p:nvPr/>
          </p:nvSpPr>
          <p:spPr bwMode="auto">
            <a:xfrm>
              <a:off x="4943475" y="4603750"/>
              <a:ext cx="684213" cy="588963"/>
            </a:xfrm>
            <a:custGeom>
              <a:avLst/>
              <a:gdLst>
                <a:gd name="T0" fmla="*/ 0 w 359"/>
                <a:gd name="T1" fmla="*/ 7 h 309"/>
                <a:gd name="T2" fmla="*/ 247 w 359"/>
                <a:gd name="T3" fmla="*/ 0 h 309"/>
                <a:gd name="T4" fmla="*/ 291 w 359"/>
                <a:gd name="T5" fmla="*/ 64 h 309"/>
                <a:gd name="T6" fmla="*/ 254 w 359"/>
                <a:gd name="T7" fmla="*/ 139 h 309"/>
                <a:gd name="T8" fmla="*/ 242 w 359"/>
                <a:gd name="T9" fmla="*/ 173 h 309"/>
                <a:gd name="T10" fmla="*/ 407 w 359"/>
                <a:gd name="T11" fmla="*/ 159 h 309"/>
                <a:gd name="T12" fmla="*/ 417 w 359"/>
                <a:gd name="T13" fmla="*/ 208 h 309"/>
                <a:gd name="T14" fmla="*/ 367 w 359"/>
                <a:gd name="T15" fmla="*/ 204 h 309"/>
                <a:gd name="T16" fmla="*/ 346 w 359"/>
                <a:gd name="T17" fmla="*/ 225 h 309"/>
                <a:gd name="T18" fmla="*/ 369 w 359"/>
                <a:gd name="T19" fmla="*/ 239 h 309"/>
                <a:gd name="T20" fmla="*/ 416 w 359"/>
                <a:gd name="T21" fmla="*/ 222 h 309"/>
                <a:gd name="T22" fmla="*/ 417 w 359"/>
                <a:gd name="T23" fmla="*/ 246 h 309"/>
                <a:gd name="T24" fmla="*/ 444 w 359"/>
                <a:gd name="T25" fmla="*/ 226 h 309"/>
                <a:gd name="T26" fmla="*/ 463 w 359"/>
                <a:gd name="T27" fmla="*/ 226 h 309"/>
                <a:gd name="T28" fmla="*/ 441 w 359"/>
                <a:gd name="T29" fmla="*/ 267 h 309"/>
                <a:gd name="T30" fmla="*/ 482 w 359"/>
                <a:gd name="T31" fmla="*/ 274 h 309"/>
                <a:gd name="T32" fmla="*/ 495 w 359"/>
                <a:gd name="T33" fmla="*/ 297 h 309"/>
                <a:gd name="T34" fmla="*/ 476 w 359"/>
                <a:gd name="T35" fmla="*/ 304 h 309"/>
                <a:gd name="T36" fmla="*/ 451 w 359"/>
                <a:gd name="T37" fmla="*/ 289 h 309"/>
                <a:gd name="T38" fmla="*/ 402 w 359"/>
                <a:gd name="T39" fmla="*/ 279 h 309"/>
                <a:gd name="T40" fmla="*/ 412 w 359"/>
                <a:gd name="T41" fmla="*/ 306 h 309"/>
                <a:gd name="T42" fmla="*/ 390 w 359"/>
                <a:gd name="T43" fmla="*/ 309 h 309"/>
                <a:gd name="T44" fmla="*/ 368 w 359"/>
                <a:gd name="T45" fmla="*/ 285 h 309"/>
                <a:gd name="T46" fmla="*/ 356 w 359"/>
                <a:gd name="T47" fmla="*/ 300 h 309"/>
                <a:gd name="T48" fmla="*/ 284 w 359"/>
                <a:gd name="T49" fmla="*/ 300 h 309"/>
                <a:gd name="T50" fmla="*/ 284 w 359"/>
                <a:gd name="T51" fmla="*/ 285 h 309"/>
                <a:gd name="T52" fmla="*/ 258 w 359"/>
                <a:gd name="T53" fmla="*/ 267 h 309"/>
                <a:gd name="T54" fmla="*/ 202 w 359"/>
                <a:gd name="T55" fmla="*/ 265 h 309"/>
                <a:gd name="T56" fmla="*/ 248 w 359"/>
                <a:gd name="T57" fmla="*/ 285 h 309"/>
                <a:gd name="T58" fmla="*/ 184 w 359"/>
                <a:gd name="T59" fmla="*/ 295 h 309"/>
                <a:gd name="T60" fmla="*/ 86 w 359"/>
                <a:gd name="T61" fmla="*/ 281 h 309"/>
                <a:gd name="T62" fmla="*/ 48 w 359"/>
                <a:gd name="T63" fmla="*/ 285 h 309"/>
                <a:gd name="T64" fmla="*/ 62 w 359"/>
                <a:gd name="T65" fmla="*/ 181 h 309"/>
                <a:gd name="T66" fmla="*/ 1 w 359"/>
                <a:gd name="T67" fmla="*/ 99 h 309"/>
                <a:gd name="T68" fmla="*/ 0 w 359"/>
                <a:gd name="T69" fmla="*/ 7 h 30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9"/>
                <a:gd name="T106" fmla="*/ 0 h 309"/>
                <a:gd name="T107" fmla="*/ 359 w 359"/>
                <a:gd name="T108" fmla="*/ 309 h 30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9" h="309">
                  <a:moveTo>
                    <a:pt x="0" y="7"/>
                  </a:moveTo>
                  <a:lnTo>
                    <a:pt x="179" y="0"/>
                  </a:lnTo>
                  <a:lnTo>
                    <a:pt x="211" y="64"/>
                  </a:lnTo>
                  <a:lnTo>
                    <a:pt x="184" y="139"/>
                  </a:lnTo>
                  <a:lnTo>
                    <a:pt x="175" y="173"/>
                  </a:lnTo>
                  <a:lnTo>
                    <a:pt x="295" y="159"/>
                  </a:lnTo>
                  <a:lnTo>
                    <a:pt x="303" y="208"/>
                  </a:lnTo>
                  <a:lnTo>
                    <a:pt x="267" y="204"/>
                  </a:lnTo>
                  <a:lnTo>
                    <a:pt x="250" y="225"/>
                  </a:lnTo>
                  <a:lnTo>
                    <a:pt x="269" y="239"/>
                  </a:lnTo>
                  <a:lnTo>
                    <a:pt x="302" y="222"/>
                  </a:lnTo>
                  <a:lnTo>
                    <a:pt x="303" y="246"/>
                  </a:lnTo>
                  <a:lnTo>
                    <a:pt x="322" y="226"/>
                  </a:lnTo>
                  <a:lnTo>
                    <a:pt x="336" y="226"/>
                  </a:lnTo>
                  <a:lnTo>
                    <a:pt x="320" y="267"/>
                  </a:lnTo>
                  <a:lnTo>
                    <a:pt x="350" y="274"/>
                  </a:lnTo>
                  <a:lnTo>
                    <a:pt x="359" y="297"/>
                  </a:lnTo>
                  <a:lnTo>
                    <a:pt x="345" y="304"/>
                  </a:lnTo>
                  <a:lnTo>
                    <a:pt x="327" y="289"/>
                  </a:lnTo>
                  <a:lnTo>
                    <a:pt x="292" y="279"/>
                  </a:lnTo>
                  <a:lnTo>
                    <a:pt x="299" y="306"/>
                  </a:lnTo>
                  <a:lnTo>
                    <a:pt x="282" y="309"/>
                  </a:lnTo>
                  <a:lnTo>
                    <a:pt x="268" y="285"/>
                  </a:lnTo>
                  <a:lnTo>
                    <a:pt x="259" y="300"/>
                  </a:lnTo>
                  <a:lnTo>
                    <a:pt x="206" y="300"/>
                  </a:lnTo>
                  <a:lnTo>
                    <a:pt x="206" y="285"/>
                  </a:lnTo>
                  <a:lnTo>
                    <a:pt x="187" y="267"/>
                  </a:lnTo>
                  <a:lnTo>
                    <a:pt x="147" y="265"/>
                  </a:lnTo>
                  <a:lnTo>
                    <a:pt x="180" y="285"/>
                  </a:lnTo>
                  <a:lnTo>
                    <a:pt x="134" y="295"/>
                  </a:lnTo>
                  <a:lnTo>
                    <a:pt x="62" y="281"/>
                  </a:lnTo>
                  <a:lnTo>
                    <a:pt x="35" y="285"/>
                  </a:lnTo>
                  <a:lnTo>
                    <a:pt x="45" y="181"/>
                  </a:lnTo>
                  <a:lnTo>
                    <a:pt x="1" y="99"/>
                  </a:lnTo>
                  <a:lnTo>
                    <a:pt x="0" y="7"/>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7" name="Freeform 8">
              <a:extLst>
                <a:ext uri="{FF2B5EF4-FFF2-40B4-BE49-F238E27FC236}">
                  <a16:creationId xmlns:a16="http://schemas.microsoft.com/office/drawing/2014/main" id="{F097987C-BF3A-4187-8AC4-0E8BAAA6E9A6}"/>
                </a:ext>
              </a:extLst>
            </p:cNvPr>
            <p:cNvSpPr>
              <a:spLocks/>
            </p:cNvSpPr>
            <p:nvPr/>
          </p:nvSpPr>
          <p:spPr bwMode="auto">
            <a:xfrm>
              <a:off x="4476452" y="2130226"/>
              <a:ext cx="779760" cy="912705"/>
            </a:xfrm>
            <a:custGeom>
              <a:avLst/>
              <a:gdLst>
                <a:gd name="T0" fmla="*/ 0 w 400"/>
                <a:gd name="T1" fmla="*/ 38 h 485"/>
                <a:gd name="T2" fmla="*/ 144 w 400"/>
                <a:gd name="T3" fmla="*/ 38 h 485"/>
                <a:gd name="T4" fmla="*/ 143 w 400"/>
                <a:gd name="T5" fmla="*/ 0 h 485"/>
                <a:gd name="T6" fmla="*/ 172 w 400"/>
                <a:gd name="T7" fmla="*/ 11 h 485"/>
                <a:gd name="T8" fmla="*/ 181 w 400"/>
                <a:gd name="T9" fmla="*/ 40 h 485"/>
                <a:gd name="T10" fmla="*/ 248 w 400"/>
                <a:gd name="T11" fmla="*/ 72 h 485"/>
                <a:gd name="T12" fmla="*/ 268 w 400"/>
                <a:gd name="T13" fmla="*/ 58 h 485"/>
                <a:gd name="T14" fmla="*/ 311 w 400"/>
                <a:gd name="T15" fmla="*/ 58 h 485"/>
                <a:gd name="T16" fmla="*/ 342 w 400"/>
                <a:gd name="T17" fmla="*/ 86 h 485"/>
                <a:gd name="T18" fmla="*/ 364 w 400"/>
                <a:gd name="T19" fmla="*/ 76 h 485"/>
                <a:gd name="T20" fmla="*/ 422 w 400"/>
                <a:gd name="T21" fmla="*/ 87 h 485"/>
                <a:gd name="T22" fmla="*/ 444 w 400"/>
                <a:gd name="T23" fmla="*/ 66 h 485"/>
                <a:gd name="T24" fmla="*/ 482 w 400"/>
                <a:gd name="T25" fmla="*/ 83 h 485"/>
                <a:gd name="T26" fmla="*/ 550 w 400"/>
                <a:gd name="T27" fmla="*/ 80 h 485"/>
                <a:gd name="T28" fmla="*/ 439 w 400"/>
                <a:gd name="T29" fmla="*/ 140 h 485"/>
                <a:gd name="T30" fmla="*/ 385 w 400"/>
                <a:gd name="T31" fmla="*/ 193 h 485"/>
                <a:gd name="T32" fmla="*/ 396 w 400"/>
                <a:gd name="T33" fmla="*/ 269 h 485"/>
                <a:gd name="T34" fmla="*/ 358 w 400"/>
                <a:gd name="T35" fmla="*/ 301 h 485"/>
                <a:gd name="T36" fmla="*/ 372 w 400"/>
                <a:gd name="T37" fmla="*/ 324 h 485"/>
                <a:gd name="T38" fmla="*/ 372 w 400"/>
                <a:gd name="T39" fmla="*/ 380 h 485"/>
                <a:gd name="T40" fmla="*/ 411 w 400"/>
                <a:gd name="T41" fmla="*/ 380 h 485"/>
                <a:gd name="T42" fmla="*/ 467 w 400"/>
                <a:gd name="T43" fmla="*/ 421 h 485"/>
                <a:gd name="T44" fmla="*/ 488 w 400"/>
                <a:gd name="T45" fmla="*/ 471 h 485"/>
                <a:gd name="T46" fmla="*/ 101 w 400"/>
                <a:gd name="T47" fmla="*/ 485 h 485"/>
                <a:gd name="T48" fmla="*/ 102 w 400"/>
                <a:gd name="T49" fmla="*/ 351 h 485"/>
                <a:gd name="T50" fmla="*/ 67 w 400"/>
                <a:gd name="T51" fmla="*/ 321 h 485"/>
                <a:gd name="T52" fmla="*/ 80 w 400"/>
                <a:gd name="T53" fmla="*/ 286 h 485"/>
                <a:gd name="T54" fmla="*/ 90 w 400"/>
                <a:gd name="T55" fmla="*/ 266 h 485"/>
                <a:gd name="T56" fmla="*/ 67 w 400"/>
                <a:gd name="T57" fmla="*/ 173 h 485"/>
                <a:gd name="T58" fmla="*/ 34 w 400"/>
                <a:gd name="T59" fmla="*/ 112 h 485"/>
                <a:gd name="T60" fmla="*/ 0 w 400"/>
                <a:gd name="T61" fmla="*/ 38 h 485"/>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00"/>
                <a:gd name="T94" fmla="*/ 0 h 485"/>
                <a:gd name="T95" fmla="*/ 400 w 400"/>
                <a:gd name="T96" fmla="*/ 485 h 485"/>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00" h="485">
                  <a:moveTo>
                    <a:pt x="0" y="38"/>
                  </a:moveTo>
                  <a:lnTo>
                    <a:pt x="105" y="38"/>
                  </a:lnTo>
                  <a:lnTo>
                    <a:pt x="104" y="0"/>
                  </a:lnTo>
                  <a:lnTo>
                    <a:pt x="126" y="11"/>
                  </a:lnTo>
                  <a:lnTo>
                    <a:pt x="131" y="40"/>
                  </a:lnTo>
                  <a:lnTo>
                    <a:pt x="181" y="72"/>
                  </a:lnTo>
                  <a:lnTo>
                    <a:pt x="196" y="58"/>
                  </a:lnTo>
                  <a:lnTo>
                    <a:pt x="226" y="58"/>
                  </a:lnTo>
                  <a:lnTo>
                    <a:pt x="249" y="86"/>
                  </a:lnTo>
                  <a:lnTo>
                    <a:pt x="264" y="76"/>
                  </a:lnTo>
                  <a:lnTo>
                    <a:pt x="308" y="87"/>
                  </a:lnTo>
                  <a:lnTo>
                    <a:pt x="323" y="66"/>
                  </a:lnTo>
                  <a:lnTo>
                    <a:pt x="351" y="83"/>
                  </a:lnTo>
                  <a:lnTo>
                    <a:pt x="400" y="80"/>
                  </a:lnTo>
                  <a:lnTo>
                    <a:pt x="320" y="140"/>
                  </a:lnTo>
                  <a:lnTo>
                    <a:pt x="281" y="193"/>
                  </a:lnTo>
                  <a:lnTo>
                    <a:pt x="288" y="269"/>
                  </a:lnTo>
                  <a:lnTo>
                    <a:pt x="261" y="301"/>
                  </a:lnTo>
                  <a:lnTo>
                    <a:pt x="272" y="324"/>
                  </a:lnTo>
                  <a:lnTo>
                    <a:pt x="272" y="380"/>
                  </a:lnTo>
                  <a:lnTo>
                    <a:pt x="299" y="380"/>
                  </a:lnTo>
                  <a:lnTo>
                    <a:pt x="340" y="421"/>
                  </a:lnTo>
                  <a:lnTo>
                    <a:pt x="356" y="471"/>
                  </a:lnTo>
                  <a:lnTo>
                    <a:pt x="73" y="485"/>
                  </a:lnTo>
                  <a:lnTo>
                    <a:pt x="74" y="351"/>
                  </a:lnTo>
                  <a:lnTo>
                    <a:pt x="49" y="321"/>
                  </a:lnTo>
                  <a:lnTo>
                    <a:pt x="58" y="286"/>
                  </a:lnTo>
                  <a:lnTo>
                    <a:pt x="66" y="266"/>
                  </a:lnTo>
                  <a:lnTo>
                    <a:pt x="49" y="173"/>
                  </a:lnTo>
                  <a:lnTo>
                    <a:pt x="25" y="112"/>
                  </a:lnTo>
                  <a:lnTo>
                    <a:pt x="0" y="38"/>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8" name="Freeform 9">
              <a:extLst>
                <a:ext uri="{FF2B5EF4-FFF2-40B4-BE49-F238E27FC236}">
                  <a16:creationId xmlns:a16="http://schemas.microsoft.com/office/drawing/2014/main" id="{38F472A3-8AF9-4825-885D-D6960A37E1F4}"/>
                </a:ext>
              </a:extLst>
            </p:cNvPr>
            <p:cNvSpPr>
              <a:spLocks/>
            </p:cNvSpPr>
            <p:nvPr/>
          </p:nvSpPr>
          <p:spPr bwMode="auto">
            <a:xfrm>
              <a:off x="4986338" y="2435225"/>
              <a:ext cx="579437" cy="728663"/>
            </a:xfrm>
            <a:custGeom>
              <a:avLst/>
              <a:gdLst>
                <a:gd name="T0" fmla="*/ 30 w 304"/>
                <a:gd name="T1" fmla="*/ 26 h 382"/>
                <a:gd name="T2" fmla="*/ 62 w 304"/>
                <a:gd name="T3" fmla="*/ 23 h 382"/>
                <a:gd name="T4" fmla="*/ 89 w 304"/>
                <a:gd name="T5" fmla="*/ 23 h 382"/>
                <a:gd name="T6" fmla="*/ 108 w 304"/>
                <a:gd name="T7" fmla="*/ 0 h 382"/>
                <a:gd name="T8" fmla="*/ 120 w 304"/>
                <a:gd name="T9" fmla="*/ 28 h 382"/>
                <a:gd name="T10" fmla="*/ 167 w 304"/>
                <a:gd name="T11" fmla="*/ 28 h 382"/>
                <a:gd name="T12" fmla="*/ 189 w 304"/>
                <a:gd name="T13" fmla="*/ 54 h 382"/>
                <a:gd name="T14" fmla="*/ 237 w 304"/>
                <a:gd name="T15" fmla="*/ 47 h 382"/>
                <a:gd name="T16" fmla="*/ 268 w 304"/>
                <a:gd name="T17" fmla="*/ 64 h 382"/>
                <a:gd name="T18" fmla="*/ 327 w 304"/>
                <a:gd name="T19" fmla="*/ 75 h 382"/>
                <a:gd name="T20" fmla="*/ 338 w 304"/>
                <a:gd name="T21" fmla="*/ 95 h 382"/>
                <a:gd name="T22" fmla="*/ 368 w 304"/>
                <a:gd name="T23" fmla="*/ 97 h 382"/>
                <a:gd name="T24" fmla="*/ 357 w 304"/>
                <a:gd name="T25" fmla="*/ 117 h 382"/>
                <a:gd name="T26" fmla="*/ 369 w 304"/>
                <a:gd name="T27" fmla="*/ 139 h 382"/>
                <a:gd name="T28" fmla="*/ 351 w 304"/>
                <a:gd name="T29" fmla="*/ 167 h 382"/>
                <a:gd name="T30" fmla="*/ 365 w 304"/>
                <a:gd name="T31" fmla="*/ 173 h 382"/>
                <a:gd name="T32" fmla="*/ 397 w 304"/>
                <a:gd name="T33" fmla="*/ 142 h 382"/>
                <a:gd name="T34" fmla="*/ 396 w 304"/>
                <a:gd name="T35" fmla="*/ 132 h 382"/>
                <a:gd name="T36" fmla="*/ 407 w 304"/>
                <a:gd name="T37" fmla="*/ 127 h 382"/>
                <a:gd name="T38" fmla="*/ 417 w 304"/>
                <a:gd name="T39" fmla="*/ 142 h 382"/>
                <a:gd name="T40" fmla="*/ 390 w 304"/>
                <a:gd name="T41" fmla="*/ 164 h 382"/>
                <a:gd name="T42" fmla="*/ 382 w 304"/>
                <a:gd name="T43" fmla="*/ 212 h 382"/>
                <a:gd name="T44" fmla="*/ 382 w 304"/>
                <a:gd name="T45" fmla="*/ 293 h 382"/>
                <a:gd name="T46" fmla="*/ 397 w 304"/>
                <a:gd name="T47" fmla="*/ 307 h 382"/>
                <a:gd name="T48" fmla="*/ 389 w 304"/>
                <a:gd name="T49" fmla="*/ 358 h 382"/>
                <a:gd name="T50" fmla="*/ 194 w 304"/>
                <a:gd name="T51" fmla="*/ 382 h 382"/>
                <a:gd name="T52" fmla="*/ 143 w 304"/>
                <a:gd name="T53" fmla="*/ 359 h 382"/>
                <a:gd name="T54" fmla="*/ 153 w 304"/>
                <a:gd name="T55" fmla="*/ 328 h 382"/>
                <a:gd name="T56" fmla="*/ 129 w 304"/>
                <a:gd name="T57" fmla="*/ 295 h 382"/>
                <a:gd name="T58" fmla="*/ 108 w 304"/>
                <a:gd name="T59" fmla="*/ 254 h 382"/>
                <a:gd name="T60" fmla="*/ 52 w 304"/>
                <a:gd name="T61" fmla="*/ 213 h 382"/>
                <a:gd name="T62" fmla="*/ 17 w 304"/>
                <a:gd name="T63" fmla="*/ 213 h 382"/>
                <a:gd name="T64" fmla="*/ 17 w 304"/>
                <a:gd name="T65" fmla="*/ 157 h 382"/>
                <a:gd name="T66" fmla="*/ 0 w 304"/>
                <a:gd name="T67" fmla="*/ 135 h 382"/>
                <a:gd name="T68" fmla="*/ 38 w 304"/>
                <a:gd name="T69" fmla="*/ 102 h 382"/>
                <a:gd name="T70" fmla="*/ 30 w 304"/>
                <a:gd name="T71" fmla="*/ 26 h 38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04"/>
                <a:gd name="T109" fmla="*/ 0 h 382"/>
                <a:gd name="T110" fmla="*/ 304 w 304"/>
                <a:gd name="T111" fmla="*/ 382 h 38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04" h="382">
                  <a:moveTo>
                    <a:pt x="22" y="26"/>
                  </a:moveTo>
                  <a:lnTo>
                    <a:pt x="45" y="23"/>
                  </a:lnTo>
                  <a:lnTo>
                    <a:pt x="65" y="23"/>
                  </a:lnTo>
                  <a:lnTo>
                    <a:pt x="79" y="0"/>
                  </a:lnTo>
                  <a:lnTo>
                    <a:pt x="88" y="28"/>
                  </a:lnTo>
                  <a:lnTo>
                    <a:pt x="121" y="28"/>
                  </a:lnTo>
                  <a:lnTo>
                    <a:pt x="139" y="54"/>
                  </a:lnTo>
                  <a:lnTo>
                    <a:pt x="173" y="47"/>
                  </a:lnTo>
                  <a:lnTo>
                    <a:pt x="196" y="64"/>
                  </a:lnTo>
                  <a:lnTo>
                    <a:pt x="238" y="75"/>
                  </a:lnTo>
                  <a:lnTo>
                    <a:pt x="246" y="95"/>
                  </a:lnTo>
                  <a:lnTo>
                    <a:pt x="268" y="97"/>
                  </a:lnTo>
                  <a:lnTo>
                    <a:pt x="261" y="117"/>
                  </a:lnTo>
                  <a:lnTo>
                    <a:pt x="269" y="139"/>
                  </a:lnTo>
                  <a:lnTo>
                    <a:pt x="255" y="167"/>
                  </a:lnTo>
                  <a:lnTo>
                    <a:pt x="265" y="173"/>
                  </a:lnTo>
                  <a:lnTo>
                    <a:pt x="289" y="142"/>
                  </a:lnTo>
                  <a:lnTo>
                    <a:pt x="288" y="132"/>
                  </a:lnTo>
                  <a:lnTo>
                    <a:pt x="297" y="127"/>
                  </a:lnTo>
                  <a:lnTo>
                    <a:pt x="304" y="142"/>
                  </a:lnTo>
                  <a:lnTo>
                    <a:pt x="285" y="164"/>
                  </a:lnTo>
                  <a:lnTo>
                    <a:pt x="278" y="212"/>
                  </a:lnTo>
                  <a:lnTo>
                    <a:pt x="278" y="293"/>
                  </a:lnTo>
                  <a:lnTo>
                    <a:pt x="289" y="307"/>
                  </a:lnTo>
                  <a:lnTo>
                    <a:pt x="284" y="358"/>
                  </a:lnTo>
                  <a:lnTo>
                    <a:pt x="140" y="382"/>
                  </a:lnTo>
                  <a:lnTo>
                    <a:pt x="104" y="359"/>
                  </a:lnTo>
                  <a:lnTo>
                    <a:pt x="111" y="328"/>
                  </a:lnTo>
                  <a:lnTo>
                    <a:pt x="94" y="295"/>
                  </a:lnTo>
                  <a:lnTo>
                    <a:pt x="79" y="254"/>
                  </a:lnTo>
                  <a:lnTo>
                    <a:pt x="38" y="213"/>
                  </a:lnTo>
                  <a:lnTo>
                    <a:pt x="13" y="213"/>
                  </a:lnTo>
                  <a:lnTo>
                    <a:pt x="13" y="157"/>
                  </a:lnTo>
                  <a:lnTo>
                    <a:pt x="0" y="135"/>
                  </a:lnTo>
                  <a:lnTo>
                    <a:pt x="28" y="102"/>
                  </a:lnTo>
                  <a:lnTo>
                    <a:pt x="22" y="26"/>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9" name="Freeform 10">
              <a:extLst>
                <a:ext uri="{FF2B5EF4-FFF2-40B4-BE49-F238E27FC236}">
                  <a16:creationId xmlns:a16="http://schemas.microsoft.com/office/drawing/2014/main" id="{DB5C16B4-9169-4073-B680-45C5801F356B}"/>
                </a:ext>
              </a:extLst>
            </p:cNvPr>
            <p:cNvSpPr>
              <a:spLocks/>
            </p:cNvSpPr>
            <p:nvPr/>
          </p:nvSpPr>
          <p:spPr bwMode="auto">
            <a:xfrm>
              <a:off x="5213350" y="2333625"/>
              <a:ext cx="625475" cy="288925"/>
            </a:xfrm>
            <a:custGeom>
              <a:avLst/>
              <a:gdLst>
                <a:gd name="T0" fmla="*/ 0 w 327"/>
                <a:gd name="T1" fmla="*/ 84 h 152"/>
                <a:gd name="T2" fmla="*/ 101 w 327"/>
                <a:gd name="T3" fmla="*/ 0 h 152"/>
                <a:gd name="T4" fmla="*/ 84 w 327"/>
                <a:gd name="T5" fmla="*/ 34 h 152"/>
                <a:gd name="T6" fmla="*/ 98 w 327"/>
                <a:gd name="T7" fmla="*/ 45 h 152"/>
                <a:gd name="T8" fmla="*/ 129 w 327"/>
                <a:gd name="T9" fmla="*/ 31 h 152"/>
                <a:gd name="T10" fmla="*/ 198 w 327"/>
                <a:gd name="T11" fmla="*/ 52 h 152"/>
                <a:gd name="T12" fmla="*/ 229 w 327"/>
                <a:gd name="T13" fmla="*/ 34 h 152"/>
                <a:gd name="T14" fmla="*/ 325 w 327"/>
                <a:gd name="T15" fmla="*/ 25 h 152"/>
                <a:gd name="T16" fmla="*/ 342 w 327"/>
                <a:gd name="T17" fmla="*/ 46 h 152"/>
                <a:gd name="T18" fmla="*/ 377 w 327"/>
                <a:gd name="T19" fmla="*/ 41 h 152"/>
                <a:gd name="T20" fmla="*/ 451 w 327"/>
                <a:gd name="T21" fmla="*/ 64 h 152"/>
                <a:gd name="T22" fmla="*/ 454 w 327"/>
                <a:gd name="T23" fmla="*/ 80 h 152"/>
                <a:gd name="T24" fmla="*/ 376 w 327"/>
                <a:gd name="T25" fmla="*/ 94 h 152"/>
                <a:gd name="T26" fmla="*/ 355 w 327"/>
                <a:gd name="T27" fmla="*/ 84 h 152"/>
                <a:gd name="T28" fmla="*/ 315 w 327"/>
                <a:gd name="T29" fmla="*/ 87 h 152"/>
                <a:gd name="T30" fmla="*/ 270 w 327"/>
                <a:gd name="T31" fmla="*/ 108 h 152"/>
                <a:gd name="T32" fmla="*/ 248 w 327"/>
                <a:gd name="T33" fmla="*/ 109 h 152"/>
                <a:gd name="T34" fmla="*/ 230 w 327"/>
                <a:gd name="T35" fmla="*/ 94 h 152"/>
                <a:gd name="T36" fmla="*/ 206 w 327"/>
                <a:gd name="T37" fmla="*/ 151 h 152"/>
                <a:gd name="T38" fmla="*/ 177 w 327"/>
                <a:gd name="T39" fmla="*/ 152 h 152"/>
                <a:gd name="T40" fmla="*/ 164 w 327"/>
                <a:gd name="T41" fmla="*/ 129 h 152"/>
                <a:gd name="T42" fmla="*/ 102 w 327"/>
                <a:gd name="T43" fmla="*/ 119 h 152"/>
                <a:gd name="T44" fmla="*/ 75 w 327"/>
                <a:gd name="T45" fmla="*/ 102 h 152"/>
                <a:gd name="T46" fmla="*/ 26 w 327"/>
                <a:gd name="T47" fmla="*/ 108 h 152"/>
                <a:gd name="T48" fmla="*/ 0 w 327"/>
                <a:gd name="T49" fmla="*/ 84 h 15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327"/>
                <a:gd name="T76" fmla="*/ 0 h 152"/>
                <a:gd name="T77" fmla="*/ 327 w 327"/>
                <a:gd name="T78" fmla="*/ 152 h 15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327" h="152">
                  <a:moveTo>
                    <a:pt x="0" y="84"/>
                  </a:moveTo>
                  <a:lnTo>
                    <a:pt x="73" y="0"/>
                  </a:lnTo>
                  <a:lnTo>
                    <a:pt x="60" y="34"/>
                  </a:lnTo>
                  <a:lnTo>
                    <a:pt x="70" y="45"/>
                  </a:lnTo>
                  <a:lnTo>
                    <a:pt x="93" y="31"/>
                  </a:lnTo>
                  <a:lnTo>
                    <a:pt x="143" y="52"/>
                  </a:lnTo>
                  <a:lnTo>
                    <a:pt x="165" y="34"/>
                  </a:lnTo>
                  <a:lnTo>
                    <a:pt x="233" y="25"/>
                  </a:lnTo>
                  <a:lnTo>
                    <a:pt x="246" y="46"/>
                  </a:lnTo>
                  <a:lnTo>
                    <a:pt x="272" y="41"/>
                  </a:lnTo>
                  <a:lnTo>
                    <a:pt x="324" y="64"/>
                  </a:lnTo>
                  <a:lnTo>
                    <a:pt x="327" y="80"/>
                  </a:lnTo>
                  <a:lnTo>
                    <a:pt x="271" y="94"/>
                  </a:lnTo>
                  <a:lnTo>
                    <a:pt x="255" y="84"/>
                  </a:lnTo>
                  <a:lnTo>
                    <a:pt x="227" y="87"/>
                  </a:lnTo>
                  <a:lnTo>
                    <a:pt x="194" y="108"/>
                  </a:lnTo>
                  <a:lnTo>
                    <a:pt x="178" y="109"/>
                  </a:lnTo>
                  <a:lnTo>
                    <a:pt x="166" y="94"/>
                  </a:lnTo>
                  <a:lnTo>
                    <a:pt x="148" y="151"/>
                  </a:lnTo>
                  <a:lnTo>
                    <a:pt x="127" y="152"/>
                  </a:lnTo>
                  <a:lnTo>
                    <a:pt x="118" y="129"/>
                  </a:lnTo>
                  <a:lnTo>
                    <a:pt x="74" y="119"/>
                  </a:lnTo>
                  <a:lnTo>
                    <a:pt x="54" y="102"/>
                  </a:lnTo>
                  <a:lnTo>
                    <a:pt x="18" y="108"/>
                  </a:lnTo>
                  <a:lnTo>
                    <a:pt x="0" y="84"/>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10" name="Freeform 11">
              <a:extLst>
                <a:ext uri="{FF2B5EF4-FFF2-40B4-BE49-F238E27FC236}">
                  <a16:creationId xmlns:a16="http://schemas.microsoft.com/office/drawing/2014/main" id="{6037D7CA-CD36-475A-A12E-AA14FBAEEA4F}"/>
                </a:ext>
              </a:extLst>
            </p:cNvPr>
            <p:cNvSpPr>
              <a:spLocks/>
            </p:cNvSpPr>
            <p:nvPr/>
          </p:nvSpPr>
          <p:spPr bwMode="auto">
            <a:xfrm>
              <a:off x="5627688" y="2536825"/>
              <a:ext cx="444500" cy="649288"/>
            </a:xfrm>
            <a:custGeom>
              <a:avLst/>
              <a:gdLst>
                <a:gd name="T0" fmla="*/ 81 w 234"/>
                <a:gd name="T1" fmla="*/ 14 h 341"/>
                <a:gd name="T2" fmla="*/ 91 w 234"/>
                <a:gd name="T3" fmla="*/ 35 h 341"/>
                <a:gd name="T4" fmla="*/ 69 w 234"/>
                <a:gd name="T5" fmla="*/ 48 h 341"/>
                <a:gd name="T6" fmla="*/ 68 w 234"/>
                <a:gd name="T7" fmla="*/ 102 h 341"/>
                <a:gd name="T8" fmla="*/ 56 w 234"/>
                <a:gd name="T9" fmla="*/ 67 h 341"/>
                <a:gd name="T10" fmla="*/ 11 w 234"/>
                <a:gd name="T11" fmla="*/ 101 h 341"/>
                <a:gd name="T12" fmla="*/ 0 w 234"/>
                <a:gd name="T13" fmla="*/ 199 h 341"/>
                <a:gd name="T14" fmla="*/ 29 w 234"/>
                <a:gd name="T15" fmla="*/ 247 h 341"/>
                <a:gd name="T16" fmla="*/ 32 w 234"/>
                <a:gd name="T17" fmla="*/ 272 h 341"/>
                <a:gd name="T18" fmla="*/ 34 w 234"/>
                <a:gd name="T19" fmla="*/ 292 h 341"/>
                <a:gd name="T20" fmla="*/ 32 w 234"/>
                <a:gd name="T21" fmla="*/ 309 h 341"/>
                <a:gd name="T22" fmla="*/ 27 w 234"/>
                <a:gd name="T23" fmla="*/ 341 h 341"/>
                <a:gd name="T24" fmla="*/ 152 w 234"/>
                <a:gd name="T25" fmla="*/ 335 h 341"/>
                <a:gd name="T26" fmla="*/ 318 w 234"/>
                <a:gd name="T27" fmla="*/ 323 h 341"/>
                <a:gd name="T28" fmla="*/ 289 w 234"/>
                <a:gd name="T29" fmla="*/ 316 h 341"/>
                <a:gd name="T30" fmla="*/ 271 w 234"/>
                <a:gd name="T31" fmla="*/ 299 h 341"/>
                <a:gd name="T32" fmla="*/ 297 w 234"/>
                <a:gd name="T33" fmla="*/ 283 h 341"/>
                <a:gd name="T34" fmla="*/ 297 w 234"/>
                <a:gd name="T35" fmla="*/ 265 h 341"/>
                <a:gd name="T36" fmla="*/ 284 w 234"/>
                <a:gd name="T37" fmla="*/ 248 h 341"/>
                <a:gd name="T38" fmla="*/ 297 w 234"/>
                <a:gd name="T39" fmla="*/ 236 h 341"/>
                <a:gd name="T40" fmla="*/ 320 w 234"/>
                <a:gd name="T41" fmla="*/ 238 h 341"/>
                <a:gd name="T42" fmla="*/ 315 w 234"/>
                <a:gd name="T43" fmla="*/ 191 h 341"/>
                <a:gd name="T44" fmla="*/ 308 w 234"/>
                <a:gd name="T45" fmla="*/ 162 h 341"/>
                <a:gd name="T46" fmla="*/ 296 w 234"/>
                <a:gd name="T47" fmla="*/ 145 h 341"/>
                <a:gd name="T48" fmla="*/ 282 w 234"/>
                <a:gd name="T49" fmla="*/ 134 h 341"/>
                <a:gd name="T50" fmla="*/ 262 w 234"/>
                <a:gd name="T51" fmla="*/ 131 h 341"/>
                <a:gd name="T52" fmla="*/ 242 w 234"/>
                <a:gd name="T53" fmla="*/ 131 h 341"/>
                <a:gd name="T54" fmla="*/ 219 w 234"/>
                <a:gd name="T55" fmla="*/ 153 h 341"/>
                <a:gd name="T56" fmla="*/ 207 w 234"/>
                <a:gd name="T57" fmla="*/ 160 h 341"/>
                <a:gd name="T58" fmla="*/ 199 w 234"/>
                <a:gd name="T59" fmla="*/ 162 h 341"/>
                <a:gd name="T60" fmla="*/ 187 w 234"/>
                <a:gd name="T61" fmla="*/ 159 h 341"/>
                <a:gd name="T62" fmla="*/ 185 w 234"/>
                <a:gd name="T63" fmla="*/ 148 h 341"/>
                <a:gd name="T64" fmla="*/ 187 w 234"/>
                <a:gd name="T65" fmla="*/ 141 h 341"/>
                <a:gd name="T66" fmla="*/ 198 w 234"/>
                <a:gd name="T67" fmla="*/ 134 h 341"/>
                <a:gd name="T68" fmla="*/ 205 w 234"/>
                <a:gd name="T69" fmla="*/ 131 h 341"/>
                <a:gd name="T70" fmla="*/ 215 w 234"/>
                <a:gd name="T71" fmla="*/ 129 h 341"/>
                <a:gd name="T72" fmla="*/ 215 w 234"/>
                <a:gd name="T73" fmla="*/ 117 h 341"/>
                <a:gd name="T74" fmla="*/ 239 w 234"/>
                <a:gd name="T75" fmla="*/ 102 h 341"/>
                <a:gd name="T76" fmla="*/ 215 w 234"/>
                <a:gd name="T77" fmla="*/ 58 h 341"/>
                <a:gd name="T78" fmla="*/ 215 w 234"/>
                <a:gd name="T79" fmla="*/ 37 h 341"/>
                <a:gd name="T80" fmla="*/ 174 w 234"/>
                <a:gd name="T81" fmla="*/ 28 h 341"/>
                <a:gd name="T82" fmla="*/ 116 w 234"/>
                <a:gd name="T83" fmla="*/ 0 h 341"/>
                <a:gd name="T84" fmla="*/ 81 w 234"/>
                <a:gd name="T85" fmla="*/ 14 h 34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34"/>
                <a:gd name="T130" fmla="*/ 0 h 341"/>
                <a:gd name="T131" fmla="*/ 234 w 234"/>
                <a:gd name="T132" fmla="*/ 341 h 34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34" h="341">
                  <a:moveTo>
                    <a:pt x="59" y="14"/>
                  </a:moveTo>
                  <a:lnTo>
                    <a:pt x="67" y="35"/>
                  </a:lnTo>
                  <a:lnTo>
                    <a:pt x="51" y="48"/>
                  </a:lnTo>
                  <a:lnTo>
                    <a:pt x="50" y="102"/>
                  </a:lnTo>
                  <a:lnTo>
                    <a:pt x="41" y="67"/>
                  </a:lnTo>
                  <a:lnTo>
                    <a:pt x="7" y="101"/>
                  </a:lnTo>
                  <a:lnTo>
                    <a:pt x="0" y="199"/>
                  </a:lnTo>
                  <a:lnTo>
                    <a:pt x="21" y="247"/>
                  </a:lnTo>
                  <a:lnTo>
                    <a:pt x="24" y="272"/>
                  </a:lnTo>
                  <a:lnTo>
                    <a:pt x="25" y="292"/>
                  </a:lnTo>
                  <a:lnTo>
                    <a:pt x="24" y="309"/>
                  </a:lnTo>
                  <a:lnTo>
                    <a:pt x="19" y="341"/>
                  </a:lnTo>
                  <a:lnTo>
                    <a:pt x="111" y="335"/>
                  </a:lnTo>
                  <a:lnTo>
                    <a:pt x="233" y="323"/>
                  </a:lnTo>
                  <a:lnTo>
                    <a:pt x="211" y="316"/>
                  </a:lnTo>
                  <a:lnTo>
                    <a:pt x="199" y="299"/>
                  </a:lnTo>
                  <a:lnTo>
                    <a:pt x="217" y="283"/>
                  </a:lnTo>
                  <a:lnTo>
                    <a:pt x="217" y="265"/>
                  </a:lnTo>
                  <a:lnTo>
                    <a:pt x="208" y="248"/>
                  </a:lnTo>
                  <a:lnTo>
                    <a:pt x="217" y="236"/>
                  </a:lnTo>
                  <a:lnTo>
                    <a:pt x="234" y="238"/>
                  </a:lnTo>
                  <a:lnTo>
                    <a:pt x="230" y="191"/>
                  </a:lnTo>
                  <a:lnTo>
                    <a:pt x="226" y="162"/>
                  </a:lnTo>
                  <a:lnTo>
                    <a:pt x="216" y="145"/>
                  </a:lnTo>
                  <a:lnTo>
                    <a:pt x="206" y="134"/>
                  </a:lnTo>
                  <a:lnTo>
                    <a:pt x="191" y="131"/>
                  </a:lnTo>
                  <a:lnTo>
                    <a:pt x="177" y="131"/>
                  </a:lnTo>
                  <a:lnTo>
                    <a:pt x="161" y="153"/>
                  </a:lnTo>
                  <a:lnTo>
                    <a:pt x="152" y="160"/>
                  </a:lnTo>
                  <a:lnTo>
                    <a:pt x="145" y="162"/>
                  </a:lnTo>
                  <a:lnTo>
                    <a:pt x="137" y="159"/>
                  </a:lnTo>
                  <a:lnTo>
                    <a:pt x="135" y="148"/>
                  </a:lnTo>
                  <a:lnTo>
                    <a:pt x="137" y="141"/>
                  </a:lnTo>
                  <a:lnTo>
                    <a:pt x="144" y="134"/>
                  </a:lnTo>
                  <a:lnTo>
                    <a:pt x="151" y="131"/>
                  </a:lnTo>
                  <a:lnTo>
                    <a:pt x="157" y="129"/>
                  </a:lnTo>
                  <a:lnTo>
                    <a:pt x="157" y="117"/>
                  </a:lnTo>
                  <a:lnTo>
                    <a:pt x="175" y="102"/>
                  </a:lnTo>
                  <a:lnTo>
                    <a:pt x="157" y="58"/>
                  </a:lnTo>
                  <a:lnTo>
                    <a:pt x="157" y="37"/>
                  </a:lnTo>
                  <a:lnTo>
                    <a:pt x="128" y="28"/>
                  </a:lnTo>
                  <a:lnTo>
                    <a:pt x="85" y="0"/>
                  </a:lnTo>
                  <a:lnTo>
                    <a:pt x="59" y="14"/>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11" name="Freeform 12">
              <a:extLst>
                <a:ext uri="{FF2B5EF4-FFF2-40B4-BE49-F238E27FC236}">
                  <a16:creationId xmlns:a16="http://schemas.microsoft.com/office/drawing/2014/main" id="{9345DE37-7DEB-459F-B0B4-D04D8AB1A9A7}"/>
                </a:ext>
              </a:extLst>
            </p:cNvPr>
            <p:cNvSpPr>
              <a:spLocks/>
            </p:cNvSpPr>
            <p:nvPr/>
          </p:nvSpPr>
          <p:spPr bwMode="auto">
            <a:xfrm>
              <a:off x="6194425" y="4090988"/>
              <a:ext cx="571500" cy="485775"/>
            </a:xfrm>
            <a:custGeom>
              <a:avLst/>
              <a:gdLst>
                <a:gd name="T0" fmla="*/ 15 w 300"/>
                <a:gd name="T1" fmla="*/ 46 h 255"/>
                <a:gd name="T2" fmla="*/ 48 w 300"/>
                <a:gd name="T3" fmla="*/ 21 h 255"/>
                <a:gd name="T4" fmla="*/ 171 w 300"/>
                <a:gd name="T5" fmla="*/ 0 h 255"/>
                <a:gd name="T6" fmla="*/ 210 w 300"/>
                <a:gd name="T7" fmla="*/ 14 h 255"/>
                <a:gd name="T8" fmla="*/ 288 w 300"/>
                <a:gd name="T9" fmla="*/ 4 h 255"/>
                <a:gd name="T10" fmla="*/ 353 w 300"/>
                <a:gd name="T11" fmla="*/ 40 h 255"/>
                <a:gd name="T12" fmla="*/ 413 w 300"/>
                <a:gd name="T13" fmla="*/ 68 h 255"/>
                <a:gd name="T14" fmla="*/ 380 w 300"/>
                <a:gd name="T15" fmla="*/ 145 h 255"/>
                <a:gd name="T16" fmla="*/ 331 w 300"/>
                <a:gd name="T17" fmla="*/ 183 h 255"/>
                <a:gd name="T18" fmla="*/ 276 w 300"/>
                <a:gd name="T19" fmla="*/ 195 h 255"/>
                <a:gd name="T20" fmla="*/ 286 w 300"/>
                <a:gd name="T21" fmla="*/ 226 h 255"/>
                <a:gd name="T22" fmla="*/ 253 w 300"/>
                <a:gd name="T23" fmla="*/ 255 h 255"/>
                <a:gd name="T24" fmla="*/ 192 w 300"/>
                <a:gd name="T25" fmla="*/ 183 h 255"/>
                <a:gd name="T26" fmla="*/ 28 w 300"/>
                <a:gd name="T27" fmla="*/ 68 h 255"/>
                <a:gd name="T28" fmla="*/ 0 w 300"/>
                <a:gd name="T29" fmla="*/ 68 h 255"/>
                <a:gd name="T30" fmla="*/ 15 w 300"/>
                <a:gd name="T31" fmla="*/ 46 h 2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00"/>
                <a:gd name="T49" fmla="*/ 0 h 255"/>
                <a:gd name="T50" fmla="*/ 300 w 300"/>
                <a:gd name="T51" fmla="*/ 255 h 2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00" h="255">
                  <a:moveTo>
                    <a:pt x="11" y="46"/>
                  </a:moveTo>
                  <a:lnTo>
                    <a:pt x="35" y="21"/>
                  </a:lnTo>
                  <a:lnTo>
                    <a:pt x="125" y="0"/>
                  </a:lnTo>
                  <a:lnTo>
                    <a:pt x="152" y="14"/>
                  </a:lnTo>
                  <a:lnTo>
                    <a:pt x="210" y="4"/>
                  </a:lnTo>
                  <a:lnTo>
                    <a:pt x="257" y="40"/>
                  </a:lnTo>
                  <a:lnTo>
                    <a:pt x="300" y="68"/>
                  </a:lnTo>
                  <a:lnTo>
                    <a:pt x="276" y="145"/>
                  </a:lnTo>
                  <a:lnTo>
                    <a:pt x="240" y="183"/>
                  </a:lnTo>
                  <a:lnTo>
                    <a:pt x="200" y="195"/>
                  </a:lnTo>
                  <a:lnTo>
                    <a:pt x="208" y="226"/>
                  </a:lnTo>
                  <a:lnTo>
                    <a:pt x="184" y="255"/>
                  </a:lnTo>
                  <a:lnTo>
                    <a:pt x="138" y="183"/>
                  </a:lnTo>
                  <a:lnTo>
                    <a:pt x="20" y="68"/>
                  </a:lnTo>
                  <a:lnTo>
                    <a:pt x="0" y="68"/>
                  </a:lnTo>
                  <a:lnTo>
                    <a:pt x="11" y="46"/>
                  </a:lnTo>
                  <a:close/>
                </a:path>
              </a:pathLst>
            </a:custGeom>
            <a:solidFill>
              <a:srgbClr val="00B050"/>
            </a:solidFill>
            <a:ln w="12700">
              <a:solidFill>
                <a:schemeClr val="bg1"/>
              </a:solidFill>
              <a:round/>
              <a:headEnd/>
              <a:tailEnd/>
            </a:ln>
          </p:spPr>
          <p:txBody>
            <a:bodyPr/>
            <a:lstStyle/>
            <a:p>
              <a:pPr>
                <a:defRPr/>
              </a:pPr>
              <a:endParaRPr lang="en-GB">
                <a:solidFill>
                  <a:srgbClr val="FF0000"/>
                </a:solidFill>
              </a:endParaRPr>
            </a:p>
          </p:txBody>
        </p:sp>
        <p:sp>
          <p:nvSpPr>
            <p:cNvPr id="12" name="Freeform 13">
              <a:extLst>
                <a:ext uri="{FF2B5EF4-FFF2-40B4-BE49-F238E27FC236}">
                  <a16:creationId xmlns:a16="http://schemas.microsoft.com/office/drawing/2014/main" id="{B902D2C1-F4BE-43D8-9B2A-9120B9C16F2E}"/>
                </a:ext>
              </a:extLst>
            </p:cNvPr>
            <p:cNvSpPr>
              <a:spLocks/>
            </p:cNvSpPr>
            <p:nvPr/>
          </p:nvSpPr>
          <p:spPr bwMode="auto">
            <a:xfrm>
              <a:off x="6121400" y="3375025"/>
              <a:ext cx="860425" cy="576263"/>
            </a:xfrm>
            <a:custGeom>
              <a:avLst/>
              <a:gdLst>
                <a:gd name="T0" fmla="*/ 102 w 452"/>
                <a:gd name="T1" fmla="*/ 211 h 302"/>
                <a:gd name="T2" fmla="*/ 83 w 452"/>
                <a:gd name="T3" fmla="*/ 242 h 302"/>
                <a:gd name="T4" fmla="*/ 57 w 452"/>
                <a:gd name="T5" fmla="*/ 250 h 302"/>
                <a:gd name="T6" fmla="*/ 56 w 452"/>
                <a:gd name="T7" fmla="*/ 270 h 302"/>
                <a:gd name="T8" fmla="*/ 2 w 452"/>
                <a:gd name="T9" fmla="*/ 286 h 302"/>
                <a:gd name="T10" fmla="*/ 0 w 452"/>
                <a:gd name="T11" fmla="*/ 302 h 302"/>
                <a:gd name="T12" fmla="*/ 146 w 452"/>
                <a:gd name="T13" fmla="*/ 282 h 302"/>
                <a:gd name="T14" fmla="*/ 414 w 452"/>
                <a:gd name="T15" fmla="*/ 238 h 302"/>
                <a:gd name="T16" fmla="*/ 619 w 452"/>
                <a:gd name="T17" fmla="*/ 200 h 302"/>
                <a:gd name="T18" fmla="*/ 619 w 452"/>
                <a:gd name="T19" fmla="*/ 169 h 302"/>
                <a:gd name="T20" fmla="*/ 597 w 452"/>
                <a:gd name="T21" fmla="*/ 160 h 302"/>
                <a:gd name="T22" fmla="*/ 578 w 452"/>
                <a:gd name="T23" fmla="*/ 175 h 302"/>
                <a:gd name="T24" fmla="*/ 568 w 452"/>
                <a:gd name="T25" fmla="*/ 134 h 302"/>
                <a:gd name="T26" fmla="*/ 578 w 452"/>
                <a:gd name="T27" fmla="*/ 97 h 302"/>
                <a:gd name="T28" fmla="*/ 501 w 452"/>
                <a:gd name="T29" fmla="*/ 70 h 302"/>
                <a:gd name="T30" fmla="*/ 449 w 452"/>
                <a:gd name="T31" fmla="*/ 77 h 302"/>
                <a:gd name="T32" fmla="*/ 448 w 452"/>
                <a:gd name="T33" fmla="*/ 21 h 302"/>
                <a:gd name="T34" fmla="*/ 396 w 452"/>
                <a:gd name="T35" fmla="*/ 0 h 302"/>
                <a:gd name="T36" fmla="*/ 354 w 452"/>
                <a:gd name="T37" fmla="*/ 13 h 302"/>
                <a:gd name="T38" fmla="*/ 326 w 452"/>
                <a:gd name="T39" fmla="*/ 66 h 302"/>
                <a:gd name="T40" fmla="*/ 278 w 452"/>
                <a:gd name="T41" fmla="*/ 87 h 302"/>
                <a:gd name="T42" fmla="*/ 259 w 452"/>
                <a:gd name="T43" fmla="*/ 170 h 302"/>
                <a:gd name="T44" fmla="*/ 182 w 452"/>
                <a:gd name="T45" fmla="*/ 211 h 302"/>
                <a:gd name="T46" fmla="*/ 118 w 452"/>
                <a:gd name="T47" fmla="*/ 228 h 302"/>
                <a:gd name="T48" fmla="*/ 102 w 452"/>
                <a:gd name="T49" fmla="*/ 211 h 30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52"/>
                <a:gd name="T76" fmla="*/ 0 h 302"/>
                <a:gd name="T77" fmla="*/ 452 w 452"/>
                <a:gd name="T78" fmla="*/ 302 h 30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52" h="302">
                  <a:moveTo>
                    <a:pt x="74" y="211"/>
                  </a:moveTo>
                  <a:lnTo>
                    <a:pt x="61" y="242"/>
                  </a:lnTo>
                  <a:lnTo>
                    <a:pt x="42" y="250"/>
                  </a:lnTo>
                  <a:lnTo>
                    <a:pt x="41" y="270"/>
                  </a:lnTo>
                  <a:lnTo>
                    <a:pt x="2" y="286"/>
                  </a:lnTo>
                  <a:lnTo>
                    <a:pt x="0" y="302"/>
                  </a:lnTo>
                  <a:lnTo>
                    <a:pt x="107" y="282"/>
                  </a:lnTo>
                  <a:lnTo>
                    <a:pt x="302" y="238"/>
                  </a:lnTo>
                  <a:lnTo>
                    <a:pt x="452" y="200"/>
                  </a:lnTo>
                  <a:lnTo>
                    <a:pt x="452" y="169"/>
                  </a:lnTo>
                  <a:lnTo>
                    <a:pt x="435" y="160"/>
                  </a:lnTo>
                  <a:lnTo>
                    <a:pt x="422" y="175"/>
                  </a:lnTo>
                  <a:lnTo>
                    <a:pt x="414" y="134"/>
                  </a:lnTo>
                  <a:lnTo>
                    <a:pt x="422" y="97"/>
                  </a:lnTo>
                  <a:lnTo>
                    <a:pt x="366" y="70"/>
                  </a:lnTo>
                  <a:lnTo>
                    <a:pt x="328" y="77"/>
                  </a:lnTo>
                  <a:lnTo>
                    <a:pt x="327" y="21"/>
                  </a:lnTo>
                  <a:lnTo>
                    <a:pt x="288" y="0"/>
                  </a:lnTo>
                  <a:lnTo>
                    <a:pt x="258" y="13"/>
                  </a:lnTo>
                  <a:lnTo>
                    <a:pt x="238" y="66"/>
                  </a:lnTo>
                  <a:lnTo>
                    <a:pt x="203" y="87"/>
                  </a:lnTo>
                  <a:lnTo>
                    <a:pt x="189" y="170"/>
                  </a:lnTo>
                  <a:lnTo>
                    <a:pt x="132" y="211"/>
                  </a:lnTo>
                  <a:lnTo>
                    <a:pt x="86" y="228"/>
                  </a:lnTo>
                  <a:lnTo>
                    <a:pt x="74" y="211"/>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13" name="Freeform 14">
              <a:extLst>
                <a:ext uri="{FF2B5EF4-FFF2-40B4-BE49-F238E27FC236}">
                  <a16:creationId xmlns:a16="http://schemas.microsoft.com/office/drawing/2014/main" id="{6778CE8E-0D50-44E2-8059-CB0573A18430}"/>
                </a:ext>
              </a:extLst>
            </p:cNvPr>
            <p:cNvSpPr>
              <a:spLocks/>
            </p:cNvSpPr>
            <p:nvPr/>
          </p:nvSpPr>
          <p:spPr bwMode="auto">
            <a:xfrm>
              <a:off x="6289675" y="2908300"/>
              <a:ext cx="660400" cy="466725"/>
            </a:xfrm>
            <a:custGeom>
              <a:avLst/>
              <a:gdLst>
                <a:gd name="T0" fmla="*/ 44 w 347"/>
                <a:gd name="T1" fmla="*/ 36 h 245"/>
                <a:gd name="T2" fmla="*/ 0 w 347"/>
                <a:gd name="T3" fmla="*/ 68 h 245"/>
                <a:gd name="T4" fmla="*/ 26 w 347"/>
                <a:gd name="T5" fmla="*/ 187 h 245"/>
                <a:gd name="T6" fmla="*/ 44 w 347"/>
                <a:gd name="T7" fmla="*/ 245 h 245"/>
                <a:gd name="T8" fmla="*/ 126 w 347"/>
                <a:gd name="T9" fmla="*/ 240 h 245"/>
                <a:gd name="T10" fmla="*/ 427 w 347"/>
                <a:gd name="T11" fmla="*/ 195 h 245"/>
                <a:gd name="T12" fmla="*/ 448 w 347"/>
                <a:gd name="T13" fmla="*/ 188 h 245"/>
                <a:gd name="T14" fmla="*/ 478 w 347"/>
                <a:gd name="T15" fmla="*/ 133 h 245"/>
                <a:gd name="T16" fmla="*/ 432 w 347"/>
                <a:gd name="T17" fmla="*/ 103 h 245"/>
                <a:gd name="T18" fmla="*/ 458 w 347"/>
                <a:gd name="T19" fmla="*/ 32 h 245"/>
                <a:gd name="T20" fmla="*/ 424 w 347"/>
                <a:gd name="T21" fmla="*/ 25 h 245"/>
                <a:gd name="T22" fmla="*/ 424 w 347"/>
                <a:gd name="T23" fmla="*/ 7 h 245"/>
                <a:gd name="T24" fmla="*/ 409 w 347"/>
                <a:gd name="T25" fmla="*/ 0 h 245"/>
                <a:gd name="T26" fmla="*/ 59 w 347"/>
                <a:gd name="T27" fmla="*/ 51 h 245"/>
                <a:gd name="T28" fmla="*/ 44 w 347"/>
                <a:gd name="T29" fmla="*/ 36 h 2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47"/>
                <a:gd name="T46" fmla="*/ 0 h 245"/>
                <a:gd name="T47" fmla="*/ 347 w 347"/>
                <a:gd name="T48" fmla="*/ 245 h 2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47" h="245">
                  <a:moveTo>
                    <a:pt x="32" y="36"/>
                  </a:moveTo>
                  <a:lnTo>
                    <a:pt x="0" y="68"/>
                  </a:lnTo>
                  <a:lnTo>
                    <a:pt x="18" y="187"/>
                  </a:lnTo>
                  <a:lnTo>
                    <a:pt x="32" y="245"/>
                  </a:lnTo>
                  <a:lnTo>
                    <a:pt x="91" y="240"/>
                  </a:lnTo>
                  <a:lnTo>
                    <a:pt x="310" y="195"/>
                  </a:lnTo>
                  <a:lnTo>
                    <a:pt x="325" y="188"/>
                  </a:lnTo>
                  <a:lnTo>
                    <a:pt x="347" y="133"/>
                  </a:lnTo>
                  <a:lnTo>
                    <a:pt x="314" y="103"/>
                  </a:lnTo>
                  <a:lnTo>
                    <a:pt x="332" y="32"/>
                  </a:lnTo>
                  <a:lnTo>
                    <a:pt x="307" y="25"/>
                  </a:lnTo>
                  <a:lnTo>
                    <a:pt x="307" y="7"/>
                  </a:lnTo>
                  <a:lnTo>
                    <a:pt x="296" y="0"/>
                  </a:lnTo>
                  <a:lnTo>
                    <a:pt x="42" y="51"/>
                  </a:lnTo>
                  <a:lnTo>
                    <a:pt x="32" y="36"/>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14" name="Freeform 15">
              <a:extLst>
                <a:ext uri="{FF2B5EF4-FFF2-40B4-BE49-F238E27FC236}">
                  <a16:creationId xmlns:a16="http://schemas.microsoft.com/office/drawing/2014/main" id="{5BA2DB3D-B3ED-4F90-8B7D-A0A61E34FC0B}"/>
                </a:ext>
              </a:extLst>
            </p:cNvPr>
            <p:cNvSpPr>
              <a:spLocks/>
            </p:cNvSpPr>
            <p:nvPr/>
          </p:nvSpPr>
          <p:spPr bwMode="auto">
            <a:xfrm>
              <a:off x="6453188" y="3279775"/>
              <a:ext cx="561975" cy="249238"/>
            </a:xfrm>
            <a:custGeom>
              <a:avLst/>
              <a:gdLst>
                <a:gd name="T0" fmla="*/ 0 w 295"/>
                <a:gd name="T1" fmla="*/ 45 h 131"/>
                <a:gd name="T2" fmla="*/ 305 w 295"/>
                <a:gd name="T3" fmla="*/ 0 h 131"/>
                <a:gd name="T4" fmla="*/ 356 w 295"/>
                <a:gd name="T5" fmla="*/ 90 h 131"/>
                <a:gd name="T6" fmla="*/ 407 w 295"/>
                <a:gd name="T7" fmla="*/ 80 h 131"/>
                <a:gd name="T8" fmla="*/ 408 w 295"/>
                <a:gd name="T9" fmla="*/ 125 h 131"/>
                <a:gd name="T10" fmla="*/ 364 w 295"/>
                <a:gd name="T11" fmla="*/ 131 h 131"/>
                <a:gd name="T12" fmla="*/ 329 w 295"/>
                <a:gd name="T13" fmla="*/ 102 h 131"/>
                <a:gd name="T14" fmla="*/ 305 w 295"/>
                <a:gd name="T15" fmla="*/ 66 h 131"/>
                <a:gd name="T16" fmla="*/ 299 w 295"/>
                <a:gd name="T17" fmla="*/ 17 h 131"/>
                <a:gd name="T18" fmla="*/ 281 w 295"/>
                <a:gd name="T19" fmla="*/ 42 h 131"/>
                <a:gd name="T20" fmla="*/ 304 w 295"/>
                <a:gd name="T21" fmla="*/ 116 h 131"/>
                <a:gd name="T22" fmla="*/ 213 w 295"/>
                <a:gd name="T23" fmla="*/ 126 h 131"/>
                <a:gd name="T24" fmla="*/ 210 w 295"/>
                <a:gd name="T25" fmla="*/ 72 h 131"/>
                <a:gd name="T26" fmla="*/ 154 w 295"/>
                <a:gd name="T27" fmla="*/ 49 h 131"/>
                <a:gd name="T28" fmla="*/ 110 w 295"/>
                <a:gd name="T29" fmla="*/ 43 h 131"/>
                <a:gd name="T30" fmla="*/ 12 w 295"/>
                <a:gd name="T31" fmla="*/ 80 h 131"/>
                <a:gd name="T32" fmla="*/ 0 w 295"/>
                <a:gd name="T33" fmla="*/ 45 h 13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95"/>
                <a:gd name="T52" fmla="*/ 0 h 131"/>
                <a:gd name="T53" fmla="*/ 295 w 295"/>
                <a:gd name="T54" fmla="*/ 131 h 13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95" h="131">
                  <a:moveTo>
                    <a:pt x="0" y="45"/>
                  </a:moveTo>
                  <a:lnTo>
                    <a:pt x="220" y="0"/>
                  </a:lnTo>
                  <a:lnTo>
                    <a:pt x="256" y="90"/>
                  </a:lnTo>
                  <a:lnTo>
                    <a:pt x="294" y="80"/>
                  </a:lnTo>
                  <a:lnTo>
                    <a:pt x="295" y="125"/>
                  </a:lnTo>
                  <a:lnTo>
                    <a:pt x="264" y="131"/>
                  </a:lnTo>
                  <a:lnTo>
                    <a:pt x="237" y="102"/>
                  </a:lnTo>
                  <a:lnTo>
                    <a:pt x="220" y="66"/>
                  </a:lnTo>
                  <a:lnTo>
                    <a:pt x="216" y="17"/>
                  </a:lnTo>
                  <a:lnTo>
                    <a:pt x="203" y="42"/>
                  </a:lnTo>
                  <a:lnTo>
                    <a:pt x="219" y="116"/>
                  </a:lnTo>
                  <a:lnTo>
                    <a:pt x="154" y="126"/>
                  </a:lnTo>
                  <a:lnTo>
                    <a:pt x="152" y="72"/>
                  </a:lnTo>
                  <a:lnTo>
                    <a:pt x="112" y="49"/>
                  </a:lnTo>
                  <a:lnTo>
                    <a:pt x="79" y="43"/>
                  </a:lnTo>
                  <a:lnTo>
                    <a:pt x="8" y="80"/>
                  </a:lnTo>
                  <a:lnTo>
                    <a:pt x="0" y="45"/>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15" name="Freeform 16">
              <a:extLst>
                <a:ext uri="{FF2B5EF4-FFF2-40B4-BE49-F238E27FC236}">
                  <a16:creationId xmlns:a16="http://schemas.microsoft.com/office/drawing/2014/main" id="{5E3649FD-B7F3-42CC-B259-08EA7A82EF8A}"/>
                </a:ext>
              </a:extLst>
            </p:cNvPr>
            <p:cNvSpPr>
              <a:spLocks/>
            </p:cNvSpPr>
            <p:nvPr/>
          </p:nvSpPr>
          <p:spPr bwMode="auto">
            <a:xfrm>
              <a:off x="2689225" y="2052638"/>
              <a:ext cx="1155700" cy="776287"/>
            </a:xfrm>
            <a:custGeom>
              <a:avLst/>
              <a:gdLst>
                <a:gd name="T0" fmla="*/ 14 w 607"/>
                <a:gd name="T1" fmla="*/ 0 h 407"/>
                <a:gd name="T2" fmla="*/ 179 w 607"/>
                <a:gd name="T3" fmla="*/ 17 h 407"/>
                <a:gd name="T4" fmla="*/ 278 w 607"/>
                <a:gd name="T5" fmla="*/ 27 h 407"/>
                <a:gd name="T6" fmla="*/ 407 w 607"/>
                <a:gd name="T7" fmla="*/ 38 h 407"/>
                <a:gd name="T8" fmla="*/ 527 w 607"/>
                <a:gd name="T9" fmla="*/ 47 h 407"/>
                <a:gd name="T10" fmla="*/ 736 w 607"/>
                <a:gd name="T11" fmla="*/ 59 h 407"/>
                <a:gd name="T12" fmla="*/ 833 w 607"/>
                <a:gd name="T13" fmla="*/ 65 h 407"/>
                <a:gd name="T14" fmla="*/ 830 w 607"/>
                <a:gd name="T15" fmla="*/ 396 h 407"/>
                <a:gd name="T16" fmla="*/ 319 w 607"/>
                <a:gd name="T17" fmla="*/ 362 h 407"/>
                <a:gd name="T18" fmla="*/ 311 w 607"/>
                <a:gd name="T19" fmla="*/ 407 h 407"/>
                <a:gd name="T20" fmla="*/ 289 w 607"/>
                <a:gd name="T21" fmla="*/ 386 h 407"/>
                <a:gd name="T22" fmla="*/ 245 w 607"/>
                <a:gd name="T23" fmla="*/ 389 h 407"/>
                <a:gd name="T24" fmla="*/ 175 w 607"/>
                <a:gd name="T25" fmla="*/ 398 h 407"/>
                <a:gd name="T26" fmla="*/ 166 w 607"/>
                <a:gd name="T27" fmla="*/ 340 h 407"/>
                <a:gd name="T28" fmla="*/ 86 w 607"/>
                <a:gd name="T29" fmla="*/ 294 h 407"/>
                <a:gd name="T30" fmla="*/ 96 w 607"/>
                <a:gd name="T31" fmla="*/ 251 h 407"/>
                <a:gd name="T32" fmla="*/ 104 w 607"/>
                <a:gd name="T33" fmla="*/ 215 h 407"/>
                <a:gd name="T34" fmla="*/ 0 w 607"/>
                <a:gd name="T35" fmla="*/ 101 h 407"/>
                <a:gd name="T36" fmla="*/ 14 w 607"/>
                <a:gd name="T37" fmla="*/ 0 h 40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7"/>
                <a:gd name="T58" fmla="*/ 0 h 407"/>
                <a:gd name="T59" fmla="*/ 607 w 607"/>
                <a:gd name="T60" fmla="*/ 407 h 40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7" h="407">
                  <a:moveTo>
                    <a:pt x="10" y="0"/>
                  </a:moveTo>
                  <a:lnTo>
                    <a:pt x="129" y="17"/>
                  </a:lnTo>
                  <a:lnTo>
                    <a:pt x="202" y="27"/>
                  </a:lnTo>
                  <a:lnTo>
                    <a:pt x="297" y="38"/>
                  </a:lnTo>
                  <a:lnTo>
                    <a:pt x="384" y="47"/>
                  </a:lnTo>
                  <a:lnTo>
                    <a:pt x="536" y="59"/>
                  </a:lnTo>
                  <a:lnTo>
                    <a:pt x="607" y="65"/>
                  </a:lnTo>
                  <a:lnTo>
                    <a:pt x="605" y="396"/>
                  </a:lnTo>
                  <a:lnTo>
                    <a:pt x="233" y="362"/>
                  </a:lnTo>
                  <a:lnTo>
                    <a:pt x="226" y="407"/>
                  </a:lnTo>
                  <a:lnTo>
                    <a:pt x="211" y="386"/>
                  </a:lnTo>
                  <a:lnTo>
                    <a:pt x="178" y="389"/>
                  </a:lnTo>
                  <a:lnTo>
                    <a:pt x="128" y="398"/>
                  </a:lnTo>
                  <a:lnTo>
                    <a:pt x="120" y="340"/>
                  </a:lnTo>
                  <a:lnTo>
                    <a:pt x="62" y="294"/>
                  </a:lnTo>
                  <a:lnTo>
                    <a:pt x="70" y="251"/>
                  </a:lnTo>
                  <a:lnTo>
                    <a:pt x="76" y="215"/>
                  </a:lnTo>
                  <a:lnTo>
                    <a:pt x="0" y="101"/>
                  </a:lnTo>
                  <a:lnTo>
                    <a:pt x="10"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16" name="Freeform 17">
              <a:extLst>
                <a:ext uri="{FF2B5EF4-FFF2-40B4-BE49-F238E27FC236}">
                  <a16:creationId xmlns:a16="http://schemas.microsoft.com/office/drawing/2014/main" id="{4E05A3BD-7280-4A27-B7A6-25DC359611B5}"/>
                </a:ext>
              </a:extLst>
            </p:cNvPr>
            <p:cNvSpPr>
              <a:spLocks/>
            </p:cNvSpPr>
            <p:nvPr/>
          </p:nvSpPr>
          <p:spPr bwMode="auto">
            <a:xfrm>
              <a:off x="4710113" y="3459163"/>
              <a:ext cx="768350" cy="679450"/>
            </a:xfrm>
            <a:custGeom>
              <a:avLst/>
              <a:gdLst>
                <a:gd name="T0" fmla="*/ 0 w 403"/>
                <a:gd name="T1" fmla="*/ 12 h 357"/>
                <a:gd name="T2" fmla="*/ 241 w 403"/>
                <a:gd name="T3" fmla="*/ 0 h 357"/>
                <a:gd name="T4" fmla="*/ 294 w 403"/>
                <a:gd name="T5" fmla="*/ 0 h 357"/>
                <a:gd name="T6" fmla="*/ 331 w 403"/>
                <a:gd name="T7" fmla="*/ 11 h 357"/>
                <a:gd name="T8" fmla="*/ 312 w 403"/>
                <a:gd name="T9" fmla="*/ 42 h 357"/>
                <a:gd name="T10" fmla="*/ 382 w 403"/>
                <a:gd name="T11" fmla="*/ 92 h 357"/>
                <a:gd name="T12" fmla="*/ 404 w 403"/>
                <a:gd name="T13" fmla="*/ 135 h 357"/>
                <a:gd name="T14" fmla="*/ 446 w 403"/>
                <a:gd name="T15" fmla="*/ 124 h 357"/>
                <a:gd name="T16" fmla="*/ 445 w 403"/>
                <a:gd name="T17" fmla="*/ 184 h 357"/>
                <a:gd name="T18" fmla="*/ 486 w 403"/>
                <a:gd name="T19" fmla="*/ 202 h 357"/>
                <a:gd name="T20" fmla="*/ 505 w 403"/>
                <a:gd name="T21" fmla="*/ 254 h 357"/>
                <a:gd name="T22" fmla="*/ 537 w 403"/>
                <a:gd name="T23" fmla="*/ 259 h 357"/>
                <a:gd name="T24" fmla="*/ 553 w 403"/>
                <a:gd name="T25" fmla="*/ 281 h 357"/>
                <a:gd name="T26" fmla="*/ 515 w 403"/>
                <a:gd name="T27" fmla="*/ 312 h 357"/>
                <a:gd name="T28" fmla="*/ 503 w 403"/>
                <a:gd name="T29" fmla="*/ 347 h 357"/>
                <a:gd name="T30" fmla="*/ 449 w 403"/>
                <a:gd name="T31" fmla="*/ 357 h 357"/>
                <a:gd name="T32" fmla="*/ 463 w 403"/>
                <a:gd name="T33" fmla="*/ 318 h 357"/>
                <a:gd name="T34" fmla="*/ 256 w 403"/>
                <a:gd name="T35" fmla="*/ 332 h 357"/>
                <a:gd name="T36" fmla="*/ 108 w 403"/>
                <a:gd name="T37" fmla="*/ 346 h 357"/>
                <a:gd name="T38" fmla="*/ 98 w 403"/>
                <a:gd name="T39" fmla="*/ 309 h 357"/>
                <a:gd name="T40" fmla="*/ 89 w 403"/>
                <a:gd name="T41" fmla="*/ 194 h 357"/>
                <a:gd name="T42" fmla="*/ 88 w 403"/>
                <a:gd name="T43" fmla="*/ 132 h 357"/>
                <a:gd name="T44" fmla="*/ 38 w 403"/>
                <a:gd name="T45" fmla="*/ 104 h 357"/>
                <a:gd name="T46" fmla="*/ 56 w 403"/>
                <a:gd name="T47" fmla="*/ 78 h 357"/>
                <a:gd name="T48" fmla="*/ 31 w 403"/>
                <a:gd name="T49" fmla="*/ 64 h 357"/>
                <a:gd name="T50" fmla="*/ 0 w 403"/>
                <a:gd name="T51" fmla="*/ 12 h 35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403"/>
                <a:gd name="T79" fmla="*/ 0 h 357"/>
                <a:gd name="T80" fmla="*/ 403 w 403"/>
                <a:gd name="T81" fmla="*/ 357 h 35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403" h="357">
                  <a:moveTo>
                    <a:pt x="0" y="12"/>
                  </a:moveTo>
                  <a:lnTo>
                    <a:pt x="176" y="0"/>
                  </a:lnTo>
                  <a:lnTo>
                    <a:pt x="214" y="0"/>
                  </a:lnTo>
                  <a:lnTo>
                    <a:pt x="242" y="11"/>
                  </a:lnTo>
                  <a:lnTo>
                    <a:pt x="227" y="42"/>
                  </a:lnTo>
                  <a:lnTo>
                    <a:pt x="278" y="92"/>
                  </a:lnTo>
                  <a:lnTo>
                    <a:pt x="295" y="135"/>
                  </a:lnTo>
                  <a:lnTo>
                    <a:pt x="325" y="124"/>
                  </a:lnTo>
                  <a:lnTo>
                    <a:pt x="324" y="184"/>
                  </a:lnTo>
                  <a:lnTo>
                    <a:pt x="355" y="202"/>
                  </a:lnTo>
                  <a:lnTo>
                    <a:pt x="369" y="254"/>
                  </a:lnTo>
                  <a:lnTo>
                    <a:pt x="391" y="259"/>
                  </a:lnTo>
                  <a:lnTo>
                    <a:pt x="403" y="281"/>
                  </a:lnTo>
                  <a:lnTo>
                    <a:pt x="376" y="312"/>
                  </a:lnTo>
                  <a:lnTo>
                    <a:pt x="367" y="347"/>
                  </a:lnTo>
                  <a:lnTo>
                    <a:pt x="328" y="357"/>
                  </a:lnTo>
                  <a:lnTo>
                    <a:pt x="338" y="318"/>
                  </a:lnTo>
                  <a:lnTo>
                    <a:pt x="187" y="332"/>
                  </a:lnTo>
                  <a:lnTo>
                    <a:pt x="79" y="346"/>
                  </a:lnTo>
                  <a:lnTo>
                    <a:pt x="72" y="309"/>
                  </a:lnTo>
                  <a:lnTo>
                    <a:pt x="65" y="194"/>
                  </a:lnTo>
                  <a:lnTo>
                    <a:pt x="64" y="132"/>
                  </a:lnTo>
                  <a:lnTo>
                    <a:pt x="28" y="104"/>
                  </a:lnTo>
                  <a:lnTo>
                    <a:pt x="41" y="78"/>
                  </a:lnTo>
                  <a:lnTo>
                    <a:pt x="23" y="64"/>
                  </a:lnTo>
                  <a:lnTo>
                    <a:pt x="0" y="12"/>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17" name="Freeform 18">
              <a:extLst>
                <a:ext uri="{FF2B5EF4-FFF2-40B4-BE49-F238E27FC236}">
                  <a16:creationId xmlns:a16="http://schemas.microsoft.com/office/drawing/2014/main" id="{70B60824-1434-43D9-807D-BECB39F333F8}"/>
                </a:ext>
              </a:extLst>
            </p:cNvPr>
            <p:cNvSpPr>
              <a:spLocks/>
            </p:cNvSpPr>
            <p:nvPr/>
          </p:nvSpPr>
          <p:spPr bwMode="auto">
            <a:xfrm>
              <a:off x="5551488" y="3173413"/>
              <a:ext cx="374650" cy="663575"/>
            </a:xfrm>
            <a:custGeom>
              <a:avLst/>
              <a:gdLst>
                <a:gd name="T0" fmla="*/ 0 w 197"/>
                <a:gd name="T1" fmla="*/ 25 h 348"/>
                <a:gd name="T2" fmla="*/ 31 w 197"/>
                <a:gd name="T3" fmla="*/ 38 h 348"/>
                <a:gd name="T4" fmla="*/ 62 w 197"/>
                <a:gd name="T5" fmla="*/ 35 h 348"/>
                <a:gd name="T6" fmla="*/ 72 w 197"/>
                <a:gd name="T7" fmla="*/ 28 h 348"/>
                <a:gd name="T8" fmla="*/ 80 w 197"/>
                <a:gd name="T9" fmla="*/ 7 h 348"/>
                <a:gd name="T10" fmla="*/ 208 w 197"/>
                <a:gd name="T11" fmla="*/ 0 h 348"/>
                <a:gd name="T12" fmla="*/ 269 w 197"/>
                <a:gd name="T13" fmla="*/ 246 h 348"/>
                <a:gd name="T14" fmla="*/ 265 w 197"/>
                <a:gd name="T15" fmla="*/ 243 h 348"/>
                <a:gd name="T16" fmla="*/ 219 w 197"/>
                <a:gd name="T17" fmla="*/ 257 h 348"/>
                <a:gd name="T18" fmla="*/ 188 w 197"/>
                <a:gd name="T19" fmla="*/ 323 h 348"/>
                <a:gd name="T20" fmla="*/ 142 w 197"/>
                <a:gd name="T21" fmla="*/ 314 h 348"/>
                <a:gd name="T22" fmla="*/ 89 w 197"/>
                <a:gd name="T23" fmla="*/ 339 h 348"/>
                <a:gd name="T24" fmla="*/ 17 w 197"/>
                <a:gd name="T25" fmla="*/ 348 h 348"/>
                <a:gd name="T26" fmla="*/ 49 w 197"/>
                <a:gd name="T27" fmla="*/ 283 h 348"/>
                <a:gd name="T28" fmla="*/ 35 w 197"/>
                <a:gd name="T29" fmla="*/ 247 h 348"/>
                <a:gd name="T30" fmla="*/ 0 w 197"/>
                <a:gd name="T31" fmla="*/ 25 h 34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97"/>
                <a:gd name="T49" fmla="*/ 0 h 348"/>
                <a:gd name="T50" fmla="*/ 197 w 197"/>
                <a:gd name="T51" fmla="*/ 348 h 34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97" h="348">
                  <a:moveTo>
                    <a:pt x="0" y="25"/>
                  </a:moveTo>
                  <a:lnTo>
                    <a:pt x="23" y="38"/>
                  </a:lnTo>
                  <a:lnTo>
                    <a:pt x="45" y="35"/>
                  </a:lnTo>
                  <a:lnTo>
                    <a:pt x="53" y="28"/>
                  </a:lnTo>
                  <a:lnTo>
                    <a:pt x="58" y="7"/>
                  </a:lnTo>
                  <a:lnTo>
                    <a:pt x="153" y="0"/>
                  </a:lnTo>
                  <a:lnTo>
                    <a:pt x="197" y="246"/>
                  </a:lnTo>
                  <a:lnTo>
                    <a:pt x="194" y="243"/>
                  </a:lnTo>
                  <a:lnTo>
                    <a:pt x="161" y="257"/>
                  </a:lnTo>
                  <a:lnTo>
                    <a:pt x="138" y="323"/>
                  </a:lnTo>
                  <a:lnTo>
                    <a:pt x="104" y="314"/>
                  </a:lnTo>
                  <a:lnTo>
                    <a:pt x="65" y="339"/>
                  </a:lnTo>
                  <a:lnTo>
                    <a:pt x="13" y="348"/>
                  </a:lnTo>
                  <a:lnTo>
                    <a:pt x="36" y="283"/>
                  </a:lnTo>
                  <a:lnTo>
                    <a:pt x="26" y="247"/>
                  </a:lnTo>
                  <a:lnTo>
                    <a:pt x="0" y="25"/>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18" name="Freeform 19">
              <a:extLst>
                <a:ext uri="{FF2B5EF4-FFF2-40B4-BE49-F238E27FC236}">
                  <a16:creationId xmlns:a16="http://schemas.microsoft.com/office/drawing/2014/main" id="{5A7E5780-9F03-41AA-819F-25E0720D2786}"/>
                </a:ext>
              </a:extLst>
            </p:cNvPr>
            <p:cNvSpPr>
              <a:spLocks/>
            </p:cNvSpPr>
            <p:nvPr/>
          </p:nvSpPr>
          <p:spPr bwMode="auto">
            <a:xfrm>
              <a:off x="5842000" y="3038475"/>
              <a:ext cx="482600" cy="598488"/>
            </a:xfrm>
            <a:custGeom>
              <a:avLst/>
              <a:gdLst>
                <a:gd name="T0" fmla="*/ 0 w 253"/>
                <a:gd name="T1" fmla="*/ 71 h 314"/>
                <a:gd name="T2" fmla="*/ 156 w 253"/>
                <a:gd name="T3" fmla="*/ 59 h 314"/>
                <a:gd name="T4" fmla="*/ 188 w 253"/>
                <a:gd name="T5" fmla="*/ 64 h 314"/>
                <a:gd name="T6" fmla="*/ 264 w 253"/>
                <a:gd name="T7" fmla="*/ 37 h 314"/>
                <a:gd name="T8" fmla="*/ 280 w 253"/>
                <a:gd name="T9" fmla="*/ 12 h 314"/>
                <a:gd name="T10" fmla="*/ 325 w 253"/>
                <a:gd name="T11" fmla="*/ 0 h 314"/>
                <a:gd name="T12" fmla="*/ 349 w 253"/>
                <a:gd name="T13" fmla="*/ 119 h 314"/>
                <a:gd name="T14" fmla="*/ 330 w 253"/>
                <a:gd name="T15" fmla="*/ 132 h 314"/>
                <a:gd name="T16" fmla="*/ 335 w 253"/>
                <a:gd name="T17" fmla="*/ 214 h 314"/>
                <a:gd name="T18" fmla="*/ 300 w 253"/>
                <a:gd name="T19" fmla="*/ 221 h 314"/>
                <a:gd name="T20" fmla="*/ 280 w 253"/>
                <a:gd name="T21" fmla="*/ 267 h 314"/>
                <a:gd name="T22" fmla="*/ 253 w 253"/>
                <a:gd name="T23" fmla="*/ 261 h 314"/>
                <a:gd name="T24" fmla="*/ 245 w 253"/>
                <a:gd name="T25" fmla="*/ 314 h 314"/>
                <a:gd name="T26" fmla="*/ 204 w 253"/>
                <a:gd name="T27" fmla="*/ 292 h 314"/>
                <a:gd name="T28" fmla="*/ 128 w 253"/>
                <a:gd name="T29" fmla="*/ 306 h 314"/>
                <a:gd name="T30" fmla="*/ 95 w 253"/>
                <a:gd name="T31" fmla="*/ 286 h 314"/>
                <a:gd name="T32" fmla="*/ 52 w 253"/>
                <a:gd name="T33" fmla="*/ 285 h 314"/>
                <a:gd name="T34" fmla="*/ 29 w 253"/>
                <a:gd name="T35" fmla="*/ 197 h 314"/>
                <a:gd name="T36" fmla="*/ 0 w 253"/>
                <a:gd name="T37" fmla="*/ 71 h 31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53"/>
                <a:gd name="T58" fmla="*/ 0 h 314"/>
                <a:gd name="T59" fmla="*/ 253 w 253"/>
                <a:gd name="T60" fmla="*/ 314 h 31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53" h="314">
                  <a:moveTo>
                    <a:pt x="0" y="71"/>
                  </a:moveTo>
                  <a:lnTo>
                    <a:pt x="114" y="59"/>
                  </a:lnTo>
                  <a:lnTo>
                    <a:pt x="138" y="64"/>
                  </a:lnTo>
                  <a:lnTo>
                    <a:pt x="192" y="37"/>
                  </a:lnTo>
                  <a:lnTo>
                    <a:pt x="204" y="12"/>
                  </a:lnTo>
                  <a:lnTo>
                    <a:pt x="236" y="0"/>
                  </a:lnTo>
                  <a:lnTo>
                    <a:pt x="253" y="119"/>
                  </a:lnTo>
                  <a:lnTo>
                    <a:pt x="240" y="132"/>
                  </a:lnTo>
                  <a:lnTo>
                    <a:pt x="243" y="214"/>
                  </a:lnTo>
                  <a:lnTo>
                    <a:pt x="218" y="221"/>
                  </a:lnTo>
                  <a:lnTo>
                    <a:pt x="204" y="267"/>
                  </a:lnTo>
                  <a:lnTo>
                    <a:pt x="184" y="261"/>
                  </a:lnTo>
                  <a:lnTo>
                    <a:pt x="178" y="314"/>
                  </a:lnTo>
                  <a:lnTo>
                    <a:pt x="149" y="292"/>
                  </a:lnTo>
                  <a:lnTo>
                    <a:pt x="93" y="306"/>
                  </a:lnTo>
                  <a:lnTo>
                    <a:pt x="69" y="286"/>
                  </a:lnTo>
                  <a:lnTo>
                    <a:pt x="38" y="285"/>
                  </a:lnTo>
                  <a:lnTo>
                    <a:pt x="21" y="197"/>
                  </a:lnTo>
                  <a:lnTo>
                    <a:pt x="0" y="71"/>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19" name="Freeform 20">
              <a:extLst>
                <a:ext uri="{FF2B5EF4-FFF2-40B4-BE49-F238E27FC236}">
                  <a16:creationId xmlns:a16="http://schemas.microsoft.com/office/drawing/2014/main" id="{33CBF900-3EAE-45D6-9D2C-0142922B3912}"/>
                </a:ext>
              </a:extLst>
            </p:cNvPr>
            <p:cNvSpPr>
              <a:spLocks/>
            </p:cNvSpPr>
            <p:nvPr/>
          </p:nvSpPr>
          <p:spPr bwMode="auto">
            <a:xfrm>
              <a:off x="5414963" y="3579813"/>
              <a:ext cx="847725" cy="506412"/>
            </a:xfrm>
            <a:custGeom>
              <a:avLst/>
              <a:gdLst>
                <a:gd name="T0" fmla="*/ 0 w 445"/>
                <a:gd name="T1" fmla="*/ 266 h 266"/>
                <a:gd name="T2" fmla="*/ 149 w 445"/>
                <a:gd name="T3" fmla="*/ 249 h 266"/>
                <a:gd name="T4" fmla="*/ 149 w 445"/>
                <a:gd name="T5" fmla="*/ 237 h 266"/>
                <a:gd name="T6" fmla="*/ 509 w 445"/>
                <a:gd name="T7" fmla="*/ 199 h 266"/>
                <a:gd name="T8" fmla="*/ 516 w 445"/>
                <a:gd name="T9" fmla="*/ 179 h 266"/>
                <a:gd name="T10" fmla="*/ 566 w 445"/>
                <a:gd name="T11" fmla="*/ 163 h 266"/>
                <a:gd name="T12" fmla="*/ 575 w 445"/>
                <a:gd name="T13" fmla="*/ 142 h 266"/>
                <a:gd name="T14" fmla="*/ 596 w 445"/>
                <a:gd name="T15" fmla="*/ 135 h 266"/>
                <a:gd name="T16" fmla="*/ 612 w 445"/>
                <a:gd name="T17" fmla="*/ 103 h 266"/>
                <a:gd name="T18" fmla="*/ 563 w 445"/>
                <a:gd name="T19" fmla="*/ 72 h 266"/>
                <a:gd name="T20" fmla="*/ 555 w 445"/>
                <a:gd name="T21" fmla="*/ 29 h 266"/>
                <a:gd name="T22" fmla="*/ 516 w 445"/>
                <a:gd name="T23" fmla="*/ 8 h 266"/>
                <a:gd name="T24" fmla="*/ 434 w 445"/>
                <a:gd name="T25" fmla="*/ 20 h 266"/>
                <a:gd name="T26" fmla="*/ 398 w 445"/>
                <a:gd name="T27" fmla="*/ 1 h 266"/>
                <a:gd name="T28" fmla="*/ 363 w 445"/>
                <a:gd name="T29" fmla="*/ 0 h 266"/>
                <a:gd name="T30" fmla="*/ 368 w 445"/>
                <a:gd name="T31" fmla="*/ 29 h 266"/>
                <a:gd name="T32" fmla="*/ 320 w 445"/>
                <a:gd name="T33" fmla="*/ 44 h 266"/>
                <a:gd name="T34" fmla="*/ 286 w 445"/>
                <a:gd name="T35" fmla="*/ 110 h 266"/>
                <a:gd name="T36" fmla="*/ 242 w 445"/>
                <a:gd name="T37" fmla="*/ 100 h 266"/>
                <a:gd name="T38" fmla="*/ 186 w 445"/>
                <a:gd name="T39" fmla="*/ 124 h 266"/>
                <a:gd name="T40" fmla="*/ 117 w 445"/>
                <a:gd name="T41" fmla="*/ 134 h 266"/>
                <a:gd name="T42" fmla="*/ 117 w 445"/>
                <a:gd name="T43" fmla="*/ 171 h 266"/>
                <a:gd name="T44" fmla="*/ 82 w 445"/>
                <a:gd name="T45" fmla="*/ 170 h 266"/>
                <a:gd name="T46" fmla="*/ 83 w 445"/>
                <a:gd name="T47" fmla="*/ 203 h 266"/>
                <a:gd name="T48" fmla="*/ 48 w 445"/>
                <a:gd name="T49" fmla="*/ 190 h 266"/>
                <a:gd name="T50" fmla="*/ 28 w 445"/>
                <a:gd name="T51" fmla="*/ 196 h 266"/>
                <a:gd name="T52" fmla="*/ 45 w 445"/>
                <a:gd name="T53" fmla="*/ 218 h 266"/>
                <a:gd name="T54" fmla="*/ 5 w 445"/>
                <a:gd name="T55" fmla="*/ 248 h 266"/>
                <a:gd name="T56" fmla="*/ 0 w 445"/>
                <a:gd name="T57" fmla="*/ 266 h 26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5"/>
                <a:gd name="T88" fmla="*/ 0 h 266"/>
                <a:gd name="T89" fmla="*/ 445 w 445"/>
                <a:gd name="T90" fmla="*/ 266 h 26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5" h="266">
                  <a:moveTo>
                    <a:pt x="0" y="266"/>
                  </a:moveTo>
                  <a:lnTo>
                    <a:pt x="108" y="249"/>
                  </a:lnTo>
                  <a:lnTo>
                    <a:pt x="108" y="237"/>
                  </a:lnTo>
                  <a:lnTo>
                    <a:pt x="370" y="199"/>
                  </a:lnTo>
                  <a:lnTo>
                    <a:pt x="374" y="179"/>
                  </a:lnTo>
                  <a:lnTo>
                    <a:pt x="412" y="163"/>
                  </a:lnTo>
                  <a:lnTo>
                    <a:pt x="417" y="142"/>
                  </a:lnTo>
                  <a:lnTo>
                    <a:pt x="433" y="135"/>
                  </a:lnTo>
                  <a:lnTo>
                    <a:pt x="445" y="103"/>
                  </a:lnTo>
                  <a:lnTo>
                    <a:pt x="409" y="72"/>
                  </a:lnTo>
                  <a:lnTo>
                    <a:pt x="403" y="29"/>
                  </a:lnTo>
                  <a:lnTo>
                    <a:pt x="374" y="8"/>
                  </a:lnTo>
                  <a:lnTo>
                    <a:pt x="316" y="20"/>
                  </a:lnTo>
                  <a:lnTo>
                    <a:pt x="289" y="1"/>
                  </a:lnTo>
                  <a:lnTo>
                    <a:pt x="263" y="0"/>
                  </a:lnTo>
                  <a:lnTo>
                    <a:pt x="268" y="29"/>
                  </a:lnTo>
                  <a:lnTo>
                    <a:pt x="232" y="44"/>
                  </a:lnTo>
                  <a:lnTo>
                    <a:pt x="208" y="110"/>
                  </a:lnTo>
                  <a:lnTo>
                    <a:pt x="175" y="100"/>
                  </a:lnTo>
                  <a:lnTo>
                    <a:pt x="136" y="124"/>
                  </a:lnTo>
                  <a:lnTo>
                    <a:pt x="85" y="134"/>
                  </a:lnTo>
                  <a:lnTo>
                    <a:pt x="85" y="171"/>
                  </a:lnTo>
                  <a:lnTo>
                    <a:pt x="60" y="170"/>
                  </a:lnTo>
                  <a:lnTo>
                    <a:pt x="61" y="203"/>
                  </a:lnTo>
                  <a:lnTo>
                    <a:pt x="35" y="190"/>
                  </a:lnTo>
                  <a:lnTo>
                    <a:pt x="20" y="196"/>
                  </a:lnTo>
                  <a:lnTo>
                    <a:pt x="33" y="218"/>
                  </a:lnTo>
                  <a:lnTo>
                    <a:pt x="5" y="248"/>
                  </a:lnTo>
                  <a:lnTo>
                    <a:pt x="0" y="266"/>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20" name="Freeform 21">
              <a:extLst>
                <a:ext uri="{FF2B5EF4-FFF2-40B4-BE49-F238E27FC236}">
                  <a16:creationId xmlns:a16="http://schemas.microsoft.com/office/drawing/2014/main" id="{07D05ECE-3947-4DDE-B804-4581C1E7BBD4}"/>
                </a:ext>
              </a:extLst>
            </p:cNvPr>
            <p:cNvSpPr>
              <a:spLocks/>
            </p:cNvSpPr>
            <p:nvPr/>
          </p:nvSpPr>
          <p:spPr bwMode="auto">
            <a:xfrm>
              <a:off x="5356225" y="3905250"/>
              <a:ext cx="977900" cy="384175"/>
            </a:xfrm>
            <a:custGeom>
              <a:avLst/>
              <a:gdLst>
                <a:gd name="T0" fmla="*/ 43 w 513"/>
                <a:gd name="T1" fmla="*/ 92 h 202"/>
                <a:gd name="T2" fmla="*/ 43 w 513"/>
                <a:gd name="T3" fmla="*/ 96 h 202"/>
                <a:gd name="T4" fmla="*/ 30 w 513"/>
                <a:gd name="T5" fmla="*/ 115 h 202"/>
                <a:gd name="T6" fmla="*/ 44 w 513"/>
                <a:gd name="T7" fmla="*/ 140 h 202"/>
                <a:gd name="T8" fmla="*/ 0 w 513"/>
                <a:gd name="T9" fmla="*/ 163 h 202"/>
                <a:gd name="T10" fmla="*/ 11 w 513"/>
                <a:gd name="T11" fmla="*/ 202 h 202"/>
                <a:gd name="T12" fmla="*/ 196 w 513"/>
                <a:gd name="T13" fmla="*/ 190 h 202"/>
                <a:gd name="T14" fmla="*/ 415 w 513"/>
                <a:gd name="T15" fmla="*/ 170 h 202"/>
                <a:gd name="T16" fmla="*/ 527 w 513"/>
                <a:gd name="T17" fmla="*/ 154 h 202"/>
                <a:gd name="T18" fmla="*/ 548 w 513"/>
                <a:gd name="T19" fmla="*/ 103 h 202"/>
                <a:gd name="T20" fmla="*/ 589 w 513"/>
                <a:gd name="T21" fmla="*/ 100 h 202"/>
                <a:gd name="T22" fmla="*/ 709 w 513"/>
                <a:gd name="T23" fmla="*/ 0 h 202"/>
                <a:gd name="T24" fmla="*/ 552 w 513"/>
                <a:gd name="T25" fmla="*/ 25 h 202"/>
                <a:gd name="T26" fmla="*/ 185 w 513"/>
                <a:gd name="T27" fmla="*/ 66 h 202"/>
                <a:gd name="T28" fmla="*/ 188 w 513"/>
                <a:gd name="T29" fmla="*/ 78 h 202"/>
                <a:gd name="T30" fmla="*/ 43 w 513"/>
                <a:gd name="T31" fmla="*/ 92 h 20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13"/>
                <a:gd name="T49" fmla="*/ 0 h 202"/>
                <a:gd name="T50" fmla="*/ 513 w 513"/>
                <a:gd name="T51" fmla="*/ 202 h 20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13" h="202">
                  <a:moveTo>
                    <a:pt x="31" y="92"/>
                  </a:moveTo>
                  <a:lnTo>
                    <a:pt x="31" y="96"/>
                  </a:lnTo>
                  <a:lnTo>
                    <a:pt x="22" y="115"/>
                  </a:lnTo>
                  <a:lnTo>
                    <a:pt x="32" y="140"/>
                  </a:lnTo>
                  <a:lnTo>
                    <a:pt x="0" y="163"/>
                  </a:lnTo>
                  <a:lnTo>
                    <a:pt x="7" y="202"/>
                  </a:lnTo>
                  <a:lnTo>
                    <a:pt x="142" y="190"/>
                  </a:lnTo>
                  <a:lnTo>
                    <a:pt x="301" y="170"/>
                  </a:lnTo>
                  <a:lnTo>
                    <a:pt x="381" y="154"/>
                  </a:lnTo>
                  <a:lnTo>
                    <a:pt x="398" y="103"/>
                  </a:lnTo>
                  <a:lnTo>
                    <a:pt x="426" y="100"/>
                  </a:lnTo>
                  <a:lnTo>
                    <a:pt x="513" y="0"/>
                  </a:lnTo>
                  <a:lnTo>
                    <a:pt x="400" y="25"/>
                  </a:lnTo>
                  <a:lnTo>
                    <a:pt x="135" y="66"/>
                  </a:lnTo>
                  <a:lnTo>
                    <a:pt x="137" y="78"/>
                  </a:lnTo>
                  <a:lnTo>
                    <a:pt x="31" y="92"/>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21" name="Freeform 22">
              <a:extLst>
                <a:ext uri="{FF2B5EF4-FFF2-40B4-BE49-F238E27FC236}">
                  <a16:creationId xmlns:a16="http://schemas.microsoft.com/office/drawing/2014/main" id="{C4107111-EC8D-4BA4-AE5B-10AC5573C7D0}"/>
                </a:ext>
              </a:extLst>
            </p:cNvPr>
            <p:cNvSpPr>
              <a:spLocks/>
            </p:cNvSpPr>
            <p:nvPr/>
          </p:nvSpPr>
          <p:spPr bwMode="auto">
            <a:xfrm>
              <a:off x="5788025" y="4787900"/>
              <a:ext cx="1069975" cy="777875"/>
            </a:xfrm>
            <a:custGeom>
              <a:avLst/>
              <a:gdLst>
                <a:gd name="T0" fmla="*/ 0 w 561"/>
                <a:gd name="T1" fmla="*/ 39 h 409"/>
                <a:gd name="T2" fmla="*/ 212 w 561"/>
                <a:gd name="T3" fmla="*/ 23 h 409"/>
                <a:gd name="T4" fmla="*/ 234 w 561"/>
                <a:gd name="T5" fmla="*/ 50 h 409"/>
                <a:gd name="T6" fmla="*/ 463 w 561"/>
                <a:gd name="T7" fmla="*/ 23 h 409"/>
                <a:gd name="T8" fmla="*/ 502 w 561"/>
                <a:gd name="T9" fmla="*/ 45 h 409"/>
                <a:gd name="T10" fmla="*/ 502 w 561"/>
                <a:gd name="T11" fmla="*/ 3 h 409"/>
                <a:gd name="T12" fmla="*/ 500 w 561"/>
                <a:gd name="T13" fmla="*/ 0 h 409"/>
                <a:gd name="T14" fmla="*/ 545 w 561"/>
                <a:gd name="T15" fmla="*/ 2 h 409"/>
                <a:gd name="T16" fmla="*/ 593 w 561"/>
                <a:gd name="T17" fmla="*/ 65 h 409"/>
                <a:gd name="T18" fmla="*/ 670 w 561"/>
                <a:gd name="T19" fmla="*/ 151 h 409"/>
                <a:gd name="T20" fmla="*/ 709 w 561"/>
                <a:gd name="T21" fmla="*/ 225 h 409"/>
                <a:gd name="T22" fmla="*/ 763 w 561"/>
                <a:gd name="T23" fmla="*/ 277 h 409"/>
                <a:gd name="T24" fmla="*/ 774 w 561"/>
                <a:gd name="T25" fmla="*/ 352 h 409"/>
                <a:gd name="T26" fmla="*/ 756 w 561"/>
                <a:gd name="T27" fmla="*/ 397 h 409"/>
                <a:gd name="T28" fmla="*/ 674 w 561"/>
                <a:gd name="T29" fmla="*/ 409 h 409"/>
                <a:gd name="T30" fmla="*/ 660 w 561"/>
                <a:gd name="T31" fmla="*/ 390 h 409"/>
                <a:gd name="T32" fmla="*/ 604 w 561"/>
                <a:gd name="T33" fmla="*/ 363 h 409"/>
                <a:gd name="T34" fmla="*/ 586 w 561"/>
                <a:gd name="T35" fmla="*/ 335 h 409"/>
                <a:gd name="T36" fmla="*/ 571 w 561"/>
                <a:gd name="T37" fmla="*/ 324 h 409"/>
                <a:gd name="T38" fmla="*/ 561 w 561"/>
                <a:gd name="T39" fmla="*/ 298 h 409"/>
                <a:gd name="T40" fmla="*/ 547 w 561"/>
                <a:gd name="T41" fmla="*/ 305 h 409"/>
                <a:gd name="T42" fmla="*/ 502 w 561"/>
                <a:gd name="T43" fmla="*/ 271 h 409"/>
                <a:gd name="T44" fmla="*/ 514 w 561"/>
                <a:gd name="T45" fmla="*/ 239 h 409"/>
                <a:gd name="T46" fmla="*/ 502 w 561"/>
                <a:gd name="T47" fmla="*/ 222 h 409"/>
                <a:gd name="T48" fmla="*/ 489 w 561"/>
                <a:gd name="T49" fmla="*/ 228 h 409"/>
                <a:gd name="T50" fmla="*/ 490 w 561"/>
                <a:gd name="T51" fmla="*/ 246 h 409"/>
                <a:gd name="T52" fmla="*/ 475 w 561"/>
                <a:gd name="T53" fmla="*/ 222 h 409"/>
                <a:gd name="T54" fmla="*/ 476 w 561"/>
                <a:gd name="T55" fmla="*/ 164 h 409"/>
                <a:gd name="T56" fmla="*/ 448 w 561"/>
                <a:gd name="T57" fmla="*/ 130 h 409"/>
                <a:gd name="T58" fmla="*/ 376 w 561"/>
                <a:gd name="T59" fmla="*/ 102 h 409"/>
                <a:gd name="T60" fmla="*/ 339 w 561"/>
                <a:gd name="T61" fmla="*/ 70 h 409"/>
                <a:gd name="T62" fmla="*/ 298 w 561"/>
                <a:gd name="T63" fmla="*/ 67 h 409"/>
                <a:gd name="T64" fmla="*/ 282 w 561"/>
                <a:gd name="T65" fmla="*/ 87 h 409"/>
                <a:gd name="T66" fmla="*/ 222 w 561"/>
                <a:gd name="T67" fmla="*/ 101 h 409"/>
                <a:gd name="T68" fmla="*/ 185 w 561"/>
                <a:gd name="T69" fmla="*/ 87 h 409"/>
                <a:gd name="T70" fmla="*/ 168 w 561"/>
                <a:gd name="T71" fmla="*/ 65 h 409"/>
                <a:gd name="T72" fmla="*/ 55 w 561"/>
                <a:gd name="T73" fmla="*/ 84 h 409"/>
                <a:gd name="T74" fmla="*/ 31 w 561"/>
                <a:gd name="T75" fmla="*/ 69 h 409"/>
                <a:gd name="T76" fmla="*/ 4 w 561"/>
                <a:gd name="T77" fmla="*/ 85 h 409"/>
                <a:gd name="T78" fmla="*/ 0 w 561"/>
                <a:gd name="T79" fmla="*/ 39 h 40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561"/>
                <a:gd name="T121" fmla="*/ 0 h 409"/>
                <a:gd name="T122" fmla="*/ 561 w 561"/>
                <a:gd name="T123" fmla="*/ 409 h 40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561" h="409">
                  <a:moveTo>
                    <a:pt x="0" y="39"/>
                  </a:moveTo>
                  <a:lnTo>
                    <a:pt x="154" y="23"/>
                  </a:lnTo>
                  <a:lnTo>
                    <a:pt x="170" y="50"/>
                  </a:lnTo>
                  <a:lnTo>
                    <a:pt x="336" y="23"/>
                  </a:lnTo>
                  <a:lnTo>
                    <a:pt x="364" y="45"/>
                  </a:lnTo>
                  <a:lnTo>
                    <a:pt x="364" y="3"/>
                  </a:lnTo>
                  <a:lnTo>
                    <a:pt x="362" y="0"/>
                  </a:lnTo>
                  <a:lnTo>
                    <a:pt x="395" y="2"/>
                  </a:lnTo>
                  <a:lnTo>
                    <a:pt x="430" y="65"/>
                  </a:lnTo>
                  <a:lnTo>
                    <a:pt x="485" y="151"/>
                  </a:lnTo>
                  <a:lnTo>
                    <a:pt x="513" y="225"/>
                  </a:lnTo>
                  <a:lnTo>
                    <a:pt x="554" y="277"/>
                  </a:lnTo>
                  <a:lnTo>
                    <a:pt x="561" y="352"/>
                  </a:lnTo>
                  <a:lnTo>
                    <a:pt x="548" y="397"/>
                  </a:lnTo>
                  <a:lnTo>
                    <a:pt x="489" y="409"/>
                  </a:lnTo>
                  <a:lnTo>
                    <a:pt x="479" y="390"/>
                  </a:lnTo>
                  <a:lnTo>
                    <a:pt x="437" y="363"/>
                  </a:lnTo>
                  <a:lnTo>
                    <a:pt x="424" y="335"/>
                  </a:lnTo>
                  <a:lnTo>
                    <a:pt x="413" y="324"/>
                  </a:lnTo>
                  <a:lnTo>
                    <a:pt x="407" y="298"/>
                  </a:lnTo>
                  <a:lnTo>
                    <a:pt x="397" y="305"/>
                  </a:lnTo>
                  <a:lnTo>
                    <a:pt x="364" y="271"/>
                  </a:lnTo>
                  <a:lnTo>
                    <a:pt x="372" y="239"/>
                  </a:lnTo>
                  <a:lnTo>
                    <a:pt x="364" y="222"/>
                  </a:lnTo>
                  <a:lnTo>
                    <a:pt x="354" y="228"/>
                  </a:lnTo>
                  <a:lnTo>
                    <a:pt x="355" y="246"/>
                  </a:lnTo>
                  <a:lnTo>
                    <a:pt x="344" y="222"/>
                  </a:lnTo>
                  <a:lnTo>
                    <a:pt x="345" y="164"/>
                  </a:lnTo>
                  <a:lnTo>
                    <a:pt x="325" y="130"/>
                  </a:lnTo>
                  <a:lnTo>
                    <a:pt x="272" y="102"/>
                  </a:lnTo>
                  <a:lnTo>
                    <a:pt x="246" y="70"/>
                  </a:lnTo>
                  <a:lnTo>
                    <a:pt x="216" y="67"/>
                  </a:lnTo>
                  <a:lnTo>
                    <a:pt x="204" y="87"/>
                  </a:lnTo>
                  <a:lnTo>
                    <a:pt x="161" y="101"/>
                  </a:lnTo>
                  <a:lnTo>
                    <a:pt x="135" y="87"/>
                  </a:lnTo>
                  <a:lnTo>
                    <a:pt x="122" y="65"/>
                  </a:lnTo>
                  <a:lnTo>
                    <a:pt x="40" y="84"/>
                  </a:lnTo>
                  <a:lnTo>
                    <a:pt x="23" y="69"/>
                  </a:lnTo>
                  <a:lnTo>
                    <a:pt x="4" y="85"/>
                  </a:lnTo>
                  <a:lnTo>
                    <a:pt x="0" y="39"/>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22" name="Freeform 23">
              <a:extLst>
                <a:ext uri="{FF2B5EF4-FFF2-40B4-BE49-F238E27FC236}">
                  <a16:creationId xmlns:a16="http://schemas.microsoft.com/office/drawing/2014/main" id="{0F1B0F79-88E5-4372-810F-E5E15F89EE3D}"/>
                </a:ext>
              </a:extLst>
            </p:cNvPr>
            <p:cNvSpPr>
              <a:spLocks/>
            </p:cNvSpPr>
            <p:nvPr/>
          </p:nvSpPr>
          <p:spPr bwMode="auto">
            <a:xfrm>
              <a:off x="6181725" y="3260725"/>
              <a:ext cx="488950" cy="549275"/>
            </a:xfrm>
            <a:custGeom>
              <a:avLst/>
              <a:gdLst>
                <a:gd name="T0" fmla="*/ 36 w 256"/>
                <a:gd name="T1" fmla="*/ 150 h 288"/>
                <a:gd name="T2" fmla="*/ 10 w 256"/>
                <a:gd name="T3" fmla="*/ 144 h 288"/>
                <a:gd name="T4" fmla="*/ 0 w 256"/>
                <a:gd name="T5" fmla="*/ 190 h 288"/>
                <a:gd name="T6" fmla="*/ 10 w 256"/>
                <a:gd name="T7" fmla="*/ 239 h 288"/>
                <a:gd name="T8" fmla="*/ 60 w 256"/>
                <a:gd name="T9" fmla="*/ 271 h 288"/>
                <a:gd name="T10" fmla="*/ 72 w 256"/>
                <a:gd name="T11" fmla="*/ 288 h 288"/>
                <a:gd name="T12" fmla="*/ 138 w 256"/>
                <a:gd name="T13" fmla="*/ 271 h 288"/>
                <a:gd name="T14" fmla="*/ 215 w 256"/>
                <a:gd name="T15" fmla="*/ 233 h 288"/>
                <a:gd name="T16" fmla="*/ 238 w 256"/>
                <a:gd name="T17" fmla="*/ 148 h 288"/>
                <a:gd name="T18" fmla="*/ 288 w 256"/>
                <a:gd name="T19" fmla="*/ 126 h 288"/>
                <a:gd name="T20" fmla="*/ 316 w 256"/>
                <a:gd name="T21" fmla="*/ 74 h 288"/>
                <a:gd name="T22" fmla="*/ 356 w 256"/>
                <a:gd name="T23" fmla="*/ 60 h 288"/>
                <a:gd name="T24" fmla="*/ 303 w 256"/>
                <a:gd name="T25" fmla="*/ 53 h 288"/>
                <a:gd name="T26" fmla="*/ 214 w 256"/>
                <a:gd name="T27" fmla="*/ 90 h 288"/>
                <a:gd name="T28" fmla="*/ 200 w 256"/>
                <a:gd name="T29" fmla="*/ 54 h 288"/>
                <a:gd name="T30" fmla="*/ 123 w 256"/>
                <a:gd name="T31" fmla="*/ 57 h 288"/>
                <a:gd name="T32" fmla="*/ 104 w 256"/>
                <a:gd name="T33" fmla="*/ 0 h 288"/>
                <a:gd name="T34" fmla="*/ 85 w 256"/>
                <a:gd name="T35" fmla="*/ 15 h 288"/>
                <a:gd name="T36" fmla="*/ 91 w 256"/>
                <a:gd name="T37" fmla="*/ 97 h 288"/>
                <a:gd name="T38" fmla="*/ 55 w 256"/>
                <a:gd name="T39" fmla="*/ 104 h 288"/>
                <a:gd name="T40" fmla="*/ 36 w 256"/>
                <a:gd name="T41" fmla="*/ 150 h 28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56"/>
                <a:gd name="T64" fmla="*/ 0 h 288"/>
                <a:gd name="T65" fmla="*/ 256 w 256"/>
                <a:gd name="T66" fmla="*/ 288 h 28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56" h="288">
                  <a:moveTo>
                    <a:pt x="26" y="150"/>
                  </a:moveTo>
                  <a:lnTo>
                    <a:pt x="6" y="144"/>
                  </a:lnTo>
                  <a:lnTo>
                    <a:pt x="0" y="190"/>
                  </a:lnTo>
                  <a:lnTo>
                    <a:pt x="6" y="239"/>
                  </a:lnTo>
                  <a:lnTo>
                    <a:pt x="43" y="271"/>
                  </a:lnTo>
                  <a:lnTo>
                    <a:pt x="52" y="288"/>
                  </a:lnTo>
                  <a:lnTo>
                    <a:pt x="99" y="271"/>
                  </a:lnTo>
                  <a:lnTo>
                    <a:pt x="155" y="233"/>
                  </a:lnTo>
                  <a:lnTo>
                    <a:pt x="171" y="148"/>
                  </a:lnTo>
                  <a:lnTo>
                    <a:pt x="207" y="126"/>
                  </a:lnTo>
                  <a:lnTo>
                    <a:pt x="227" y="74"/>
                  </a:lnTo>
                  <a:lnTo>
                    <a:pt x="256" y="60"/>
                  </a:lnTo>
                  <a:lnTo>
                    <a:pt x="218" y="53"/>
                  </a:lnTo>
                  <a:lnTo>
                    <a:pt x="154" y="90"/>
                  </a:lnTo>
                  <a:lnTo>
                    <a:pt x="144" y="54"/>
                  </a:lnTo>
                  <a:lnTo>
                    <a:pt x="88" y="57"/>
                  </a:lnTo>
                  <a:lnTo>
                    <a:pt x="75" y="0"/>
                  </a:lnTo>
                  <a:lnTo>
                    <a:pt x="61" y="15"/>
                  </a:lnTo>
                  <a:lnTo>
                    <a:pt x="65" y="97"/>
                  </a:lnTo>
                  <a:lnTo>
                    <a:pt x="40" y="104"/>
                  </a:lnTo>
                  <a:lnTo>
                    <a:pt x="26" y="15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23" name="Freeform 24">
              <a:extLst>
                <a:ext uri="{FF2B5EF4-FFF2-40B4-BE49-F238E27FC236}">
                  <a16:creationId xmlns:a16="http://schemas.microsoft.com/office/drawing/2014/main" id="{7C394D2A-8D99-4BDF-8AA7-1762A14BD754}"/>
                </a:ext>
              </a:extLst>
            </p:cNvPr>
            <p:cNvSpPr>
              <a:spLocks/>
            </p:cNvSpPr>
            <p:nvPr/>
          </p:nvSpPr>
          <p:spPr bwMode="auto">
            <a:xfrm>
              <a:off x="6916738" y="2346325"/>
              <a:ext cx="192087" cy="384175"/>
            </a:xfrm>
            <a:custGeom>
              <a:avLst/>
              <a:gdLst>
                <a:gd name="T0" fmla="*/ 0 w 101"/>
                <a:gd name="T1" fmla="*/ 21 h 202"/>
                <a:gd name="T2" fmla="*/ 100 w 101"/>
                <a:gd name="T3" fmla="*/ 0 h 202"/>
                <a:gd name="T4" fmla="*/ 137 w 101"/>
                <a:gd name="T5" fmla="*/ 55 h 202"/>
                <a:gd name="T6" fmla="*/ 118 w 101"/>
                <a:gd name="T7" fmla="*/ 70 h 202"/>
                <a:gd name="T8" fmla="*/ 126 w 101"/>
                <a:gd name="T9" fmla="*/ 192 h 202"/>
                <a:gd name="T10" fmla="*/ 68 w 101"/>
                <a:gd name="T11" fmla="*/ 202 h 202"/>
                <a:gd name="T12" fmla="*/ 39 w 101"/>
                <a:gd name="T13" fmla="*/ 152 h 202"/>
                <a:gd name="T14" fmla="*/ 38 w 101"/>
                <a:gd name="T15" fmla="*/ 92 h 202"/>
                <a:gd name="T16" fmla="*/ 13 w 101"/>
                <a:gd name="T17" fmla="*/ 74 h 202"/>
                <a:gd name="T18" fmla="*/ 0 w 101"/>
                <a:gd name="T19" fmla="*/ 21 h 20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1"/>
                <a:gd name="T31" fmla="*/ 0 h 202"/>
                <a:gd name="T32" fmla="*/ 101 w 101"/>
                <a:gd name="T33" fmla="*/ 202 h 20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1" h="202">
                  <a:moveTo>
                    <a:pt x="0" y="21"/>
                  </a:moveTo>
                  <a:lnTo>
                    <a:pt x="74" y="0"/>
                  </a:lnTo>
                  <a:lnTo>
                    <a:pt x="101" y="55"/>
                  </a:lnTo>
                  <a:lnTo>
                    <a:pt x="87" y="70"/>
                  </a:lnTo>
                  <a:lnTo>
                    <a:pt x="93" y="192"/>
                  </a:lnTo>
                  <a:lnTo>
                    <a:pt x="50" y="202"/>
                  </a:lnTo>
                  <a:lnTo>
                    <a:pt x="29" y="152"/>
                  </a:lnTo>
                  <a:lnTo>
                    <a:pt x="28" y="92"/>
                  </a:lnTo>
                  <a:lnTo>
                    <a:pt x="9" y="74"/>
                  </a:lnTo>
                  <a:lnTo>
                    <a:pt x="0" y="21"/>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24" name="Freeform 25">
              <a:extLst>
                <a:ext uri="{FF2B5EF4-FFF2-40B4-BE49-F238E27FC236}">
                  <a16:creationId xmlns:a16="http://schemas.microsoft.com/office/drawing/2014/main" id="{21DA6D09-6B78-4A07-A26F-9F16F8651817}"/>
                </a:ext>
              </a:extLst>
            </p:cNvPr>
            <p:cNvSpPr>
              <a:spLocks/>
            </p:cNvSpPr>
            <p:nvPr/>
          </p:nvSpPr>
          <p:spPr bwMode="auto">
            <a:xfrm>
              <a:off x="7008813" y="2647950"/>
              <a:ext cx="411162" cy="201613"/>
            </a:xfrm>
            <a:custGeom>
              <a:avLst/>
              <a:gdLst>
                <a:gd name="T0" fmla="*/ 0 w 216"/>
                <a:gd name="T1" fmla="*/ 42 h 106"/>
                <a:gd name="T2" fmla="*/ 152 w 216"/>
                <a:gd name="T3" fmla="*/ 13 h 106"/>
                <a:gd name="T4" fmla="*/ 169 w 216"/>
                <a:gd name="T5" fmla="*/ 14 h 106"/>
                <a:gd name="T6" fmla="*/ 187 w 216"/>
                <a:gd name="T7" fmla="*/ 0 h 106"/>
                <a:gd name="T8" fmla="*/ 203 w 216"/>
                <a:gd name="T9" fmla="*/ 7 h 106"/>
                <a:gd name="T10" fmla="*/ 184 w 216"/>
                <a:gd name="T11" fmla="*/ 37 h 106"/>
                <a:gd name="T12" fmla="*/ 216 w 216"/>
                <a:gd name="T13" fmla="*/ 35 h 106"/>
                <a:gd name="T14" fmla="*/ 234 w 216"/>
                <a:gd name="T15" fmla="*/ 59 h 106"/>
                <a:gd name="T16" fmla="*/ 257 w 216"/>
                <a:gd name="T17" fmla="*/ 61 h 106"/>
                <a:gd name="T18" fmla="*/ 271 w 216"/>
                <a:gd name="T19" fmla="*/ 57 h 106"/>
                <a:gd name="T20" fmla="*/ 271 w 216"/>
                <a:gd name="T21" fmla="*/ 44 h 106"/>
                <a:gd name="T22" fmla="*/ 245 w 216"/>
                <a:gd name="T23" fmla="*/ 28 h 106"/>
                <a:gd name="T24" fmla="*/ 264 w 216"/>
                <a:gd name="T25" fmla="*/ 27 h 106"/>
                <a:gd name="T26" fmla="*/ 297 w 216"/>
                <a:gd name="T27" fmla="*/ 62 h 106"/>
                <a:gd name="T28" fmla="*/ 265 w 216"/>
                <a:gd name="T29" fmla="*/ 83 h 106"/>
                <a:gd name="T30" fmla="*/ 230 w 216"/>
                <a:gd name="T31" fmla="*/ 73 h 106"/>
                <a:gd name="T32" fmla="*/ 209 w 216"/>
                <a:gd name="T33" fmla="*/ 98 h 106"/>
                <a:gd name="T34" fmla="*/ 164 w 216"/>
                <a:gd name="T35" fmla="*/ 73 h 106"/>
                <a:gd name="T36" fmla="*/ 13 w 216"/>
                <a:gd name="T37" fmla="*/ 106 h 106"/>
                <a:gd name="T38" fmla="*/ 0 w 216"/>
                <a:gd name="T39" fmla="*/ 42 h 10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106"/>
                <a:gd name="T62" fmla="*/ 216 w 216"/>
                <a:gd name="T63" fmla="*/ 106 h 10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106">
                  <a:moveTo>
                    <a:pt x="0" y="42"/>
                  </a:moveTo>
                  <a:lnTo>
                    <a:pt x="110" y="13"/>
                  </a:lnTo>
                  <a:lnTo>
                    <a:pt x="123" y="14"/>
                  </a:lnTo>
                  <a:lnTo>
                    <a:pt x="137" y="0"/>
                  </a:lnTo>
                  <a:lnTo>
                    <a:pt x="148" y="7"/>
                  </a:lnTo>
                  <a:lnTo>
                    <a:pt x="134" y="37"/>
                  </a:lnTo>
                  <a:lnTo>
                    <a:pt x="157" y="35"/>
                  </a:lnTo>
                  <a:lnTo>
                    <a:pt x="170" y="59"/>
                  </a:lnTo>
                  <a:lnTo>
                    <a:pt x="186" y="61"/>
                  </a:lnTo>
                  <a:lnTo>
                    <a:pt x="197" y="57"/>
                  </a:lnTo>
                  <a:lnTo>
                    <a:pt x="197" y="44"/>
                  </a:lnTo>
                  <a:lnTo>
                    <a:pt x="178" y="28"/>
                  </a:lnTo>
                  <a:lnTo>
                    <a:pt x="192" y="27"/>
                  </a:lnTo>
                  <a:lnTo>
                    <a:pt x="216" y="62"/>
                  </a:lnTo>
                  <a:lnTo>
                    <a:pt x="193" y="83"/>
                  </a:lnTo>
                  <a:lnTo>
                    <a:pt x="167" y="73"/>
                  </a:lnTo>
                  <a:lnTo>
                    <a:pt x="151" y="98"/>
                  </a:lnTo>
                  <a:lnTo>
                    <a:pt x="118" y="73"/>
                  </a:lnTo>
                  <a:lnTo>
                    <a:pt x="9" y="106"/>
                  </a:lnTo>
                  <a:lnTo>
                    <a:pt x="0" y="42"/>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25" name="Freeform 26">
              <a:extLst>
                <a:ext uri="{FF2B5EF4-FFF2-40B4-BE49-F238E27FC236}">
                  <a16:creationId xmlns:a16="http://schemas.microsoft.com/office/drawing/2014/main" id="{D2B5E3D7-8BA7-4F93-8B03-4469E6CD5159}"/>
                </a:ext>
              </a:extLst>
            </p:cNvPr>
            <p:cNvSpPr>
              <a:spLocks/>
            </p:cNvSpPr>
            <p:nvPr/>
          </p:nvSpPr>
          <p:spPr bwMode="auto">
            <a:xfrm>
              <a:off x="7056438" y="2271713"/>
              <a:ext cx="227012" cy="434975"/>
            </a:xfrm>
            <a:custGeom>
              <a:avLst/>
              <a:gdLst>
                <a:gd name="T0" fmla="*/ 34 w 119"/>
                <a:gd name="T1" fmla="*/ 0 h 228"/>
                <a:gd name="T2" fmla="*/ 0 w 119"/>
                <a:gd name="T3" fmla="*/ 40 h 228"/>
                <a:gd name="T4" fmla="*/ 37 w 119"/>
                <a:gd name="T5" fmla="*/ 93 h 228"/>
                <a:gd name="T6" fmla="*/ 15 w 119"/>
                <a:gd name="T7" fmla="*/ 107 h 228"/>
                <a:gd name="T8" fmla="*/ 24 w 119"/>
                <a:gd name="T9" fmla="*/ 228 h 228"/>
                <a:gd name="T10" fmla="*/ 116 w 119"/>
                <a:gd name="T11" fmla="*/ 211 h 228"/>
                <a:gd name="T12" fmla="*/ 141 w 119"/>
                <a:gd name="T13" fmla="*/ 211 h 228"/>
                <a:gd name="T14" fmla="*/ 154 w 119"/>
                <a:gd name="T15" fmla="*/ 198 h 228"/>
                <a:gd name="T16" fmla="*/ 154 w 119"/>
                <a:gd name="T17" fmla="*/ 176 h 228"/>
                <a:gd name="T18" fmla="*/ 165 w 119"/>
                <a:gd name="T19" fmla="*/ 161 h 228"/>
                <a:gd name="T20" fmla="*/ 113 w 119"/>
                <a:gd name="T21" fmla="*/ 144 h 228"/>
                <a:gd name="T22" fmla="*/ 47 w 119"/>
                <a:gd name="T23" fmla="*/ 11 h 228"/>
                <a:gd name="T24" fmla="*/ 34 w 119"/>
                <a:gd name="T25" fmla="*/ 0 h 22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9"/>
                <a:gd name="T40" fmla="*/ 0 h 228"/>
                <a:gd name="T41" fmla="*/ 119 w 119"/>
                <a:gd name="T42" fmla="*/ 228 h 22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9" h="228">
                  <a:moveTo>
                    <a:pt x="25" y="0"/>
                  </a:moveTo>
                  <a:lnTo>
                    <a:pt x="0" y="40"/>
                  </a:lnTo>
                  <a:lnTo>
                    <a:pt x="27" y="93"/>
                  </a:lnTo>
                  <a:lnTo>
                    <a:pt x="11" y="107"/>
                  </a:lnTo>
                  <a:lnTo>
                    <a:pt x="17" y="228"/>
                  </a:lnTo>
                  <a:lnTo>
                    <a:pt x="84" y="211"/>
                  </a:lnTo>
                  <a:lnTo>
                    <a:pt x="102" y="211"/>
                  </a:lnTo>
                  <a:lnTo>
                    <a:pt x="112" y="198"/>
                  </a:lnTo>
                  <a:lnTo>
                    <a:pt x="112" y="176"/>
                  </a:lnTo>
                  <a:lnTo>
                    <a:pt x="119" y="161"/>
                  </a:lnTo>
                  <a:lnTo>
                    <a:pt x="82" y="144"/>
                  </a:lnTo>
                  <a:lnTo>
                    <a:pt x="34" y="11"/>
                  </a:lnTo>
                  <a:lnTo>
                    <a:pt x="25" y="0"/>
                  </a:lnTo>
                  <a:close/>
                </a:path>
              </a:pathLst>
            </a:custGeom>
            <a:grpFill/>
            <a:ln w="12700">
              <a:solidFill>
                <a:schemeClr val="bg1"/>
              </a:solidFill>
              <a:round/>
              <a:headEnd/>
              <a:tailEnd/>
            </a:ln>
          </p:spPr>
          <p:txBody>
            <a:bodyPr/>
            <a:lstStyle/>
            <a:p>
              <a:pPr>
                <a:defRPr/>
              </a:pPr>
              <a:endParaRPr lang="en-GB">
                <a:solidFill>
                  <a:srgbClr val="FF0000"/>
                </a:solidFill>
              </a:endParaRPr>
            </a:p>
          </p:txBody>
        </p:sp>
        <p:grpSp>
          <p:nvGrpSpPr>
            <p:cNvPr id="26" name="Group 25">
              <a:extLst>
                <a:ext uri="{FF2B5EF4-FFF2-40B4-BE49-F238E27FC236}">
                  <a16:creationId xmlns:a16="http://schemas.microsoft.com/office/drawing/2014/main" id="{69BEEFD9-0845-49B6-87E4-ADD6E5DB809C}"/>
                </a:ext>
              </a:extLst>
            </p:cNvPr>
            <p:cNvGrpSpPr>
              <a:grpSpLocks/>
            </p:cNvGrpSpPr>
            <p:nvPr/>
          </p:nvGrpSpPr>
          <p:grpSpPr bwMode="auto">
            <a:xfrm>
              <a:off x="2030693" y="2176832"/>
              <a:ext cx="5263492" cy="2675059"/>
              <a:chOff x="1657" y="1277"/>
              <a:chExt cx="2764" cy="1404"/>
            </a:xfrm>
            <a:grpFill/>
          </p:grpSpPr>
          <p:sp>
            <p:nvSpPr>
              <p:cNvPr id="39" name="Freeform 28">
                <a:extLst>
                  <a:ext uri="{FF2B5EF4-FFF2-40B4-BE49-F238E27FC236}">
                    <a16:creationId xmlns:a16="http://schemas.microsoft.com/office/drawing/2014/main" id="{69306175-3DB9-4773-B4C2-0029A75DB2A2}"/>
                  </a:ext>
                </a:extLst>
              </p:cNvPr>
              <p:cNvSpPr>
                <a:spLocks/>
              </p:cNvSpPr>
              <p:nvPr/>
            </p:nvSpPr>
            <p:spPr bwMode="auto">
              <a:xfrm>
                <a:off x="1657" y="1722"/>
                <a:ext cx="388" cy="629"/>
              </a:xfrm>
              <a:custGeom>
                <a:avLst/>
                <a:gdLst>
                  <a:gd name="T0" fmla="*/ 50 w 388"/>
                  <a:gd name="T1" fmla="*/ 0 h 629"/>
                  <a:gd name="T2" fmla="*/ 0 w 388"/>
                  <a:gd name="T3" fmla="*/ 250 h 629"/>
                  <a:gd name="T4" fmla="*/ 264 w 388"/>
                  <a:gd name="T5" fmla="*/ 629 h 629"/>
                  <a:gd name="T6" fmla="*/ 281 w 388"/>
                  <a:gd name="T7" fmla="*/ 613 h 629"/>
                  <a:gd name="T8" fmla="*/ 279 w 388"/>
                  <a:gd name="T9" fmla="*/ 538 h 629"/>
                  <a:gd name="T10" fmla="*/ 312 w 388"/>
                  <a:gd name="T11" fmla="*/ 544 h 629"/>
                  <a:gd name="T12" fmla="*/ 346 w 388"/>
                  <a:gd name="T13" fmla="*/ 313 h 629"/>
                  <a:gd name="T14" fmla="*/ 369 w 388"/>
                  <a:gd name="T15" fmla="*/ 157 h 629"/>
                  <a:gd name="T16" fmla="*/ 376 w 388"/>
                  <a:gd name="T17" fmla="*/ 110 h 629"/>
                  <a:gd name="T18" fmla="*/ 388 w 388"/>
                  <a:gd name="T19" fmla="*/ 67 h 629"/>
                  <a:gd name="T20" fmla="*/ 214 w 388"/>
                  <a:gd name="T21" fmla="*/ 38 h 629"/>
                  <a:gd name="T22" fmla="*/ 50 w 388"/>
                  <a:gd name="T23" fmla="*/ 0 h 62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88"/>
                  <a:gd name="T37" fmla="*/ 0 h 629"/>
                  <a:gd name="T38" fmla="*/ 388 w 388"/>
                  <a:gd name="T39" fmla="*/ 629 h 62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88" h="629">
                    <a:moveTo>
                      <a:pt x="50" y="0"/>
                    </a:moveTo>
                    <a:lnTo>
                      <a:pt x="0" y="250"/>
                    </a:lnTo>
                    <a:lnTo>
                      <a:pt x="264" y="629"/>
                    </a:lnTo>
                    <a:lnTo>
                      <a:pt x="281" y="613"/>
                    </a:lnTo>
                    <a:lnTo>
                      <a:pt x="279" y="538"/>
                    </a:lnTo>
                    <a:lnTo>
                      <a:pt x="312" y="544"/>
                    </a:lnTo>
                    <a:lnTo>
                      <a:pt x="346" y="313"/>
                    </a:lnTo>
                    <a:lnTo>
                      <a:pt x="369" y="157"/>
                    </a:lnTo>
                    <a:lnTo>
                      <a:pt x="376" y="110"/>
                    </a:lnTo>
                    <a:lnTo>
                      <a:pt x="388" y="67"/>
                    </a:lnTo>
                    <a:lnTo>
                      <a:pt x="214" y="38"/>
                    </a:lnTo>
                    <a:lnTo>
                      <a:pt x="50"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0" name="Freeform 29">
                <a:extLst>
                  <a:ext uri="{FF2B5EF4-FFF2-40B4-BE49-F238E27FC236}">
                    <a16:creationId xmlns:a16="http://schemas.microsoft.com/office/drawing/2014/main" id="{F6254392-DF1C-4211-A982-6A4EA7F2E5E5}"/>
                  </a:ext>
                </a:extLst>
              </p:cNvPr>
              <p:cNvSpPr>
                <a:spLocks/>
              </p:cNvSpPr>
              <p:nvPr/>
            </p:nvSpPr>
            <p:spPr bwMode="auto">
              <a:xfrm>
                <a:off x="1978" y="1791"/>
                <a:ext cx="324" cy="449"/>
              </a:xfrm>
              <a:custGeom>
                <a:avLst/>
                <a:gdLst>
                  <a:gd name="T0" fmla="*/ 60 w 324"/>
                  <a:gd name="T1" fmla="*/ 0 h 449"/>
                  <a:gd name="T2" fmla="*/ 219 w 324"/>
                  <a:gd name="T3" fmla="*/ 23 h 449"/>
                  <a:gd name="T4" fmla="*/ 208 w 324"/>
                  <a:gd name="T5" fmla="*/ 109 h 449"/>
                  <a:gd name="T6" fmla="*/ 324 w 324"/>
                  <a:gd name="T7" fmla="*/ 121 h 449"/>
                  <a:gd name="T8" fmla="*/ 292 w 324"/>
                  <a:gd name="T9" fmla="*/ 449 h 449"/>
                  <a:gd name="T10" fmla="*/ 0 w 324"/>
                  <a:gd name="T11" fmla="*/ 415 h 449"/>
                  <a:gd name="T12" fmla="*/ 30 w 324"/>
                  <a:gd name="T13" fmla="*/ 205 h 449"/>
                  <a:gd name="T14" fmla="*/ 60 w 324"/>
                  <a:gd name="T15" fmla="*/ 0 h 449"/>
                  <a:gd name="T16" fmla="*/ 0 60000 65536"/>
                  <a:gd name="T17" fmla="*/ 0 60000 65536"/>
                  <a:gd name="T18" fmla="*/ 0 60000 65536"/>
                  <a:gd name="T19" fmla="*/ 0 60000 65536"/>
                  <a:gd name="T20" fmla="*/ 0 60000 65536"/>
                  <a:gd name="T21" fmla="*/ 0 60000 65536"/>
                  <a:gd name="T22" fmla="*/ 0 60000 65536"/>
                  <a:gd name="T23" fmla="*/ 0 60000 65536"/>
                  <a:gd name="T24" fmla="*/ 0 w 324"/>
                  <a:gd name="T25" fmla="*/ 0 h 449"/>
                  <a:gd name="T26" fmla="*/ 324 w 324"/>
                  <a:gd name="T27" fmla="*/ 449 h 44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4" h="449">
                    <a:moveTo>
                      <a:pt x="60" y="0"/>
                    </a:moveTo>
                    <a:lnTo>
                      <a:pt x="219" y="23"/>
                    </a:lnTo>
                    <a:lnTo>
                      <a:pt x="208" y="109"/>
                    </a:lnTo>
                    <a:lnTo>
                      <a:pt x="324" y="121"/>
                    </a:lnTo>
                    <a:lnTo>
                      <a:pt x="292" y="449"/>
                    </a:lnTo>
                    <a:lnTo>
                      <a:pt x="0" y="415"/>
                    </a:lnTo>
                    <a:lnTo>
                      <a:pt x="30" y="205"/>
                    </a:lnTo>
                    <a:lnTo>
                      <a:pt x="60"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1" name="Freeform 30">
                <a:extLst>
                  <a:ext uri="{FF2B5EF4-FFF2-40B4-BE49-F238E27FC236}">
                    <a16:creationId xmlns:a16="http://schemas.microsoft.com/office/drawing/2014/main" id="{1AEC1868-8B72-4FA1-BED5-D7641DD03F23}"/>
                  </a:ext>
                </a:extLst>
              </p:cNvPr>
              <p:cNvSpPr>
                <a:spLocks/>
              </p:cNvSpPr>
              <p:nvPr/>
            </p:nvSpPr>
            <p:spPr bwMode="auto">
              <a:xfrm>
                <a:off x="2183" y="1571"/>
                <a:ext cx="415" cy="365"/>
              </a:xfrm>
              <a:custGeom>
                <a:avLst/>
                <a:gdLst>
                  <a:gd name="T0" fmla="*/ 40 w 415"/>
                  <a:gd name="T1" fmla="*/ 0 h 365"/>
                  <a:gd name="T2" fmla="*/ 25 w 415"/>
                  <a:gd name="T3" fmla="*/ 136 h 365"/>
                  <a:gd name="T4" fmla="*/ 0 w 415"/>
                  <a:gd name="T5" fmla="*/ 331 h 365"/>
                  <a:gd name="T6" fmla="*/ 120 w 415"/>
                  <a:gd name="T7" fmla="*/ 342 h 365"/>
                  <a:gd name="T8" fmla="*/ 401 w 415"/>
                  <a:gd name="T9" fmla="*/ 365 h 365"/>
                  <a:gd name="T10" fmla="*/ 415 w 415"/>
                  <a:gd name="T11" fmla="*/ 37 h 365"/>
                  <a:gd name="T12" fmla="*/ 40 w 415"/>
                  <a:gd name="T13" fmla="*/ 0 h 365"/>
                  <a:gd name="T14" fmla="*/ 0 60000 65536"/>
                  <a:gd name="T15" fmla="*/ 0 60000 65536"/>
                  <a:gd name="T16" fmla="*/ 0 60000 65536"/>
                  <a:gd name="T17" fmla="*/ 0 60000 65536"/>
                  <a:gd name="T18" fmla="*/ 0 60000 65536"/>
                  <a:gd name="T19" fmla="*/ 0 60000 65536"/>
                  <a:gd name="T20" fmla="*/ 0 60000 65536"/>
                  <a:gd name="T21" fmla="*/ 0 w 415"/>
                  <a:gd name="T22" fmla="*/ 0 h 365"/>
                  <a:gd name="T23" fmla="*/ 415 w 415"/>
                  <a:gd name="T24" fmla="*/ 365 h 3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5" h="365">
                    <a:moveTo>
                      <a:pt x="40" y="0"/>
                    </a:moveTo>
                    <a:lnTo>
                      <a:pt x="25" y="136"/>
                    </a:lnTo>
                    <a:lnTo>
                      <a:pt x="0" y="331"/>
                    </a:lnTo>
                    <a:lnTo>
                      <a:pt x="120" y="342"/>
                    </a:lnTo>
                    <a:lnTo>
                      <a:pt x="401" y="365"/>
                    </a:lnTo>
                    <a:lnTo>
                      <a:pt x="415" y="37"/>
                    </a:lnTo>
                    <a:lnTo>
                      <a:pt x="40"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2" name="Freeform 31">
                <a:extLst>
                  <a:ext uri="{FF2B5EF4-FFF2-40B4-BE49-F238E27FC236}">
                    <a16:creationId xmlns:a16="http://schemas.microsoft.com/office/drawing/2014/main" id="{0278A10D-289B-4A4E-93BD-1673F5C04602}"/>
                  </a:ext>
                </a:extLst>
              </p:cNvPr>
              <p:cNvSpPr>
                <a:spLocks/>
              </p:cNvSpPr>
              <p:nvPr/>
            </p:nvSpPr>
            <p:spPr bwMode="auto">
              <a:xfrm>
                <a:off x="2267" y="1912"/>
                <a:ext cx="433" cy="347"/>
              </a:xfrm>
              <a:custGeom>
                <a:avLst/>
                <a:gdLst>
                  <a:gd name="T0" fmla="*/ 36 w 433"/>
                  <a:gd name="T1" fmla="*/ 0 h 347"/>
                  <a:gd name="T2" fmla="*/ 14 w 433"/>
                  <a:gd name="T3" fmla="*/ 208 h 347"/>
                  <a:gd name="T4" fmla="*/ 0 w 433"/>
                  <a:gd name="T5" fmla="*/ 328 h 347"/>
                  <a:gd name="T6" fmla="*/ 216 w 433"/>
                  <a:gd name="T7" fmla="*/ 339 h 347"/>
                  <a:gd name="T8" fmla="*/ 423 w 433"/>
                  <a:gd name="T9" fmla="*/ 347 h 347"/>
                  <a:gd name="T10" fmla="*/ 430 w 433"/>
                  <a:gd name="T11" fmla="*/ 184 h 347"/>
                  <a:gd name="T12" fmla="*/ 433 w 433"/>
                  <a:gd name="T13" fmla="*/ 26 h 347"/>
                  <a:gd name="T14" fmla="*/ 315 w 433"/>
                  <a:gd name="T15" fmla="*/ 23 h 347"/>
                  <a:gd name="T16" fmla="*/ 36 w 433"/>
                  <a:gd name="T17" fmla="*/ 0 h 34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33"/>
                  <a:gd name="T28" fmla="*/ 0 h 347"/>
                  <a:gd name="T29" fmla="*/ 433 w 433"/>
                  <a:gd name="T30" fmla="*/ 347 h 34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33" h="347">
                    <a:moveTo>
                      <a:pt x="36" y="0"/>
                    </a:moveTo>
                    <a:lnTo>
                      <a:pt x="14" y="208"/>
                    </a:lnTo>
                    <a:lnTo>
                      <a:pt x="0" y="328"/>
                    </a:lnTo>
                    <a:lnTo>
                      <a:pt x="216" y="339"/>
                    </a:lnTo>
                    <a:lnTo>
                      <a:pt x="423" y="347"/>
                    </a:lnTo>
                    <a:lnTo>
                      <a:pt x="430" y="184"/>
                    </a:lnTo>
                    <a:lnTo>
                      <a:pt x="433" y="26"/>
                    </a:lnTo>
                    <a:lnTo>
                      <a:pt x="315" y="23"/>
                    </a:lnTo>
                    <a:lnTo>
                      <a:pt x="36"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3" name="Freeform 32">
                <a:extLst>
                  <a:ext uri="{FF2B5EF4-FFF2-40B4-BE49-F238E27FC236}">
                    <a16:creationId xmlns:a16="http://schemas.microsoft.com/office/drawing/2014/main" id="{7C30A649-50C5-4DA1-AD91-002824AA666D}"/>
                  </a:ext>
                </a:extLst>
              </p:cNvPr>
              <p:cNvSpPr>
                <a:spLocks/>
              </p:cNvSpPr>
              <p:nvPr/>
            </p:nvSpPr>
            <p:spPr bwMode="auto">
              <a:xfrm>
                <a:off x="1877" y="2203"/>
                <a:ext cx="393" cy="469"/>
              </a:xfrm>
              <a:custGeom>
                <a:avLst/>
                <a:gdLst>
                  <a:gd name="T0" fmla="*/ 100 w 393"/>
                  <a:gd name="T1" fmla="*/ 0 h 469"/>
                  <a:gd name="T2" fmla="*/ 92 w 393"/>
                  <a:gd name="T3" fmla="*/ 61 h 469"/>
                  <a:gd name="T4" fmla="*/ 58 w 393"/>
                  <a:gd name="T5" fmla="*/ 54 h 469"/>
                  <a:gd name="T6" fmla="*/ 61 w 393"/>
                  <a:gd name="T7" fmla="*/ 133 h 469"/>
                  <a:gd name="T8" fmla="*/ 44 w 393"/>
                  <a:gd name="T9" fmla="*/ 148 h 469"/>
                  <a:gd name="T10" fmla="*/ 68 w 393"/>
                  <a:gd name="T11" fmla="*/ 197 h 469"/>
                  <a:gd name="T12" fmla="*/ 44 w 393"/>
                  <a:gd name="T13" fmla="*/ 218 h 469"/>
                  <a:gd name="T14" fmla="*/ 31 w 393"/>
                  <a:gd name="T15" fmla="*/ 253 h 469"/>
                  <a:gd name="T16" fmla="*/ 12 w 393"/>
                  <a:gd name="T17" fmla="*/ 287 h 469"/>
                  <a:gd name="T18" fmla="*/ 26 w 393"/>
                  <a:gd name="T19" fmla="*/ 307 h 469"/>
                  <a:gd name="T20" fmla="*/ 3 w 393"/>
                  <a:gd name="T21" fmla="*/ 315 h 469"/>
                  <a:gd name="T22" fmla="*/ 0 w 393"/>
                  <a:gd name="T23" fmla="*/ 347 h 469"/>
                  <a:gd name="T24" fmla="*/ 221 w 393"/>
                  <a:gd name="T25" fmla="*/ 467 h 469"/>
                  <a:gd name="T26" fmla="*/ 346 w 393"/>
                  <a:gd name="T27" fmla="*/ 469 h 469"/>
                  <a:gd name="T28" fmla="*/ 393 w 393"/>
                  <a:gd name="T29" fmla="*/ 37 h 469"/>
                  <a:gd name="T30" fmla="*/ 100 w 393"/>
                  <a:gd name="T31" fmla="*/ 0 h 4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3"/>
                  <a:gd name="T49" fmla="*/ 0 h 469"/>
                  <a:gd name="T50" fmla="*/ 393 w 393"/>
                  <a:gd name="T51" fmla="*/ 469 h 4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3" h="469">
                    <a:moveTo>
                      <a:pt x="100" y="0"/>
                    </a:moveTo>
                    <a:lnTo>
                      <a:pt x="92" y="61"/>
                    </a:lnTo>
                    <a:lnTo>
                      <a:pt x="58" y="54"/>
                    </a:lnTo>
                    <a:lnTo>
                      <a:pt x="61" y="133"/>
                    </a:lnTo>
                    <a:lnTo>
                      <a:pt x="44" y="148"/>
                    </a:lnTo>
                    <a:lnTo>
                      <a:pt x="68" y="197"/>
                    </a:lnTo>
                    <a:lnTo>
                      <a:pt x="44" y="218"/>
                    </a:lnTo>
                    <a:lnTo>
                      <a:pt x="31" y="253"/>
                    </a:lnTo>
                    <a:lnTo>
                      <a:pt x="12" y="287"/>
                    </a:lnTo>
                    <a:lnTo>
                      <a:pt x="26" y="307"/>
                    </a:lnTo>
                    <a:lnTo>
                      <a:pt x="3" y="315"/>
                    </a:lnTo>
                    <a:lnTo>
                      <a:pt x="0" y="347"/>
                    </a:lnTo>
                    <a:lnTo>
                      <a:pt x="221" y="467"/>
                    </a:lnTo>
                    <a:lnTo>
                      <a:pt x="346" y="469"/>
                    </a:lnTo>
                    <a:lnTo>
                      <a:pt x="393" y="37"/>
                    </a:lnTo>
                    <a:lnTo>
                      <a:pt x="100"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4" name="Freeform 33">
                <a:extLst>
                  <a:ext uri="{FF2B5EF4-FFF2-40B4-BE49-F238E27FC236}">
                    <a16:creationId xmlns:a16="http://schemas.microsoft.com/office/drawing/2014/main" id="{6CF1445F-DDFC-42E0-AB9E-A0A5C19E03C6}"/>
                  </a:ext>
                </a:extLst>
              </p:cNvPr>
              <p:cNvSpPr>
                <a:spLocks/>
              </p:cNvSpPr>
              <p:nvPr/>
            </p:nvSpPr>
            <p:spPr bwMode="auto">
              <a:xfrm>
                <a:off x="2220" y="2236"/>
                <a:ext cx="417" cy="445"/>
              </a:xfrm>
              <a:custGeom>
                <a:avLst/>
                <a:gdLst>
                  <a:gd name="T0" fmla="*/ 50 w 417"/>
                  <a:gd name="T1" fmla="*/ 0 h 445"/>
                  <a:gd name="T2" fmla="*/ 417 w 417"/>
                  <a:gd name="T3" fmla="*/ 18 h 445"/>
                  <a:gd name="T4" fmla="*/ 399 w 417"/>
                  <a:gd name="T5" fmla="*/ 411 h 445"/>
                  <a:gd name="T6" fmla="*/ 280 w 417"/>
                  <a:gd name="T7" fmla="*/ 403 h 445"/>
                  <a:gd name="T8" fmla="*/ 168 w 417"/>
                  <a:gd name="T9" fmla="*/ 400 h 445"/>
                  <a:gd name="T10" fmla="*/ 168 w 417"/>
                  <a:gd name="T11" fmla="*/ 415 h 445"/>
                  <a:gd name="T12" fmla="*/ 75 w 417"/>
                  <a:gd name="T13" fmla="*/ 415 h 445"/>
                  <a:gd name="T14" fmla="*/ 70 w 417"/>
                  <a:gd name="T15" fmla="*/ 445 h 445"/>
                  <a:gd name="T16" fmla="*/ 0 w 417"/>
                  <a:gd name="T17" fmla="*/ 435 h 445"/>
                  <a:gd name="T18" fmla="*/ 39 w 417"/>
                  <a:gd name="T19" fmla="*/ 102 h 445"/>
                  <a:gd name="T20" fmla="*/ 50 w 417"/>
                  <a:gd name="T21" fmla="*/ 0 h 44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17"/>
                  <a:gd name="T34" fmla="*/ 0 h 445"/>
                  <a:gd name="T35" fmla="*/ 417 w 417"/>
                  <a:gd name="T36" fmla="*/ 445 h 44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17" h="445">
                    <a:moveTo>
                      <a:pt x="50" y="0"/>
                    </a:moveTo>
                    <a:lnTo>
                      <a:pt x="417" y="18"/>
                    </a:lnTo>
                    <a:lnTo>
                      <a:pt x="399" y="411"/>
                    </a:lnTo>
                    <a:lnTo>
                      <a:pt x="280" y="403"/>
                    </a:lnTo>
                    <a:lnTo>
                      <a:pt x="168" y="400"/>
                    </a:lnTo>
                    <a:lnTo>
                      <a:pt x="168" y="415"/>
                    </a:lnTo>
                    <a:lnTo>
                      <a:pt x="75" y="415"/>
                    </a:lnTo>
                    <a:lnTo>
                      <a:pt x="70" y="445"/>
                    </a:lnTo>
                    <a:lnTo>
                      <a:pt x="0" y="435"/>
                    </a:lnTo>
                    <a:lnTo>
                      <a:pt x="39" y="102"/>
                    </a:lnTo>
                    <a:lnTo>
                      <a:pt x="50"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5" name="Freeform 34">
                <a:extLst>
                  <a:ext uri="{FF2B5EF4-FFF2-40B4-BE49-F238E27FC236}">
                    <a16:creationId xmlns:a16="http://schemas.microsoft.com/office/drawing/2014/main" id="{1EC3B4A4-9B28-4AA3-B20C-7000EE4A1E10}"/>
                  </a:ext>
                </a:extLst>
              </p:cNvPr>
              <p:cNvSpPr>
                <a:spLocks/>
              </p:cNvSpPr>
              <p:nvPr/>
            </p:nvSpPr>
            <p:spPr bwMode="auto">
              <a:xfrm>
                <a:off x="2599" y="1277"/>
                <a:ext cx="407" cy="256"/>
              </a:xfrm>
              <a:custGeom>
                <a:avLst/>
                <a:gdLst>
                  <a:gd name="T0" fmla="*/ 1 w 407"/>
                  <a:gd name="T1" fmla="*/ 0 h 256"/>
                  <a:gd name="T2" fmla="*/ 342 w 407"/>
                  <a:gd name="T3" fmla="*/ 8 h 256"/>
                  <a:gd name="T4" fmla="*/ 367 w 407"/>
                  <a:gd name="T5" fmla="*/ 83 h 256"/>
                  <a:gd name="T6" fmla="*/ 391 w 407"/>
                  <a:gd name="T7" fmla="*/ 141 h 256"/>
                  <a:gd name="T8" fmla="*/ 407 w 407"/>
                  <a:gd name="T9" fmla="*/ 235 h 256"/>
                  <a:gd name="T10" fmla="*/ 397 w 407"/>
                  <a:gd name="T11" fmla="*/ 256 h 256"/>
                  <a:gd name="T12" fmla="*/ 272 w 407"/>
                  <a:gd name="T13" fmla="*/ 253 h 256"/>
                  <a:gd name="T14" fmla="*/ 0 w 407"/>
                  <a:gd name="T15" fmla="*/ 248 h 256"/>
                  <a:gd name="T16" fmla="*/ 1 w 407"/>
                  <a:gd name="T17" fmla="*/ 0 h 25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7"/>
                  <a:gd name="T28" fmla="*/ 0 h 256"/>
                  <a:gd name="T29" fmla="*/ 407 w 407"/>
                  <a:gd name="T30" fmla="*/ 256 h 25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7" h="256">
                    <a:moveTo>
                      <a:pt x="1" y="0"/>
                    </a:moveTo>
                    <a:lnTo>
                      <a:pt x="342" y="8"/>
                    </a:lnTo>
                    <a:lnTo>
                      <a:pt x="367" y="83"/>
                    </a:lnTo>
                    <a:lnTo>
                      <a:pt x="391" y="141"/>
                    </a:lnTo>
                    <a:lnTo>
                      <a:pt x="407" y="235"/>
                    </a:lnTo>
                    <a:lnTo>
                      <a:pt x="397" y="256"/>
                    </a:lnTo>
                    <a:lnTo>
                      <a:pt x="272" y="253"/>
                    </a:lnTo>
                    <a:lnTo>
                      <a:pt x="0" y="248"/>
                    </a:lnTo>
                    <a:lnTo>
                      <a:pt x="1"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6" name="Freeform 35">
                <a:extLst>
                  <a:ext uri="{FF2B5EF4-FFF2-40B4-BE49-F238E27FC236}">
                    <a16:creationId xmlns:a16="http://schemas.microsoft.com/office/drawing/2014/main" id="{9BEE2796-4A51-4709-8E2F-594439484B66}"/>
                  </a:ext>
                </a:extLst>
              </p:cNvPr>
              <p:cNvSpPr>
                <a:spLocks/>
              </p:cNvSpPr>
              <p:nvPr/>
            </p:nvSpPr>
            <p:spPr bwMode="auto">
              <a:xfrm>
                <a:off x="2588" y="1524"/>
                <a:ext cx="428" cy="300"/>
              </a:xfrm>
              <a:custGeom>
                <a:avLst/>
                <a:gdLst>
                  <a:gd name="T0" fmla="*/ 8 w 428"/>
                  <a:gd name="T1" fmla="*/ 0 h 300"/>
                  <a:gd name="T2" fmla="*/ 7 w 428"/>
                  <a:gd name="T3" fmla="*/ 116 h 300"/>
                  <a:gd name="T4" fmla="*/ 0 w 428"/>
                  <a:gd name="T5" fmla="*/ 252 h 300"/>
                  <a:gd name="T6" fmla="*/ 311 w 428"/>
                  <a:gd name="T7" fmla="*/ 257 h 300"/>
                  <a:gd name="T8" fmla="*/ 344 w 428"/>
                  <a:gd name="T9" fmla="*/ 276 h 300"/>
                  <a:gd name="T10" fmla="*/ 367 w 428"/>
                  <a:gd name="T11" fmla="*/ 250 h 300"/>
                  <a:gd name="T12" fmla="*/ 428 w 428"/>
                  <a:gd name="T13" fmla="*/ 300 h 300"/>
                  <a:gd name="T14" fmla="*/ 419 w 428"/>
                  <a:gd name="T15" fmla="*/ 248 h 300"/>
                  <a:gd name="T16" fmla="*/ 425 w 428"/>
                  <a:gd name="T17" fmla="*/ 208 h 300"/>
                  <a:gd name="T18" fmla="*/ 428 w 428"/>
                  <a:gd name="T19" fmla="*/ 71 h 300"/>
                  <a:gd name="T20" fmla="*/ 401 w 428"/>
                  <a:gd name="T21" fmla="*/ 42 h 300"/>
                  <a:gd name="T22" fmla="*/ 412 w 428"/>
                  <a:gd name="T23" fmla="*/ 4 h 300"/>
                  <a:gd name="T24" fmla="*/ 208 w 428"/>
                  <a:gd name="T25" fmla="*/ 3 h 300"/>
                  <a:gd name="T26" fmla="*/ 8 w 428"/>
                  <a:gd name="T27" fmla="*/ 0 h 30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28"/>
                  <a:gd name="T43" fmla="*/ 0 h 300"/>
                  <a:gd name="T44" fmla="*/ 428 w 428"/>
                  <a:gd name="T45" fmla="*/ 300 h 30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28" h="300">
                    <a:moveTo>
                      <a:pt x="8" y="0"/>
                    </a:moveTo>
                    <a:lnTo>
                      <a:pt x="7" y="116"/>
                    </a:lnTo>
                    <a:lnTo>
                      <a:pt x="0" y="252"/>
                    </a:lnTo>
                    <a:lnTo>
                      <a:pt x="311" y="257"/>
                    </a:lnTo>
                    <a:lnTo>
                      <a:pt x="344" y="276"/>
                    </a:lnTo>
                    <a:lnTo>
                      <a:pt x="367" y="250"/>
                    </a:lnTo>
                    <a:lnTo>
                      <a:pt x="428" y="300"/>
                    </a:lnTo>
                    <a:lnTo>
                      <a:pt x="419" y="248"/>
                    </a:lnTo>
                    <a:lnTo>
                      <a:pt x="425" y="208"/>
                    </a:lnTo>
                    <a:lnTo>
                      <a:pt x="428" y="71"/>
                    </a:lnTo>
                    <a:lnTo>
                      <a:pt x="401" y="42"/>
                    </a:lnTo>
                    <a:lnTo>
                      <a:pt x="412" y="4"/>
                    </a:lnTo>
                    <a:lnTo>
                      <a:pt x="208" y="3"/>
                    </a:lnTo>
                    <a:lnTo>
                      <a:pt x="8"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7" name="Freeform 36">
                <a:extLst>
                  <a:ext uri="{FF2B5EF4-FFF2-40B4-BE49-F238E27FC236}">
                    <a16:creationId xmlns:a16="http://schemas.microsoft.com/office/drawing/2014/main" id="{1E1D136D-346D-417C-A6CC-185FB1A470A0}"/>
                  </a:ext>
                </a:extLst>
              </p:cNvPr>
              <p:cNvSpPr>
                <a:spLocks/>
              </p:cNvSpPr>
              <p:nvPr/>
            </p:nvSpPr>
            <p:spPr bwMode="auto">
              <a:xfrm>
                <a:off x="2582" y="1773"/>
                <a:ext cx="510" cy="247"/>
              </a:xfrm>
              <a:custGeom>
                <a:avLst/>
                <a:gdLst>
                  <a:gd name="T0" fmla="*/ 5 w 510"/>
                  <a:gd name="T1" fmla="*/ 0 h 247"/>
                  <a:gd name="T2" fmla="*/ 0 w 510"/>
                  <a:gd name="T3" fmla="*/ 163 h 247"/>
                  <a:gd name="T4" fmla="*/ 115 w 510"/>
                  <a:gd name="T5" fmla="*/ 167 h 247"/>
                  <a:gd name="T6" fmla="*/ 114 w 510"/>
                  <a:gd name="T7" fmla="*/ 247 h 247"/>
                  <a:gd name="T8" fmla="*/ 269 w 510"/>
                  <a:gd name="T9" fmla="*/ 245 h 247"/>
                  <a:gd name="T10" fmla="*/ 408 w 510"/>
                  <a:gd name="T11" fmla="*/ 242 h 247"/>
                  <a:gd name="T12" fmla="*/ 510 w 510"/>
                  <a:gd name="T13" fmla="*/ 245 h 247"/>
                  <a:gd name="T14" fmla="*/ 478 w 510"/>
                  <a:gd name="T15" fmla="*/ 175 h 247"/>
                  <a:gd name="T16" fmla="*/ 456 w 510"/>
                  <a:gd name="T17" fmla="*/ 110 h 247"/>
                  <a:gd name="T18" fmla="*/ 432 w 510"/>
                  <a:gd name="T19" fmla="*/ 43 h 247"/>
                  <a:gd name="T20" fmla="*/ 374 w 510"/>
                  <a:gd name="T21" fmla="*/ 1 h 247"/>
                  <a:gd name="T22" fmla="*/ 348 w 510"/>
                  <a:gd name="T23" fmla="*/ 26 h 247"/>
                  <a:gd name="T24" fmla="*/ 316 w 510"/>
                  <a:gd name="T25" fmla="*/ 8 h 247"/>
                  <a:gd name="T26" fmla="*/ 177 w 510"/>
                  <a:gd name="T27" fmla="*/ 3 h 247"/>
                  <a:gd name="T28" fmla="*/ 5 w 510"/>
                  <a:gd name="T29" fmla="*/ 0 h 24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10"/>
                  <a:gd name="T46" fmla="*/ 0 h 247"/>
                  <a:gd name="T47" fmla="*/ 510 w 510"/>
                  <a:gd name="T48" fmla="*/ 247 h 24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10" h="247">
                    <a:moveTo>
                      <a:pt x="5" y="0"/>
                    </a:moveTo>
                    <a:lnTo>
                      <a:pt x="0" y="163"/>
                    </a:lnTo>
                    <a:lnTo>
                      <a:pt x="115" y="167"/>
                    </a:lnTo>
                    <a:lnTo>
                      <a:pt x="114" y="247"/>
                    </a:lnTo>
                    <a:lnTo>
                      <a:pt x="269" y="245"/>
                    </a:lnTo>
                    <a:lnTo>
                      <a:pt x="408" y="242"/>
                    </a:lnTo>
                    <a:lnTo>
                      <a:pt x="510" y="245"/>
                    </a:lnTo>
                    <a:lnTo>
                      <a:pt x="478" y="175"/>
                    </a:lnTo>
                    <a:lnTo>
                      <a:pt x="456" y="110"/>
                    </a:lnTo>
                    <a:lnTo>
                      <a:pt x="432" y="43"/>
                    </a:lnTo>
                    <a:lnTo>
                      <a:pt x="374" y="1"/>
                    </a:lnTo>
                    <a:lnTo>
                      <a:pt x="348" y="26"/>
                    </a:lnTo>
                    <a:lnTo>
                      <a:pt x="316" y="8"/>
                    </a:lnTo>
                    <a:lnTo>
                      <a:pt x="177" y="3"/>
                    </a:lnTo>
                    <a:lnTo>
                      <a:pt x="5"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8" name="Freeform 37">
                <a:extLst>
                  <a:ext uri="{FF2B5EF4-FFF2-40B4-BE49-F238E27FC236}">
                    <a16:creationId xmlns:a16="http://schemas.microsoft.com/office/drawing/2014/main" id="{71DEA7DC-64F6-4018-AB63-19EAABD780BD}"/>
                  </a:ext>
                </a:extLst>
              </p:cNvPr>
              <p:cNvSpPr>
                <a:spLocks/>
              </p:cNvSpPr>
              <p:nvPr/>
            </p:nvSpPr>
            <p:spPr bwMode="auto">
              <a:xfrm>
                <a:off x="2690" y="2014"/>
                <a:ext cx="449" cy="246"/>
              </a:xfrm>
              <a:custGeom>
                <a:avLst/>
                <a:gdLst>
                  <a:gd name="T0" fmla="*/ 5 w 449"/>
                  <a:gd name="T1" fmla="*/ 2 h 246"/>
                  <a:gd name="T2" fmla="*/ 3 w 449"/>
                  <a:gd name="T3" fmla="*/ 143 h 246"/>
                  <a:gd name="T4" fmla="*/ 0 w 449"/>
                  <a:gd name="T5" fmla="*/ 243 h 246"/>
                  <a:gd name="T6" fmla="*/ 449 w 449"/>
                  <a:gd name="T7" fmla="*/ 246 h 246"/>
                  <a:gd name="T8" fmla="*/ 440 w 449"/>
                  <a:gd name="T9" fmla="*/ 118 h 246"/>
                  <a:gd name="T10" fmla="*/ 440 w 449"/>
                  <a:gd name="T11" fmla="*/ 69 h 246"/>
                  <a:gd name="T12" fmla="*/ 404 w 449"/>
                  <a:gd name="T13" fmla="*/ 40 h 246"/>
                  <a:gd name="T14" fmla="*/ 415 w 449"/>
                  <a:gd name="T15" fmla="*/ 14 h 246"/>
                  <a:gd name="T16" fmla="*/ 399 w 449"/>
                  <a:gd name="T17" fmla="*/ 0 h 246"/>
                  <a:gd name="T18" fmla="*/ 196 w 449"/>
                  <a:gd name="T19" fmla="*/ 2 h 246"/>
                  <a:gd name="T20" fmla="*/ 5 w 449"/>
                  <a:gd name="T21" fmla="*/ 2 h 2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49"/>
                  <a:gd name="T34" fmla="*/ 0 h 246"/>
                  <a:gd name="T35" fmla="*/ 449 w 449"/>
                  <a:gd name="T36" fmla="*/ 246 h 2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49" h="246">
                    <a:moveTo>
                      <a:pt x="5" y="2"/>
                    </a:moveTo>
                    <a:lnTo>
                      <a:pt x="3" y="143"/>
                    </a:lnTo>
                    <a:lnTo>
                      <a:pt x="0" y="243"/>
                    </a:lnTo>
                    <a:lnTo>
                      <a:pt x="449" y="246"/>
                    </a:lnTo>
                    <a:lnTo>
                      <a:pt x="440" y="118"/>
                    </a:lnTo>
                    <a:lnTo>
                      <a:pt x="440" y="69"/>
                    </a:lnTo>
                    <a:lnTo>
                      <a:pt x="404" y="40"/>
                    </a:lnTo>
                    <a:lnTo>
                      <a:pt x="415" y="14"/>
                    </a:lnTo>
                    <a:lnTo>
                      <a:pt x="399" y="0"/>
                    </a:lnTo>
                    <a:lnTo>
                      <a:pt x="196" y="2"/>
                    </a:lnTo>
                    <a:lnTo>
                      <a:pt x="5" y="2"/>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49" name="Freeform 38">
                <a:extLst>
                  <a:ext uri="{FF2B5EF4-FFF2-40B4-BE49-F238E27FC236}">
                    <a16:creationId xmlns:a16="http://schemas.microsoft.com/office/drawing/2014/main" id="{3C24AE76-4645-43EE-9BCC-C92EE9AD5508}"/>
                  </a:ext>
                </a:extLst>
              </p:cNvPr>
              <p:cNvSpPr>
                <a:spLocks/>
              </p:cNvSpPr>
              <p:nvPr/>
            </p:nvSpPr>
            <p:spPr bwMode="auto">
              <a:xfrm>
                <a:off x="2630" y="2254"/>
                <a:ext cx="523" cy="270"/>
              </a:xfrm>
              <a:custGeom>
                <a:avLst/>
                <a:gdLst>
                  <a:gd name="T0" fmla="*/ 3 w 523"/>
                  <a:gd name="T1" fmla="*/ 0 h 270"/>
                  <a:gd name="T2" fmla="*/ 0 w 523"/>
                  <a:gd name="T3" fmla="*/ 48 h 270"/>
                  <a:gd name="T4" fmla="*/ 186 w 523"/>
                  <a:gd name="T5" fmla="*/ 55 h 270"/>
                  <a:gd name="T6" fmla="*/ 187 w 523"/>
                  <a:gd name="T7" fmla="*/ 209 h 270"/>
                  <a:gd name="T8" fmla="*/ 282 w 523"/>
                  <a:gd name="T9" fmla="*/ 251 h 270"/>
                  <a:gd name="T10" fmla="*/ 308 w 523"/>
                  <a:gd name="T11" fmla="*/ 236 h 270"/>
                  <a:gd name="T12" fmla="*/ 369 w 523"/>
                  <a:gd name="T13" fmla="*/ 270 h 270"/>
                  <a:gd name="T14" fmla="*/ 408 w 523"/>
                  <a:gd name="T15" fmla="*/ 269 h 270"/>
                  <a:gd name="T16" fmla="*/ 480 w 523"/>
                  <a:gd name="T17" fmla="*/ 236 h 270"/>
                  <a:gd name="T18" fmla="*/ 523 w 523"/>
                  <a:gd name="T19" fmla="*/ 268 h 270"/>
                  <a:gd name="T20" fmla="*/ 523 w 523"/>
                  <a:gd name="T21" fmla="*/ 101 h 270"/>
                  <a:gd name="T22" fmla="*/ 510 w 523"/>
                  <a:gd name="T23" fmla="*/ 3 h 270"/>
                  <a:gd name="T24" fmla="*/ 3 w 523"/>
                  <a:gd name="T25" fmla="*/ 0 h 27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23"/>
                  <a:gd name="T40" fmla="*/ 0 h 270"/>
                  <a:gd name="T41" fmla="*/ 523 w 523"/>
                  <a:gd name="T42" fmla="*/ 270 h 27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23" h="270">
                    <a:moveTo>
                      <a:pt x="3" y="0"/>
                    </a:moveTo>
                    <a:lnTo>
                      <a:pt x="0" y="48"/>
                    </a:lnTo>
                    <a:lnTo>
                      <a:pt x="186" y="55"/>
                    </a:lnTo>
                    <a:lnTo>
                      <a:pt x="187" y="209"/>
                    </a:lnTo>
                    <a:lnTo>
                      <a:pt x="282" y="251"/>
                    </a:lnTo>
                    <a:lnTo>
                      <a:pt x="308" y="236"/>
                    </a:lnTo>
                    <a:lnTo>
                      <a:pt x="369" y="270"/>
                    </a:lnTo>
                    <a:lnTo>
                      <a:pt x="408" y="269"/>
                    </a:lnTo>
                    <a:lnTo>
                      <a:pt x="480" y="236"/>
                    </a:lnTo>
                    <a:lnTo>
                      <a:pt x="523" y="268"/>
                    </a:lnTo>
                    <a:lnTo>
                      <a:pt x="523" y="101"/>
                    </a:lnTo>
                    <a:lnTo>
                      <a:pt x="510" y="3"/>
                    </a:lnTo>
                    <a:lnTo>
                      <a:pt x="3"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50" name="Freeform 39">
                <a:extLst>
                  <a:ext uri="{FF2B5EF4-FFF2-40B4-BE49-F238E27FC236}">
                    <a16:creationId xmlns:a16="http://schemas.microsoft.com/office/drawing/2014/main" id="{6722A183-C788-46EA-8A0A-7D70CD59C586}"/>
                  </a:ext>
                </a:extLst>
              </p:cNvPr>
              <p:cNvSpPr>
                <a:spLocks/>
              </p:cNvSpPr>
              <p:nvPr/>
            </p:nvSpPr>
            <p:spPr bwMode="auto">
              <a:xfrm>
                <a:off x="3006" y="1715"/>
                <a:ext cx="354" cy="247"/>
              </a:xfrm>
              <a:custGeom>
                <a:avLst/>
                <a:gdLst>
                  <a:gd name="T0" fmla="*/ 6 w 354"/>
                  <a:gd name="T1" fmla="*/ 13 h 247"/>
                  <a:gd name="T2" fmla="*/ 0 w 354"/>
                  <a:gd name="T3" fmla="*/ 57 h 247"/>
                  <a:gd name="T4" fmla="*/ 8 w 354"/>
                  <a:gd name="T5" fmla="*/ 103 h 247"/>
                  <a:gd name="T6" fmla="*/ 41 w 354"/>
                  <a:gd name="T7" fmla="*/ 197 h 247"/>
                  <a:gd name="T8" fmla="*/ 59 w 354"/>
                  <a:gd name="T9" fmla="*/ 247 h 247"/>
                  <a:gd name="T10" fmla="*/ 267 w 354"/>
                  <a:gd name="T11" fmla="*/ 235 h 247"/>
                  <a:gd name="T12" fmla="*/ 301 w 354"/>
                  <a:gd name="T13" fmla="*/ 247 h 247"/>
                  <a:gd name="T14" fmla="*/ 322 w 354"/>
                  <a:gd name="T15" fmla="*/ 199 h 247"/>
                  <a:gd name="T16" fmla="*/ 314 w 354"/>
                  <a:gd name="T17" fmla="*/ 165 h 247"/>
                  <a:gd name="T18" fmla="*/ 349 w 354"/>
                  <a:gd name="T19" fmla="*/ 158 h 247"/>
                  <a:gd name="T20" fmla="*/ 354 w 354"/>
                  <a:gd name="T21" fmla="*/ 104 h 247"/>
                  <a:gd name="T22" fmla="*/ 333 w 354"/>
                  <a:gd name="T23" fmla="*/ 80 h 247"/>
                  <a:gd name="T24" fmla="*/ 297 w 354"/>
                  <a:gd name="T25" fmla="*/ 57 h 247"/>
                  <a:gd name="T26" fmla="*/ 304 w 354"/>
                  <a:gd name="T27" fmla="*/ 24 h 247"/>
                  <a:gd name="T28" fmla="*/ 289 w 354"/>
                  <a:gd name="T29" fmla="*/ 0 h 247"/>
                  <a:gd name="T30" fmla="*/ 211 w 354"/>
                  <a:gd name="T31" fmla="*/ 4 h 247"/>
                  <a:gd name="T32" fmla="*/ 133 w 354"/>
                  <a:gd name="T33" fmla="*/ 7 h 247"/>
                  <a:gd name="T34" fmla="*/ 6 w 354"/>
                  <a:gd name="T35" fmla="*/ 13 h 24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4"/>
                  <a:gd name="T55" fmla="*/ 0 h 247"/>
                  <a:gd name="T56" fmla="*/ 354 w 354"/>
                  <a:gd name="T57" fmla="*/ 247 h 24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4" h="247">
                    <a:moveTo>
                      <a:pt x="6" y="13"/>
                    </a:moveTo>
                    <a:lnTo>
                      <a:pt x="0" y="57"/>
                    </a:lnTo>
                    <a:lnTo>
                      <a:pt x="8" y="103"/>
                    </a:lnTo>
                    <a:lnTo>
                      <a:pt x="41" y="197"/>
                    </a:lnTo>
                    <a:lnTo>
                      <a:pt x="59" y="247"/>
                    </a:lnTo>
                    <a:lnTo>
                      <a:pt x="267" y="235"/>
                    </a:lnTo>
                    <a:lnTo>
                      <a:pt x="301" y="247"/>
                    </a:lnTo>
                    <a:lnTo>
                      <a:pt x="322" y="199"/>
                    </a:lnTo>
                    <a:lnTo>
                      <a:pt x="314" y="165"/>
                    </a:lnTo>
                    <a:lnTo>
                      <a:pt x="349" y="158"/>
                    </a:lnTo>
                    <a:lnTo>
                      <a:pt x="354" y="104"/>
                    </a:lnTo>
                    <a:lnTo>
                      <a:pt x="333" y="80"/>
                    </a:lnTo>
                    <a:lnTo>
                      <a:pt x="297" y="57"/>
                    </a:lnTo>
                    <a:lnTo>
                      <a:pt x="304" y="24"/>
                    </a:lnTo>
                    <a:lnTo>
                      <a:pt x="289" y="0"/>
                    </a:lnTo>
                    <a:lnTo>
                      <a:pt x="211" y="4"/>
                    </a:lnTo>
                    <a:lnTo>
                      <a:pt x="133" y="7"/>
                    </a:lnTo>
                    <a:lnTo>
                      <a:pt x="6" y="13"/>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51" name="Freeform 40">
                <a:extLst>
                  <a:ext uri="{FF2B5EF4-FFF2-40B4-BE49-F238E27FC236}">
                    <a16:creationId xmlns:a16="http://schemas.microsoft.com/office/drawing/2014/main" id="{6E1E66FA-E2FC-4BAD-AB9E-96A2A1BC4C71}"/>
                  </a:ext>
                </a:extLst>
              </p:cNvPr>
              <p:cNvSpPr>
                <a:spLocks/>
              </p:cNvSpPr>
              <p:nvPr/>
            </p:nvSpPr>
            <p:spPr bwMode="auto">
              <a:xfrm>
                <a:off x="3290" y="1768"/>
                <a:ext cx="253" cy="451"/>
              </a:xfrm>
              <a:custGeom>
                <a:avLst/>
                <a:gdLst>
                  <a:gd name="T0" fmla="*/ 47 w 253"/>
                  <a:gd name="T1" fmla="*/ 26 h 451"/>
                  <a:gd name="T2" fmla="*/ 192 w 253"/>
                  <a:gd name="T3" fmla="*/ 0 h 451"/>
                  <a:gd name="T4" fmla="*/ 215 w 253"/>
                  <a:gd name="T5" fmla="*/ 56 h 451"/>
                  <a:gd name="T6" fmla="*/ 245 w 253"/>
                  <a:gd name="T7" fmla="*/ 286 h 451"/>
                  <a:gd name="T8" fmla="*/ 253 w 253"/>
                  <a:gd name="T9" fmla="*/ 317 h 451"/>
                  <a:gd name="T10" fmla="*/ 230 w 253"/>
                  <a:gd name="T11" fmla="*/ 378 h 451"/>
                  <a:gd name="T12" fmla="*/ 230 w 253"/>
                  <a:gd name="T13" fmla="*/ 420 h 451"/>
                  <a:gd name="T14" fmla="*/ 204 w 253"/>
                  <a:gd name="T15" fmla="*/ 415 h 451"/>
                  <a:gd name="T16" fmla="*/ 205 w 253"/>
                  <a:gd name="T17" fmla="*/ 451 h 451"/>
                  <a:gd name="T18" fmla="*/ 178 w 253"/>
                  <a:gd name="T19" fmla="*/ 436 h 451"/>
                  <a:gd name="T20" fmla="*/ 164 w 253"/>
                  <a:gd name="T21" fmla="*/ 441 h 451"/>
                  <a:gd name="T22" fmla="*/ 143 w 253"/>
                  <a:gd name="T23" fmla="*/ 438 h 451"/>
                  <a:gd name="T24" fmla="*/ 128 w 253"/>
                  <a:gd name="T25" fmla="*/ 384 h 451"/>
                  <a:gd name="T26" fmla="*/ 98 w 253"/>
                  <a:gd name="T27" fmla="*/ 367 h 451"/>
                  <a:gd name="T28" fmla="*/ 98 w 253"/>
                  <a:gd name="T29" fmla="*/ 309 h 451"/>
                  <a:gd name="T30" fmla="*/ 69 w 253"/>
                  <a:gd name="T31" fmla="*/ 317 h 451"/>
                  <a:gd name="T32" fmla="*/ 52 w 253"/>
                  <a:gd name="T33" fmla="*/ 274 h 451"/>
                  <a:gd name="T34" fmla="*/ 0 w 253"/>
                  <a:gd name="T35" fmla="*/ 225 h 451"/>
                  <a:gd name="T36" fmla="*/ 38 w 253"/>
                  <a:gd name="T37" fmla="*/ 147 h 451"/>
                  <a:gd name="T38" fmla="*/ 27 w 253"/>
                  <a:gd name="T39" fmla="*/ 111 h 451"/>
                  <a:gd name="T40" fmla="*/ 65 w 253"/>
                  <a:gd name="T41" fmla="*/ 104 h 451"/>
                  <a:gd name="T42" fmla="*/ 69 w 253"/>
                  <a:gd name="T43" fmla="*/ 53 h 451"/>
                  <a:gd name="T44" fmla="*/ 47 w 253"/>
                  <a:gd name="T45" fmla="*/ 26 h 4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53"/>
                  <a:gd name="T70" fmla="*/ 0 h 451"/>
                  <a:gd name="T71" fmla="*/ 253 w 253"/>
                  <a:gd name="T72" fmla="*/ 451 h 4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53" h="451">
                    <a:moveTo>
                      <a:pt x="47" y="26"/>
                    </a:moveTo>
                    <a:lnTo>
                      <a:pt x="192" y="0"/>
                    </a:lnTo>
                    <a:lnTo>
                      <a:pt x="215" y="56"/>
                    </a:lnTo>
                    <a:lnTo>
                      <a:pt x="245" y="286"/>
                    </a:lnTo>
                    <a:lnTo>
                      <a:pt x="253" y="317"/>
                    </a:lnTo>
                    <a:lnTo>
                      <a:pt x="230" y="378"/>
                    </a:lnTo>
                    <a:lnTo>
                      <a:pt x="230" y="420"/>
                    </a:lnTo>
                    <a:lnTo>
                      <a:pt x="204" y="415"/>
                    </a:lnTo>
                    <a:lnTo>
                      <a:pt x="205" y="451"/>
                    </a:lnTo>
                    <a:lnTo>
                      <a:pt x="178" y="436"/>
                    </a:lnTo>
                    <a:lnTo>
                      <a:pt x="164" y="441"/>
                    </a:lnTo>
                    <a:lnTo>
                      <a:pt x="143" y="438"/>
                    </a:lnTo>
                    <a:lnTo>
                      <a:pt x="128" y="384"/>
                    </a:lnTo>
                    <a:lnTo>
                      <a:pt x="98" y="367"/>
                    </a:lnTo>
                    <a:lnTo>
                      <a:pt x="98" y="309"/>
                    </a:lnTo>
                    <a:lnTo>
                      <a:pt x="69" y="317"/>
                    </a:lnTo>
                    <a:lnTo>
                      <a:pt x="52" y="274"/>
                    </a:lnTo>
                    <a:lnTo>
                      <a:pt x="0" y="225"/>
                    </a:lnTo>
                    <a:lnTo>
                      <a:pt x="38" y="147"/>
                    </a:lnTo>
                    <a:lnTo>
                      <a:pt x="27" y="111"/>
                    </a:lnTo>
                    <a:lnTo>
                      <a:pt x="65" y="104"/>
                    </a:lnTo>
                    <a:lnTo>
                      <a:pt x="69" y="53"/>
                    </a:lnTo>
                    <a:lnTo>
                      <a:pt x="47" y="26"/>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52" name="Freeform 41">
                <a:extLst>
                  <a:ext uri="{FF2B5EF4-FFF2-40B4-BE49-F238E27FC236}">
                    <a16:creationId xmlns:a16="http://schemas.microsoft.com/office/drawing/2014/main" id="{D1D0AADF-1A34-4E36-815C-A6A0612B6868}"/>
                  </a:ext>
                </a:extLst>
              </p:cNvPr>
              <p:cNvSpPr>
                <a:spLocks/>
              </p:cNvSpPr>
              <p:nvPr/>
            </p:nvSpPr>
            <p:spPr bwMode="auto">
              <a:xfrm>
                <a:off x="4206" y="1689"/>
                <a:ext cx="92" cy="196"/>
              </a:xfrm>
              <a:custGeom>
                <a:avLst/>
                <a:gdLst>
                  <a:gd name="T0" fmla="*/ 17 w 92"/>
                  <a:gd name="T1" fmla="*/ 2 h 196"/>
                  <a:gd name="T2" fmla="*/ 39 w 92"/>
                  <a:gd name="T3" fmla="*/ 0 h 196"/>
                  <a:gd name="T4" fmla="*/ 82 w 92"/>
                  <a:gd name="T5" fmla="*/ 30 h 196"/>
                  <a:gd name="T6" fmla="*/ 76 w 92"/>
                  <a:gd name="T7" fmla="*/ 53 h 196"/>
                  <a:gd name="T8" fmla="*/ 91 w 92"/>
                  <a:gd name="T9" fmla="*/ 69 h 196"/>
                  <a:gd name="T10" fmla="*/ 92 w 92"/>
                  <a:gd name="T11" fmla="*/ 160 h 196"/>
                  <a:gd name="T12" fmla="*/ 77 w 92"/>
                  <a:gd name="T13" fmla="*/ 196 h 196"/>
                  <a:gd name="T14" fmla="*/ 59 w 92"/>
                  <a:gd name="T15" fmla="*/ 183 h 196"/>
                  <a:gd name="T16" fmla="*/ 41 w 92"/>
                  <a:gd name="T17" fmla="*/ 182 h 196"/>
                  <a:gd name="T18" fmla="*/ 9 w 92"/>
                  <a:gd name="T19" fmla="*/ 163 h 196"/>
                  <a:gd name="T20" fmla="*/ 33 w 92"/>
                  <a:gd name="T21" fmla="*/ 105 h 196"/>
                  <a:gd name="T22" fmla="*/ 0 w 92"/>
                  <a:gd name="T23" fmla="*/ 75 h 196"/>
                  <a:gd name="T24" fmla="*/ 17 w 92"/>
                  <a:gd name="T25" fmla="*/ 2 h 19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196"/>
                  <a:gd name="T41" fmla="*/ 92 w 92"/>
                  <a:gd name="T42" fmla="*/ 196 h 19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196">
                    <a:moveTo>
                      <a:pt x="17" y="2"/>
                    </a:moveTo>
                    <a:lnTo>
                      <a:pt x="39" y="0"/>
                    </a:lnTo>
                    <a:lnTo>
                      <a:pt x="82" y="30"/>
                    </a:lnTo>
                    <a:lnTo>
                      <a:pt x="76" y="53"/>
                    </a:lnTo>
                    <a:lnTo>
                      <a:pt x="91" y="69"/>
                    </a:lnTo>
                    <a:lnTo>
                      <a:pt x="92" y="160"/>
                    </a:lnTo>
                    <a:lnTo>
                      <a:pt x="77" y="196"/>
                    </a:lnTo>
                    <a:lnTo>
                      <a:pt x="59" y="183"/>
                    </a:lnTo>
                    <a:lnTo>
                      <a:pt x="41" y="182"/>
                    </a:lnTo>
                    <a:lnTo>
                      <a:pt x="9" y="163"/>
                    </a:lnTo>
                    <a:lnTo>
                      <a:pt x="33" y="105"/>
                    </a:lnTo>
                    <a:lnTo>
                      <a:pt x="0" y="75"/>
                    </a:lnTo>
                    <a:lnTo>
                      <a:pt x="17" y="2"/>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53" name="Freeform 42">
                <a:extLst>
                  <a:ext uri="{FF2B5EF4-FFF2-40B4-BE49-F238E27FC236}">
                    <a16:creationId xmlns:a16="http://schemas.microsoft.com/office/drawing/2014/main" id="{631C6F12-CB2E-4C15-BA13-19E974C0A688}"/>
                  </a:ext>
                </a:extLst>
              </p:cNvPr>
              <p:cNvSpPr>
                <a:spLocks/>
              </p:cNvSpPr>
              <p:nvPr/>
            </p:nvSpPr>
            <p:spPr bwMode="auto">
              <a:xfrm>
                <a:off x="4277" y="1604"/>
                <a:ext cx="113" cy="93"/>
              </a:xfrm>
              <a:custGeom>
                <a:avLst/>
                <a:gdLst>
                  <a:gd name="T0" fmla="*/ 0 w 113"/>
                  <a:gd name="T1" fmla="*/ 23 h 93"/>
                  <a:gd name="T2" fmla="*/ 87 w 113"/>
                  <a:gd name="T3" fmla="*/ 0 h 93"/>
                  <a:gd name="T4" fmla="*/ 113 w 113"/>
                  <a:gd name="T5" fmla="*/ 42 h 93"/>
                  <a:gd name="T6" fmla="*/ 98 w 113"/>
                  <a:gd name="T7" fmla="*/ 61 h 93"/>
                  <a:gd name="T8" fmla="*/ 70 w 113"/>
                  <a:gd name="T9" fmla="*/ 54 h 93"/>
                  <a:gd name="T10" fmla="*/ 28 w 113"/>
                  <a:gd name="T11" fmla="*/ 93 h 93"/>
                  <a:gd name="T12" fmla="*/ 5 w 113"/>
                  <a:gd name="T13" fmla="*/ 73 h 93"/>
                  <a:gd name="T14" fmla="*/ 0 w 113"/>
                  <a:gd name="T15" fmla="*/ 23 h 93"/>
                  <a:gd name="T16" fmla="*/ 0 60000 65536"/>
                  <a:gd name="T17" fmla="*/ 0 60000 65536"/>
                  <a:gd name="T18" fmla="*/ 0 60000 65536"/>
                  <a:gd name="T19" fmla="*/ 0 60000 65536"/>
                  <a:gd name="T20" fmla="*/ 0 60000 65536"/>
                  <a:gd name="T21" fmla="*/ 0 60000 65536"/>
                  <a:gd name="T22" fmla="*/ 0 60000 65536"/>
                  <a:gd name="T23" fmla="*/ 0 60000 65536"/>
                  <a:gd name="T24" fmla="*/ 0 w 113"/>
                  <a:gd name="T25" fmla="*/ 0 h 93"/>
                  <a:gd name="T26" fmla="*/ 113 w 113"/>
                  <a:gd name="T27" fmla="*/ 93 h 9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3" h="93">
                    <a:moveTo>
                      <a:pt x="0" y="23"/>
                    </a:moveTo>
                    <a:lnTo>
                      <a:pt x="87" y="0"/>
                    </a:lnTo>
                    <a:lnTo>
                      <a:pt x="113" y="42"/>
                    </a:lnTo>
                    <a:lnTo>
                      <a:pt x="98" y="61"/>
                    </a:lnTo>
                    <a:lnTo>
                      <a:pt x="70" y="54"/>
                    </a:lnTo>
                    <a:lnTo>
                      <a:pt x="28" y="93"/>
                    </a:lnTo>
                    <a:lnTo>
                      <a:pt x="5" y="73"/>
                    </a:lnTo>
                    <a:lnTo>
                      <a:pt x="0" y="23"/>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54" name="Freeform 43">
                <a:extLst>
                  <a:ext uri="{FF2B5EF4-FFF2-40B4-BE49-F238E27FC236}">
                    <a16:creationId xmlns:a16="http://schemas.microsoft.com/office/drawing/2014/main" id="{257D382E-E8DA-428E-A6C6-ABD80CA2AB98}"/>
                  </a:ext>
                </a:extLst>
              </p:cNvPr>
              <p:cNvSpPr>
                <a:spLocks/>
              </p:cNvSpPr>
              <p:nvPr/>
            </p:nvSpPr>
            <p:spPr bwMode="auto">
              <a:xfrm>
                <a:off x="4364" y="1595"/>
                <a:ext cx="57" cy="51"/>
              </a:xfrm>
              <a:custGeom>
                <a:avLst/>
                <a:gdLst>
                  <a:gd name="T0" fmla="*/ 0 w 57"/>
                  <a:gd name="T1" fmla="*/ 9 h 51"/>
                  <a:gd name="T2" fmla="*/ 24 w 57"/>
                  <a:gd name="T3" fmla="*/ 0 h 51"/>
                  <a:gd name="T4" fmla="*/ 57 w 57"/>
                  <a:gd name="T5" fmla="*/ 26 h 51"/>
                  <a:gd name="T6" fmla="*/ 50 w 57"/>
                  <a:gd name="T7" fmla="*/ 33 h 51"/>
                  <a:gd name="T8" fmla="*/ 34 w 57"/>
                  <a:gd name="T9" fmla="*/ 33 h 51"/>
                  <a:gd name="T10" fmla="*/ 26 w 57"/>
                  <a:gd name="T11" fmla="*/ 51 h 51"/>
                  <a:gd name="T12" fmla="*/ 0 w 57"/>
                  <a:gd name="T13" fmla="*/ 9 h 51"/>
                  <a:gd name="T14" fmla="*/ 0 60000 65536"/>
                  <a:gd name="T15" fmla="*/ 0 60000 65536"/>
                  <a:gd name="T16" fmla="*/ 0 60000 65536"/>
                  <a:gd name="T17" fmla="*/ 0 60000 65536"/>
                  <a:gd name="T18" fmla="*/ 0 60000 65536"/>
                  <a:gd name="T19" fmla="*/ 0 60000 65536"/>
                  <a:gd name="T20" fmla="*/ 0 60000 65536"/>
                  <a:gd name="T21" fmla="*/ 0 w 57"/>
                  <a:gd name="T22" fmla="*/ 0 h 51"/>
                  <a:gd name="T23" fmla="*/ 57 w 57"/>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7" h="51">
                    <a:moveTo>
                      <a:pt x="0" y="9"/>
                    </a:moveTo>
                    <a:lnTo>
                      <a:pt x="24" y="0"/>
                    </a:lnTo>
                    <a:lnTo>
                      <a:pt x="57" y="26"/>
                    </a:lnTo>
                    <a:lnTo>
                      <a:pt x="50" y="33"/>
                    </a:lnTo>
                    <a:lnTo>
                      <a:pt x="34" y="33"/>
                    </a:lnTo>
                    <a:lnTo>
                      <a:pt x="26" y="51"/>
                    </a:lnTo>
                    <a:lnTo>
                      <a:pt x="0" y="9"/>
                    </a:lnTo>
                    <a:close/>
                  </a:path>
                </a:pathLst>
              </a:custGeom>
              <a:grpFill/>
              <a:ln w="12700">
                <a:solidFill>
                  <a:schemeClr val="bg1"/>
                </a:solidFill>
                <a:round/>
                <a:headEnd/>
                <a:tailEnd/>
              </a:ln>
            </p:spPr>
            <p:txBody>
              <a:bodyPr/>
              <a:lstStyle/>
              <a:p>
                <a:pPr>
                  <a:defRPr/>
                </a:pPr>
                <a:endParaRPr lang="en-GB">
                  <a:solidFill>
                    <a:srgbClr val="FF0000"/>
                  </a:solidFill>
                </a:endParaRPr>
              </a:p>
            </p:txBody>
          </p:sp>
        </p:grpSp>
        <p:sp>
          <p:nvSpPr>
            <p:cNvPr id="27" name="Freeform 44">
              <a:extLst>
                <a:ext uri="{FF2B5EF4-FFF2-40B4-BE49-F238E27FC236}">
                  <a16:creationId xmlns:a16="http://schemas.microsoft.com/office/drawing/2014/main" id="{C451FA42-6E64-4261-91BF-DEE5F7595574}"/>
                </a:ext>
              </a:extLst>
            </p:cNvPr>
            <p:cNvSpPr>
              <a:spLocks/>
            </p:cNvSpPr>
            <p:nvPr/>
          </p:nvSpPr>
          <p:spPr bwMode="auto">
            <a:xfrm>
              <a:off x="1874838" y="1914525"/>
              <a:ext cx="739775" cy="584200"/>
            </a:xfrm>
            <a:custGeom>
              <a:avLst/>
              <a:gdLst>
                <a:gd name="T0" fmla="*/ 134 w 389"/>
                <a:gd name="T1" fmla="*/ 0 h 307"/>
                <a:gd name="T2" fmla="*/ 245 w 389"/>
                <a:gd name="T3" fmla="*/ 24 h 307"/>
                <a:gd name="T4" fmla="*/ 328 w 389"/>
                <a:gd name="T5" fmla="*/ 39 h 307"/>
                <a:gd name="T6" fmla="*/ 369 w 389"/>
                <a:gd name="T7" fmla="*/ 46 h 307"/>
                <a:gd name="T8" fmla="*/ 411 w 389"/>
                <a:gd name="T9" fmla="*/ 51 h 307"/>
                <a:gd name="T10" fmla="*/ 466 w 389"/>
                <a:gd name="T11" fmla="*/ 59 h 307"/>
                <a:gd name="T12" fmla="*/ 535 w 389"/>
                <a:gd name="T13" fmla="*/ 68 h 307"/>
                <a:gd name="T14" fmla="*/ 489 w 389"/>
                <a:gd name="T15" fmla="*/ 307 h 307"/>
                <a:gd name="T16" fmla="*/ 282 w 389"/>
                <a:gd name="T17" fmla="*/ 273 h 307"/>
                <a:gd name="T18" fmla="*/ 255 w 389"/>
                <a:gd name="T19" fmla="*/ 288 h 307"/>
                <a:gd name="T20" fmla="*/ 216 w 389"/>
                <a:gd name="T21" fmla="*/ 265 h 307"/>
                <a:gd name="T22" fmla="*/ 184 w 389"/>
                <a:gd name="T23" fmla="*/ 288 h 307"/>
                <a:gd name="T24" fmla="*/ 154 w 389"/>
                <a:gd name="T25" fmla="*/ 268 h 307"/>
                <a:gd name="T26" fmla="*/ 68 w 389"/>
                <a:gd name="T27" fmla="*/ 265 h 307"/>
                <a:gd name="T28" fmla="*/ 81 w 389"/>
                <a:gd name="T29" fmla="*/ 226 h 307"/>
                <a:gd name="T30" fmla="*/ 18 w 389"/>
                <a:gd name="T31" fmla="*/ 222 h 307"/>
                <a:gd name="T32" fmla="*/ 13 w 389"/>
                <a:gd name="T33" fmla="*/ 200 h 307"/>
                <a:gd name="T34" fmla="*/ 25 w 389"/>
                <a:gd name="T35" fmla="*/ 177 h 307"/>
                <a:gd name="T36" fmla="*/ 11 w 389"/>
                <a:gd name="T37" fmla="*/ 155 h 307"/>
                <a:gd name="T38" fmla="*/ 12 w 389"/>
                <a:gd name="T39" fmla="*/ 96 h 307"/>
                <a:gd name="T40" fmla="*/ 0 w 389"/>
                <a:gd name="T41" fmla="*/ 50 h 307"/>
                <a:gd name="T42" fmla="*/ 5 w 389"/>
                <a:gd name="T43" fmla="*/ 32 h 307"/>
                <a:gd name="T44" fmla="*/ 34 w 389"/>
                <a:gd name="T45" fmla="*/ 39 h 307"/>
                <a:gd name="T46" fmla="*/ 63 w 389"/>
                <a:gd name="T47" fmla="*/ 66 h 307"/>
                <a:gd name="T48" fmla="*/ 115 w 389"/>
                <a:gd name="T49" fmla="*/ 72 h 307"/>
                <a:gd name="T50" fmla="*/ 129 w 389"/>
                <a:gd name="T51" fmla="*/ 94 h 307"/>
                <a:gd name="T52" fmla="*/ 103 w 389"/>
                <a:gd name="T53" fmla="*/ 94 h 307"/>
                <a:gd name="T54" fmla="*/ 100 w 389"/>
                <a:gd name="T55" fmla="*/ 113 h 307"/>
                <a:gd name="T56" fmla="*/ 115 w 389"/>
                <a:gd name="T57" fmla="*/ 115 h 307"/>
                <a:gd name="T58" fmla="*/ 120 w 389"/>
                <a:gd name="T59" fmla="*/ 134 h 307"/>
                <a:gd name="T60" fmla="*/ 89 w 389"/>
                <a:gd name="T61" fmla="*/ 148 h 307"/>
                <a:gd name="T62" fmla="*/ 89 w 389"/>
                <a:gd name="T63" fmla="*/ 161 h 307"/>
                <a:gd name="T64" fmla="*/ 124 w 389"/>
                <a:gd name="T65" fmla="*/ 161 h 307"/>
                <a:gd name="T66" fmla="*/ 134 w 389"/>
                <a:gd name="T67" fmla="*/ 128 h 307"/>
                <a:gd name="T68" fmla="*/ 162 w 389"/>
                <a:gd name="T69" fmla="*/ 108 h 307"/>
                <a:gd name="T70" fmla="*/ 129 w 389"/>
                <a:gd name="T71" fmla="*/ 57 h 307"/>
                <a:gd name="T72" fmla="*/ 150 w 389"/>
                <a:gd name="T73" fmla="*/ 40 h 307"/>
                <a:gd name="T74" fmla="*/ 134 w 389"/>
                <a:gd name="T75" fmla="*/ 0 h 30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89"/>
                <a:gd name="T115" fmla="*/ 0 h 307"/>
                <a:gd name="T116" fmla="*/ 389 w 389"/>
                <a:gd name="T117" fmla="*/ 307 h 30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89" h="307">
                  <a:moveTo>
                    <a:pt x="98" y="0"/>
                  </a:moveTo>
                  <a:lnTo>
                    <a:pt x="178" y="24"/>
                  </a:lnTo>
                  <a:lnTo>
                    <a:pt x="239" y="39"/>
                  </a:lnTo>
                  <a:lnTo>
                    <a:pt x="269" y="46"/>
                  </a:lnTo>
                  <a:lnTo>
                    <a:pt x="299" y="51"/>
                  </a:lnTo>
                  <a:lnTo>
                    <a:pt x="340" y="59"/>
                  </a:lnTo>
                  <a:lnTo>
                    <a:pt x="389" y="68"/>
                  </a:lnTo>
                  <a:lnTo>
                    <a:pt x="357" y="307"/>
                  </a:lnTo>
                  <a:lnTo>
                    <a:pt x="206" y="273"/>
                  </a:lnTo>
                  <a:lnTo>
                    <a:pt x="186" y="288"/>
                  </a:lnTo>
                  <a:lnTo>
                    <a:pt x="158" y="265"/>
                  </a:lnTo>
                  <a:lnTo>
                    <a:pt x="134" y="288"/>
                  </a:lnTo>
                  <a:lnTo>
                    <a:pt x="112" y="268"/>
                  </a:lnTo>
                  <a:lnTo>
                    <a:pt x="50" y="265"/>
                  </a:lnTo>
                  <a:lnTo>
                    <a:pt x="59" y="226"/>
                  </a:lnTo>
                  <a:lnTo>
                    <a:pt x="14" y="222"/>
                  </a:lnTo>
                  <a:lnTo>
                    <a:pt x="9" y="200"/>
                  </a:lnTo>
                  <a:lnTo>
                    <a:pt x="18" y="177"/>
                  </a:lnTo>
                  <a:lnTo>
                    <a:pt x="7" y="155"/>
                  </a:lnTo>
                  <a:lnTo>
                    <a:pt x="8" y="96"/>
                  </a:lnTo>
                  <a:lnTo>
                    <a:pt x="0" y="50"/>
                  </a:lnTo>
                  <a:lnTo>
                    <a:pt x="5" y="32"/>
                  </a:lnTo>
                  <a:lnTo>
                    <a:pt x="25" y="39"/>
                  </a:lnTo>
                  <a:lnTo>
                    <a:pt x="46" y="66"/>
                  </a:lnTo>
                  <a:lnTo>
                    <a:pt x="84" y="72"/>
                  </a:lnTo>
                  <a:lnTo>
                    <a:pt x="94" y="94"/>
                  </a:lnTo>
                  <a:lnTo>
                    <a:pt x="75" y="94"/>
                  </a:lnTo>
                  <a:lnTo>
                    <a:pt x="73" y="113"/>
                  </a:lnTo>
                  <a:lnTo>
                    <a:pt x="84" y="115"/>
                  </a:lnTo>
                  <a:lnTo>
                    <a:pt x="88" y="134"/>
                  </a:lnTo>
                  <a:lnTo>
                    <a:pt x="65" y="148"/>
                  </a:lnTo>
                  <a:lnTo>
                    <a:pt x="65" y="161"/>
                  </a:lnTo>
                  <a:lnTo>
                    <a:pt x="91" y="161"/>
                  </a:lnTo>
                  <a:lnTo>
                    <a:pt x="98" y="128"/>
                  </a:lnTo>
                  <a:lnTo>
                    <a:pt x="118" y="108"/>
                  </a:lnTo>
                  <a:lnTo>
                    <a:pt x="94" y="57"/>
                  </a:lnTo>
                  <a:lnTo>
                    <a:pt x="109" y="40"/>
                  </a:lnTo>
                  <a:lnTo>
                    <a:pt x="98"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28" name="Freeform 45">
              <a:extLst>
                <a:ext uri="{FF2B5EF4-FFF2-40B4-BE49-F238E27FC236}">
                  <a16:creationId xmlns:a16="http://schemas.microsoft.com/office/drawing/2014/main" id="{10C3B420-B257-405F-AA7B-DE74905F4F6E}"/>
                </a:ext>
              </a:extLst>
            </p:cNvPr>
            <p:cNvSpPr>
              <a:spLocks/>
            </p:cNvSpPr>
            <p:nvPr/>
          </p:nvSpPr>
          <p:spPr bwMode="auto">
            <a:xfrm>
              <a:off x="1698625" y="2336800"/>
              <a:ext cx="925513" cy="760413"/>
            </a:xfrm>
            <a:custGeom>
              <a:avLst/>
              <a:gdLst>
                <a:gd name="T0" fmla="*/ 147 w 485"/>
                <a:gd name="T1" fmla="*/ 0 h 399"/>
                <a:gd name="T2" fmla="*/ 127 w 485"/>
                <a:gd name="T3" fmla="*/ 9 h 399"/>
                <a:gd name="T4" fmla="*/ 115 w 485"/>
                <a:gd name="T5" fmla="*/ 44 h 399"/>
                <a:gd name="T6" fmla="*/ 102 w 485"/>
                <a:gd name="T7" fmla="*/ 73 h 399"/>
                <a:gd name="T8" fmla="*/ 94 w 485"/>
                <a:gd name="T9" fmla="*/ 97 h 399"/>
                <a:gd name="T10" fmla="*/ 81 w 485"/>
                <a:gd name="T11" fmla="*/ 123 h 399"/>
                <a:gd name="T12" fmla="*/ 67 w 485"/>
                <a:gd name="T13" fmla="*/ 149 h 399"/>
                <a:gd name="T14" fmla="*/ 50 w 485"/>
                <a:gd name="T15" fmla="*/ 177 h 399"/>
                <a:gd name="T16" fmla="*/ 26 w 485"/>
                <a:gd name="T17" fmla="*/ 210 h 399"/>
                <a:gd name="T18" fmla="*/ 0 w 485"/>
                <a:gd name="T19" fmla="*/ 241 h 399"/>
                <a:gd name="T20" fmla="*/ 0 w 485"/>
                <a:gd name="T21" fmla="*/ 311 h 399"/>
                <a:gd name="T22" fmla="*/ 376 w 485"/>
                <a:gd name="T23" fmla="*/ 371 h 399"/>
                <a:gd name="T24" fmla="*/ 552 w 485"/>
                <a:gd name="T25" fmla="*/ 399 h 399"/>
                <a:gd name="T26" fmla="*/ 587 w 485"/>
                <a:gd name="T27" fmla="*/ 260 h 399"/>
                <a:gd name="T28" fmla="*/ 610 w 485"/>
                <a:gd name="T29" fmla="*/ 249 h 399"/>
                <a:gd name="T30" fmla="*/ 588 w 485"/>
                <a:gd name="T31" fmla="*/ 218 h 399"/>
                <a:gd name="T32" fmla="*/ 600 w 485"/>
                <a:gd name="T33" fmla="*/ 186 h 399"/>
                <a:gd name="T34" fmla="*/ 670 w 485"/>
                <a:gd name="T35" fmla="*/ 133 h 399"/>
                <a:gd name="T36" fmla="*/ 621 w 485"/>
                <a:gd name="T37" fmla="*/ 85 h 399"/>
                <a:gd name="T38" fmla="*/ 412 w 485"/>
                <a:gd name="T39" fmla="*/ 51 h 399"/>
                <a:gd name="T40" fmla="*/ 386 w 485"/>
                <a:gd name="T41" fmla="*/ 65 h 399"/>
                <a:gd name="T42" fmla="*/ 346 w 485"/>
                <a:gd name="T43" fmla="*/ 42 h 399"/>
                <a:gd name="T44" fmla="*/ 312 w 485"/>
                <a:gd name="T45" fmla="*/ 66 h 399"/>
                <a:gd name="T46" fmla="*/ 281 w 485"/>
                <a:gd name="T47" fmla="*/ 42 h 399"/>
                <a:gd name="T48" fmla="*/ 197 w 485"/>
                <a:gd name="T49" fmla="*/ 43 h 399"/>
                <a:gd name="T50" fmla="*/ 209 w 485"/>
                <a:gd name="T51" fmla="*/ 4 h 399"/>
                <a:gd name="T52" fmla="*/ 147 w 485"/>
                <a:gd name="T53" fmla="*/ 0 h 39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85"/>
                <a:gd name="T82" fmla="*/ 0 h 399"/>
                <a:gd name="T83" fmla="*/ 485 w 485"/>
                <a:gd name="T84" fmla="*/ 399 h 39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85" h="399">
                  <a:moveTo>
                    <a:pt x="106" y="0"/>
                  </a:moveTo>
                  <a:lnTo>
                    <a:pt x="92" y="9"/>
                  </a:lnTo>
                  <a:lnTo>
                    <a:pt x="83" y="44"/>
                  </a:lnTo>
                  <a:lnTo>
                    <a:pt x="74" y="73"/>
                  </a:lnTo>
                  <a:lnTo>
                    <a:pt x="68" y="97"/>
                  </a:lnTo>
                  <a:lnTo>
                    <a:pt x="59" y="123"/>
                  </a:lnTo>
                  <a:lnTo>
                    <a:pt x="49" y="149"/>
                  </a:lnTo>
                  <a:lnTo>
                    <a:pt x="36" y="177"/>
                  </a:lnTo>
                  <a:lnTo>
                    <a:pt x="18" y="210"/>
                  </a:lnTo>
                  <a:lnTo>
                    <a:pt x="0" y="241"/>
                  </a:lnTo>
                  <a:lnTo>
                    <a:pt x="0" y="311"/>
                  </a:lnTo>
                  <a:lnTo>
                    <a:pt x="272" y="371"/>
                  </a:lnTo>
                  <a:lnTo>
                    <a:pt x="398" y="399"/>
                  </a:lnTo>
                  <a:lnTo>
                    <a:pt x="424" y="260"/>
                  </a:lnTo>
                  <a:lnTo>
                    <a:pt x="441" y="249"/>
                  </a:lnTo>
                  <a:lnTo>
                    <a:pt x="425" y="218"/>
                  </a:lnTo>
                  <a:lnTo>
                    <a:pt x="433" y="186"/>
                  </a:lnTo>
                  <a:lnTo>
                    <a:pt x="485" y="133"/>
                  </a:lnTo>
                  <a:lnTo>
                    <a:pt x="449" y="85"/>
                  </a:lnTo>
                  <a:lnTo>
                    <a:pt x="298" y="51"/>
                  </a:lnTo>
                  <a:lnTo>
                    <a:pt x="278" y="65"/>
                  </a:lnTo>
                  <a:lnTo>
                    <a:pt x="250" y="42"/>
                  </a:lnTo>
                  <a:lnTo>
                    <a:pt x="226" y="66"/>
                  </a:lnTo>
                  <a:lnTo>
                    <a:pt x="203" y="42"/>
                  </a:lnTo>
                  <a:lnTo>
                    <a:pt x="143" y="43"/>
                  </a:lnTo>
                  <a:lnTo>
                    <a:pt x="151" y="4"/>
                  </a:lnTo>
                  <a:lnTo>
                    <a:pt x="106"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29" name="Freeform 46">
              <a:extLst>
                <a:ext uri="{FF2B5EF4-FFF2-40B4-BE49-F238E27FC236}">
                  <a16:creationId xmlns:a16="http://schemas.microsoft.com/office/drawing/2014/main" id="{B009A1A9-755E-4F03-81B7-483B033DAD9B}"/>
                </a:ext>
              </a:extLst>
            </p:cNvPr>
            <p:cNvSpPr>
              <a:spLocks/>
            </p:cNvSpPr>
            <p:nvPr/>
          </p:nvSpPr>
          <p:spPr bwMode="auto">
            <a:xfrm>
              <a:off x="1622425" y="2925763"/>
              <a:ext cx="976313" cy="1619250"/>
            </a:xfrm>
            <a:custGeom>
              <a:avLst/>
              <a:gdLst>
                <a:gd name="T0" fmla="*/ 55 w 512"/>
                <a:gd name="T1" fmla="*/ 0 h 850"/>
                <a:gd name="T2" fmla="*/ 379 w 512"/>
                <a:gd name="T3" fmla="*/ 50 h 850"/>
                <a:gd name="T4" fmla="*/ 308 w 512"/>
                <a:gd name="T5" fmla="*/ 300 h 850"/>
                <a:gd name="T6" fmla="*/ 673 w 512"/>
                <a:gd name="T7" fmla="*/ 681 h 850"/>
                <a:gd name="T8" fmla="*/ 708 w 512"/>
                <a:gd name="T9" fmla="*/ 730 h 850"/>
                <a:gd name="T10" fmla="*/ 672 w 512"/>
                <a:gd name="T11" fmla="*/ 753 h 850"/>
                <a:gd name="T12" fmla="*/ 651 w 512"/>
                <a:gd name="T13" fmla="*/ 795 h 850"/>
                <a:gd name="T14" fmla="*/ 628 w 512"/>
                <a:gd name="T15" fmla="*/ 820 h 850"/>
                <a:gd name="T16" fmla="*/ 653 w 512"/>
                <a:gd name="T17" fmla="*/ 842 h 850"/>
                <a:gd name="T18" fmla="*/ 612 w 512"/>
                <a:gd name="T19" fmla="*/ 850 h 850"/>
                <a:gd name="T20" fmla="*/ 398 w 512"/>
                <a:gd name="T21" fmla="*/ 844 h 850"/>
                <a:gd name="T22" fmla="*/ 384 w 512"/>
                <a:gd name="T23" fmla="*/ 794 h 850"/>
                <a:gd name="T24" fmla="*/ 348 w 512"/>
                <a:gd name="T25" fmla="*/ 758 h 850"/>
                <a:gd name="T26" fmla="*/ 320 w 512"/>
                <a:gd name="T27" fmla="*/ 745 h 850"/>
                <a:gd name="T28" fmla="*/ 313 w 512"/>
                <a:gd name="T29" fmla="*/ 719 h 850"/>
                <a:gd name="T30" fmla="*/ 291 w 512"/>
                <a:gd name="T31" fmla="*/ 705 h 850"/>
                <a:gd name="T32" fmla="*/ 268 w 512"/>
                <a:gd name="T33" fmla="*/ 687 h 850"/>
                <a:gd name="T34" fmla="*/ 260 w 512"/>
                <a:gd name="T35" fmla="*/ 667 h 850"/>
                <a:gd name="T36" fmla="*/ 240 w 512"/>
                <a:gd name="T37" fmla="*/ 654 h 850"/>
                <a:gd name="T38" fmla="*/ 207 w 512"/>
                <a:gd name="T39" fmla="*/ 661 h 850"/>
                <a:gd name="T40" fmla="*/ 168 w 512"/>
                <a:gd name="T41" fmla="*/ 651 h 850"/>
                <a:gd name="T42" fmla="*/ 168 w 512"/>
                <a:gd name="T43" fmla="*/ 640 h 850"/>
                <a:gd name="T44" fmla="*/ 167 w 512"/>
                <a:gd name="T45" fmla="*/ 617 h 850"/>
                <a:gd name="T46" fmla="*/ 152 w 512"/>
                <a:gd name="T47" fmla="*/ 591 h 850"/>
                <a:gd name="T48" fmla="*/ 151 w 512"/>
                <a:gd name="T49" fmla="*/ 570 h 850"/>
                <a:gd name="T50" fmla="*/ 134 w 512"/>
                <a:gd name="T51" fmla="*/ 551 h 850"/>
                <a:gd name="T52" fmla="*/ 138 w 512"/>
                <a:gd name="T53" fmla="*/ 533 h 850"/>
                <a:gd name="T54" fmla="*/ 92 w 512"/>
                <a:gd name="T55" fmla="*/ 490 h 850"/>
                <a:gd name="T56" fmla="*/ 92 w 512"/>
                <a:gd name="T57" fmla="*/ 465 h 850"/>
                <a:gd name="T58" fmla="*/ 115 w 512"/>
                <a:gd name="T59" fmla="*/ 456 h 850"/>
                <a:gd name="T60" fmla="*/ 115 w 512"/>
                <a:gd name="T61" fmla="*/ 440 h 850"/>
                <a:gd name="T62" fmla="*/ 92 w 512"/>
                <a:gd name="T63" fmla="*/ 436 h 850"/>
                <a:gd name="T64" fmla="*/ 80 w 512"/>
                <a:gd name="T65" fmla="*/ 412 h 850"/>
                <a:gd name="T66" fmla="*/ 69 w 512"/>
                <a:gd name="T67" fmla="*/ 371 h 850"/>
                <a:gd name="T68" fmla="*/ 103 w 512"/>
                <a:gd name="T69" fmla="*/ 393 h 850"/>
                <a:gd name="T70" fmla="*/ 89 w 512"/>
                <a:gd name="T71" fmla="*/ 364 h 850"/>
                <a:gd name="T72" fmla="*/ 115 w 512"/>
                <a:gd name="T73" fmla="*/ 364 h 850"/>
                <a:gd name="T74" fmla="*/ 115 w 512"/>
                <a:gd name="T75" fmla="*/ 343 h 850"/>
                <a:gd name="T76" fmla="*/ 89 w 512"/>
                <a:gd name="T77" fmla="*/ 329 h 850"/>
                <a:gd name="T78" fmla="*/ 78 w 512"/>
                <a:gd name="T79" fmla="*/ 349 h 850"/>
                <a:gd name="T80" fmla="*/ 55 w 512"/>
                <a:gd name="T81" fmla="*/ 342 h 850"/>
                <a:gd name="T82" fmla="*/ 11 w 512"/>
                <a:gd name="T83" fmla="*/ 246 h 850"/>
                <a:gd name="T84" fmla="*/ 22 w 512"/>
                <a:gd name="T85" fmla="*/ 178 h 850"/>
                <a:gd name="T86" fmla="*/ 0 w 512"/>
                <a:gd name="T87" fmla="*/ 139 h 850"/>
                <a:gd name="T88" fmla="*/ 12 w 512"/>
                <a:gd name="T89" fmla="*/ 110 h 850"/>
                <a:gd name="T90" fmla="*/ 33 w 512"/>
                <a:gd name="T91" fmla="*/ 104 h 850"/>
                <a:gd name="T92" fmla="*/ 55 w 512"/>
                <a:gd name="T93" fmla="*/ 57 h 850"/>
                <a:gd name="T94" fmla="*/ 55 w 512"/>
                <a:gd name="T95" fmla="*/ 0 h 8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12"/>
                <a:gd name="T145" fmla="*/ 0 h 850"/>
                <a:gd name="T146" fmla="*/ 512 w 512"/>
                <a:gd name="T147" fmla="*/ 850 h 8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12" h="850">
                  <a:moveTo>
                    <a:pt x="40" y="0"/>
                  </a:moveTo>
                  <a:lnTo>
                    <a:pt x="275" y="50"/>
                  </a:lnTo>
                  <a:lnTo>
                    <a:pt x="223" y="300"/>
                  </a:lnTo>
                  <a:lnTo>
                    <a:pt x="488" y="681"/>
                  </a:lnTo>
                  <a:lnTo>
                    <a:pt x="512" y="730"/>
                  </a:lnTo>
                  <a:lnTo>
                    <a:pt x="487" y="753"/>
                  </a:lnTo>
                  <a:lnTo>
                    <a:pt x="471" y="795"/>
                  </a:lnTo>
                  <a:lnTo>
                    <a:pt x="455" y="820"/>
                  </a:lnTo>
                  <a:lnTo>
                    <a:pt x="472" y="842"/>
                  </a:lnTo>
                  <a:lnTo>
                    <a:pt x="444" y="850"/>
                  </a:lnTo>
                  <a:lnTo>
                    <a:pt x="289" y="844"/>
                  </a:lnTo>
                  <a:lnTo>
                    <a:pt x="279" y="794"/>
                  </a:lnTo>
                  <a:lnTo>
                    <a:pt x="252" y="758"/>
                  </a:lnTo>
                  <a:lnTo>
                    <a:pt x="232" y="745"/>
                  </a:lnTo>
                  <a:lnTo>
                    <a:pt x="227" y="719"/>
                  </a:lnTo>
                  <a:lnTo>
                    <a:pt x="210" y="705"/>
                  </a:lnTo>
                  <a:lnTo>
                    <a:pt x="194" y="687"/>
                  </a:lnTo>
                  <a:lnTo>
                    <a:pt x="188" y="667"/>
                  </a:lnTo>
                  <a:lnTo>
                    <a:pt x="173" y="654"/>
                  </a:lnTo>
                  <a:lnTo>
                    <a:pt x="149" y="661"/>
                  </a:lnTo>
                  <a:lnTo>
                    <a:pt x="122" y="651"/>
                  </a:lnTo>
                  <a:lnTo>
                    <a:pt x="122" y="640"/>
                  </a:lnTo>
                  <a:lnTo>
                    <a:pt x="121" y="617"/>
                  </a:lnTo>
                  <a:lnTo>
                    <a:pt x="110" y="591"/>
                  </a:lnTo>
                  <a:lnTo>
                    <a:pt x="109" y="570"/>
                  </a:lnTo>
                  <a:lnTo>
                    <a:pt x="97" y="551"/>
                  </a:lnTo>
                  <a:lnTo>
                    <a:pt x="100" y="533"/>
                  </a:lnTo>
                  <a:lnTo>
                    <a:pt x="66" y="490"/>
                  </a:lnTo>
                  <a:lnTo>
                    <a:pt x="66" y="465"/>
                  </a:lnTo>
                  <a:lnTo>
                    <a:pt x="83" y="456"/>
                  </a:lnTo>
                  <a:lnTo>
                    <a:pt x="83" y="440"/>
                  </a:lnTo>
                  <a:lnTo>
                    <a:pt x="66" y="436"/>
                  </a:lnTo>
                  <a:lnTo>
                    <a:pt x="58" y="412"/>
                  </a:lnTo>
                  <a:lnTo>
                    <a:pt x="50" y="371"/>
                  </a:lnTo>
                  <a:lnTo>
                    <a:pt x="75" y="393"/>
                  </a:lnTo>
                  <a:lnTo>
                    <a:pt x="65" y="364"/>
                  </a:lnTo>
                  <a:lnTo>
                    <a:pt x="83" y="364"/>
                  </a:lnTo>
                  <a:lnTo>
                    <a:pt x="83" y="343"/>
                  </a:lnTo>
                  <a:lnTo>
                    <a:pt x="65" y="329"/>
                  </a:lnTo>
                  <a:lnTo>
                    <a:pt x="56" y="349"/>
                  </a:lnTo>
                  <a:lnTo>
                    <a:pt x="40" y="342"/>
                  </a:lnTo>
                  <a:lnTo>
                    <a:pt x="7" y="246"/>
                  </a:lnTo>
                  <a:lnTo>
                    <a:pt x="16" y="178"/>
                  </a:lnTo>
                  <a:lnTo>
                    <a:pt x="0" y="139"/>
                  </a:lnTo>
                  <a:lnTo>
                    <a:pt x="8" y="110"/>
                  </a:lnTo>
                  <a:lnTo>
                    <a:pt x="24" y="104"/>
                  </a:lnTo>
                  <a:lnTo>
                    <a:pt x="40" y="57"/>
                  </a:lnTo>
                  <a:lnTo>
                    <a:pt x="40" y="0"/>
                  </a:lnTo>
                  <a:close/>
                </a:path>
              </a:pathLst>
            </a:custGeom>
            <a:solidFill>
              <a:srgbClr val="00B050"/>
            </a:solidFill>
            <a:ln w="12700">
              <a:solidFill>
                <a:schemeClr val="bg1"/>
              </a:solidFill>
              <a:round/>
              <a:headEnd/>
              <a:tailEnd/>
            </a:ln>
          </p:spPr>
          <p:txBody>
            <a:bodyPr/>
            <a:lstStyle/>
            <a:p>
              <a:pPr>
                <a:defRPr/>
              </a:pPr>
              <a:endParaRPr lang="en-GB">
                <a:solidFill>
                  <a:srgbClr val="FF0000"/>
                </a:solidFill>
              </a:endParaRPr>
            </a:p>
          </p:txBody>
        </p:sp>
        <p:sp>
          <p:nvSpPr>
            <p:cNvPr id="30" name="Freeform 47">
              <a:extLst>
                <a:ext uri="{FF2B5EF4-FFF2-40B4-BE49-F238E27FC236}">
                  <a16:creationId xmlns:a16="http://schemas.microsoft.com/office/drawing/2014/main" id="{95B7F170-3858-4CD9-95F9-5456C1DD7AA6}"/>
                </a:ext>
              </a:extLst>
            </p:cNvPr>
            <p:cNvSpPr>
              <a:spLocks/>
            </p:cNvSpPr>
            <p:nvPr/>
          </p:nvSpPr>
          <p:spPr bwMode="auto">
            <a:xfrm>
              <a:off x="2454275" y="2041525"/>
              <a:ext cx="666750" cy="1158875"/>
            </a:xfrm>
            <a:custGeom>
              <a:avLst/>
              <a:gdLst>
                <a:gd name="T0" fmla="*/ 117 w 349"/>
                <a:gd name="T1" fmla="*/ 0 h 608"/>
                <a:gd name="T2" fmla="*/ 72 w 349"/>
                <a:gd name="T3" fmla="*/ 238 h 608"/>
                <a:gd name="T4" fmla="*/ 118 w 349"/>
                <a:gd name="T5" fmla="*/ 288 h 608"/>
                <a:gd name="T6" fmla="*/ 47 w 349"/>
                <a:gd name="T7" fmla="*/ 341 h 608"/>
                <a:gd name="T8" fmla="*/ 37 w 349"/>
                <a:gd name="T9" fmla="*/ 378 h 608"/>
                <a:gd name="T10" fmla="*/ 58 w 349"/>
                <a:gd name="T11" fmla="*/ 404 h 608"/>
                <a:gd name="T12" fmla="*/ 37 w 349"/>
                <a:gd name="T13" fmla="*/ 416 h 608"/>
                <a:gd name="T14" fmla="*/ 0 w 349"/>
                <a:gd name="T15" fmla="*/ 554 h 608"/>
                <a:gd name="T16" fmla="*/ 230 w 349"/>
                <a:gd name="T17" fmla="*/ 586 h 608"/>
                <a:gd name="T18" fmla="*/ 451 w 349"/>
                <a:gd name="T19" fmla="*/ 608 h 608"/>
                <a:gd name="T20" fmla="*/ 472 w 349"/>
                <a:gd name="T21" fmla="*/ 482 h 608"/>
                <a:gd name="T22" fmla="*/ 485 w 349"/>
                <a:gd name="T23" fmla="*/ 413 h 608"/>
                <a:gd name="T24" fmla="*/ 464 w 349"/>
                <a:gd name="T25" fmla="*/ 388 h 608"/>
                <a:gd name="T26" fmla="*/ 414 w 349"/>
                <a:gd name="T27" fmla="*/ 395 h 608"/>
                <a:gd name="T28" fmla="*/ 346 w 349"/>
                <a:gd name="T29" fmla="*/ 401 h 608"/>
                <a:gd name="T30" fmla="*/ 338 w 349"/>
                <a:gd name="T31" fmla="*/ 345 h 608"/>
                <a:gd name="T32" fmla="*/ 257 w 349"/>
                <a:gd name="T33" fmla="*/ 299 h 608"/>
                <a:gd name="T34" fmla="*/ 268 w 349"/>
                <a:gd name="T35" fmla="*/ 270 h 608"/>
                <a:gd name="T36" fmla="*/ 275 w 349"/>
                <a:gd name="T37" fmla="*/ 218 h 608"/>
                <a:gd name="T38" fmla="*/ 175 w 349"/>
                <a:gd name="T39" fmla="*/ 106 h 608"/>
                <a:gd name="T40" fmla="*/ 188 w 349"/>
                <a:gd name="T41" fmla="*/ 7 h 608"/>
                <a:gd name="T42" fmla="*/ 117 w 349"/>
                <a:gd name="T43" fmla="*/ 0 h 6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349"/>
                <a:gd name="T67" fmla="*/ 0 h 608"/>
                <a:gd name="T68" fmla="*/ 349 w 349"/>
                <a:gd name="T69" fmla="*/ 608 h 6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349" h="608">
                  <a:moveTo>
                    <a:pt x="84" y="0"/>
                  </a:moveTo>
                  <a:lnTo>
                    <a:pt x="52" y="238"/>
                  </a:lnTo>
                  <a:lnTo>
                    <a:pt x="85" y="288"/>
                  </a:lnTo>
                  <a:lnTo>
                    <a:pt x="34" y="341"/>
                  </a:lnTo>
                  <a:lnTo>
                    <a:pt x="27" y="378"/>
                  </a:lnTo>
                  <a:lnTo>
                    <a:pt x="41" y="404"/>
                  </a:lnTo>
                  <a:lnTo>
                    <a:pt x="27" y="416"/>
                  </a:lnTo>
                  <a:lnTo>
                    <a:pt x="0" y="554"/>
                  </a:lnTo>
                  <a:lnTo>
                    <a:pt x="166" y="586"/>
                  </a:lnTo>
                  <a:lnTo>
                    <a:pt x="324" y="608"/>
                  </a:lnTo>
                  <a:lnTo>
                    <a:pt x="340" y="482"/>
                  </a:lnTo>
                  <a:lnTo>
                    <a:pt x="349" y="413"/>
                  </a:lnTo>
                  <a:lnTo>
                    <a:pt x="333" y="388"/>
                  </a:lnTo>
                  <a:lnTo>
                    <a:pt x="297" y="395"/>
                  </a:lnTo>
                  <a:lnTo>
                    <a:pt x="250" y="401"/>
                  </a:lnTo>
                  <a:lnTo>
                    <a:pt x="242" y="345"/>
                  </a:lnTo>
                  <a:lnTo>
                    <a:pt x="185" y="299"/>
                  </a:lnTo>
                  <a:lnTo>
                    <a:pt x="192" y="270"/>
                  </a:lnTo>
                  <a:lnTo>
                    <a:pt x="198" y="218"/>
                  </a:lnTo>
                  <a:lnTo>
                    <a:pt x="125" y="106"/>
                  </a:lnTo>
                  <a:lnTo>
                    <a:pt x="134" y="7"/>
                  </a:lnTo>
                  <a:lnTo>
                    <a:pt x="84" y="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31" name="Freeform 48">
              <a:extLst>
                <a:ext uri="{FF2B5EF4-FFF2-40B4-BE49-F238E27FC236}">
                  <a16:creationId xmlns:a16="http://schemas.microsoft.com/office/drawing/2014/main" id="{400C0C9A-589E-41D0-A558-CFFB710FFC02}"/>
                </a:ext>
              </a:extLst>
            </p:cNvPr>
            <p:cNvSpPr>
              <a:spLocks/>
            </p:cNvSpPr>
            <p:nvPr/>
          </p:nvSpPr>
          <p:spPr bwMode="auto">
            <a:xfrm>
              <a:off x="5260975" y="4259263"/>
              <a:ext cx="400050" cy="750887"/>
            </a:xfrm>
            <a:custGeom>
              <a:avLst/>
              <a:gdLst>
                <a:gd name="T0" fmla="*/ 81 w 210"/>
                <a:gd name="T1" fmla="*/ 13 h 394"/>
                <a:gd name="T2" fmla="*/ 37 w 210"/>
                <a:gd name="T3" fmla="*/ 80 h 394"/>
                <a:gd name="T4" fmla="*/ 0 w 210"/>
                <a:gd name="T5" fmla="*/ 124 h 394"/>
                <a:gd name="T6" fmla="*/ 13 w 210"/>
                <a:gd name="T7" fmla="*/ 175 h 394"/>
                <a:gd name="T8" fmla="*/ 57 w 210"/>
                <a:gd name="T9" fmla="*/ 246 h 394"/>
                <a:gd name="T10" fmla="*/ 23 w 210"/>
                <a:gd name="T11" fmla="*/ 318 h 394"/>
                <a:gd name="T12" fmla="*/ 6 w 210"/>
                <a:gd name="T13" fmla="*/ 355 h 394"/>
                <a:gd name="T14" fmla="*/ 174 w 210"/>
                <a:gd name="T15" fmla="*/ 340 h 394"/>
                <a:gd name="T16" fmla="*/ 184 w 210"/>
                <a:gd name="T17" fmla="*/ 388 h 394"/>
                <a:gd name="T18" fmla="*/ 217 w 210"/>
                <a:gd name="T19" fmla="*/ 394 h 394"/>
                <a:gd name="T20" fmla="*/ 225 w 210"/>
                <a:gd name="T21" fmla="*/ 369 h 394"/>
                <a:gd name="T22" fmla="*/ 286 w 210"/>
                <a:gd name="T23" fmla="*/ 362 h 394"/>
                <a:gd name="T24" fmla="*/ 272 w 210"/>
                <a:gd name="T25" fmla="*/ 282 h 394"/>
                <a:gd name="T26" fmla="*/ 270 w 210"/>
                <a:gd name="T27" fmla="*/ 0 h 394"/>
                <a:gd name="T28" fmla="*/ 81 w 210"/>
                <a:gd name="T29" fmla="*/ 13 h 39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10"/>
                <a:gd name="T46" fmla="*/ 0 h 394"/>
                <a:gd name="T47" fmla="*/ 210 w 210"/>
                <a:gd name="T48" fmla="*/ 394 h 39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10" h="394">
                  <a:moveTo>
                    <a:pt x="59" y="13"/>
                  </a:moveTo>
                  <a:lnTo>
                    <a:pt x="27" y="80"/>
                  </a:lnTo>
                  <a:lnTo>
                    <a:pt x="0" y="124"/>
                  </a:lnTo>
                  <a:lnTo>
                    <a:pt x="9" y="175"/>
                  </a:lnTo>
                  <a:lnTo>
                    <a:pt x="42" y="246"/>
                  </a:lnTo>
                  <a:lnTo>
                    <a:pt x="17" y="318"/>
                  </a:lnTo>
                  <a:lnTo>
                    <a:pt x="6" y="355"/>
                  </a:lnTo>
                  <a:lnTo>
                    <a:pt x="128" y="340"/>
                  </a:lnTo>
                  <a:lnTo>
                    <a:pt x="134" y="388"/>
                  </a:lnTo>
                  <a:lnTo>
                    <a:pt x="159" y="394"/>
                  </a:lnTo>
                  <a:lnTo>
                    <a:pt x="165" y="369"/>
                  </a:lnTo>
                  <a:lnTo>
                    <a:pt x="210" y="362"/>
                  </a:lnTo>
                  <a:lnTo>
                    <a:pt x="200" y="282"/>
                  </a:lnTo>
                  <a:lnTo>
                    <a:pt x="198" y="0"/>
                  </a:lnTo>
                  <a:lnTo>
                    <a:pt x="59" y="13"/>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32" name="Freeform 49">
              <a:extLst>
                <a:ext uri="{FF2B5EF4-FFF2-40B4-BE49-F238E27FC236}">
                  <a16:creationId xmlns:a16="http://schemas.microsoft.com/office/drawing/2014/main" id="{EB2A4EA3-DDFF-4B4C-93A4-E243596A7D3B}"/>
                </a:ext>
              </a:extLst>
            </p:cNvPr>
            <p:cNvSpPr>
              <a:spLocks/>
            </p:cNvSpPr>
            <p:nvPr/>
          </p:nvSpPr>
          <p:spPr bwMode="auto">
            <a:xfrm>
              <a:off x="5635625" y="4222750"/>
              <a:ext cx="452438" cy="758825"/>
            </a:xfrm>
            <a:custGeom>
              <a:avLst/>
              <a:gdLst>
                <a:gd name="T0" fmla="*/ 0 w 237"/>
                <a:gd name="T1" fmla="*/ 20 h 398"/>
                <a:gd name="T2" fmla="*/ 213 w 237"/>
                <a:gd name="T3" fmla="*/ 0 h 398"/>
                <a:gd name="T4" fmla="*/ 281 w 237"/>
                <a:gd name="T5" fmla="*/ 184 h 398"/>
                <a:gd name="T6" fmla="*/ 329 w 237"/>
                <a:gd name="T7" fmla="*/ 213 h 398"/>
                <a:gd name="T8" fmla="*/ 291 w 237"/>
                <a:gd name="T9" fmla="*/ 267 h 398"/>
                <a:gd name="T10" fmla="*/ 326 w 237"/>
                <a:gd name="T11" fmla="*/ 319 h 398"/>
                <a:gd name="T12" fmla="*/ 110 w 237"/>
                <a:gd name="T13" fmla="*/ 338 h 398"/>
                <a:gd name="T14" fmla="*/ 117 w 237"/>
                <a:gd name="T15" fmla="*/ 383 h 398"/>
                <a:gd name="T16" fmla="*/ 86 w 237"/>
                <a:gd name="T17" fmla="*/ 398 h 398"/>
                <a:gd name="T18" fmla="*/ 61 w 237"/>
                <a:gd name="T19" fmla="*/ 341 h 398"/>
                <a:gd name="T20" fmla="*/ 46 w 237"/>
                <a:gd name="T21" fmla="*/ 387 h 398"/>
                <a:gd name="T22" fmla="*/ 17 w 237"/>
                <a:gd name="T23" fmla="*/ 383 h 398"/>
                <a:gd name="T24" fmla="*/ 11 w 237"/>
                <a:gd name="T25" fmla="*/ 337 h 398"/>
                <a:gd name="T26" fmla="*/ 1 w 237"/>
                <a:gd name="T27" fmla="*/ 297 h 398"/>
                <a:gd name="T28" fmla="*/ 0 w 237"/>
                <a:gd name="T29" fmla="*/ 20 h 39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37"/>
                <a:gd name="T46" fmla="*/ 0 h 398"/>
                <a:gd name="T47" fmla="*/ 237 w 237"/>
                <a:gd name="T48" fmla="*/ 398 h 39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37" h="398">
                  <a:moveTo>
                    <a:pt x="0" y="20"/>
                  </a:moveTo>
                  <a:lnTo>
                    <a:pt x="154" y="0"/>
                  </a:lnTo>
                  <a:lnTo>
                    <a:pt x="203" y="184"/>
                  </a:lnTo>
                  <a:lnTo>
                    <a:pt x="237" y="213"/>
                  </a:lnTo>
                  <a:lnTo>
                    <a:pt x="210" y="267"/>
                  </a:lnTo>
                  <a:lnTo>
                    <a:pt x="236" y="319"/>
                  </a:lnTo>
                  <a:lnTo>
                    <a:pt x="79" y="338"/>
                  </a:lnTo>
                  <a:lnTo>
                    <a:pt x="85" y="383"/>
                  </a:lnTo>
                  <a:lnTo>
                    <a:pt x="62" y="398"/>
                  </a:lnTo>
                  <a:lnTo>
                    <a:pt x="44" y="341"/>
                  </a:lnTo>
                  <a:lnTo>
                    <a:pt x="33" y="387"/>
                  </a:lnTo>
                  <a:lnTo>
                    <a:pt x="13" y="383"/>
                  </a:lnTo>
                  <a:lnTo>
                    <a:pt x="7" y="337"/>
                  </a:lnTo>
                  <a:lnTo>
                    <a:pt x="1" y="297"/>
                  </a:lnTo>
                  <a:lnTo>
                    <a:pt x="0" y="2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33" name="Freeform 50">
              <a:extLst>
                <a:ext uri="{FF2B5EF4-FFF2-40B4-BE49-F238E27FC236}">
                  <a16:creationId xmlns:a16="http://schemas.microsoft.com/office/drawing/2014/main" id="{00A94BE0-4C70-41AC-AB01-C792B53213DB}"/>
                </a:ext>
              </a:extLst>
            </p:cNvPr>
            <p:cNvSpPr>
              <a:spLocks/>
            </p:cNvSpPr>
            <p:nvPr/>
          </p:nvSpPr>
          <p:spPr bwMode="auto">
            <a:xfrm>
              <a:off x="5929313" y="4184650"/>
              <a:ext cx="627062" cy="698500"/>
            </a:xfrm>
            <a:custGeom>
              <a:avLst/>
              <a:gdLst>
                <a:gd name="T0" fmla="*/ 0 w 328"/>
                <a:gd name="T1" fmla="*/ 23 h 366"/>
                <a:gd name="T2" fmla="*/ 4 w 328"/>
                <a:gd name="T3" fmla="*/ 23 h 366"/>
                <a:gd name="T4" fmla="*/ 111 w 328"/>
                <a:gd name="T5" fmla="*/ 7 h 366"/>
                <a:gd name="T6" fmla="*/ 206 w 328"/>
                <a:gd name="T7" fmla="*/ 0 h 366"/>
                <a:gd name="T8" fmla="*/ 192 w 328"/>
                <a:gd name="T9" fmla="*/ 19 h 366"/>
                <a:gd name="T10" fmla="*/ 221 w 328"/>
                <a:gd name="T11" fmla="*/ 19 h 366"/>
                <a:gd name="T12" fmla="*/ 384 w 328"/>
                <a:gd name="T13" fmla="*/ 132 h 366"/>
                <a:gd name="T14" fmla="*/ 446 w 328"/>
                <a:gd name="T15" fmla="*/ 205 h 366"/>
                <a:gd name="T16" fmla="*/ 455 w 328"/>
                <a:gd name="T17" fmla="*/ 254 h 366"/>
                <a:gd name="T18" fmla="*/ 434 w 328"/>
                <a:gd name="T19" fmla="*/ 266 h 366"/>
                <a:gd name="T20" fmla="*/ 446 w 328"/>
                <a:gd name="T21" fmla="*/ 316 h 366"/>
                <a:gd name="T22" fmla="*/ 402 w 328"/>
                <a:gd name="T23" fmla="*/ 318 h 366"/>
                <a:gd name="T24" fmla="*/ 402 w 328"/>
                <a:gd name="T25" fmla="*/ 360 h 366"/>
                <a:gd name="T26" fmla="*/ 364 w 328"/>
                <a:gd name="T27" fmla="*/ 339 h 366"/>
                <a:gd name="T28" fmla="*/ 130 w 328"/>
                <a:gd name="T29" fmla="*/ 366 h 366"/>
                <a:gd name="T30" fmla="*/ 78 w 328"/>
                <a:gd name="T31" fmla="*/ 287 h 366"/>
                <a:gd name="T32" fmla="*/ 115 w 328"/>
                <a:gd name="T33" fmla="*/ 233 h 366"/>
                <a:gd name="T34" fmla="*/ 65 w 328"/>
                <a:gd name="T35" fmla="*/ 206 h 366"/>
                <a:gd name="T36" fmla="*/ 0 w 328"/>
                <a:gd name="T37" fmla="*/ 23 h 36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28"/>
                <a:gd name="T58" fmla="*/ 0 h 366"/>
                <a:gd name="T59" fmla="*/ 328 w 328"/>
                <a:gd name="T60" fmla="*/ 366 h 36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28" h="366">
                  <a:moveTo>
                    <a:pt x="0" y="23"/>
                  </a:moveTo>
                  <a:lnTo>
                    <a:pt x="4" y="23"/>
                  </a:lnTo>
                  <a:lnTo>
                    <a:pt x="80" y="7"/>
                  </a:lnTo>
                  <a:lnTo>
                    <a:pt x="148" y="0"/>
                  </a:lnTo>
                  <a:lnTo>
                    <a:pt x="138" y="19"/>
                  </a:lnTo>
                  <a:lnTo>
                    <a:pt x="159" y="19"/>
                  </a:lnTo>
                  <a:lnTo>
                    <a:pt x="276" y="132"/>
                  </a:lnTo>
                  <a:lnTo>
                    <a:pt x="322" y="205"/>
                  </a:lnTo>
                  <a:lnTo>
                    <a:pt x="328" y="254"/>
                  </a:lnTo>
                  <a:lnTo>
                    <a:pt x="313" y="266"/>
                  </a:lnTo>
                  <a:lnTo>
                    <a:pt x="322" y="316"/>
                  </a:lnTo>
                  <a:lnTo>
                    <a:pt x="289" y="318"/>
                  </a:lnTo>
                  <a:lnTo>
                    <a:pt x="289" y="360"/>
                  </a:lnTo>
                  <a:lnTo>
                    <a:pt x="263" y="339"/>
                  </a:lnTo>
                  <a:lnTo>
                    <a:pt x="94" y="366"/>
                  </a:lnTo>
                  <a:lnTo>
                    <a:pt x="56" y="287"/>
                  </a:lnTo>
                  <a:lnTo>
                    <a:pt x="83" y="233"/>
                  </a:lnTo>
                  <a:lnTo>
                    <a:pt x="47" y="206"/>
                  </a:lnTo>
                  <a:lnTo>
                    <a:pt x="0" y="23"/>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34" name="Freeform 51">
              <a:extLst>
                <a:ext uri="{FF2B5EF4-FFF2-40B4-BE49-F238E27FC236}">
                  <a16:creationId xmlns:a16="http://schemas.microsoft.com/office/drawing/2014/main" id="{AFF1DE97-47F1-4CC1-BC77-F171F7A0EA89}"/>
                </a:ext>
              </a:extLst>
            </p:cNvPr>
            <p:cNvSpPr>
              <a:spLocks/>
            </p:cNvSpPr>
            <p:nvPr/>
          </p:nvSpPr>
          <p:spPr bwMode="auto">
            <a:xfrm>
              <a:off x="6081713" y="3757613"/>
              <a:ext cx="982662" cy="463550"/>
            </a:xfrm>
            <a:custGeom>
              <a:avLst/>
              <a:gdLst>
                <a:gd name="T0" fmla="*/ 25 w 516"/>
                <a:gd name="T1" fmla="*/ 180 h 243"/>
                <a:gd name="T2" fmla="*/ 0 w 516"/>
                <a:gd name="T3" fmla="*/ 231 h 243"/>
                <a:gd name="T4" fmla="*/ 93 w 516"/>
                <a:gd name="T5" fmla="*/ 224 h 243"/>
                <a:gd name="T6" fmla="*/ 128 w 516"/>
                <a:gd name="T7" fmla="*/ 201 h 243"/>
                <a:gd name="T8" fmla="*/ 253 w 516"/>
                <a:gd name="T9" fmla="*/ 175 h 243"/>
                <a:gd name="T10" fmla="*/ 287 w 516"/>
                <a:gd name="T11" fmla="*/ 189 h 243"/>
                <a:gd name="T12" fmla="*/ 369 w 516"/>
                <a:gd name="T13" fmla="*/ 180 h 243"/>
                <a:gd name="T14" fmla="*/ 369 w 516"/>
                <a:gd name="T15" fmla="*/ 183 h 243"/>
                <a:gd name="T16" fmla="*/ 494 w 516"/>
                <a:gd name="T17" fmla="*/ 243 h 243"/>
                <a:gd name="T18" fmla="*/ 565 w 516"/>
                <a:gd name="T19" fmla="*/ 226 h 243"/>
                <a:gd name="T20" fmla="*/ 608 w 516"/>
                <a:gd name="T21" fmla="*/ 159 h 243"/>
                <a:gd name="T22" fmla="*/ 677 w 516"/>
                <a:gd name="T23" fmla="*/ 140 h 243"/>
                <a:gd name="T24" fmla="*/ 711 w 516"/>
                <a:gd name="T25" fmla="*/ 90 h 243"/>
                <a:gd name="T26" fmla="*/ 708 w 516"/>
                <a:gd name="T27" fmla="*/ 30 h 243"/>
                <a:gd name="T28" fmla="*/ 701 w 516"/>
                <a:gd name="T29" fmla="*/ 80 h 243"/>
                <a:gd name="T30" fmla="*/ 661 w 516"/>
                <a:gd name="T31" fmla="*/ 122 h 243"/>
                <a:gd name="T32" fmla="*/ 646 w 516"/>
                <a:gd name="T33" fmla="*/ 119 h 243"/>
                <a:gd name="T34" fmla="*/ 594 w 516"/>
                <a:gd name="T35" fmla="*/ 130 h 243"/>
                <a:gd name="T36" fmla="*/ 594 w 516"/>
                <a:gd name="T37" fmla="*/ 116 h 243"/>
                <a:gd name="T38" fmla="*/ 646 w 516"/>
                <a:gd name="T39" fmla="*/ 102 h 243"/>
                <a:gd name="T40" fmla="*/ 597 w 516"/>
                <a:gd name="T41" fmla="*/ 97 h 243"/>
                <a:gd name="T42" fmla="*/ 652 w 516"/>
                <a:gd name="T43" fmla="*/ 85 h 243"/>
                <a:gd name="T44" fmla="*/ 674 w 516"/>
                <a:gd name="T45" fmla="*/ 92 h 243"/>
                <a:gd name="T46" fmla="*/ 685 w 516"/>
                <a:gd name="T47" fmla="*/ 45 h 243"/>
                <a:gd name="T48" fmla="*/ 672 w 516"/>
                <a:gd name="T49" fmla="*/ 34 h 243"/>
                <a:gd name="T50" fmla="*/ 607 w 516"/>
                <a:gd name="T51" fmla="*/ 53 h 243"/>
                <a:gd name="T52" fmla="*/ 608 w 516"/>
                <a:gd name="T53" fmla="*/ 25 h 243"/>
                <a:gd name="T54" fmla="*/ 635 w 516"/>
                <a:gd name="T55" fmla="*/ 32 h 243"/>
                <a:gd name="T56" fmla="*/ 672 w 516"/>
                <a:gd name="T57" fmla="*/ 10 h 243"/>
                <a:gd name="T58" fmla="*/ 651 w 516"/>
                <a:gd name="T59" fmla="*/ 0 h 243"/>
                <a:gd name="T60" fmla="*/ 438 w 516"/>
                <a:gd name="T61" fmla="*/ 37 h 243"/>
                <a:gd name="T62" fmla="*/ 179 w 516"/>
                <a:gd name="T63" fmla="*/ 79 h 243"/>
                <a:gd name="T64" fmla="*/ 60 w 516"/>
                <a:gd name="T65" fmla="*/ 179 h 243"/>
                <a:gd name="T66" fmla="*/ 25 w 516"/>
                <a:gd name="T67" fmla="*/ 180 h 24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16"/>
                <a:gd name="T103" fmla="*/ 0 h 243"/>
                <a:gd name="T104" fmla="*/ 516 w 516"/>
                <a:gd name="T105" fmla="*/ 243 h 24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16" h="243">
                  <a:moveTo>
                    <a:pt x="18" y="180"/>
                  </a:moveTo>
                  <a:lnTo>
                    <a:pt x="0" y="231"/>
                  </a:lnTo>
                  <a:lnTo>
                    <a:pt x="67" y="224"/>
                  </a:lnTo>
                  <a:lnTo>
                    <a:pt x="93" y="201"/>
                  </a:lnTo>
                  <a:lnTo>
                    <a:pt x="184" y="175"/>
                  </a:lnTo>
                  <a:lnTo>
                    <a:pt x="209" y="189"/>
                  </a:lnTo>
                  <a:lnTo>
                    <a:pt x="269" y="180"/>
                  </a:lnTo>
                  <a:lnTo>
                    <a:pt x="269" y="183"/>
                  </a:lnTo>
                  <a:lnTo>
                    <a:pt x="359" y="243"/>
                  </a:lnTo>
                  <a:lnTo>
                    <a:pt x="411" y="226"/>
                  </a:lnTo>
                  <a:lnTo>
                    <a:pt x="441" y="159"/>
                  </a:lnTo>
                  <a:lnTo>
                    <a:pt x="492" y="140"/>
                  </a:lnTo>
                  <a:lnTo>
                    <a:pt x="516" y="90"/>
                  </a:lnTo>
                  <a:lnTo>
                    <a:pt x="515" y="30"/>
                  </a:lnTo>
                  <a:lnTo>
                    <a:pt x="509" y="80"/>
                  </a:lnTo>
                  <a:lnTo>
                    <a:pt x="480" y="122"/>
                  </a:lnTo>
                  <a:lnTo>
                    <a:pt x="469" y="119"/>
                  </a:lnTo>
                  <a:lnTo>
                    <a:pt x="431" y="130"/>
                  </a:lnTo>
                  <a:lnTo>
                    <a:pt x="431" y="116"/>
                  </a:lnTo>
                  <a:lnTo>
                    <a:pt x="469" y="102"/>
                  </a:lnTo>
                  <a:lnTo>
                    <a:pt x="434" y="97"/>
                  </a:lnTo>
                  <a:lnTo>
                    <a:pt x="474" y="85"/>
                  </a:lnTo>
                  <a:lnTo>
                    <a:pt x="489" y="92"/>
                  </a:lnTo>
                  <a:lnTo>
                    <a:pt x="497" y="45"/>
                  </a:lnTo>
                  <a:lnTo>
                    <a:pt x="487" y="34"/>
                  </a:lnTo>
                  <a:lnTo>
                    <a:pt x="440" y="53"/>
                  </a:lnTo>
                  <a:lnTo>
                    <a:pt x="441" y="25"/>
                  </a:lnTo>
                  <a:lnTo>
                    <a:pt x="461" y="32"/>
                  </a:lnTo>
                  <a:lnTo>
                    <a:pt x="487" y="10"/>
                  </a:lnTo>
                  <a:lnTo>
                    <a:pt x="473" y="0"/>
                  </a:lnTo>
                  <a:lnTo>
                    <a:pt x="318" y="37"/>
                  </a:lnTo>
                  <a:lnTo>
                    <a:pt x="129" y="79"/>
                  </a:lnTo>
                  <a:lnTo>
                    <a:pt x="43" y="179"/>
                  </a:lnTo>
                  <a:lnTo>
                    <a:pt x="18" y="180"/>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35" name="Freeform 52">
              <a:extLst>
                <a:ext uri="{FF2B5EF4-FFF2-40B4-BE49-F238E27FC236}">
                  <a16:creationId xmlns:a16="http://schemas.microsoft.com/office/drawing/2014/main" id="{808D5041-C56C-4CC8-9DFE-4D9E9081D0D7}"/>
                </a:ext>
              </a:extLst>
            </p:cNvPr>
            <p:cNvSpPr>
              <a:spLocks/>
            </p:cNvSpPr>
            <p:nvPr/>
          </p:nvSpPr>
          <p:spPr bwMode="auto">
            <a:xfrm>
              <a:off x="6877050" y="3270250"/>
              <a:ext cx="136525" cy="182563"/>
            </a:xfrm>
            <a:custGeom>
              <a:avLst/>
              <a:gdLst>
                <a:gd name="T0" fmla="*/ 0 w 72"/>
                <a:gd name="T1" fmla="*/ 5 h 96"/>
                <a:gd name="T2" fmla="*/ 20 w 72"/>
                <a:gd name="T3" fmla="*/ 0 h 96"/>
                <a:gd name="T4" fmla="*/ 66 w 72"/>
                <a:gd name="T5" fmla="*/ 21 h 96"/>
                <a:gd name="T6" fmla="*/ 66 w 72"/>
                <a:gd name="T7" fmla="*/ 42 h 96"/>
                <a:gd name="T8" fmla="*/ 97 w 72"/>
                <a:gd name="T9" fmla="*/ 57 h 96"/>
                <a:gd name="T10" fmla="*/ 99 w 72"/>
                <a:gd name="T11" fmla="*/ 85 h 96"/>
                <a:gd name="T12" fmla="*/ 48 w 72"/>
                <a:gd name="T13" fmla="*/ 96 h 96"/>
                <a:gd name="T14" fmla="*/ 0 w 72"/>
                <a:gd name="T15" fmla="*/ 5 h 96"/>
                <a:gd name="T16" fmla="*/ 0 60000 65536"/>
                <a:gd name="T17" fmla="*/ 0 60000 65536"/>
                <a:gd name="T18" fmla="*/ 0 60000 65536"/>
                <a:gd name="T19" fmla="*/ 0 60000 65536"/>
                <a:gd name="T20" fmla="*/ 0 60000 65536"/>
                <a:gd name="T21" fmla="*/ 0 60000 65536"/>
                <a:gd name="T22" fmla="*/ 0 60000 65536"/>
                <a:gd name="T23" fmla="*/ 0 60000 65536"/>
                <a:gd name="T24" fmla="*/ 0 w 72"/>
                <a:gd name="T25" fmla="*/ 0 h 96"/>
                <a:gd name="T26" fmla="*/ 72 w 72"/>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2" h="96">
                  <a:moveTo>
                    <a:pt x="0" y="5"/>
                  </a:moveTo>
                  <a:lnTo>
                    <a:pt x="15" y="0"/>
                  </a:lnTo>
                  <a:lnTo>
                    <a:pt x="48" y="21"/>
                  </a:lnTo>
                  <a:lnTo>
                    <a:pt x="48" y="42"/>
                  </a:lnTo>
                  <a:lnTo>
                    <a:pt x="71" y="57"/>
                  </a:lnTo>
                  <a:lnTo>
                    <a:pt x="72" y="85"/>
                  </a:lnTo>
                  <a:lnTo>
                    <a:pt x="35" y="96"/>
                  </a:lnTo>
                  <a:lnTo>
                    <a:pt x="0" y="5"/>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36" name="Freeform 53">
              <a:extLst>
                <a:ext uri="{FF2B5EF4-FFF2-40B4-BE49-F238E27FC236}">
                  <a16:creationId xmlns:a16="http://schemas.microsoft.com/office/drawing/2014/main" id="{DC7B1DFA-AFD6-4465-9440-E8FD8C096162}"/>
                </a:ext>
              </a:extLst>
            </p:cNvPr>
            <p:cNvSpPr>
              <a:spLocks/>
            </p:cNvSpPr>
            <p:nvPr/>
          </p:nvSpPr>
          <p:spPr bwMode="auto">
            <a:xfrm>
              <a:off x="6345238" y="2382838"/>
              <a:ext cx="731837" cy="639762"/>
            </a:xfrm>
            <a:custGeom>
              <a:avLst/>
              <a:gdLst>
                <a:gd name="T0" fmla="*/ 40 w 384"/>
                <a:gd name="T1" fmla="*/ 226 h 336"/>
                <a:gd name="T2" fmla="*/ 92 w 384"/>
                <a:gd name="T3" fmla="*/ 206 h 336"/>
                <a:gd name="T4" fmla="*/ 158 w 384"/>
                <a:gd name="T5" fmla="*/ 201 h 336"/>
                <a:gd name="T6" fmla="*/ 177 w 384"/>
                <a:gd name="T7" fmla="*/ 183 h 336"/>
                <a:gd name="T8" fmla="*/ 198 w 384"/>
                <a:gd name="T9" fmla="*/ 181 h 336"/>
                <a:gd name="T10" fmla="*/ 212 w 384"/>
                <a:gd name="T11" fmla="*/ 162 h 336"/>
                <a:gd name="T12" fmla="*/ 235 w 384"/>
                <a:gd name="T13" fmla="*/ 155 h 336"/>
                <a:gd name="T14" fmla="*/ 225 w 384"/>
                <a:gd name="T15" fmla="*/ 120 h 336"/>
                <a:gd name="T16" fmla="*/ 211 w 384"/>
                <a:gd name="T17" fmla="*/ 111 h 336"/>
                <a:gd name="T18" fmla="*/ 240 w 384"/>
                <a:gd name="T19" fmla="*/ 82 h 336"/>
                <a:gd name="T20" fmla="*/ 258 w 384"/>
                <a:gd name="T21" fmla="*/ 82 h 336"/>
                <a:gd name="T22" fmla="*/ 320 w 384"/>
                <a:gd name="T23" fmla="*/ 22 h 336"/>
                <a:gd name="T24" fmla="*/ 414 w 384"/>
                <a:gd name="T25" fmla="*/ 0 h 336"/>
                <a:gd name="T26" fmla="*/ 425 w 384"/>
                <a:gd name="T27" fmla="*/ 56 h 336"/>
                <a:gd name="T28" fmla="*/ 430 w 384"/>
                <a:gd name="T29" fmla="*/ 54 h 336"/>
                <a:gd name="T30" fmla="*/ 452 w 384"/>
                <a:gd name="T31" fmla="*/ 74 h 336"/>
                <a:gd name="T32" fmla="*/ 453 w 384"/>
                <a:gd name="T33" fmla="*/ 132 h 336"/>
                <a:gd name="T34" fmla="*/ 482 w 384"/>
                <a:gd name="T35" fmla="*/ 179 h 336"/>
                <a:gd name="T36" fmla="*/ 493 w 384"/>
                <a:gd name="T37" fmla="*/ 240 h 336"/>
                <a:gd name="T38" fmla="*/ 495 w 384"/>
                <a:gd name="T39" fmla="*/ 293 h 336"/>
                <a:gd name="T40" fmla="*/ 530 w 384"/>
                <a:gd name="T41" fmla="*/ 310 h 336"/>
                <a:gd name="T42" fmla="*/ 505 w 384"/>
                <a:gd name="T43" fmla="*/ 336 h 336"/>
                <a:gd name="T44" fmla="*/ 444 w 384"/>
                <a:gd name="T45" fmla="*/ 306 h 336"/>
                <a:gd name="T46" fmla="*/ 412 w 384"/>
                <a:gd name="T47" fmla="*/ 308 h 336"/>
                <a:gd name="T48" fmla="*/ 380 w 384"/>
                <a:gd name="T49" fmla="*/ 301 h 336"/>
                <a:gd name="T50" fmla="*/ 381 w 384"/>
                <a:gd name="T51" fmla="*/ 283 h 336"/>
                <a:gd name="T52" fmla="*/ 362 w 384"/>
                <a:gd name="T53" fmla="*/ 277 h 336"/>
                <a:gd name="T54" fmla="*/ 15 w 384"/>
                <a:gd name="T55" fmla="*/ 329 h 336"/>
                <a:gd name="T56" fmla="*/ 0 w 384"/>
                <a:gd name="T57" fmla="*/ 314 h 336"/>
                <a:gd name="T58" fmla="*/ 52 w 384"/>
                <a:gd name="T59" fmla="*/ 254 h 336"/>
                <a:gd name="T60" fmla="*/ 40 w 384"/>
                <a:gd name="T61" fmla="*/ 226 h 3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84"/>
                <a:gd name="T94" fmla="*/ 0 h 336"/>
                <a:gd name="T95" fmla="*/ 384 w 384"/>
                <a:gd name="T96" fmla="*/ 336 h 3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84" h="336">
                  <a:moveTo>
                    <a:pt x="29" y="226"/>
                  </a:moveTo>
                  <a:lnTo>
                    <a:pt x="66" y="206"/>
                  </a:lnTo>
                  <a:lnTo>
                    <a:pt x="115" y="201"/>
                  </a:lnTo>
                  <a:lnTo>
                    <a:pt x="127" y="183"/>
                  </a:lnTo>
                  <a:lnTo>
                    <a:pt x="144" y="181"/>
                  </a:lnTo>
                  <a:lnTo>
                    <a:pt x="154" y="162"/>
                  </a:lnTo>
                  <a:lnTo>
                    <a:pt x="171" y="155"/>
                  </a:lnTo>
                  <a:lnTo>
                    <a:pt x="163" y="120"/>
                  </a:lnTo>
                  <a:lnTo>
                    <a:pt x="153" y="111"/>
                  </a:lnTo>
                  <a:lnTo>
                    <a:pt x="174" y="82"/>
                  </a:lnTo>
                  <a:lnTo>
                    <a:pt x="187" y="82"/>
                  </a:lnTo>
                  <a:lnTo>
                    <a:pt x="232" y="22"/>
                  </a:lnTo>
                  <a:lnTo>
                    <a:pt x="301" y="0"/>
                  </a:lnTo>
                  <a:lnTo>
                    <a:pt x="308" y="56"/>
                  </a:lnTo>
                  <a:lnTo>
                    <a:pt x="312" y="54"/>
                  </a:lnTo>
                  <a:lnTo>
                    <a:pt x="328" y="74"/>
                  </a:lnTo>
                  <a:lnTo>
                    <a:pt x="329" y="132"/>
                  </a:lnTo>
                  <a:lnTo>
                    <a:pt x="350" y="179"/>
                  </a:lnTo>
                  <a:lnTo>
                    <a:pt x="358" y="240"/>
                  </a:lnTo>
                  <a:lnTo>
                    <a:pt x="360" y="293"/>
                  </a:lnTo>
                  <a:lnTo>
                    <a:pt x="384" y="310"/>
                  </a:lnTo>
                  <a:lnTo>
                    <a:pt x="366" y="336"/>
                  </a:lnTo>
                  <a:lnTo>
                    <a:pt x="322" y="306"/>
                  </a:lnTo>
                  <a:lnTo>
                    <a:pt x="299" y="308"/>
                  </a:lnTo>
                  <a:lnTo>
                    <a:pt x="276" y="301"/>
                  </a:lnTo>
                  <a:lnTo>
                    <a:pt x="277" y="283"/>
                  </a:lnTo>
                  <a:lnTo>
                    <a:pt x="262" y="277"/>
                  </a:lnTo>
                  <a:lnTo>
                    <a:pt x="11" y="329"/>
                  </a:lnTo>
                  <a:lnTo>
                    <a:pt x="0" y="314"/>
                  </a:lnTo>
                  <a:lnTo>
                    <a:pt x="38" y="254"/>
                  </a:lnTo>
                  <a:lnTo>
                    <a:pt x="29" y="226"/>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37" name="Freeform 54">
              <a:extLst>
                <a:ext uri="{FF2B5EF4-FFF2-40B4-BE49-F238E27FC236}">
                  <a16:creationId xmlns:a16="http://schemas.microsoft.com/office/drawing/2014/main" id="{1619987B-E206-45ED-925B-41A7DB2FE0CC}"/>
                </a:ext>
              </a:extLst>
            </p:cNvPr>
            <p:cNvSpPr>
              <a:spLocks/>
            </p:cNvSpPr>
            <p:nvPr/>
          </p:nvSpPr>
          <p:spPr bwMode="auto">
            <a:xfrm>
              <a:off x="7059613" y="2919413"/>
              <a:ext cx="212725" cy="138112"/>
            </a:xfrm>
            <a:custGeom>
              <a:avLst/>
              <a:gdLst>
                <a:gd name="T0" fmla="*/ 0 w 112"/>
                <a:gd name="T1" fmla="*/ 53 h 72"/>
                <a:gd name="T2" fmla="*/ 63 w 112"/>
                <a:gd name="T3" fmla="*/ 30 h 72"/>
                <a:gd name="T4" fmla="*/ 124 w 112"/>
                <a:gd name="T5" fmla="*/ 0 h 72"/>
                <a:gd name="T6" fmla="*/ 135 w 112"/>
                <a:gd name="T7" fmla="*/ 1 h 72"/>
                <a:gd name="T8" fmla="*/ 153 w 112"/>
                <a:gd name="T9" fmla="*/ 3 h 72"/>
                <a:gd name="T10" fmla="*/ 92 w 112"/>
                <a:gd name="T11" fmla="*/ 40 h 72"/>
                <a:gd name="T12" fmla="*/ 17 w 112"/>
                <a:gd name="T13" fmla="*/ 72 h 72"/>
                <a:gd name="T14" fmla="*/ 0 w 112"/>
                <a:gd name="T15" fmla="*/ 53 h 72"/>
                <a:gd name="T16" fmla="*/ 0 60000 65536"/>
                <a:gd name="T17" fmla="*/ 0 60000 65536"/>
                <a:gd name="T18" fmla="*/ 0 60000 65536"/>
                <a:gd name="T19" fmla="*/ 0 60000 65536"/>
                <a:gd name="T20" fmla="*/ 0 60000 65536"/>
                <a:gd name="T21" fmla="*/ 0 60000 65536"/>
                <a:gd name="T22" fmla="*/ 0 60000 65536"/>
                <a:gd name="T23" fmla="*/ 0 60000 65536"/>
                <a:gd name="T24" fmla="*/ 0 w 112"/>
                <a:gd name="T25" fmla="*/ 0 h 72"/>
                <a:gd name="T26" fmla="*/ 112 w 112"/>
                <a:gd name="T27" fmla="*/ 72 h 7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2" h="72">
                  <a:moveTo>
                    <a:pt x="0" y="53"/>
                  </a:moveTo>
                  <a:lnTo>
                    <a:pt x="46" y="30"/>
                  </a:lnTo>
                  <a:lnTo>
                    <a:pt x="91" y="0"/>
                  </a:lnTo>
                  <a:lnTo>
                    <a:pt x="99" y="1"/>
                  </a:lnTo>
                  <a:lnTo>
                    <a:pt x="112" y="3"/>
                  </a:lnTo>
                  <a:lnTo>
                    <a:pt x="68" y="40"/>
                  </a:lnTo>
                  <a:lnTo>
                    <a:pt x="13" y="72"/>
                  </a:lnTo>
                  <a:lnTo>
                    <a:pt x="0" y="53"/>
                  </a:lnTo>
                  <a:close/>
                </a:path>
              </a:pathLst>
            </a:custGeom>
            <a:grpFill/>
            <a:ln w="12700">
              <a:solidFill>
                <a:schemeClr val="bg1"/>
              </a:solidFill>
              <a:round/>
              <a:headEnd/>
              <a:tailEnd/>
            </a:ln>
          </p:spPr>
          <p:txBody>
            <a:bodyPr/>
            <a:lstStyle/>
            <a:p>
              <a:pPr>
                <a:defRPr/>
              </a:pPr>
              <a:endParaRPr lang="en-GB">
                <a:solidFill>
                  <a:srgbClr val="FF0000"/>
                </a:solidFill>
              </a:endParaRPr>
            </a:p>
          </p:txBody>
        </p:sp>
        <p:sp>
          <p:nvSpPr>
            <p:cNvPr id="38" name="Freeform 55">
              <a:extLst>
                <a:ext uri="{FF2B5EF4-FFF2-40B4-BE49-F238E27FC236}">
                  <a16:creationId xmlns:a16="http://schemas.microsoft.com/office/drawing/2014/main" id="{CFA67FEA-C609-41F6-8F15-5B3DDD5A8177}"/>
                </a:ext>
              </a:extLst>
            </p:cNvPr>
            <p:cNvSpPr>
              <a:spLocks/>
            </p:cNvSpPr>
            <p:nvPr/>
          </p:nvSpPr>
          <p:spPr bwMode="auto">
            <a:xfrm>
              <a:off x="6956425" y="3517900"/>
              <a:ext cx="58738" cy="109538"/>
            </a:xfrm>
            <a:custGeom>
              <a:avLst/>
              <a:gdLst>
                <a:gd name="T0" fmla="*/ 0 w 31"/>
                <a:gd name="T1" fmla="*/ 5 h 57"/>
                <a:gd name="T2" fmla="*/ 45 w 31"/>
                <a:gd name="T3" fmla="*/ 0 h 57"/>
                <a:gd name="T4" fmla="*/ 20 w 31"/>
                <a:gd name="T5" fmla="*/ 57 h 57"/>
                <a:gd name="T6" fmla="*/ 2 w 31"/>
                <a:gd name="T7" fmla="*/ 55 h 57"/>
                <a:gd name="T8" fmla="*/ 0 w 31"/>
                <a:gd name="T9" fmla="*/ 5 h 57"/>
                <a:gd name="T10" fmla="*/ 0 60000 65536"/>
                <a:gd name="T11" fmla="*/ 0 60000 65536"/>
                <a:gd name="T12" fmla="*/ 0 60000 65536"/>
                <a:gd name="T13" fmla="*/ 0 60000 65536"/>
                <a:gd name="T14" fmla="*/ 0 60000 65536"/>
                <a:gd name="T15" fmla="*/ 0 w 31"/>
                <a:gd name="T16" fmla="*/ 0 h 57"/>
                <a:gd name="T17" fmla="*/ 31 w 31"/>
                <a:gd name="T18" fmla="*/ 57 h 57"/>
              </a:gdLst>
              <a:ahLst/>
              <a:cxnLst>
                <a:cxn ang="T10">
                  <a:pos x="T0" y="T1"/>
                </a:cxn>
                <a:cxn ang="T11">
                  <a:pos x="T2" y="T3"/>
                </a:cxn>
                <a:cxn ang="T12">
                  <a:pos x="T4" y="T5"/>
                </a:cxn>
                <a:cxn ang="T13">
                  <a:pos x="T6" y="T7"/>
                </a:cxn>
                <a:cxn ang="T14">
                  <a:pos x="T8" y="T9"/>
                </a:cxn>
              </a:cxnLst>
              <a:rect l="T15" t="T16" r="T17" b="T18"/>
              <a:pathLst>
                <a:path w="31" h="57">
                  <a:moveTo>
                    <a:pt x="0" y="5"/>
                  </a:moveTo>
                  <a:lnTo>
                    <a:pt x="31" y="0"/>
                  </a:lnTo>
                  <a:lnTo>
                    <a:pt x="14" y="57"/>
                  </a:lnTo>
                  <a:lnTo>
                    <a:pt x="2" y="55"/>
                  </a:lnTo>
                  <a:lnTo>
                    <a:pt x="0" y="5"/>
                  </a:lnTo>
                  <a:close/>
                </a:path>
              </a:pathLst>
            </a:custGeom>
            <a:grpFill/>
            <a:ln w="12700">
              <a:solidFill>
                <a:schemeClr val="bg1"/>
              </a:solidFill>
              <a:round/>
              <a:headEnd/>
              <a:tailEnd/>
            </a:ln>
          </p:spPr>
          <p:txBody>
            <a:bodyPr/>
            <a:lstStyle/>
            <a:p>
              <a:pPr>
                <a:defRPr/>
              </a:pPr>
              <a:endParaRPr lang="en-GB">
                <a:solidFill>
                  <a:srgbClr val="FF0000"/>
                </a:solidFill>
              </a:endParaRPr>
            </a:p>
          </p:txBody>
        </p:sp>
      </p:grpSp>
      <p:sp>
        <p:nvSpPr>
          <p:cNvPr id="117" name="TextBox 116">
            <a:extLst>
              <a:ext uri="{FF2B5EF4-FFF2-40B4-BE49-F238E27FC236}">
                <a16:creationId xmlns:a16="http://schemas.microsoft.com/office/drawing/2014/main" id="{BA3D6675-FD24-4027-B5BD-B4B32E53C4CD}"/>
              </a:ext>
            </a:extLst>
          </p:cNvPr>
          <p:cNvSpPr txBox="1"/>
          <p:nvPr/>
        </p:nvSpPr>
        <p:spPr>
          <a:xfrm>
            <a:off x="587507" y="1336810"/>
            <a:ext cx="3938928" cy="2862322"/>
          </a:xfrm>
          <a:prstGeom prst="rect">
            <a:avLst/>
          </a:prstGeom>
          <a:noFill/>
        </p:spPr>
        <p:txBody>
          <a:bodyPr wrap="square" lIns="91440" tIns="45720" rIns="91440" bIns="45720" rtlCol="0" anchor="t">
            <a:spAutoFit/>
          </a:bodyPr>
          <a:lstStyle/>
          <a:p>
            <a:r>
              <a:rPr lang="en-US" dirty="0">
                <a:solidFill>
                  <a:srgbClr val="000000"/>
                </a:solidFill>
              </a:rPr>
              <a:t>By expanding to the east coast, Proterra can increase the capacity of its already successful bus manufacturing plant by supplying more batteries to meet the high demand caused by the push for clean energy.  </a:t>
            </a:r>
            <a:endParaRPr lang="en-US" dirty="0">
              <a:solidFill>
                <a:srgbClr val="000000"/>
              </a:solidFill>
              <a:cs typeface="Segoe UI Semilight"/>
            </a:endParaRPr>
          </a:p>
          <a:p>
            <a:endParaRPr lang="en-US" dirty="0">
              <a:solidFill>
                <a:srgbClr val="000000"/>
              </a:solidFill>
              <a:cs typeface="Segoe UI Semilight"/>
            </a:endParaRPr>
          </a:p>
          <a:p>
            <a:endParaRPr lang="en-US" dirty="0">
              <a:solidFill>
                <a:srgbClr val="000000"/>
              </a:solidFill>
              <a:cs typeface="Segoe UI Semilight"/>
            </a:endParaRPr>
          </a:p>
          <a:p>
            <a:endParaRPr lang="en-US" dirty="0">
              <a:solidFill>
                <a:srgbClr val="000000"/>
              </a:solidFill>
              <a:cs typeface="Segoe UI Semilight"/>
            </a:endParaRPr>
          </a:p>
        </p:txBody>
      </p:sp>
    </p:spTree>
    <p:extLst>
      <p:ext uri="{BB962C8B-B14F-4D97-AF65-F5344CB8AC3E}">
        <p14:creationId xmlns:p14="http://schemas.microsoft.com/office/powerpoint/2010/main" val="1790976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shield_POWER_USER_SEPARATOR_ICONS_protection_POWER_USER_SEPARATOR_ICONS_security"/>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megaphone_POWER_USER_SEPARATOR_ICONS_amplify_POWER_USER_SEPARATOR_ICONS_announcement_POWER_USER_SEPARATOR_ICONS_loudspeaker_POWER_USER_SEPARATOR_ICONS_rally_POWER_USER_SEPARATOR_ICONS_speech_POWER_USER_SEPARATOR_ICONS_yell"/>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Shape icons"/>
</p:tagLst>
</file>

<file path=ppt/theme/_rels/themeOverride1.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image" Target="../media/image33.jpeg"/></Relationships>
</file>

<file path=ppt/theme/theme1.xml><?xml version="1.0" encoding="utf-8"?>
<a:theme xmlns:a="http://schemas.openxmlformats.org/drawingml/2006/main" name="4_Office Theme">
  <a:themeElements>
    <a:clrScheme name="Custom 1">
      <a:dk1>
        <a:srgbClr val="000000"/>
      </a:dk1>
      <a:lt1>
        <a:srgbClr val="FFFFFF"/>
      </a:lt1>
      <a:dk2>
        <a:srgbClr val="8C172C"/>
      </a:dk2>
      <a:lt2>
        <a:srgbClr val="CF4242"/>
      </a:lt2>
      <a:accent1>
        <a:srgbClr val="4059AD"/>
      </a:accent1>
      <a:accent2>
        <a:srgbClr val="FFC000"/>
      </a:accent2>
      <a:accent3>
        <a:srgbClr val="008272"/>
      </a:accent3>
      <a:accent4>
        <a:srgbClr val="39008E"/>
      </a:accent4>
      <a:accent5>
        <a:srgbClr val="ED7D31"/>
      </a:accent5>
      <a:accent6>
        <a:srgbClr val="5A5B5D"/>
      </a:accent6>
      <a:hlink>
        <a:srgbClr val="0070C0"/>
      </a:hlink>
      <a:folHlink>
        <a:srgbClr val="E28D8D"/>
      </a:folHlink>
    </a:clrScheme>
    <a:fontScheme name="Segoe">
      <a:majorFont>
        <a:latin typeface="Segoe UI Semibold"/>
        <a:ea typeface=""/>
        <a:cs typeface=""/>
      </a:majorFont>
      <a:minorFont>
        <a:latin typeface="Segoe UI Semi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REMI red">
    <a:dk1>
      <a:sysClr val="windowText" lastClr="000000"/>
    </a:dk1>
    <a:lt1>
      <a:sysClr val="window" lastClr="FFFFFF"/>
    </a:lt1>
    <a:dk2>
      <a:srgbClr val="464646"/>
    </a:dk2>
    <a:lt2>
      <a:srgbClr val="DEDEDE"/>
    </a:lt2>
    <a:accent1>
      <a:srgbClr val="8C172C"/>
    </a:accent1>
    <a:accent2>
      <a:srgbClr val="464646"/>
    </a:accent2>
    <a:accent3>
      <a:srgbClr val="ACCECB"/>
    </a:accent3>
    <a:accent4>
      <a:srgbClr val="AD6963"/>
    </a:accent4>
    <a:accent5>
      <a:srgbClr val="A5A2A5"/>
    </a:accent5>
    <a:accent6>
      <a:srgbClr val="CECBBD"/>
    </a:accent6>
    <a:hlink>
      <a:srgbClr val="0000FF"/>
    </a:hlink>
    <a:folHlink>
      <a:srgbClr val="7030A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Median">
    <a:fillStyleLst>
      <a:solidFill>
        <a:schemeClr val="phClr"/>
      </a:solidFill>
      <a:solidFill>
        <a:schemeClr val="phClr">
          <a:tint val="50000"/>
        </a:schemeClr>
      </a:solidFill>
      <a:solidFill>
        <a:schemeClr val="phClr"/>
      </a:solidFill>
    </a:fillStyleLst>
    <a:lnStyleLst>
      <a:ln w="10000" cap="flat" cmpd="sng" algn="ctr">
        <a:solidFill>
          <a:schemeClr val="phClr"/>
        </a:solidFill>
        <a:prstDash val="solid"/>
      </a:ln>
      <a:ln w="19050" cap="flat" cmpd="sng" algn="ctr">
        <a:solidFill>
          <a:schemeClr val="phClr"/>
        </a:solidFill>
        <a:prstDash val="solid"/>
      </a:ln>
      <a:ln w="47625" cap="flat" cmpd="dbl" algn="ctr">
        <a:solidFill>
          <a:schemeClr val="phClr"/>
        </a:solidFill>
        <a:prstDash val="solid"/>
      </a:ln>
    </a:lnStyleLst>
    <a:effectStyleLst>
      <a:effectStyle>
        <a:effectLst>
          <a:outerShdw blurRad="38100" dist="30000" dir="5400000" rotWithShape="0">
            <a:srgbClr val="000000">
              <a:alpha val="45000"/>
            </a:srgbClr>
          </a:outerShdw>
        </a:effectLst>
      </a:effectStyle>
      <a:effectStyle>
        <a:effectLst>
          <a:outerShdw blurRad="38100" dist="30000" dir="5400000" rotWithShape="0">
            <a:srgbClr val="000000">
              <a:alpha val="45000"/>
            </a:srgbClr>
          </a:outerShdw>
        </a:effectLst>
      </a:effectStyle>
      <a:effectStyle>
        <a:effectLst>
          <a:outerShdw blurRad="38100" dist="25400" dir="5400000" rotWithShape="0">
            <a:srgbClr val="000000">
              <a:alpha val="35000"/>
            </a:srgbClr>
          </a:outerShdw>
        </a:effectLst>
        <a:scene3d>
          <a:camera prst="isometricTopDown" fov="0">
            <a:rot lat="0" lon="0" rev="0"/>
          </a:camera>
          <a:lightRig rig="balanced" dir="t">
            <a:rot lat="0" lon="0" rev="13800000"/>
          </a:lightRig>
        </a:scene3d>
        <a:sp3d extrusionH="12700" prstMaterial="plastic">
          <a:bevelT w="38100" h="25400" prst="softRound"/>
          <a:contourClr>
            <a:schemeClr val="phClr"/>
          </a:contourClr>
        </a:sp3d>
      </a:effectStyle>
    </a:effectStyleLst>
    <a:bgFillStyleLst>
      <a:solidFill>
        <a:schemeClr val="phClr"/>
      </a:solidFill>
      <a:blipFill>
        <a:blip xmlns:r="http://schemas.openxmlformats.org/officeDocument/2006/relationships" r:embed="rId1">
          <a:duotone>
            <a:schemeClr val="phClr">
              <a:shade val="90000"/>
              <a:satMod val="140000"/>
            </a:schemeClr>
            <a:schemeClr val="phClr">
              <a:satMod val="120000"/>
            </a:schemeClr>
          </a:duotone>
        </a:blip>
        <a:tile tx="0" ty="0" sx="100000" sy="100000" flip="none" algn="tl"/>
      </a:blipFill>
      <a:blipFill>
        <a:blip xmlns:r="http://schemas.openxmlformats.org/officeDocument/2006/relationships" r:embed="rId2">
          <a:duotone>
            <a:schemeClr val="phClr">
              <a:shade val="90000"/>
              <a:satMod val="140000"/>
            </a:schemeClr>
            <a:schemeClr val="phClr">
              <a:satMod val="120000"/>
            </a:schemeClr>
          </a:duotone>
        </a:blip>
        <a:tile tx="0" ty="0" sx="100000" sy="100000" flip="none" algn="tl"/>
      </a:blip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462CB91FA59BF4CBD6C426253260008" ma:contentTypeVersion="13" ma:contentTypeDescription="Create a new document." ma:contentTypeScope="" ma:versionID="f872e69fc83fe6572b5cfc4fc30c6fc4">
  <xsd:schema xmlns:xsd="http://www.w3.org/2001/XMLSchema" xmlns:xs="http://www.w3.org/2001/XMLSchema" xmlns:p="http://schemas.microsoft.com/office/2006/metadata/properties" xmlns:ns2="ee8f3be0-64b4-4b51-82ec-3b82af38d45f" xmlns:ns3="90be3902-1b3e-4694-aa63-88197a1015cc" targetNamespace="http://schemas.microsoft.com/office/2006/metadata/properties" ma:root="true" ma:fieldsID="5bb001ef37282a8631835aead573e132" ns2:_="" ns3:_="">
    <xsd:import namespace="ee8f3be0-64b4-4b51-82ec-3b82af38d45f"/>
    <xsd:import namespace="90be3902-1b3e-4694-aa63-88197a1015cc"/>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e8f3be0-64b4-4b51-82ec-3b82af38d4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0be3902-1b3e-4694-aa63-88197a1015cc"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90be3902-1b3e-4694-aa63-88197a1015cc">
      <UserInfo>
        <DisplayName>Katy Koon</DisplayName>
        <AccountId>16</AccountId>
        <AccountType/>
      </UserInfo>
    </SharedWithUsers>
  </documentManagement>
</p:properties>
</file>

<file path=customXml/itemProps1.xml><?xml version="1.0" encoding="utf-8"?>
<ds:datastoreItem xmlns:ds="http://schemas.openxmlformats.org/officeDocument/2006/customXml" ds:itemID="{EE5E2097-2294-47BD-A2E7-D1DD09DBFCD5}">
  <ds:schemaRefs>
    <ds:schemaRef ds:uri="http://schemas.microsoft.com/sharepoint/v3/contenttype/forms"/>
  </ds:schemaRefs>
</ds:datastoreItem>
</file>

<file path=customXml/itemProps2.xml><?xml version="1.0" encoding="utf-8"?>
<ds:datastoreItem xmlns:ds="http://schemas.openxmlformats.org/officeDocument/2006/customXml" ds:itemID="{F204C03B-9054-49DD-94DB-191B823B5D37}">
  <ds:schemaRefs>
    <ds:schemaRef ds:uri="90be3902-1b3e-4694-aa63-88197a1015cc"/>
    <ds:schemaRef ds:uri="ee8f3be0-64b4-4b51-82ec-3b82af38d4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661E6DC-2BA2-43A9-BF3D-1EA816803A01}">
  <ds:schemaRefs>
    <ds:schemaRef ds:uri="90be3902-1b3e-4694-aa63-88197a1015cc"/>
    <ds:schemaRef ds:uri="ee8f3be0-64b4-4b51-82ec-3b82af38d45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42</Slides>
  <Notes>5</Notes>
  <HiddenSlides>27</HiddenSlides>
  <ScaleCrop>false</ScaleCrop>
  <HeadingPairs>
    <vt:vector size="4" baseType="variant">
      <vt:variant>
        <vt:lpstr>Theme</vt:lpstr>
      </vt:variant>
      <vt:variant>
        <vt:i4>1</vt:i4>
      </vt:variant>
      <vt:variant>
        <vt:lpstr>Slide Titles</vt:lpstr>
      </vt:variant>
      <vt:variant>
        <vt:i4>42</vt:i4>
      </vt:variant>
    </vt:vector>
  </HeadingPairs>
  <TitlesOfParts>
    <vt:vector size="43" baseType="lpstr">
      <vt:lpstr>4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aron Baker</dc:creator>
  <cp:revision>336</cp:revision>
  <dcterms:created xsi:type="dcterms:W3CDTF">2021-06-11T14:03:46Z</dcterms:created>
  <dcterms:modified xsi:type="dcterms:W3CDTF">2022-05-18T13:0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62CB91FA59BF4CBD6C426253260008</vt:lpwstr>
  </property>
</Properties>
</file>